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diagrams/data1.xml" ContentType="application/vnd.openxmlformats-officedocument.drawingml.diagramData+xml"/>
  <Override PartName="/ppt/presentation.xml" ContentType="application/vnd.openxmlformats-officedocument.presentationml.presentation.main+xml"/>
  <Override PartName="/ppt/slides/slide8.xml" ContentType="application/vnd.openxmlformats-officedocument.presentationml.slide+xml"/>
  <Override PartName="/ppt/slides/slide39.xml" ContentType="application/vnd.openxmlformats-officedocument.presentationml.slide+xml"/>
  <Override PartName="/ppt/slides/slide38.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4.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43.xml" ContentType="application/vnd.openxmlformats-officedocument.presentationml.slide+xml"/>
  <Override PartName="/ppt/slides/slide30.xml" ContentType="application/vnd.openxmlformats-officedocument.presentationml.slide+xml"/>
  <Override PartName="/ppt/slides/slide7.xml" ContentType="application/vnd.openxmlformats-officedocument.presentationml.slide+xml"/>
  <Override PartName="/ppt/slides/slide28.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17.xml" ContentType="application/vnd.openxmlformats-officedocument.presentationml.slide+xml"/>
  <Override PartName="/ppt/slides/slide29.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19.xml" ContentType="application/vnd.openxmlformats-officedocument.presentationml.slide+xml"/>
  <Override PartName="/ppt/notesSlides/notesSlide1.xml" ContentType="application/vnd.openxmlformats-officedocument.presentationml.notesSlide+xml"/>
  <Override PartName="/ppt/slideLayouts/slideLayout142.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38.xml" ContentType="application/vnd.openxmlformats-officedocument.presentationml.slideLayout+xml"/>
  <Override PartName="/ppt/slideLayouts/slideLayout137.xml" ContentType="application/vnd.openxmlformats-officedocument.presentationml.slideLayout+xml"/>
  <Override PartName="/ppt/slideLayouts/slideLayout136.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notesSlides/notesSlide3.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84.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29.xml" ContentType="application/vnd.openxmlformats-officedocument.presentationml.slideLayout+xml"/>
  <Override PartName="/ppt/slideLayouts/slideLayout128.xml" ContentType="application/vnd.openxmlformats-officedocument.presentationml.slideLayout+xml"/>
  <Override PartName="/ppt/slideLayouts/slideLayout85.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0.xml" ContentType="application/vnd.openxmlformats-officedocument.presentationml.slideLayout+xml"/>
  <Override PartName="/ppt/slideLayouts/slideLayout127.xml" ContentType="application/vnd.openxmlformats-officedocument.presentationml.slideLayout+xml"/>
  <Override PartName="/ppt/slideLayouts/slideLayout118.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92.xml" ContentType="application/vnd.openxmlformats-officedocument.presentationml.slideLayout+xml"/>
  <Override PartName="/ppt/slideLayouts/slideLayout91.xml" ContentType="application/vnd.openxmlformats-officedocument.presentationml.slideLayout+xml"/>
  <Override PartName="/ppt/slideLayouts/slideLayout90.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100.xml" ContentType="application/vnd.openxmlformats-officedocument.presentationml.slideLayout+xml"/>
  <Override PartName="/ppt/slideLayouts/slideLayout119.xml" ContentType="application/vnd.openxmlformats-officedocument.presentationml.slideLayout+xml"/>
  <Override PartName="/ppt/slideLayouts/slideLayout102.xml" ContentType="application/vnd.openxmlformats-officedocument.presentationml.slideLayout+xml"/>
  <Override PartName="/ppt/slideLayouts/slideLayout109.xml" ContentType="application/vnd.openxmlformats-officedocument.presentationml.slideLayout+xml"/>
  <Override PartName="/ppt/slideLayouts/slideLayout108.xml" ContentType="application/vnd.openxmlformats-officedocument.presentationml.slideLayout+xml"/>
  <Override PartName="/ppt/slideLayouts/slideLayout107.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7.xml" ContentType="application/vnd.openxmlformats-officedocument.presentationml.slideLayout+xml"/>
  <Override PartName="/ppt/slideLayouts/slideLayout116.xml" ContentType="application/vnd.openxmlformats-officedocument.presentationml.slideLayout+xml"/>
  <Override PartName="/ppt/slideLayouts/slideLayout115.xml" ContentType="application/vnd.openxmlformats-officedocument.presentationml.slideLayout+xml"/>
  <Override PartName="/ppt/slideLayouts/slideLayout114.xml" ContentType="application/vnd.openxmlformats-officedocument.presentationml.slideLayout+xml"/>
  <Override PartName="/ppt/slideLayouts/slideLayout113.xml" ContentType="application/vnd.openxmlformats-officedocument.presentationml.slideLayout+xml"/>
  <Override PartName="/ppt/slideLayouts/slideLayout101.xml" ContentType="application/vnd.openxmlformats-officedocument.presentationml.slideLayout+xml"/>
  <Override PartName="/ppt/slideLayouts/slideLayout103.xml" ContentType="application/vnd.openxmlformats-officedocument.presentationml.slideLayout+xml"/>
  <Override PartName="/ppt/notesMasters/notesMaster1.xml" ContentType="application/vnd.openxmlformats-officedocument.presentationml.notesMaster+xml"/>
  <Override PartName="/ppt/theme/theme4.xml" ContentType="application/vnd.openxmlformats-officedocument.theme+xml"/>
  <Override PartName="/ppt/theme/theme5.xml" ContentType="application/vnd.openxmlformats-officedocument.theme+xml"/>
  <Override PartName="/ppt/diagrams/layout1.xml" ContentType="application/vnd.openxmlformats-officedocument.drawingml.diagramLayout+xml"/>
  <Override PartName="/ppt/diagrams/colors1.xml" ContentType="application/vnd.openxmlformats-officedocument.drawingml.diagramColors+xml"/>
  <Override PartName="/ppt/theme/theme3.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diagrams/quickStyle1.xml" ContentType="application/vnd.openxmlformats-officedocument.drawingml.diagramStyle+xml"/>
  <Override PartName="/ppt/diagrams/drawing1.xml" ContentType="application/vnd.ms-office.drawingml.diagramDrawing+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4.xml" ContentType="application/vnd.openxmlformats-officedocument.presentationml.tags+xml"/>
  <Override PartName="/ppt/tags/tag1.xml" ContentType="application/vnd.openxmlformats-officedocument.presentationml.tags+xml"/>
  <Override PartName="/ppt/tags/tag12.xml" ContentType="application/vnd.openxmlformats-officedocument.presentationml.tags+xml"/>
  <Override PartName="/ppt/tags/tag9.xml" ContentType="application/vnd.openxmlformats-officedocument.presentationml.tags+xml"/>
  <Override PartName="/ppt/tags/tag2.xml" ContentType="application/vnd.openxmlformats-officedocument.presentationml.tags+xml"/>
  <Override PartName="/ppt/tags/tag8.xml" ContentType="application/vnd.openxmlformats-officedocument.presentationml.tags+xml"/>
  <Override PartName="/ppt/tags/tag5.xml" ContentType="application/vnd.openxmlformats-officedocument.presentationml.tags+xml"/>
  <Override PartName="/ppt/tags/tag11.xml" ContentType="application/vnd.openxmlformats-officedocument.presentationml.tags+xml"/>
  <Override PartName="/ppt/tags/tag6.xml" ContentType="application/vnd.openxmlformats-officedocument.presentationml.tags+xml"/>
  <Override PartName="/ppt/tags/tag10.xml" ContentType="application/vnd.openxmlformats-officedocument.presentationml.tags+xml"/>
  <Override PartName="/ppt/tags/tag7.xml" ContentType="application/vnd.openxmlformats-officedocument.presentationml.tags+xml"/>
  <Override PartName="/ppt/tags/tag3.xml" ContentType="application/vnd.openxmlformats-officedocument.presentationml.tags+xml"/>
  <Override PartName="/docProps/custom.xml" ContentType="application/vnd.openxmlformats-officedocument.custom-properties+xml"/>
  <Override PartName="/ppt/tags/tag13.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736" r:id="rId3"/>
    <p:sldMasterId id="2147483785" r:id="rId4"/>
  </p:sldMasterIdLst>
  <p:notesMasterIdLst>
    <p:notesMasterId r:id="rId49"/>
  </p:notesMasterIdLst>
  <p:sldIdLst>
    <p:sldId id="256" r:id="rId5"/>
    <p:sldId id="257" r:id="rId6"/>
    <p:sldId id="258" r:id="rId7"/>
    <p:sldId id="309" r:id="rId8"/>
    <p:sldId id="311" r:id="rId9"/>
    <p:sldId id="265" r:id="rId10"/>
    <p:sldId id="312" r:id="rId11"/>
    <p:sldId id="313" r:id="rId12"/>
    <p:sldId id="266" r:id="rId13"/>
    <p:sldId id="315" r:id="rId14"/>
    <p:sldId id="316" r:id="rId15"/>
    <p:sldId id="349" r:id="rId16"/>
    <p:sldId id="318" r:id="rId17"/>
    <p:sldId id="319" r:id="rId18"/>
    <p:sldId id="321" r:id="rId19"/>
    <p:sldId id="323" r:id="rId20"/>
    <p:sldId id="324" r:id="rId21"/>
    <p:sldId id="325" r:id="rId22"/>
    <p:sldId id="350" r:id="rId23"/>
    <p:sldId id="326" r:id="rId24"/>
    <p:sldId id="327" r:id="rId25"/>
    <p:sldId id="328" r:id="rId26"/>
    <p:sldId id="347" r:id="rId27"/>
    <p:sldId id="329" r:id="rId28"/>
    <p:sldId id="330" r:id="rId29"/>
    <p:sldId id="331" r:id="rId30"/>
    <p:sldId id="332" r:id="rId31"/>
    <p:sldId id="333" r:id="rId32"/>
    <p:sldId id="334" r:id="rId33"/>
    <p:sldId id="292" r:id="rId34"/>
    <p:sldId id="336" r:id="rId35"/>
    <p:sldId id="337" r:id="rId36"/>
    <p:sldId id="338" r:id="rId37"/>
    <p:sldId id="339" r:id="rId38"/>
    <p:sldId id="340" r:id="rId39"/>
    <p:sldId id="342" r:id="rId40"/>
    <p:sldId id="343" r:id="rId41"/>
    <p:sldId id="344" r:id="rId42"/>
    <p:sldId id="345" r:id="rId43"/>
    <p:sldId id="346" r:id="rId44"/>
    <p:sldId id="269" r:id="rId45"/>
    <p:sldId id="351" r:id="rId46"/>
    <p:sldId id="352" r:id="rId47"/>
    <p:sldId id="263" r:id="rId48"/>
  </p:sldIdLst>
  <p:sldSz cx="16202025" cy="9001125"/>
  <p:notesSz cx="6858000" cy="9144000"/>
  <p:custDataLst>
    <p:tags r:id="rId50"/>
  </p:custDataLst>
  <p:defaultTextStyle>
    <a:defPPr>
      <a:defRPr lang="es-CL"/>
    </a:defPPr>
    <a:lvl1pPr marL="0" algn="l" defTabSz="1440180" rtl="0" eaLnBrk="1" latinLnBrk="0" hangingPunct="1">
      <a:defRPr sz="2800" kern="1200">
        <a:solidFill>
          <a:schemeClr val="tx1"/>
        </a:solidFill>
        <a:latin typeface="+mn-lt"/>
        <a:ea typeface="+mn-ea"/>
        <a:cs typeface="+mn-cs"/>
      </a:defRPr>
    </a:lvl1pPr>
    <a:lvl2pPr marL="720090" algn="l" defTabSz="1440180" rtl="0" eaLnBrk="1" latinLnBrk="0" hangingPunct="1">
      <a:defRPr sz="2800" kern="1200">
        <a:solidFill>
          <a:schemeClr val="tx1"/>
        </a:solidFill>
        <a:latin typeface="+mn-lt"/>
        <a:ea typeface="+mn-ea"/>
        <a:cs typeface="+mn-cs"/>
      </a:defRPr>
    </a:lvl2pPr>
    <a:lvl3pPr marL="1440180" algn="l" defTabSz="1440180" rtl="0" eaLnBrk="1" latinLnBrk="0" hangingPunct="1">
      <a:defRPr sz="2800" kern="1200">
        <a:solidFill>
          <a:schemeClr val="tx1"/>
        </a:solidFill>
        <a:latin typeface="+mn-lt"/>
        <a:ea typeface="+mn-ea"/>
        <a:cs typeface="+mn-cs"/>
      </a:defRPr>
    </a:lvl3pPr>
    <a:lvl4pPr marL="2160270" algn="l" defTabSz="1440180" rtl="0" eaLnBrk="1" latinLnBrk="0" hangingPunct="1">
      <a:defRPr sz="2800" kern="1200">
        <a:solidFill>
          <a:schemeClr val="tx1"/>
        </a:solidFill>
        <a:latin typeface="+mn-lt"/>
        <a:ea typeface="+mn-ea"/>
        <a:cs typeface="+mn-cs"/>
      </a:defRPr>
    </a:lvl4pPr>
    <a:lvl5pPr marL="2880360" algn="l" defTabSz="1440180" rtl="0" eaLnBrk="1" latinLnBrk="0" hangingPunct="1">
      <a:defRPr sz="2800" kern="1200">
        <a:solidFill>
          <a:schemeClr val="tx1"/>
        </a:solidFill>
        <a:latin typeface="+mn-lt"/>
        <a:ea typeface="+mn-ea"/>
        <a:cs typeface="+mn-cs"/>
      </a:defRPr>
    </a:lvl5pPr>
    <a:lvl6pPr marL="3600450" algn="l" defTabSz="1440180" rtl="0" eaLnBrk="1" latinLnBrk="0" hangingPunct="1">
      <a:defRPr sz="2800" kern="1200">
        <a:solidFill>
          <a:schemeClr val="tx1"/>
        </a:solidFill>
        <a:latin typeface="+mn-lt"/>
        <a:ea typeface="+mn-ea"/>
        <a:cs typeface="+mn-cs"/>
      </a:defRPr>
    </a:lvl6pPr>
    <a:lvl7pPr marL="4320540" algn="l" defTabSz="1440180" rtl="0" eaLnBrk="1" latinLnBrk="0" hangingPunct="1">
      <a:defRPr sz="2800" kern="1200">
        <a:solidFill>
          <a:schemeClr val="tx1"/>
        </a:solidFill>
        <a:latin typeface="+mn-lt"/>
        <a:ea typeface="+mn-ea"/>
        <a:cs typeface="+mn-cs"/>
      </a:defRPr>
    </a:lvl7pPr>
    <a:lvl8pPr marL="5040630" algn="l" defTabSz="1440180" rtl="0" eaLnBrk="1" latinLnBrk="0" hangingPunct="1">
      <a:defRPr sz="2800" kern="1200">
        <a:solidFill>
          <a:schemeClr val="tx1"/>
        </a:solidFill>
        <a:latin typeface="+mn-lt"/>
        <a:ea typeface="+mn-ea"/>
        <a:cs typeface="+mn-cs"/>
      </a:defRPr>
    </a:lvl8pPr>
    <a:lvl9pPr marL="5760720" algn="l" defTabSz="1440180" rtl="0" eaLnBrk="1" latinLnBrk="0" hangingPunct="1">
      <a:defRPr sz="2800" kern="1200">
        <a:solidFill>
          <a:schemeClr val="tx1"/>
        </a:solidFill>
        <a:latin typeface="+mn-lt"/>
        <a:ea typeface="+mn-ea"/>
        <a:cs typeface="+mn-cs"/>
      </a:defRPr>
    </a:lvl9pPr>
  </p:defaultTextStyle>
  <p:modifyVerifier cryptProviderType="rsaAES" cryptAlgorithmClass="hash" cryptAlgorithmType="typeAny" cryptAlgorithmSid="14" spinCount="100000" saltData="4NtBd7W2eA27gHox81LgIA==" hashData="kb1IffN9v7l/8VMacHDhLrH+meheXFO9NtgUsFaigva8Us+76s3K1hjqtQS1pUWtEi24UNhq1lbVXErHQlUfww=="/>
  <p:extLst>
    <p:ext uri="{EFAFB233-063F-42B5-8137-9DF3F51BA10A}">
      <p15:sldGuideLst xmlns:p15="http://schemas.microsoft.com/office/powerpoint/2012/main">
        <p15:guide id="1" orient="horz" pos="250">
          <p15:clr>
            <a:srgbClr val="A4A3A4"/>
          </p15:clr>
        </p15:guide>
        <p15:guide id="2" orient="horz" pos="5375">
          <p15:clr>
            <a:srgbClr val="A4A3A4"/>
          </p15:clr>
        </p15:guide>
        <p15:guide id="3" orient="horz" pos="839">
          <p15:clr>
            <a:srgbClr val="A4A3A4"/>
          </p15:clr>
        </p15:guide>
        <p15:guide id="4" orient="horz" pos="1021">
          <p15:clr>
            <a:srgbClr val="A4A3A4"/>
          </p15:clr>
        </p15:guide>
        <p15:guide id="5" pos="340">
          <p15:clr>
            <a:srgbClr val="A4A3A4"/>
          </p15:clr>
        </p15:guide>
        <p15:guide id="6" pos="9911">
          <p15:clr>
            <a:srgbClr val="A4A3A4"/>
          </p15:clr>
        </p15:guide>
        <p15:guide id="7" pos="2381">
          <p15:clr>
            <a:srgbClr val="A4A3A4"/>
          </p15:clr>
        </p15:guide>
        <p15:guide id="8" pos="260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C047"/>
    <a:srgbClr val="0C662F"/>
    <a:srgbClr val="EAEADE"/>
    <a:srgbClr val="8ECFD0"/>
    <a:srgbClr val="179188"/>
    <a:srgbClr val="004B53"/>
    <a:srgbClr val="8D004C"/>
    <a:srgbClr val="F2E500"/>
    <a:srgbClr val="F2D5C1"/>
    <a:srgbClr val="84B72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FECB4D8-DB02-4DC6-A0A2-4F2EBAE1DC90}" styleName="Estilo medio 1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Estilo medio 1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ABFCF23-3B69-468F-B69F-88F6DE6A72F2}" styleName="Estilo medio 1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652" autoAdjust="0"/>
    <p:restoredTop sz="94756" autoAdjust="0"/>
  </p:normalViewPr>
  <p:slideViewPr>
    <p:cSldViewPr>
      <p:cViewPr varScale="1">
        <p:scale>
          <a:sx n="56" d="100"/>
          <a:sy n="56" d="100"/>
        </p:scale>
        <p:origin x="156" y="60"/>
      </p:cViewPr>
      <p:guideLst>
        <p:guide orient="horz" pos="250"/>
        <p:guide orient="horz" pos="5375"/>
        <p:guide orient="horz" pos="839"/>
        <p:guide orient="horz" pos="1021"/>
        <p:guide pos="340"/>
        <p:guide pos="9911"/>
        <p:guide pos="2381"/>
        <p:guide pos="260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55" Type="http://schemas.openxmlformats.org/officeDocument/2006/relationships/customXml" Target="../customXml/item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ustomXml" Target="../customXml/item2.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57" Type="http://schemas.openxmlformats.org/officeDocument/2006/relationships/customXml" Target="../customXml/item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58EF5D-94BF-43DE-932B-7D1BE67307E8}" type="doc">
      <dgm:prSet loTypeId="urn:microsoft.com/office/officeart/2005/8/layout/cycle8" loCatId="cycle" qsTypeId="urn:microsoft.com/office/officeart/2005/8/quickstyle/3d2" qsCatId="3D" csTypeId="urn:microsoft.com/office/officeart/2005/8/colors/colorful5" csCatId="colorful" phldr="1"/>
      <dgm:spPr/>
      <dgm:t>
        <a:bodyPr/>
        <a:lstStyle/>
        <a:p>
          <a:endParaRPr lang="es-CL"/>
        </a:p>
      </dgm:t>
    </dgm:pt>
    <dgm:pt modelId="{5AE5B800-99C0-4F74-88CC-0F732E44DAD4}">
      <dgm:prSet phldrT="[Texto]"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pPr>
            <a:lnSpc>
              <a:spcPct val="100000"/>
            </a:lnSpc>
            <a:spcBef>
              <a:spcPts val="0"/>
            </a:spcBef>
            <a:spcAft>
              <a:spcPts val="0"/>
            </a:spcAft>
          </a:pPr>
          <a:r>
            <a:rPr lang="es-CL" sz="1400" b="0" i="0" spc="0">
              <a:solidFill>
                <a:srgbClr val="15C047"/>
              </a:solidFill>
              <a:latin typeface="ACHS Nueva Sans Medium" pitchFamily="2" charset="77"/>
              <a:cs typeface="Calibri" panose="020F0502020204030204" pitchFamily="34" charset="0"/>
            </a:rPr>
            <a:t>Ministerio de Salud</a:t>
          </a:r>
          <a:endParaRPr lang="es-CL" sz="1400" b="0" i="0" spc="0" dirty="0">
            <a:solidFill>
              <a:srgbClr val="15C047"/>
            </a:solidFill>
            <a:latin typeface="ACHS Nueva Sans Medium" pitchFamily="2" charset="77"/>
            <a:cs typeface="Calibri" panose="020F0502020204030204" pitchFamily="34" charset="0"/>
          </a:endParaRPr>
        </a:p>
      </dgm:t>
    </dgm:pt>
    <dgm:pt modelId="{BA31E860-5D7F-4273-A4FA-3C3FBF542A4D}" type="parTrans" cxnId="{DDC154C4-4FDF-4F71-9FF5-3B667F4E816A}">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6AB985D1-D261-47E3-9C54-779FD70FD0F0}" type="sibTrans" cxnId="{DDC154C4-4FDF-4F71-9FF5-3B667F4E816A}">
      <dgm:prSet/>
      <dgm:spPr>
        <a:solidFill>
          <a:srgbClr val="15C047"/>
        </a:solidFill>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0F020ED2-01D5-4702-BA46-FF11AF188A9C}">
      <dgm:prSet phldrT="[Texto]"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pPr>
            <a:lnSpc>
              <a:spcPct val="100000"/>
            </a:lnSpc>
            <a:spcBef>
              <a:spcPts val="0"/>
            </a:spcBef>
            <a:spcAft>
              <a:spcPts val="0"/>
            </a:spcAft>
          </a:pPr>
          <a:r>
            <a:rPr lang="es-CL" sz="1400" b="0" i="0" spc="0" dirty="0">
              <a:solidFill>
                <a:srgbClr val="15C047"/>
              </a:solidFill>
              <a:latin typeface="ACHS Nueva Sans Medium" pitchFamily="2" charset="77"/>
              <a:cs typeface="Calibri" panose="020F0502020204030204" pitchFamily="34" charset="0"/>
            </a:rPr>
            <a:t>Instituto de Salud Pública</a:t>
          </a:r>
        </a:p>
      </dgm:t>
    </dgm:pt>
    <dgm:pt modelId="{3FDA10EC-DBD8-4D9F-9C18-23C74F120F21}" type="parTrans" cxnId="{4476D26F-F2EC-4A9A-ABE4-9DA33BC71899}">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FB0A5EE0-5200-4FC3-AAC3-4F637EFD272F}" type="sibTrans" cxnId="{4476D26F-F2EC-4A9A-ABE4-9DA33BC71899}">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2AE7D63F-990E-4A5A-A18F-64527AA2C447}">
      <dgm:prSet phldrT="[Texto]"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pPr>
            <a:lnSpc>
              <a:spcPct val="100000"/>
            </a:lnSpc>
            <a:spcBef>
              <a:spcPts val="0"/>
            </a:spcBef>
            <a:spcAft>
              <a:spcPts val="0"/>
            </a:spcAft>
          </a:pPr>
          <a:r>
            <a:rPr lang="es-CL" sz="1400" b="0" i="0" spc="0">
              <a:solidFill>
                <a:srgbClr val="15C047"/>
              </a:solidFill>
              <a:latin typeface="ACHS Nueva Sans Medium" pitchFamily="2" charset="77"/>
              <a:cs typeface="Calibri" panose="020F0502020204030204" pitchFamily="34" charset="0"/>
            </a:rPr>
            <a:t>SERNAGEOMIN</a:t>
          </a:r>
          <a:endParaRPr lang="es-CL" sz="1400" b="0" i="0" spc="0" dirty="0">
            <a:solidFill>
              <a:srgbClr val="15C047"/>
            </a:solidFill>
            <a:latin typeface="ACHS Nueva Sans Medium" pitchFamily="2" charset="77"/>
            <a:cs typeface="Calibri" panose="020F0502020204030204" pitchFamily="34" charset="0"/>
          </a:endParaRPr>
        </a:p>
      </dgm:t>
    </dgm:pt>
    <dgm:pt modelId="{0A38E69A-975B-47AF-A6D9-13694AD6732B}" type="parTrans" cxnId="{509522B6-0DF4-4D25-A33D-45C674216405}">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8E3C0E4E-423D-483A-BD4B-3FFB326DCC27}" type="sibTrans" cxnId="{509522B6-0DF4-4D25-A33D-45C674216405}">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F1F0012D-A71D-4CC0-8CA7-DEB50211C6A4}">
      <dgm:prSet phldrT="[Texto]"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endParaRPr lang="es-CL"/>
        </a:p>
      </dgm:t>
    </dgm:pt>
    <dgm:pt modelId="{EECB0D62-517D-4FA9-B723-EA9786231B84}" type="parTrans" cxnId="{1B497838-0E34-4075-9C31-AEE7AD640383}">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74AFE796-2ED3-4835-991F-929C3E82DB9D}" type="sibTrans" cxnId="{1B497838-0E34-4075-9C31-AEE7AD640383}">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355D8A25-BD83-4F8D-A250-B8C76CAD2A6B}">
      <dgm:prSet phldrT="[Texto]"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endParaRPr lang="es-CL"/>
        </a:p>
      </dgm:t>
    </dgm:pt>
    <dgm:pt modelId="{C6A4E5F3-9C4C-482E-A1CF-9FA81E49C9E9}" type="parTrans" cxnId="{69DCF2FD-4DC4-4D28-A31A-4D87BC778D24}">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B58D6B96-B606-49CF-B9E8-675F5AC35031}" type="sibTrans" cxnId="{69DCF2FD-4DC4-4D28-A31A-4D87BC778D24}">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1E325430-5E36-4441-8470-0FF36C8FD626}">
      <dgm:prSet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pPr>
            <a:lnSpc>
              <a:spcPct val="100000"/>
            </a:lnSpc>
            <a:spcBef>
              <a:spcPts val="0"/>
            </a:spcBef>
            <a:spcAft>
              <a:spcPts val="0"/>
            </a:spcAft>
          </a:pPr>
          <a:r>
            <a:rPr lang="es-CL" sz="1400" b="0" i="0" spc="0" dirty="0">
              <a:solidFill>
                <a:srgbClr val="15C047"/>
              </a:solidFill>
              <a:latin typeface="ACHS Nueva Sans Medium" pitchFamily="2" charset="77"/>
              <a:cs typeface="Calibri" panose="020F0502020204030204" pitchFamily="34" charset="0"/>
            </a:rPr>
            <a:t>MUTUALIDADES</a:t>
          </a:r>
        </a:p>
      </dgm:t>
    </dgm:pt>
    <dgm:pt modelId="{3FA7FF9A-BFB4-4237-A41E-4A4185724F42}" type="parTrans" cxnId="{11EA1859-1D74-4462-9C11-B8E215B01C0A}">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599543E4-348A-4D18-B1D1-B253FFE81A04}" type="sibTrans" cxnId="{11EA1859-1D74-4462-9C11-B8E215B01C0A}">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40E580A1-995B-4D07-905A-50A56EA688A5}">
      <dgm:prSet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lIns="0" rIns="0"/>
        <a:lstStyle/>
        <a:p>
          <a:pPr>
            <a:lnSpc>
              <a:spcPct val="100000"/>
            </a:lnSpc>
            <a:spcBef>
              <a:spcPts val="0"/>
            </a:spcBef>
            <a:spcAft>
              <a:spcPts val="0"/>
            </a:spcAft>
          </a:pPr>
          <a:r>
            <a:rPr lang="es-CL" sz="1400" b="0" i="0" spc="0" dirty="0">
              <a:solidFill>
                <a:srgbClr val="15C047"/>
              </a:solidFill>
              <a:latin typeface="ACHS Nueva Sans Medium" pitchFamily="2" charset="77"/>
              <a:cs typeface="Calibri" panose="020F0502020204030204" pitchFamily="34" charset="0"/>
            </a:rPr>
            <a:t>Empresas y asociaciones empresariales</a:t>
          </a:r>
        </a:p>
      </dgm:t>
    </dgm:pt>
    <dgm:pt modelId="{A865DCD5-A262-4CA3-8D53-6DF0CE186101}" type="parTrans" cxnId="{3BB76327-678C-4C94-B8BB-29A14F31C2D5}">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5AEEDDFE-65E7-4E89-B9D4-8B9DF1DB15F5}" type="sibTrans" cxnId="{3BB76327-678C-4C94-B8BB-29A14F31C2D5}">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B2072B73-DA17-42AD-A197-4B6CBCE85EDB}">
      <dgm:prSet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endParaRPr lang="es-CL"/>
        </a:p>
      </dgm:t>
    </dgm:pt>
    <dgm:pt modelId="{5CCC00DA-050B-4FD2-B74F-C63BA4F2E40E}" type="parTrans" cxnId="{30263300-AF5D-4FAF-A8B3-C8F66EE2E10F}">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538002D8-ACD7-481D-BDBC-82BB7E0D24A4}" type="sibTrans" cxnId="{30263300-AF5D-4FAF-A8B3-C8F66EE2E10F}">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35C79FF0-EB96-4459-9C8D-4C870058DFE7}">
      <dgm:prSet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pPr>
            <a:lnSpc>
              <a:spcPct val="100000"/>
            </a:lnSpc>
            <a:spcBef>
              <a:spcPts val="0"/>
            </a:spcBef>
            <a:spcAft>
              <a:spcPts val="0"/>
            </a:spcAft>
          </a:pPr>
          <a:r>
            <a:rPr lang="es-CL" sz="1400" b="0" i="0" spc="0">
              <a:solidFill>
                <a:srgbClr val="15C047"/>
              </a:solidFill>
              <a:latin typeface="ACHS Nueva Sans Medium" pitchFamily="2" charset="77"/>
              <a:cs typeface="Calibri" panose="020F0502020204030204" pitchFamily="34" charset="0"/>
            </a:rPr>
            <a:t>Trabajadores y organismos sindicales</a:t>
          </a:r>
          <a:endParaRPr lang="es-CL" sz="1400" b="0" i="0" spc="0" dirty="0">
            <a:solidFill>
              <a:srgbClr val="15C047"/>
            </a:solidFill>
            <a:latin typeface="ACHS Nueva Sans Medium" pitchFamily="2" charset="77"/>
            <a:cs typeface="Calibri" panose="020F0502020204030204" pitchFamily="34" charset="0"/>
          </a:endParaRPr>
        </a:p>
      </dgm:t>
    </dgm:pt>
    <dgm:pt modelId="{CD8364E9-36D3-464A-AE8C-DDBEC12C1EE9}" type="parTrans" cxnId="{E0E33A2D-EE0F-439A-AE7C-697EA84D3D02}">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B8D9BFD2-6248-43CA-AC1B-D64DCAC8B99B}" type="sibTrans" cxnId="{E0E33A2D-EE0F-439A-AE7C-697EA84D3D02}">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387C0869-0A7C-43F6-A061-C3214D06F63A}">
      <dgm:prSet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endParaRPr lang="es-CL"/>
        </a:p>
      </dgm:t>
    </dgm:pt>
    <dgm:pt modelId="{CCAA8084-F80A-4EB5-A436-F0B0892B5E0E}" type="parTrans" cxnId="{CBAD955B-3D1B-4D4C-A3B1-428F79EDB291}">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55366DBA-146F-44A4-8D24-4ED5E6B19D08}" type="sibTrans" cxnId="{CBAD955B-3D1B-4D4C-A3B1-428F79EDB291}">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BCDEA24D-D6D6-4291-A531-0AE646CDAB00}">
      <dgm:prSet custT="1">
        <dgm:style>
          <a:lnRef idx="2">
            <a:schemeClr val="accent3">
              <a:shade val="50000"/>
            </a:schemeClr>
          </a:lnRef>
          <a:fillRef idx="1">
            <a:schemeClr val="accent3"/>
          </a:fillRef>
          <a:effectRef idx="0">
            <a:schemeClr val="accent3"/>
          </a:effectRef>
          <a:fontRef idx="minor">
            <a:schemeClr val="lt1"/>
          </a:fontRef>
        </dgm:style>
      </dgm:prSet>
      <dgm:spPr>
        <a:solidFill>
          <a:srgbClr val="EAEADE"/>
        </a:solidFill>
        <a:ln>
          <a:solidFill>
            <a:schemeClr val="accent3">
              <a:shade val="50000"/>
              <a:alpha val="0"/>
            </a:schemeClr>
          </a:solidFill>
        </a:ln>
      </dgm:spPr>
      <dgm:t>
        <a:bodyPr/>
        <a:lstStyle/>
        <a:p>
          <a:pPr>
            <a:lnSpc>
              <a:spcPct val="100000"/>
            </a:lnSpc>
            <a:spcBef>
              <a:spcPts val="0"/>
            </a:spcBef>
            <a:spcAft>
              <a:spcPts val="0"/>
            </a:spcAft>
          </a:pPr>
          <a:r>
            <a:rPr lang="es-CL" sz="1400" b="0" i="0" spc="0" dirty="0">
              <a:solidFill>
                <a:srgbClr val="15C047"/>
              </a:solidFill>
              <a:latin typeface="ACHS Nueva Sans Medium" pitchFamily="2" charset="77"/>
              <a:cs typeface="Calibri" panose="020F0502020204030204" pitchFamily="34" charset="0"/>
            </a:rPr>
            <a:t>Universidades</a:t>
          </a:r>
        </a:p>
      </dgm:t>
    </dgm:pt>
    <dgm:pt modelId="{8A813770-AF45-40B0-8BDE-66F67DE18B47}" type="parTrans" cxnId="{6DE444C6-85FF-4332-B548-CFF411AB0D77}">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FE61157D-3DAB-42AC-9B50-34F5ADF7FBC1}" type="sibTrans" cxnId="{6DE444C6-85FF-4332-B548-CFF411AB0D77}">
      <dgm:prSet/>
      <dgm:spPr/>
      <dgm:t>
        <a:bodyPr/>
        <a:lstStyle/>
        <a:p>
          <a:endParaRPr lang="es-CL" sz="2000" spc="0">
            <a:solidFill>
              <a:schemeClr val="tx1"/>
            </a:solidFill>
            <a:latin typeface="Calibri" panose="020F0502020204030204" pitchFamily="34" charset="0"/>
            <a:cs typeface="Calibri" panose="020F0502020204030204" pitchFamily="34" charset="0"/>
          </a:endParaRPr>
        </a:p>
      </dgm:t>
    </dgm:pt>
    <dgm:pt modelId="{E845AD6D-670D-D349-BEA4-0DE917BD405E}" type="pres">
      <dgm:prSet presAssocID="{FF58EF5D-94BF-43DE-932B-7D1BE67307E8}" presName="compositeShape" presStyleCnt="0">
        <dgm:presLayoutVars>
          <dgm:chMax val="7"/>
          <dgm:dir/>
          <dgm:resizeHandles val="exact"/>
        </dgm:presLayoutVars>
      </dgm:prSet>
      <dgm:spPr/>
      <dgm:t>
        <a:bodyPr/>
        <a:lstStyle/>
        <a:p>
          <a:endParaRPr lang="es-CL"/>
        </a:p>
      </dgm:t>
    </dgm:pt>
    <dgm:pt modelId="{14B65873-6D88-AE4C-AC48-4DE020F23D48}" type="pres">
      <dgm:prSet presAssocID="{FF58EF5D-94BF-43DE-932B-7D1BE67307E8}" presName="wedge1" presStyleLbl="node1" presStyleIdx="0" presStyleCnt="7"/>
      <dgm:spPr/>
      <dgm:t>
        <a:bodyPr/>
        <a:lstStyle/>
        <a:p>
          <a:endParaRPr lang="es-CL"/>
        </a:p>
      </dgm:t>
    </dgm:pt>
    <dgm:pt modelId="{FE0DC62F-579D-814B-A07B-D90EFC89382B}" type="pres">
      <dgm:prSet presAssocID="{FF58EF5D-94BF-43DE-932B-7D1BE67307E8}" presName="dummy1a" presStyleCnt="0"/>
      <dgm:spPr/>
    </dgm:pt>
    <dgm:pt modelId="{76F28658-3ED2-B442-ACF5-F63EC998D76C}" type="pres">
      <dgm:prSet presAssocID="{FF58EF5D-94BF-43DE-932B-7D1BE67307E8}" presName="dummy1b" presStyleCnt="0"/>
      <dgm:spPr/>
    </dgm:pt>
    <dgm:pt modelId="{9B2B9223-8E34-894F-9D71-C4F511A8AB1B}" type="pres">
      <dgm:prSet presAssocID="{FF58EF5D-94BF-43DE-932B-7D1BE67307E8}" presName="wedge1Tx" presStyleLbl="node1" presStyleIdx="0" presStyleCnt="7">
        <dgm:presLayoutVars>
          <dgm:chMax val="0"/>
          <dgm:chPref val="0"/>
          <dgm:bulletEnabled val="1"/>
        </dgm:presLayoutVars>
      </dgm:prSet>
      <dgm:spPr/>
      <dgm:t>
        <a:bodyPr/>
        <a:lstStyle/>
        <a:p>
          <a:endParaRPr lang="es-CL"/>
        </a:p>
      </dgm:t>
    </dgm:pt>
    <dgm:pt modelId="{B76D9D23-7AD4-864E-9BED-FECCCB89F511}" type="pres">
      <dgm:prSet presAssocID="{FF58EF5D-94BF-43DE-932B-7D1BE67307E8}" presName="wedge2" presStyleLbl="node1" presStyleIdx="1" presStyleCnt="7"/>
      <dgm:spPr/>
      <dgm:t>
        <a:bodyPr/>
        <a:lstStyle/>
        <a:p>
          <a:endParaRPr lang="es-CL"/>
        </a:p>
      </dgm:t>
    </dgm:pt>
    <dgm:pt modelId="{6C10E9B7-C63C-4147-907B-5295CA363AF9}" type="pres">
      <dgm:prSet presAssocID="{FF58EF5D-94BF-43DE-932B-7D1BE67307E8}" presName="dummy2a" presStyleCnt="0"/>
      <dgm:spPr/>
    </dgm:pt>
    <dgm:pt modelId="{95F47570-9A24-6741-BDDE-8AFE92EAAD6F}" type="pres">
      <dgm:prSet presAssocID="{FF58EF5D-94BF-43DE-932B-7D1BE67307E8}" presName="dummy2b" presStyleCnt="0"/>
      <dgm:spPr/>
    </dgm:pt>
    <dgm:pt modelId="{57566C13-9D84-4347-B479-6EC4E33456F9}" type="pres">
      <dgm:prSet presAssocID="{FF58EF5D-94BF-43DE-932B-7D1BE67307E8}" presName="wedge2Tx" presStyleLbl="node1" presStyleIdx="1" presStyleCnt="7">
        <dgm:presLayoutVars>
          <dgm:chMax val="0"/>
          <dgm:chPref val="0"/>
          <dgm:bulletEnabled val="1"/>
        </dgm:presLayoutVars>
      </dgm:prSet>
      <dgm:spPr/>
      <dgm:t>
        <a:bodyPr/>
        <a:lstStyle/>
        <a:p>
          <a:endParaRPr lang="es-CL"/>
        </a:p>
      </dgm:t>
    </dgm:pt>
    <dgm:pt modelId="{17217ABE-AEC9-1E40-A632-043613BFD9B6}" type="pres">
      <dgm:prSet presAssocID="{FF58EF5D-94BF-43DE-932B-7D1BE67307E8}" presName="wedge3" presStyleLbl="node1" presStyleIdx="2" presStyleCnt="7"/>
      <dgm:spPr/>
      <dgm:t>
        <a:bodyPr/>
        <a:lstStyle/>
        <a:p>
          <a:endParaRPr lang="es-CL"/>
        </a:p>
      </dgm:t>
    </dgm:pt>
    <dgm:pt modelId="{1A742A96-CAAE-E040-A9FD-D50E22149385}" type="pres">
      <dgm:prSet presAssocID="{FF58EF5D-94BF-43DE-932B-7D1BE67307E8}" presName="dummy3a" presStyleCnt="0"/>
      <dgm:spPr/>
    </dgm:pt>
    <dgm:pt modelId="{7E959A36-242F-EA4D-BB6D-5E7D48D98426}" type="pres">
      <dgm:prSet presAssocID="{FF58EF5D-94BF-43DE-932B-7D1BE67307E8}" presName="dummy3b" presStyleCnt="0"/>
      <dgm:spPr/>
    </dgm:pt>
    <dgm:pt modelId="{0573C5A4-F473-C048-B5C6-B3709F1723FB}" type="pres">
      <dgm:prSet presAssocID="{FF58EF5D-94BF-43DE-932B-7D1BE67307E8}" presName="wedge3Tx" presStyleLbl="node1" presStyleIdx="2" presStyleCnt="7">
        <dgm:presLayoutVars>
          <dgm:chMax val="0"/>
          <dgm:chPref val="0"/>
          <dgm:bulletEnabled val="1"/>
        </dgm:presLayoutVars>
      </dgm:prSet>
      <dgm:spPr/>
      <dgm:t>
        <a:bodyPr/>
        <a:lstStyle/>
        <a:p>
          <a:endParaRPr lang="es-CL"/>
        </a:p>
      </dgm:t>
    </dgm:pt>
    <dgm:pt modelId="{BABC3BF2-A746-004B-9D29-00EAF776A6C0}" type="pres">
      <dgm:prSet presAssocID="{FF58EF5D-94BF-43DE-932B-7D1BE67307E8}" presName="wedge4" presStyleLbl="node1" presStyleIdx="3" presStyleCnt="7"/>
      <dgm:spPr/>
      <dgm:t>
        <a:bodyPr/>
        <a:lstStyle/>
        <a:p>
          <a:endParaRPr lang="es-CL"/>
        </a:p>
      </dgm:t>
    </dgm:pt>
    <dgm:pt modelId="{0F6DAE7D-7C2A-D44B-A1D2-8D5C9DCD4C18}" type="pres">
      <dgm:prSet presAssocID="{FF58EF5D-94BF-43DE-932B-7D1BE67307E8}" presName="dummy4a" presStyleCnt="0"/>
      <dgm:spPr/>
    </dgm:pt>
    <dgm:pt modelId="{A33BFA20-8905-2E45-A990-50A38CB1DEA6}" type="pres">
      <dgm:prSet presAssocID="{FF58EF5D-94BF-43DE-932B-7D1BE67307E8}" presName="dummy4b" presStyleCnt="0"/>
      <dgm:spPr/>
    </dgm:pt>
    <dgm:pt modelId="{81AF67C6-C86F-874C-8800-09ABD7AC69CD}" type="pres">
      <dgm:prSet presAssocID="{FF58EF5D-94BF-43DE-932B-7D1BE67307E8}" presName="wedge4Tx" presStyleLbl="node1" presStyleIdx="3" presStyleCnt="7">
        <dgm:presLayoutVars>
          <dgm:chMax val="0"/>
          <dgm:chPref val="0"/>
          <dgm:bulletEnabled val="1"/>
        </dgm:presLayoutVars>
      </dgm:prSet>
      <dgm:spPr/>
      <dgm:t>
        <a:bodyPr/>
        <a:lstStyle/>
        <a:p>
          <a:endParaRPr lang="es-CL"/>
        </a:p>
      </dgm:t>
    </dgm:pt>
    <dgm:pt modelId="{54DB3FFB-A979-B64F-B943-970FE3B45D4F}" type="pres">
      <dgm:prSet presAssocID="{FF58EF5D-94BF-43DE-932B-7D1BE67307E8}" presName="wedge5" presStyleLbl="node1" presStyleIdx="4" presStyleCnt="7"/>
      <dgm:spPr/>
      <dgm:t>
        <a:bodyPr/>
        <a:lstStyle/>
        <a:p>
          <a:endParaRPr lang="es-CL"/>
        </a:p>
      </dgm:t>
    </dgm:pt>
    <dgm:pt modelId="{B80D7921-2C5D-554D-A65D-6971443C640E}" type="pres">
      <dgm:prSet presAssocID="{FF58EF5D-94BF-43DE-932B-7D1BE67307E8}" presName="dummy5a" presStyleCnt="0"/>
      <dgm:spPr/>
    </dgm:pt>
    <dgm:pt modelId="{B022E12E-43CF-324E-A892-106E291BD9C6}" type="pres">
      <dgm:prSet presAssocID="{FF58EF5D-94BF-43DE-932B-7D1BE67307E8}" presName="dummy5b" presStyleCnt="0"/>
      <dgm:spPr/>
    </dgm:pt>
    <dgm:pt modelId="{80174DAD-086E-4C47-879E-6CB1CCC7F0C4}" type="pres">
      <dgm:prSet presAssocID="{FF58EF5D-94BF-43DE-932B-7D1BE67307E8}" presName="wedge5Tx" presStyleLbl="node1" presStyleIdx="4" presStyleCnt="7">
        <dgm:presLayoutVars>
          <dgm:chMax val="0"/>
          <dgm:chPref val="0"/>
          <dgm:bulletEnabled val="1"/>
        </dgm:presLayoutVars>
      </dgm:prSet>
      <dgm:spPr/>
      <dgm:t>
        <a:bodyPr/>
        <a:lstStyle/>
        <a:p>
          <a:endParaRPr lang="es-CL"/>
        </a:p>
      </dgm:t>
    </dgm:pt>
    <dgm:pt modelId="{817858B5-DFED-144F-A333-CEA06DDAEA1F}" type="pres">
      <dgm:prSet presAssocID="{FF58EF5D-94BF-43DE-932B-7D1BE67307E8}" presName="wedge6" presStyleLbl="node1" presStyleIdx="5" presStyleCnt="7"/>
      <dgm:spPr/>
      <dgm:t>
        <a:bodyPr/>
        <a:lstStyle/>
        <a:p>
          <a:endParaRPr lang="es-CL"/>
        </a:p>
      </dgm:t>
    </dgm:pt>
    <dgm:pt modelId="{14888C5B-0694-6248-888E-567F5FDECC3A}" type="pres">
      <dgm:prSet presAssocID="{FF58EF5D-94BF-43DE-932B-7D1BE67307E8}" presName="dummy6a" presStyleCnt="0"/>
      <dgm:spPr/>
    </dgm:pt>
    <dgm:pt modelId="{42FA5AD2-5B2F-EE41-848B-24F7FC128E04}" type="pres">
      <dgm:prSet presAssocID="{FF58EF5D-94BF-43DE-932B-7D1BE67307E8}" presName="dummy6b" presStyleCnt="0"/>
      <dgm:spPr/>
    </dgm:pt>
    <dgm:pt modelId="{656EB9DD-A2D0-BD4D-9EA5-1C69B090730A}" type="pres">
      <dgm:prSet presAssocID="{FF58EF5D-94BF-43DE-932B-7D1BE67307E8}" presName="wedge6Tx" presStyleLbl="node1" presStyleIdx="5" presStyleCnt="7">
        <dgm:presLayoutVars>
          <dgm:chMax val="0"/>
          <dgm:chPref val="0"/>
          <dgm:bulletEnabled val="1"/>
        </dgm:presLayoutVars>
      </dgm:prSet>
      <dgm:spPr/>
      <dgm:t>
        <a:bodyPr/>
        <a:lstStyle/>
        <a:p>
          <a:endParaRPr lang="es-CL"/>
        </a:p>
      </dgm:t>
    </dgm:pt>
    <dgm:pt modelId="{0449453B-7CEB-3F4B-A904-F6EE357666E7}" type="pres">
      <dgm:prSet presAssocID="{FF58EF5D-94BF-43DE-932B-7D1BE67307E8}" presName="wedge7" presStyleLbl="node1" presStyleIdx="6" presStyleCnt="7"/>
      <dgm:spPr/>
      <dgm:t>
        <a:bodyPr/>
        <a:lstStyle/>
        <a:p>
          <a:endParaRPr lang="es-CL"/>
        </a:p>
      </dgm:t>
    </dgm:pt>
    <dgm:pt modelId="{F6423DDD-9A53-664F-8DF2-FDC625440F1A}" type="pres">
      <dgm:prSet presAssocID="{FF58EF5D-94BF-43DE-932B-7D1BE67307E8}" presName="dummy7a" presStyleCnt="0"/>
      <dgm:spPr/>
    </dgm:pt>
    <dgm:pt modelId="{A2FBBCF0-9E6F-1243-AD47-548790E11AB3}" type="pres">
      <dgm:prSet presAssocID="{FF58EF5D-94BF-43DE-932B-7D1BE67307E8}" presName="dummy7b" presStyleCnt="0"/>
      <dgm:spPr/>
    </dgm:pt>
    <dgm:pt modelId="{6E3E0E08-B995-8F47-BB48-5A560022E266}" type="pres">
      <dgm:prSet presAssocID="{FF58EF5D-94BF-43DE-932B-7D1BE67307E8}" presName="wedge7Tx" presStyleLbl="node1" presStyleIdx="6" presStyleCnt="7">
        <dgm:presLayoutVars>
          <dgm:chMax val="0"/>
          <dgm:chPref val="0"/>
          <dgm:bulletEnabled val="1"/>
        </dgm:presLayoutVars>
      </dgm:prSet>
      <dgm:spPr/>
      <dgm:t>
        <a:bodyPr/>
        <a:lstStyle/>
        <a:p>
          <a:endParaRPr lang="es-CL"/>
        </a:p>
      </dgm:t>
    </dgm:pt>
    <dgm:pt modelId="{88EFE5AA-E816-194E-85B2-2B70861972F3}" type="pres">
      <dgm:prSet presAssocID="{6AB985D1-D261-47E3-9C54-779FD70FD0F0}" presName="arrowWedge1" presStyleLbl="fgSibTrans2D1" presStyleIdx="0" presStyleCnt="7"/>
      <dgm:spPr>
        <a:solidFill>
          <a:srgbClr val="15C047"/>
        </a:solidFill>
      </dgm:spPr>
    </dgm:pt>
    <dgm:pt modelId="{4567AD9D-D85C-D245-80E7-8375EC67C82E}" type="pres">
      <dgm:prSet presAssocID="{FB0A5EE0-5200-4FC3-AAC3-4F637EFD272F}" presName="arrowWedge2" presStyleLbl="fgSibTrans2D1" presStyleIdx="1" presStyleCnt="7"/>
      <dgm:spPr>
        <a:solidFill>
          <a:srgbClr val="15C047"/>
        </a:solidFill>
      </dgm:spPr>
    </dgm:pt>
    <dgm:pt modelId="{4BCCA40A-FEAB-9043-B25F-378A208CA8F3}" type="pres">
      <dgm:prSet presAssocID="{8E3C0E4E-423D-483A-BD4B-3FFB326DCC27}" presName="arrowWedge3" presStyleLbl="fgSibTrans2D1" presStyleIdx="2" presStyleCnt="7"/>
      <dgm:spPr>
        <a:solidFill>
          <a:srgbClr val="15C047"/>
        </a:solidFill>
      </dgm:spPr>
    </dgm:pt>
    <dgm:pt modelId="{B1FCF54A-AA69-3A4D-B414-766F0670FE00}" type="pres">
      <dgm:prSet presAssocID="{599543E4-348A-4D18-B1D1-B253FFE81A04}" presName="arrowWedge4" presStyleLbl="fgSibTrans2D1" presStyleIdx="3" presStyleCnt="7"/>
      <dgm:spPr>
        <a:solidFill>
          <a:srgbClr val="15C047"/>
        </a:solidFill>
      </dgm:spPr>
    </dgm:pt>
    <dgm:pt modelId="{F7EA09D6-FF25-734D-AB28-00E7A24E788F}" type="pres">
      <dgm:prSet presAssocID="{5AEEDDFE-65E7-4E89-B9D4-8B9DF1DB15F5}" presName="arrowWedge5" presStyleLbl="fgSibTrans2D1" presStyleIdx="4" presStyleCnt="7"/>
      <dgm:spPr>
        <a:solidFill>
          <a:srgbClr val="15C047"/>
        </a:solidFill>
      </dgm:spPr>
    </dgm:pt>
    <dgm:pt modelId="{8126F01B-ABF2-524E-9470-97EBA8384E6B}" type="pres">
      <dgm:prSet presAssocID="{B8D9BFD2-6248-43CA-AC1B-D64DCAC8B99B}" presName="arrowWedge6" presStyleLbl="fgSibTrans2D1" presStyleIdx="5" presStyleCnt="7"/>
      <dgm:spPr>
        <a:solidFill>
          <a:srgbClr val="15C047"/>
        </a:solidFill>
      </dgm:spPr>
    </dgm:pt>
    <dgm:pt modelId="{B41283D5-115C-1243-A97D-513A4A6D8195}" type="pres">
      <dgm:prSet presAssocID="{FE61157D-3DAB-42AC-9B50-34F5ADF7FBC1}" presName="arrowWedge7" presStyleLbl="fgSibTrans2D1" presStyleIdx="6" presStyleCnt="7"/>
      <dgm:spPr>
        <a:solidFill>
          <a:srgbClr val="15C047"/>
        </a:solidFill>
      </dgm:spPr>
    </dgm:pt>
  </dgm:ptLst>
  <dgm:cxnLst>
    <dgm:cxn modelId="{CB446860-8FAD-674E-88C8-34F0D5CD25BA}" type="presOf" srcId="{0F020ED2-01D5-4702-BA46-FF11AF188A9C}" destId="{B76D9D23-7AD4-864E-9BED-FECCCB89F511}" srcOrd="0" destOrd="0" presId="urn:microsoft.com/office/officeart/2005/8/layout/cycle8"/>
    <dgm:cxn modelId="{8387A3BA-40CD-5146-811A-665EA9442942}" type="presOf" srcId="{1E325430-5E36-4441-8470-0FF36C8FD626}" destId="{BABC3BF2-A746-004B-9D29-00EAF776A6C0}" srcOrd="0" destOrd="0" presId="urn:microsoft.com/office/officeart/2005/8/layout/cycle8"/>
    <dgm:cxn modelId="{78ED875D-3013-004D-A879-1E8ED9123010}" type="presOf" srcId="{2AE7D63F-990E-4A5A-A18F-64527AA2C447}" destId="{17217ABE-AEC9-1E40-A632-043613BFD9B6}" srcOrd="0" destOrd="0" presId="urn:microsoft.com/office/officeart/2005/8/layout/cycle8"/>
    <dgm:cxn modelId="{21CA84C3-841D-7D44-8DA7-327AEAABB886}" type="presOf" srcId="{1E325430-5E36-4441-8470-0FF36C8FD626}" destId="{81AF67C6-C86F-874C-8800-09ABD7AC69CD}" srcOrd="1" destOrd="0" presId="urn:microsoft.com/office/officeart/2005/8/layout/cycle8"/>
    <dgm:cxn modelId="{69DCF2FD-4DC4-4D28-A31A-4D87BC778D24}" srcId="{FF58EF5D-94BF-43DE-932B-7D1BE67307E8}" destId="{355D8A25-BD83-4F8D-A250-B8C76CAD2A6B}" srcOrd="10" destOrd="0" parTransId="{C6A4E5F3-9C4C-482E-A1CF-9FA81E49C9E9}" sibTransId="{B58D6B96-B606-49CF-B9E8-675F5AC35031}"/>
    <dgm:cxn modelId="{4476D26F-F2EC-4A9A-ABE4-9DA33BC71899}" srcId="{FF58EF5D-94BF-43DE-932B-7D1BE67307E8}" destId="{0F020ED2-01D5-4702-BA46-FF11AF188A9C}" srcOrd="1" destOrd="0" parTransId="{3FDA10EC-DBD8-4D9F-9C18-23C74F120F21}" sibTransId="{FB0A5EE0-5200-4FC3-AAC3-4F637EFD272F}"/>
    <dgm:cxn modelId="{DDC154C4-4FDF-4F71-9FF5-3B667F4E816A}" srcId="{FF58EF5D-94BF-43DE-932B-7D1BE67307E8}" destId="{5AE5B800-99C0-4F74-88CC-0F732E44DAD4}" srcOrd="0" destOrd="0" parTransId="{BA31E860-5D7F-4273-A4FA-3C3FBF542A4D}" sibTransId="{6AB985D1-D261-47E3-9C54-779FD70FD0F0}"/>
    <dgm:cxn modelId="{E0E33A2D-EE0F-439A-AE7C-697EA84D3D02}" srcId="{FF58EF5D-94BF-43DE-932B-7D1BE67307E8}" destId="{35C79FF0-EB96-4459-9C8D-4C870058DFE7}" srcOrd="5" destOrd="0" parTransId="{CD8364E9-36D3-464A-AE8C-DDBEC12C1EE9}" sibTransId="{B8D9BFD2-6248-43CA-AC1B-D64DCAC8B99B}"/>
    <dgm:cxn modelId="{7F2C5822-E2CD-5A47-8AC7-50B56AE94B25}" type="presOf" srcId="{0F020ED2-01D5-4702-BA46-FF11AF188A9C}" destId="{57566C13-9D84-4347-B479-6EC4E33456F9}" srcOrd="1" destOrd="0" presId="urn:microsoft.com/office/officeart/2005/8/layout/cycle8"/>
    <dgm:cxn modelId="{3BB76327-678C-4C94-B8BB-29A14F31C2D5}" srcId="{FF58EF5D-94BF-43DE-932B-7D1BE67307E8}" destId="{40E580A1-995B-4D07-905A-50A56EA688A5}" srcOrd="4" destOrd="0" parTransId="{A865DCD5-A262-4CA3-8D53-6DF0CE186101}" sibTransId="{5AEEDDFE-65E7-4E89-B9D4-8B9DF1DB15F5}"/>
    <dgm:cxn modelId="{2BCC8745-7A23-1A45-9CEC-260E7AB40B5D}" type="presOf" srcId="{40E580A1-995B-4D07-905A-50A56EA688A5}" destId="{54DB3FFB-A979-B64F-B943-970FE3B45D4F}" srcOrd="0" destOrd="0" presId="urn:microsoft.com/office/officeart/2005/8/layout/cycle8"/>
    <dgm:cxn modelId="{87E3BDE0-AB84-724F-BE74-202DCB98073B}" type="presOf" srcId="{40E580A1-995B-4D07-905A-50A56EA688A5}" destId="{80174DAD-086E-4C47-879E-6CB1CCC7F0C4}" srcOrd="1" destOrd="0" presId="urn:microsoft.com/office/officeart/2005/8/layout/cycle8"/>
    <dgm:cxn modelId="{038B4257-230E-2F4F-9EB3-FD2F6A894F52}" type="presOf" srcId="{BCDEA24D-D6D6-4291-A531-0AE646CDAB00}" destId="{0449453B-7CEB-3F4B-A904-F6EE357666E7}" srcOrd="0" destOrd="0" presId="urn:microsoft.com/office/officeart/2005/8/layout/cycle8"/>
    <dgm:cxn modelId="{09274037-2717-0F4D-A22F-B7F228FF5DAC}" type="presOf" srcId="{2AE7D63F-990E-4A5A-A18F-64527AA2C447}" destId="{0573C5A4-F473-C048-B5C6-B3709F1723FB}" srcOrd="1" destOrd="0" presId="urn:microsoft.com/office/officeart/2005/8/layout/cycle8"/>
    <dgm:cxn modelId="{4831CCDC-B673-334B-8B3F-6163364C532B}" type="presOf" srcId="{5AE5B800-99C0-4F74-88CC-0F732E44DAD4}" destId="{14B65873-6D88-AE4C-AC48-4DE020F23D48}" srcOrd="0" destOrd="0" presId="urn:microsoft.com/office/officeart/2005/8/layout/cycle8"/>
    <dgm:cxn modelId="{11EA1859-1D74-4462-9C11-B8E215B01C0A}" srcId="{FF58EF5D-94BF-43DE-932B-7D1BE67307E8}" destId="{1E325430-5E36-4441-8470-0FF36C8FD626}" srcOrd="3" destOrd="0" parTransId="{3FA7FF9A-BFB4-4237-A41E-4A4185724F42}" sibTransId="{599543E4-348A-4D18-B1D1-B253FFE81A04}"/>
    <dgm:cxn modelId="{1B497838-0E34-4075-9C31-AEE7AD640383}" srcId="{FF58EF5D-94BF-43DE-932B-7D1BE67307E8}" destId="{F1F0012D-A71D-4CC0-8CA7-DEB50211C6A4}" srcOrd="9" destOrd="0" parTransId="{EECB0D62-517D-4FA9-B723-EA9786231B84}" sibTransId="{74AFE796-2ED3-4835-991F-929C3E82DB9D}"/>
    <dgm:cxn modelId="{6DE444C6-85FF-4332-B548-CFF411AB0D77}" srcId="{FF58EF5D-94BF-43DE-932B-7D1BE67307E8}" destId="{BCDEA24D-D6D6-4291-A531-0AE646CDAB00}" srcOrd="6" destOrd="0" parTransId="{8A813770-AF45-40B0-8BDE-66F67DE18B47}" sibTransId="{FE61157D-3DAB-42AC-9B50-34F5ADF7FBC1}"/>
    <dgm:cxn modelId="{CBAD955B-3D1B-4D4C-A3B1-428F79EDB291}" srcId="{FF58EF5D-94BF-43DE-932B-7D1BE67307E8}" destId="{387C0869-0A7C-43F6-A061-C3214D06F63A}" srcOrd="8" destOrd="0" parTransId="{CCAA8084-F80A-4EB5-A436-F0B0892B5E0E}" sibTransId="{55366DBA-146F-44A4-8D24-4ED5E6B19D08}"/>
    <dgm:cxn modelId="{FA3348BF-CF52-F24E-8DD2-452049112C10}" type="presOf" srcId="{BCDEA24D-D6D6-4291-A531-0AE646CDAB00}" destId="{6E3E0E08-B995-8F47-BB48-5A560022E266}" srcOrd="1" destOrd="0" presId="urn:microsoft.com/office/officeart/2005/8/layout/cycle8"/>
    <dgm:cxn modelId="{30263300-AF5D-4FAF-A8B3-C8F66EE2E10F}" srcId="{FF58EF5D-94BF-43DE-932B-7D1BE67307E8}" destId="{B2072B73-DA17-42AD-A197-4B6CBCE85EDB}" srcOrd="7" destOrd="0" parTransId="{5CCC00DA-050B-4FD2-B74F-C63BA4F2E40E}" sibTransId="{538002D8-ACD7-481D-BDBC-82BB7E0D24A4}"/>
    <dgm:cxn modelId="{2F3359A4-066D-AD41-81A1-5B49EC4C8014}" type="presOf" srcId="{35C79FF0-EB96-4459-9C8D-4C870058DFE7}" destId="{817858B5-DFED-144F-A333-CEA06DDAEA1F}" srcOrd="0" destOrd="0" presId="urn:microsoft.com/office/officeart/2005/8/layout/cycle8"/>
    <dgm:cxn modelId="{CF8373B2-894A-B340-8877-8292612B5ADD}" type="presOf" srcId="{5AE5B800-99C0-4F74-88CC-0F732E44DAD4}" destId="{9B2B9223-8E34-894F-9D71-C4F511A8AB1B}" srcOrd="1" destOrd="0" presId="urn:microsoft.com/office/officeart/2005/8/layout/cycle8"/>
    <dgm:cxn modelId="{509522B6-0DF4-4D25-A33D-45C674216405}" srcId="{FF58EF5D-94BF-43DE-932B-7D1BE67307E8}" destId="{2AE7D63F-990E-4A5A-A18F-64527AA2C447}" srcOrd="2" destOrd="0" parTransId="{0A38E69A-975B-47AF-A6D9-13694AD6732B}" sibTransId="{8E3C0E4E-423D-483A-BD4B-3FFB326DCC27}"/>
    <dgm:cxn modelId="{9701D495-8345-AD43-8185-AC9D75B2D532}" type="presOf" srcId="{FF58EF5D-94BF-43DE-932B-7D1BE67307E8}" destId="{E845AD6D-670D-D349-BEA4-0DE917BD405E}" srcOrd="0" destOrd="0" presId="urn:microsoft.com/office/officeart/2005/8/layout/cycle8"/>
    <dgm:cxn modelId="{1201BD7A-03FF-8C4C-B1CA-671A113DCFE1}" type="presOf" srcId="{35C79FF0-EB96-4459-9C8D-4C870058DFE7}" destId="{656EB9DD-A2D0-BD4D-9EA5-1C69B090730A}" srcOrd="1" destOrd="0" presId="urn:microsoft.com/office/officeart/2005/8/layout/cycle8"/>
    <dgm:cxn modelId="{32E64CDD-FCA5-674B-9F64-E55D97ECFA80}" type="presParOf" srcId="{E845AD6D-670D-D349-BEA4-0DE917BD405E}" destId="{14B65873-6D88-AE4C-AC48-4DE020F23D48}" srcOrd="0" destOrd="0" presId="urn:microsoft.com/office/officeart/2005/8/layout/cycle8"/>
    <dgm:cxn modelId="{00502091-814D-EB4E-AE13-8500E378BA3A}" type="presParOf" srcId="{E845AD6D-670D-D349-BEA4-0DE917BD405E}" destId="{FE0DC62F-579D-814B-A07B-D90EFC89382B}" srcOrd="1" destOrd="0" presId="urn:microsoft.com/office/officeart/2005/8/layout/cycle8"/>
    <dgm:cxn modelId="{6A21CB97-56F9-314A-8B11-AC1E2526B905}" type="presParOf" srcId="{E845AD6D-670D-D349-BEA4-0DE917BD405E}" destId="{76F28658-3ED2-B442-ACF5-F63EC998D76C}" srcOrd="2" destOrd="0" presId="urn:microsoft.com/office/officeart/2005/8/layout/cycle8"/>
    <dgm:cxn modelId="{19203945-A305-C14B-A212-CE538B364025}" type="presParOf" srcId="{E845AD6D-670D-D349-BEA4-0DE917BD405E}" destId="{9B2B9223-8E34-894F-9D71-C4F511A8AB1B}" srcOrd="3" destOrd="0" presId="urn:microsoft.com/office/officeart/2005/8/layout/cycle8"/>
    <dgm:cxn modelId="{5B5BB981-E362-B046-8F38-CE5450EB0A7A}" type="presParOf" srcId="{E845AD6D-670D-D349-BEA4-0DE917BD405E}" destId="{B76D9D23-7AD4-864E-9BED-FECCCB89F511}" srcOrd="4" destOrd="0" presId="urn:microsoft.com/office/officeart/2005/8/layout/cycle8"/>
    <dgm:cxn modelId="{40D4AD23-DFCF-6F48-AE4C-D7A0C55756D6}" type="presParOf" srcId="{E845AD6D-670D-D349-BEA4-0DE917BD405E}" destId="{6C10E9B7-C63C-4147-907B-5295CA363AF9}" srcOrd="5" destOrd="0" presId="urn:microsoft.com/office/officeart/2005/8/layout/cycle8"/>
    <dgm:cxn modelId="{340127DD-D950-524A-8CC5-4E4C90ED1455}" type="presParOf" srcId="{E845AD6D-670D-D349-BEA4-0DE917BD405E}" destId="{95F47570-9A24-6741-BDDE-8AFE92EAAD6F}" srcOrd="6" destOrd="0" presId="urn:microsoft.com/office/officeart/2005/8/layout/cycle8"/>
    <dgm:cxn modelId="{A582386C-0B5E-4648-AD53-1A296B895E0C}" type="presParOf" srcId="{E845AD6D-670D-D349-BEA4-0DE917BD405E}" destId="{57566C13-9D84-4347-B479-6EC4E33456F9}" srcOrd="7" destOrd="0" presId="urn:microsoft.com/office/officeart/2005/8/layout/cycle8"/>
    <dgm:cxn modelId="{A325856E-4F37-EE46-93B4-9546916EDC2D}" type="presParOf" srcId="{E845AD6D-670D-D349-BEA4-0DE917BD405E}" destId="{17217ABE-AEC9-1E40-A632-043613BFD9B6}" srcOrd="8" destOrd="0" presId="urn:microsoft.com/office/officeart/2005/8/layout/cycle8"/>
    <dgm:cxn modelId="{8643AC51-D7FE-2242-9773-8C40A53933B7}" type="presParOf" srcId="{E845AD6D-670D-D349-BEA4-0DE917BD405E}" destId="{1A742A96-CAAE-E040-A9FD-D50E22149385}" srcOrd="9" destOrd="0" presId="urn:microsoft.com/office/officeart/2005/8/layout/cycle8"/>
    <dgm:cxn modelId="{CFAD82BA-0249-D948-8E42-2A8F537D08D4}" type="presParOf" srcId="{E845AD6D-670D-D349-BEA4-0DE917BD405E}" destId="{7E959A36-242F-EA4D-BB6D-5E7D48D98426}" srcOrd="10" destOrd="0" presId="urn:microsoft.com/office/officeart/2005/8/layout/cycle8"/>
    <dgm:cxn modelId="{2EAB9993-823E-D740-B4B4-4FA06B46CAA4}" type="presParOf" srcId="{E845AD6D-670D-D349-BEA4-0DE917BD405E}" destId="{0573C5A4-F473-C048-B5C6-B3709F1723FB}" srcOrd="11" destOrd="0" presId="urn:microsoft.com/office/officeart/2005/8/layout/cycle8"/>
    <dgm:cxn modelId="{79122854-55E4-3641-9E03-EC78856E5F34}" type="presParOf" srcId="{E845AD6D-670D-D349-BEA4-0DE917BD405E}" destId="{BABC3BF2-A746-004B-9D29-00EAF776A6C0}" srcOrd="12" destOrd="0" presId="urn:microsoft.com/office/officeart/2005/8/layout/cycle8"/>
    <dgm:cxn modelId="{08D460EF-B22D-C64C-8ADD-B5D45DCF4E99}" type="presParOf" srcId="{E845AD6D-670D-D349-BEA4-0DE917BD405E}" destId="{0F6DAE7D-7C2A-D44B-A1D2-8D5C9DCD4C18}" srcOrd="13" destOrd="0" presId="urn:microsoft.com/office/officeart/2005/8/layout/cycle8"/>
    <dgm:cxn modelId="{F0253F09-9BBB-C247-A9AF-F1503624DA87}" type="presParOf" srcId="{E845AD6D-670D-D349-BEA4-0DE917BD405E}" destId="{A33BFA20-8905-2E45-A990-50A38CB1DEA6}" srcOrd="14" destOrd="0" presId="urn:microsoft.com/office/officeart/2005/8/layout/cycle8"/>
    <dgm:cxn modelId="{42DD0A12-B198-EB4A-9A3F-33A717394EC2}" type="presParOf" srcId="{E845AD6D-670D-D349-BEA4-0DE917BD405E}" destId="{81AF67C6-C86F-874C-8800-09ABD7AC69CD}" srcOrd="15" destOrd="0" presId="urn:microsoft.com/office/officeart/2005/8/layout/cycle8"/>
    <dgm:cxn modelId="{561A6ED7-CB80-BD4B-91AF-D39BF4E35B87}" type="presParOf" srcId="{E845AD6D-670D-D349-BEA4-0DE917BD405E}" destId="{54DB3FFB-A979-B64F-B943-970FE3B45D4F}" srcOrd="16" destOrd="0" presId="urn:microsoft.com/office/officeart/2005/8/layout/cycle8"/>
    <dgm:cxn modelId="{6768C5D4-876E-DF4D-BEC9-66820E6564F0}" type="presParOf" srcId="{E845AD6D-670D-D349-BEA4-0DE917BD405E}" destId="{B80D7921-2C5D-554D-A65D-6971443C640E}" srcOrd="17" destOrd="0" presId="urn:microsoft.com/office/officeart/2005/8/layout/cycle8"/>
    <dgm:cxn modelId="{7C9D417E-17EF-BC47-B555-57874DD98E0A}" type="presParOf" srcId="{E845AD6D-670D-D349-BEA4-0DE917BD405E}" destId="{B022E12E-43CF-324E-A892-106E291BD9C6}" srcOrd="18" destOrd="0" presId="urn:microsoft.com/office/officeart/2005/8/layout/cycle8"/>
    <dgm:cxn modelId="{DAB5D6ED-10CA-0644-A6B7-273DA064008F}" type="presParOf" srcId="{E845AD6D-670D-D349-BEA4-0DE917BD405E}" destId="{80174DAD-086E-4C47-879E-6CB1CCC7F0C4}" srcOrd="19" destOrd="0" presId="urn:microsoft.com/office/officeart/2005/8/layout/cycle8"/>
    <dgm:cxn modelId="{E1F14DE8-3306-0C44-B892-1473DE544437}" type="presParOf" srcId="{E845AD6D-670D-D349-BEA4-0DE917BD405E}" destId="{817858B5-DFED-144F-A333-CEA06DDAEA1F}" srcOrd="20" destOrd="0" presId="urn:microsoft.com/office/officeart/2005/8/layout/cycle8"/>
    <dgm:cxn modelId="{B7B12592-3C3A-654D-B2FC-BB9F96F834AE}" type="presParOf" srcId="{E845AD6D-670D-D349-BEA4-0DE917BD405E}" destId="{14888C5B-0694-6248-888E-567F5FDECC3A}" srcOrd="21" destOrd="0" presId="urn:microsoft.com/office/officeart/2005/8/layout/cycle8"/>
    <dgm:cxn modelId="{E7F3DF98-2052-1F40-AE3F-D9D9F867B353}" type="presParOf" srcId="{E845AD6D-670D-D349-BEA4-0DE917BD405E}" destId="{42FA5AD2-5B2F-EE41-848B-24F7FC128E04}" srcOrd="22" destOrd="0" presId="urn:microsoft.com/office/officeart/2005/8/layout/cycle8"/>
    <dgm:cxn modelId="{792FC8ED-814B-764B-80CD-4AB4149FE2C5}" type="presParOf" srcId="{E845AD6D-670D-D349-BEA4-0DE917BD405E}" destId="{656EB9DD-A2D0-BD4D-9EA5-1C69B090730A}" srcOrd="23" destOrd="0" presId="urn:microsoft.com/office/officeart/2005/8/layout/cycle8"/>
    <dgm:cxn modelId="{2B58BABF-4016-4843-984E-C2FA897FDE75}" type="presParOf" srcId="{E845AD6D-670D-D349-BEA4-0DE917BD405E}" destId="{0449453B-7CEB-3F4B-A904-F6EE357666E7}" srcOrd="24" destOrd="0" presId="urn:microsoft.com/office/officeart/2005/8/layout/cycle8"/>
    <dgm:cxn modelId="{45C80C42-6196-5045-BE24-AC6887A7CCE1}" type="presParOf" srcId="{E845AD6D-670D-D349-BEA4-0DE917BD405E}" destId="{F6423DDD-9A53-664F-8DF2-FDC625440F1A}" srcOrd="25" destOrd="0" presId="urn:microsoft.com/office/officeart/2005/8/layout/cycle8"/>
    <dgm:cxn modelId="{0D2AE5C4-87A9-1E4A-BA0C-766E24CF208A}" type="presParOf" srcId="{E845AD6D-670D-D349-BEA4-0DE917BD405E}" destId="{A2FBBCF0-9E6F-1243-AD47-548790E11AB3}" srcOrd="26" destOrd="0" presId="urn:microsoft.com/office/officeart/2005/8/layout/cycle8"/>
    <dgm:cxn modelId="{746FE0AC-0B57-2249-9D3A-ABD7A51473AF}" type="presParOf" srcId="{E845AD6D-670D-D349-BEA4-0DE917BD405E}" destId="{6E3E0E08-B995-8F47-BB48-5A560022E266}" srcOrd="27" destOrd="0" presId="urn:microsoft.com/office/officeart/2005/8/layout/cycle8"/>
    <dgm:cxn modelId="{9BFF1E1B-4B81-5D48-8895-EB288066E4F5}" type="presParOf" srcId="{E845AD6D-670D-D349-BEA4-0DE917BD405E}" destId="{88EFE5AA-E816-194E-85B2-2B70861972F3}" srcOrd="28" destOrd="0" presId="urn:microsoft.com/office/officeart/2005/8/layout/cycle8"/>
    <dgm:cxn modelId="{8EE38542-BB03-F349-8F34-87ECAEFAA378}" type="presParOf" srcId="{E845AD6D-670D-D349-BEA4-0DE917BD405E}" destId="{4567AD9D-D85C-D245-80E7-8375EC67C82E}" srcOrd="29" destOrd="0" presId="urn:microsoft.com/office/officeart/2005/8/layout/cycle8"/>
    <dgm:cxn modelId="{1D816AB3-881E-D447-8276-1DF124BD892A}" type="presParOf" srcId="{E845AD6D-670D-D349-BEA4-0DE917BD405E}" destId="{4BCCA40A-FEAB-9043-B25F-378A208CA8F3}" srcOrd="30" destOrd="0" presId="urn:microsoft.com/office/officeart/2005/8/layout/cycle8"/>
    <dgm:cxn modelId="{0A2E9726-EB94-3645-9510-E29191DB9493}" type="presParOf" srcId="{E845AD6D-670D-D349-BEA4-0DE917BD405E}" destId="{B1FCF54A-AA69-3A4D-B414-766F0670FE00}" srcOrd="31" destOrd="0" presId="urn:microsoft.com/office/officeart/2005/8/layout/cycle8"/>
    <dgm:cxn modelId="{44BA7594-7165-714D-9060-D06D9382AD15}" type="presParOf" srcId="{E845AD6D-670D-D349-BEA4-0DE917BD405E}" destId="{F7EA09D6-FF25-734D-AB28-00E7A24E788F}" srcOrd="32" destOrd="0" presId="urn:microsoft.com/office/officeart/2005/8/layout/cycle8"/>
    <dgm:cxn modelId="{42B521CC-9097-934D-950D-BC1EF77AB014}" type="presParOf" srcId="{E845AD6D-670D-D349-BEA4-0DE917BD405E}" destId="{8126F01B-ABF2-524E-9470-97EBA8384E6B}" srcOrd="33" destOrd="0" presId="urn:microsoft.com/office/officeart/2005/8/layout/cycle8"/>
    <dgm:cxn modelId="{DE203F0E-CBF3-264D-9D3F-266447A1FE2D}" type="presParOf" srcId="{E845AD6D-670D-D349-BEA4-0DE917BD405E}" destId="{B41283D5-115C-1243-A97D-513A4A6D8195}" srcOrd="34" destOrd="0" presId="urn:microsoft.com/office/officeart/2005/8/layout/cycle8"/>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C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819BDEC-D5F1-48D1-BE8A-46E3339F7C0E}" type="datetimeFigureOut">
              <a:rPr lang="es-CL" smtClean="0"/>
              <a:t>23-01-2025</a:t>
            </a:fld>
            <a:endParaRPr lang="es-CL"/>
          </a:p>
        </p:txBody>
      </p:sp>
      <p:sp>
        <p:nvSpPr>
          <p:cNvPr id="4" name="Slide Image Placeholder 3"/>
          <p:cNvSpPr>
            <a:spLocks noGrp="1" noRot="1" noChangeAspect="1"/>
          </p:cNvSpPr>
          <p:nvPr>
            <p:ph type="sldImg" idx="2"/>
          </p:nvPr>
        </p:nvSpPr>
        <p:spPr>
          <a:xfrm>
            <a:off x="342900" y="685800"/>
            <a:ext cx="6172200" cy="3429000"/>
          </a:xfrm>
          <a:prstGeom prst="rect">
            <a:avLst/>
          </a:prstGeom>
          <a:noFill/>
          <a:ln w="12700">
            <a:solidFill>
              <a:prstClr val="black"/>
            </a:solidFill>
          </a:ln>
        </p:spPr>
        <p:txBody>
          <a:bodyPr vert="horz" lIns="91440" tIns="45720" rIns="91440" bIns="45720" rtlCol="0" anchor="ctr"/>
          <a:lstStyle/>
          <a:p>
            <a:endParaRPr lang="es-C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C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3BD9BE5-650B-45F0-8090-C917A3048331}" type="slidenum">
              <a:rPr lang="es-CL" smtClean="0"/>
              <a:t>‹Nº›</a:t>
            </a:fld>
            <a:endParaRPr lang="es-CL"/>
          </a:p>
        </p:txBody>
      </p:sp>
    </p:spTree>
    <p:extLst>
      <p:ext uri="{BB962C8B-B14F-4D97-AF65-F5344CB8AC3E}">
        <p14:creationId xmlns:p14="http://schemas.microsoft.com/office/powerpoint/2010/main" val="3664196331"/>
      </p:ext>
    </p:extLst>
  </p:cSld>
  <p:clrMap bg1="lt1" tx1="dk1" bg2="lt2" tx2="dk2" accent1="accent1" accent2="accent2" accent3="accent3" accent4="accent4" accent5="accent5" accent6="accent6" hlink="hlink" folHlink="folHlink"/>
  <p:notesStyle>
    <a:lvl1pPr marL="0" algn="l" defTabSz="1440180" rtl="0" eaLnBrk="1" latinLnBrk="0" hangingPunct="1">
      <a:defRPr sz="1900" kern="1200">
        <a:solidFill>
          <a:schemeClr val="tx1"/>
        </a:solidFill>
        <a:latin typeface="+mn-lt"/>
        <a:ea typeface="+mn-ea"/>
        <a:cs typeface="+mn-cs"/>
      </a:defRPr>
    </a:lvl1pPr>
    <a:lvl2pPr marL="720090" algn="l" defTabSz="1440180" rtl="0" eaLnBrk="1" latinLnBrk="0" hangingPunct="1">
      <a:defRPr sz="1900" kern="1200">
        <a:solidFill>
          <a:schemeClr val="tx1"/>
        </a:solidFill>
        <a:latin typeface="+mn-lt"/>
        <a:ea typeface="+mn-ea"/>
        <a:cs typeface="+mn-cs"/>
      </a:defRPr>
    </a:lvl2pPr>
    <a:lvl3pPr marL="1440180" algn="l" defTabSz="1440180" rtl="0" eaLnBrk="1" latinLnBrk="0" hangingPunct="1">
      <a:defRPr sz="1900" kern="1200">
        <a:solidFill>
          <a:schemeClr val="tx1"/>
        </a:solidFill>
        <a:latin typeface="+mn-lt"/>
        <a:ea typeface="+mn-ea"/>
        <a:cs typeface="+mn-cs"/>
      </a:defRPr>
    </a:lvl3pPr>
    <a:lvl4pPr marL="2160270" algn="l" defTabSz="1440180" rtl="0" eaLnBrk="1" latinLnBrk="0" hangingPunct="1">
      <a:defRPr sz="1900" kern="1200">
        <a:solidFill>
          <a:schemeClr val="tx1"/>
        </a:solidFill>
        <a:latin typeface="+mn-lt"/>
        <a:ea typeface="+mn-ea"/>
        <a:cs typeface="+mn-cs"/>
      </a:defRPr>
    </a:lvl4pPr>
    <a:lvl5pPr marL="2880360" algn="l" defTabSz="1440180" rtl="0" eaLnBrk="1" latinLnBrk="0" hangingPunct="1">
      <a:defRPr sz="1900" kern="1200">
        <a:solidFill>
          <a:schemeClr val="tx1"/>
        </a:solidFill>
        <a:latin typeface="+mn-lt"/>
        <a:ea typeface="+mn-ea"/>
        <a:cs typeface="+mn-cs"/>
      </a:defRPr>
    </a:lvl5pPr>
    <a:lvl6pPr marL="3600450" algn="l" defTabSz="1440180" rtl="0" eaLnBrk="1" latinLnBrk="0" hangingPunct="1">
      <a:defRPr sz="1900" kern="1200">
        <a:solidFill>
          <a:schemeClr val="tx1"/>
        </a:solidFill>
        <a:latin typeface="+mn-lt"/>
        <a:ea typeface="+mn-ea"/>
        <a:cs typeface="+mn-cs"/>
      </a:defRPr>
    </a:lvl6pPr>
    <a:lvl7pPr marL="4320540" algn="l" defTabSz="1440180" rtl="0" eaLnBrk="1" latinLnBrk="0" hangingPunct="1">
      <a:defRPr sz="1900" kern="1200">
        <a:solidFill>
          <a:schemeClr val="tx1"/>
        </a:solidFill>
        <a:latin typeface="+mn-lt"/>
        <a:ea typeface="+mn-ea"/>
        <a:cs typeface="+mn-cs"/>
      </a:defRPr>
    </a:lvl7pPr>
    <a:lvl8pPr marL="5040630" algn="l" defTabSz="1440180" rtl="0" eaLnBrk="1" latinLnBrk="0" hangingPunct="1">
      <a:defRPr sz="1900" kern="1200">
        <a:solidFill>
          <a:schemeClr val="tx1"/>
        </a:solidFill>
        <a:latin typeface="+mn-lt"/>
        <a:ea typeface="+mn-ea"/>
        <a:cs typeface="+mn-cs"/>
      </a:defRPr>
    </a:lvl8pPr>
    <a:lvl9pPr marL="5760720" algn="l" defTabSz="1440180" rtl="0" eaLnBrk="1" latinLnBrk="0" hangingPunct="1">
      <a:defRPr sz="1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fld id="{E3BD9BE5-650B-45F0-8090-C917A3048331}" type="slidenum">
              <a:rPr lang="es-CL" smtClean="0"/>
              <a:t>1</a:t>
            </a:fld>
            <a:endParaRPr lang="es-CL"/>
          </a:p>
        </p:txBody>
      </p:sp>
    </p:spTree>
    <p:extLst>
      <p:ext uri="{BB962C8B-B14F-4D97-AF65-F5344CB8AC3E}">
        <p14:creationId xmlns:p14="http://schemas.microsoft.com/office/powerpoint/2010/main" val="22577007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2700" marR="5715" indent="0" algn="just">
              <a:lnSpc>
                <a:spcPct val="100000"/>
              </a:lnSpc>
              <a:buFont typeface="+mj-lt"/>
              <a:buNone/>
            </a:pPr>
            <a:endParaRPr lang="es-ES" sz="1200" dirty="0">
              <a:latin typeface="Arial" panose="020B0604020202020204" pitchFamily="34" charset="0"/>
              <a:cs typeface="Arial" panose="020B0604020202020204" pitchFamily="34" charset="0"/>
            </a:endParaRPr>
          </a:p>
        </p:txBody>
      </p:sp>
      <p:sp>
        <p:nvSpPr>
          <p:cNvPr id="4" name="Marcador de número de diapositiva 3"/>
          <p:cNvSpPr>
            <a:spLocks noGrp="1"/>
          </p:cNvSpPr>
          <p:nvPr>
            <p:ph type="sldNum" sz="quarter" idx="10"/>
          </p:nvPr>
        </p:nvSpPr>
        <p:spPr/>
        <p:txBody>
          <a:bodyPr/>
          <a:lstStyle/>
          <a:p>
            <a:fld id="{E3BD9BE5-650B-45F0-8090-C917A3048331}" type="slidenum">
              <a:rPr lang="es-CL" smtClean="0"/>
              <a:t>23</a:t>
            </a:fld>
            <a:endParaRPr lang="es-CL"/>
          </a:p>
        </p:txBody>
      </p:sp>
    </p:spTree>
    <p:extLst>
      <p:ext uri="{BB962C8B-B14F-4D97-AF65-F5344CB8AC3E}">
        <p14:creationId xmlns:p14="http://schemas.microsoft.com/office/powerpoint/2010/main" val="29115088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2700" marR="5715" indent="0" algn="just">
              <a:lnSpc>
                <a:spcPct val="100000"/>
              </a:lnSpc>
              <a:buFont typeface="+mj-lt"/>
              <a:buNone/>
            </a:pPr>
            <a:endParaRPr lang="es-ES" sz="1200" dirty="0">
              <a:latin typeface="Arial" panose="020B0604020202020204" pitchFamily="34" charset="0"/>
              <a:cs typeface="Arial" panose="020B0604020202020204" pitchFamily="34" charset="0"/>
            </a:endParaRPr>
          </a:p>
        </p:txBody>
      </p:sp>
      <p:sp>
        <p:nvSpPr>
          <p:cNvPr id="4" name="Marcador de número de diapositiva 3"/>
          <p:cNvSpPr>
            <a:spLocks noGrp="1"/>
          </p:cNvSpPr>
          <p:nvPr>
            <p:ph type="sldNum" sz="quarter" idx="10"/>
          </p:nvPr>
        </p:nvSpPr>
        <p:spPr/>
        <p:txBody>
          <a:bodyPr/>
          <a:lstStyle/>
          <a:p>
            <a:fld id="{E3BD9BE5-650B-45F0-8090-C917A3048331}" type="slidenum">
              <a:rPr lang="es-CL" smtClean="0"/>
              <a:t>30</a:t>
            </a:fld>
            <a:endParaRPr lang="es-CL"/>
          </a:p>
        </p:txBody>
      </p:sp>
    </p:spTree>
    <p:extLst>
      <p:ext uri="{BB962C8B-B14F-4D97-AF65-F5344CB8AC3E}">
        <p14:creationId xmlns:p14="http://schemas.microsoft.com/office/powerpoint/2010/main" val="27617530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4.emf"/><Relationship Id="rId4" Type="http://schemas.openxmlformats.org/officeDocument/2006/relationships/oleObject" Target="../embeddings/oleObject13.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7.emf"/><Relationship Id="rId4" Type="http://schemas.openxmlformats.org/officeDocument/2006/relationships/oleObject" Target="../embeddings/oleObject15.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image" Target="../media/image12.emf"/><Relationship Id="rId4" Type="http://schemas.openxmlformats.org/officeDocument/2006/relationships/oleObject" Target="../embeddings/oleObject11.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image" Target="../media/image13.emf"/><Relationship Id="rId4" Type="http://schemas.openxmlformats.org/officeDocument/2006/relationships/oleObject" Target="../embeddings/oleObject12.bin"/></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15152" y="2796183"/>
            <a:ext cx="13771721" cy="1929408"/>
          </a:xfrm>
        </p:spPr>
        <p:txBody>
          <a:bodyPr/>
          <a:lstStyle/>
          <a:p>
            <a:r>
              <a:rPr lang="en-US"/>
              <a:t>Click to edit Master title style</a:t>
            </a:r>
            <a:endParaRPr lang="es-CL"/>
          </a:p>
        </p:txBody>
      </p:sp>
      <p:sp>
        <p:nvSpPr>
          <p:cNvPr id="3" name="Subtitle 2"/>
          <p:cNvSpPr>
            <a:spLocks noGrp="1"/>
          </p:cNvSpPr>
          <p:nvPr>
            <p:ph type="subTitle" idx="1"/>
          </p:nvPr>
        </p:nvSpPr>
        <p:spPr>
          <a:xfrm>
            <a:off x="2430304" y="5100637"/>
            <a:ext cx="11341418" cy="2300288"/>
          </a:xfrm>
        </p:spPr>
        <p:txBody>
          <a:bodyPr/>
          <a:lstStyle>
            <a:lvl1pPr marL="0" indent="0" algn="ctr">
              <a:buNone/>
              <a:defRPr>
                <a:solidFill>
                  <a:schemeClr val="tx1">
                    <a:tint val="75000"/>
                  </a:schemeClr>
                </a:solidFill>
              </a:defRPr>
            </a:lvl1pPr>
            <a:lvl2pPr marL="720090" indent="0" algn="ctr">
              <a:buNone/>
              <a:defRPr>
                <a:solidFill>
                  <a:schemeClr val="tx1">
                    <a:tint val="75000"/>
                  </a:schemeClr>
                </a:solidFill>
              </a:defRPr>
            </a:lvl2pPr>
            <a:lvl3pPr marL="1440180" indent="0" algn="ctr">
              <a:buNone/>
              <a:defRPr>
                <a:solidFill>
                  <a:schemeClr val="tx1">
                    <a:tint val="75000"/>
                  </a:schemeClr>
                </a:solidFill>
              </a:defRPr>
            </a:lvl3pPr>
            <a:lvl4pPr marL="2160270" indent="0" algn="ctr">
              <a:buNone/>
              <a:defRPr>
                <a:solidFill>
                  <a:schemeClr val="tx1">
                    <a:tint val="75000"/>
                  </a:schemeClr>
                </a:solidFill>
              </a:defRPr>
            </a:lvl4pPr>
            <a:lvl5pPr marL="2880360" indent="0" algn="ctr">
              <a:buNone/>
              <a:defRPr>
                <a:solidFill>
                  <a:schemeClr val="tx1">
                    <a:tint val="75000"/>
                  </a:schemeClr>
                </a:solidFill>
              </a:defRPr>
            </a:lvl5pPr>
            <a:lvl6pPr marL="3600450" indent="0" algn="ctr">
              <a:buNone/>
              <a:defRPr>
                <a:solidFill>
                  <a:schemeClr val="tx1">
                    <a:tint val="75000"/>
                  </a:schemeClr>
                </a:solidFill>
              </a:defRPr>
            </a:lvl6pPr>
            <a:lvl7pPr marL="4320540" indent="0" algn="ctr">
              <a:buNone/>
              <a:defRPr>
                <a:solidFill>
                  <a:schemeClr val="tx1">
                    <a:tint val="75000"/>
                  </a:schemeClr>
                </a:solidFill>
              </a:defRPr>
            </a:lvl7pPr>
            <a:lvl8pPr marL="5040630" indent="0" algn="ctr">
              <a:buNone/>
              <a:defRPr>
                <a:solidFill>
                  <a:schemeClr val="tx1">
                    <a:tint val="75000"/>
                  </a:schemeClr>
                </a:solidFill>
              </a:defRPr>
            </a:lvl8pPr>
            <a:lvl9pPr marL="5760720" indent="0" algn="ctr">
              <a:buNone/>
              <a:defRPr>
                <a:solidFill>
                  <a:schemeClr val="tx1">
                    <a:tint val="75000"/>
                  </a:schemeClr>
                </a:solidFill>
              </a:defRPr>
            </a:lvl9pPr>
          </a:lstStyle>
          <a:p>
            <a:r>
              <a:rPr lang="en-US"/>
              <a:t>Click to edit Master subtitle style</a:t>
            </a:r>
            <a:endParaRPr lang="es-CL"/>
          </a:p>
        </p:txBody>
      </p:sp>
      <p:sp>
        <p:nvSpPr>
          <p:cNvPr id="4" name="Date Placeholder 3"/>
          <p:cNvSpPr>
            <a:spLocks noGrp="1"/>
          </p:cNvSpPr>
          <p:nvPr>
            <p:ph type="dt" sz="half" idx="10"/>
          </p:nvPr>
        </p:nvSpPr>
        <p:spPr/>
        <p:txBody>
          <a:bodyPr/>
          <a:lstStyle/>
          <a:p>
            <a:fld id="{BF1F7606-8703-4774-82E4-4A2AAF776758}" type="datetimeFigureOut">
              <a:rPr lang="es-CL" smtClean="0"/>
              <a:t>23-01-2025</a:t>
            </a:fld>
            <a:endParaRPr lang="es-CL"/>
          </a:p>
        </p:txBody>
      </p:sp>
      <p:sp>
        <p:nvSpPr>
          <p:cNvPr id="5" name="Footer Placeholder 4"/>
          <p:cNvSpPr>
            <a:spLocks noGrp="1"/>
          </p:cNvSpPr>
          <p:nvPr>
            <p:ph type="ftr" sz="quarter" idx="11"/>
          </p:nvPr>
        </p:nvSpPr>
        <p:spPr/>
        <p:txBody>
          <a:bodyPr/>
          <a:lstStyle/>
          <a:p>
            <a:endParaRPr lang="es-CL"/>
          </a:p>
        </p:txBody>
      </p:sp>
      <p:sp>
        <p:nvSpPr>
          <p:cNvPr id="6" name="Slide Number Placeholder 5"/>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34945754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p:txBody>
          <a:bodyPr/>
          <a:lstStyle/>
          <a:p>
            <a:fld id="{BF1F7606-8703-4774-82E4-4A2AAF776758}" type="datetimeFigureOut">
              <a:rPr lang="es-CL" smtClean="0"/>
              <a:t>23-01-2025</a:t>
            </a:fld>
            <a:endParaRPr lang="es-CL"/>
          </a:p>
        </p:txBody>
      </p:sp>
      <p:sp>
        <p:nvSpPr>
          <p:cNvPr id="5" name="Footer Placeholder 4"/>
          <p:cNvSpPr>
            <a:spLocks noGrp="1"/>
          </p:cNvSpPr>
          <p:nvPr>
            <p:ph type="ftr" sz="quarter" idx="11"/>
          </p:nvPr>
        </p:nvSpPr>
        <p:spPr/>
        <p:txBody>
          <a:bodyPr/>
          <a:lstStyle/>
          <a:p>
            <a:endParaRPr lang="es-CL"/>
          </a:p>
        </p:txBody>
      </p:sp>
      <p:sp>
        <p:nvSpPr>
          <p:cNvPr id="6" name="Slide Number Placeholder 5"/>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36383161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lámina comparativa 2">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11EC41E5-806D-2E4E-AAA0-2EC2EC18FE5B}"/>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13365"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3" name="Rectángulo 2">
            <a:extLst>
              <a:ext uri="{FF2B5EF4-FFF2-40B4-BE49-F238E27FC236}">
                <a16:creationId xmlns:a16="http://schemas.microsoft.com/office/drawing/2014/main" xmlns="" id="{2911EB5D-1BA9-2A4A-845D-FB2FAE605904}"/>
              </a:ext>
            </a:extLst>
          </p:cNvPr>
          <p:cNvSpPr/>
          <p:nvPr/>
        </p:nvSpPr>
        <p:spPr>
          <a:xfrm>
            <a:off x="12249824" y="4895096"/>
            <a:ext cx="3348844" cy="771498"/>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852" tIns="65852" rIns="65852" bIns="65852" numCol="1" spcCol="38100" rtlCol="0" anchor="ctr">
            <a:spAutoFit/>
          </a:bodyPr>
          <a:lstStyle/>
          <a:p>
            <a:pPr algn="ctr" defTabSz="1070094" hangingPunct="0"/>
            <a:endParaRPr lang="es-CL" sz="4149">
              <a:solidFill>
                <a:srgbClr val="FFFFFF"/>
              </a:solidFill>
              <a:latin typeface="Helvetica Neue Medium"/>
              <a:ea typeface="Helvetica Neue Medium"/>
              <a:cs typeface="Helvetica Neue Medium"/>
              <a:sym typeface="Helvetica Neue Medium"/>
            </a:endParaRPr>
          </a:p>
        </p:txBody>
      </p:sp>
      <p:pic>
        <p:nvPicPr>
          <p:cNvPr id="6" name="Imagen 5">
            <a:extLst>
              <a:ext uri="{FF2B5EF4-FFF2-40B4-BE49-F238E27FC236}">
                <a16:creationId xmlns:a16="http://schemas.microsoft.com/office/drawing/2014/main" xmlns="" id="{BB9DBB79-AEF3-7142-B494-A8145235B41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36" name="Marcador de texto 7">
            <a:extLst>
              <a:ext uri="{FF2B5EF4-FFF2-40B4-BE49-F238E27FC236}">
                <a16:creationId xmlns:a16="http://schemas.microsoft.com/office/drawing/2014/main" xmlns="" id="{F98F0A76-E459-7040-92DF-0796E35D78F1}"/>
              </a:ext>
            </a:extLst>
          </p:cNvPr>
          <p:cNvSpPr>
            <a:spLocks noGrp="1"/>
          </p:cNvSpPr>
          <p:nvPr>
            <p:ph type="body" sz="quarter" idx="14" hasCustomPrompt="1"/>
          </p:nvPr>
        </p:nvSpPr>
        <p:spPr>
          <a:xfrm>
            <a:off x="3119671" y="3126854"/>
            <a:ext cx="7112460" cy="1158357"/>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53" name="Conector recto 74">
            <a:extLst>
              <a:ext uri="{FF2B5EF4-FFF2-40B4-BE49-F238E27FC236}">
                <a16:creationId xmlns:a16="http://schemas.microsoft.com/office/drawing/2014/main" xmlns="" id="{5BEE3994-12D6-1249-9576-D8A33A059B6C}"/>
              </a:ext>
            </a:extLst>
          </p:cNvPr>
          <p:cNvSpPr/>
          <p:nvPr/>
        </p:nvSpPr>
        <p:spPr>
          <a:xfrm>
            <a:off x="2569277" y="3122932"/>
            <a:ext cx="0" cy="1166201"/>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54" name="Marcador de texto 7">
            <a:extLst>
              <a:ext uri="{FF2B5EF4-FFF2-40B4-BE49-F238E27FC236}">
                <a16:creationId xmlns:a16="http://schemas.microsoft.com/office/drawing/2014/main" xmlns="" id="{42F8710E-2DE8-074A-B6FC-EE460A7B8A9B}"/>
              </a:ext>
            </a:extLst>
          </p:cNvPr>
          <p:cNvSpPr>
            <a:spLocks noGrp="1"/>
          </p:cNvSpPr>
          <p:nvPr>
            <p:ph type="body" sz="quarter" idx="13" hasCustomPrompt="1"/>
          </p:nvPr>
        </p:nvSpPr>
        <p:spPr>
          <a:xfrm>
            <a:off x="610837" y="3435055"/>
            <a:ext cx="1501869"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25" name="Marcador de texto 7">
            <a:extLst>
              <a:ext uri="{FF2B5EF4-FFF2-40B4-BE49-F238E27FC236}">
                <a16:creationId xmlns:a16="http://schemas.microsoft.com/office/drawing/2014/main" xmlns="" id="{50306EC6-0DBE-CA43-A0DD-EF256EA8F173}"/>
              </a:ext>
            </a:extLst>
          </p:cNvPr>
          <p:cNvSpPr>
            <a:spLocks noGrp="1"/>
          </p:cNvSpPr>
          <p:nvPr>
            <p:ph type="body" sz="quarter" idx="21" hasCustomPrompt="1"/>
          </p:nvPr>
        </p:nvSpPr>
        <p:spPr>
          <a:xfrm>
            <a:off x="3119671" y="4722509"/>
            <a:ext cx="7112460" cy="1158357"/>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6" name="Conector recto 74">
            <a:extLst>
              <a:ext uri="{FF2B5EF4-FFF2-40B4-BE49-F238E27FC236}">
                <a16:creationId xmlns:a16="http://schemas.microsoft.com/office/drawing/2014/main" xmlns="" id="{66BC8E95-AD01-7340-AEF4-FA9267A7B96C}"/>
              </a:ext>
            </a:extLst>
          </p:cNvPr>
          <p:cNvSpPr/>
          <p:nvPr/>
        </p:nvSpPr>
        <p:spPr>
          <a:xfrm>
            <a:off x="2569277" y="4718587"/>
            <a:ext cx="0" cy="1166201"/>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27" name="Marcador de texto 7">
            <a:extLst>
              <a:ext uri="{FF2B5EF4-FFF2-40B4-BE49-F238E27FC236}">
                <a16:creationId xmlns:a16="http://schemas.microsoft.com/office/drawing/2014/main" xmlns="" id="{D0EF8C13-D250-3B48-93E5-9C3D6F1E4C9B}"/>
              </a:ext>
            </a:extLst>
          </p:cNvPr>
          <p:cNvSpPr>
            <a:spLocks noGrp="1"/>
          </p:cNvSpPr>
          <p:nvPr>
            <p:ph type="body" sz="quarter" idx="22" hasCustomPrompt="1"/>
          </p:nvPr>
        </p:nvSpPr>
        <p:spPr>
          <a:xfrm>
            <a:off x="610837" y="5030710"/>
            <a:ext cx="1501869"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28" name="Marcador de texto 7">
            <a:extLst>
              <a:ext uri="{FF2B5EF4-FFF2-40B4-BE49-F238E27FC236}">
                <a16:creationId xmlns:a16="http://schemas.microsoft.com/office/drawing/2014/main" xmlns="" id="{0B4D78F6-630E-0648-BAC8-17387BDBB3B9}"/>
              </a:ext>
            </a:extLst>
          </p:cNvPr>
          <p:cNvSpPr>
            <a:spLocks noGrp="1"/>
          </p:cNvSpPr>
          <p:nvPr>
            <p:ph type="body" sz="quarter" idx="23" hasCustomPrompt="1"/>
          </p:nvPr>
        </p:nvSpPr>
        <p:spPr>
          <a:xfrm>
            <a:off x="3119671" y="6314242"/>
            <a:ext cx="7112460" cy="1158357"/>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9" name="Conector recto 74">
            <a:extLst>
              <a:ext uri="{FF2B5EF4-FFF2-40B4-BE49-F238E27FC236}">
                <a16:creationId xmlns:a16="http://schemas.microsoft.com/office/drawing/2014/main" xmlns="" id="{0F490E9C-14C0-9941-B731-8CF1EB77CFB0}"/>
              </a:ext>
            </a:extLst>
          </p:cNvPr>
          <p:cNvSpPr/>
          <p:nvPr/>
        </p:nvSpPr>
        <p:spPr>
          <a:xfrm>
            <a:off x="2569277" y="6310320"/>
            <a:ext cx="0" cy="1166201"/>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30" name="Marcador de texto 7">
            <a:extLst>
              <a:ext uri="{FF2B5EF4-FFF2-40B4-BE49-F238E27FC236}">
                <a16:creationId xmlns:a16="http://schemas.microsoft.com/office/drawing/2014/main" xmlns="" id="{EF047069-CE19-1842-BAD4-C26C6CDE0550}"/>
              </a:ext>
            </a:extLst>
          </p:cNvPr>
          <p:cNvSpPr>
            <a:spLocks noGrp="1"/>
          </p:cNvSpPr>
          <p:nvPr>
            <p:ph type="body" sz="quarter" idx="24" hasCustomPrompt="1"/>
          </p:nvPr>
        </p:nvSpPr>
        <p:spPr>
          <a:xfrm>
            <a:off x="610837" y="6622443"/>
            <a:ext cx="1501869"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31" name="Marcador de texto 7">
            <a:extLst>
              <a:ext uri="{FF2B5EF4-FFF2-40B4-BE49-F238E27FC236}">
                <a16:creationId xmlns:a16="http://schemas.microsoft.com/office/drawing/2014/main" xmlns="" id="{2DC4370E-6F27-3245-98B3-67FCA3D4DD12}"/>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32" name="Marcador de texto 7">
            <a:extLst>
              <a:ext uri="{FF2B5EF4-FFF2-40B4-BE49-F238E27FC236}">
                <a16:creationId xmlns:a16="http://schemas.microsoft.com/office/drawing/2014/main" xmlns="" id="{3FA1E7A8-C92D-2847-B100-27B26CD11654}"/>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33" name="Conector recto 32">
            <a:extLst>
              <a:ext uri="{FF2B5EF4-FFF2-40B4-BE49-F238E27FC236}">
                <a16:creationId xmlns:a16="http://schemas.microsoft.com/office/drawing/2014/main" xmlns="" id="{DB4315D6-AD8D-3949-8F34-E00C5056579B}"/>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40" name="Línea">
            <a:extLst>
              <a:ext uri="{FF2B5EF4-FFF2-40B4-BE49-F238E27FC236}">
                <a16:creationId xmlns:a16="http://schemas.microsoft.com/office/drawing/2014/main" xmlns="" id="{76F4E9D5-0812-A140-93FE-620B638443FF}"/>
              </a:ext>
            </a:extLst>
          </p:cNvPr>
          <p:cNvSpPr/>
          <p:nvPr/>
        </p:nvSpPr>
        <p:spPr>
          <a:xfrm>
            <a:off x="11099373" y="3113405"/>
            <a:ext cx="372201" cy="4347000"/>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2700">
            <a:solidFill>
              <a:srgbClr val="5E5E5E"/>
            </a:solidFill>
            <a:prstDash val="sysDot"/>
            <a:miter lim="400000"/>
          </a:ln>
        </p:spPr>
        <p:txBody>
          <a:bodyPr lIns="32927" tIns="32927" rIns="32927" bIns="32927" anchor="ctr"/>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41" name="Marcador de texto 7">
            <a:extLst>
              <a:ext uri="{FF2B5EF4-FFF2-40B4-BE49-F238E27FC236}">
                <a16:creationId xmlns:a16="http://schemas.microsoft.com/office/drawing/2014/main" xmlns="" id="{02342014-A163-7C4D-8310-87B690C18D40}"/>
              </a:ext>
            </a:extLst>
          </p:cNvPr>
          <p:cNvSpPr>
            <a:spLocks noGrp="1"/>
          </p:cNvSpPr>
          <p:nvPr>
            <p:ph type="body" sz="quarter" idx="19" hasCustomPrompt="1"/>
          </p:nvPr>
        </p:nvSpPr>
        <p:spPr>
          <a:xfrm>
            <a:off x="12338926" y="3277719"/>
            <a:ext cx="3166389"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42" name="Marcador de texto 7">
            <a:extLst>
              <a:ext uri="{FF2B5EF4-FFF2-40B4-BE49-F238E27FC236}">
                <a16:creationId xmlns:a16="http://schemas.microsoft.com/office/drawing/2014/main" xmlns="" id="{89A58E29-5BE1-E74F-82E9-E7C5220EE4D6}"/>
              </a:ext>
            </a:extLst>
          </p:cNvPr>
          <p:cNvSpPr>
            <a:spLocks noGrp="1"/>
          </p:cNvSpPr>
          <p:nvPr>
            <p:ph type="body" sz="quarter" idx="20" hasCustomPrompt="1"/>
          </p:nvPr>
        </p:nvSpPr>
        <p:spPr>
          <a:xfrm>
            <a:off x="12338926" y="3952719"/>
            <a:ext cx="3166389" cy="3369934"/>
          </a:xfrm>
          <a:prstGeom prst="rect">
            <a:avLst/>
          </a:prstGeom>
        </p:spPr>
        <p:txBody>
          <a:bodyPr/>
          <a:lstStyle>
            <a:lvl1pPr marL="0" indent="0">
              <a:buNone/>
              <a:defRPr sz="1427"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1</a:t>
            </a:r>
            <a:endParaRPr lang="es-CL" dirty="0"/>
          </a:p>
        </p:txBody>
      </p:sp>
      <p:sp>
        <p:nvSpPr>
          <p:cNvPr id="43" name="Marcador de texto 4">
            <a:extLst>
              <a:ext uri="{FF2B5EF4-FFF2-40B4-BE49-F238E27FC236}">
                <a16:creationId xmlns:a16="http://schemas.microsoft.com/office/drawing/2014/main" xmlns="" id="{7E4CF988-A96C-B747-AC71-EB9FDD4EAE76}"/>
              </a:ext>
            </a:extLst>
          </p:cNvPr>
          <p:cNvSpPr>
            <a:spLocks noGrp="1"/>
          </p:cNvSpPr>
          <p:nvPr>
            <p:ph type="body" sz="quarter" idx="48" hasCustomPrompt="1"/>
          </p:nvPr>
        </p:nvSpPr>
        <p:spPr>
          <a:xfrm>
            <a:off x="607578" y="8499678"/>
            <a:ext cx="11131590" cy="488022"/>
          </a:xfrm>
          <a:prstGeom prst="rect">
            <a:avLst/>
          </a:prstGeom>
        </p:spPr>
        <p:txBody>
          <a:bodyPr/>
          <a:lstStyle>
            <a:lvl1pPr marL="296335" indent="-296335">
              <a:lnSpc>
                <a:spcPct val="100000"/>
              </a:lnSpc>
              <a:spcBef>
                <a:spcPts val="130"/>
              </a:spcBef>
              <a:buClr>
                <a:schemeClr val="accent1"/>
              </a:buClr>
              <a:buSzPct val="90000"/>
              <a:buFont typeface="+mj-lt"/>
              <a:buAutoNum type="arabicPeriod"/>
              <a:tabLst/>
              <a:defRPr sz="1167" b="0" i="0">
                <a:solidFill>
                  <a:schemeClr val="tx2"/>
                </a:solidFill>
                <a:latin typeface="Arial" panose="020B0604020202020204" pitchFamily="34" charset="0"/>
              </a:defRPr>
            </a:lvl1pPr>
          </a:lstStyle>
          <a:p>
            <a:pPr lvl="0"/>
            <a:r>
              <a:rPr lang="es-ES" dirty="0"/>
              <a:t>Texto primera fuente Arial 9</a:t>
            </a:r>
          </a:p>
          <a:p>
            <a:pPr lvl="0"/>
            <a:r>
              <a:rPr lang="es-CL" dirty="0"/>
              <a:t>Texto sfuente Arial 9</a:t>
            </a:r>
          </a:p>
        </p:txBody>
      </p:sp>
      <p:sp>
        <p:nvSpPr>
          <p:cNvPr id="22" name="Marcador de número de diapositiva 1">
            <a:extLst>
              <a:ext uri="{FF2B5EF4-FFF2-40B4-BE49-F238E27FC236}">
                <a16:creationId xmlns:a16="http://schemas.microsoft.com/office/drawing/2014/main" xmlns="" id="{5C893E49-5789-F84C-98C6-FE670ACF291B}"/>
              </a:ext>
            </a:extLst>
          </p:cNvPr>
          <p:cNvSpPr>
            <a:spLocks noGrp="1"/>
          </p:cNvSpPr>
          <p:nvPr>
            <p:ph type="sldNum" sz="quarter" idx="49"/>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1051761249"/>
      </p:ext>
    </p:extLst>
  </p:cSld>
  <p:clrMapOvr>
    <a:masterClrMapping/>
  </p:clrMapOvr>
  <p:extLst>
    <p:ext uri="{DCECCB84-F9BA-43D5-87BE-67443E8EF086}">
      <p15:sldGuideLst xmlns:p15="http://schemas.microsoft.com/office/powerpoint/2012/main">
        <p15:guide id="1" orient="horz" pos="1480">
          <p15:clr>
            <a:srgbClr val="FBAE40"/>
          </p15:clr>
        </p15:guide>
        <p15:guide id="2" pos="280">
          <p15:clr>
            <a:srgbClr val="FBAE40"/>
          </p15:clr>
        </p15:guide>
        <p15:guide id="3" orient="horz" pos="3589">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lámina comparativa 2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0B42D332-2844-E942-96BC-37A626E30341}"/>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14389"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5" name="Rectángulo 4">
            <a:extLst>
              <a:ext uri="{FF2B5EF4-FFF2-40B4-BE49-F238E27FC236}">
                <a16:creationId xmlns:a16="http://schemas.microsoft.com/office/drawing/2014/main" xmlns="" id="{52ED1F8C-1BD3-014F-996B-FFB80867B4C0}"/>
              </a:ext>
            </a:extLst>
          </p:cNvPr>
          <p:cNvSpPr/>
          <p:nvPr/>
        </p:nvSpPr>
        <p:spPr>
          <a:xfrm>
            <a:off x="12245701" y="4744472"/>
            <a:ext cx="3348844" cy="771498"/>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852" tIns="65852" rIns="65852" bIns="65852" numCol="1" spcCol="38100" rtlCol="0" anchor="ctr">
            <a:spAutoFit/>
          </a:bodyPr>
          <a:lstStyle/>
          <a:p>
            <a:pPr algn="ctr" defTabSz="1070094" hangingPunct="0"/>
            <a:endParaRPr lang="es-CL" sz="4149">
              <a:solidFill>
                <a:srgbClr val="FFFFFF"/>
              </a:solidFill>
              <a:latin typeface="Helvetica Neue Medium"/>
              <a:ea typeface="Helvetica Neue Medium"/>
              <a:cs typeface="Helvetica Neue Medium"/>
              <a:sym typeface="Helvetica Neue Medium"/>
            </a:endParaRPr>
          </a:p>
        </p:txBody>
      </p:sp>
      <p:pic>
        <p:nvPicPr>
          <p:cNvPr id="6" name="Imagen 5">
            <a:extLst>
              <a:ext uri="{FF2B5EF4-FFF2-40B4-BE49-F238E27FC236}">
                <a16:creationId xmlns:a16="http://schemas.microsoft.com/office/drawing/2014/main" xmlns="" id="{BB9DBB79-AEF3-7142-B494-A8145235B41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cxnSp>
        <p:nvCxnSpPr>
          <p:cNvPr id="108" name="Conector recto 107">
            <a:extLst>
              <a:ext uri="{FF2B5EF4-FFF2-40B4-BE49-F238E27FC236}">
                <a16:creationId xmlns:a16="http://schemas.microsoft.com/office/drawing/2014/main" xmlns="" id="{41C22BEC-E3DB-B444-918C-AC167E7F1462}"/>
              </a:ext>
            </a:extLst>
          </p:cNvPr>
          <p:cNvCxnSpPr>
            <a:cxnSpLocks/>
          </p:cNvCxnSpPr>
          <p:nvPr/>
        </p:nvCxnSpPr>
        <p:spPr>
          <a:xfrm>
            <a:off x="607482" y="4091035"/>
            <a:ext cx="1068963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4" name="Marcador de texto 7">
            <a:extLst>
              <a:ext uri="{FF2B5EF4-FFF2-40B4-BE49-F238E27FC236}">
                <a16:creationId xmlns:a16="http://schemas.microsoft.com/office/drawing/2014/main" xmlns="" id="{130CF308-4F12-CF40-8431-48ED26F5E46C}"/>
              </a:ext>
            </a:extLst>
          </p:cNvPr>
          <p:cNvSpPr>
            <a:spLocks noGrp="1"/>
          </p:cNvSpPr>
          <p:nvPr>
            <p:ph type="body" sz="quarter" idx="41" hasCustomPrompt="1"/>
          </p:nvPr>
        </p:nvSpPr>
        <p:spPr>
          <a:xfrm>
            <a:off x="1351340" y="2846979"/>
            <a:ext cx="1651457" cy="524761"/>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53" name="Marcador de texto 7">
            <a:extLst>
              <a:ext uri="{FF2B5EF4-FFF2-40B4-BE49-F238E27FC236}">
                <a16:creationId xmlns:a16="http://schemas.microsoft.com/office/drawing/2014/main" xmlns="" id="{9381C1C0-80DF-6749-9C03-56994A4072C4}"/>
              </a:ext>
            </a:extLst>
          </p:cNvPr>
          <p:cNvSpPr>
            <a:spLocks noGrp="1"/>
          </p:cNvSpPr>
          <p:nvPr>
            <p:ph type="body" sz="quarter" idx="40" hasCustomPrompt="1"/>
          </p:nvPr>
        </p:nvSpPr>
        <p:spPr>
          <a:xfrm>
            <a:off x="3175758" y="2846979"/>
            <a:ext cx="8121358" cy="96698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54" name="Marcador de texto 7">
            <a:extLst>
              <a:ext uri="{FF2B5EF4-FFF2-40B4-BE49-F238E27FC236}">
                <a16:creationId xmlns:a16="http://schemas.microsoft.com/office/drawing/2014/main" xmlns="" id="{89620A1F-682C-3E4E-85BD-1A4E04D84C07}"/>
              </a:ext>
            </a:extLst>
          </p:cNvPr>
          <p:cNvSpPr>
            <a:spLocks noGrp="1"/>
          </p:cNvSpPr>
          <p:nvPr>
            <p:ph type="body" sz="quarter" idx="42" hasCustomPrompt="1"/>
          </p:nvPr>
        </p:nvSpPr>
        <p:spPr>
          <a:xfrm>
            <a:off x="3175758" y="2289964"/>
            <a:ext cx="2218480" cy="287310"/>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55" name="Conector recto 54">
            <a:extLst>
              <a:ext uri="{FF2B5EF4-FFF2-40B4-BE49-F238E27FC236}">
                <a16:creationId xmlns:a16="http://schemas.microsoft.com/office/drawing/2014/main" xmlns="" id="{5880D28B-3A3F-674A-8248-0EF336123F8D}"/>
              </a:ext>
            </a:extLst>
          </p:cNvPr>
          <p:cNvCxnSpPr>
            <a:cxnSpLocks/>
          </p:cNvCxnSpPr>
          <p:nvPr/>
        </p:nvCxnSpPr>
        <p:spPr>
          <a:xfrm>
            <a:off x="3175758" y="2680620"/>
            <a:ext cx="8121358" cy="386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1" name="Marcador de texto 7">
            <a:extLst>
              <a:ext uri="{FF2B5EF4-FFF2-40B4-BE49-F238E27FC236}">
                <a16:creationId xmlns:a16="http://schemas.microsoft.com/office/drawing/2014/main" xmlns="" id="{60D2818D-89F2-5146-96F4-FE5CC94A3B64}"/>
              </a:ext>
            </a:extLst>
          </p:cNvPr>
          <p:cNvSpPr>
            <a:spLocks noGrp="1"/>
          </p:cNvSpPr>
          <p:nvPr>
            <p:ph type="body" sz="quarter" idx="47" hasCustomPrompt="1"/>
          </p:nvPr>
        </p:nvSpPr>
        <p:spPr>
          <a:xfrm>
            <a:off x="597028" y="2846979"/>
            <a:ext cx="621928" cy="524475"/>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º</a:t>
            </a:r>
            <a:endParaRPr lang="es-CL" dirty="0"/>
          </a:p>
        </p:txBody>
      </p:sp>
      <p:cxnSp>
        <p:nvCxnSpPr>
          <p:cNvPr id="70" name="Conector recto 69">
            <a:extLst>
              <a:ext uri="{FF2B5EF4-FFF2-40B4-BE49-F238E27FC236}">
                <a16:creationId xmlns:a16="http://schemas.microsoft.com/office/drawing/2014/main" xmlns="" id="{4F3DCFE7-4201-D24B-8EB4-FA55068862F1}"/>
              </a:ext>
            </a:extLst>
          </p:cNvPr>
          <p:cNvCxnSpPr>
            <a:cxnSpLocks/>
          </p:cNvCxnSpPr>
          <p:nvPr/>
        </p:nvCxnSpPr>
        <p:spPr>
          <a:xfrm>
            <a:off x="607482" y="6153793"/>
            <a:ext cx="1068963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72" name="Marcador de texto 7">
            <a:extLst>
              <a:ext uri="{FF2B5EF4-FFF2-40B4-BE49-F238E27FC236}">
                <a16:creationId xmlns:a16="http://schemas.microsoft.com/office/drawing/2014/main" xmlns="" id="{2DFAEEC3-0D14-C64D-8AC4-8560CCC11D54}"/>
              </a:ext>
            </a:extLst>
          </p:cNvPr>
          <p:cNvSpPr>
            <a:spLocks noGrp="1"/>
          </p:cNvSpPr>
          <p:nvPr>
            <p:ph type="body" sz="quarter" idx="48" hasCustomPrompt="1"/>
          </p:nvPr>
        </p:nvSpPr>
        <p:spPr>
          <a:xfrm>
            <a:off x="1351340" y="4909737"/>
            <a:ext cx="1651457" cy="524761"/>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73" name="Marcador de texto 7">
            <a:extLst>
              <a:ext uri="{FF2B5EF4-FFF2-40B4-BE49-F238E27FC236}">
                <a16:creationId xmlns:a16="http://schemas.microsoft.com/office/drawing/2014/main" xmlns="" id="{7BB34F7A-9153-7E41-8706-B75E12C61FAF}"/>
              </a:ext>
            </a:extLst>
          </p:cNvPr>
          <p:cNvSpPr>
            <a:spLocks noGrp="1"/>
          </p:cNvSpPr>
          <p:nvPr>
            <p:ph type="body" sz="quarter" idx="49" hasCustomPrompt="1"/>
          </p:nvPr>
        </p:nvSpPr>
        <p:spPr>
          <a:xfrm>
            <a:off x="3175758" y="4909736"/>
            <a:ext cx="8121358" cy="96698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74" name="Marcador de texto 7">
            <a:extLst>
              <a:ext uri="{FF2B5EF4-FFF2-40B4-BE49-F238E27FC236}">
                <a16:creationId xmlns:a16="http://schemas.microsoft.com/office/drawing/2014/main" xmlns="" id="{D350E885-470E-4544-9B96-6265ACDD38BD}"/>
              </a:ext>
            </a:extLst>
          </p:cNvPr>
          <p:cNvSpPr>
            <a:spLocks noGrp="1"/>
          </p:cNvSpPr>
          <p:nvPr>
            <p:ph type="body" sz="quarter" idx="50" hasCustomPrompt="1"/>
          </p:nvPr>
        </p:nvSpPr>
        <p:spPr>
          <a:xfrm>
            <a:off x="3175758" y="4352723"/>
            <a:ext cx="2218480" cy="287310"/>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75" name="Conector recto 74">
            <a:extLst>
              <a:ext uri="{FF2B5EF4-FFF2-40B4-BE49-F238E27FC236}">
                <a16:creationId xmlns:a16="http://schemas.microsoft.com/office/drawing/2014/main" xmlns="" id="{0DA84D03-C754-C246-AC09-A3CAE3A0D217}"/>
              </a:ext>
            </a:extLst>
          </p:cNvPr>
          <p:cNvCxnSpPr>
            <a:cxnSpLocks/>
          </p:cNvCxnSpPr>
          <p:nvPr/>
        </p:nvCxnSpPr>
        <p:spPr>
          <a:xfrm>
            <a:off x="3175758" y="4743376"/>
            <a:ext cx="8121358" cy="386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79" name="Marcador de texto 7">
            <a:extLst>
              <a:ext uri="{FF2B5EF4-FFF2-40B4-BE49-F238E27FC236}">
                <a16:creationId xmlns:a16="http://schemas.microsoft.com/office/drawing/2014/main" xmlns="" id="{5F033970-6C8B-0E48-A2EF-5615634E1F39}"/>
              </a:ext>
            </a:extLst>
          </p:cNvPr>
          <p:cNvSpPr>
            <a:spLocks noGrp="1"/>
          </p:cNvSpPr>
          <p:nvPr>
            <p:ph type="body" sz="quarter" idx="53" hasCustomPrompt="1"/>
          </p:nvPr>
        </p:nvSpPr>
        <p:spPr>
          <a:xfrm>
            <a:off x="597028" y="4909737"/>
            <a:ext cx="621928" cy="524475"/>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º</a:t>
            </a:r>
            <a:endParaRPr lang="es-CL" dirty="0"/>
          </a:p>
        </p:txBody>
      </p:sp>
      <p:sp>
        <p:nvSpPr>
          <p:cNvPr id="81" name="Marcador de texto 7">
            <a:extLst>
              <a:ext uri="{FF2B5EF4-FFF2-40B4-BE49-F238E27FC236}">
                <a16:creationId xmlns:a16="http://schemas.microsoft.com/office/drawing/2014/main" xmlns="" id="{D63CF391-BF7F-E946-8EBB-B83AE538B4ED}"/>
              </a:ext>
            </a:extLst>
          </p:cNvPr>
          <p:cNvSpPr>
            <a:spLocks noGrp="1"/>
          </p:cNvSpPr>
          <p:nvPr>
            <p:ph type="body" sz="quarter" idx="54" hasCustomPrompt="1"/>
          </p:nvPr>
        </p:nvSpPr>
        <p:spPr>
          <a:xfrm>
            <a:off x="1351340" y="6973852"/>
            <a:ext cx="1651457" cy="524761"/>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82" name="Marcador de texto 7">
            <a:extLst>
              <a:ext uri="{FF2B5EF4-FFF2-40B4-BE49-F238E27FC236}">
                <a16:creationId xmlns:a16="http://schemas.microsoft.com/office/drawing/2014/main" xmlns="" id="{B22EF754-D625-F14C-8B51-B265491331F8}"/>
              </a:ext>
            </a:extLst>
          </p:cNvPr>
          <p:cNvSpPr>
            <a:spLocks noGrp="1"/>
          </p:cNvSpPr>
          <p:nvPr>
            <p:ph type="body" sz="quarter" idx="55" hasCustomPrompt="1"/>
          </p:nvPr>
        </p:nvSpPr>
        <p:spPr>
          <a:xfrm>
            <a:off x="3175758" y="6973852"/>
            <a:ext cx="8121358" cy="96698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83" name="Marcador de texto 7">
            <a:extLst>
              <a:ext uri="{FF2B5EF4-FFF2-40B4-BE49-F238E27FC236}">
                <a16:creationId xmlns:a16="http://schemas.microsoft.com/office/drawing/2014/main" xmlns="" id="{977B32BB-9DE9-AE4E-B3F6-BC2F0A206886}"/>
              </a:ext>
            </a:extLst>
          </p:cNvPr>
          <p:cNvSpPr>
            <a:spLocks noGrp="1"/>
          </p:cNvSpPr>
          <p:nvPr>
            <p:ph type="body" sz="quarter" idx="56" hasCustomPrompt="1"/>
          </p:nvPr>
        </p:nvSpPr>
        <p:spPr>
          <a:xfrm>
            <a:off x="3175758" y="6416838"/>
            <a:ext cx="2218480" cy="287310"/>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84" name="Conector recto 83">
            <a:extLst>
              <a:ext uri="{FF2B5EF4-FFF2-40B4-BE49-F238E27FC236}">
                <a16:creationId xmlns:a16="http://schemas.microsoft.com/office/drawing/2014/main" xmlns="" id="{075E9141-63D8-A545-AC28-243D934CB544}"/>
              </a:ext>
            </a:extLst>
          </p:cNvPr>
          <p:cNvCxnSpPr>
            <a:cxnSpLocks/>
          </p:cNvCxnSpPr>
          <p:nvPr/>
        </p:nvCxnSpPr>
        <p:spPr>
          <a:xfrm>
            <a:off x="3175758" y="6807494"/>
            <a:ext cx="8121358" cy="386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88" name="Marcador de texto 7">
            <a:extLst>
              <a:ext uri="{FF2B5EF4-FFF2-40B4-BE49-F238E27FC236}">
                <a16:creationId xmlns:a16="http://schemas.microsoft.com/office/drawing/2014/main" xmlns="" id="{B99DB37B-609E-1B46-AF58-881DFC2469EA}"/>
              </a:ext>
            </a:extLst>
          </p:cNvPr>
          <p:cNvSpPr>
            <a:spLocks noGrp="1"/>
          </p:cNvSpPr>
          <p:nvPr>
            <p:ph type="body" sz="quarter" idx="59" hasCustomPrompt="1"/>
          </p:nvPr>
        </p:nvSpPr>
        <p:spPr>
          <a:xfrm>
            <a:off x="597028" y="6973852"/>
            <a:ext cx="621928" cy="524475"/>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º</a:t>
            </a:r>
            <a:endParaRPr lang="es-CL" dirty="0"/>
          </a:p>
        </p:txBody>
      </p:sp>
      <p:sp>
        <p:nvSpPr>
          <p:cNvPr id="32" name="Marcador de texto 7">
            <a:extLst>
              <a:ext uri="{FF2B5EF4-FFF2-40B4-BE49-F238E27FC236}">
                <a16:creationId xmlns:a16="http://schemas.microsoft.com/office/drawing/2014/main" xmlns="" id="{50D4A3DA-0BFA-9048-A9F2-8AFC5BB147D3}"/>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33" name="Marcador de texto 7">
            <a:extLst>
              <a:ext uri="{FF2B5EF4-FFF2-40B4-BE49-F238E27FC236}">
                <a16:creationId xmlns:a16="http://schemas.microsoft.com/office/drawing/2014/main" xmlns="" id="{E3B926F9-52CC-904E-99EC-8EC6F2FC0E85}"/>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34" name="Conector recto 33">
            <a:extLst>
              <a:ext uri="{FF2B5EF4-FFF2-40B4-BE49-F238E27FC236}">
                <a16:creationId xmlns:a16="http://schemas.microsoft.com/office/drawing/2014/main" xmlns="" id="{2016285C-15E9-1F48-A0A9-F948CBC44D05}"/>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36" name="Línea">
            <a:extLst>
              <a:ext uri="{FF2B5EF4-FFF2-40B4-BE49-F238E27FC236}">
                <a16:creationId xmlns:a16="http://schemas.microsoft.com/office/drawing/2014/main" xmlns="" id="{2598575A-8812-4C4C-9DE4-B0E91EF560AE}"/>
              </a:ext>
            </a:extLst>
          </p:cNvPr>
          <p:cNvSpPr/>
          <p:nvPr/>
        </p:nvSpPr>
        <p:spPr>
          <a:xfrm>
            <a:off x="11686476" y="2289963"/>
            <a:ext cx="372201" cy="5670000"/>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2700">
            <a:solidFill>
              <a:srgbClr val="5E5E5E"/>
            </a:solidFill>
            <a:prstDash val="sysDot"/>
            <a:miter lim="400000"/>
          </a:ln>
        </p:spPr>
        <p:txBody>
          <a:bodyPr lIns="32927" tIns="32927" rIns="32927" bIns="32927" anchor="ctr"/>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37" name="Marcador de texto 7">
            <a:extLst>
              <a:ext uri="{FF2B5EF4-FFF2-40B4-BE49-F238E27FC236}">
                <a16:creationId xmlns:a16="http://schemas.microsoft.com/office/drawing/2014/main" xmlns="" id="{8668C0C2-6225-9D4F-ABD5-08A2EAB96731}"/>
              </a:ext>
            </a:extLst>
          </p:cNvPr>
          <p:cNvSpPr>
            <a:spLocks noGrp="1"/>
          </p:cNvSpPr>
          <p:nvPr>
            <p:ph type="body" sz="quarter" idx="19" hasCustomPrompt="1"/>
          </p:nvPr>
        </p:nvSpPr>
        <p:spPr>
          <a:xfrm>
            <a:off x="12356536" y="2536578"/>
            <a:ext cx="3166389"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38" name="Marcador de texto 7">
            <a:extLst>
              <a:ext uri="{FF2B5EF4-FFF2-40B4-BE49-F238E27FC236}">
                <a16:creationId xmlns:a16="http://schemas.microsoft.com/office/drawing/2014/main" xmlns="" id="{FE6A9022-71A7-0D4D-94F7-2B454E9F5A1F}"/>
              </a:ext>
            </a:extLst>
          </p:cNvPr>
          <p:cNvSpPr>
            <a:spLocks noGrp="1"/>
          </p:cNvSpPr>
          <p:nvPr>
            <p:ph type="body" sz="quarter" idx="20" hasCustomPrompt="1"/>
          </p:nvPr>
        </p:nvSpPr>
        <p:spPr>
          <a:xfrm>
            <a:off x="12356536" y="3291317"/>
            <a:ext cx="3166389" cy="4533039"/>
          </a:xfrm>
          <a:prstGeom prst="rect">
            <a:avLst/>
          </a:prstGeom>
        </p:spPr>
        <p:txBody>
          <a:bodyPr/>
          <a:lstStyle>
            <a:lvl1pPr marL="0" indent="0">
              <a:buNone/>
              <a:defRPr sz="1427"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1</a:t>
            </a:r>
            <a:endParaRPr lang="es-CL" dirty="0"/>
          </a:p>
        </p:txBody>
      </p:sp>
      <p:sp>
        <p:nvSpPr>
          <p:cNvPr id="39" name="Marcador de texto 4">
            <a:extLst>
              <a:ext uri="{FF2B5EF4-FFF2-40B4-BE49-F238E27FC236}">
                <a16:creationId xmlns:a16="http://schemas.microsoft.com/office/drawing/2014/main" xmlns="" id="{7CE877C8-6FB2-CF43-A084-04A7252530E3}"/>
              </a:ext>
            </a:extLst>
          </p:cNvPr>
          <p:cNvSpPr>
            <a:spLocks noGrp="1"/>
          </p:cNvSpPr>
          <p:nvPr>
            <p:ph type="body" sz="quarter" idx="61" hasCustomPrompt="1"/>
          </p:nvPr>
        </p:nvSpPr>
        <p:spPr>
          <a:xfrm>
            <a:off x="607578" y="8499678"/>
            <a:ext cx="11131590" cy="488022"/>
          </a:xfrm>
          <a:prstGeom prst="rect">
            <a:avLst/>
          </a:prstGeom>
        </p:spPr>
        <p:txBody>
          <a:bodyPr/>
          <a:lstStyle>
            <a:lvl1pPr marL="296335" indent="-296335">
              <a:lnSpc>
                <a:spcPct val="100000"/>
              </a:lnSpc>
              <a:spcBef>
                <a:spcPts val="130"/>
              </a:spcBef>
              <a:buClr>
                <a:schemeClr val="accent1"/>
              </a:buClr>
              <a:buSzPct val="90000"/>
              <a:buFont typeface="+mj-lt"/>
              <a:buAutoNum type="arabicPeriod"/>
              <a:tabLst/>
              <a:defRPr sz="1167" b="0" i="0">
                <a:solidFill>
                  <a:schemeClr val="tx2"/>
                </a:solidFill>
                <a:latin typeface="Arial" panose="020B0604020202020204" pitchFamily="34" charset="0"/>
              </a:defRPr>
            </a:lvl1pPr>
          </a:lstStyle>
          <a:p>
            <a:pPr lvl="0"/>
            <a:r>
              <a:rPr lang="es-ES" dirty="0"/>
              <a:t>Texto primera fuente Arial 9</a:t>
            </a:r>
          </a:p>
          <a:p>
            <a:pPr lvl="0"/>
            <a:r>
              <a:rPr lang="es-CL" dirty="0"/>
              <a:t>Texto segunda fuente Arial 9</a:t>
            </a:r>
          </a:p>
        </p:txBody>
      </p:sp>
      <p:sp>
        <p:nvSpPr>
          <p:cNvPr id="30" name="Marcador de número de diapositiva 1">
            <a:extLst>
              <a:ext uri="{FF2B5EF4-FFF2-40B4-BE49-F238E27FC236}">
                <a16:creationId xmlns:a16="http://schemas.microsoft.com/office/drawing/2014/main" xmlns="" id="{DE7DDA5A-276E-CB47-A6EE-D8DA276AB5C9}"/>
              </a:ext>
            </a:extLst>
          </p:cNvPr>
          <p:cNvSpPr>
            <a:spLocks noGrp="1"/>
          </p:cNvSpPr>
          <p:nvPr>
            <p:ph type="sldNum" sz="quarter" idx="6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1855298648"/>
      </p:ext>
    </p:extLst>
  </p:cSld>
  <p:clrMapOvr>
    <a:masterClrMapping/>
  </p:clrMapOvr>
  <p:extLst>
    <p:ext uri="{DCECCB84-F9BA-43D5-87BE-67443E8EF086}">
      <p15:sldGuideLst xmlns:p15="http://schemas.microsoft.com/office/powerpoint/2012/main">
        <p15:guide id="1" pos="280">
          <p15:clr>
            <a:srgbClr val="FBAE40"/>
          </p15:clr>
        </p15:guide>
        <p15:guide id="2" orient="horz" pos="1094">
          <p15:clr>
            <a:srgbClr val="FBAE40"/>
          </p15:clr>
        </p15:guide>
        <p15:guide id="3" orient="horz" pos="2546">
          <p15:clr>
            <a:srgbClr val="FBAE40"/>
          </p15:clr>
        </p15:guide>
        <p15:guide id="4" orient="horz" pos="3816">
          <p15:clr>
            <a:srgbClr val="FBAE40"/>
          </p15:clr>
        </p15:guide>
        <p15:guide id="5" pos="150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olo texto y bullets">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3" name="Marcador de texto 2">
            <a:extLst>
              <a:ext uri="{FF2B5EF4-FFF2-40B4-BE49-F238E27FC236}">
                <a16:creationId xmlns:a16="http://schemas.microsoft.com/office/drawing/2014/main" xmlns="" id="{79371C62-644E-E74F-8E59-C30494177162}"/>
              </a:ext>
            </a:extLst>
          </p:cNvPr>
          <p:cNvSpPr>
            <a:spLocks noGrp="1"/>
          </p:cNvSpPr>
          <p:nvPr>
            <p:ph type="body" sz="quarter" idx="12" hasCustomPrompt="1"/>
          </p:nvPr>
        </p:nvSpPr>
        <p:spPr>
          <a:xfrm>
            <a:off x="589645" y="2127352"/>
            <a:ext cx="15004805" cy="6297662"/>
          </a:xfrm>
          <a:prstGeom prst="rect">
            <a:avLst/>
          </a:prstGeom>
        </p:spPr>
        <p:txBody>
          <a:bodyPr/>
          <a:lstStyle>
            <a:lvl1pPr marL="0" indent="0">
              <a:spcBef>
                <a:spcPts val="778"/>
              </a:spcBef>
              <a:spcAft>
                <a:spcPts val="778"/>
              </a:spcAft>
              <a:buClr>
                <a:schemeClr val="bg2"/>
              </a:buClr>
              <a:buSzPct val="95000"/>
              <a:buFontTx/>
              <a:buNone/>
              <a:defRPr sz="1555" b="0" i="0">
                <a:solidFill>
                  <a:srgbClr val="5F5F5F"/>
                </a:solidFill>
                <a:latin typeface="Arial" panose="020B0604020202020204" pitchFamily="34" charset="0"/>
              </a:defRPr>
            </a:lvl1pPr>
            <a:lvl2pPr marL="876654" indent="-481543">
              <a:spcBef>
                <a:spcPts val="778"/>
              </a:spcBef>
              <a:spcAft>
                <a:spcPts val="778"/>
              </a:spcAft>
              <a:buClr>
                <a:schemeClr val="bg2"/>
              </a:buClr>
              <a:buSzPct val="95000"/>
              <a:buFont typeface="Wingdings" pitchFamily="2" charset="2"/>
              <a:buChar char="§"/>
              <a:tabLst/>
              <a:defRPr lang="es-ES" sz="1427" b="0" i="0" u="none" strike="noStrike" cap="none" spc="0" baseline="0" dirty="0" smtClean="0">
                <a:solidFill>
                  <a:srgbClr val="5F5F5F"/>
                </a:solidFill>
                <a:uFillTx/>
                <a:latin typeface="Arial"/>
                <a:ea typeface="Arial"/>
                <a:cs typeface="Arial"/>
                <a:sym typeface="Arial"/>
              </a:defRPr>
            </a:lvl2pPr>
            <a:lvl3pPr marL="1335561" indent="-432154">
              <a:spcBef>
                <a:spcPts val="778"/>
              </a:spcBef>
              <a:spcAft>
                <a:spcPts val="778"/>
              </a:spcAft>
              <a:buClr>
                <a:schemeClr val="bg2"/>
              </a:buClr>
              <a:buSzPct val="95000"/>
              <a:buFont typeface="Wingdings" pitchFamily="2" charset="2"/>
              <a:buChar char="§"/>
              <a:tabLst/>
              <a:defRPr sz="1427" b="0" i="0">
                <a:solidFill>
                  <a:srgbClr val="5F5F5F"/>
                </a:solidFill>
                <a:latin typeface="Arial" panose="020B0604020202020204" pitchFamily="34" charset="0"/>
              </a:defRPr>
            </a:lvl3pPr>
            <a:lvl4pPr marL="1739934" indent="-431126">
              <a:spcBef>
                <a:spcPts val="778"/>
              </a:spcBef>
              <a:spcAft>
                <a:spcPts val="778"/>
              </a:spcAft>
              <a:buClr>
                <a:schemeClr val="bg2"/>
              </a:buClr>
              <a:buSzPct val="95000"/>
              <a:buFont typeface="Wingdings" pitchFamily="2" charset="2"/>
              <a:buChar char="§"/>
              <a:tabLst/>
              <a:defRPr sz="1427" b="0" i="0">
                <a:solidFill>
                  <a:srgbClr val="5F5F5F"/>
                </a:solidFill>
                <a:latin typeface="Arial" panose="020B0604020202020204" pitchFamily="34" charset="0"/>
              </a:defRPr>
            </a:lvl4pPr>
            <a:lvl5pPr marL="2172088" indent="-472283">
              <a:spcBef>
                <a:spcPts val="778"/>
              </a:spcBef>
              <a:spcAft>
                <a:spcPts val="778"/>
              </a:spcAft>
              <a:buClr>
                <a:schemeClr val="bg2"/>
              </a:buClr>
              <a:buSzPct val="95000"/>
              <a:buFont typeface="Wingdings" pitchFamily="2" charset="2"/>
              <a:buChar char="§"/>
              <a:tabLst>
                <a:tab pos="2037295" algn="l"/>
              </a:tabLst>
              <a:defRPr sz="1427" b="0" i="0">
                <a:solidFill>
                  <a:srgbClr val="5F5F5F"/>
                </a:solidFill>
                <a:latin typeface="Arial" panose="020B0604020202020204" pitchFamily="34" charset="0"/>
              </a:defRPr>
            </a:lvl5pPr>
          </a:lstStyle>
          <a:p>
            <a:pPr lvl="0"/>
            <a:r>
              <a:rPr lang="es-ES" dirty="0"/>
              <a:t>Párrafo sólo texto Arial 12</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
        <p:nvSpPr>
          <p:cNvPr id="11" name="Marcador de texto 7">
            <a:extLst>
              <a:ext uri="{FF2B5EF4-FFF2-40B4-BE49-F238E27FC236}">
                <a16:creationId xmlns:a16="http://schemas.microsoft.com/office/drawing/2014/main" xmlns="" id="{06FF6208-CD08-8E47-9BAA-A86355428117}"/>
              </a:ext>
            </a:extLst>
          </p:cNvPr>
          <p:cNvSpPr>
            <a:spLocks noGrp="1"/>
          </p:cNvSpPr>
          <p:nvPr>
            <p:ph type="body" sz="quarter" idx="10" hasCustomPrompt="1"/>
          </p:nvPr>
        </p:nvSpPr>
        <p:spPr>
          <a:xfrm>
            <a:off x="597028" y="591742"/>
            <a:ext cx="9529239" cy="541955"/>
          </a:xfrm>
          <a:prstGeom prst="rect">
            <a:avLst/>
          </a:prstGeom>
        </p:spPr>
        <p:txBody>
          <a:bodyPr/>
          <a:lstStyle>
            <a:lvl1pPr marL="0" indent="0">
              <a:lnSpc>
                <a:spcPct val="90000"/>
              </a:lnSpc>
              <a:spcBef>
                <a:spcPts val="389"/>
              </a:spcBef>
              <a:spcAft>
                <a:spcPts val="389"/>
              </a:spcAft>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12" name="Marcador de texto 7">
            <a:extLst>
              <a:ext uri="{FF2B5EF4-FFF2-40B4-BE49-F238E27FC236}">
                <a16:creationId xmlns:a16="http://schemas.microsoft.com/office/drawing/2014/main" xmlns="" id="{494CAD2D-CD32-1249-958A-65ED5F09238E}"/>
              </a:ext>
            </a:extLst>
          </p:cNvPr>
          <p:cNvSpPr>
            <a:spLocks noGrp="1"/>
          </p:cNvSpPr>
          <p:nvPr>
            <p:ph type="body" sz="quarter" idx="11" hasCustomPrompt="1"/>
          </p:nvPr>
        </p:nvSpPr>
        <p:spPr>
          <a:xfrm>
            <a:off x="597028" y="1131775"/>
            <a:ext cx="9529239" cy="467620"/>
          </a:xfrm>
          <a:prstGeom prst="rect">
            <a:avLst/>
          </a:prstGeom>
        </p:spPr>
        <p:txBody>
          <a:bodyPr/>
          <a:lstStyle>
            <a:lvl1pPr marL="0" indent="0">
              <a:lnSpc>
                <a:spcPct val="90000"/>
              </a:lnSpc>
              <a:spcBef>
                <a:spcPts val="389"/>
              </a:spcBef>
              <a:spcAft>
                <a:spcPts val="389"/>
              </a:spcAft>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13" name="Conector recto 12">
            <a:extLst>
              <a:ext uri="{FF2B5EF4-FFF2-40B4-BE49-F238E27FC236}">
                <a16:creationId xmlns:a16="http://schemas.microsoft.com/office/drawing/2014/main" xmlns="" id="{7040410E-9306-E647-893D-D9EF259D3939}"/>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8" name="Marcador de número de diapositiva 1">
            <a:extLst>
              <a:ext uri="{FF2B5EF4-FFF2-40B4-BE49-F238E27FC236}">
                <a16:creationId xmlns:a16="http://schemas.microsoft.com/office/drawing/2014/main" xmlns="" id="{3E01F080-8D37-2B47-8812-99327730ED22}"/>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293217988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Carta Gantt Think-Cell">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7" name="Marcador de contenido 6">
            <a:extLst>
              <a:ext uri="{FF2B5EF4-FFF2-40B4-BE49-F238E27FC236}">
                <a16:creationId xmlns:a16="http://schemas.microsoft.com/office/drawing/2014/main" xmlns="" id="{C1B8FB80-D582-7D41-94DF-9DC79634318C}"/>
              </a:ext>
            </a:extLst>
          </p:cNvPr>
          <p:cNvSpPr>
            <a:spLocks noGrp="1"/>
          </p:cNvSpPr>
          <p:nvPr>
            <p:ph sz="quarter" idx="13" hasCustomPrompt="1"/>
          </p:nvPr>
        </p:nvSpPr>
        <p:spPr>
          <a:xfrm>
            <a:off x="597028" y="2127351"/>
            <a:ext cx="14997518" cy="6208608"/>
          </a:xfrm>
          <a:prstGeom prst="rect">
            <a:avLst/>
          </a:prstGeom>
        </p:spPr>
        <p:txBody>
          <a:bodyPr/>
          <a:lstStyle>
            <a:lvl1pPr marL="0" indent="0">
              <a:buFontTx/>
              <a:buNone/>
              <a:defRPr sz="1555">
                <a:solidFill>
                  <a:srgbClr val="5F5F5F"/>
                </a:solidFill>
                <a:latin typeface="Arial" panose="020B0604020202020204" pitchFamily="34" charset="0"/>
                <a:cs typeface="Arial" panose="020B0604020202020204" pitchFamily="34" charset="0"/>
              </a:defRPr>
            </a:lvl1pPr>
            <a:lvl2pPr marL="395112" indent="0">
              <a:buFontTx/>
              <a:buNone/>
              <a:defRPr sz="1685">
                <a:solidFill>
                  <a:srgbClr val="5F5F5F"/>
                </a:solidFill>
                <a:latin typeface="Arial" panose="020B0604020202020204" pitchFamily="34" charset="0"/>
                <a:cs typeface="Arial" panose="020B0604020202020204" pitchFamily="34" charset="0"/>
              </a:defRPr>
            </a:lvl2pPr>
            <a:lvl3pPr marL="790223" indent="0">
              <a:buFontTx/>
              <a:buNone/>
              <a:defRPr sz="1685">
                <a:solidFill>
                  <a:srgbClr val="5F5F5F"/>
                </a:solidFill>
                <a:latin typeface="Arial" panose="020B0604020202020204" pitchFamily="34" charset="0"/>
                <a:cs typeface="Arial" panose="020B0604020202020204" pitchFamily="34" charset="0"/>
              </a:defRPr>
            </a:lvl3pPr>
            <a:lvl4pPr marL="1185336" indent="0">
              <a:buFontTx/>
              <a:buNone/>
              <a:defRPr sz="1685">
                <a:solidFill>
                  <a:srgbClr val="5F5F5F"/>
                </a:solidFill>
                <a:latin typeface="Arial" panose="020B0604020202020204" pitchFamily="34" charset="0"/>
                <a:cs typeface="Arial" panose="020B0604020202020204" pitchFamily="34" charset="0"/>
              </a:defRPr>
            </a:lvl4pPr>
            <a:lvl5pPr marL="1580448" indent="0">
              <a:buFontTx/>
              <a:buNone/>
              <a:defRPr sz="1685">
                <a:solidFill>
                  <a:srgbClr val="5F5F5F"/>
                </a:solidFill>
                <a:latin typeface="Arial" panose="020B0604020202020204" pitchFamily="34" charset="0"/>
                <a:cs typeface="Arial" panose="020B0604020202020204" pitchFamily="34" charset="0"/>
              </a:defRPr>
            </a:lvl5pPr>
          </a:lstStyle>
          <a:p>
            <a:pPr lvl="0"/>
            <a:r>
              <a:rPr lang="es-ES" dirty="0"/>
              <a:t>Insertar Carta Gantt </a:t>
            </a:r>
            <a:r>
              <a:rPr lang="es-ES" dirty="0" err="1"/>
              <a:t>Think-Cell</a:t>
            </a:r>
            <a:endParaRPr lang="es-CL" dirty="0"/>
          </a:p>
        </p:txBody>
      </p:sp>
      <p:sp>
        <p:nvSpPr>
          <p:cNvPr id="11" name="Marcador de texto 7">
            <a:extLst>
              <a:ext uri="{FF2B5EF4-FFF2-40B4-BE49-F238E27FC236}">
                <a16:creationId xmlns:a16="http://schemas.microsoft.com/office/drawing/2014/main" xmlns="" id="{D5A5B4A9-A45D-694A-AE21-A97E867530D3}"/>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12" name="Marcador de texto 7">
            <a:extLst>
              <a:ext uri="{FF2B5EF4-FFF2-40B4-BE49-F238E27FC236}">
                <a16:creationId xmlns:a16="http://schemas.microsoft.com/office/drawing/2014/main" xmlns="" id="{149F44C0-AF22-E34B-AF53-9F0990961B7B}"/>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14" name="Conector recto 13">
            <a:extLst>
              <a:ext uri="{FF2B5EF4-FFF2-40B4-BE49-F238E27FC236}">
                <a16:creationId xmlns:a16="http://schemas.microsoft.com/office/drawing/2014/main" xmlns="" id="{3427E666-AEDB-2248-BBC2-C9F153557C5A}"/>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9" name="Marcador de número de diapositiva 1">
            <a:extLst>
              <a:ext uri="{FF2B5EF4-FFF2-40B4-BE49-F238E27FC236}">
                <a16:creationId xmlns:a16="http://schemas.microsoft.com/office/drawing/2014/main" xmlns="" id="{0CCB551E-6858-0549-984C-C96EFB7C6CCE}"/>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4090723660"/>
      </p:ext>
    </p:extLst>
  </p:cSld>
  <p:clrMapOvr>
    <a:masterClrMapping/>
  </p:clrMapOvr>
  <p:extLst>
    <p:ext uri="{DCECCB84-F9BA-43D5-87BE-67443E8EF086}">
      <p15:sldGuideLst xmlns:p15="http://schemas.microsoft.com/office/powerpoint/2012/main">
        <p15:guide id="1" orient="horz" pos="2160">
          <p15:clr>
            <a:srgbClr val="FBAE40"/>
          </p15:clr>
        </p15:guide>
        <p15:guide id="2" pos="28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Portadilla con foto o bloque de color">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7" name="Marcador de contenido 6">
            <a:extLst>
              <a:ext uri="{FF2B5EF4-FFF2-40B4-BE49-F238E27FC236}">
                <a16:creationId xmlns:a16="http://schemas.microsoft.com/office/drawing/2014/main" xmlns="" id="{C1B8FB80-D582-7D41-94DF-9DC79634318C}"/>
              </a:ext>
            </a:extLst>
          </p:cNvPr>
          <p:cNvSpPr>
            <a:spLocks noGrp="1"/>
          </p:cNvSpPr>
          <p:nvPr>
            <p:ph sz="quarter" idx="13" hasCustomPrompt="1"/>
          </p:nvPr>
        </p:nvSpPr>
        <p:spPr>
          <a:xfrm>
            <a:off x="0" y="0"/>
            <a:ext cx="12565508" cy="9001125"/>
          </a:xfrm>
          <a:prstGeom prst="rect">
            <a:avLst/>
          </a:prstGeom>
        </p:spPr>
        <p:txBody>
          <a:bodyPr/>
          <a:lstStyle>
            <a:lvl1pPr marL="0" indent="0">
              <a:buFontTx/>
              <a:buNone/>
              <a:defRPr sz="1555">
                <a:solidFill>
                  <a:srgbClr val="5F5F5F"/>
                </a:solidFill>
                <a:latin typeface="Arial" panose="020B0604020202020204" pitchFamily="34" charset="0"/>
                <a:cs typeface="Arial" panose="020B0604020202020204" pitchFamily="34" charset="0"/>
              </a:defRPr>
            </a:lvl1pPr>
            <a:lvl2pPr marL="395112" indent="0">
              <a:buFontTx/>
              <a:buNone/>
              <a:defRPr sz="1685">
                <a:solidFill>
                  <a:srgbClr val="5F5F5F"/>
                </a:solidFill>
                <a:latin typeface="Arial" panose="020B0604020202020204" pitchFamily="34" charset="0"/>
                <a:cs typeface="Arial" panose="020B0604020202020204" pitchFamily="34" charset="0"/>
              </a:defRPr>
            </a:lvl2pPr>
            <a:lvl3pPr marL="790223" indent="0">
              <a:buFontTx/>
              <a:buNone/>
              <a:defRPr sz="1685">
                <a:solidFill>
                  <a:srgbClr val="5F5F5F"/>
                </a:solidFill>
                <a:latin typeface="Arial" panose="020B0604020202020204" pitchFamily="34" charset="0"/>
                <a:cs typeface="Arial" panose="020B0604020202020204" pitchFamily="34" charset="0"/>
              </a:defRPr>
            </a:lvl3pPr>
            <a:lvl4pPr marL="1185336" indent="0">
              <a:buFontTx/>
              <a:buNone/>
              <a:defRPr sz="1685">
                <a:solidFill>
                  <a:srgbClr val="5F5F5F"/>
                </a:solidFill>
                <a:latin typeface="Arial" panose="020B0604020202020204" pitchFamily="34" charset="0"/>
                <a:cs typeface="Arial" panose="020B0604020202020204" pitchFamily="34" charset="0"/>
              </a:defRPr>
            </a:lvl4pPr>
            <a:lvl5pPr marL="1580448" indent="0">
              <a:buFontTx/>
              <a:buNone/>
              <a:defRPr sz="1685">
                <a:solidFill>
                  <a:srgbClr val="5F5F5F"/>
                </a:solidFill>
                <a:latin typeface="Arial" panose="020B0604020202020204" pitchFamily="34" charset="0"/>
                <a:cs typeface="Arial" panose="020B0604020202020204" pitchFamily="34" charset="0"/>
              </a:defRPr>
            </a:lvl5pPr>
          </a:lstStyle>
          <a:p>
            <a:pPr lvl="0"/>
            <a:r>
              <a:rPr lang="es-ES" dirty="0"/>
              <a:t>Insertar Foto o Color</a:t>
            </a:r>
            <a:endParaRPr lang="es-CL" dirty="0"/>
          </a:p>
        </p:txBody>
      </p:sp>
      <p:sp>
        <p:nvSpPr>
          <p:cNvPr id="11" name="Marcador de texto 7">
            <a:extLst>
              <a:ext uri="{FF2B5EF4-FFF2-40B4-BE49-F238E27FC236}">
                <a16:creationId xmlns:a16="http://schemas.microsoft.com/office/drawing/2014/main" xmlns="" id="{D5A5B4A9-A45D-694A-AE21-A97E867530D3}"/>
              </a:ext>
            </a:extLst>
          </p:cNvPr>
          <p:cNvSpPr>
            <a:spLocks noGrp="1"/>
          </p:cNvSpPr>
          <p:nvPr>
            <p:ph type="body" sz="quarter" idx="10" hasCustomPrompt="1"/>
          </p:nvPr>
        </p:nvSpPr>
        <p:spPr>
          <a:xfrm>
            <a:off x="597028" y="1476226"/>
            <a:ext cx="9529239" cy="541955"/>
          </a:xfrm>
          <a:prstGeom prst="rect">
            <a:avLst/>
          </a:prstGeom>
        </p:spPr>
        <p:txBody>
          <a:bodyPr>
            <a:noAutofit/>
          </a:bodyPr>
          <a:lstStyle>
            <a:lvl1pPr marL="0" indent="0">
              <a:buNone/>
              <a:defRPr sz="3457" b="1" i="0">
                <a:solidFill>
                  <a:schemeClr val="bg1"/>
                </a:solidFill>
                <a:highlight>
                  <a:srgbClr val="004D53"/>
                </a:highlight>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35</a:t>
            </a:r>
          </a:p>
        </p:txBody>
      </p:sp>
      <p:sp>
        <p:nvSpPr>
          <p:cNvPr id="12" name="Marcador de texto 7">
            <a:extLst>
              <a:ext uri="{FF2B5EF4-FFF2-40B4-BE49-F238E27FC236}">
                <a16:creationId xmlns:a16="http://schemas.microsoft.com/office/drawing/2014/main" xmlns="" id="{149F44C0-AF22-E34B-AF53-9F0990961B7B}"/>
              </a:ext>
            </a:extLst>
          </p:cNvPr>
          <p:cNvSpPr>
            <a:spLocks noGrp="1"/>
          </p:cNvSpPr>
          <p:nvPr>
            <p:ph type="body" sz="quarter" idx="11" hasCustomPrompt="1"/>
          </p:nvPr>
        </p:nvSpPr>
        <p:spPr>
          <a:xfrm>
            <a:off x="597028" y="2018181"/>
            <a:ext cx="9529239" cy="467620"/>
          </a:xfrm>
          <a:prstGeom prst="rect">
            <a:avLst/>
          </a:prstGeom>
        </p:spPr>
        <p:txBody>
          <a:bodyPr>
            <a:noAutofit/>
          </a:bodyPr>
          <a:lstStyle>
            <a:lvl1pPr marL="0" indent="0">
              <a:buNone/>
              <a:defRPr sz="2370" b="0" i="0">
                <a:solidFill>
                  <a:schemeClr val="bg2"/>
                </a:solidFill>
                <a:highlight>
                  <a:srgbClr val="004D53"/>
                </a:highlight>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24</a:t>
            </a:r>
            <a:endParaRPr lang="es-CL" dirty="0"/>
          </a:p>
        </p:txBody>
      </p:sp>
      <p:sp>
        <p:nvSpPr>
          <p:cNvPr id="9" name="Marcador de número de diapositiva 1">
            <a:extLst>
              <a:ext uri="{FF2B5EF4-FFF2-40B4-BE49-F238E27FC236}">
                <a16:creationId xmlns:a16="http://schemas.microsoft.com/office/drawing/2014/main" xmlns="" id="{0CCB551E-6858-0549-984C-C96EFB7C6CCE}"/>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
        <p:nvSpPr>
          <p:cNvPr id="8" name="Marcador de texto 7">
            <a:extLst>
              <a:ext uri="{FF2B5EF4-FFF2-40B4-BE49-F238E27FC236}">
                <a16:creationId xmlns:a16="http://schemas.microsoft.com/office/drawing/2014/main" xmlns="" id="{B3BB6947-D06F-8B45-8204-10AC3157CEF4}"/>
              </a:ext>
            </a:extLst>
          </p:cNvPr>
          <p:cNvSpPr>
            <a:spLocks noGrp="1"/>
          </p:cNvSpPr>
          <p:nvPr>
            <p:ph type="body" sz="quarter" idx="47" hasCustomPrompt="1"/>
          </p:nvPr>
        </p:nvSpPr>
        <p:spPr>
          <a:xfrm>
            <a:off x="579640" y="628566"/>
            <a:ext cx="1095273" cy="1000349"/>
          </a:xfrm>
          <a:prstGeom prst="rect">
            <a:avLst/>
          </a:prstGeom>
        </p:spPr>
        <p:txBody>
          <a:bodyPr>
            <a:noAutofit/>
          </a:bodyPr>
          <a:lstStyle>
            <a:lvl1pPr marL="0" indent="0">
              <a:buNone/>
              <a:defRPr sz="5334" b="0" i="0">
                <a:solidFill>
                  <a:schemeClr val="bg2"/>
                </a:solidFill>
                <a:highlight>
                  <a:srgbClr val="004D53"/>
                </a:highlight>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º</a:t>
            </a:r>
            <a:endParaRPr lang="es-CL" dirty="0"/>
          </a:p>
        </p:txBody>
      </p:sp>
    </p:spTree>
    <p:extLst>
      <p:ext uri="{BB962C8B-B14F-4D97-AF65-F5344CB8AC3E}">
        <p14:creationId xmlns:p14="http://schemas.microsoft.com/office/powerpoint/2010/main" val="1239940335"/>
      </p:ext>
    </p:extLst>
  </p:cSld>
  <p:clrMapOvr>
    <a:masterClrMapping/>
  </p:clrMapOvr>
  <p:extLst>
    <p:ext uri="{DCECCB84-F9BA-43D5-87BE-67443E8EF086}">
      <p15:sldGuideLst xmlns:p15="http://schemas.microsoft.com/office/powerpoint/2012/main">
        <p15:guide id="1" orient="horz" pos="2160">
          <p15:clr>
            <a:srgbClr val="FBAE40"/>
          </p15:clr>
        </p15:guide>
        <p15:guide id="2" pos="28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ámina comparativa 1 categorías y descripciones + fot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41" name="Marcador de texto 7">
            <a:extLst>
              <a:ext uri="{FF2B5EF4-FFF2-40B4-BE49-F238E27FC236}">
                <a16:creationId xmlns:a16="http://schemas.microsoft.com/office/drawing/2014/main" xmlns="" id="{4B4FD424-FA2D-1B46-A149-58EF233359FF}"/>
              </a:ext>
            </a:extLst>
          </p:cNvPr>
          <p:cNvSpPr>
            <a:spLocks noGrp="1"/>
          </p:cNvSpPr>
          <p:nvPr>
            <p:ph type="body" sz="quarter" idx="25" hasCustomPrompt="1"/>
          </p:nvPr>
        </p:nvSpPr>
        <p:spPr>
          <a:xfrm>
            <a:off x="5831076" y="2722917"/>
            <a:ext cx="6246798" cy="96698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46" name="Rectángulo">
            <a:extLst>
              <a:ext uri="{FF2B5EF4-FFF2-40B4-BE49-F238E27FC236}">
                <a16:creationId xmlns:a16="http://schemas.microsoft.com/office/drawing/2014/main" xmlns="" id="{6702EB9E-A1FA-954C-A832-0A7EDF090520}"/>
              </a:ext>
            </a:extLst>
          </p:cNvPr>
          <p:cNvSpPr/>
          <p:nvPr/>
        </p:nvSpPr>
        <p:spPr>
          <a:xfrm>
            <a:off x="597028" y="2722920"/>
            <a:ext cx="2010391" cy="693545"/>
          </a:xfrm>
          <a:prstGeom prst="rect">
            <a:avLst/>
          </a:prstGeom>
          <a:solidFill>
            <a:schemeClr val="accent3"/>
          </a:solidFill>
          <a:ln w="12700">
            <a:miter lim="400000"/>
          </a:ln>
        </p:spPr>
        <p:txBody>
          <a:bodyPr lIns="32927" tIns="32927" rIns="32927" bIns="32927" anchor="ctr"/>
          <a:lstStyle/>
          <a:p>
            <a:pPr algn="ctr" defTabSz="535047">
              <a:defRPr sz="3200">
                <a:solidFill>
                  <a:srgbClr val="FFFFFF"/>
                </a:solidFill>
                <a:latin typeface="Arial"/>
                <a:ea typeface="Arial"/>
                <a:cs typeface="Arial"/>
                <a:sym typeface="Arial"/>
              </a:defRPr>
            </a:pPr>
            <a:endParaRPr sz="2074">
              <a:solidFill>
                <a:srgbClr val="FFFFFF"/>
              </a:solidFill>
              <a:ea typeface="Arial"/>
              <a:cs typeface="Arial"/>
              <a:sym typeface="Arial"/>
            </a:endParaRPr>
          </a:p>
        </p:txBody>
      </p:sp>
      <p:sp>
        <p:nvSpPr>
          <p:cNvPr id="60" name="Flecha">
            <a:extLst>
              <a:ext uri="{FF2B5EF4-FFF2-40B4-BE49-F238E27FC236}">
                <a16:creationId xmlns:a16="http://schemas.microsoft.com/office/drawing/2014/main" xmlns="" id="{E6B1C39A-FDE2-BC40-B223-3FEEA317B028}"/>
              </a:ext>
            </a:extLst>
          </p:cNvPr>
          <p:cNvSpPr/>
          <p:nvPr/>
        </p:nvSpPr>
        <p:spPr>
          <a:xfrm>
            <a:off x="3008351" y="2722920"/>
            <a:ext cx="2419202" cy="693545"/>
          </a:xfrm>
          <a:prstGeom prst="rightArrow">
            <a:avLst>
              <a:gd name="adj1" fmla="val 97321"/>
              <a:gd name="adj2" fmla="val 24371"/>
            </a:avLst>
          </a:prstGeom>
          <a:solidFill>
            <a:schemeClr val="tx1"/>
          </a:solidFill>
          <a:ln w="12700">
            <a:miter lim="400000"/>
          </a:ln>
        </p:spPr>
        <p:txBody>
          <a:bodyPr lIns="0" tIns="0" rIns="0" bIns="0"/>
          <a:lstStyle/>
          <a:p>
            <a:pPr algn="ctr" defTabSz="296335">
              <a:defRPr sz="2400">
                <a:solidFill>
                  <a:srgbClr val="595959"/>
                </a:solidFill>
                <a:latin typeface="Barlow Regular"/>
                <a:ea typeface="Barlow Regular"/>
                <a:cs typeface="Barlow Regular"/>
                <a:sym typeface="Barlow Regular"/>
              </a:defRPr>
            </a:pPr>
            <a:endParaRPr sz="1555" dirty="0">
              <a:solidFill>
                <a:srgbClr val="FFFFFF"/>
              </a:solidFill>
              <a:latin typeface="Barlow Regular"/>
              <a:ea typeface="Barlow Regular"/>
              <a:cs typeface="Arial" panose="020B0604020202020204" pitchFamily="34" charset="0"/>
              <a:sym typeface="Barlow Regular"/>
            </a:endParaRPr>
          </a:p>
        </p:txBody>
      </p:sp>
      <p:sp>
        <p:nvSpPr>
          <p:cNvPr id="62" name="Marcador de texto 7">
            <a:extLst>
              <a:ext uri="{FF2B5EF4-FFF2-40B4-BE49-F238E27FC236}">
                <a16:creationId xmlns:a16="http://schemas.microsoft.com/office/drawing/2014/main" xmlns="" id="{D011EE18-427A-614E-A45B-317571E7FBF1}"/>
              </a:ext>
            </a:extLst>
          </p:cNvPr>
          <p:cNvSpPr>
            <a:spLocks noGrp="1"/>
          </p:cNvSpPr>
          <p:nvPr>
            <p:ph type="body" sz="quarter" idx="26" hasCustomPrompt="1"/>
          </p:nvPr>
        </p:nvSpPr>
        <p:spPr>
          <a:xfrm>
            <a:off x="3008352" y="2146118"/>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3" name="Conector recto 2">
            <a:extLst>
              <a:ext uri="{FF2B5EF4-FFF2-40B4-BE49-F238E27FC236}">
                <a16:creationId xmlns:a16="http://schemas.microsoft.com/office/drawing/2014/main" xmlns="" id="{E707E9D6-1E74-A645-A036-DEA93AAF701B}"/>
              </a:ext>
            </a:extLst>
          </p:cNvPr>
          <p:cNvCxnSpPr>
            <a:cxnSpLocks/>
          </p:cNvCxnSpPr>
          <p:nvPr/>
        </p:nvCxnSpPr>
        <p:spPr>
          <a:xfrm>
            <a:off x="3008351" y="2536771"/>
            <a:ext cx="2419202"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3" name="Marcador de texto 7">
            <a:extLst>
              <a:ext uri="{FF2B5EF4-FFF2-40B4-BE49-F238E27FC236}">
                <a16:creationId xmlns:a16="http://schemas.microsoft.com/office/drawing/2014/main" xmlns="" id="{DFCEB778-9AFC-7B4A-9AA5-3D853AD07888}"/>
              </a:ext>
            </a:extLst>
          </p:cNvPr>
          <p:cNvSpPr>
            <a:spLocks noGrp="1"/>
          </p:cNvSpPr>
          <p:nvPr>
            <p:ph type="body" sz="quarter" idx="28" hasCustomPrompt="1"/>
          </p:nvPr>
        </p:nvSpPr>
        <p:spPr>
          <a:xfrm>
            <a:off x="5831079" y="2146118"/>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64" name="Conector recto 63">
            <a:extLst>
              <a:ext uri="{FF2B5EF4-FFF2-40B4-BE49-F238E27FC236}">
                <a16:creationId xmlns:a16="http://schemas.microsoft.com/office/drawing/2014/main" xmlns="" id="{516A11E3-D171-8641-AA4E-29E854F66822}"/>
              </a:ext>
            </a:extLst>
          </p:cNvPr>
          <p:cNvCxnSpPr>
            <a:cxnSpLocks/>
          </p:cNvCxnSpPr>
          <p:nvPr/>
        </p:nvCxnSpPr>
        <p:spPr>
          <a:xfrm>
            <a:off x="5831076" y="2536771"/>
            <a:ext cx="6246798"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5" name="Marcador de texto 7">
            <a:extLst>
              <a:ext uri="{FF2B5EF4-FFF2-40B4-BE49-F238E27FC236}">
                <a16:creationId xmlns:a16="http://schemas.microsoft.com/office/drawing/2014/main" xmlns="" id="{D5CE23AB-F9F3-1C45-A483-0BE13E6B14A1}"/>
              </a:ext>
            </a:extLst>
          </p:cNvPr>
          <p:cNvSpPr>
            <a:spLocks noGrp="1"/>
          </p:cNvSpPr>
          <p:nvPr>
            <p:ph type="body" sz="quarter" idx="29" hasCustomPrompt="1"/>
          </p:nvPr>
        </p:nvSpPr>
        <p:spPr>
          <a:xfrm>
            <a:off x="12468021" y="2722918"/>
            <a:ext cx="3129089" cy="96862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66" name="Marcador de texto 7">
            <a:extLst>
              <a:ext uri="{FF2B5EF4-FFF2-40B4-BE49-F238E27FC236}">
                <a16:creationId xmlns:a16="http://schemas.microsoft.com/office/drawing/2014/main" xmlns="" id="{8B692A92-E8A9-7C47-AD18-4649F0D21005}"/>
              </a:ext>
            </a:extLst>
          </p:cNvPr>
          <p:cNvSpPr>
            <a:spLocks noGrp="1"/>
          </p:cNvSpPr>
          <p:nvPr>
            <p:ph type="body" sz="quarter" idx="30" hasCustomPrompt="1"/>
          </p:nvPr>
        </p:nvSpPr>
        <p:spPr>
          <a:xfrm>
            <a:off x="12468021" y="2146118"/>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67" name="Conector recto 66">
            <a:extLst>
              <a:ext uri="{FF2B5EF4-FFF2-40B4-BE49-F238E27FC236}">
                <a16:creationId xmlns:a16="http://schemas.microsoft.com/office/drawing/2014/main" xmlns="" id="{4F85BE26-F0D1-724D-91CA-79E04ECAC02F}"/>
              </a:ext>
            </a:extLst>
          </p:cNvPr>
          <p:cNvCxnSpPr>
            <a:cxnSpLocks/>
          </p:cNvCxnSpPr>
          <p:nvPr/>
        </p:nvCxnSpPr>
        <p:spPr>
          <a:xfrm>
            <a:off x="12468021" y="2536771"/>
            <a:ext cx="3129089"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9" name="Marcador de texto 7">
            <a:extLst>
              <a:ext uri="{FF2B5EF4-FFF2-40B4-BE49-F238E27FC236}">
                <a16:creationId xmlns:a16="http://schemas.microsoft.com/office/drawing/2014/main" xmlns="" id="{661B3AB6-9A76-2B4A-8C31-709E7AD6C6AD}"/>
              </a:ext>
            </a:extLst>
          </p:cNvPr>
          <p:cNvSpPr>
            <a:spLocks noGrp="1"/>
          </p:cNvSpPr>
          <p:nvPr>
            <p:ph type="body" sz="quarter" idx="31" hasCustomPrompt="1"/>
          </p:nvPr>
        </p:nvSpPr>
        <p:spPr>
          <a:xfrm>
            <a:off x="3097701" y="2832619"/>
            <a:ext cx="1655688" cy="474147"/>
          </a:xfrm>
          <a:prstGeom prst="rect">
            <a:avLst/>
          </a:prstGeom>
        </p:spPr>
        <p:txBody>
          <a:bodyPr/>
          <a:lstStyle>
            <a:lvl1pPr marL="0" indent="0">
              <a:buNone/>
              <a:defRPr sz="1555" b="1"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71" name="Marcador de texto 7">
            <a:extLst>
              <a:ext uri="{FF2B5EF4-FFF2-40B4-BE49-F238E27FC236}">
                <a16:creationId xmlns:a16="http://schemas.microsoft.com/office/drawing/2014/main" xmlns="" id="{6DF521A9-C541-1D4C-879C-AB754287F020}"/>
              </a:ext>
            </a:extLst>
          </p:cNvPr>
          <p:cNvSpPr>
            <a:spLocks noGrp="1"/>
          </p:cNvSpPr>
          <p:nvPr>
            <p:ph type="body" sz="quarter" idx="32" hasCustomPrompt="1"/>
          </p:nvPr>
        </p:nvSpPr>
        <p:spPr>
          <a:xfrm>
            <a:off x="703137" y="2832619"/>
            <a:ext cx="1655688" cy="474147"/>
          </a:xfrm>
          <a:prstGeom prst="rect">
            <a:avLst/>
          </a:prstGeom>
        </p:spPr>
        <p:txBody>
          <a:bodyPr/>
          <a:lstStyle>
            <a:lvl1pPr marL="0" indent="0">
              <a:buNone/>
              <a:defRPr sz="1555" b="1"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98" name="Marcador de texto 7">
            <a:extLst>
              <a:ext uri="{FF2B5EF4-FFF2-40B4-BE49-F238E27FC236}">
                <a16:creationId xmlns:a16="http://schemas.microsoft.com/office/drawing/2014/main" xmlns="" id="{2B2B38A7-1E90-DD47-A64D-948E5F2F8B1D}"/>
              </a:ext>
            </a:extLst>
          </p:cNvPr>
          <p:cNvSpPr>
            <a:spLocks noGrp="1"/>
          </p:cNvSpPr>
          <p:nvPr>
            <p:ph type="body" sz="quarter" idx="33" hasCustomPrompt="1"/>
          </p:nvPr>
        </p:nvSpPr>
        <p:spPr>
          <a:xfrm>
            <a:off x="5831076" y="4840828"/>
            <a:ext cx="6246798" cy="96698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99" name="Rectángulo">
            <a:extLst>
              <a:ext uri="{FF2B5EF4-FFF2-40B4-BE49-F238E27FC236}">
                <a16:creationId xmlns:a16="http://schemas.microsoft.com/office/drawing/2014/main" xmlns="" id="{FD1CB431-1820-2345-98EC-38025759AF2F}"/>
              </a:ext>
            </a:extLst>
          </p:cNvPr>
          <p:cNvSpPr/>
          <p:nvPr/>
        </p:nvSpPr>
        <p:spPr>
          <a:xfrm>
            <a:off x="597028" y="4840831"/>
            <a:ext cx="2010391" cy="693545"/>
          </a:xfrm>
          <a:prstGeom prst="rect">
            <a:avLst/>
          </a:prstGeom>
          <a:solidFill>
            <a:schemeClr val="accent3"/>
          </a:solidFill>
          <a:ln w="12700">
            <a:miter lim="400000"/>
          </a:ln>
        </p:spPr>
        <p:txBody>
          <a:bodyPr lIns="32927" tIns="32927" rIns="32927" bIns="32927" anchor="ctr"/>
          <a:lstStyle/>
          <a:p>
            <a:pPr algn="ctr" defTabSz="535047">
              <a:defRPr sz="3200">
                <a:solidFill>
                  <a:srgbClr val="FFFFFF"/>
                </a:solidFill>
                <a:latin typeface="Arial"/>
                <a:ea typeface="Arial"/>
                <a:cs typeface="Arial"/>
                <a:sym typeface="Arial"/>
              </a:defRPr>
            </a:pPr>
            <a:endParaRPr sz="2074">
              <a:solidFill>
                <a:srgbClr val="FFFFFF"/>
              </a:solidFill>
              <a:ea typeface="Arial"/>
              <a:cs typeface="Arial"/>
              <a:sym typeface="Arial"/>
            </a:endParaRPr>
          </a:p>
        </p:txBody>
      </p:sp>
      <p:sp>
        <p:nvSpPr>
          <p:cNvPr id="100" name="Flecha">
            <a:extLst>
              <a:ext uri="{FF2B5EF4-FFF2-40B4-BE49-F238E27FC236}">
                <a16:creationId xmlns:a16="http://schemas.microsoft.com/office/drawing/2014/main" xmlns="" id="{51D30188-BA2F-E041-9E44-E9C991347A3B}"/>
              </a:ext>
            </a:extLst>
          </p:cNvPr>
          <p:cNvSpPr/>
          <p:nvPr/>
        </p:nvSpPr>
        <p:spPr>
          <a:xfrm>
            <a:off x="3008351" y="4840831"/>
            <a:ext cx="2419202" cy="693545"/>
          </a:xfrm>
          <a:prstGeom prst="rightArrow">
            <a:avLst>
              <a:gd name="adj1" fmla="val 97321"/>
              <a:gd name="adj2" fmla="val 24371"/>
            </a:avLst>
          </a:prstGeom>
          <a:solidFill>
            <a:schemeClr val="tx1"/>
          </a:solidFill>
          <a:ln w="12700">
            <a:miter lim="400000"/>
          </a:ln>
        </p:spPr>
        <p:txBody>
          <a:bodyPr lIns="0" tIns="0" rIns="0" bIns="0"/>
          <a:lstStyle/>
          <a:p>
            <a:pPr algn="ctr" defTabSz="296335">
              <a:defRPr sz="2400">
                <a:solidFill>
                  <a:srgbClr val="595959"/>
                </a:solidFill>
                <a:latin typeface="Barlow Regular"/>
                <a:ea typeface="Barlow Regular"/>
                <a:cs typeface="Barlow Regular"/>
                <a:sym typeface="Barlow Regular"/>
              </a:defRPr>
            </a:pPr>
            <a:endParaRPr sz="1555" dirty="0">
              <a:solidFill>
                <a:srgbClr val="FFFFFF"/>
              </a:solidFill>
              <a:latin typeface="Barlow Regular"/>
              <a:ea typeface="Barlow Regular"/>
              <a:cs typeface="Arial" panose="020B0604020202020204" pitchFamily="34" charset="0"/>
              <a:sym typeface="Barlow Regular"/>
            </a:endParaRPr>
          </a:p>
        </p:txBody>
      </p:sp>
      <p:sp>
        <p:nvSpPr>
          <p:cNvPr id="101" name="Marcador de texto 7">
            <a:extLst>
              <a:ext uri="{FF2B5EF4-FFF2-40B4-BE49-F238E27FC236}">
                <a16:creationId xmlns:a16="http://schemas.microsoft.com/office/drawing/2014/main" xmlns="" id="{BE0B497D-B44F-C24C-8E29-BD07AF0EDD0F}"/>
              </a:ext>
            </a:extLst>
          </p:cNvPr>
          <p:cNvSpPr>
            <a:spLocks noGrp="1"/>
          </p:cNvSpPr>
          <p:nvPr>
            <p:ph type="body" sz="quarter" idx="34" hasCustomPrompt="1"/>
          </p:nvPr>
        </p:nvSpPr>
        <p:spPr>
          <a:xfrm>
            <a:off x="3008352" y="4264028"/>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102" name="Conector recto 101">
            <a:extLst>
              <a:ext uri="{FF2B5EF4-FFF2-40B4-BE49-F238E27FC236}">
                <a16:creationId xmlns:a16="http://schemas.microsoft.com/office/drawing/2014/main" xmlns="" id="{FA62AC02-A4CB-9E42-9966-0638ADE12337}"/>
              </a:ext>
            </a:extLst>
          </p:cNvPr>
          <p:cNvCxnSpPr>
            <a:cxnSpLocks/>
          </p:cNvCxnSpPr>
          <p:nvPr/>
        </p:nvCxnSpPr>
        <p:spPr>
          <a:xfrm>
            <a:off x="3008351" y="4654683"/>
            <a:ext cx="2419202"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3" name="Marcador de texto 7">
            <a:extLst>
              <a:ext uri="{FF2B5EF4-FFF2-40B4-BE49-F238E27FC236}">
                <a16:creationId xmlns:a16="http://schemas.microsoft.com/office/drawing/2014/main" xmlns="" id="{1BD4B4BB-F73A-8C47-9D90-CEC7DD3B41B0}"/>
              </a:ext>
            </a:extLst>
          </p:cNvPr>
          <p:cNvSpPr>
            <a:spLocks noGrp="1"/>
          </p:cNvSpPr>
          <p:nvPr>
            <p:ph type="body" sz="quarter" idx="35" hasCustomPrompt="1"/>
          </p:nvPr>
        </p:nvSpPr>
        <p:spPr>
          <a:xfrm>
            <a:off x="5831079" y="4264028"/>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104" name="Conector recto 103">
            <a:extLst>
              <a:ext uri="{FF2B5EF4-FFF2-40B4-BE49-F238E27FC236}">
                <a16:creationId xmlns:a16="http://schemas.microsoft.com/office/drawing/2014/main" xmlns="" id="{0C6E77F8-65E8-494D-8105-C0A16B41DC03}"/>
              </a:ext>
            </a:extLst>
          </p:cNvPr>
          <p:cNvCxnSpPr>
            <a:cxnSpLocks/>
          </p:cNvCxnSpPr>
          <p:nvPr/>
        </p:nvCxnSpPr>
        <p:spPr>
          <a:xfrm>
            <a:off x="5831076" y="4654683"/>
            <a:ext cx="6246798"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5" name="Marcador de texto 7">
            <a:extLst>
              <a:ext uri="{FF2B5EF4-FFF2-40B4-BE49-F238E27FC236}">
                <a16:creationId xmlns:a16="http://schemas.microsoft.com/office/drawing/2014/main" xmlns="" id="{15E1D5D8-969C-0C47-A83E-5B4A68DB305F}"/>
              </a:ext>
            </a:extLst>
          </p:cNvPr>
          <p:cNvSpPr>
            <a:spLocks noGrp="1"/>
          </p:cNvSpPr>
          <p:nvPr>
            <p:ph type="body" sz="quarter" idx="36" hasCustomPrompt="1"/>
          </p:nvPr>
        </p:nvSpPr>
        <p:spPr>
          <a:xfrm>
            <a:off x="12468021" y="4840830"/>
            <a:ext cx="3129089" cy="96862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106" name="Marcador de texto 7">
            <a:extLst>
              <a:ext uri="{FF2B5EF4-FFF2-40B4-BE49-F238E27FC236}">
                <a16:creationId xmlns:a16="http://schemas.microsoft.com/office/drawing/2014/main" xmlns="" id="{5DC833E3-6DB7-4D44-8269-BEE4CDA6C721}"/>
              </a:ext>
            </a:extLst>
          </p:cNvPr>
          <p:cNvSpPr>
            <a:spLocks noGrp="1"/>
          </p:cNvSpPr>
          <p:nvPr>
            <p:ph type="body" sz="quarter" idx="37" hasCustomPrompt="1"/>
          </p:nvPr>
        </p:nvSpPr>
        <p:spPr>
          <a:xfrm>
            <a:off x="12468021" y="4264028"/>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107" name="Conector recto 106">
            <a:extLst>
              <a:ext uri="{FF2B5EF4-FFF2-40B4-BE49-F238E27FC236}">
                <a16:creationId xmlns:a16="http://schemas.microsoft.com/office/drawing/2014/main" xmlns="" id="{3DD43F7B-D2ED-9042-8179-8A0FE56FD61C}"/>
              </a:ext>
            </a:extLst>
          </p:cNvPr>
          <p:cNvCxnSpPr>
            <a:cxnSpLocks/>
          </p:cNvCxnSpPr>
          <p:nvPr/>
        </p:nvCxnSpPr>
        <p:spPr>
          <a:xfrm>
            <a:off x="12468021" y="4654683"/>
            <a:ext cx="3129089"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9" name="Marcador de texto 7">
            <a:extLst>
              <a:ext uri="{FF2B5EF4-FFF2-40B4-BE49-F238E27FC236}">
                <a16:creationId xmlns:a16="http://schemas.microsoft.com/office/drawing/2014/main" xmlns="" id="{B64B1C12-DD64-304A-8558-8A688B339723}"/>
              </a:ext>
            </a:extLst>
          </p:cNvPr>
          <p:cNvSpPr>
            <a:spLocks noGrp="1"/>
          </p:cNvSpPr>
          <p:nvPr>
            <p:ph type="body" sz="quarter" idx="38" hasCustomPrompt="1"/>
          </p:nvPr>
        </p:nvSpPr>
        <p:spPr>
          <a:xfrm>
            <a:off x="3097701" y="4950530"/>
            <a:ext cx="1655688" cy="474147"/>
          </a:xfrm>
          <a:prstGeom prst="rect">
            <a:avLst/>
          </a:prstGeom>
        </p:spPr>
        <p:txBody>
          <a:bodyPr/>
          <a:lstStyle>
            <a:lvl1pPr marL="0" indent="0">
              <a:buNone/>
              <a:defRPr sz="1555" b="1"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110" name="Marcador de texto 7">
            <a:extLst>
              <a:ext uri="{FF2B5EF4-FFF2-40B4-BE49-F238E27FC236}">
                <a16:creationId xmlns:a16="http://schemas.microsoft.com/office/drawing/2014/main" xmlns="" id="{D674B401-78C8-414C-A501-6F69894D59F1}"/>
              </a:ext>
            </a:extLst>
          </p:cNvPr>
          <p:cNvSpPr>
            <a:spLocks noGrp="1"/>
          </p:cNvSpPr>
          <p:nvPr>
            <p:ph type="body" sz="quarter" idx="39" hasCustomPrompt="1"/>
          </p:nvPr>
        </p:nvSpPr>
        <p:spPr>
          <a:xfrm>
            <a:off x="703137" y="4950530"/>
            <a:ext cx="1655688" cy="474147"/>
          </a:xfrm>
          <a:prstGeom prst="rect">
            <a:avLst/>
          </a:prstGeom>
        </p:spPr>
        <p:txBody>
          <a:bodyPr/>
          <a:lstStyle>
            <a:lvl1pPr marL="0" indent="0">
              <a:buNone/>
              <a:defRPr sz="1555" b="1"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111" name="Marcador de texto 7">
            <a:extLst>
              <a:ext uri="{FF2B5EF4-FFF2-40B4-BE49-F238E27FC236}">
                <a16:creationId xmlns:a16="http://schemas.microsoft.com/office/drawing/2014/main" xmlns="" id="{61CDEF0A-D72C-2648-9BF7-D2A388DD5860}"/>
              </a:ext>
            </a:extLst>
          </p:cNvPr>
          <p:cNvSpPr>
            <a:spLocks noGrp="1"/>
          </p:cNvSpPr>
          <p:nvPr>
            <p:ph type="body" sz="quarter" idx="40" hasCustomPrompt="1"/>
          </p:nvPr>
        </p:nvSpPr>
        <p:spPr>
          <a:xfrm>
            <a:off x="5831076" y="7156845"/>
            <a:ext cx="6246798" cy="96698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112" name="Rectángulo">
            <a:extLst>
              <a:ext uri="{FF2B5EF4-FFF2-40B4-BE49-F238E27FC236}">
                <a16:creationId xmlns:a16="http://schemas.microsoft.com/office/drawing/2014/main" xmlns="" id="{82768CE9-E1C4-3D4C-81F7-4374324630CD}"/>
              </a:ext>
            </a:extLst>
          </p:cNvPr>
          <p:cNvSpPr/>
          <p:nvPr/>
        </p:nvSpPr>
        <p:spPr>
          <a:xfrm>
            <a:off x="597028" y="7156848"/>
            <a:ext cx="2010391" cy="693545"/>
          </a:xfrm>
          <a:prstGeom prst="rect">
            <a:avLst/>
          </a:prstGeom>
          <a:solidFill>
            <a:schemeClr val="accent3"/>
          </a:solidFill>
          <a:ln w="12700">
            <a:miter lim="400000"/>
          </a:ln>
        </p:spPr>
        <p:txBody>
          <a:bodyPr lIns="32927" tIns="32927" rIns="32927" bIns="32927" anchor="ctr"/>
          <a:lstStyle/>
          <a:p>
            <a:pPr algn="ctr" defTabSz="535047">
              <a:defRPr sz="3200">
                <a:solidFill>
                  <a:srgbClr val="FFFFFF"/>
                </a:solidFill>
                <a:latin typeface="Arial"/>
                <a:ea typeface="Arial"/>
                <a:cs typeface="Arial"/>
                <a:sym typeface="Arial"/>
              </a:defRPr>
            </a:pPr>
            <a:endParaRPr sz="2074">
              <a:solidFill>
                <a:srgbClr val="FFFFFF"/>
              </a:solidFill>
              <a:ea typeface="Arial"/>
              <a:cs typeface="Arial"/>
              <a:sym typeface="Arial"/>
            </a:endParaRPr>
          </a:p>
        </p:txBody>
      </p:sp>
      <p:sp>
        <p:nvSpPr>
          <p:cNvPr id="113" name="Flecha">
            <a:extLst>
              <a:ext uri="{FF2B5EF4-FFF2-40B4-BE49-F238E27FC236}">
                <a16:creationId xmlns:a16="http://schemas.microsoft.com/office/drawing/2014/main" xmlns="" id="{11B2D5B3-C3A5-5A46-B783-E9DB7956E3FC}"/>
              </a:ext>
            </a:extLst>
          </p:cNvPr>
          <p:cNvSpPr/>
          <p:nvPr/>
        </p:nvSpPr>
        <p:spPr>
          <a:xfrm>
            <a:off x="3008351" y="7156848"/>
            <a:ext cx="2419202" cy="693545"/>
          </a:xfrm>
          <a:prstGeom prst="rightArrow">
            <a:avLst>
              <a:gd name="adj1" fmla="val 97321"/>
              <a:gd name="adj2" fmla="val 24371"/>
            </a:avLst>
          </a:prstGeom>
          <a:solidFill>
            <a:schemeClr val="tx1"/>
          </a:solidFill>
          <a:ln w="12700">
            <a:miter lim="400000"/>
          </a:ln>
        </p:spPr>
        <p:txBody>
          <a:bodyPr lIns="0" tIns="0" rIns="0" bIns="0"/>
          <a:lstStyle/>
          <a:p>
            <a:pPr algn="ctr" defTabSz="296335">
              <a:defRPr sz="2400">
                <a:solidFill>
                  <a:srgbClr val="595959"/>
                </a:solidFill>
                <a:latin typeface="Barlow Regular"/>
                <a:ea typeface="Barlow Regular"/>
                <a:cs typeface="Barlow Regular"/>
                <a:sym typeface="Barlow Regular"/>
              </a:defRPr>
            </a:pPr>
            <a:endParaRPr sz="1555" dirty="0">
              <a:solidFill>
                <a:srgbClr val="FFFFFF"/>
              </a:solidFill>
              <a:latin typeface="Barlow Regular"/>
              <a:ea typeface="Barlow Regular"/>
              <a:cs typeface="Arial" panose="020B0604020202020204" pitchFamily="34" charset="0"/>
              <a:sym typeface="Barlow Regular"/>
            </a:endParaRPr>
          </a:p>
        </p:txBody>
      </p:sp>
      <p:sp>
        <p:nvSpPr>
          <p:cNvPr id="114" name="Marcador de texto 7">
            <a:extLst>
              <a:ext uri="{FF2B5EF4-FFF2-40B4-BE49-F238E27FC236}">
                <a16:creationId xmlns:a16="http://schemas.microsoft.com/office/drawing/2014/main" xmlns="" id="{130CF308-4F12-CF40-8431-48ED26F5E46C}"/>
              </a:ext>
            </a:extLst>
          </p:cNvPr>
          <p:cNvSpPr>
            <a:spLocks noGrp="1"/>
          </p:cNvSpPr>
          <p:nvPr>
            <p:ph type="body" sz="quarter" idx="41" hasCustomPrompt="1"/>
          </p:nvPr>
        </p:nvSpPr>
        <p:spPr>
          <a:xfrm>
            <a:off x="3008352" y="6580046"/>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115" name="Conector recto 114">
            <a:extLst>
              <a:ext uri="{FF2B5EF4-FFF2-40B4-BE49-F238E27FC236}">
                <a16:creationId xmlns:a16="http://schemas.microsoft.com/office/drawing/2014/main" xmlns="" id="{0312E910-2788-3D48-B437-F32CE1E92226}"/>
              </a:ext>
            </a:extLst>
          </p:cNvPr>
          <p:cNvCxnSpPr>
            <a:cxnSpLocks/>
          </p:cNvCxnSpPr>
          <p:nvPr/>
        </p:nvCxnSpPr>
        <p:spPr>
          <a:xfrm>
            <a:off x="3008351" y="6970699"/>
            <a:ext cx="2419202"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6" name="Marcador de texto 7">
            <a:extLst>
              <a:ext uri="{FF2B5EF4-FFF2-40B4-BE49-F238E27FC236}">
                <a16:creationId xmlns:a16="http://schemas.microsoft.com/office/drawing/2014/main" xmlns="" id="{F003F3C9-833A-0E40-989F-A1E89E66731F}"/>
              </a:ext>
            </a:extLst>
          </p:cNvPr>
          <p:cNvSpPr>
            <a:spLocks noGrp="1"/>
          </p:cNvSpPr>
          <p:nvPr>
            <p:ph type="body" sz="quarter" idx="42" hasCustomPrompt="1"/>
          </p:nvPr>
        </p:nvSpPr>
        <p:spPr>
          <a:xfrm>
            <a:off x="5865705" y="6580046"/>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117" name="Conector recto 116">
            <a:extLst>
              <a:ext uri="{FF2B5EF4-FFF2-40B4-BE49-F238E27FC236}">
                <a16:creationId xmlns:a16="http://schemas.microsoft.com/office/drawing/2014/main" xmlns="" id="{D297A162-44E6-444F-B15F-B309FAC6EC0E}"/>
              </a:ext>
            </a:extLst>
          </p:cNvPr>
          <p:cNvCxnSpPr>
            <a:cxnSpLocks/>
          </p:cNvCxnSpPr>
          <p:nvPr/>
        </p:nvCxnSpPr>
        <p:spPr>
          <a:xfrm>
            <a:off x="5849924" y="6970699"/>
            <a:ext cx="6246798"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8" name="Marcador de texto 7">
            <a:extLst>
              <a:ext uri="{FF2B5EF4-FFF2-40B4-BE49-F238E27FC236}">
                <a16:creationId xmlns:a16="http://schemas.microsoft.com/office/drawing/2014/main" xmlns="" id="{B40D342A-9934-D247-8506-3C04BA2012CC}"/>
              </a:ext>
            </a:extLst>
          </p:cNvPr>
          <p:cNvSpPr>
            <a:spLocks noGrp="1"/>
          </p:cNvSpPr>
          <p:nvPr>
            <p:ph type="body" sz="quarter" idx="43" hasCustomPrompt="1"/>
          </p:nvPr>
        </p:nvSpPr>
        <p:spPr>
          <a:xfrm>
            <a:off x="12468019" y="7156845"/>
            <a:ext cx="3128777" cy="96862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119" name="Marcador de texto 7">
            <a:extLst>
              <a:ext uri="{FF2B5EF4-FFF2-40B4-BE49-F238E27FC236}">
                <a16:creationId xmlns:a16="http://schemas.microsoft.com/office/drawing/2014/main" xmlns="" id="{DDA9AE97-84A3-694E-9294-BAFBA6FBC7E4}"/>
              </a:ext>
            </a:extLst>
          </p:cNvPr>
          <p:cNvSpPr>
            <a:spLocks noGrp="1"/>
          </p:cNvSpPr>
          <p:nvPr>
            <p:ph type="body" sz="quarter" idx="44" hasCustomPrompt="1"/>
          </p:nvPr>
        </p:nvSpPr>
        <p:spPr>
          <a:xfrm>
            <a:off x="12502648" y="6580046"/>
            <a:ext cx="2218480" cy="287310"/>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120" name="Conector recto 119">
            <a:extLst>
              <a:ext uri="{FF2B5EF4-FFF2-40B4-BE49-F238E27FC236}">
                <a16:creationId xmlns:a16="http://schemas.microsoft.com/office/drawing/2014/main" xmlns="" id="{52E5032A-A04E-AF48-A2B4-4FCA1E59EB6C}"/>
              </a:ext>
            </a:extLst>
          </p:cNvPr>
          <p:cNvCxnSpPr>
            <a:cxnSpLocks/>
          </p:cNvCxnSpPr>
          <p:nvPr/>
        </p:nvCxnSpPr>
        <p:spPr>
          <a:xfrm>
            <a:off x="12502650" y="6970699"/>
            <a:ext cx="3129089"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22" name="Marcador de texto 7">
            <a:extLst>
              <a:ext uri="{FF2B5EF4-FFF2-40B4-BE49-F238E27FC236}">
                <a16:creationId xmlns:a16="http://schemas.microsoft.com/office/drawing/2014/main" xmlns="" id="{EE07E9DC-AD79-9F43-9AA5-4C2F72B701EE}"/>
              </a:ext>
            </a:extLst>
          </p:cNvPr>
          <p:cNvSpPr>
            <a:spLocks noGrp="1"/>
          </p:cNvSpPr>
          <p:nvPr>
            <p:ph type="body" sz="quarter" idx="45" hasCustomPrompt="1"/>
          </p:nvPr>
        </p:nvSpPr>
        <p:spPr>
          <a:xfrm>
            <a:off x="3097701" y="7266547"/>
            <a:ext cx="1655688" cy="474147"/>
          </a:xfrm>
          <a:prstGeom prst="rect">
            <a:avLst/>
          </a:prstGeom>
        </p:spPr>
        <p:txBody>
          <a:bodyPr/>
          <a:lstStyle>
            <a:lvl1pPr marL="0" indent="0">
              <a:buNone/>
              <a:defRPr sz="1555" b="1"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123" name="Marcador de texto 7">
            <a:extLst>
              <a:ext uri="{FF2B5EF4-FFF2-40B4-BE49-F238E27FC236}">
                <a16:creationId xmlns:a16="http://schemas.microsoft.com/office/drawing/2014/main" xmlns="" id="{9E332173-B33D-EE42-B963-112D06843FB2}"/>
              </a:ext>
            </a:extLst>
          </p:cNvPr>
          <p:cNvSpPr>
            <a:spLocks noGrp="1"/>
          </p:cNvSpPr>
          <p:nvPr>
            <p:ph type="body" sz="quarter" idx="46" hasCustomPrompt="1"/>
          </p:nvPr>
        </p:nvSpPr>
        <p:spPr>
          <a:xfrm>
            <a:off x="703137" y="7266547"/>
            <a:ext cx="1655688" cy="474147"/>
          </a:xfrm>
          <a:prstGeom prst="rect">
            <a:avLst/>
          </a:prstGeom>
        </p:spPr>
        <p:txBody>
          <a:bodyPr/>
          <a:lstStyle>
            <a:lvl1pPr marL="0" indent="0">
              <a:buNone/>
              <a:defRPr sz="1555" b="1"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47" name="Marcador de texto 4">
            <a:extLst>
              <a:ext uri="{FF2B5EF4-FFF2-40B4-BE49-F238E27FC236}">
                <a16:creationId xmlns:a16="http://schemas.microsoft.com/office/drawing/2014/main" xmlns="" id="{5A23BCE0-B3C8-6349-8275-A9F9C2986204}"/>
              </a:ext>
            </a:extLst>
          </p:cNvPr>
          <p:cNvSpPr>
            <a:spLocks noGrp="1"/>
          </p:cNvSpPr>
          <p:nvPr>
            <p:ph type="body" sz="quarter" idx="48" hasCustomPrompt="1"/>
          </p:nvPr>
        </p:nvSpPr>
        <p:spPr>
          <a:xfrm>
            <a:off x="607578" y="8499678"/>
            <a:ext cx="11131590" cy="488022"/>
          </a:xfrm>
          <a:prstGeom prst="rect">
            <a:avLst/>
          </a:prstGeom>
        </p:spPr>
        <p:txBody>
          <a:bodyPr/>
          <a:lstStyle>
            <a:lvl1pPr marL="296335" indent="-296335">
              <a:lnSpc>
                <a:spcPct val="100000"/>
              </a:lnSpc>
              <a:spcBef>
                <a:spcPts val="130"/>
              </a:spcBef>
              <a:buClr>
                <a:schemeClr val="accent1"/>
              </a:buClr>
              <a:buSzPct val="90000"/>
              <a:buFont typeface="+mj-lt"/>
              <a:buAutoNum type="arabicPeriod"/>
              <a:tabLst/>
              <a:defRPr sz="1167" b="0" i="0">
                <a:solidFill>
                  <a:schemeClr val="tx2"/>
                </a:solidFill>
                <a:latin typeface="Arial" panose="020B0604020202020204" pitchFamily="34" charset="0"/>
              </a:defRPr>
            </a:lvl1pPr>
          </a:lstStyle>
          <a:p>
            <a:pPr lvl="0"/>
            <a:r>
              <a:rPr lang="es-ES" dirty="0"/>
              <a:t>Texto primera fuente Arial 9</a:t>
            </a:r>
          </a:p>
          <a:p>
            <a:pPr lvl="0"/>
            <a:r>
              <a:rPr lang="es-CL" dirty="0"/>
              <a:t>Texto sfuente Arial 9</a:t>
            </a:r>
          </a:p>
        </p:txBody>
      </p:sp>
      <p:sp>
        <p:nvSpPr>
          <p:cNvPr id="51" name="Marcador de texto 7">
            <a:extLst>
              <a:ext uri="{FF2B5EF4-FFF2-40B4-BE49-F238E27FC236}">
                <a16:creationId xmlns:a16="http://schemas.microsoft.com/office/drawing/2014/main" xmlns="" id="{AF5704FF-A3B1-E84F-83F0-30D6130B06FE}"/>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52" name="Marcador de texto 7">
            <a:extLst>
              <a:ext uri="{FF2B5EF4-FFF2-40B4-BE49-F238E27FC236}">
                <a16:creationId xmlns:a16="http://schemas.microsoft.com/office/drawing/2014/main" xmlns="" id="{218A46D2-9BBA-E74F-B136-1ADBF96B7137}"/>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53" name="Conector recto 52">
            <a:extLst>
              <a:ext uri="{FF2B5EF4-FFF2-40B4-BE49-F238E27FC236}">
                <a16:creationId xmlns:a16="http://schemas.microsoft.com/office/drawing/2014/main" xmlns="" id="{6CB136D2-7C8D-8C41-9006-6F293BB4FC6A}"/>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44" name="Marcador de número de diapositiva 1">
            <a:extLst>
              <a:ext uri="{FF2B5EF4-FFF2-40B4-BE49-F238E27FC236}">
                <a16:creationId xmlns:a16="http://schemas.microsoft.com/office/drawing/2014/main" xmlns="" id="{87050FD3-AC61-8749-A7FE-27F946040F56}"/>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1395061033"/>
      </p:ext>
    </p:extLst>
  </p:cSld>
  <p:clrMapOvr>
    <a:masterClrMapping/>
  </p:clrMapOvr>
  <p:extLst>
    <p:ext uri="{DCECCB84-F9BA-43D5-87BE-67443E8EF086}">
      <p15:sldGuideLst xmlns:p15="http://schemas.microsoft.com/office/powerpoint/2012/main">
        <p15:guide id="1" pos="28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lámina enumeración 1">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36" name="Marcador de texto 7">
            <a:extLst>
              <a:ext uri="{FF2B5EF4-FFF2-40B4-BE49-F238E27FC236}">
                <a16:creationId xmlns:a16="http://schemas.microsoft.com/office/drawing/2014/main" xmlns="" id="{F98F0A76-E459-7040-92DF-0796E35D78F1}"/>
              </a:ext>
            </a:extLst>
          </p:cNvPr>
          <p:cNvSpPr>
            <a:spLocks noGrp="1"/>
          </p:cNvSpPr>
          <p:nvPr>
            <p:ph type="body" sz="quarter" idx="14" hasCustomPrompt="1"/>
          </p:nvPr>
        </p:nvSpPr>
        <p:spPr>
          <a:xfrm>
            <a:off x="599631" y="4742405"/>
            <a:ext cx="3191558" cy="2907773"/>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53" name="Conector recto 74">
            <a:extLst>
              <a:ext uri="{FF2B5EF4-FFF2-40B4-BE49-F238E27FC236}">
                <a16:creationId xmlns:a16="http://schemas.microsoft.com/office/drawing/2014/main" xmlns="" id="{5BEE3994-12D6-1249-9576-D8A33A059B6C}"/>
              </a:ext>
            </a:extLst>
          </p:cNvPr>
          <p:cNvSpPr/>
          <p:nvPr/>
        </p:nvSpPr>
        <p:spPr>
          <a:xfrm flipH="1">
            <a:off x="589645" y="4384774"/>
            <a:ext cx="3195754" cy="0"/>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54" name="Marcador de texto 7">
            <a:extLst>
              <a:ext uri="{FF2B5EF4-FFF2-40B4-BE49-F238E27FC236}">
                <a16:creationId xmlns:a16="http://schemas.microsoft.com/office/drawing/2014/main" xmlns="" id="{42F8710E-2DE8-074A-B6FC-EE460A7B8A9B}"/>
              </a:ext>
            </a:extLst>
          </p:cNvPr>
          <p:cNvSpPr>
            <a:spLocks noGrp="1"/>
          </p:cNvSpPr>
          <p:nvPr>
            <p:ph type="body" sz="quarter" idx="13" hasCustomPrompt="1"/>
          </p:nvPr>
        </p:nvSpPr>
        <p:spPr>
          <a:xfrm>
            <a:off x="2139732" y="3610359"/>
            <a:ext cx="1651457" cy="541955"/>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73" name="Marcador de texto 7">
            <a:extLst>
              <a:ext uri="{FF2B5EF4-FFF2-40B4-BE49-F238E27FC236}">
                <a16:creationId xmlns:a16="http://schemas.microsoft.com/office/drawing/2014/main" xmlns="" id="{09EEDC92-36AB-3740-B395-D2782D6591A5}"/>
              </a:ext>
            </a:extLst>
          </p:cNvPr>
          <p:cNvSpPr>
            <a:spLocks noGrp="1"/>
          </p:cNvSpPr>
          <p:nvPr>
            <p:ph type="body" sz="quarter" idx="19" hasCustomPrompt="1"/>
          </p:nvPr>
        </p:nvSpPr>
        <p:spPr>
          <a:xfrm>
            <a:off x="12396893" y="4742405"/>
            <a:ext cx="3191558" cy="2907773"/>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74" name="Conector recto 74">
            <a:extLst>
              <a:ext uri="{FF2B5EF4-FFF2-40B4-BE49-F238E27FC236}">
                <a16:creationId xmlns:a16="http://schemas.microsoft.com/office/drawing/2014/main" xmlns="" id="{1892524C-5625-4F43-95F1-2336FF662D99}"/>
              </a:ext>
            </a:extLst>
          </p:cNvPr>
          <p:cNvSpPr/>
          <p:nvPr/>
        </p:nvSpPr>
        <p:spPr>
          <a:xfrm flipH="1">
            <a:off x="12392695" y="4384774"/>
            <a:ext cx="3195754" cy="0"/>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75" name="Marcador de texto 7">
            <a:extLst>
              <a:ext uri="{FF2B5EF4-FFF2-40B4-BE49-F238E27FC236}">
                <a16:creationId xmlns:a16="http://schemas.microsoft.com/office/drawing/2014/main" xmlns="" id="{FBDEA04A-F7FF-7A4B-A6D6-7B80347F9CCC}"/>
              </a:ext>
            </a:extLst>
          </p:cNvPr>
          <p:cNvSpPr>
            <a:spLocks noGrp="1"/>
          </p:cNvSpPr>
          <p:nvPr>
            <p:ph type="body" sz="quarter" idx="20" hasCustomPrompt="1"/>
          </p:nvPr>
        </p:nvSpPr>
        <p:spPr>
          <a:xfrm>
            <a:off x="13936994" y="3610359"/>
            <a:ext cx="1651457" cy="541955"/>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79" name="Marcador de texto 7">
            <a:extLst>
              <a:ext uri="{FF2B5EF4-FFF2-40B4-BE49-F238E27FC236}">
                <a16:creationId xmlns:a16="http://schemas.microsoft.com/office/drawing/2014/main" xmlns="" id="{F5423D24-59DD-744A-8BC7-9DE94EAB4131}"/>
              </a:ext>
            </a:extLst>
          </p:cNvPr>
          <p:cNvSpPr>
            <a:spLocks noGrp="1"/>
          </p:cNvSpPr>
          <p:nvPr>
            <p:ph type="body" sz="quarter" idx="21" hasCustomPrompt="1"/>
          </p:nvPr>
        </p:nvSpPr>
        <p:spPr>
          <a:xfrm>
            <a:off x="8485191" y="4742405"/>
            <a:ext cx="3191558" cy="2907773"/>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80" name="Conector recto 74">
            <a:extLst>
              <a:ext uri="{FF2B5EF4-FFF2-40B4-BE49-F238E27FC236}">
                <a16:creationId xmlns:a16="http://schemas.microsoft.com/office/drawing/2014/main" xmlns="" id="{4B745506-C1E7-2346-B2DA-DBC633F63A51}"/>
              </a:ext>
            </a:extLst>
          </p:cNvPr>
          <p:cNvSpPr/>
          <p:nvPr/>
        </p:nvSpPr>
        <p:spPr>
          <a:xfrm flipH="1">
            <a:off x="8485189" y="4384774"/>
            <a:ext cx="3195754" cy="0"/>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81" name="Marcador de texto 7">
            <a:extLst>
              <a:ext uri="{FF2B5EF4-FFF2-40B4-BE49-F238E27FC236}">
                <a16:creationId xmlns:a16="http://schemas.microsoft.com/office/drawing/2014/main" xmlns="" id="{A81970EB-E356-9143-BA0B-A32ACF22649A}"/>
              </a:ext>
            </a:extLst>
          </p:cNvPr>
          <p:cNvSpPr>
            <a:spLocks noGrp="1"/>
          </p:cNvSpPr>
          <p:nvPr>
            <p:ph type="body" sz="quarter" idx="22" hasCustomPrompt="1"/>
          </p:nvPr>
        </p:nvSpPr>
        <p:spPr>
          <a:xfrm>
            <a:off x="10035276" y="3610359"/>
            <a:ext cx="1651457" cy="541955"/>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85" name="Marcador de texto 7">
            <a:extLst>
              <a:ext uri="{FF2B5EF4-FFF2-40B4-BE49-F238E27FC236}">
                <a16:creationId xmlns:a16="http://schemas.microsoft.com/office/drawing/2014/main" xmlns="" id="{CBB12395-7669-B540-A483-15E3C0663AA5}"/>
              </a:ext>
            </a:extLst>
          </p:cNvPr>
          <p:cNvSpPr>
            <a:spLocks noGrp="1"/>
          </p:cNvSpPr>
          <p:nvPr>
            <p:ph type="body" sz="quarter" idx="23" hasCustomPrompt="1"/>
          </p:nvPr>
        </p:nvSpPr>
        <p:spPr>
          <a:xfrm>
            <a:off x="4538226" y="4742405"/>
            <a:ext cx="3191558" cy="2907773"/>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86" name="Conector recto 74">
            <a:extLst>
              <a:ext uri="{FF2B5EF4-FFF2-40B4-BE49-F238E27FC236}">
                <a16:creationId xmlns:a16="http://schemas.microsoft.com/office/drawing/2014/main" xmlns="" id="{F48F5271-2008-8D47-8756-E000ADACC1E6}"/>
              </a:ext>
            </a:extLst>
          </p:cNvPr>
          <p:cNvSpPr/>
          <p:nvPr/>
        </p:nvSpPr>
        <p:spPr>
          <a:xfrm flipH="1">
            <a:off x="4538225" y="4384774"/>
            <a:ext cx="3195754" cy="0"/>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87" name="Marcador de texto 7">
            <a:extLst>
              <a:ext uri="{FF2B5EF4-FFF2-40B4-BE49-F238E27FC236}">
                <a16:creationId xmlns:a16="http://schemas.microsoft.com/office/drawing/2014/main" xmlns="" id="{A9A75FA4-4920-B749-9B33-9A58CCB533BD}"/>
              </a:ext>
            </a:extLst>
          </p:cNvPr>
          <p:cNvSpPr>
            <a:spLocks noGrp="1"/>
          </p:cNvSpPr>
          <p:nvPr>
            <p:ph type="body" sz="quarter" idx="24" hasCustomPrompt="1"/>
          </p:nvPr>
        </p:nvSpPr>
        <p:spPr>
          <a:xfrm>
            <a:off x="6072533" y="3610359"/>
            <a:ext cx="1651457" cy="541955"/>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38" name="Marcador de texto 7">
            <a:extLst>
              <a:ext uri="{FF2B5EF4-FFF2-40B4-BE49-F238E27FC236}">
                <a16:creationId xmlns:a16="http://schemas.microsoft.com/office/drawing/2014/main" xmlns="" id="{0A11C487-0115-5F4D-9992-15BD35A4BCB8}"/>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39" name="Marcador de texto 7">
            <a:extLst>
              <a:ext uri="{FF2B5EF4-FFF2-40B4-BE49-F238E27FC236}">
                <a16:creationId xmlns:a16="http://schemas.microsoft.com/office/drawing/2014/main" xmlns="" id="{A1ABE1C3-BEBA-4345-89D9-0376A17C72FD}"/>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40" name="Conector recto 39">
            <a:extLst>
              <a:ext uri="{FF2B5EF4-FFF2-40B4-BE49-F238E27FC236}">
                <a16:creationId xmlns:a16="http://schemas.microsoft.com/office/drawing/2014/main" xmlns="" id="{8CF76F9A-BCE3-1949-84F7-E39C480E440D}"/>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42" name="Marcador de posición de imagen 3">
            <a:extLst>
              <a:ext uri="{FF2B5EF4-FFF2-40B4-BE49-F238E27FC236}">
                <a16:creationId xmlns:a16="http://schemas.microsoft.com/office/drawing/2014/main" xmlns="" id="{0E8ACCB5-DDCA-6E42-A59F-C19DA54AD941}"/>
              </a:ext>
            </a:extLst>
          </p:cNvPr>
          <p:cNvSpPr>
            <a:spLocks noGrp="1"/>
          </p:cNvSpPr>
          <p:nvPr>
            <p:ph type="pic" sz="quarter" idx="49" hasCustomPrompt="1"/>
          </p:nvPr>
        </p:nvSpPr>
        <p:spPr>
          <a:xfrm>
            <a:off x="599629" y="3349875"/>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3" name="Marcador de posición de imagen 3">
            <a:extLst>
              <a:ext uri="{FF2B5EF4-FFF2-40B4-BE49-F238E27FC236}">
                <a16:creationId xmlns:a16="http://schemas.microsoft.com/office/drawing/2014/main" xmlns="" id="{A6B8CBED-9A8C-2E41-87A9-A4B4A73095C3}"/>
              </a:ext>
            </a:extLst>
          </p:cNvPr>
          <p:cNvSpPr>
            <a:spLocks noGrp="1"/>
          </p:cNvSpPr>
          <p:nvPr>
            <p:ph type="pic" sz="quarter" idx="50" hasCustomPrompt="1"/>
          </p:nvPr>
        </p:nvSpPr>
        <p:spPr>
          <a:xfrm>
            <a:off x="4538225" y="3349875"/>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4" name="Marcador de posición de imagen 3">
            <a:extLst>
              <a:ext uri="{FF2B5EF4-FFF2-40B4-BE49-F238E27FC236}">
                <a16:creationId xmlns:a16="http://schemas.microsoft.com/office/drawing/2014/main" xmlns="" id="{F8CBC851-6BCB-564E-829F-58E5E2D2ABA4}"/>
              </a:ext>
            </a:extLst>
          </p:cNvPr>
          <p:cNvSpPr>
            <a:spLocks noGrp="1"/>
          </p:cNvSpPr>
          <p:nvPr>
            <p:ph type="pic" sz="quarter" idx="51" hasCustomPrompt="1"/>
          </p:nvPr>
        </p:nvSpPr>
        <p:spPr>
          <a:xfrm>
            <a:off x="8485188" y="3349875"/>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5" name="Marcador de posición de imagen 3">
            <a:extLst>
              <a:ext uri="{FF2B5EF4-FFF2-40B4-BE49-F238E27FC236}">
                <a16:creationId xmlns:a16="http://schemas.microsoft.com/office/drawing/2014/main" xmlns="" id="{34ABF4E0-6CDE-E249-95A2-A7A05A1C8A22}"/>
              </a:ext>
            </a:extLst>
          </p:cNvPr>
          <p:cNvSpPr>
            <a:spLocks noGrp="1"/>
          </p:cNvSpPr>
          <p:nvPr>
            <p:ph type="pic" sz="quarter" idx="52" hasCustomPrompt="1"/>
          </p:nvPr>
        </p:nvSpPr>
        <p:spPr>
          <a:xfrm>
            <a:off x="12402687" y="3349875"/>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3" name="Marcador de número de diapositiva 1">
            <a:extLst>
              <a:ext uri="{FF2B5EF4-FFF2-40B4-BE49-F238E27FC236}">
                <a16:creationId xmlns:a16="http://schemas.microsoft.com/office/drawing/2014/main" xmlns="" id="{44314748-1970-6449-AEA4-9025EB0E9E8A}"/>
              </a:ext>
            </a:extLst>
          </p:cNvPr>
          <p:cNvSpPr>
            <a:spLocks noGrp="1"/>
          </p:cNvSpPr>
          <p:nvPr>
            <p:ph type="sldNum" sz="quarter" idx="53"/>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3183516164"/>
      </p:ext>
    </p:extLst>
  </p:cSld>
  <p:clrMapOvr>
    <a:masterClrMapping/>
  </p:clrMapOvr>
  <p:extLst>
    <p:ext uri="{DCECCB84-F9BA-43D5-87BE-67443E8EF086}">
      <p15:sldGuideLst xmlns:p15="http://schemas.microsoft.com/office/powerpoint/2012/main">
        <p15:guide id="1" orient="horz" pos="1366">
          <p15:clr>
            <a:srgbClr val="FBAE40"/>
          </p15:clr>
        </p15:guide>
        <p15:guide id="2" pos="280">
          <p15:clr>
            <a:srgbClr val="FBAE40"/>
          </p15:clr>
        </p15:guide>
        <p15:guide id="3" pos="1799">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lámina enumeración 2">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43" name="Marcador de texto 7">
            <a:extLst>
              <a:ext uri="{FF2B5EF4-FFF2-40B4-BE49-F238E27FC236}">
                <a16:creationId xmlns:a16="http://schemas.microsoft.com/office/drawing/2014/main" xmlns="" id="{CF985600-E7D8-9E44-82E9-F97AD68006A0}"/>
              </a:ext>
            </a:extLst>
          </p:cNvPr>
          <p:cNvSpPr>
            <a:spLocks noGrp="1"/>
          </p:cNvSpPr>
          <p:nvPr>
            <p:ph type="body" sz="quarter" idx="14" hasCustomPrompt="1"/>
          </p:nvPr>
        </p:nvSpPr>
        <p:spPr>
          <a:xfrm>
            <a:off x="5559225" y="2655556"/>
            <a:ext cx="9297281" cy="99589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44" name="Marcador de texto 7">
            <a:extLst>
              <a:ext uri="{FF2B5EF4-FFF2-40B4-BE49-F238E27FC236}">
                <a16:creationId xmlns:a16="http://schemas.microsoft.com/office/drawing/2014/main" xmlns="" id="{06EBF3F5-82CF-3447-9CBB-BB0F933A6585}"/>
              </a:ext>
            </a:extLst>
          </p:cNvPr>
          <p:cNvSpPr>
            <a:spLocks noGrp="1"/>
          </p:cNvSpPr>
          <p:nvPr>
            <p:ph type="body" sz="quarter" idx="13" hasCustomPrompt="1"/>
          </p:nvPr>
        </p:nvSpPr>
        <p:spPr>
          <a:xfrm>
            <a:off x="2799923" y="2882528"/>
            <a:ext cx="1670834"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90" name="Conector recto 89">
            <a:extLst>
              <a:ext uri="{FF2B5EF4-FFF2-40B4-BE49-F238E27FC236}">
                <a16:creationId xmlns:a16="http://schemas.microsoft.com/office/drawing/2014/main" xmlns="" id="{918C4B25-4DE6-4C44-8031-9999A5B2D42B}"/>
              </a:ext>
            </a:extLst>
          </p:cNvPr>
          <p:cNvCxnSpPr/>
          <p:nvPr/>
        </p:nvCxnSpPr>
        <p:spPr>
          <a:xfrm>
            <a:off x="5020274" y="2596306"/>
            <a:ext cx="0" cy="111439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94" name="Marcador de texto 7">
            <a:extLst>
              <a:ext uri="{FF2B5EF4-FFF2-40B4-BE49-F238E27FC236}">
                <a16:creationId xmlns:a16="http://schemas.microsoft.com/office/drawing/2014/main" xmlns="" id="{E88A7927-DC3B-3544-BD64-28D716E9EFF1}"/>
              </a:ext>
            </a:extLst>
          </p:cNvPr>
          <p:cNvSpPr>
            <a:spLocks noGrp="1"/>
          </p:cNvSpPr>
          <p:nvPr>
            <p:ph type="body" sz="quarter" idx="15" hasCustomPrompt="1"/>
          </p:nvPr>
        </p:nvSpPr>
        <p:spPr>
          <a:xfrm>
            <a:off x="5559225" y="4088305"/>
            <a:ext cx="9297281" cy="99589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95" name="Marcador de texto 7">
            <a:extLst>
              <a:ext uri="{FF2B5EF4-FFF2-40B4-BE49-F238E27FC236}">
                <a16:creationId xmlns:a16="http://schemas.microsoft.com/office/drawing/2014/main" xmlns="" id="{F1AE937D-E749-AB49-A58B-96D93517F82A}"/>
              </a:ext>
            </a:extLst>
          </p:cNvPr>
          <p:cNvSpPr>
            <a:spLocks noGrp="1"/>
          </p:cNvSpPr>
          <p:nvPr>
            <p:ph type="body" sz="quarter" idx="16" hasCustomPrompt="1"/>
          </p:nvPr>
        </p:nvSpPr>
        <p:spPr>
          <a:xfrm>
            <a:off x="2799923" y="4315277"/>
            <a:ext cx="1670834"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96" name="Conector recto 95">
            <a:extLst>
              <a:ext uri="{FF2B5EF4-FFF2-40B4-BE49-F238E27FC236}">
                <a16:creationId xmlns:a16="http://schemas.microsoft.com/office/drawing/2014/main" xmlns="" id="{82B8DDEA-E931-994F-86BA-42BAB21F35DB}"/>
              </a:ext>
            </a:extLst>
          </p:cNvPr>
          <p:cNvCxnSpPr/>
          <p:nvPr/>
        </p:nvCxnSpPr>
        <p:spPr>
          <a:xfrm>
            <a:off x="5020274" y="4029055"/>
            <a:ext cx="0" cy="111439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0" name="Marcador de texto 7">
            <a:extLst>
              <a:ext uri="{FF2B5EF4-FFF2-40B4-BE49-F238E27FC236}">
                <a16:creationId xmlns:a16="http://schemas.microsoft.com/office/drawing/2014/main" xmlns="" id="{32B82F2E-C60E-4F49-9E04-817DE4A46A4A}"/>
              </a:ext>
            </a:extLst>
          </p:cNvPr>
          <p:cNvSpPr>
            <a:spLocks noGrp="1"/>
          </p:cNvSpPr>
          <p:nvPr>
            <p:ph type="body" sz="quarter" idx="17" hasCustomPrompt="1"/>
          </p:nvPr>
        </p:nvSpPr>
        <p:spPr>
          <a:xfrm>
            <a:off x="5559225" y="5521052"/>
            <a:ext cx="9297281" cy="99589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101" name="Marcador de texto 7">
            <a:extLst>
              <a:ext uri="{FF2B5EF4-FFF2-40B4-BE49-F238E27FC236}">
                <a16:creationId xmlns:a16="http://schemas.microsoft.com/office/drawing/2014/main" xmlns="" id="{53ACC097-9A1C-3241-80E5-4FA2DBCD5E94}"/>
              </a:ext>
            </a:extLst>
          </p:cNvPr>
          <p:cNvSpPr>
            <a:spLocks noGrp="1"/>
          </p:cNvSpPr>
          <p:nvPr>
            <p:ph type="body" sz="quarter" idx="18" hasCustomPrompt="1"/>
          </p:nvPr>
        </p:nvSpPr>
        <p:spPr>
          <a:xfrm>
            <a:off x="2799923" y="5748024"/>
            <a:ext cx="1670834"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102" name="Conector recto 101">
            <a:extLst>
              <a:ext uri="{FF2B5EF4-FFF2-40B4-BE49-F238E27FC236}">
                <a16:creationId xmlns:a16="http://schemas.microsoft.com/office/drawing/2014/main" xmlns="" id="{25F53A69-89D3-734D-9B06-56318A2B5E6E}"/>
              </a:ext>
            </a:extLst>
          </p:cNvPr>
          <p:cNvCxnSpPr/>
          <p:nvPr/>
        </p:nvCxnSpPr>
        <p:spPr>
          <a:xfrm>
            <a:off x="5020274" y="5461802"/>
            <a:ext cx="0" cy="111439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6" name="Marcador de texto 7">
            <a:extLst>
              <a:ext uri="{FF2B5EF4-FFF2-40B4-BE49-F238E27FC236}">
                <a16:creationId xmlns:a16="http://schemas.microsoft.com/office/drawing/2014/main" xmlns="" id="{E5228B0D-DF98-794A-B213-566DD6D00056}"/>
              </a:ext>
            </a:extLst>
          </p:cNvPr>
          <p:cNvSpPr>
            <a:spLocks noGrp="1"/>
          </p:cNvSpPr>
          <p:nvPr>
            <p:ph type="body" sz="quarter" idx="19" hasCustomPrompt="1"/>
          </p:nvPr>
        </p:nvSpPr>
        <p:spPr>
          <a:xfrm>
            <a:off x="5559225" y="6953799"/>
            <a:ext cx="9297281" cy="99589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107" name="Marcador de texto 7">
            <a:extLst>
              <a:ext uri="{FF2B5EF4-FFF2-40B4-BE49-F238E27FC236}">
                <a16:creationId xmlns:a16="http://schemas.microsoft.com/office/drawing/2014/main" xmlns="" id="{12AA98F3-ECF0-0846-98CE-48B524FC174A}"/>
              </a:ext>
            </a:extLst>
          </p:cNvPr>
          <p:cNvSpPr>
            <a:spLocks noGrp="1"/>
          </p:cNvSpPr>
          <p:nvPr>
            <p:ph type="body" sz="quarter" idx="20" hasCustomPrompt="1"/>
          </p:nvPr>
        </p:nvSpPr>
        <p:spPr>
          <a:xfrm>
            <a:off x="2799923" y="7180771"/>
            <a:ext cx="1670834"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cxnSp>
        <p:nvCxnSpPr>
          <p:cNvPr id="108" name="Conector recto 107">
            <a:extLst>
              <a:ext uri="{FF2B5EF4-FFF2-40B4-BE49-F238E27FC236}">
                <a16:creationId xmlns:a16="http://schemas.microsoft.com/office/drawing/2014/main" xmlns="" id="{A420EF3B-A9EA-F74A-AFB4-B01AC7830323}"/>
              </a:ext>
            </a:extLst>
          </p:cNvPr>
          <p:cNvCxnSpPr/>
          <p:nvPr/>
        </p:nvCxnSpPr>
        <p:spPr>
          <a:xfrm>
            <a:off x="5020274" y="6894552"/>
            <a:ext cx="0" cy="111439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6" name="Marcador de texto 7">
            <a:extLst>
              <a:ext uri="{FF2B5EF4-FFF2-40B4-BE49-F238E27FC236}">
                <a16:creationId xmlns:a16="http://schemas.microsoft.com/office/drawing/2014/main" xmlns="" id="{DE4BACB2-63A7-8249-90DE-03392B63AF40}"/>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37" name="Marcador de texto 7">
            <a:extLst>
              <a:ext uri="{FF2B5EF4-FFF2-40B4-BE49-F238E27FC236}">
                <a16:creationId xmlns:a16="http://schemas.microsoft.com/office/drawing/2014/main" xmlns="" id="{44C08B65-9BE2-D54E-8B0D-81A855895413}"/>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39" name="Conector recto 38">
            <a:extLst>
              <a:ext uri="{FF2B5EF4-FFF2-40B4-BE49-F238E27FC236}">
                <a16:creationId xmlns:a16="http://schemas.microsoft.com/office/drawing/2014/main" xmlns="" id="{8BC3CA20-DA11-6C45-9824-1D2CE9018B05}"/>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46" name="Marcador de posición de imagen 3">
            <a:extLst>
              <a:ext uri="{FF2B5EF4-FFF2-40B4-BE49-F238E27FC236}">
                <a16:creationId xmlns:a16="http://schemas.microsoft.com/office/drawing/2014/main" xmlns="" id="{5383AF3D-2849-A44D-B460-812DA0F91F39}"/>
              </a:ext>
            </a:extLst>
          </p:cNvPr>
          <p:cNvSpPr>
            <a:spLocks noGrp="1"/>
          </p:cNvSpPr>
          <p:nvPr>
            <p:ph type="pic" sz="quarter" idx="49" hasCustomPrompt="1"/>
          </p:nvPr>
        </p:nvSpPr>
        <p:spPr>
          <a:xfrm>
            <a:off x="1305828" y="2729375"/>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7" name="Marcador de posición de imagen 3">
            <a:extLst>
              <a:ext uri="{FF2B5EF4-FFF2-40B4-BE49-F238E27FC236}">
                <a16:creationId xmlns:a16="http://schemas.microsoft.com/office/drawing/2014/main" xmlns="" id="{A3E9D49A-7FEB-CA48-A0DA-D7F0AD0B39D2}"/>
              </a:ext>
            </a:extLst>
          </p:cNvPr>
          <p:cNvSpPr>
            <a:spLocks noGrp="1"/>
          </p:cNvSpPr>
          <p:nvPr>
            <p:ph type="pic" sz="quarter" idx="50" hasCustomPrompt="1"/>
          </p:nvPr>
        </p:nvSpPr>
        <p:spPr>
          <a:xfrm>
            <a:off x="1305828" y="4145282"/>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8" name="Marcador de posición de imagen 3">
            <a:extLst>
              <a:ext uri="{FF2B5EF4-FFF2-40B4-BE49-F238E27FC236}">
                <a16:creationId xmlns:a16="http://schemas.microsoft.com/office/drawing/2014/main" xmlns="" id="{21F56DF0-CFA8-3E4A-A473-7B4F791BB3B2}"/>
              </a:ext>
            </a:extLst>
          </p:cNvPr>
          <p:cNvSpPr>
            <a:spLocks noGrp="1"/>
          </p:cNvSpPr>
          <p:nvPr>
            <p:ph type="pic" sz="quarter" idx="51" hasCustomPrompt="1"/>
          </p:nvPr>
        </p:nvSpPr>
        <p:spPr>
          <a:xfrm>
            <a:off x="1305828" y="5574674"/>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9" name="Marcador de posición de imagen 3">
            <a:extLst>
              <a:ext uri="{FF2B5EF4-FFF2-40B4-BE49-F238E27FC236}">
                <a16:creationId xmlns:a16="http://schemas.microsoft.com/office/drawing/2014/main" xmlns="" id="{967F9466-8202-8F4B-94E1-63B831183C4E}"/>
              </a:ext>
            </a:extLst>
          </p:cNvPr>
          <p:cNvSpPr>
            <a:spLocks noGrp="1"/>
          </p:cNvSpPr>
          <p:nvPr>
            <p:ph type="pic" sz="quarter" idx="52" hasCustomPrompt="1"/>
          </p:nvPr>
        </p:nvSpPr>
        <p:spPr>
          <a:xfrm>
            <a:off x="1288833" y="7004067"/>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3" name="Marcador de número de diapositiva 1">
            <a:extLst>
              <a:ext uri="{FF2B5EF4-FFF2-40B4-BE49-F238E27FC236}">
                <a16:creationId xmlns:a16="http://schemas.microsoft.com/office/drawing/2014/main" xmlns="" id="{733529AD-8F9F-704C-BA61-C0DBE0ABF1A3}"/>
              </a:ext>
            </a:extLst>
          </p:cNvPr>
          <p:cNvSpPr>
            <a:spLocks noGrp="1"/>
          </p:cNvSpPr>
          <p:nvPr>
            <p:ph type="sldNum" sz="quarter" idx="53"/>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1083880217"/>
      </p:ext>
    </p:extLst>
  </p:cSld>
  <p:clrMapOvr>
    <a:masterClrMapping/>
  </p:clrMapOvr>
  <p:extLst>
    <p:ext uri="{DCECCB84-F9BA-43D5-87BE-67443E8EF086}">
      <p15:sldGuideLst xmlns:p15="http://schemas.microsoft.com/office/powerpoint/2012/main">
        <p15:guide id="1" orient="horz" pos="2081">
          <p15:clr>
            <a:srgbClr val="FBAE40"/>
          </p15:clr>
        </p15:guide>
        <p15:guide id="2" pos="28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lámina enumeración 3 + fot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43" name="Marcador de texto 7">
            <a:extLst>
              <a:ext uri="{FF2B5EF4-FFF2-40B4-BE49-F238E27FC236}">
                <a16:creationId xmlns:a16="http://schemas.microsoft.com/office/drawing/2014/main" xmlns="" id="{CF985600-E7D8-9E44-82E9-F97AD68006A0}"/>
              </a:ext>
            </a:extLst>
          </p:cNvPr>
          <p:cNvSpPr>
            <a:spLocks noGrp="1"/>
          </p:cNvSpPr>
          <p:nvPr>
            <p:ph type="body" sz="quarter" idx="14" hasCustomPrompt="1"/>
          </p:nvPr>
        </p:nvSpPr>
        <p:spPr>
          <a:xfrm>
            <a:off x="5322516" y="2655556"/>
            <a:ext cx="4803750" cy="995899"/>
          </a:xfrm>
          <a:prstGeom prst="rect">
            <a:avLst/>
          </a:prstGeom>
        </p:spPr>
        <p:txBody>
          <a:bodyPr/>
          <a:lstStyle>
            <a:lvl1pPr marL="222251" indent="-222251">
              <a:spcBef>
                <a:spcPts val="778"/>
              </a:spcBef>
              <a:spcAft>
                <a:spcPts val="778"/>
              </a:spcAft>
              <a:buClr>
                <a:schemeClr val="bg2"/>
              </a:buClr>
              <a:buSzPct val="120000"/>
              <a:buFont typeface="Wingdings" pitchFamily="2" charset="2"/>
              <a:buChar char="§"/>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p>
          <a:p>
            <a:pPr lvl="0"/>
            <a:r>
              <a:rPr lang="es-ES" dirty="0"/>
              <a:t>Texto Arial 11</a:t>
            </a:r>
            <a:endParaRPr lang="es-CL" dirty="0"/>
          </a:p>
        </p:txBody>
      </p:sp>
      <p:sp>
        <p:nvSpPr>
          <p:cNvPr id="44" name="Marcador de texto 7">
            <a:extLst>
              <a:ext uri="{FF2B5EF4-FFF2-40B4-BE49-F238E27FC236}">
                <a16:creationId xmlns:a16="http://schemas.microsoft.com/office/drawing/2014/main" xmlns="" id="{06EBF3F5-82CF-3447-9CBB-BB0F933A6585}"/>
              </a:ext>
            </a:extLst>
          </p:cNvPr>
          <p:cNvSpPr>
            <a:spLocks noGrp="1"/>
          </p:cNvSpPr>
          <p:nvPr>
            <p:ph type="body" sz="quarter" idx="13" hasCustomPrompt="1"/>
          </p:nvPr>
        </p:nvSpPr>
        <p:spPr>
          <a:xfrm>
            <a:off x="2563212" y="2882528"/>
            <a:ext cx="1670834"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itulo Arial Bold 12</a:t>
            </a:r>
            <a:endParaRPr lang="es-CL" dirty="0"/>
          </a:p>
        </p:txBody>
      </p:sp>
      <p:cxnSp>
        <p:nvCxnSpPr>
          <p:cNvPr id="90" name="Conector recto 89">
            <a:extLst>
              <a:ext uri="{FF2B5EF4-FFF2-40B4-BE49-F238E27FC236}">
                <a16:creationId xmlns:a16="http://schemas.microsoft.com/office/drawing/2014/main" xmlns="" id="{918C4B25-4DE6-4C44-8031-9999A5B2D42B}"/>
              </a:ext>
            </a:extLst>
          </p:cNvPr>
          <p:cNvCxnSpPr/>
          <p:nvPr/>
        </p:nvCxnSpPr>
        <p:spPr>
          <a:xfrm>
            <a:off x="4783563" y="2596306"/>
            <a:ext cx="0" cy="111439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94" name="Marcador de texto 7">
            <a:extLst>
              <a:ext uri="{FF2B5EF4-FFF2-40B4-BE49-F238E27FC236}">
                <a16:creationId xmlns:a16="http://schemas.microsoft.com/office/drawing/2014/main" xmlns="" id="{E88A7927-DC3B-3544-BD64-28D716E9EFF1}"/>
              </a:ext>
            </a:extLst>
          </p:cNvPr>
          <p:cNvSpPr>
            <a:spLocks noGrp="1"/>
          </p:cNvSpPr>
          <p:nvPr>
            <p:ph type="body" sz="quarter" idx="15" hasCustomPrompt="1"/>
          </p:nvPr>
        </p:nvSpPr>
        <p:spPr>
          <a:xfrm>
            <a:off x="5322514" y="4088305"/>
            <a:ext cx="4798415" cy="995899"/>
          </a:xfrm>
          <a:prstGeom prst="rect">
            <a:avLst/>
          </a:prstGeom>
        </p:spPr>
        <p:txBody>
          <a:bodyPr/>
          <a:lstStyle>
            <a:lvl1pPr marL="222251" indent="-222251">
              <a:spcBef>
                <a:spcPts val="778"/>
              </a:spcBef>
              <a:spcAft>
                <a:spcPts val="778"/>
              </a:spcAft>
              <a:buClr>
                <a:schemeClr val="bg2"/>
              </a:buClr>
              <a:buSzPct val="120000"/>
              <a:buFont typeface="Wingdings" pitchFamily="2" charset="2"/>
              <a:buChar char="§"/>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p>
          <a:p>
            <a:pPr lvl="0"/>
            <a:r>
              <a:rPr lang="es-ES" dirty="0"/>
              <a:t>Texto Arial 11</a:t>
            </a:r>
            <a:endParaRPr lang="es-CL" dirty="0"/>
          </a:p>
        </p:txBody>
      </p:sp>
      <p:sp>
        <p:nvSpPr>
          <p:cNvPr id="95" name="Marcador de texto 7">
            <a:extLst>
              <a:ext uri="{FF2B5EF4-FFF2-40B4-BE49-F238E27FC236}">
                <a16:creationId xmlns:a16="http://schemas.microsoft.com/office/drawing/2014/main" xmlns="" id="{F1AE937D-E749-AB49-A58B-96D93517F82A}"/>
              </a:ext>
            </a:extLst>
          </p:cNvPr>
          <p:cNvSpPr>
            <a:spLocks noGrp="1"/>
          </p:cNvSpPr>
          <p:nvPr>
            <p:ph type="body" sz="quarter" idx="16" hasCustomPrompt="1"/>
          </p:nvPr>
        </p:nvSpPr>
        <p:spPr>
          <a:xfrm>
            <a:off x="2563212" y="4315277"/>
            <a:ext cx="1670834"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itulo Arial Bold 12</a:t>
            </a:r>
            <a:endParaRPr lang="es-CL" dirty="0"/>
          </a:p>
        </p:txBody>
      </p:sp>
      <p:cxnSp>
        <p:nvCxnSpPr>
          <p:cNvPr id="96" name="Conector recto 95">
            <a:extLst>
              <a:ext uri="{FF2B5EF4-FFF2-40B4-BE49-F238E27FC236}">
                <a16:creationId xmlns:a16="http://schemas.microsoft.com/office/drawing/2014/main" xmlns="" id="{82B8DDEA-E931-994F-86BA-42BAB21F35DB}"/>
              </a:ext>
            </a:extLst>
          </p:cNvPr>
          <p:cNvCxnSpPr/>
          <p:nvPr/>
        </p:nvCxnSpPr>
        <p:spPr>
          <a:xfrm>
            <a:off x="4783563" y="4044639"/>
            <a:ext cx="0" cy="111439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0" name="Marcador de texto 7">
            <a:extLst>
              <a:ext uri="{FF2B5EF4-FFF2-40B4-BE49-F238E27FC236}">
                <a16:creationId xmlns:a16="http://schemas.microsoft.com/office/drawing/2014/main" xmlns="" id="{32B82F2E-C60E-4F49-9E04-817DE4A46A4A}"/>
              </a:ext>
            </a:extLst>
          </p:cNvPr>
          <p:cNvSpPr>
            <a:spLocks noGrp="1"/>
          </p:cNvSpPr>
          <p:nvPr>
            <p:ph type="body" sz="quarter" idx="17" hasCustomPrompt="1"/>
          </p:nvPr>
        </p:nvSpPr>
        <p:spPr>
          <a:xfrm>
            <a:off x="5322514" y="5521052"/>
            <a:ext cx="4798415" cy="995899"/>
          </a:xfrm>
          <a:prstGeom prst="rect">
            <a:avLst/>
          </a:prstGeom>
        </p:spPr>
        <p:txBody>
          <a:bodyPr/>
          <a:lstStyle>
            <a:lvl1pPr marL="222251" indent="-222251">
              <a:spcBef>
                <a:spcPts val="778"/>
              </a:spcBef>
              <a:spcAft>
                <a:spcPts val="778"/>
              </a:spcAft>
              <a:buClr>
                <a:schemeClr val="bg2"/>
              </a:buClr>
              <a:buSzPct val="120000"/>
              <a:buFont typeface="Wingdings" pitchFamily="2" charset="2"/>
              <a:buChar char="§"/>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p>
          <a:p>
            <a:pPr lvl="0"/>
            <a:r>
              <a:rPr lang="es-ES" dirty="0"/>
              <a:t>Texto Arial 11</a:t>
            </a:r>
            <a:endParaRPr lang="es-CL" dirty="0"/>
          </a:p>
        </p:txBody>
      </p:sp>
      <p:sp>
        <p:nvSpPr>
          <p:cNvPr id="101" name="Marcador de texto 7">
            <a:extLst>
              <a:ext uri="{FF2B5EF4-FFF2-40B4-BE49-F238E27FC236}">
                <a16:creationId xmlns:a16="http://schemas.microsoft.com/office/drawing/2014/main" xmlns="" id="{53ACC097-9A1C-3241-80E5-4FA2DBCD5E94}"/>
              </a:ext>
            </a:extLst>
          </p:cNvPr>
          <p:cNvSpPr>
            <a:spLocks noGrp="1"/>
          </p:cNvSpPr>
          <p:nvPr>
            <p:ph type="body" sz="quarter" idx="18" hasCustomPrompt="1"/>
          </p:nvPr>
        </p:nvSpPr>
        <p:spPr>
          <a:xfrm>
            <a:off x="2563212" y="5748024"/>
            <a:ext cx="1670834"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itulo Arial Bold 12</a:t>
            </a:r>
            <a:endParaRPr lang="es-CL" dirty="0"/>
          </a:p>
        </p:txBody>
      </p:sp>
      <p:cxnSp>
        <p:nvCxnSpPr>
          <p:cNvPr id="102" name="Conector recto 101">
            <a:extLst>
              <a:ext uri="{FF2B5EF4-FFF2-40B4-BE49-F238E27FC236}">
                <a16:creationId xmlns:a16="http://schemas.microsoft.com/office/drawing/2014/main" xmlns="" id="{25F53A69-89D3-734D-9B06-56318A2B5E6E}"/>
              </a:ext>
            </a:extLst>
          </p:cNvPr>
          <p:cNvCxnSpPr/>
          <p:nvPr/>
        </p:nvCxnSpPr>
        <p:spPr>
          <a:xfrm>
            <a:off x="4783563" y="5477388"/>
            <a:ext cx="0" cy="111439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6" name="Marcador de texto 7">
            <a:extLst>
              <a:ext uri="{FF2B5EF4-FFF2-40B4-BE49-F238E27FC236}">
                <a16:creationId xmlns:a16="http://schemas.microsoft.com/office/drawing/2014/main" xmlns="" id="{E5228B0D-DF98-794A-B213-566DD6D00056}"/>
              </a:ext>
            </a:extLst>
          </p:cNvPr>
          <p:cNvSpPr>
            <a:spLocks noGrp="1"/>
          </p:cNvSpPr>
          <p:nvPr>
            <p:ph type="body" sz="quarter" idx="19" hasCustomPrompt="1"/>
          </p:nvPr>
        </p:nvSpPr>
        <p:spPr>
          <a:xfrm>
            <a:off x="5322516" y="6953799"/>
            <a:ext cx="4803745" cy="995899"/>
          </a:xfrm>
          <a:prstGeom prst="rect">
            <a:avLst/>
          </a:prstGeom>
        </p:spPr>
        <p:txBody>
          <a:bodyPr/>
          <a:lstStyle>
            <a:lvl1pPr marL="222251" indent="-222251">
              <a:spcBef>
                <a:spcPts val="778"/>
              </a:spcBef>
              <a:spcAft>
                <a:spcPts val="778"/>
              </a:spcAft>
              <a:buClr>
                <a:schemeClr val="bg2"/>
              </a:buClr>
              <a:buSzPct val="120000"/>
              <a:buFont typeface="Wingdings" pitchFamily="2" charset="2"/>
              <a:buChar char="§"/>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p>
          <a:p>
            <a:pPr lvl="0"/>
            <a:r>
              <a:rPr lang="es-ES" dirty="0"/>
              <a:t>Texto Arial 11</a:t>
            </a:r>
            <a:endParaRPr lang="es-CL" dirty="0"/>
          </a:p>
        </p:txBody>
      </p:sp>
      <p:sp>
        <p:nvSpPr>
          <p:cNvPr id="107" name="Marcador de texto 7">
            <a:extLst>
              <a:ext uri="{FF2B5EF4-FFF2-40B4-BE49-F238E27FC236}">
                <a16:creationId xmlns:a16="http://schemas.microsoft.com/office/drawing/2014/main" xmlns="" id="{12AA98F3-ECF0-0846-98CE-48B524FC174A}"/>
              </a:ext>
            </a:extLst>
          </p:cNvPr>
          <p:cNvSpPr>
            <a:spLocks noGrp="1"/>
          </p:cNvSpPr>
          <p:nvPr>
            <p:ph type="body" sz="quarter" idx="20" hasCustomPrompt="1"/>
          </p:nvPr>
        </p:nvSpPr>
        <p:spPr>
          <a:xfrm>
            <a:off x="2563212" y="7180771"/>
            <a:ext cx="1670834"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itulo Arial Bold 12</a:t>
            </a:r>
            <a:endParaRPr lang="es-CL" dirty="0"/>
          </a:p>
        </p:txBody>
      </p:sp>
      <p:cxnSp>
        <p:nvCxnSpPr>
          <p:cNvPr id="108" name="Conector recto 107">
            <a:extLst>
              <a:ext uri="{FF2B5EF4-FFF2-40B4-BE49-F238E27FC236}">
                <a16:creationId xmlns:a16="http://schemas.microsoft.com/office/drawing/2014/main" xmlns="" id="{A420EF3B-A9EA-F74A-AFB4-B01AC7830323}"/>
              </a:ext>
            </a:extLst>
          </p:cNvPr>
          <p:cNvCxnSpPr/>
          <p:nvPr/>
        </p:nvCxnSpPr>
        <p:spPr>
          <a:xfrm>
            <a:off x="4783563" y="6910138"/>
            <a:ext cx="0" cy="111439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6" name="Marcador de posición de imagen 2">
            <a:extLst>
              <a:ext uri="{FF2B5EF4-FFF2-40B4-BE49-F238E27FC236}">
                <a16:creationId xmlns:a16="http://schemas.microsoft.com/office/drawing/2014/main" xmlns="" id="{8FCD531C-778A-2E4A-9ABA-A34D4648680B}"/>
              </a:ext>
            </a:extLst>
          </p:cNvPr>
          <p:cNvSpPr>
            <a:spLocks noGrp="1"/>
          </p:cNvSpPr>
          <p:nvPr>
            <p:ph type="pic" sz="quarter" idx="22" hasCustomPrompt="1"/>
          </p:nvPr>
        </p:nvSpPr>
        <p:spPr>
          <a:xfrm>
            <a:off x="11168427" y="2655558"/>
            <a:ext cx="4416530" cy="2487898"/>
          </a:xfrm>
          <a:prstGeom prst="rect">
            <a:avLst/>
          </a:prstGeom>
        </p:spPr>
        <p:txBody>
          <a:bodyPr anchor="t"/>
          <a:lstStyle>
            <a:lvl1pPr marL="0" indent="0" algn="l">
              <a:buNone/>
              <a:defRPr sz="2074" b="0" i="0">
                <a:solidFill>
                  <a:schemeClr val="accent3"/>
                </a:solidFill>
                <a:latin typeface="Arial" panose="020B0604020202020204" pitchFamily="34" charset="0"/>
              </a:defRPr>
            </a:lvl1pPr>
          </a:lstStyle>
          <a:p>
            <a:r>
              <a:rPr lang="es-CL" dirty="0"/>
              <a:t>Doble click para incorporar una imagen</a:t>
            </a:r>
          </a:p>
        </p:txBody>
      </p:sp>
      <p:sp>
        <p:nvSpPr>
          <p:cNvPr id="39" name="Marcador de posición de imagen 2">
            <a:extLst>
              <a:ext uri="{FF2B5EF4-FFF2-40B4-BE49-F238E27FC236}">
                <a16:creationId xmlns:a16="http://schemas.microsoft.com/office/drawing/2014/main" xmlns="" id="{E1719074-B64D-B840-B12F-779CE3A91C3A}"/>
              </a:ext>
            </a:extLst>
          </p:cNvPr>
          <p:cNvSpPr>
            <a:spLocks noGrp="1"/>
          </p:cNvSpPr>
          <p:nvPr>
            <p:ph type="pic" sz="quarter" idx="23" hasCustomPrompt="1"/>
          </p:nvPr>
        </p:nvSpPr>
        <p:spPr>
          <a:xfrm>
            <a:off x="11168427" y="5463883"/>
            <a:ext cx="4416530" cy="2487898"/>
          </a:xfrm>
          <a:prstGeom prst="rect">
            <a:avLst/>
          </a:prstGeom>
        </p:spPr>
        <p:txBody>
          <a:bodyPr anchor="t"/>
          <a:lstStyle>
            <a:lvl1pPr marL="0" indent="0" algn="l">
              <a:buNone/>
              <a:defRPr sz="2074" b="0" i="0">
                <a:solidFill>
                  <a:schemeClr val="accent3"/>
                </a:solidFill>
                <a:latin typeface="Arial" panose="020B0604020202020204" pitchFamily="34" charset="0"/>
              </a:defRPr>
            </a:lvl1pPr>
          </a:lstStyle>
          <a:p>
            <a:r>
              <a:rPr lang="es-CL" dirty="0"/>
              <a:t>Doble click para incorporar una imagen</a:t>
            </a:r>
          </a:p>
        </p:txBody>
      </p:sp>
      <p:sp>
        <p:nvSpPr>
          <p:cNvPr id="34" name="Marcador de texto 7">
            <a:extLst>
              <a:ext uri="{FF2B5EF4-FFF2-40B4-BE49-F238E27FC236}">
                <a16:creationId xmlns:a16="http://schemas.microsoft.com/office/drawing/2014/main" xmlns="" id="{288C3D81-70E3-E640-A8F1-5F9BC776E743}"/>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41" name="Marcador de texto 7">
            <a:extLst>
              <a:ext uri="{FF2B5EF4-FFF2-40B4-BE49-F238E27FC236}">
                <a16:creationId xmlns:a16="http://schemas.microsoft.com/office/drawing/2014/main" xmlns="" id="{CA224D2A-463E-F44E-B957-558EF48EEF82}"/>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42" name="Conector recto 41">
            <a:extLst>
              <a:ext uri="{FF2B5EF4-FFF2-40B4-BE49-F238E27FC236}">
                <a16:creationId xmlns:a16="http://schemas.microsoft.com/office/drawing/2014/main" xmlns="" id="{BAF06C71-4A07-AD43-AFF0-5BD78A7A6B95}"/>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45" name="Marcador de posición de imagen 3">
            <a:extLst>
              <a:ext uri="{FF2B5EF4-FFF2-40B4-BE49-F238E27FC236}">
                <a16:creationId xmlns:a16="http://schemas.microsoft.com/office/drawing/2014/main" xmlns="" id="{BF352FCF-2840-F641-B261-0E6B39E92845}"/>
              </a:ext>
            </a:extLst>
          </p:cNvPr>
          <p:cNvSpPr>
            <a:spLocks noGrp="1"/>
          </p:cNvSpPr>
          <p:nvPr>
            <p:ph type="pic" sz="quarter" idx="49" hasCustomPrompt="1"/>
          </p:nvPr>
        </p:nvSpPr>
        <p:spPr>
          <a:xfrm>
            <a:off x="1069118" y="2729375"/>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9" name="Marcador de posición de imagen 3">
            <a:extLst>
              <a:ext uri="{FF2B5EF4-FFF2-40B4-BE49-F238E27FC236}">
                <a16:creationId xmlns:a16="http://schemas.microsoft.com/office/drawing/2014/main" xmlns="" id="{FC5D998E-8878-364C-B535-4672C2DA176D}"/>
              </a:ext>
            </a:extLst>
          </p:cNvPr>
          <p:cNvSpPr>
            <a:spLocks noGrp="1"/>
          </p:cNvSpPr>
          <p:nvPr>
            <p:ph type="pic" sz="quarter" idx="50" hasCustomPrompt="1"/>
          </p:nvPr>
        </p:nvSpPr>
        <p:spPr>
          <a:xfrm>
            <a:off x="1069118" y="4145283"/>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0" name="Marcador de posición de imagen 3">
            <a:extLst>
              <a:ext uri="{FF2B5EF4-FFF2-40B4-BE49-F238E27FC236}">
                <a16:creationId xmlns:a16="http://schemas.microsoft.com/office/drawing/2014/main" xmlns="" id="{7BE1B078-7F8B-5649-8CC2-046FD74D82BE}"/>
              </a:ext>
            </a:extLst>
          </p:cNvPr>
          <p:cNvSpPr>
            <a:spLocks noGrp="1"/>
          </p:cNvSpPr>
          <p:nvPr>
            <p:ph type="pic" sz="quarter" idx="51" hasCustomPrompt="1"/>
          </p:nvPr>
        </p:nvSpPr>
        <p:spPr>
          <a:xfrm>
            <a:off x="1069118" y="5574676"/>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1" name="Marcador de posición de imagen 3">
            <a:extLst>
              <a:ext uri="{FF2B5EF4-FFF2-40B4-BE49-F238E27FC236}">
                <a16:creationId xmlns:a16="http://schemas.microsoft.com/office/drawing/2014/main" xmlns="" id="{7C49BCC0-4D4D-EB4A-8268-F60F518F5523}"/>
              </a:ext>
            </a:extLst>
          </p:cNvPr>
          <p:cNvSpPr>
            <a:spLocks noGrp="1"/>
          </p:cNvSpPr>
          <p:nvPr>
            <p:ph type="pic" sz="quarter" idx="52" hasCustomPrompt="1"/>
          </p:nvPr>
        </p:nvSpPr>
        <p:spPr>
          <a:xfrm>
            <a:off x="1069118" y="7017553"/>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5" name="Marcador de número de diapositiva 1">
            <a:extLst>
              <a:ext uri="{FF2B5EF4-FFF2-40B4-BE49-F238E27FC236}">
                <a16:creationId xmlns:a16="http://schemas.microsoft.com/office/drawing/2014/main" xmlns="" id="{00EEDD02-633F-6842-BB13-982113D3993C}"/>
              </a:ext>
            </a:extLst>
          </p:cNvPr>
          <p:cNvSpPr>
            <a:spLocks noGrp="1"/>
          </p:cNvSpPr>
          <p:nvPr>
            <p:ph type="sldNum" sz="quarter" idx="53"/>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4168910769"/>
      </p:ext>
    </p:extLst>
  </p:cSld>
  <p:clrMapOvr>
    <a:masterClrMapping/>
  </p:clrMapOvr>
  <p:extLst>
    <p:ext uri="{DCECCB84-F9BA-43D5-87BE-67443E8EF086}">
      <p15:sldGuideLst xmlns:p15="http://schemas.microsoft.com/office/powerpoint/2012/main">
        <p15:guide id="1" orient="horz" pos="2081">
          <p15:clr>
            <a:srgbClr val="FBAE40"/>
          </p15:clr>
        </p15:guide>
        <p15:guide id="2" pos="280">
          <p15:clr>
            <a:srgbClr val="FBAE40"/>
          </p15:clr>
        </p15:guide>
        <p15:guide id="3" pos="120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lámina solo íconos">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44" name="Marcador de texto 7">
            <a:extLst>
              <a:ext uri="{FF2B5EF4-FFF2-40B4-BE49-F238E27FC236}">
                <a16:creationId xmlns:a16="http://schemas.microsoft.com/office/drawing/2014/main" xmlns="" id="{06EBF3F5-82CF-3447-9CBB-BB0F933A6585}"/>
              </a:ext>
            </a:extLst>
          </p:cNvPr>
          <p:cNvSpPr>
            <a:spLocks noGrp="1"/>
          </p:cNvSpPr>
          <p:nvPr>
            <p:ph type="body" sz="quarter" idx="13" hasCustomPrompt="1"/>
          </p:nvPr>
        </p:nvSpPr>
        <p:spPr>
          <a:xfrm>
            <a:off x="615714" y="3892086"/>
            <a:ext cx="1969775" cy="833438"/>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2</a:t>
            </a:r>
            <a:endParaRPr lang="es-CL" dirty="0"/>
          </a:p>
        </p:txBody>
      </p:sp>
      <p:sp>
        <p:nvSpPr>
          <p:cNvPr id="78" name="Marcador de texto 7">
            <a:extLst>
              <a:ext uri="{FF2B5EF4-FFF2-40B4-BE49-F238E27FC236}">
                <a16:creationId xmlns:a16="http://schemas.microsoft.com/office/drawing/2014/main" xmlns="" id="{5FD5CE98-A125-7D47-90B3-6D68BF0AD1F7}"/>
              </a:ext>
            </a:extLst>
          </p:cNvPr>
          <p:cNvSpPr>
            <a:spLocks noGrp="1"/>
          </p:cNvSpPr>
          <p:nvPr>
            <p:ph type="body" sz="quarter" idx="16" hasCustomPrompt="1"/>
          </p:nvPr>
        </p:nvSpPr>
        <p:spPr>
          <a:xfrm>
            <a:off x="11917796" y="3892086"/>
            <a:ext cx="1969775" cy="833438"/>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2</a:t>
            </a:r>
            <a:endParaRPr lang="es-CL" dirty="0"/>
          </a:p>
        </p:txBody>
      </p:sp>
      <p:sp>
        <p:nvSpPr>
          <p:cNvPr id="82" name="Marcador de texto 7">
            <a:extLst>
              <a:ext uri="{FF2B5EF4-FFF2-40B4-BE49-F238E27FC236}">
                <a16:creationId xmlns:a16="http://schemas.microsoft.com/office/drawing/2014/main" xmlns="" id="{BB03827E-9E73-F54D-91ED-F37E18DF6D6B}"/>
              </a:ext>
            </a:extLst>
          </p:cNvPr>
          <p:cNvSpPr>
            <a:spLocks noGrp="1"/>
          </p:cNvSpPr>
          <p:nvPr>
            <p:ph type="body" sz="quarter" idx="15" hasCustomPrompt="1"/>
          </p:nvPr>
        </p:nvSpPr>
        <p:spPr>
          <a:xfrm>
            <a:off x="8129396" y="3892086"/>
            <a:ext cx="1969775" cy="833438"/>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2</a:t>
            </a:r>
            <a:endParaRPr lang="es-CL" dirty="0"/>
          </a:p>
        </p:txBody>
      </p:sp>
      <p:sp>
        <p:nvSpPr>
          <p:cNvPr id="86" name="Marcador de texto 7">
            <a:extLst>
              <a:ext uri="{FF2B5EF4-FFF2-40B4-BE49-F238E27FC236}">
                <a16:creationId xmlns:a16="http://schemas.microsoft.com/office/drawing/2014/main" xmlns="" id="{D3E3EFE6-6F4B-B54D-AF2C-EAD0435E5DE1}"/>
              </a:ext>
            </a:extLst>
          </p:cNvPr>
          <p:cNvSpPr>
            <a:spLocks noGrp="1"/>
          </p:cNvSpPr>
          <p:nvPr>
            <p:ph type="body" sz="quarter" idx="14" hasCustomPrompt="1"/>
          </p:nvPr>
        </p:nvSpPr>
        <p:spPr>
          <a:xfrm>
            <a:off x="4356777" y="3892086"/>
            <a:ext cx="1969775" cy="833438"/>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2</a:t>
            </a:r>
            <a:endParaRPr lang="es-CL" dirty="0"/>
          </a:p>
        </p:txBody>
      </p:sp>
      <p:sp>
        <p:nvSpPr>
          <p:cNvPr id="109" name="Marcador de texto 7">
            <a:extLst>
              <a:ext uri="{FF2B5EF4-FFF2-40B4-BE49-F238E27FC236}">
                <a16:creationId xmlns:a16="http://schemas.microsoft.com/office/drawing/2014/main" xmlns="" id="{991112FC-F65D-FA43-B1F6-7F488AE7795F}"/>
              </a:ext>
            </a:extLst>
          </p:cNvPr>
          <p:cNvSpPr>
            <a:spLocks noGrp="1"/>
          </p:cNvSpPr>
          <p:nvPr>
            <p:ph type="body" sz="quarter" idx="17" hasCustomPrompt="1"/>
          </p:nvPr>
        </p:nvSpPr>
        <p:spPr>
          <a:xfrm>
            <a:off x="615714" y="6660614"/>
            <a:ext cx="1969775" cy="833438"/>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2</a:t>
            </a:r>
            <a:endParaRPr lang="es-CL" dirty="0"/>
          </a:p>
        </p:txBody>
      </p:sp>
      <p:sp>
        <p:nvSpPr>
          <p:cNvPr id="113" name="Marcador de texto 7">
            <a:extLst>
              <a:ext uri="{FF2B5EF4-FFF2-40B4-BE49-F238E27FC236}">
                <a16:creationId xmlns:a16="http://schemas.microsoft.com/office/drawing/2014/main" xmlns="" id="{2595DA74-33F5-8E48-A29B-0384767D5661}"/>
              </a:ext>
            </a:extLst>
          </p:cNvPr>
          <p:cNvSpPr>
            <a:spLocks noGrp="1"/>
          </p:cNvSpPr>
          <p:nvPr>
            <p:ph type="body" sz="quarter" idx="18" hasCustomPrompt="1"/>
          </p:nvPr>
        </p:nvSpPr>
        <p:spPr>
          <a:xfrm>
            <a:off x="11917796" y="6660614"/>
            <a:ext cx="1969775" cy="833438"/>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2</a:t>
            </a:r>
            <a:endParaRPr lang="es-CL" dirty="0"/>
          </a:p>
        </p:txBody>
      </p:sp>
      <p:sp>
        <p:nvSpPr>
          <p:cNvPr id="117" name="Marcador de texto 7">
            <a:extLst>
              <a:ext uri="{FF2B5EF4-FFF2-40B4-BE49-F238E27FC236}">
                <a16:creationId xmlns:a16="http://schemas.microsoft.com/office/drawing/2014/main" xmlns="" id="{B9DD7AC7-E6A2-1A49-8E09-B1BBD9718069}"/>
              </a:ext>
            </a:extLst>
          </p:cNvPr>
          <p:cNvSpPr>
            <a:spLocks noGrp="1"/>
          </p:cNvSpPr>
          <p:nvPr>
            <p:ph type="body" sz="quarter" idx="19" hasCustomPrompt="1"/>
          </p:nvPr>
        </p:nvSpPr>
        <p:spPr>
          <a:xfrm>
            <a:off x="8129396" y="6660614"/>
            <a:ext cx="1969775" cy="833438"/>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2</a:t>
            </a:r>
            <a:endParaRPr lang="es-CL" dirty="0"/>
          </a:p>
        </p:txBody>
      </p:sp>
      <p:sp>
        <p:nvSpPr>
          <p:cNvPr id="121" name="Marcador de texto 7">
            <a:extLst>
              <a:ext uri="{FF2B5EF4-FFF2-40B4-BE49-F238E27FC236}">
                <a16:creationId xmlns:a16="http://schemas.microsoft.com/office/drawing/2014/main" xmlns="" id="{57427875-4083-0746-9C0D-BFCA937A310D}"/>
              </a:ext>
            </a:extLst>
          </p:cNvPr>
          <p:cNvSpPr>
            <a:spLocks noGrp="1"/>
          </p:cNvSpPr>
          <p:nvPr>
            <p:ph type="body" sz="quarter" idx="20" hasCustomPrompt="1"/>
          </p:nvPr>
        </p:nvSpPr>
        <p:spPr>
          <a:xfrm>
            <a:off x="4356777" y="6660614"/>
            <a:ext cx="1969775" cy="833438"/>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2</a:t>
            </a:r>
            <a:endParaRPr lang="es-CL" dirty="0"/>
          </a:p>
        </p:txBody>
      </p:sp>
      <p:sp>
        <p:nvSpPr>
          <p:cNvPr id="39" name="Marcador de texto 7">
            <a:extLst>
              <a:ext uri="{FF2B5EF4-FFF2-40B4-BE49-F238E27FC236}">
                <a16:creationId xmlns:a16="http://schemas.microsoft.com/office/drawing/2014/main" xmlns="" id="{466CCF29-0BEC-CF49-8626-471840C7F7E9}"/>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43" name="Marcador de texto 7">
            <a:extLst>
              <a:ext uri="{FF2B5EF4-FFF2-40B4-BE49-F238E27FC236}">
                <a16:creationId xmlns:a16="http://schemas.microsoft.com/office/drawing/2014/main" xmlns="" id="{2CBCA150-8D1E-DE49-B336-3FC70D12EB3E}"/>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45" name="Conector recto 44">
            <a:extLst>
              <a:ext uri="{FF2B5EF4-FFF2-40B4-BE49-F238E27FC236}">
                <a16:creationId xmlns:a16="http://schemas.microsoft.com/office/drawing/2014/main" xmlns="" id="{B26C482D-061A-5044-85A5-5CD8A73A06F8}"/>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54" name="Marcador de posición de imagen 3">
            <a:extLst>
              <a:ext uri="{FF2B5EF4-FFF2-40B4-BE49-F238E27FC236}">
                <a16:creationId xmlns:a16="http://schemas.microsoft.com/office/drawing/2014/main" xmlns="" id="{EE3102D7-7297-9344-91F2-85FF3C368DD3}"/>
              </a:ext>
            </a:extLst>
          </p:cNvPr>
          <p:cNvSpPr>
            <a:spLocks noGrp="1"/>
          </p:cNvSpPr>
          <p:nvPr>
            <p:ph type="pic" sz="quarter" idx="53" hasCustomPrompt="1"/>
          </p:nvPr>
        </p:nvSpPr>
        <p:spPr>
          <a:xfrm>
            <a:off x="615711" y="5524688"/>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5" name="Marcador de posición de imagen 3">
            <a:extLst>
              <a:ext uri="{FF2B5EF4-FFF2-40B4-BE49-F238E27FC236}">
                <a16:creationId xmlns:a16="http://schemas.microsoft.com/office/drawing/2014/main" xmlns="" id="{9FBDFC9B-7C8B-DC45-B9F9-55498656D1B0}"/>
              </a:ext>
            </a:extLst>
          </p:cNvPr>
          <p:cNvSpPr>
            <a:spLocks noGrp="1"/>
          </p:cNvSpPr>
          <p:nvPr>
            <p:ph type="pic" sz="quarter" idx="54" hasCustomPrompt="1"/>
          </p:nvPr>
        </p:nvSpPr>
        <p:spPr>
          <a:xfrm>
            <a:off x="4356775" y="5524688"/>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6" name="Marcador de posición de imagen 3">
            <a:extLst>
              <a:ext uri="{FF2B5EF4-FFF2-40B4-BE49-F238E27FC236}">
                <a16:creationId xmlns:a16="http://schemas.microsoft.com/office/drawing/2014/main" xmlns="" id="{559CBD6C-2DC7-224F-B729-9E291911C669}"/>
              </a:ext>
            </a:extLst>
          </p:cNvPr>
          <p:cNvSpPr>
            <a:spLocks noGrp="1"/>
          </p:cNvSpPr>
          <p:nvPr>
            <p:ph type="pic" sz="quarter" idx="55" hasCustomPrompt="1"/>
          </p:nvPr>
        </p:nvSpPr>
        <p:spPr>
          <a:xfrm>
            <a:off x="8129395" y="5524688"/>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7" name="Marcador de posición de imagen 3">
            <a:extLst>
              <a:ext uri="{FF2B5EF4-FFF2-40B4-BE49-F238E27FC236}">
                <a16:creationId xmlns:a16="http://schemas.microsoft.com/office/drawing/2014/main" xmlns="" id="{073AEE27-09DF-6543-BB4D-7D5DFB1B4B3D}"/>
              </a:ext>
            </a:extLst>
          </p:cNvPr>
          <p:cNvSpPr>
            <a:spLocks noGrp="1"/>
          </p:cNvSpPr>
          <p:nvPr>
            <p:ph type="pic" sz="quarter" idx="56" hasCustomPrompt="1"/>
          </p:nvPr>
        </p:nvSpPr>
        <p:spPr>
          <a:xfrm>
            <a:off x="11917793" y="5524688"/>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8" name="Marcador de posición de imagen 3">
            <a:extLst>
              <a:ext uri="{FF2B5EF4-FFF2-40B4-BE49-F238E27FC236}">
                <a16:creationId xmlns:a16="http://schemas.microsoft.com/office/drawing/2014/main" xmlns="" id="{70515F09-3022-7248-97FD-AF60E7A637A3}"/>
              </a:ext>
            </a:extLst>
          </p:cNvPr>
          <p:cNvSpPr>
            <a:spLocks noGrp="1"/>
          </p:cNvSpPr>
          <p:nvPr>
            <p:ph type="pic" sz="quarter" idx="50" hasCustomPrompt="1"/>
          </p:nvPr>
        </p:nvSpPr>
        <p:spPr>
          <a:xfrm>
            <a:off x="4356775" y="2760298"/>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9" name="Marcador de posición de imagen 3">
            <a:extLst>
              <a:ext uri="{FF2B5EF4-FFF2-40B4-BE49-F238E27FC236}">
                <a16:creationId xmlns:a16="http://schemas.microsoft.com/office/drawing/2014/main" xmlns="" id="{E7CAD503-A102-B44B-9C6B-B30F3C55AFE9}"/>
              </a:ext>
            </a:extLst>
          </p:cNvPr>
          <p:cNvSpPr>
            <a:spLocks noGrp="1"/>
          </p:cNvSpPr>
          <p:nvPr>
            <p:ph type="pic" sz="quarter" idx="51" hasCustomPrompt="1"/>
          </p:nvPr>
        </p:nvSpPr>
        <p:spPr>
          <a:xfrm>
            <a:off x="8129395" y="2760298"/>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60" name="Marcador de posición de imagen 3">
            <a:extLst>
              <a:ext uri="{FF2B5EF4-FFF2-40B4-BE49-F238E27FC236}">
                <a16:creationId xmlns:a16="http://schemas.microsoft.com/office/drawing/2014/main" xmlns="" id="{B55D27B1-5A3C-974C-BE65-F74B63816EF2}"/>
              </a:ext>
            </a:extLst>
          </p:cNvPr>
          <p:cNvSpPr>
            <a:spLocks noGrp="1"/>
          </p:cNvSpPr>
          <p:nvPr>
            <p:ph type="pic" sz="quarter" idx="52" hasCustomPrompt="1"/>
          </p:nvPr>
        </p:nvSpPr>
        <p:spPr>
          <a:xfrm>
            <a:off x="11917793" y="2760298"/>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61" name="Marcador de posición de imagen 3">
            <a:extLst>
              <a:ext uri="{FF2B5EF4-FFF2-40B4-BE49-F238E27FC236}">
                <a16:creationId xmlns:a16="http://schemas.microsoft.com/office/drawing/2014/main" xmlns="" id="{537522F4-CAC5-624A-9444-E535A83A84B1}"/>
              </a:ext>
            </a:extLst>
          </p:cNvPr>
          <p:cNvSpPr>
            <a:spLocks noGrp="1"/>
          </p:cNvSpPr>
          <p:nvPr>
            <p:ph type="pic" sz="quarter" idx="49" hasCustomPrompt="1"/>
          </p:nvPr>
        </p:nvSpPr>
        <p:spPr>
          <a:xfrm>
            <a:off x="615711" y="2760298"/>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3" name="Marcador de número de diapositiva 1">
            <a:extLst>
              <a:ext uri="{FF2B5EF4-FFF2-40B4-BE49-F238E27FC236}">
                <a16:creationId xmlns:a16="http://schemas.microsoft.com/office/drawing/2014/main" xmlns="" id="{A751B183-78E8-E248-BA93-655B946AA986}"/>
              </a:ext>
            </a:extLst>
          </p:cNvPr>
          <p:cNvSpPr>
            <a:spLocks noGrp="1"/>
          </p:cNvSpPr>
          <p:nvPr>
            <p:ph type="sldNum" sz="quarter" idx="57"/>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821636919"/>
      </p:ext>
    </p:extLst>
  </p:cSld>
  <p:clrMapOvr>
    <a:masterClrMapping/>
  </p:clrMapOvr>
  <p:extLst>
    <p:ext uri="{DCECCB84-F9BA-43D5-87BE-67443E8EF086}">
      <p15:sldGuideLst xmlns:p15="http://schemas.microsoft.com/office/powerpoint/2012/main">
        <p15:guide id="1" orient="horz" pos="2081">
          <p15:clr>
            <a:srgbClr val="FBAE40"/>
          </p15:clr>
        </p15:guide>
        <p15:guide id="2" pos="5632">
          <p15:clr>
            <a:srgbClr val="FBAE40"/>
          </p15:clr>
        </p15:guide>
        <p15:guide id="3" pos="3840">
          <p15:clr>
            <a:srgbClr val="FBAE40"/>
          </p15:clr>
        </p15:guide>
        <p15:guide id="4" pos="20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0815102" y="472977"/>
            <a:ext cx="6458307" cy="10080427"/>
          </a:xfrm>
        </p:spPr>
        <p:txBody>
          <a:bodyPr vert="eaVert"/>
          <a:lstStyle/>
          <a:p>
            <a:r>
              <a:rPr lang="en-US"/>
              <a:t>Click to edit Master title style</a:t>
            </a:r>
            <a:endParaRPr lang="es-CL"/>
          </a:p>
        </p:txBody>
      </p:sp>
      <p:sp>
        <p:nvSpPr>
          <p:cNvPr id="3" name="Vertical Text Placeholder 2"/>
          <p:cNvSpPr>
            <a:spLocks noGrp="1"/>
          </p:cNvSpPr>
          <p:nvPr>
            <p:ph type="body" orient="vert" idx="1"/>
          </p:nvPr>
        </p:nvSpPr>
        <p:spPr>
          <a:xfrm>
            <a:off x="1434555" y="472977"/>
            <a:ext cx="19110514" cy="100804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p:txBody>
          <a:bodyPr/>
          <a:lstStyle/>
          <a:p>
            <a:fld id="{BF1F7606-8703-4774-82E4-4A2AAF776758}" type="datetimeFigureOut">
              <a:rPr lang="es-CL" smtClean="0"/>
              <a:t>23-01-2025</a:t>
            </a:fld>
            <a:endParaRPr lang="es-CL"/>
          </a:p>
        </p:txBody>
      </p:sp>
      <p:sp>
        <p:nvSpPr>
          <p:cNvPr id="5" name="Footer Placeholder 4"/>
          <p:cNvSpPr>
            <a:spLocks noGrp="1"/>
          </p:cNvSpPr>
          <p:nvPr>
            <p:ph type="ftr" sz="quarter" idx="11"/>
          </p:nvPr>
        </p:nvSpPr>
        <p:spPr/>
        <p:txBody>
          <a:bodyPr/>
          <a:lstStyle/>
          <a:p>
            <a:endParaRPr lang="es-CL"/>
          </a:p>
        </p:txBody>
      </p:sp>
      <p:sp>
        <p:nvSpPr>
          <p:cNvPr id="6" name="Slide Number Placeholder 5"/>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369134115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lámina diagrama">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39" name="Conector recto 74">
            <a:extLst>
              <a:ext uri="{FF2B5EF4-FFF2-40B4-BE49-F238E27FC236}">
                <a16:creationId xmlns:a16="http://schemas.microsoft.com/office/drawing/2014/main" xmlns="" id="{2E83A0D3-D9D1-6D40-A776-3D97DAAA669E}"/>
              </a:ext>
            </a:extLst>
          </p:cNvPr>
          <p:cNvSpPr/>
          <p:nvPr/>
        </p:nvSpPr>
        <p:spPr>
          <a:xfrm flipH="1">
            <a:off x="3309079" y="6249278"/>
            <a:ext cx="2790981" cy="1"/>
          </a:xfrm>
          <a:prstGeom prst="line">
            <a:avLst/>
          </a:prstGeom>
          <a:solidFill>
            <a:srgbClr val="FFFFFF"/>
          </a:solidFill>
          <a:ln w="15875">
            <a:solidFill>
              <a:srgbClr val="34783B"/>
            </a:solidFill>
            <a:miter lim="400000"/>
          </a:ln>
        </p:spPr>
        <p:txBody>
          <a:bodyPr lIns="32927" tIns="32927" rIns="32927" bIns="32927" anchor="ctr"/>
          <a:lstStyle/>
          <a:p>
            <a:pPr algn="ctr" defTabSz="535047">
              <a:defRPr sz="3200">
                <a:solidFill>
                  <a:srgbClr val="FFFFFF"/>
                </a:solidFill>
                <a:latin typeface="Helvetica Neue Medium"/>
                <a:ea typeface="Helvetica Neue Medium"/>
                <a:cs typeface="Helvetica Neue Medium"/>
                <a:sym typeface="Helvetica Neue Medium"/>
              </a:defRPr>
            </a:pPr>
            <a:endParaRPr sz="2074" dirty="0">
              <a:solidFill>
                <a:srgbClr val="FFFFFF"/>
              </a:solidFill>
              <a:latin typeface="Helvetica Neue Medium"/>
              <a:ea typeface="Helvetica Neue Medium"/>
              <a:cs typeface="Arial" panose="020B0604020202020204" pitchFamily="34" charset="0"/>
              <a:sym typeface="Helvetica Neue Medium"/>
            </a:endParaRPr>
          </a:p>
        </p:txBody>
      </p:sp>
      <p:pic>
        <p:nvPicPr>
          <p:cNvPr id="40" name="Imagen" descr="Imagen">
            <a:extLst>
              <a:ext uri="{FF2B5EF4-FFF2-40B4-BE49-F238E27FC236}">
                <a16:creationId xmlns:a16="http://schemas.microsoft.com/office/drawing/2014/main" xmlns="" id="{9779F4AF-5D4E-794B-A466-FB22A903A06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05277" y="2248306"/>
            <a:ext cx="10278408" cy="3388347"/>
          </a:xfrm>
          <a:prstGeom prst="rect">
            <a:avLst/>
          </a:prstGeom>
          <a:ln w="12700" cap="flat">
            <a:noFill/>
            <a:miter lim="400000"/>
          </a:ln>
          <a:effectLst/>
        </p:spPr>
      </p:pic>
      <p:sp>
        <p:nvSpPr>
          <p:cNvPr id="41" name="Administración">
            <a:extLst>
              <a:ext uri="{FF2B5EF4-FFF2-40B4-BE49-F238E27FC236}">
                <a16:creationId xmlns:a16="http://schemas.microsoft.com/office/drawing/2014/main" xmlns="" id="{DFFF51D0-454E-A645-B8F5-D3110BFEC988}"/>
              </a:ext>
            </a:extLst>
          </p:cNvPr>
          <p:cNvSpPr txBox="1"/>
          <p:nvPr/>
        </p:nvSpPr>
        <p:spPr>
          <a:xfrm>
            <a:off x="3328512" y="3768949"/>
            <a:ext cx="2802723" cy="3737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2927" tIns="32927" rIns="32927" bIns="32927" numCol="1" anchor="ctr">
            <a:spAutoFit/>
          </a:bodyPr>
          <a:lstStyle>
            <a:lvl1pPr algn="ctr" defTabSz="1828800">
              <a:lnSpc>
                <a:spcPct val="110000"/>
              </a:lnSpc>
              <a:spcBef>
                <a:spcPts val="0"/>
              </a:spcBef>
              <a:defRPr sz="4000">
                <a:solidFill>
                  <a:srgbClr val="34773C"/>
                </a:solidFill>
                <a:latin typeface="Arial"/>
                <a:ea typeface="Arial"/>
                <a:cs typeface="Arial"/>
                <a:sym typeface="Arial"/>
              </a:defRPr>
            </a:lvl1pPr>
          </a:lstStyle>
          <a:p>
            <a:r>
              <a:rPr sz="1815" dirty="0" err="1">
                <a:solidFill>
                  <a:srgbClr val="0C662F"/>
                </a:solidFill>
              </a:rPr>
              <a:t>Administración</a:t>
            </a:r>
            <a:endParaRPr sz="1815" dirty="0">
              <a:solidFill>
                <a:srgbClr val="0C662F"/>
              </a:solidFill>
            </a:endParaRPr>
          </a:p>
        </p:txBody>
      </p:sp>
      <p:sp>
        <p:nvSpPr>
          <p:cNvPr id="42" name="Círculo">
            <a:extLst>
              <a:ext uri="{FF2B5EF4-FFF2-40B4-BE49-F238E27FC236}">
                <a16:creationId xmlns:a16="http://schemas.microsoft.com/office/drawing/2014/main" xmlns="" id="{47C42AAE-D2EA-A84A-871A-0C47609DE7C1}"/>
              </a:ext>
            </a:extLst>
          </p:cNvPr>
          <p:cNvSpPr/>
          <p:nvPr/>
        </p:nvSpPr>
        <p:spPr>
          <a:xfrm>
            <a:off x="2760231" y="3671443"/>
            <a:ext cx="548846" cy="542070"/>
          </a:xfrm>
          <a:prstGeom prst="ellipse">
            <a:avLst/>
          </a:prstGeom>
          <a:solidFill>
            <a:srgbClr val="FFFFFF"/>
          </a:solidFill>
          <a:ln w="31750" cap="flat">
            <a:solidFill>
              <a:schemeClr val="tx1"/>
            </a:solidFill>
            <a:prstDash val="solid"/>
            <a:miter lim="400000"/>
          </a:ln>
          <a:effectLst/>
        </p:spPr>
        <p:txBody>
          <a:bodyPr wrap="square" lIns="32927" tIns="32927" rIns="32927" bIns="32927" numCol="1" anchor="ctr">
            <a:noAutofit/>
          </a:bodyPr>
          <a:lstStyle/>
          <a:p>
            <a:pPr algn="ctr" defTabSz="535047">
              <a:defRPr sz="3200">
                <a:solidFill>
                  <a:srgbClr val="FFFFFF"/>
                </a:solidFill>
                <a:latin typeface="Helvetica Neue Medium"/>
                <a:ea typeface="Helvetica Neue Medium"/>
                <a:cs typeface="Helvetica Neue Medium"/>
                <a:sym typeface="Helvetica Neue Medium"/>
              </a:defRPr>
            </a:pPr>
            <a:endParaRPr sz="2074" dirty="0">
              <a:solidFill>
                <a:srgbClr val="FFFFFF"/>
              </a:solidFill>
              <a:latin typeface="Helvetica Neue Medium"/>
              <a:ea typeface="Helvetica Neue Medium"/>
              <a:cs typeface="Arial" panose="020B0604020202020204" pitchFamily="34" charset="0"/>
              <a:sym typeface="Helvetica Neue Medium"/>
            </a:endParaRPr>
          </a:p>
        </p:txBody>
      </p:sp>
      <p:sp>
        <p:nvSpPr>
          <p:cNvPr id="43" name="TextBox 3">
            <a:extLst>
              <a:ext uri="{FF2B5EF4-FFF2-40B4-BE49-F238E27FC236}">
                <a16:creationId xmlns:a16="http://schemas.microsoft.com/office/drawing/2014/main" xmlns="" id="{0FCA73FE-D49A-7545-825C-40B69769AC2B}"/>
              </a:ext>
            </a:extLst>
          </p:cNvPr>
          <p:cNvSpPr txBox="1"/>
          <p:nvPr/>
        </p:nvSpPr>
        <p:spPr>
          <a:xfrm>
            <a:off x="2905840" y="3749326"/>
            <a:ext cx="272929" cy="43877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lgn="ctr" defTabSz="1828800">
              <a:lnSpc>
                <a:spcPct val="110000"/>
              </a:lnSpc>
              <a:spcBef>
                <a:spcPts val="0"/>
              </a:spcBef>
              <a:defRPr sz="4000">
                <a:solidFill>
                  <a:srgbClr val="34783B"/>
                </a:solidFill>
                <a:latin typeface="Arial"/>
                <a:ea typeface="Arial"/>
                <a:cs typeface="Arial"/>
                <a:sym typeface="Arial"/>
              </a:defRPr>
            </a:lvl1pPr>
          </a:lstStyle>
          <a:p>
            <a:r>
              <a:rPr sz="2592" dirty="0"/>
              <a:t>1</a:t>
            </a:r>
          </a:p>
        </p:txBody>
      </p:sp>
      <p:sp>
        <p:nvSpPr>
          <p:cNvPr id="45" name="Directorio">
            <a:extLst>
              <a:ext uri="{FF2B5EF4-FFF2-40B4-BE49-F238E27FC236}">
                <a16:creationId xmlns:a16="http://schemas.microsoft.com/office/drawing/2014/main" xmlns="" id="{C65E3301-BF94-954C-9554-3D86E498559B}"/>
              </a:ext>
            </a:extLst>
          </p:cNvPr>
          <p:cNvSpPr txBox="1"/>
          <p:nvPr/>
        </p:nvSpPr>
        <p:spPr>
          <a:xfrm>
            <a:off x="6748991" y="3820649"/>
            <a:ext cx="2790981" cy="3737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2927" tIns="32927" rIns="32927" bIns="32927" numCol="1" anchor="ctr">
            <a:spAutoFit/>
          </a:bodyPr>
          <a:lstStyle>
            <a:lvl1pPr algn="ctr" defTabSz="1828800">
              <a:lnSpc>
                <a:spcPct val="110000"/>
              </a:lnSpc>
              <a:spcBef>
                <a:spcPts val="0"/>
              </a:spcBef>
              <a:defRPr sz="4000">
                <a:solidFill>
                  <a:srgbClr val="5E5E5E"/>
                </a:solidFill>
                <a:latin typeface="Arial"/>
                <a:ea typeface="Arial"/>
                <a:cs typeface="Arial"/>
                <a:sym typeface="Arial"/>
              </a:defRPr>
            </a:lvl1pPr>
          </a:lstStyle>
          <a:p>
            <a:r>
              <a:rPr sz="1815" dirty="0">
                <a:solidFill>
                  <a:srgbClr val="616161"/>
                </a:solidFill>
              </a:rPr>
              <a:t>Directorio</a:t>
            </a:r>
          </a:p>
        </p:txBody>
      </p:sp>
      <p:sp>
        <p:nvSpPr>
          <p:cNvPr id="46" name="Entorno">
            <a:extLst>
              <a:ext uri="{FF2B5EF4-FFF2-40B4-BE49-F238E27FC236}">
                <a16:creationId xmlns:a16="http://schemas.microsoft.com/office/drawing/2014/main" xmlns="" id="{6F22C8AB-A0DE-6142-8ACF-8BC05C3A6EE7}"/>
              </a:ext>
            </a:extLst>
          </p:cNvPr>
          <p:cNvSpPr txBox="1"/>
          <p:nvPr/>
        </p:nvSpPr>
        <p:spPr>
          <a:xfrm>
            <a:off x="10126268" y="3819830"/>
            <a:ext cx="2790981" cy="3737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2927" tIns="32927" rIns="32927" bIns="32927" numCol="1" anchor="ctr">
            <a:spAutoFit/>
          </a:bodyPr>
          <a:lstStyle>
            <a:lvl1pPr algn="ctr" defTabSz="1828800">
              <a:lnSpc>
                <a:spcPct val="110000"/>
              </a:lnSpc>
              <a:spcBef>
                <a:spcPts val="0"/>
              </a:spcBef>
              <a:defRPr sz="4000">
                <a:solidFill>
                  <a:srgbClr val="90BB3A"/>
                </a:solidFill>
                <a:latin typeface="Arial"/>
                <a:ea typeface="Arial"/>
                <a:cs typeface="Arial"/>
                <a:sym typeface="Arial"/>
              </a:defRPr>
            </a:lvl1pPr>
          </a:lstStyle>
          <a:p>
            <a:r>
              <a:rPr sz="1815" dirty="0" err="1">
                <a:solidFill>
                  <a:srgbClr val="83B727"/>
                </a:solidFill>
              </a:rPr>
              <a:t>Entorno</a:t>
            </a:r>
            <a:r>
              <a:rPr sz="1815" dirty="0">
                <a:solidFill>
                  <a:srgbClr val="83B727"/>
                </a:solidFill>
              </a:rPr>
              <a:t> </a:t>
            </a:r>
          </a:p>
        </p:txBody>
      </p:sp>
      <p:sp>
        <p:nvSpPr>
          <p:cNvPr id="47" name="Círculo">
            <a:extLst>
              <a:ext uri="{FF2B5EF4-FFF2-40B4-BE49-F238E27FC236}">
                <a16:creationId xmlns:a16="http://schemas.microsoft.com/office/drawing/2014/main" xmlns="" id="{45ECB7D4-EDAE-FE48-9F43-04C457C03100}"/>
              </a:ext>
            </a:extLst>
          </p:cNvPr>
          <p:cNvSpPr/>
          <p:nvPr/>
        </p:nvSpPr>
        <p:spPr>
          <a:xfrm>
            <a:off x="10291786" y="4981702"/>
            <a:ext cx="548846" cy="542070"/>
          </a:xfrm>
          <a:prstGeom prst="ellipse">
            <a:avLst/>
          </a:prstGeom>
          <a:solidFill>
            <a:srgbClr val="FFFFFF"/>
          </a:solidFill>
          <a:ln w="31750" cap="flat">
            <a:solidFill>
              <a:srgbClr val="90BB3A"/>
            </a:solidFill>
            <a:prstDash val="solid"/>
            <a:miter lim="400000"/>
          </a:ln>
          <a:effectLst/>
        </p:spPr>
        <p:txBody>
          <a:bodyPr wrap="square" lIns="32927" tIns="32927" rIns="32927" bIns="32927" numCol="1" anchor="ctr">
            <a:noAutofit/>
          </a:bodyPr>
          <a:lstStyle/>
          <a:p>
            <a:pPr algn="ctr" defTabSz="535047">
              <a:defRPr sz="3200">
                <a:solidFill>
                  <a:srgbClr val="FFFFFF"/>
                </a:solidFill>
                <a:latin typeface="Helvetica Neue Medium"/>
                <a:ea typeface="Helvetica Neue Medium"/>
                <a:cs typeface="Helvetica Neue Medium"/>
                <a:sym typeface="Helvetica Neue Medium"/>
              </a:defRPr>
            </a:pPr>
            <a:endParaRPr sz="2074" dirty="0">
              <a:solidFill>
                <a:srgbClr val="FFFFFF"/>
              </a:solidFill>
              <a:latin typeface="Helvetica Neue Medium"/>
              <a:ea typeface="Helvetica Neue Medium"/>
              <a:cs typeface="Arial" panose="020B0604020202020204" pitchFamily="34" charset="0"/>
              <a:sym typeface="Helvetica Neue Medium"/>
            </a:endParaRPr>
          </a:p>
        </p:txBody>
      </p:sp>
      <p:sp>
        <p:nvSpPr>
          <p:cNvPr id="48" name="TextBox 3">
            <a:extLst>
              <a:ext uri="{FF2B5EF4-FFF2-40B4-BE49-F238E27FC236}">
                <a16:creationId xmlns:a16="http://schemas.microsoft.com/office/drawing/2014/main" xmlns="" id="{ECA73037-CC25-994E-B9C4-3D9D5FEDFBCF}"/>
              </a:ext>
            </a:extLst>
          </p:cNvPr>
          <p:cNvSpPr txBox="1"/>
          <p:nvPr/>
        </p:nvSpPr>
        <p:spPr>
          <a:xfrm>
            <a:off x="10445527" y="5052331"/>
            <a:ext cx="272929" cy="438774"/>
          </a:xfrm>
          <a:prstGeom prst="rect">
            <a:avLst/>
          </a:prstGeom>
          <a:noFill/>
          <a:ln w="12700" cap="flat">
            <a:solidFill>
              <a:schemeClr val="bg1"/>
            </a:solid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lgn="ctr" defTabSz="1828800">
              <a:lnSpc>
                <a:spcPct val="110000"/>
              </a:lnSpc>
              <a:spcBef>
                <a:spcPts val="0"/>
              </a:spcBef>
              <a:defRPr sz="4000">
                <a:solidFill>
                  <a:srgbClr val="90BB3A"/>
                </a:solidFill>
                <a:latin typeface="Arial"/>
                <a:ea typeface="Arial"/>
                <a:cs typeface="Arial"/>
                <a:sym typeface="Arial"/>
              </a:defRPr>
            </a:lvl1pPr>
          </a:lstStyle>
          <a:p>
            <a:r>
              <a:rPr sz="2592" dirty="0"/>
              <a:t>3</a:t>
            </a:r>
          </a:p>
        </p:txBody>
      </p:sp>
      <p:sp>
        <p:nvSpPr>
          <p:cNvPr id="49" name="Círculo">
            <a:extLst>
              <a:ext uri="{FF2B5EF4-FFF2-40B4-BE49-F238E27FC236}">
                <a16:creationId xmlns:a16="http://schemas.microsoft.com/office/drawing/2014/main" xmlns="" id="{B91AEEFA-2801-0E4A-A557-935B69C160C0}"/>
              </a:ext>
            </a:extLst>
          </p:cNvPr>
          <p:cNvSpPr/>
          <p:nvPr/>
        </p:nvSpPr>
        <p:spPr>
          <a:xfrm>
            <a:off x="6846055" y="2327379"/>
            <a:ext cx="548846" cy="542070"/>
          </a:xfrm>
          <a:prstGeom prst="ellipse">
            <a:avLst/>
          </a:prstGeom>
          <a:solidFill>
            <a:srgbClr val="FFFFFF"/>
          </a:solidFill>
          <a:ln w="31750" cap="flat">
            <a:solidFill>
              <a:schemeClr val="tx2"/>
            </a:solidFill>
            <a:prstDash val="solid"/>
            <a:miter lim="400000"/>
          </a:ln>
          <a:effectLst/>
        </p:spPr>
        <p:txBody>
          <a:bodyPr wrap="square" lIns="32927" tIns="32927" rIns="32927" bIns="32927" numCol="1" anchor="ctr">
            <a:noAutofit/>
          </a:bodyPr>
          <a:lstStyle/>
          <a:p>
            <a:pPr algn="ctr" defTabSz="535047">
              <a:defRPr sz="3200">
                <a:solidFill>
                  <a:srgbClr val="FFFFFF"/>
                </a:solidFill>
                <a:latin typeface="Helvetica Neue Medium"/>
                <a:ea typeface="Helvetica Neue Medium"/>
                <a:cs typeface="Helvetica Neue Medium"/>
                <a:sym typeface="Helvetica Neue Medium"/>
              </a:defRPr>
            </a:pPr>
            <a:endParaRPr sz="2074" dirty="0">
              <a:solidFill>
                <a:srgbClr val="FFFFFF"/>
              </a:solidFill>
              <a:latin typeface="Helvetica Neue Medium"/>
              <a:ea typeface="Helvetica Neue Medium"/>
              <a:cs typeface="Arial" panose="020B0604020202020204" pitchFamily="34" charset="0"/>
              <a:sym typeface="Helvetica Neue Medium"/>
            </a:endParaRPr>
          </a:p>
        </p:txBody>
      </p:sp>
      <p:sp>
        <p:nvSpPr>
          <p:cNvPr id="50" name="TextBox 3">
            <a:extLst>
              <a:ext uri="{FF2B5EF4-FFF2-40B4-BE49-F238E27FC236}">
                <a16:creationId xmlns:a16="http://schemas.microsoft.com/office/drawing/2014/main" xmlns="" id="{5CB1B3A6-600F-8646-AE4B-9007700B8084}"/>
              </a:ext>
            </a:extLst>
          </p:cNvPr>
          <p:cNvSpPr txBox="1"/>
          <p:nvPr/>
        </p:nvSpPr>
        <p:spPr>
          <a:xfrm>
            <a:off x="6989078" y="2405259"/>
            <a:ext cx="272929" cy="43877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lgn="ctr" defTabSz="1828800">
              <a:lnSpc>
                <a:spcPct val="110000"/>
              </a:lnSpc>
              <a:spcBef>
                <a:spcPts val="0"/>
              </a:spcBef>
              <a:defRPr sz="4000">
                <a:solidFill>
                  <a:srgbClr val="5E5E5E"/>
                </a:solidFill>
                <a:latin typeface="Arial"/>
                <a:ea typeface="Arial"/>
                <a:cs typeface="Arial"/>
                <a:sym typeface="Arial"/>
              </a:defRPr>
            </a:lvl1pPr>
          </a:lstStyle>
          <a:p>
            <a:r>
              <a:rPr sz="2592" dirty="0"/>
              <a:t>2</a:t>
            </a:r>
          </a:p>
        </p:txBody>
      </p:sp>
      <p:sp>
        <p:nvSpPr>
          <p:cNvPr id="51" name="Conector recto 74">
            <a:extLst>
              <a:ext uri="{FF2B5EF4-FFF2-40B4-BE49-F238E27FC236}">
                <a16:creationId xmlns:a16="http://schemas.microsoft.com/office/drawing/2014/main" xmlns="" id="{5581399F-60DC-C146-9774-D7BD814FB18C}"/>
              </a:ext>
            </a:extLst>
          </p:cNvPr>
          <p:cNvSpPr/>
          <p:nvPr/>
        </p:nvSpPr>
        <p:spPr>
          <a:xfrm flipH="1">
            <a:off x="6705523" y="6249278"/>
            <a:ext cx="2790981" cy="1"/>
          </a:xfrm>
          <a:prstGeom prst="line">
            <a:avLst/>
          </a:prstGeom>
          <a:solidFill>
            <a:srgbClr val="FFFFFF"/>
          </a:solidFill>
          <a:ln w="15875">
            <a:solidFill>
              <a:srgbClr val="5E5E5E"/>
            </a:solidFill>
            <a:miter lim="400000"/>
          </a:ln>
        </p:spPr>
        <p:txBody>
          <a:bodyPr lIns="32927" tIns="32927" rIns="32927" bIns="32927" anchor="ctr"/>
          <a:lstStyle/>
          <a:p>
            <a:pPr algn="ctr" defTabSz="535047">
              <a:defRPr sz="3200">
                <a:solidFill>
                  <a:srgbClr val="FFFFFF"/>
                </a:solidFill>
                <a:latin typeface="Helvetica Neue Medium"/>
                <a:ea typeface="Helvetica Neue Medium"/>
                <a:cs typeface="Helvetica Neue Medium"/>
                <a:sym typeface="Helvetica Neue Medium"/>
              </a:defRPr>
            </a:pPr>
            <a:endParaRPr sz="2074" dirty="0">
              <a:solidFill>
                <a:srgbClr val="FFFFFF"/>
              </a:solidFill>
              <a:latin typeface="Helvetica Neue Medium"/>
              <a:ea typeface="Helvetica Neue Medium"/>
              <a:cs typeface="Arial" panose="020B0604020202020204" pitchFamily="34" charset="0"/>
              <a:sym typeface="Helvetica Neue Medium"/>
            </a:endParaRPr>
          </a:p>
        </p:txBody>
      </p:sp>
      <p:sp>
        <p:nvSpPr>
          <p:cNvPr id="52" name="Conector recto 74">
            <a:extLst>
              <a:ext uri="{FF2B5EF4-FFF2-40B4-BE49-F238E27FC236}">
                <a16:creationId xmlns:a16="http://schemas.microsoft.com/office/drawing/2014/main" xmlns="" id="{27D50CA8-0FE2-7645-830A-F4271EB0ED40}"/>
              </a:ext>
            </a:extLst>
          </p:cNvPr>
          <p:cNvSpPr/>
          <p:nvPr/>
        </p:nvSpPr>
        <p:spPr>
          <a:xfrm flipH="1">
            <a:off x="10134979" y="6249278"/>
            <a:ext cx="2790981" cy="1"/>
          </a:xfrm>
          <a:prstGeom prst="line">
            <a:avLst/>
          </a:prstGeom>
          <a:solidFill>
            <a:srgbClr val="FFFFFF"/>
          </a:solidFill>
          <a:ln w="15875">
            <a:solidFill>
              <a:srgbClr val="90BB3A"/>
            </a:solidFill>
            <a:miter lim="400000"/>
          </a:ln>
        </p:spPr>
        <p:txBody>
          <a:bodyPr lIns="32927" tIns="32927" rIns="32927" bIns="32927" anchor="ctr"/>
          <a:lstStyle/>
          <a:p>
            <a:pPr algn="ctr" defTabSz="535047">
              <a:defRPr sz="3200">
                <a:solidFill>
                  <a:srgbClr val="FFFFFF"/>
                </a:solidFill>
                <a:latin typeface="Helvetica Neue Medium"/>
                <a:ea typeface="Helvetica Neue Medium"/>
                <a:cs typeface="Helvetica Neue Medium"/>
                <a:sym typeface="Helvetica Neue Medium"/>
              </a:defRPr>
            </a:pPr>
            <a:endParaRPr sz="2074" dirty="0">
              <a:solidFill>
                <a:srgbClr val="FFFFFF"/>
              </a:solidFill>
              <a:latin typeface="Helvetica Neue Medium"/>
              <a:ea typeface="Helvetica Neue Medium"/>
              <a:cs typeface="Arial" panose="020B0604020202020204" pitchFamily="34" charset="0"/>
              <a:sym typeface="Helvetica Neue Medium"/>
            </a:endParaRPr>
          </a:p>
        </p:txBody>
      </p:sp>
      <p:sp>
        <p:nvSpPr>
          <p:cNvPr id="57" name="Marcador de texto 7">
            <a:extLst>
              <a:ext uri="{FF2B5EF4-FFF2-40B4-BE49-F238E27FC236}">
                <a16:creationId xmlns:a16="http://schemas.microsoft.com/office/drawing/2014/main" xmlns="" id="{CB581C8C-78B0-CF47-B07E-37D4BD365727}"/>
              </a:ext>
            </a:extLst>
          </p:cNvPr>
          <p:cNvSpPr>
            <a:spLocks noGrp="1"/>
          </p:cNvSpPr>
          <p:nvPr>
            <p:ph type="body" sz="quarter" idx="14" hasCustomPrompt="1"/>
          </p:nvPr>
        </p:nvSpPr>
        <p:spPr>
          <a:xfrm>
            <a:off x="3309079" y="6561841"/>
            <a:ext cx="2790981" cy="995899"/>
          </a:xfrm>
          <a:prstGeom prst="rect">
            <a:avLst/>
          </a:prstGeom>
        </p:spPr>
        <p:txBody>
          <a:bodyPr/>
          <a:lstStyle>
            <a:lvl1pPr marL="222251" indent="-222251">
              <a:buClr>
                <a:schemeClr val="tx1"/>
              </a:buClr>
              <a:buSzPct val="80000"/>
              <a:buFont typeface="Arial" panose="020B0604020202020204" pitchFamily="34" charset="0"/>
              <a:buChar char="•"/>
              <a:defRPr sz="1297"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0</a:t>
            </a:r>
            <a:endParaRPr lang="es-CL" dirty="0"/>
          </a:p>
        </p:txBody>
      </p:sp>
      <p:sp>
        <p:nvSpPr>
          <p:cNvPr id="58" name="Marcador de texto 7">
            <a:extLst>
              <a:ext uri="{FF2B5EF4-FFF2-40B4-BE49-F238E27FC236}">
                <a16:creationId xmlns:a16="http://schemas.microsoft.com/office/drawing/2014/main" xmlns="" id="{F6152E70-DB5D-FB46-AC42-E25D38843705}"/>
              </a:ext>
            </a:extLst>
          </p:cNvPr>
          <p:cNvSpPr>
            <a:spLocks noGrp="1"/>
          </p:cNvSpPr>
          <p:nvPr>
            <p:ph type="body" sz="quarter" idx="15" hasCustomPrompt="1"/>
          </p:nvPr>
        </p:nvSpPr>
        <p:spPr>
          <a:xfrm>
            <a:off x="6722030" y="6561841"/>
            <a:ext cx="2790981" cy="995899"/>
          </a:xfrm>
          <a:prstGeom prst="rect">
            <a:avLst/>
          </a:prstGeom>
        </p:spPr>
        <p:txBody>
          <a:bodyPr/>
          <a:lstStyle>
            <a:lvl1pPr marL="222251" indent="-222251">
              <a:buClr>
                <a:schemeClr val="tx2"/>
              </a:buClr>
              <a:buSzPct val="80000"/>
              <a:buFont typeface="Arial" panose="020B0604020202020204" pitchFamily="34" charset="0"/>
              <a:buChar char="•"/>
              <a:defRPr sz="129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0</a:t>
            </a:r>
            <a:endParaRPr lang="es-CL" dirty="0"/>
          </a:p>
        </p:txBody>
      </p:sp>
      <p:sp>
        <p:nvSpPr>
          <p:cNvPr id="59" name="Marcador de texto 7">
            <a:extLst>
              <a:ext uri="{FF2B5EF4-FFF2-40B4-BE49-F238E27FC236}">
                <a16:creationId xmlns:a16="http://schemas.microsoft.com/office/drawing/2014/main" xmlns="" id="{97E32544-5D63-C045-A2C9-208A3A350E23}"/>
              </a:ext>
            </a:extLst>
          </p:cNvPr>
          <p:cNvSpPr>
            <a:spLocks noGrp="1"/>
          </p:cNvSpPr>
          <p:nvPr>
            <p:ph type="body" sz="quarter" idx="16" hasCustomPrompt="1"/>
          </p:nvPr>
        </p:nvSpPr>
        <p:spPr>
          <a:xfrm>
            <a:off x="10134979" y="6561841"/>
            <a:ext cx="2790981" cy="995899"/>
          </a:xfrm>
          <a:prstGeom prst="rect">
            <a:avLst/>
          </a:prstGeom>
        </p:spPr>
        <p:txBody>
          <a:bodyPr/>
          <a:lstStyle>
            <a:lvl1pPr marL="222251" indent="-222251">
              <a:buClr>
                <a:schemeClr val="bg2"/>
              </a:buClr>
              <a:buSzPct val="80000"/>
              <a:buFont typeface="Arial" panose="020B0604020202020204" pitchFamily="34" charset="0"/>
              <a:buChar char="•"/>
              <a:defRPr sz="1297"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0</a:t>
            </a:r>
            <a:endParaRPr lang="es-CL" dirty="0"/>
          </a:p>
        </p:txBody>
      </p:sp>
      <p:sp>
        <p:nvSpPr>
          <p:cNvPr id="26" name="Marcador de texto 7">
            <a:extLst>
              <a:ext uri="{FF2B5EF4-FFF2-40B4-BE49-F238E27FC236}">
                <a16:creationId xmlns:a16="http://schemas.microsoft.com/office/drawing/2014/main" xmlns="" id="{59F91A77-AAFB-8246-B037-70C052229692}"/>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27" name="Marcador de texto 7">
            <a:extLst>
              <a:ext uri="{FF2B5EF4-FFF2-40B4-BE49-F238E27FC236}">
                <a16:creationId xmlns:a16="http://schemas.microsoft.com/office/drawing/2014/main" xmlns="" id="{4AF21556-34C8-4447-A99A-C7ABAA72FA8B}"/>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28" name="Conector recto 27">
            <a:extLst>
              <a:ext uri="{FF2B5EF4-FFF2-40B4-BE49-F238E27FC236}">
                <a16:creationId xmlns:a16="http://schemas.microsoft.com/office/drawing/2014/main" xmlns="" id="{EC8D00F7-06EB-B446-AC2E-F2E56521130D}"/>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3" name="Marcador de número de diapositiva 1">
            <a:extLst>
              <a:ext uri="{FF2B5EF4-FFF2-40B4-BE49-F238E27FC236}">
                <a16:creationId xmlns:a16="http://schemas.microsoft.com/office/drawing/2014/main" xmlns="" id="{77F1C36A-F6D1-9B48-A2F0-3BE8DF3720BE}"/>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5770284"/>
      </p:ext>
    </p:extLst>
  </p:cSld>
  <p:clrMapOvr>
    <a:masterClrMapping/>
  </p:clrMapOvr>
  <p:extLst>
    <p:ext uri="{DCECCB84-F9BA-43D5-87BE-67443E8EF086}">
      <p15:sldGuideLst xmlns:p15="http://schemas.microsoft.com/office/powerpoint/2012/main">
        <p15:guide id="1" pos="280">
          <p15:clr>
            <a:srgbClr val="FBAE40"/>
          </p15:clr>
        </p15:guide>
        <p15:guide id="2" pos="120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lámina noticias">
    <p:spTree>
      <p:nvGrpSpPr>
        <p:cNvPr id="1" name=""/>
        <p:cNvGrpSpPr/>
        <p:nvPr/>
      </p:nvGrpSpPr>
      <p:grpSpPr>
        <a:xfrm>
          <a:off x="0" y="0"/>
          <a:ext cx="0" cy="0"/>
          <a:chOff x="0" y="0"/>
          <a:chExt cx="0" cy="0"/>
        </a:xfrm>
      </p:grpSpPr>
      <p:pic>
        <p:nvPicPr>
          <p:cNvPr id="39" name="Imagen 38">
            <a:extLst>
              <a:ext uri="{FF2B5EF4-FFF2-40B4-BE49-F238E27FC236}">
                <a16:creationId xmlns:a16="http://schemas.microsoft.com/office/drawing/2014/main" xmlns="" id="{A18F745A-2F94-7047-844D-CB79FE04F50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43" name="Rectángulo">
            <a:extLst>
              <a:ext uri="{FF2B5EF4-FFF2-40B4-BE49-F238E27FC236}">
                <a16:creationId xmlns:a16="http://schemas.microsoft.com/office/drawing/2014/main" xmlns="" id="{42316AC7-064E-6646-A5F4-425D51B6A2C9}"/>
              </a:ext>
            </a:extLst>
          </p:cNvPr>
          <p:cNvSpPr/>
          <p:nvPr/>
        </p:nvSpPr>
        <p:spPr>
          <a:xfrm>
            <a:off x="572483" y="4500562"/>
            <a:ext cx="3635963" cy="4502101"/>
          </a:xfrm>
          <a:prstGeom prst="rect">
            <a:avLst/>
          </a:prstGeom>
          <a:solidFill>
            <a:schemeClr val="tx2">
              <a:lumMod val="20000"/>
              <a:lumOff val="80000"/>
            </a:schemeClr>
          </a:solidFill>
          <a:ln w="12700">
            <a:noFill/>
            <a:miter lim="400000"/>
          </a:ln>
        </p:spPr>
        <p:txBody>
          <a:bodyPr lIns="32927" tIns="32927" rIns="32927" bIns="32927" anchor="ctr"/>
          <a:lstStyle/>
          <a:p>
            <a:pPr algn="ctr" defTabSz="1184307">
              <a:defRPr sz="3600">
                <a:solidFill>
                  <a:srgbClr val="FFFFFF"/>
                </a:solidFill>
                <a:latin typeface="Arial"/>
                <a:ea typeface="Arial"/>
                <a:cs typeface="Arial"/>
                <a:sym typeface="Arial"/>
              </a:defRPr>
            </a:pPr>
            <a:endParaRPr sz="4667">
              <a:solidFill>
                <a:srgbClr val="FFFFFF"/>
              </a:solidFill>
              <a:ea typeface="Arial"/>
              <a:cs typeface="Arial"/>
              <a:sym typeface="Arial"/>
            </a:endParaRPr>
          </a:p>
        </p:txBody>
      </p:sp>
      <p:sp>
        <p:nvSpPr>
          <p:cNvPr id="65" name="Marcador de texto 7">
            <a:extLst>
              <a:ext uri="{FF2B5EF4-FFF2-40B4-BE49-F238E27FC236}">
                <a16:creationId xmlns:a16="http://schemas.microsoft.com/office/drawing/2014/main" xmlns="" id="{6BF8A88C-2650-B342-AC6A-0910D46C6316}"/>
              </a:ext>
            </a:extLst>
          </p:cNvPr>
          <p:cNvSpPr>
            <a:spLocks noGrp="1"/>
          </p:cNvSpPr>
          <p:nvPr>
            <p:ph type="body" sz="quarter" idx="16" hasCustomPrompt="1"/>
          </p:nvPr>
        </p:nvSpPr>
        <p:spPr>
          <a:xfrm>
            <a:off x="940146" y="6610485"/>
            <a:ext cx="2905413" cy="2020896"/>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explicativo </a:t>
            </a:r>
          </a:p>
          <a:p>
            <a:pPr lvl="0"/>
            <a:r>
              <a:rPr lang="es-ES" dirty="0"/>
              <a:t>Arial Bold 11</a:t>
            </a:r>
            <a:endParaRPr lang="es-CL" dirty="0"/>
          </a:p>
        </p:txBody>
      </p:sp>
      <p:sp>
        <p:nvSpPr>
          <p:cNvPr id="66" name="Marcador de texto 7">
            <a:extLst>
              <a:ext uri="{FF2B5EF4-FFF2-40B4-BE49-F238E27FC236}">
                <a16:creationId xmlns:a16="http://schemas.microsoft.com/office/drawing/2014/main" xmlns="" id="{8FBF1655-AF76-F945-B38F-FE31E3035DB0}"/>
              </a:ext>
            </a:extLst>
          </p:cNvPr>
          <p:cNvSpPr>
            <a:spLocks noGrp="1"/>
          </p:cNvSpPr>
          <p:nvPr>
            <p:ph type="body" sz="quarter" idx="13" hasCustomPrompt="1"/>
          </p:nvPr>
        </p:nvSpPr>
        <p:spPr>
          <a:xfrm>
            <a:off x="940144" y="5181308"/>
            <a:ext cx="1670834" cy="671806"/>
          </a:xfrm>
          <a:prstGeom prst="rect">
            <a:avLst/>
          </a:prstGeom>
        </p:spPr>
        <p:txBody>
          <a:bodyPr/>
          <a:lstStyle>
            <a:lvl1pPr marL="0" indent="0">
              <a:buNone/>
              <a:defRPr sz="5186"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º</a:t>
            </a:r>
            <a:endParaRPr lang="es-CL" dirty="0"/>
          </a:p>
        </p:txBody>
      </p:sp>
      <p:sp>
        <p:nvSpPr>
          <p:cNvPr id="67" name="Marcador de texto 7">
            <a:extLst>
              <a:ext uri="{FF2B5EF4-FFF2-40B4-BE49-F238E27FC236}">
                <a16:creationId xmlns:a16="http://schemas.microsoft.com/office/drawing/2014/main" xmlns="" id="{D09FBF73-0F86-334D-A640-40FA6422E5DF}"/>
              </a:ext>
            </a:extLst>
          </p:cNvPr>
          <p:cNvSpPr>
            <a:spLocks noGrp="1"/>
          </p:cNvSpPr>
          <p:nvPr>
            <p:ph type="body" sz="quarter" idx="15" hasCustomPrompt="1"/>
          </p:nvPr>
        </p:nvSpPr>
        <p:spPr>
          <a:xfrm>
            <a:off x="940145" y="5914822"/>
            <a:ext cx="1780139" cy="33141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a:t>
            </a:r>
            <a:endParaRPr lang="es-CL" dirty="0"/>
          </a:p>
        </p:txBody>
      </p:sp>
      <p:sp>
        <p:nvSpPr>
          <p:cNvPr id="68" name="Rectángulo">
            <a:extLst>
              <a:ext uri="{FF2B5EF4-FFF2-40B4-BE49-F238E27FC236}">
                <a16:creationId xmlns:a16="http://schemas.microsoft.com/office/drawing/2014/main" xmlns="" id="{276E5EE1-B3E1-3F4B-83B9-25BBCDB7164A}"/>
              </a:ext>
            </a:extLst>
          </p:cNvPr>
          <p:cNvSpPr/>
          <p:nvPr/>
        </p:nvSpPr>
        <p:spPr>
          <a:xfrm>
            <a:off x="4365229" y="3421620"/>
            <a:ext cx="3635963" cy="5579507"/>
          </a:xfrm>
          <a:prstGeom prst="rect">
            <a:avLst/>
          </a:prstGeom>
          <a:solidFill>
            <a:schemeClr val="tx1"/>
          </a:solidFill>
          <a:ln w="12700">
            <a:noFill/>
            <a:miter lim="400000"/>
          </a:ln>
        </p:spPr>
        <p:txBody>
          <a:bodyPr lIns="32927" tIns="32927" rIns="32927" bIns="32927" anchor="ctr"/>
          <a:lstStyle/>
          <a:p>
            <a:pPr algn="ctr" defTabSz="1184307">
              <a:defRPr sz="3600">
                <a:solidFill>
                  <a:srgbClr val="FFFFFF"/>
                </a:solidFill>
                <a:latin typeface="Arial"/>
                <a:ea typeface="Arial"/>
                <a:cs typeface="Arial"/>
                <a:sym typeface="Arial"/>
              </a:defRPr>
            </a:pPr>
            <a:endParaRPr sz="4667">
              <a:solidFill>
                <a:srgbClr val="FFFFFF"/>
              </a:solidFill>
              <a:ea typeface="Arial"/>
              <a:cs typeface="Arial"/>
              <a:sym typeface="Arial"/>
            </a:endParaRPr>
          </a:p>
        </p:txBody>
      </p:sp>
      <p:sp>
        <p:nvSpPr>
          <p:cNvPr id="69" name="Marcador de texto 7">
            <a:extLst>
              <a:ext uri="{FF2B5EF4-FFF2-40B4-BE49-F238E27FC236}">
                <a16:creationId xmlns:a16="http://schemas.microsoft.com/office/drawing/2014/main" xmlns="" id="{8DAFB3E8-F17D-0145-B3D7-D9F9A58CEAC9}"/>
              </a:ext>
            </a:extLst>
          </p:cNvPr>
          <p:cNvSpPr>
            <a:spLocks noGrp="1"/>
          </p:cNvSpPr>
          <p:nvPr>
            <p:ph type="body" sz="quarter" idx="17" hasCustomPrompt="1"/>
          </p:nvPr>
        </p:nvSpPr>
        <p:spPr>
          <a:xfrm>
            <a:off x="4709878" y="5533080"/>
            <a:ext cx="2905413" cy="2020896"/>
          </a:xfrm>
          <a:prstGeom prst="rect">
            <a:avLst/>
          </a:prstGeom>
        </p:spPr>
        <p:txBody>
          <a:bodyPr/>
          <a:lstStyle>
            <a:lvl1pPr marL="0" indent="0">
              <a:buNone/>
              <a:defRPr sz="1427" b="0"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explicativo</a:t>
            </a:r>
          </a:p>
          <a:p>
            <a:pPr lvl="0"/>
            <a:r>
              <a:rPr lang="es-ES" dirty="0"/>
              <a:t>Arial Bold 11</a:t>
            </a:r>
            <a:endParaRPr lang="es-CL" dirty="0"/>
          </a:p>
        </p:txBody>
      </p:sp>
      <p:sp>
        <p:nvSpPr>
          <p:cNvPr id="70" name="Marcador de texto 7">
            <a:extLst>
              <a:ext uri="{FF2B5EF4-FFF2-40B4-BE49-F238E27FC236}">
                <a16:creationId xmlns:a16="http://schemas.microsoft.com/office/drawing/2014/main" xmlns="" id="{69AEA284-6214-104E-8E27-8BB480AF742F}"/>
              </a:ext>
            </a:extLst>
          </p:cNvPr>
          <p:cNvSpPr>
            <a:spLocks noGrp="1"/>
          </p:cNvSpPr>
          <p:nvPr>
            <p:ph type="body" sz="quarter" idx="18" hasCustomPrompt="1"/>
          </p:nvPr>
        </p:nvSpPr>
        <p:spPr>
          <a:xfrm>
            <a:off x="4709876" y="4103903"/>
            <a:ext cx="1670834" cy="671806"/>
          </a:xfrm>
          <a:prstGeom prst="rect">
            <a:avLst/>
          </a:prstGeom>
        </p:spPr>
        <p:txBody>
          <a:bodyPr/>
          <a:lstStyle>
            <a:lvl1pPr marL="0" indent="0">
              <a:buNone/>
              <a:defRPr sz="5186" b="0"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º</a:t>
            </a:r>
            <a:endParaRPr lang="es-CL" dirty="0"/>
          </a:p>
        </p:txBody>
      </p:sp>
      <p:sp>
        <p:nvSpPr>
          <p:cNvPr id="71" name="Marcador de texto 7">
            <a:extLst>
              <a:ext uri="{FF2B5EF4-FFF2-40B4-BE49-F238E27FC236}">
                <a16:creationId xmlns:a16="http://schemas.microsoft.com/office/drawing/2014/main" xmlns="" id="{38C79E41-A17D-4B48-8B91-1215DC2A1AA0}"/>
              </a:ext>
            </a:extLst>
          </p:cNvPr>
          <p:cNvSpPr>
            <a:spLocks noGrp="1"/>
          </p:cNvSpPr>
          <p:nvPr>
            <p:ph type="body" sz="quarter" idx="19" hasCustomPrompt="1"/>
          </p:nvPr>
        </p:nvSpPr>
        <p:spPr>
          <a:xfrm>
            <a:off x="4709879" y="4837416"/>
            <a:ext cx="1780139" cy="331414"/>
          </a:xfrm>
          <a:prstGeom prst="rect">
            <a:avLst/>
          </a:prstGeom>
        </p:spPr>
        <p:txBody>
          <a:bodyPr/>
          <a:lstStyle>
            <a:lvl1pPr marL="0" indent="0">
              <a:buNone/>
              <a:defRPr sz="1427" b="0"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a:t>
            </a:r>
            <a:endParaRPr lang="es-CL" dirty="0"/>
          </a:p>
        </p:txBody>
      </p:sp>
      <p:sp>
        <p:nvSpPr>
          <p:cNvPr id="72" name="Rectángulo">
            <a:extLst>
              <a:ext uri="{FF2B5EF4-FFF2-40B4-BE49-F238E27FC236}">
                <a16:creationId xmlns:a16="http://schemas.microsoft.com/office/drawing/2014/main" xmlns="" id="{34114B99-D22D-E64B-9FCB-2F541FEA6055}"/>
              </a:ext>
            </a:extLst>
          </p:cNvPr>
          <p:cNvSpPr/>
          <p:nvPr/>
        </p:nvSpPr>
        <p:spPr>
          <a:xfrm>
            <a:off x="8157976" y="4499024"/>
            <a:ext cx="3635963" cy="4502101"/>
          </a:xfrm>
          <a:prstGeom prst="rect">
            <a:avLst/>
          </a:prstGeom>
          <a:solidFill>
            <a:schemeClr val="tx2">
              <a:lumMod val="20000"/>
              <a:lumOff val="80000"/>
            </a:schemeClr>
          </a:solidFill>
          <a:ln w="12700">
            <a:noFill/>
            <a:miter lim="400000"/>
          </a:ln>
        </p:spPr>
        <p:txBody>
          <a:bodyPr lIns="32927" tIns="32927" rIns="32927" bIns="32927" anchor="ctr"/>
          <a:lstStyle/>
          <a:p>
            <a:pPr algn="ctr" defTabSz="1184307">
              <a:defRPr sz="3600">
                <a:solidFill>
                  <a:srgbClr val="FFFFFF"/>
                </a:solidFill>
                <a:latin typeface="Arial"/>
                <a:ea typeface="Arial"/>
                <a:cs typeface="Arial"/>
                <a:sym typeface="Arial"/>
              </a:defRPr>
            </a:pPr>
            <a:endParaRPr sz="4667">
              <a:solidFill>
                <a:srgbClr val="FFFFFF"/>
              </a:solidFill>
              <a:ea typeface="Arial"/>
              <a:cs typeface="Arial"/>
              <a:sym typeface="Arial"/>
            </a:endParaRPr>
          </a:p>
        </p:txBody>
      </p:sp>
      <p:sp>
        <p:nvSpPr>
          <p:cNvPr id="73" name="Marcador de texto 7">
            <a:extLst>
              <a:ext uri="{FF2B5EF4-FFF2-40B4-BE49-F238E27FC236}">
                <a16:creationId xmlns:a16="http://schemas.microsoft.com/office/drawing/2014/main" xmlns="" id="{E6767AED-37F8-A841-8040-0EEB3BC4FFDD}"/>
              </a:ext>
            </a:extLst>
          </p:cNvPr>
          <p:cNvSpPr>
            <a:spLocks noGrp="1"/>
          </p:cNvSpPr>
          <p:nvPr>
            <p:ph type="body" sz="quarter" idx="20" hasCustomPrompt="1"/>
          </p:nvPr>
        </p:nvSpPr>
        <p:spPr>
          <a:xfrm>
            <a:off x="8521037" y="6610485"/>
            <a:ext cx="2905413" cy="2020896"/>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explicativo</a:t>
            </a:r>
          </a:p>
          <a:p>
            <a:pPr lvl="0"/>
            <a:r>
              <a:rPr lang="es-ES" dirty="0"/>
              <a:t>Arial Bold 11</a:t>
            </a:r>
            <a:endParaRPr lang="es-CL" dirty="0"/>
          </a:p>
        </p:txBody>
      </p:sp>
      <p:sp>
        <p:nvSpPr>
          <p:cNvPr id="74" name="Marcador de texto 7">
            <a:extLst>
              <a:ext uri="{FF2B5EF4-FFF2-40B4-BE49-F238E27FC236}">
                <a16:creationId xmlns:a16="http://schemas.microsoft.com/office/drawing/2014/main" xmlns="" id="{55E7DFFB-09B1-2241-828E-6853EF3F2177}"/>
              </a:ext>
            </a:extLst>
          </p:cNvPr>
          <p:cNvSpPr>
            <a:spLocks noGrp="1"/>
          </p:cNvSpPr>
          <p:nvPr>
            <p:ph type="body" sz="quarter" idx="21" hasCustomPrompt="1"/>
          </p:nvPr>
        </p:nvSpPr>
        <p:spPr>
          <a:xfrm>
            <a:off x="8521034" y="5181308"/>
            <a:ext cx="1670834" cy="671806"/>
          </a:xfrm>
          <a:prstGeom prst="rect">
            <a:avLst/>
          </a:prstGeom>
        </p:spPr>
        <p:txBody>
          <a:bodyPr/>
          <a:lstStyle>
            <a:lvl1pPr marL="0" indent="0">
              <a:buNone/>
              <a:defRPr sz="5186"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º</a:t>
            </a:r>
            <a:endParaRPr lang="es-CL" dirty="0"/>
          </a:p>
        </p:txBody>
      </p:sp>
      <p:sp>
        <p:nvSpPr>
          <p:cNvPr id="90" name="Marcador de texto 7">
            <a:extLst>
              <a:ext uri="{FF2B5EF4-FFF2-40B4-BE49-F238E27FC236}">
                <a16:creationId xmlns:a16="http://schemas.microsoft.com/office/drawing/2014/main" xmlns="" id="{A458015D-8739-2F48-BD8C-5FAB6F27784E}"/>
              </a:ext>
            </a:extLst>
          </p:cNvPr>
          <p:cNvSpPr>
            <a:spLocks noGrp="1"/>
          </p:cNvSpPr>
          <p:nvPr>
            <p:ph type="body" sz="quarter" idx="22" hasCustomPrompt="1"/>
          </p:nvPr>
        </p:nvSpPr>
        <p:spPr>
          <a:xfrm>
            <a:off x="8521036" y="5914822"/>
            <a:ext cx="1780139" cy="33141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a:t>
            </a:r>
            <a:endParaRPr lang="es-CL" dirty="0"/>
          </a:p>
        </p:txBody>
      </p:sp>
      <p:sp>
        <p:nvSpPr>
          <p:cNvPr id="91" name="Rectángulo">
            <a:extLst>
              <a:ext uri="{FF2B5EF4-FFF2-40B4-BE49-F238E27FC236}">
                <a16:creationId xmlns:a16="http://schemas.microsoft.com/office/drawing/2014/main" xmlns="" id="{10682241-31DE-024D-A676-34E4EE3DCF6E}"/>
              </a:ext>
            </a:extLst>
          </p:cNvPr>
          <p:cNvSpPr/>
          <p:nvPr/>
        </p:nvSpPr>
        <p:spPr>
          <a:xfrm>
            <a:off x="11950723" y="4499024"/>
            <a:ext cx="3635963" cy="4502101"/>
          </a:xfrm>
          <a:prstGeom prst="rect">
            <a:avLst/>
          </a:prstGeom>
          <a:solidFill>
            <a:schemeClr val="tx2">
              <a:lumMod val="20000"/>
              <a:lumOff val="80000"/>
            </a:schemeClr>
          </a:solidFill>
          <a:ln w="12700">
            <a:noFill/>
            <a:miter lim="400000"/>
          </a:ln>
        </p:spPr>
        <p:txBody>
          <a:bodyPr lIns="32927" tIns="32927" rIns="32927" bIns="32927" anchor="ctr"/>
          <a:lstStyle/>
          <a:p>
            <a:pPr algn="ctr" defTabSz="1184307">
              <a:defRPr sz="3600">
                <a:solidFill>
                  <a:srgbClr val="FFFFFF"/>
                </a:solidFill>
                <a:latin typeface="Arial"/>
                <a:ea typeface="Arial"/>
                <a:cs typeface="Arial"/>
                <a:sym typeface="Arial"/>
              </a:defRPr>
            </a:pPr>
            <a:endParaRPr sz="4667">
              <a:solidFill>
                <a:srgbClr val="FFFFFF"/>
              </a:solidFill>
              <a:ea typeface="Arial"/>
              <a:cs typeface="Arial"/>
              <a:sym typeface="Arial"/>
            </a:endParaRPr>
          </a:p>
        </p:txBody>
      </p:sp>
      <p:sp>
        <p:nvSpPr>
          <p:cNvPr id="92" name="Marcador de texto 7">
            <a:extLst>
              <a:ext uri="{FF2B5EF4-FFF2-40B4-BE49-F238E27FC236}">
                <a16:creationId xmlns:a16="http://schemas.microsoft.com/office/drawing/2014/main" xmlns="" id="{37B63F82-511B-904F-AE58-F9D328095577}"/>
              </a:ext>
            </a:extLst>
          </p:cNvPr>
          <p:cNvSpPr>
            <a:spLocks noGrp="1"/>
          </p:cNvSpPr>
          <p:nvPr>
            <p:ph type="body" sz="quarter" idx="23" hasCustomPrompt="1"/>
          </p:nvPr>
        </p:nvSpPr>
        <p:spPr>
          <a:xfrm>
            <a:off x="12276962" y="6610485"/>
            <a:ext cx="2905413" cy="2020896"/>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explicativo</a:t>
            </a:r>
          </a:p>
          <a:p>
            <a:pPr lvl="0"/>
            <a:r>
              <a:rPr lang="es-ES" dirty="0"/>
              <a:t>Arial Bold 11</a:t>
            </a:r>
            <a:endParaRPr lang="es-CL" dirty="0"/>
          </a:p>
        </p:txBody>
      </p:sp>
      <p:sp>
        <p:nvSpPr>
          <p:cNvPr id="93" name="Marcador de texto 7">
            <a:extLst>
              <a:ext uri="{FF2B5EF4-FFF2-40B4-BE49-F238E27FC236}">
                <a16:creationId xmlns:a16="http://schemas.microsoft.com/office/drawing/2014/main" xmlns="" id="{1B33BBFE-9406-CE41-ACA3-CFE95C7448AC}"/>
              </a:ext>
            </a:extLst>
          </p:cNvPr>
          <p:cNvSpPr>
            <a:spLocks noGrp="1"/>
          </p:cNvSpPr>
          <p:nvPr>
            <p:ph type="body" sz="quarter" idx="24" hasCustomPrompt="1"/>
          </p:nvPr>
        </p:nvSpPr>
        <p:spPr>
          <a:xfrm>
            <a:off x="12276959" y="5181308"/>
            <a:ext cx="1670834" cy="671806"/>
          </a:xfrm>
          <a:prstGeom prst="rect">
            <a:avLst/>
          </a:prstGeom>
        </p:spPr>
        <p:txBody>
          <a:bodyPr/>
          <a:lstStyle>
            <a:lvl1pPr marL="0" indent="0">
              <a:buNone/>
              <a:defRPr sz="5186"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º</a:t>
            </a:r>
            <a:endParaRPr lang="es-CL" dirty="0"/>
          </a:p>
        </p:txBody>
      </p:sp>
      <p:sp>
        <p:nvSpPr>
          <p:cNvPr id="94" name="Marcador de texto 7">
            <a:extLst>
              <a:ext uri="{FF2B5EF4-FFF2-40B4-BE49-F238E27FC236}">
                <a16:creationId xmlns:a16="http://schemas.microsoft.com/office/drawing/2014/main" xmlns="" id="{C874917F-D4AC-584B-91E6-BD1A3D307CF7}"/>
              </a:ext>
            </a:extLst>
          </p:cNvPr>
          <p:cNvSpPr>
            <a:spLocks noGrp="1"/>
          </p:cNvSpPr>
          <p:nvPr>
            <p:ph type="body" sz="quarter" idx="25" hasCustomPrompt="1"/>
          </p:nvPr>
        </p:nvSpPr>
        <p:spPr>
          <a:xfrm>
            <a:off x="12276961" y="5914822"/>
            <a:ext cx="1780139" cy="33141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a:t>
            </a:r>
            <a:endParaRPr lang="es-CL" dirty="0"/>
          </a:p>
        </p:txBody>
      </p:sp>
      <p:sp>
        <p:nvSpPr>
          <p:cNvPr id="22" name="Marcador de texto 7">
            <a:extLst>
              <a:ext uri="{FF2B5EF4-FFF2-40B4-BE49-F238E27FC236}">
                <a16:creationId xmlns:a16="http://schemas.microsoft.com/office/drawing/2014/main" xmlns="" id="{233E7B0C-2BF9-CF42-AE65-54B68360EED1}"/>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26" name="Marcador de texto 7">
            <a:extLst>
              <a:ext uri="{FF2B5EF4-FFF2-40B4-BE49-F238E27FC236}">
                <a16:creationId xmlns:a16="http://schemas.microsoft.com/office/drawing/2014/main" xmlns="" id="{D37C3DF4-A9F4-DB48-AFB7-1ADAAE01238B}"/>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27" name="Conector recto 26">
            <a:extLst>
              <a:ext uri="{FF2B5EF4-FFF2-40B4-BE49-F238E27FC236}">
                <a16:creationId xmlns:a16="http://schemas.microsoft.com/office/drawing/2014/main" xmlns="" id="{C85AF005-9E93-1C48-A207-37CC614AAD15}"/>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742122715"/>
      </p:ext>
    </p:extLst>
  </p:cSld>
  <p:clrMapOvr>
    <a:masterClrMapping/>
  </p:clrMapOvr>
  <p:extLst>
    <p:ext uri="{DCECCB84-F9BA-43D5-87BE-67443E8EF086}">
      <p15:sldGuideLst xmlns:p15="http://schemas.microsoft.com/office/powerpoint/2012/main">
        <p15:guide id="1" orient="horz" pos="2160">
          <p15:clr>
            <a:srgbClr val="FBAE40"/>
          </p15:clr>
        </p15:guide>
        <p15:guide id="2" pos="3874">
          <p15:clr>
            <a:srgbClr val="FBAE40"/>
          </p15:clr>
        </p15:guide>
        <p15:guide id="3" orient="horz" pos="1638">
          <p15:clr>
            <a:srgbClr val="FBAE40"/>
          </p15:clr>
        </p15:guide>
        <p15:guide id="4" pos="2071">
          <p15:clr>
            <a:srgbClr val="FBAE40"/>
          </p15:clr>
        </p15:guide>
        <p15:guide id="5" pos="5655">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lámina noticias con foto">
    <p:spTree>
      <p:nvGrpSpPr>
        <p:cNvPr id="1" name=""/>
        <p:cNvGrpSpPr/>
        <p:nvPr/>
      </p:nvGrpSpPr>
      <p:grpSpPr>
        <a:xfrm>
          <a:off x="0" y="0"/>
          <a:ext cx="0" cy="0"/>
          <a:chOff x="0" y="0"/>
          <a:chExt cx="0" cy="0"/>
        </a:xfrm>
      </p:grpSpPr>
      <p:pic>
        <p:nvPicPr>
          <p:cNvPr id="39" name="Imagen 38">
            <a:extLst>
              <a:ext uri="{FF2B5EF4-FFF2-40B4-BE49-F238E27FC236}">
                <a16:creationId xmlns:a16="http://schemas.microsoft.com/office/drawing/2014/main" xmlns="" id="{A18F745A-2F94-7047-844D-CB79FE04F50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22" name="Rectángulo">
            <a:extLst>
              <a:ext uri="{FF2B5EF4-FFF2-40B4-BE49-F238E27FC236}">
                <a16:creationId xmlns:a16="http://schemas.microsoft.com/office/drawing/2014/main" xmlns="" id="{924593A7-BA3B-134F-B552-3C8E240BE639}"/>
              </a:ext>
            </a:extLst>
          </p:cNvPr>
          <p:cNvSpPr/>
          <p:nvPr/>
        </p:nvSpPr>
        <p:spPr>
          <a:xfrm>
            <a:off x="572482" y="3409803"/>
            <a:ext cx="3635963" cy="5621537"/>
          </a:xfrm>
          <a:prstGeom prst="rect">
            <a:avLst/>
          </a:prstGeom>
          <a:solidFill>
            <a:schemeClr val="accent3">
              <a:lumMod val="20000"/>
              <a:lumOff val="80000"/>
            </a:schemeClr>
          </a:solidFill>
          <a:ln w="12700">
            <a:noFill/>
            <a:miter lim="400000"/>
          </a:ln>
        </p:spPr>
        <p:txBody>
          <a:bodyPr lIns="32927" tIns="32927" rIns="32927" bIns="32927" anchor="ctr"/>
          <a:lstStyle/>
          <a:p>
            <a:pPr algn="ctr" defTabSz="1184307">
              <a:defRPr sz="3600">
                <a:solidFill>
                  <a:srgbClr val="FFFFFF"/>
                </a:solidFill>
                <a:latin typeface="Arial"/>
                <a:ea typeface="Arial"/>
                <a:cs typeface="Arial"/>
                <a:sym typeface="Arial"/>
              </a:defRPr>
            </a:pPr>
            <a:endParaRPr sz="4667">
              <a:solidFill>
                <a:srgbClr val="FFFFFF"/>
              </a:solidFill>
              <a:ea typeface="Arial"/>
              <a:cs typeface="Arial"/>
              <a:sym typeface="Arial"/>
            </a:endParaRPr>
          </a:p>
        </p:txBody>
      </p:sp>
      <p:sp>
        <p:nvSpPr>
          <p:cNvPr id="28" name="Marcador de texto 7">
            <a:extLst>
              <a:ext uri="{FF2B5EF4-FFF2-40B4-BE49-F238E27FC236}">
                <a16:creationId xmlns:a16="http://schemas.microsoft.com/office/drawing/2014/main" xmlns="" id="{F57E9CCB-4FEF-3B4C-BB29-A871DC96C82B}"/>
              </a:ext>
            </a:extLst>
          </p:cNvPr>
          <p:cNvSpPr>
            <a:spLocks noGrp="1"/>
          </p:cNvSpPr>
          <p:nvPr>
            <p:ph type="body" sz="quarter" idx="18" hasCustomPrompt="1"/>
          </p:nvPr>
        </p:nvSpPr>
        <p:spPr>
          <a:xfrm>
            <a:off x="898718" y="3767431"/>
            <a:ext cx="1670834" cy="671806"/>
          </a:xfrm>
          <a:prstGeom prst="rect">
            <a:avLst/>
          </a:prstGeom>
        </p:spPr>
        <p:txBody>
          <a:bodyPr/>
          <a:lstStyle>
            <a:lvl1pPr marL="0" indent="0">
              <a:buNone/>
              <a:defRPr sz="3111"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a:t>
            </a:r>
            <a:endParaRPr lang="es-CL" dirty="0"/>
          </a:p>
        </p:txBody>
      </p:sp>
      <p:sp>
        <p:nvSpPr>
          <p:cNvPr id="29" name="Marcador de texto 7">
            <a:extLst>
              <a:ext uri="{FF2B5EF4-FFF2-40B4-BE49-F238E27FC236}">
                <a16:creationId xmlns:a16="http://schemas.microsoft.com/office/drawing/2014/main" xmlns="" id="{D012B9D1-835B-7745-97E3-74B7D8ED94F3}"/>
              </a:ext>
            </a:extLst>
          </p:cNvPr>
          <p:cNvSpPr>
            <a:spLocks noGrp="1"/>
          </p:cNvSpPr>
          <p:nvPr>
            <p:ph type="body" sz="quarter" idx="19" hasCustomPrompt="1"/>
          </p:nvPr>
        </p:nvSpPr>
        <p:spPr>
          <a:xfrm>
            <a:off x="898720" y="4500946"/>
            <a:ext cx="3105376" cy="1627337"/>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r>
              <a:rPr lang="es-CL" dirty="0"/>
              <a:t>Texto explicativo</a:t>
            </a:r>
          </a:p>
          <a:p>
            <a:r>
              <a:rPr lang="es-CL" dirty="0"/>
              <a:t>Arial 11</a:t>
            </a:r>
          </a:p>
        </p:txBody>
      </p:sp>
      <p:sp>
        <p:nvSpPr>
          <p:cNvPr id="3" name="Marcador de posición de imagen 2">
            <a:extLst>
              <a:ext uri="{FF2B5EF4-FFF2-40B4-BE49-F238E27FC236}">
                <a16:creationId xmlns:a16="http://schemas.microsoft.com/office/drawing/2014/main" xmlns="" id="{0EA17AB2-535B-3E41-9012-14AE4DF3B697}"/>
              </a:ext>
            </a:extLst>
          </p:cNvPr>
          <p:cNvSpPr>
            <a:spLocks noGrp="1"/>
          </p:cNvSpPr>
          <p:nvPr>
            <p:ph type="pic" sz="quarter" idx="20" hasCustomPrompt="1"/>
          </p:nvPr>
        </p:nvSpPr>
        <p:spPr>
          <a:xfrm>
            <a:off x="898706" y="6368505"/>
            <a:ext cx="3105388" cy="1923158"/>
          </a:xfrm>
          <a:prstGeom prst="rect">
            <a:avLst/>
          </a:prstGeom>
        </p:spPr>
        <p:txBody>
          <a:bodyPr/>
          <a:lstStyle>
            <a:lvl1pPr marL="0" indent="0">
              <a:buNone/>
              <a:defRPr sz="2074" b="0" i="0">
                <a:solidFill>
                  <a:schemeClr val="tx2"/>
                </a:solidFill>
                <a:latin typeface="Arial" panose="020B0604020202020204" pitchFamily="34" charset="0"/>
              </a:defRPr>
            </a:lvl1pPr>
          </a:lstStyle>
          <a:p>
            <a:r>
              <a:rPr lang="es-CL" dirty="0"/>
              <a:t>Doble click para incorporar una imagen</a:t>
            </a:r>
          </a:p>
        </p:txBody>
      </p:sp>
      <p:sp>
        <p:nvSpPr>
          <p:cNvPr id="32" name="Rectángulo">
            <a:extLst>
              <a:ext uri="{FF2B5EF4-FFF2-40B4-BE49-F238E27FC236}">
                <a16:creationId xmlns:a16="http://schemas.microsoft.com/office/drawing/2014/main" xmlns="" id="{47872927-EDEB-034D-AB0F-40AD76882404}"/>
              </a:ext>
            </a:extLst>
          </p:cNvPr>
          <p:cNvSpPr/>
          <p:nvPr/>
        </p:nvSpPr>
        <p:spPr>
          <a:xfrm>
            <a:off x="4365228" y="3409803"/>
            <a:ext cx="3635963" cy="5621537"/>
          </a:xfrm>
          <a:prstGeom prst="rect">
            <a:avLst/>
          </a:prstGeom>
          <a:solidFill>
            <a:schemeClr val="tx1"/>
          </a:solidFill>
          <a:ln w="12700">
            <a:noFill/>
            <a:miter lim="400000"/>
          </a:ln>
        </p:spPr>
        <p:txBody>
          <a:bodyPr lIns="32927" tIns="32927" rIns="32927" bIns="32927" anchor="ctr"/>
          <a:lstStyle/>
          <a:p>
            <a:pPr algn="ctr" defTabSz="1184307">
              <a:defRPr sz="3600">
                <a:solidFill>
                  <a:srgbClr val="FFFFFF"/>
                </a:solidFill>
                <a:latin typeface="Arial"/>
                <a:ea typeface="Arial"/>
                <a:cs typeface="Arial"/>
                <a:sym typeface="Arial"/>
              </a:defRPr>
            </a:pPr>
            <a:endParaRPr sz="4667">
              <a:solidFill>
                <a:srgbClr val="FFFFFF"/>
              </a:solidFill>
              <a:ea typeface="Arial"/>
              <a:cs typeface="Arial"/>
              <a:sym typeface="Arial"/>
            </a:endParaRPr>
          </a:p>
        </p:txBody>
      </p:sp>
      <p:sp>
        <p:nvSpPr>
          <p:cNvPr id="33" name="Marcador de texto 7">
            <a:extLst>
              <a:ext uri="{FF2B5EF4-FFF2-40B4-BE49-F238E27FC236}">
                <a16:creationId xmlns:a16="http://schemas.microsoft.com/office/drawing/2014/main" xmlns="" id="{0DCF0A1D-0E92-3E4E-AE6C-06E920D6E6EC}"/>
              </a:ext>
            </a:extLst>
          </p:cNvPr>
          <p:cNvSpPr>
            <a:spLocks noGrp="1"/>
          </p:cNvSpPr>
          <p:nvPr>
            <p:ph type="body" sz="quarter" idx="21" hasCustomPrompt="1"/>
          </p:nvPr>
        </p:nvSpPr>
        <p:spPr>
          <a:xfrm>
            <a:off x="4668450" y="3767431"/>
            <a:ext cx="1670834" cy="671806"/>
          </a:xfrm>
          <a:prstGeom prst="rect">
            <a:avLst/>
          </a:prstGeom>
        </p:spPr>
        <p:txBody>
          <a:bodyPr/>
          <a:lstStyle>
            <a:lvl1pPr marL="0" indent="0">
              <a:buNone/>
              <a:defRPr sz="3111" b="0"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a:t>
            </a:r>
            <a:endParaRPr lang="es-CL" dirty="0"/>
          </a:p>
        </p:txBody>
      </p:sp>
      <p:sp>
        <p:nvSpPr>
          <p:cNvPr id="34" name="Marcador de texto 7">
            <a:extLst>
              <a:ext uri="{FF2B5EF4-FFF2-40B4-BE49-F238E27FC236}">
                <a16:creationId xmlns:a16="http://schemas.microsoft.com/office/drawing/2014/main" xmlns="" id="{6C423F7D-EEBF-3A44-B527-08BE6EB1B0E3}"/>
              </a:ext>
            </a:extLst>
          </p:cNvPr>
          <p:cNvSpPr>
            <a:spLocks noGrp="1"/>
          </p:cNvSpPr>
          <p:nvPr>
            <p:ph type="body" sz="quarter" idx="22" hasCustomPrompt="1"/>
          </p:nvPr>
        </p:nvSpPr>
        <p:spPr>
          <a:xfrm>
            <a:off x="4668451" y="4500946"/>
            <a:ext cx="3105376" cy="1627337"/>
          </a:xfrm>
          <a:prstGeom prst="rect">
            <a:avLst/>
          </a:prstGeom>
        </p:spPr>
        <p:txBody>
          <a:bodyPr/>
          <a:lstStyle>
            <a:lvl1pPr marL="0" indent="0">
              <a:spcBef>
                <a:spcPts val="778"/>
              </a:spcBef>
              <a:spcAft>
                <a:spcPts val="778"/>
              </a:spcAft>
              <a:buNone/>
              <a:defRPr sz="1427" b="0" i="0">
                <a:solidFill>
                  <a:schemeClr val="bg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r>
              <a:rPr lang="es-CL" dirty="0"/>
              <a:t>Texto explicativo</a:t>
            </a:r>
          </a:p>
          <a:p>
            <a:r>
              <a:rPr lang="es-CL" dirty="0"/>
              <a:t>Arial 11</a:t>
            </a:r>
          </a:p>
        </p:txBody>
      </p:sp>
      <p:sp>
        <p:nvSpPr>
          <p:cNvPr id="35" name="Marcador de posición de imagen 2">
            <a:extLst>
              <a:ext uri="{FF2B5EF4-FFF2-40B4-BE49-F238E27FC236}">
                <a16:creationId xmlns:a16="http://schemas.microsoft.com/office/drawing/2014/main" xmlns="" id="{93186F0C-C7B9-764C-B99E-96FA0437C4CE}"/>
              </a:ext>
            </a:extLst>
          </p:cNvPr>
          <p:cNvSpPr>
            <a:spLocks noGrp="1"/>
          </p:cNvSpPr>
          <p:nvPr>
            <p:ph type="pic" sz="quarter" idx="23" hasCustomPrompt="1"/>
          </p:nvPr>
        </p:nvSpPr>
        <p:spPr>
          <a:xfrm>
            <a:off x="4668438" y="6368505"/>
            <a:ext cx="3105388" cy="1923158"/>
          </a:xfrm>
          <a:prstGeom prst="rect">
            <a:avLst/>
          </a:prstGeom>
        </p:spPr>
        <p:txBody>
          <a:bodyPr/>
          <a:lstStyle>
            <a:lvl1pPr marL="0" indent="0">
              <a:buNone/>
              <a:defRPr sz="2074" b="0" i="0">
                <a:solidFill>
                  <a:schemeClr val="bg1"/>
                </a:solidFill>
                <a:latin typeface="Arial" panose="020B0604020202020204" pitchFamily="34" charset="0"/>
              </a:defRPr>
            </a:lvl1pPr>
          </a:lstStyle>
          <a:p>
            <a:r>
              <a:rPr lang="es-CL" dirty="0"/>
              <a:t>Doble click para incorporar una imagen</a:t>
            </a:r>
          </a:p>
        </p:txBody>
      </p:sp>
      <p:sp>
        <p:nvSpPr>
          <p:cNvPr id="36" name="Rectángulo">
            <a:extLst>
              <a:ext uri="{FF2B5EF4-FFF2-40B4-BE49-F238E27FC236}">
                <a16:creationId xmlns:a16="http://schemas.microsoft.com/office/drawing/2014/main" xmlns="" id="{43BC13CA-7E2D-6E45-8712-486D874903DD}"/>
              </a:ext>
            </a:extLst>
          </p:cNvPr>
          <p:cNvSpPr/>
          <p:nvPr/>
        </p:nvSpPr>
        <p:spPr>
          <a:xfrm>
            <a:off x="8157974" y="3409803"/>
            <a:ext cx="3635963" cy="5621537"/>
          </a:xfrm>
          <a:prstGeom prst="rect">
            <a:avLst/>
          </a:prstGeom>
          <a:solidFill>
            <a:schemeClr val="accent3">
              <a:lumMod val="20000"/>
              <a:lumOff val="80000"/>
            </a:schemeClr>
          </a:solidFill>
          <a:ln w="12700">
            <a:noFill/>
            <a:miter lim="400000"/>
          </a:ln>
        </p:spPr>
        <p:txBody>
          <a:bodyPr lIns="32927" tIns="32927" rIns="32927" bIns="32927" anchor="ctr"/>
          <a:lstStyle/>
          <a:p>
            <a:pPr algn="ctr" defTabSz="1184307">
              <a:defRPr sz="3600">
                <a:solidFill>
                  <a:srgbClr val="FFFFFF"/>
                </a:solidFill>
                <a:latin typeface="Arial"/>
                <a:ea typeface="Arial"/>
                <a:cs typeface="Arial"/>
                <a:sym typeface="Arial"/>
              </a:defRPr>
            </a:pPr>
            <a:endParaRPr sz="4667">
              <a:solidFill>
                <a:srgbClr val="FFFFFF"/>
              </a:solidFill>
              <a:ea typeface="Arial"/>
              <a:cs typeface="Arial"/>
              <a:sym typeface="Arial"/>
            </a:endParaRPr>
          </a:p>
        </p:txBody>
      </p:sp>
      <p:sp>
        <p:nvSpPr>
          <p:cNvPr id="37" name="Marcador de texto 7">
            <a:extLst>
              <a:ext uri="{FF2B5EF4-FFF2-40B4-BE49-F238E27FC236}">
                <a16:creationId xmlns:a16="http://schemas.microsoft.com/office/drawing/2014/main" xmlns="" id="{B61C247D-37DA-1141-B436-E9CA5E4D938A}"/>
              </a:ext>
            </a:extLst>
          </p:cNvPr>
          <p:cNvSpPr>
            <a:spLocks noGrp="1"/>
          </p:cNvSpPr>
          <p:nvPr>
            <p:ph type="body" sz="quarter" idx="24" hasCustomPrompt="1"/>
          </p:nvPr>
        </p:nvSpPr>
        <p:spPr>
          <a:xfrm>
            <a:off x="8479609" y="3767431"/>
            <a:ext cx="1670834" cy="671806"/>
          </a:xfrm>
          <a:prstGeom prst="rect">
            <a:avLst/>
          </a:prstGeom>
        </p:spPr>
        <p:txBody>
          <a:bodyPr/>
          <a:lstStyle>
            <a:lvl1pPr marL="0" indent="0">
              <a:buNone/>
              <a:defRPr sz="3111"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a:t>
            </a:r>
            <a:endParaRPr lang="es-CL" dirty="0"/>
          </a:p>
        </p:txBody>
      </p:sp>
      <p:sp>
        <p:nvSpPr>
          <p:cNvPr id="38" name="Marcador de texto 7">
            <a:extLst>
              <a:ext uri="{FF2B5EF4-FFF2-40B4-BE49-F238E27FC236}">
                <a16:creationId xmlns:a16="http://schemas.microsoft.com/office/drawing/2014/main" xmlns="" id="{BBA61BC9-7FB0-9C4F-B8DC-AC4C5F1DD8DE}"/>
              </a:ext>
            </a:extLst>
          </p:cNvPr>
          <p:cNvSpPr>
            <a:spLocks noGrp="1"/>
          </p:cNvSpPr>
          <p:nvPr>
            <p:ph type="body" sz="quarter" idx="25" hasCustomPrompt="1"/>
          </p:nvPr>
        </p:nvSpPr>
        <p:spPr>
          <a:xfrm>
            <a:off x="8479609" y="4500946"/>
            <a:ext cx="3105376" cy="1627337"/>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r>
              <a:rPr lang="es-CL" dirty="0"/>
              <a:t>Texto explicativo</a:t>
            </a:r>
          </a:p>
          <a:p>
            <a:r>
              <a:rPr lang="es-CL" dirty="0"/>
              <a:t>Arial 11</a:t>
            </a:r>
          </a:p>
        </p:txBody>
      </p:sp>
      <p:sp>
        <p:nvSpPr>
          <p:cNvPr id="44" name="Marcador de posición de imagen 2">
            <a:extLst>
              <a:ext uri="{FF2B5EF4-FFF2-40B4-BE49-F238E27FC236}">
                <a16:creationId xmlns:a16="http://schemas.microsoft.com/office/drawing/2014/main" xmlns="" id="{57D13356-69C7-2542-A744-E65AE47B81E2}"/>
              </a:ext>
            </a:extLst>
          </p:cNvPr>
          <p:cNvSpPr>
            <a:spLocks noGrp="1"/>
          </p:cNvSpPr>
          <p:nvPr>
            <p:ph type="pic" sz="quarter" idx="26" hasCustomPrompt="1"/>
          </p:nvPr>
        </p:nvSpPr>
        <p:spPr>
          <a:xfrm>
            <a:off x="8479597" y="6368505"/>
            <a:ext cx="3105388" cy="1923158"/>
          </a:xfrm>
          <a:prstGeom prst="rect">
            <a:avLst/>
          </a:prstGeom>
        </p:spPr>
        <p:txBody>
          <a:bodyPr/>
          <a:lstStyle>
            <a:lvl1pPr marL="0" indent="0">
              <a:buNone/>
              <a:defRPr sz="2074" b="0" i="0">
                <a:solidFill>
                  <a:schemeClr val="tx2"/>
                </a:solidFill>
                <a:latin typeface="Arial" panose="020B0604020202020204" pitchFamily="34" charset="0"/>
              </a:defRPr>
            </a:lvl1pPr>
          </a:lstStyle>
          <a:p>
            <a:r>
              <a:rPr lang="es-CL" dirty="0"/>
              <a:t>Doble click para incorporar una imagen</a:t>
            </a:r>
          </a:p>
        </p:txBody>
      </p:sp>
      <p:sp>
        <p:nvSpPr>
          <p:cNvPr id="45" name="Rectángulo">
            <a:extLst>
              <a:ext uri="{FF2B5EF4-FFF2-40B4-BE49-F238E27FC236}">
                <a16:creationId xmlns:a16="http://schemas.microsoft.com/office/drawing/2014/main" xmlns="" id="{8FB68190-D7E3-B141-817A-FAF1FE4B4632}"/>
              </a:ext>
            </a:extLst>
          </p:cNvPr>
          <p:cNvSpPr/>
          <p:nvPr/>
        </p:nvSpPr>
        <p:spPr>
          <a:xfrm>
            <a:off x="11950722" y="3409803"/>
            <a:ext cx="3635963" cy="5621537"/>
          </a:xfrm>
          <a:prstGeom prst="rect">
            <a:avLst/>
          </a:prstGeom>
          <a:solidFill>
            <a:schemeClr val="accent3">
              <a:lumMod val="20000"/>
              <a:lumOff val="80000"/>
            </a:schemeClr>
          </a:solidFill>
          <a:ln w="12700">
            <a:noFill/>
            <a:miter lim="400000"/>
          </a:ln>
        </p:spPr>
        <p:txBody>
          <a:bodyPr lIns="32927" tIns="32927" rIns="32927" bIns="32927" anchor="ctr"/>
          <a:lstStyle/>
          <a:p>
            <a:pPr algn="ctr" defTabSz="1184307">
              <a:defRPr sz="3600">
                <a:solidFill>
                  <a:srgbClr val="FFFFFF"/>
                </a:solidFill>
                <a:latin typeface="Arial"/>
                <a:ea typeface="Arial"/>
                <a:cs typeface="Arial"/>
                <a:sym typeface="Arial"/>
              </a:defRPr>
            </a:pPr>
            <a:endParaRPr sz="4667">
              <a:solidFill>
                <a:srgbClr val="FFFFFF"/>
              </a:solidFill>
              <a:ea typeface="Arial"/>
              <a:cs typeface="Arial"/>
              <a:sym typeface="Arial"/>
            </a:endParaRPr>
          </a:p>
        </p:txBody>
      </p:sp>
      <p:sp>
        <p:nvSpPr>
          <p:cNvPr id="46" name="Marcador de texto 7">
            <a:extLst>
              <a:ext uri="{FF2B5EF4-FFF2-40B4-BE49-F238E27FC236}">
                <a16:creationId xmlns:a16="http://schemas.microsoft.com/office/drawing/2014/main" xmlns="" id="{31421233-7F3D-574E-9B40-A3D57BE496C8}"/>
              </a:ext>
            </a:extLst>
          </p:cNvPr>
          <p:cNvSpPr>
            <a:spLocks noGrp="1"/>
          </p:cNvSpPr>
          <p:nvPr>
            <p:ph type="body" sz="quarter" idx="27" hasCustomPrompt="1"/>
          </p:nvPr>
        </p:nvSpPr>
        <p:spPr>
          <a:xfrm>
            <a:off x="12235533" y="3767431"/>
            <a:ext cx="1670834" cy="671806"/>
          </a:xfrm>
          <a:prstGeom prst="rect">
            <a:avLst/>
          </a:prstGeom>
        </p:spPr>
        <p:txBody>
          <a:bodyPr/>
          <a:lstStyle>
            <a:lvl1pPr marL="0" indent="0">
              <a:buNone/>
              <a:defRPr sz="3111"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a:t>
            </a:r>
            <a:endParaRPr lang="es-CL" dirty="0"/>
          </a:p>
        </p:txBody>
      </p:sp>
      <p:sp>
        <p:nvSpPr>
          <p:cNvPr id="47" name="Marcador de texto 7">
            <a:extLst>
              <a:ext uri="{FF2B5EF4-FFF2-40B4-BE49-F238E27FC236}">
                <a16:creationId xmlns:a16="http://schemas.microsoft.com/office/drawing/2014/main" xmlns="" id="{B2A73391-D262-9140-B309-BB12AA19FA1C}"/>
              </a:ext>
            </a:extLst>
          </p:cNvPr>
          <p:cNvSpPr>
            <a:spLocks noGrp="1"/>
          </p:cNvSpPr>
          <p:nvPr>
            <p:ph type="body" sz="quarter" idx="28" hasCustomPrompt="1"/>
          </p:nvPr>
        </p:nvSpPr>
        <p:spPr>
          <a:xfrm>
            <a:off x="12235534" y="4500946"/>
            <a:ext cx="3105376" cy="1627337"/>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r>
              <a:rPr lang="es-CL" dirty="0"/>
              <a:t>Texto explicativo</a:t>
            </a:r>
          </a:p>
          <a:p>
            <a:r>
              <a:rPr lang="es-CL" dirty="0"/>
              <a:t>Arial 11</a:t>
            </a:r>
          </a:p>
        </p:txBody>
      </p:sp>
      <p:sp>
        <p:nvSpPr>
          <p:cNvPr id="48" name="Marcador de posición de imagen 2">
            <a:extLst>
              <a:ext uri="{FF2B5EF4-FFF2-40B4-BE49-F238E27FC236}">
                <a16:creationId xmlns:a16="http://schemas.microsoft.com/office/drawing/2014/main" xmlns="" id="{45275E7E-6C59-1249-AD15-26DA1036953E}"/>
              </a:ext>
            </a:extLst>
          </p:cNvPr>
          <p:cNvSpPr>
            <a:spLocks noGrp="1"/>
          </p:cNvSpPr>
          <p:nvPr>
            <p:ph type="pic" sz="quarter" idx="29" hasCustomPrompt="1"/>
          </p:nvPr>
        </p:nvSpPr>
        <p:spPr>
          <a:xfrm>
            <a:off x="12235522" y="6368505"/>
            <a:ext cx="3105388" cy="1923158"/>
          </a:xfrm>
          <a:prstGeom prst="rect">
            <a:avLst/>
          </a:prstGeom>
        </p:spPr>
        <p:txBody>
          <a:bodyPr/>
          <a:lstStyle>
            <a:lvl1pPr marL="0" indent="0">
              <a:buNone/>
              <a:defRPr sz="2074" b="0" i="0">
                <a:solidFill>
                  <a:schemeClr val="tx2"/>
                </a:solidFill>
                <a:latin typeface="Arial" panose="020B0604020202020204" pitchFamily="34" charset="0"/>
              </a:defRPr>
            </a:lvl1pPr>
          </a:lstStyle>
          <a:p>
            <a:r>
              <a:rPr lang="es-CL" dirty="0"/>
              <a:t>Doble click para incorporar una imagen</a:t>
            </a:r>
          </a:p>
        </p:txBody>
      </p:sp>
      <p:sp>
        <p:nvSpPr>
          <p:cNvPr id="23" name="Marcador de texto 7">
            <a:extLst>
              <a:ext uri="{FF2B5EF4-FFF2-40B4-BE49-F238E27FC236}">
                <a16:creationId xmlns:a16="http://schemas.microsoft.com/office/drawing/2014/main" xmlns="" id="{49DD61A3-4460-0E4F-AE29-66DB80A74B7E}"/>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27" name="Marcador de texto 7">
            <a:extLst>
              <a:ext uri="{FF2B5EF4-FFF2-40B4-BE49-F238E27FC236}">
                <a16:creationId xmlns:a16="http://schemas.microsoft.com/office/drawing/2014/main" xmlns="" id="{9499727C-9474-DC4D-A7CF-4C679E3E6293}"/>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30" name="Conector recto 29">
            <a:extLst>
              <a:ext uri="{FF2B5EF4-FFF2-40B4-BE49-F238E27FC236}">
                <a16:creationId xmlns:a16="http://schemas.microsoft.com/office/drawing/2014/main" xmlns="" id="{8955A6C1-FBA1-4448-AD21-F5BAF615E907}"/>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4166226006"/>
      </p:ext>
    </p:extLst>
  </p:cSld>
  <p:clrMapOvr>
    <a:masterClrMapping/>
  </p:clrMapOvr>
  <p:extLst>
    <p:ext uri="{DCECCB84-F9BA-43D5-87BE-67443E8EF086}">
      <p15:sldGuideLst xmlns:p15="http://schemas.microsoft.com/office/powerpoint/2012/main">
        <p15:guide id="1" orient="horz" pos="2160">
          <p15:clr>
            <a:srgbClr val="FBAE40"/>
          </p15:clr>
        </p15:guide>
        <p15:guide id="2" pos="3874">
          <p15:clr>
            <a:srgbClr val="FBAE40"/>
          </p15:clr>
        </p15:guide>
        <p15:guide id="3" orient="horz" pos="1637">
          <p15:clr>
            <a:srgbClr val="FBAE40"/>
          </p15:clr>
        </p15:guide>
        <p15:guide id="4" pos="2071">
          <p15:clr>
            <a:srgbClr val="FBAE40"/>
          </p15:clr>
        </p15:guide>
        <p15:guide id="5" pos="5655">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5_texto con fot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C6F6EF54-31B0-E446-AA5A-A0BC24DEC563}"/>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15413"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5791700" y="2139049"/>
            <a:ext cx="9773216" cy="6097526"/>
          </a:xfrm>
          <a:prstGeom prst="rect">
            <a:avLst/>
          </a:prstGeom>
        </p:spPr>
        <p:txBody>
          <a:bodyPr/>
          <a:lstStyle>
            <a:lvl1pPr marL="0" indent="0">
              <a:buNone/>
              <a:defRPr b="0" i="0">
                <a:latin typeface="Arial" panose="020B0604020202020204" pitchFamily="34" charset="0"/>
              </a:defRPr>
            </a:lvl1pPr>
          </a:lstStyle>
          <a:p>
            <a:r>
              <a:rPr lang="es-CL" dirty="0"/>
              <a:t>Doble click para incorporar una imagen</a:t>
            </a:r>
          </a:p>
        </p:txBody>
      </p:sp>
      <p:sp>
        <p:nvSpPr>
          <p:cNvPr id="30" name="Marcador de posición de imagen 5">
            <a:extLst>
              <a:ext uri="{FF2B5EF4-FFF2-40B4-BE49-F238E27FC236}">
                <a16:creationId xmlns:a16="http://schemas.microsoft.com/office/drawing/2014/main" xmlns="" id="{57FDAB6D-EC3D-AD46-90D9-9F81574BB848}"/>
              </a:ext>
            </a:extLst>
          </p:cNvPr>
          <p:cNvSpPr>
            <a:spLocks noGrp="1"/>
          </p:cNvSpPr>
          <p:nvPr>
            <p:ph type="pic" sz="quarter" idx="11" hasCustomPrompt="1"/>
          </p:nvPr>
        </p:nvSpPr>
        <p:spPr>
          <a:xfrm>
            <a:off x="598625" y="2139051"/>
            <a:ext cx="4782764" cy="2934251"/>
          </a:xfrm>
          <a:prstGeom prst="rect">
            <a:avLst/>
          </a:prstGeom>
        </p:spPr>
        <p:txBody>
          <a:bodyPr/>
          <a:lstStyle>
            <a:lvl1pPr marL="0" indent="0">
              <a:buNone/>
              <a:defRPr sz="2592" b="0" i="0">
                <a:latin typeface="Arial" panose="020B0604020202020204" pitchFamily="34" charset="0"/>
              </a:defRPr>
            </a:lvl1pPr>
          </a:lstStyle>
          <a:p>
            <a:r>
              <a:rPr lang="es-CL" dirty="0"/>
              <a:t>Doble click para incorporar una imagen</a:t>
            </a:r>
          </a:p>
        </p:txBody>
      </p:sp>
      <p:sp>
        <p:nvSpPr>
          <p:cNvPr id="43" name="Marcador de posición de imagen 5">
            <a:extLst>
              <a:ext uri="{FF2B5EF4-FFF2-40B4-BE49-F238E27FC236}">
                <a16:creationId xmlns:a16="http://schemas.microsoft.com/office/drawing/2014/main" xmlns="" id="{2934B818-E267-2047-A000-A4E61AED2649}"/>
              </a:ext>
            </a:extLst>
          </p:cNvPr>
          <p:cNvSpPr>
            <a:spLocks noGrp="1"/>
          </p:cNvSpPr>
          <p:nvPr>
            <p:ph type="pic" sz="quarter" idx="12" hasCustomPrompt="1"/>
          </p:nvPr>
        </p:nvSpPr>
        <p:spPr>
          <a:xfrm>
            <a:off x="598625" y="5302324"/>
            <a:ext cx="4782764" cy="2934251"/>
          </a:xfrm>
          <a:prstGeom prst="rect">
            <a:avLst/>
          </a:prstGeom>
        </p:spPr>
        <p:txBody>
          <a:bodyPr/>
          <a:lstStyle>
            <a:lvl1pPr marL="0" indent="0">
              <a:buNone/>
              <a:defRPr sz="2592" b="0" i="0">
                <a:latin typeface="Arial" panose="020B0604020202020204" pitchFamily="34" charset="0"/>
              </a:defRPr>
            </a:lvl1pPr>
          </a:lstStyle>
          <a:p>
            <a:r>
              <a:rPr lang="es-CL" dirty="0"/>
              <a:t>Doble click para incorporar una imagen</a:t>
            </a:r>
          </a:p>
        </p:txBody>
      </p:sp>
      <p:sp>
        <p:nvSpPr>
          <p:cNvPr id="9" name="Marcador de texto 7">
            <a:extLst>
              <a:ext uri="{FF2B5EF4-FFF2-40B4-BE49-F238E27FC236}">
                <a16:creationId xmlns:a16="http://schemas.microsoft.com/office/drawing/2014/main" xmlns="" id="{AFCEC942-1AE9-A54D-A613-F2A385D8D3BE}"/>
              </a:ext>
            </a:extLst>
          </p:cNvPr>
          <p:cNvSpPr>
            <a:spLocks noGrp="1"/>
          </p:cNvSpPr>
          <p:nvPr>
            <p:ph type="body" sz="quarter" idx="14"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10" name="Marcador de texto 7">
            <a:extLst>
              <a:ext uri="{FF2B5EF4-FFF2-40B4-BE49-F238E27FC236}">
                <a16:creationId xmlns:a16="http://schemas.microsoft.com/office/drawing/2014/main" xmlns="" id="{35BD8E19-9D05-214B-8930-B30D6E030D28}"/>
              </a:ext>
            </a:extLst>
          </p:cNvPr>
          <p:cNvSpPr>
            <a:spLocks noGrp="1"/>
          </p:cNvSpPr>
          <p:nvPr>
            <p:ph type="body" sz="quarter" idx="15"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11" name="Conector recto 10">
            <a:extLst>
              <a:ext uri="{FF2B5EF4-FFF2-40B4-BE49-F238E27FC236}">
                <a16:creationId xmlns:a16="http://schemas.microsoft.com/office/drawing/2014/main" xmlns="" id="{EC1103B2-DBD8-8D43-88A1-B0AABE797C7B}"/>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a16="http://schemas.microsoft.com/office/drawing/2014/main" xmlns="" id="{FAE1C488-28F1-BC4A-B3BE-EB1F805AEA02}"/>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902436959"/>
      </p:ext>
    </p:extLst>
  </p:cSld>
  <p:clrMapOvr>
    <a:masterClrMapping/>
  </p:clrMapOvr>
  <p:extLst>
    <p:ext uri="{DCECCB84-F9BA-43D5-87BE-67443E8EF086}">
      <p15:sldGuideLst xmlns:p15="http://schemas.microsoft.com/office/powerpoint/2012/main">
        <p15:guide id="1" orient="horz" pos="3952">
          <p15:clr>
            <a:srgbClr val="FBAE40"/>
          </p15:clr>
        </p15:guide>
        <p15:guide id="2" pos="370">
          <p15:clr>
            <a:srgbClr val="FBAE40"/>
          </p15:clr>
        </p15:guide>
        <p15:guide id="3" orient="horz" pos="391">
          <p15:clr>
            <a:srgbClr val="FBAE40"/>
          </p15:clr>
        </p15:guide>
        <p15:guide id="4" pos="7378">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6_texto con foto">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780567" y="833438"/>
            <a:ext cx="9415318" cy="7378006"/>
          </a:xfrm>
          <a:prstGeom prst="rect">
            <a:avLst/>
          </a:prstGeom>
        </p:spPr>
        <p:txBody>
          <a:bodyPr/>
          <a:lstStyle>
            <a:lvl1pPr marL="0" indent="0">
              <a:buNone/>
              <a:defRPr sz="2334" b="0" i="0">
                <a:solidFill>
                  <a:schemeClr val="tx2"/>
                </a:solidFill>
                <a:latin typeface="Arial" panose="020B0604020202020204" pitchFamily="34" charset="0"/>
              </a:defRPr>
            </a:lvl1pPr>
          </a:lstStyle>
          <a:p>
            <a:r>
              <a:rPr lang="es-CL" dirty="0"/>
              <a:t>Doble click para incorporar una imagen</a:t>
            </a:r>
          </a:p>
        </p:txBody>
      </p:sp>
      <p:sp>
        <p:nvSpPr>
          <p:cNvPr id="30" name="Marcador de posición de imagen 5">
            <a:extLst>
              <a:ext uri="{FF2B5EF4-FFF2-40B4-BE49-F238E27FC236}">
                <a16:creationId xmlns:a16="http://schemas.microsoft.com/office/drawing/2014/main" xmlns="" id="{57FDAB6D-EC3D-AD46-90D9-9F81574BB848}"/>
              </a:ext>
            </a:extLst>
          </p:cNvPr>
          <p:cNvSpPr>
            <a:spLocks noGrp="1"/>
          </p:cNvSpPr>
          <p:nvPr>
            <p:ph type="pic" sz="quarter" idx="11" hasCustomPrompt="1"/>
          </p:nvPr>
        </p:nvSpPr>
        <p:spPr>
          <a:xfrm>
            <a:off x="10488070" y="833437"/>
            <a:ext cx="5101106" cy="3550444"/>
          </a:xfrm>
          <a:prstGeom prst="rect">
            <a:avLst/>
          </a:prstGeom>
        </p:spPr>
        <p:txBody>
          <a:bodyPr/>
          <a:lstStyle>
            <a:lvl1pPr marL="0" indent="0">
              <a:buNone/>
              <a:defRPr sz="2334" b="0" i="0">
                <a:solidFill>
                  <a:schemeClr val="tx2"/>
                </a:solidFill>
                <a:latin typeface="Arial" panose="020B0604020202020204" pitchFamily="34" charset="0"/>
              </a:defRPr>
            </a:lvl1pPr>
          </a:lstStyle>
          <a:p>
            <a:r>
              <a:rPr lang="es-CL" dirty="0"/>
              <a:t>Doble click para incorporar una imagen</a:t>
            </a:r>
          </a:p>
        </p:txBody>
      </p:sp>
      <p:sp>
        <p:nvSpPr>
          <p:cNvPr id="43" name="Marcador de posición de imagen 5">
            <a:extLst>
              <a:ext uri="{FF2B5EF4-FFF2-40B4-BE49-F238E27FC236}">
                <a16:creationId xmlns:a16="http://schemas.microsoft.com/office/drawing/2014/main" xmlns="" id="{2934B818-E267-2047-A000-A4E61AED2649}"/>
              </a:ext>
            </a:extLst>
          </p:cNvPr>
          <p:cNvSpPr>
            <a:spLocks noGrp="1"/>
          </p:cNvSpPr>
          <p:nvPr>
            <p:ph type="pic" sz="quarter" idx="12" hasCustomPrompt="1"/>
          </p:nvPr>
        </p:nvSpPr>
        <p:spPr>
          <a:xfrm>
            <a:off x="10488070" y="4661000"/>
            <a:ext cx="5101106" cy="3550444"/>
          </a:xfrm>
          <a:prstGeom prst="rect">
            <a:avLst/>
          </a:prstGeom>
        </p:spPr>
        <p:txBody>
          <a:bodyPr/>
          <a:lstStyle>
            <a:lvl1pPr marL="0" indent="0">
              <a:buNone/>
              <a:defRPr sz="2334" b="0" i="0">
                <a:solidFill>
                  <a:schemeClr val="tx2"/>
                </a:solidFill>
                <a:latin typeface="Arial" panose="020B0604020202020204" pitchFamily="34" charset="0"/>
              </a:defRPr>
            </a:lvl1pPr>
          </a:lstStyle>
          <a:p>
            <a:r>
              <a:rPr lang="es-CL" dirty="0"/>
              <a:t>Doble click para incorporar una imagen</a:t>
            </a:r>
          </a:p>
        </p:txBody>
      </p:sp>
      <p:sp>
        <p:nvSpPr>
          <p:cNvPr id="6" name="Marcador de número de diapositiva 1">
            <a:extLst>
              <a:ext uri="{FF2B5EF4-FFF2-40B4-BE49-F238E27FC236}">
                <a16:creationId xmlns:a16="http://schemas.microsoft.com/office/drawing/2014/main" xmlns="" id="{3BA05981-6B56-E54C-96D4-EC7E4C86AE1A}"/>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3526058097"/>
      </p:ext>
    </p:extLst>
  </p:cSld>
  <p:clrMapOvr>
    <a:masterClrMapping/>
  </p:clrMapOvr>
  <p:extLst>
    <p:ext uri="{DCECCB84-F9BA-43D5-87BE-67443E8EF086}">
      <p15:sldGuideLst xmlns:p15="http://schemas.microsoft.com/office/powerpoint/2012/main">
        <p15:guide id="1" orient="horz" pos="3952">
          <p15:clr>
            <a:srgbClr val="FBAE40"/>
          </p15:clr>
        </p15:guide>
        <p15:guide id="2" pos="370">
          <p15:clr>
            <a:srgbClr val="FBAE40"/>
          </p15:clr>
        </p15:guide>
        <p15:guide id="3" orient="horz" pos="391">
          <p15:clr>
            <a:srgbClr val="FBAE40"/>
          </p15:clr>
        </p15:guide>
        <p15:guide id="4" pos="739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4_texto con foto">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0" y="0"/>
            <a:ext cx="16202025" cy="9001125"/>
          </a:xfrm>
          <a:prstGeom prst="rect">
            <a:avLst/>
          </a:prstGeom>
        </p:spPr>
        <p:txBody>
          <a:bodyPr/>
          <a:lstStyle>
            <a:lvl1pPr marL="0" indent="0">
              <a:buNone/>
              <a:defRPr sz="2334" b="0" i="0">
                <a:solidFill>
                  <a:schemeClr val="tx2"/>
                </a:solidFill>
                <a:latin typeface="Arial" panose="020B0604020202020204" pitchFamily="34" charset="0"/>
              </a:defRPr>
            </a:lvl1pPr>
          </a:lstStyle>
          <a:p>
            <a:r>
              <a:rPr lang="es-CL" dirty="0"/>
              <a:t>Doble click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597028" y="591742"/>
            <a:ext cx="9529239" cy="541955"/>
          </a:xfrm>
          <a:prstGeom prst="rect">
            <a:avLst/>
          </a:prstGeom>
        </p:spPr>
        <p:txBody>
          <a:bodyPr/>
          <a:lstStyle>
            <a:lvl1pPr marL="0" indent="0">
              <a:buNone/>
              <a:defRPr sz="3111" b="1" i="0">
                <a:solidFill>
                  <a:schemeClr val="bg1"/>
                </a:solidFill>
                <a:highlight>
                  <a:srgbClr val="008000"/>
                </a:highlight>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 </a:t>
            </a:r>
            <a:endParaRPr lang="es-CL" dirty="0"/>
          </a:p>
        </p:txBody>
      </p:sp>
      <p:sp>
        <p:nvSpPr>
          <p:cNvPr id="6" name="Marcador de número de diapositiva 1">
            <a:extLst>
              <a:ext uri="{FF2B5EF4-FFF2-40B4-BE49-F238E27FC236}">
                <a16:creationId xmlns:a16="http://schemas.microsoft.com/office/drawing/2014/main" xmlns="" id="{FC5BAB54-FEEB-5440-A0A2-776A5D9CA13D}"/>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2990081461"/>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Lámina blanca">
    <p:spTree>
      <p:nvGrpSpPr>
        <p:cNvPr id="1" name=""/>
        <p:cNvGrpSpPr/>
        <p:nvPr/>
      </p:nvGrpSpPr>
      <p:grpSpPr>
        <a:xfrm>
          <a:off x="0" y="0"/>
          <a:ext cx="0" cy="0"/>
          <a:chOff x="0" y="0"/>
          <a:chExt cx="0" cy="0"/>
        </a:xfrm>
      </p:grpSpPr>
      <p:sp>
        <p:nvSpPr>
          <p:cNvPr id="3" name="Marcador de número de diapositiva 1">
            <a:extLst>
              <a:ext uri="{FF2B5EF4-FFF2-40B4-BE49-F238E27FC236}">
                <a16:creationId xmlns:a16="http://schemas.microsoft.com/office/drawing/2014/main" xmlns="" id="{3C0247E7-4182-5B4E-8717-D135BE50D6E5}"/>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937230003"/>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tx" preserve="1">
  <p:cSld name="Verde Achs_sin logo">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70206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x" preserve="1">
  <p:cSld name="Verde Achs2_sin logo">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847201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_Verde Achs2_sin logo">
    <p:bg>
      <p:bgPr>
        <a:solidFill>
          <a:schemeClr val="bg2"/>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xmlns="" id="{B84DB78E-B884-3E48-915E-C5765A8E5FD6}"/>
              </a:ext>
            </a:extLst>
          </p:cNvPr>
          <p:cNvSpPr>
            <a:spLocks noGrp="1"/>
          </p:cNvSpPr>
          <p:nvPr>
            <p:ph type="ftr" sz="quarter" idx="11"/>
          </p:nvPr>
        </p:nvSpPr>
        <p:spPr>
          <a:xfrm>
            <a:off x="597029" y="8485692"/>
            <a:ext cx="9033335" cy="479227"/>
          </a:xfrm>
          <a:prstGeom prst="rect">
            <a:avLst/>
          </a:prstGeom>
        </p:spPr>
        <p:txBody>
          <a:bodyPr anchor="t"/>
          <a:lstStyle>
            <a:lvl1pPr>
              <a:defRPr sz="1167">
                <a:solidFill>
                  <a:schemeClr val="bg1"/>
                </a:solidFill>
                <a:latin typeface="Arial" panose="020B0604020202020204" pitchFamily="34" charset="0"/>
                <a:cs typeface="Arial" panose="020B0604020202020204" pitchFamily="34" charset="0"/>
              </a:defRPr>
            </a:lvl1pPr>
          </a:lstStyle>
          <a:p>
            <a:endParaRPr lang="es-CL">
              <a:solidFill>
                <a:srgbClr val="FFFFFF"/>
              </a:solidFill>
            </a:endParaRPr>
          </a:p>
        </p:txBody>
      </p:sp>
      <p:sp>
        <p:nvSpPr>
          <p:cNvPr id="3" name="Slide Number Placeholder 3">
            <a:extLst>
              <a:ext uri="{FF2B5EF4-FFF2-40B4-BE49-F238E27FC236}">
                <a16:creationId xmlns:a16="http://schemas.microsoft.com/office/drawing/2014/main" xmlns="" id="{EDDDFC07-DD8C-7342-A814-425AA0514ADD}"/>
              </a:ext>
            </a:extLst>
          </p:cNvPr>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
        <p:nvSpPr>
          <p:cNvPr id="4" name="Marcador de texto 7">
            <a:extLst>
              <a:ext uri="{FF2B5EF4-FFF2-40B4-BE49-F238E27FC236}">
                <a16:creationId xmlns:a16="http://schemas.microsoft.com/office/drawing/2014/main" xmlns="" id="{3C264635-3521-4B42-ABE7-E1B51E0907F6}"/>
              </a:ext>
            </a:extLst>
          </p:cNvPr>
          <p:cNvSpPr>
            <a:spLocks noGrp="1"/>
          </p:cNvSpPr>
          <p:nvPr>
            <p:ph type="body" sz="quarter" idx="13" hasCustomPrompt="1"/>
          </p:nvPr>
        </p:nvSpPr>
        <p:spPr>
          <a:xfrm>
            <a:off x="597028" y="591742"/>
            <a:ext cx="9529239" cy="541955"/>
          </a:xfrm>
          <a:prstGeom prst="rect">
            <a:avLst/>
          </a:prstGeom>
        </p:spPr>
        <p:txBody>
          <a:bodyPr anchor="t"/>
          <a:lstStyle>
            <a:lvl1pPr marL="0" indent="0">
              <a:lnSpc>
                <a:spcPct val="90000"/>
              </a:lnSpc>
              <a:spcBef>
                <a:spcPts val="389"/>
              </a:spcBef>
              <a:spcAft>
                <a:spcPts val="389"/>
              </a:spcAft>
              <a:buNone/>
              <a:defRPr sz="3111" b="1">
                <a:solidFill>
                  <a:schemeClr val="tx1"/>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5" name="Marcador de texto 7">
            <a:extLst>
              <a:ext uri="{FF2B5EF4-FFF2-40B4-BE49-F238E27FC236}">
                <a16:creationId xmlns:a16="http://schemas.microsoft.com/office/drawing/2014/main" xmlns="" id="{6C7C5B58-FE52-D646-8F45-D4D7894EA219}"/>
              </a:ext>
            </a:extLst>
          </p:cNvPr>
          <p:cNvSpPr>
            <a:spLocks noGrp="1"/>
          </p:cNvSpPr>
          <p:nvPr>
            <p:ph type="body" sz="quarter" idx="14" hasCustomPrompt="1"/>
          </p:nvPr>
        </p:nvSpPr>
        <p:spPr>
          <a:xfrm>
            <a:off x="597028" y="1131775"/>
            <a:ext cx="9529239" cy="467620"/>
          </a:xfrm>
          <a:prstGeom prst="rect">
            <a:avLst/>
          </a:prstGeom>
        </p:spPr>
        <p:txBody>
          <a:bodyPr anchor="t"/>
          <a:lstStyle>
            <a:lvl1pPr marL="0" indent="0">
              <a:lnSpc>
                <a:spcPct val="90000"/>
              </a:lnSpc>
              <a:spcBef>
                <a:spcPts val="389"/>
              </a:spcBef>
              <a:spcAft>
                <a:spcPts val="389"/>
              </a:spcAft>
              <a:buNone/>
              <a:defRPr sz="2334" b="0">
                <a:solidFill>
                  <a:schemeClr val="bg1"/>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6" name="Conector recto 5">
            <a:extLst>
              <a:ext uri="{FF2B5EF4-FFF2-40B4-BE49-F238E27FC236}">
                <a16:creationId xmlns:a16="http://schemas.microsoft.com/office/drawing/2014/main" xmlns="" id="{10BA23C3-EC8E-4742-B2AB-1D1BC21F7B28}"/>
              </a:ext>
            </a:extLst>
          </p:cNvPr>
          <p:cNvCxnSpPr>
            <a:cxnSpLocks/>
          </p:cNvCxnSpPr>
          <p:nvPr/>
        </p:nvCxnSpPr>
        <p:spPr>
          <a:xfrm>
            <a:off x="739560" y="1632116"/>
            <a:ext cx="1435219"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7" name="Imagen 6">
            <a:extLst>
              <a:ext uri="{FF2B5EF4-FFF2-40B4-BE49-F238E27FC236}">
                <a16:creationId xmlns:a16="http://schemas.microsoft.com/office/drawing/2014/main" xmlns="" id="{11FA269D-9EDF-6148-B584-6D89468117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Tree>
    <p:extLst>
      <p:ext uri="{BB962C8B-B14F-4D97-AF65-F5344CB8AC3E}">
        <p14:creationId xmlns:p14="http://schemas.microsoft.com/office/powerpoint/2010/main" val="508900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73953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_Verde Achs2_sin logo">
    <p:bg>
      <p:bgPr>
        <a:solidFill>
          <a:schemeClr val="accent1"/>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xmlns="" id="{B84DB78E-B884-3E48-915E-C5765A8E5FD6}"/>
              </a:ext>
            </a:extLst>
          </p:cNvPr>
          <p:cNvSpPr>
            <a:spLocks noGrp="1"/>
          </p:cNvSpPr>
          <p:nvPr>
            <p:ph type="ftr" sz="quarter" idx="11"/>
          </p:nvPr>
        </p:nvSpPr>
        <p:spPr>
          <a:xfrm>
            <a:off x="597029" y="8485692"/>
            <a:ext cx="9033335" cy="479227"/>
          </a:xfrm>
          <a:prstGeom prst="rect">
            <a:avLst/>
          </a:prstGeom>
        </p:spPr>
        <p:txBody>
          <a:bodyPr anchor="t"/>
          <a:lstStyle>
            <a:lvl1pPr>
              <a:defRPr sz="1167">
                <a:solidFill>
                  <a:schemeClr val="bg1"/>
                </a:solidFill>
                <a:latin typeface="Arial" panose="020B0604020202020204" pitchFamily="34" charset="0"/>
                <a:cs typeface="Arial" panose="020B0604020202020204" pitchFamily="34" charset="0"/>
              </a:defRPr>
            </a:lvl1pPr>
          </a:lstStyle>
          <a:p>
            <a:endParaRPr lang="es-CL">
              <a:solidFill>
                <a:srgbClr val="FFFFFF"/>
              </a:solidFill>
            </a:endParaRPr>
          </a:p>
        </p:txBody>
      </p:sp>
      <p:sp>
        <p:nvSpPr>
          <p:cNvPr id="3" name="Slide Number Placeholder 3">
            <a:extLst>
              <a:ext uri="{FF2B5EF4-FFF2-40B4-BE49-F238E27FC236}">
                <a16:creationId xmlns:a16="http://schemas.microsoft.com/office/drawing/2014/main" xmlns="" id="{EDDDFC07-DD8C-7342-A814-425AA0514ADD}"/>
              </a:ext>
            </a:extLst>
          </p:cNvPr>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accent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F2E500"/>
                </a:solidFill>
              </a:rPr>
              <a:pPr/>
              <a:t>‹Nº›</a:t>
            </a:fld>
            <a:endParaRPr lang="es-CL">
              <a:solidFill>
                <a:srgbClr val="F2E500"/>
              </a:solidFill>
            </a:endParaRPr>
          </a:p>
        </p:txBody>
      </p:sp>
      <p:sp>
        <p:nvSpPr>
          <p:cNvPr id="4" name="Marcador de texto 7">
            <a:extLst>
              <a:ext uri="{FF2B5EF4-FFF2-40B4-BE49-F238E27FC236}">
                <a16:creationId xmlns:a16="http://schemas.microsoft.com/office/drawing/2014/main" xmlns="" id="{3C264635-3521-4B42-ABE7-E1B51E0907F6}"/>
              </a:ext>
            </a:extLst>
          </p:cNvPr>
          <p:cNvSpPr>
            <a:spLocks noGrp="1"/>
          </p:cNvSpPr>
          <p:nvPr>
            <p:ph type="body" sz="quarter" idx="13" hasCustomPrompt="1"/>
          </p:nvPr>
        </p:nvSpPr>
        <p:spPr>
          <a:xfrm>
            <a:off x="597028" y="591742"/>
            <a:ext cx="9529239" cy="541955"/>
          </a:xfrm>
          <a:prstGeom prst="rect">
            <a:avLst/>
          </a:prstGeom>
        </p:spPr>
        <p:txBody>
          <a:bodyPr/>
          <a:lstStyle>
            <a:lvl1pPr marL="0" indent="0">
              <a:lnSpc>
                <a:spcPct val="90000"/>
              </a:lnSpc>
              <a:spcBef>
                <a:spcPts val="0"/>
              </a:spcBef>
              <a:buNone/>
              <a:defRPr sz="3111" b="1">
                <a:solidFill>
                  <a:schemeClr val="accent2"/>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5" name="Marcador de texto 7">
            <a:extLst>
              <a:ext uri="{FF2B5EF4-FFF2-40B4-BE49-F238E27FC236}">
                <a16:creationId xmlns:a16="http://schemas.microsoft.com/office/drawing/2014/main" xmlns="" id="{6C7C5B58-FE52-D646-8F45-D4D7894EA219}"/>
              </a:ext>
            </a:extLst>
          </p:cNvPr>
          <p:cNvSpPr>
            <a:spLocks noGrp="1"/>
          </p:cNvSpPr>
          <p:nvPr>
            <p:ph type="body" sz="quarter" idx="14" hasCustomPrompt="1"/>
          </p:nvPr>
        </p:nvSpPr>
        <p:spPr>
          <a:xfrm>
            <a:off x="597028" y="1131775"/>
            <a:ext cx="9529239" cy="467620"/>
          </a:xfrm>
          <a:prstGeom prst="rect">
            <a:avLst/>
          </a:prstGeom>
        </p:spPr>
        <p:txBody>
          <a:bodyPr/>
          <a:lstStyle>
            <a:lvl1pPr marL="0" indent="0">
              <a:lnSpc>
                <a:spcPct val="90000"/>
              </a:lnSpc>
              <a:spcBef>
                <a:spcPts val="0"/>
              </a:spcBef>
              <a:buNone/>
              <a:defRPr sz="2334" b="0">
                <a:solidFill>
                  <a:schemeClr val="bg1"/>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6" name="Conector recto 5">
            <a:extLst>
              <a:ext uri="{FF2B5EF4-FFF2-40B4-BE49-F238E27FC236}">
                <a16:creationId xmlns:a16="http://schemas.microsoft.com/office/drawing/2014/main" xmlns="" id="{10BA23C3-EC8E-4742-B2AB-1D1BC21F7B28}"/>
              </a:ext>
            </a:extLst>
          </p:cNvPr>
          <p:cNvCxnSpPr>
            <a:cxnSpLocks/>
          </p:cNvCxnSpPr>
          <p:nvPr/>
        </p:nvCxnSpPr>
        <p:spPr>
          <a:xfrm>
            <a:off x="739560" y="1632116"/>
            <a:ext cx="1435219"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7" name="Imagen 6">
            <a:extLst>
              <a:ext uri="{FF2B5EF4-FFF2-40B4-BE49-F238E27FC236}">
                <a16:creationId xmlns:a16="http://schemas.microsoft.com/office/drawing/2014/main" xmlns="" id="{11FA269D-9EDF-6148-B584-6D89468117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9" name="Marcador de texto 2">
            <a:extLst>
              <a:ext uri="{FF2B5EF4-FFF2-40B4-BE49-F238E27FC236}">
                <a16:creationId xmlns:a16="http://schemas.microsoft.com/office/drawing/2014/main" xmlns="" id="{B1B8B29D-B62C-374F-BB05-2C31E0897B9B}"/>
              </a:ext>
            </a:extLst>
          </p:cNvPr>
          <p:cNvSpPr>
            <a:spLocks noGrp="1"/>
          </p:cNvSpPr>
          <p:nvPr>
            <p:ph type="body" sz="quarter" idx="15" hasCustomPrompt="1"/>
          </p:nvPr>
        </p:nvSpPr>
        <p:spPr>
          <a:xfrm>
            <a:off x="8101013" y="2127352"/>
            <a:ext cx="7493438"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1815" b="0" i="0">
                <a:solidFill>
                  <a:schemeClr val="bg1"/>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chemeClr val="bg1"/>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chemeClr val="bg1"/>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chemeClr val="bg1"/>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chemeClr val="bg1"/>
                </a:solidFill>
                <a:latin typeface="Arial" panose="020B0604020202020204" pitchFamily="34" charset="0"/>
              </a:defRPr>
            </a:lvl5pPr>
          </a:lstStyle>
          <a:p>
            <a:pPr lvl="0"/>
            <a:r>
              <a:rPr lang="es-ES" dirty="0"/>
              <a:t>Párrafo sólo texto Arial 14</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Tree>
    <p:extLst>
      <p:ext uri="{BB962C8B-B14F-4D97-AF65-F5344CB8AC3E}">
        <p14:creationId xmlns:p14="http://schemas.microsoft.com/office/powerpoint/2010/main" val="294344175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3_Verde Achs2_sin logo">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xmlns="" id="{B84DB78E-B884-3E48-915E-C5765A8E5FD6}"/>
              </a:ext>
            </a:extLst>
          </p:cNvPr>
          <p:cNvSpPr>
            <a:spLocks noGrp="1"/>
          </p:cNvSpPr>
          <p:nvPr>
            <p:ph type="ftr" sz="quarter" idx="11"/>
          </p:nvPr>
        </p:nvSpPr>
        <p:spPr>
          <a:xfrm>
            <a:off x="597029" y="8485692"/>
            <a:ext cx="9033335" cy="479227"/>
          </a:xfrm>
          <a:prstGeom prst="rect">
            <a:avLst/>
          </a:prstGeom>
        </p:spPr>
        <p:txBody>
          <a:bodyPr anchor="t"/>
          <a:lstStyle>
            <a:lvl1pPr>
              <a:defRPr sz="1167">
                <a:solidFill>
                  <a:srgbClr val="004D53"/>
                </a:solidFill>
                <a:latin typeface="Arial" panose="020B0604020202020204" pitchFamily="34" charset="0"/>
                <a:cs typeface="Arial" panose="020B0604020202020204" pitchFamily="34" charset="0"/>
              </a:defRPr>
            </a:lvl1pPr>
          </a:lstStyle>
          <a:p>
            <a:endParaRPr lang="es-CL"/>
          </a:p>
        </p:txBody>
      </p:sp>
      <p:sp>
        <p:nvSpPr>
          <p:cNvPr id="3" name="Slide Number Placeholder 3">
            <a:extLst>
              <a:ext uri="{FF2B5EF4-FFF2-40B4-BE49-F238E27FC236}">
                <a16:creationId xmlns:a16="http://schemas.microsoft.com/office/drawing/2014/main" xmlns="" id="{EDDDFC07-DD8C-7342-A814-425AA0514ADD}"/>
              </a:ext>
            </a:extLst>
          </p:cNvPr>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
        <p:nvSpPr>
          <p:cNvPr id="4" name="Marcador de texto 7">
            <a:extLst>
              <a:ext uri="{FF2B5EF4-FFF2-40B4-BE49-F238E27FC236}">
                <a16:creationId xmlns:a16="http://schemas.microsoft.com/office/drawing/2014/main" xmlns="" id="{3C264635-3521-4B42-ABE7-E1B51E0907F6}"/>
              </a:ext>
            </a:extLst>
          </p:cNvPr>
          <p:cNvSpPr>
            <a:spLocks noGrp="1"/>
          </p:cNvSpPr>
          <p:nvPr>
            <p:ph type="body" sz="quarter" idx="13" hasCustomPrompt="1"/>
          </p:nvPr>
        </p:nvSpPr>
        <p:spPr>
          <a:xfrm>
            <a:off x="597028" y="591742"/>
            <a:ext cx="9529239" cy="541955"/>
          </a:xfrm>
          <a:prstGeom prst="rect">
            <a:avLst/>
          </a:prstGeom>
        </p:spPr>
        <p:txBody>
          <a:bodyPr/>
          <a:lstStyle>
            <a:lvl1pPr marL="0" indent="0">
              <a:lnSpc>
                <a:spcPct val="90000"/>
              </a:lnSpc>
              <a:spcBef>
                <a:spcPts val="0"/>
              </a:spcBef>
              <a:buNone/>
              <a:defRPr sz="3111" b="1">
                <a:solidFill>
                  <a:schemeClr val="tx1"/>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5" name="Marcador de texto 7">
            <a:extLst>
              <a:ext uri="{FF2B5EF4-FFF2-40B4-BE49-F238E27FC236}">
                <a16:creationId xmlns:a16="http://schemas.microsoft.com/office/drawing/2014/main" xmlns="" id="{6C7C5B58-FE52-D646-8F45-D4D7894EA219}"/>
              </a:ext>
            </a:extLst>
          </p:cNvPr>
          <p:cNvSpPr>
            <a:spLocks noGrp="1"/>
          </p:cNvSpPr>
          <p:nvPr>
            <p:ph type="body" sz="quarter" idx="14" hasCustomPrompt="1"/>
          </p:nvPr>
        </p:nvSpPr>
        <p:spPr>
          <a:xfrm>
            <a:off x="597028" y="1131775"/>
            <a:ext cx="9529239" cy="467620"/>
          </a:xfrm>
          <a:prstGeom prst="rect">
            <a:avLst/>
          </a:prstGeom>
        </p:spPr>
        <p:txBody>
          <a:bodyPr/>
          <a:lstStyle>
            <a:lvl1pPr marL="0" indent="0">
              <a:lnSpc>
                <a:spcPct val="90000"/>
              </a:lnSpc>
              <a:spcBef>
                <a:spcPts val="0"/>
              </a:spcBef>
              <a:buNone/>
              <a:defRPr sz="2334" b="0">
                <a:solidFill>
                  <a:schemeClr val="bg2"/>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6" name="Conector recto 5">
            <a:extLst>
              <a:ext uri="{FF2B5EF4-FFF2-40B4-BE49-F238E27FC236}">
                <a16:creationId xmlns:a16="http://schemas.microsoft.com/office/drawing/2014/main" xmlns="" id="{10BA23C3-EC8E-4742-B2AB-1D1BC21F7B28}"/>
              </a:ext>
            </a:extLst>
          </p:cNvPr>
          <p:cNvCxnSpPr>
            <a:cxnSpLocks/>
          </p:cNvCxnSpPr>
          <p:nvPr/>
        </p:nvCxnSpPr>
        <p:spPr>
          <a:xfrm>
            <a:off x="739560" y="1632116"/>
            <a:ext cx="1435219" cy="0"/>
          </a:xfrm>
          <a:prstGeom prst="line">
            <a:avLst/>
          </a:prstGeom>
          <a:noFill/>
          <a:ln w="22225" cap="flat">
            <a:solidFill>
              <a:srgbClr val="004D53"/>
            </a:solidFill>
            <a:prstDash val="solid"/>
            <a:miter lim="400000"/>
          </a:ln>
          <a:effectLst/>
          <a:sp3d/>
        </p:spPr>
        <p:style>
          <a:lnRef idx="0">
            <a:scrgbClr r="0" g="0" b="0"/>
          </a:lnRef>
          <a:fillRef idx="0">
            <a:scrgbClr r="0" g="0" b="0"/>
          </a:fillRef>
          <a:effectRef idx="0">
            <a:scrgbClr r="0" g="0" b="0"/>
          </a:effectRef>
          <a:fontRef idx="none"/>
        </p:style>
      </p:cxnSp>
      <p:pic>
        <p:nvPicPr>
          <p:cNvPr id="7" name="Imagen 6">
            <a:extLst>
              <a:ext uri="{FF2B5EF4-FFF2-40B4-BE49-F238E27FC236}">
                <a16:creationId xmlns:a16="http://schemas.microsoft.com/office/drawing/2014/main" xmlns="" id="{11FA269D-9EDF-6148-B584-6D89468117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8" name="Marcador de texto 2">
            <a:extLst>
              <a:ext uri="{FF2B5EF4-FFF2-40B4-BE49-F238E27FC236}">
                <a16:creationId xmlns:a16="http://schemas.microsoft.com/office/drawing/2014/main" xmlns="" id="{1A299CBF-BF7E-9C40-BB30-37728C3329A8}"/>
              </a:ext>
            </a:extLst>
          </p:cNvPr>
          <p:cNvSpPr>
            <a:spLocks noGrp="1"/>
          </p:cNvSpPr>
          <p:nvPr>
            <p:ph type="body" sz="quarter" idx="15" hasCustomPrompt="1"/>
          </p:nvPr>
        </p:nvSpPr>
        <p:spPr>
          <a:xfrm>
            <a:off x="8101013" y="2127352"/>
            <a:ext cx="7493438"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1815" b="0" i="0">
                <a:solidFill>
                  <a:srgbClr val="5F5F5F"/>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rgbClr val="5F5F5F"/>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rgbClr val="5F5F5F"/>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rgbClr val="5F5F5F"/>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rgbClr val="5F5F5F"/>
                </a:solidFill>
                <a:latin typeface="Arial" panose="020B0604020202020204" pitchFamily="34" charset="0"/>
              </a:defRPr>
            </a:lvl5pPr>
          </a:lstStyle>
          <a:p>
            <a:pPr lvl="0"/>
            <a:r>
              <a:rPr lang="es-ES" dirty="0"/>
              <a:t>Párrafo sólo texto Arial 14</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Tree>
    <p:extLst>
      <p:ext uri="{BB962C8B-B14F-4D97-AF65-F5344CB8AC3E}">
        <p14:creationId xmlns:p14="http://schemas.microsoft.com/office/powerpoint/2010/main" val="26670568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4_Verde Achs2_sin logo">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xmlns="" id="{B84DB78E-B884-3E48-915E-C5765A8E5FD6}"/>
              </a:ext>
            </a:extLst>
          </p:cNvPr>
          <p:cNvSpPr>
            <a:spLocks noGrp="1"/>
          </p:cNvSpPr>
          <p:nvPr>
            <p:ph type="ftr" sz="quarter" idx="11"/>
          </p:nvPr>
        </p:nvSpPr>
        <p:spPr>
          <a:xfrm>
            <a:off x="597029" y="8485692"/>
            <a:ext cx="9033335" cy="479227"/>
          </a:xfrm>
          <a:prstGeom prst="rect">
            <a:avLst/>
          </a:prstGeom>
        </p:spPr>
        <p:txBody>
          <a:bodyPr anchor="t"/>
          <a:lstStyle>
            <a:lvl1pPr algn="l">
              <a:defRPr sz="1167">
                <a:solidFill>
                  <a:srgbClr val="004D53"/>
                </a:solidFill>
                <a:latin typeface="Arial" panose="020B0604020202020204" pitchFamily="34" charset="0"/>
                <a:cs typeface="Arial" panose="020B0604020202020204" pitchFamily="34" charset="0"/>
              </a:defRPr>
            </a:lvl1pPr>
          </a:lstStyle>
          <a:p>
            <a:endParaRPr lang="es-CL"/>
          </a:p>
        </p:txBody>
      </p:sp>
      <p:sp>
        <p:nvSpPr>
          <p:cNvPr id="3" name="Slide Number Placeholder 3">
            <a:extLst>
              <a:ext uri="{FF2B5EF4-FFF2-40B4-BE49-F238E27FC236}">
                <a16:creationId xmlns:a16="http://schemas.microsoft.com/office/drawing/2014/main" xmlns="" id="{EDDDFC07-DD8C-7342-A814-425AA0514ADD}"/>
              </a:ext>
            </a:extLst>
          </p:cNvPr>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
        <p:nvSpPr>
          <p:cNvPr id="4" name="Marcador de texto 7">
            <a:extLst>
              <a:ext uri="{FF2B5EF4-FFF2-40B4-BE49-F238E27FC236}">
                <a16:creationId xmlns:a16="http://schemas.microsoft.com/office/drawing/2014/main" xmlns="" id="{3C264635-3521-4B42-ABE7-E1B51E0907F6}"/>
              </a:ext>
            </a:extLst>
          </p:cNvPr>
          <p:cNvSpPr>
            <a:spLocks noGrp="1"/>
          </p:cNvSpPr>
          <p:nvPr>
            <p:ph type="body" sz="quarter" idx="13" hasCustomPrompt="1"/>
          </p:nvPr>
        </p:nvSpPr>
        <p:spPr>
          <a:xfrm>
            <a:off x="597029" y="591742"/>
            <a:ext cx="11739405" cy="608409"/>
          </a:xfrm>
          <a:prstGeom prst="rect">
            <a:avLst/>
          </a:prstGeom>
        </p:spPr>
        <p:txBody>
          <a:bodyPr anchor="t"/>
          <a:lstStyle>
            <a:lvl1pPr marL="0" indent="0">
              <a:lnSpc>
                <a:spcPct val="90000"/>
              </a:lnSpc>
              <a:spcBef>
                <a:spcPts val="0"/>
              </a:spcBef>
              <a:buNone/>
              <a:defRPr sz="3150" b="1">
                <a:solidFill>
                  <a:schemeClr val="tx1"/>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5" name="Marcador de texto 7">
            <a:extLst>
              <a:ext uri="{FF2B5EF4-FFF2-40B4-BE49-F238E27FC236}">
                <a16:creationId xmlns:a16="http://schemas.microsoft.com/office/drawing/2014/main" xmlns="" id="{6C7C5B58-FE52-D646-8F45-D4D7894EA219}"/>
              </a:ext>
            </a:extLst>
          </p:cNvPr>
          <p:cNvSpPr>
            <a:spLocks noGrp="1"/>
          </p:cNvSpPr>
          <p:nvPr>
            <p:ph type="body" sz="quarter" idx="14" hasCustomPrompt="1"/>
          </p:nvPr>
        </p:nvSpPr>
        <p:spPr>
          <a:xfrm>
            <a:off x="597029" y="1131775"/>
            <a:ext cx="11739405" cy="550788"/>
          </a:xfrm>
          <a:prstGeom prst="rect">
            <a:avLst/>
          </a:prstGeom>
        </p:spPr>
        <p:txBody>
          <a:bodyPr anchor="t"/>
          <a:lstStyle>
            <a:lvl1pPr marL="0" indent="0">
              <a:lnSpc>
                <a:spcPct val="90000"/>
              </a:lnSpc>
              <a:spcBef>
                <a:spcPts val="0"/>
              </a:spcBef>
              <a:buNone/>
              <a:defRPr sz="2363" b="0">
                <a:solidFill>
                  <a:srgbClr val="00444F"/>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6" name="Conector recto 5">
            <a:extLst>
              <a:ext uri="{FF2B5EF4-FFF2-40B4-BE49-F238E27FC236}">
                <a16:creationId xmlns:a16="http://schemas.microsoft.com/office/drawing/2014/main" xmlns="" id="{10BA23C3-EC8E-4742-B2AB-1D1BC21F7B28}"/>
              </a:ext>
            </a:extLst>
          </p:cNvPr>
          <p:cNvCxnSpPr>
            <a:cxnSpLocks/>
          </p:cNvCxnSpPr>
          <p:nvPr/>
        </p:nvCxnSpPr>
        <p:spPr>
          <a:xfrm>
            <a:off x="739560" y="1632116"/>
            <a:ext cx="1435219" cy="0"/>
          </a:xfrm>
          <a:prstGeom prst="line">
            <a:avLst/>
          </a:prstGeom>
          <a:noFill/>
          <a:ln w="22225" cap="flat">
            <a:solidFill>
              <a:srgbClr val="004D53"/>
            </a:solidFill>
            <a:prstDash val="solid"/>
            <a:miter lim="400000"/>
          </a:ln>
          <a:effectLst/>
          <a:sp3d/>
        </p:spPr>
        <p:style>
          <a:lnRef idx="0">
            <a:scrgbClr r="0" g="0" b="0"/>
          </a:lnRef>
          <a:fillRef idx="0">
            <a:scrgbClr r="0" g="0" b="0"/>
          </a:fillRef>
          <a:effectRef idx="0">
            <a:scrgbClr r="0" g="0" b="0"/>
          </a:effectRef>
          <a:fontRef idx="none"/>
        </p:style>
      </p:cxnSp>
      <p:pic>
        <p:nvPicPr>
          <p:cNvPr id="7" name="Imagen 6">
            <a:extLst>
              <a:ext uri="{FF2B5EF4-FFF2-40B4-BE49-F238E27FC236}">
                <a16:creationId xmlns:a16="http://schemas.microsoft.com/office/drawing/2014/main" xmlns="" id="{11FA269D-9EDF-6148-B584-6D89468117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8" name="Marcador de texto 2">
            <a:extLst>
              <a:ext uri="{FF2B5EF4-FFF2-40B4-BE49-F238E27FC236}">
                <a16:creationId xmlns:a16="http://schemas.microsoft.com/office/drawing/2014/main" xmlns="" id="{1A299CBF-BF7E-9C40-BB30-37728C3329A8}"/>
              </a:ext>
            </a:extLst>
          </p:cNvPr>
          <p:cNvSpPr>
            <a:spLocks noGrp="1"/>
          </p:cNvSpPr>
          <p:nvPr>
            <p:ph type="body" sz="quarter" idx="15" hasCustomPrompt="1"/>
          </p:nvPr>
        </p:nvSpPr>
        <p:spPr>
          <a:xfrm>
            <a:off x="8238230" y="2127352"/>
            <a:ext cx="7339342"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1815" b="0" i="0">
                <a:solidFill>
                  <a:srgbClr val="5F5F5F"/>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rgbClr val="5F5F5F"/>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rgbClr val="5F5F5F"/>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rgbClr val="5F5F5F"/>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rgbClr val="5F5F5F"/>
                </a:solidFill>
                <a:latin typeface="Arial" panose="020B0604020202020204" pitchFamily="34" charset="0"/>
              </a:defRPr>
            </a:lvl5pPr>
          </a:lstStyle>
          <a:p>
            <a:pPr lvl="0"/>
            <a:r>
              <a:rPr lang="es-ES" dirty="0"/>
              <a:t>Párrafo sólo texto Arial 14</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
        <p:nvSpPr>
          <p:cNvPr id="9" name="Marcador de texto 2">
            <a:extLst>
              <a:ext uri="{FF2B5EF4-FFF2-40B4-BE49-F238E27FC236}">
                <a16:creationId xmlns:a16="http://schemas.microsoft.com/office/drawing/2014/main" xmlns="" id="{0B721D1D-B7F0-734E-B1E8-8F3FE0C1E1A5}"/>
              </a:ext>
            </a:extLst>
          </p:cNvPr>
          <p:cNvSpPr>
            <a:spLocks noGrp="1"/>
          </p:cNvSpPr>
          <p:nvPr>
            <p:ph type="body" sz="quarter" idx="16" hasCustomPrompt="1"/>
          </p:nvPr>
        </p:nvSpPr>
        <p:spPr>
          <a:xfrm>
            <a:off x="598771" y="2127352"/>
            <a:ext cx="7339342"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1815" b="0" i="0">
                <a:solidFill>
                  <a:srgbClr val="5F5F5F"/>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rgbClr val="5F5F5F"/>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rgbClr val="5F5F5F"/>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rgbClr val="5F5F5F"/>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rgbClr val="5F5F5F"/>
                </a:solidFill>
                <a:latin typeface="Arial" panose="020B0604020202020204" pitchFamily="34" charset="0"/>
              </a:defRPr>
            </a:lvl5pPr>
          </a:lstStyle>
          <a:p>
            <a:pPr lvl="0"/>
            <a:r>
              <a:rPr lang="es-ES" dirty="0"/>
              <a:t>Párrafo sólo texto Arial 14</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Tree>
    <p:extLst>
      <p:ext uri="{BB962C8B-B14F-4D97-AF65-F5344CB8AC3E}">
        <p14:creationId xmlns:p14="http://schemas.microsoft.com/office/powerpoint/2010/main" val="29848652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6_Verde Achs2_sin logo">
    <p:bg>
      <p:bgPr>
        <a:solidFill>
          <a:schemeClr val="tx2">
            <a:lumMod val="40000"/>
            <a:lumOff val="60000"/>
          </a:schemeClr>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xmlns="" id="{B84DB78E-B884-3E48-915E-C5765A8E5FD6}"/>
              </a:ext>
            </a:extLst>
          </p:cNvPr>
          <p:cNvSpPr>
            <a:spLocks noGrp="1"/>
          </p:cNvSpPr>
          <p:nvPr>
            <p:ph type="ftr" sz="quarter" idx="11"/>
          </p:nvPr>
        </p:nvSpPr>
        <p:spPr>
          <a:xfrm>
            <a:off x="597029" y="8485692"/>
            <a:ext cx="9033335" cy="479227"/>
          </a:xfrm>
          <a:prstGeom prst="rect">
            <a:avLst/>
          </a:prstGeom>
        </p:spPr>
        <p:txBody>
          <a:bodyPr anchor="t"/>
          <a:lstStyle>
            <a:lvl1pPr algn="l">
              <a:defRPr sz="1167">
                <a:solidFill>
                  <a:schemeClr val="bg1"/>
                </a:solidFill>
                <a:latin typeface="Arial" panose="020B0604020202020204" pitchFamily="34" charset="0"/>
                <a:cs typeface="Arial" panose="020B0604020202020204" pitchFamily="34" charset="0"/>
              </a:defRPr>
            </a:lvl1pPr>
          </a:lstStyle>
          <a:p>
            <a:endParaRPr lang="es-CL">
              <a:solidFill>
                <a:srgbClr val="FFFFFF"/>
              </a:solidFill>
            </a:endParaRPr>
          </a:p>
        </p:txBody>
      </p:sp>
      <p:sp>
        <p:nvSpPr>
          <p:cNvPr id="3" name="Slide Number Placeholder 3">
            <a:extLst>
              <a:ext uri="{FF2B5EF4-FFF2-40B4-BE49-F238E27FC236}">
                <a16:creationId xmlns:a16="http://schemas.microsoft.com/office/drawing/2014/main" xmlns="" id="{EDDDFC07-DD8C-7342-A814-425AA0514ADD}"/>
              </a:ext>
            </a:extLst>
          </p:cNvPr>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bg1"/>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FFFFFF"/>
                </a:solidFill>
              </a:rPr>
              <a:pPr/>
              <a:t>‹Nº›</a:t>
            </a:fld>
            <a:endParaRPr lang="es-CL">
              <a:solidFill>
                <a:srgbClr val="FFFFFF"/>
              </a:solidFill>
            </a:endParaRPr>
          </a:p>
        </p:txBody>
      </p:sp>
      <p:sp>
        <p:nvSpPr>
          <p:cNvPr id="4" name="Marcador de texto 7">
            <a:extLst>
              <a:ext uri="{FF2B5EF4-FFF2-40B4-BE49-F238E27FC236}">
                <a16:creationId xmlns:a16="http://schemas.microsoft.com/office/drawing/2014/main" xmlns="" id="{3C264635-3521-4B42-ABE7-E1B51E0907F6}"/>
              </a:ext>
            </a:extLst>
          </p:cNvPr>
          <p:cNvSpPr>
            <a:spLocks noGrp="1"/>
          </p:cNvSpPr>
          <p:nvPr>
            <p:ph type="body" sz="quarter" idx="13" hasCustomPrompt="1"/>
          </p:nvPr>
        </p:nvSpPr>
        <p:spPr>
          <a:xfrm>
            <a:off x="597029" y="591742"/>
            <a:ext cx="11739405" cy="541955"/>
          </a:xfrm>
          <a:prstGeom prst="rect">
            <a:avLst/>
          </a:prstGeom>
        </p:spPr>
        <p:txBody>
          <a:bodyPr/>
          <a:lstStyle>
            <a:lvl1pPr marL="0" indent="0">
              <a:lnSpc>
                <a:spcPct val="90000"/>
              </a:lnSpc>
              <a:spcBef>
                <a:spcPts val="0"/>
              </a:spcBef>
              <a:buNone/>
              <a:defRPr sz="3111" b="1">
                <a:solidFill>
                  <a:schemeClr val="bg1"/>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5" name="Marcador de texto 7">
            <a:extLst>
              <a:ext uri="{FF2B5EF4-FFF2-40B4-BE49-F238E27FC236}">
                <a16:creationId xmlns:a16="http://schemas.microsoft.com/office/drawing/2014/main" xmlns="" id="{6C7C5B58-FE52-D646-8F45-D4D7894EA219}"/>
              </a:ext>
            </a:extLst>
          </p:cNvPr>
          <p:cNvSpPr>
            <a:spLocks noGrp="1"/>
          </p:cNvSpPr>
          <p:nvPr>
            <p:ph type="body" sz="quarter" idx="14" hasCustomPrompt="1"/>
          </p:nvPr>
        </p:nvSpPr>
        <p:spPr>
          <a:xfrm>
            <a:off x="597029" y="1131775"/>
            <a:ext cx="11739405" cy="467620"/>
          </a:xfrm>
          <a:prstGeom prst="rect">
            <a:avLst/>
          </a:prstGeom>
        </p:spPr>
        <p:txBody>
          <a:bodyPr/>
          <a:lstStyle>
            <a:lvl1pPr marL="0" indent="0">
              <a:lnSpc>
                <a:spcPct val="90000"/>
              </a:lnSpc>
              <a:spcBef>
                <a:spcPts val="0"/>
              </a:spcBef>
              <a:buNone/>
              <a:defRPr sz="2334" b="0">
                <a:solidFill>
                  <a:schemeClr val="accent2"/>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pic>
        <p:nvPicPr>
          <p:cNvPr id="7" name="Imagen 6">
            <a:extLst>
              <a:ext uri="{FF2B5EF4-FFF2-40B4-BE49-F238E27FC236}">
                <a16:creationId xmlns:a16="http://schemas.microsoft.com/office/drawing/2014/main" xmlns="" id="{11FA269D-9EDF-6148-B584-6D89468117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8" name="Marcador de texto 2">
            <a:extLst>
              <a:ext uri="{FF2B5EF4-FFF2-40B4-BE49-F238E27FC236}">
                <a16:creationId xmlns:a16="http://schemas.microsoft.com/office/drawing/2014/main" xmlns="" id="{1A299CBF-BF7E-9C40-BB30-37728C3329A8}"/>
              </a:ext>
            </a:extLst>
          </p:cNvPr>
          <p:cNvSpPr>
            <a:spLocks noGrp="1"/>
          </p:cNvSpPr>
          <p:nvPr>
            <p:ph type="body" sz="quarter" idx="15" hasCustomPrompt="1"/>
          </p:nvPr>
        </p:nvSpPr>
        <p:spPr>
          <a:xfrm>
            <a:off x="8238230" y="2127352"/>
            <a:ext cx="7339342"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1815" b="0" i="0">
                <a:solidFill>
                  <a:schemeClr val="bg1"/>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chemeClr val="bg1"/>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chemeClr val="bg1"/>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chemeClr val="bg1"/>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chemeClr val="bg1"/>
                </a:solidFill>
                <a:latin typeface="Arial" panose="020B0604020202020204" pitchFamily="34" charset="0"/>
              </a:defRPr>
            </a:lvl5pPr>
          </a:lstStyle>
          <a:p>
            <a:pPr lvl="0"/>
            <a:r>
              <a:rPr lang="es-ES" dirty="0"/>
              <a:t>Párrafo sólo texto Arial 14</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
        <p:nvSpPr>
          <p:cNvPr id="9" name="Marcador de texto 2">
            <a:extLst>
              <a:ext uri="{FF2B5EF4-FFF2-40B4-BE49-F238E27FC236}">
                <a16:creationId xmlns:a16="http://schemas.microsoft.com/office/drawing/2014/main" xmlns="" id="{0B721D1D-B7F0-734E-B1E8-8F3FE0C1E1A5}"/>
              </a:ext>
            </a:extLst>
          </p:cNvPr>
          <p:cNvSpPr>
            <a:spLocks noGrp="1"/>
          </p:cNvSpPr>
          <p:nvPr>
            <p:ph type="body" sz="quarter" idx="16" hasCustomPrompt="1"/>
          </p:nvPr>
        </p:nvSpPr>
        <p:spPr>
          <a:xfrm>
            <a:off x="598771" y="2127352"/>
            <a:ext cx="7339342"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1815" b="0" i="0">
                <a:solidFill>
                  <a:schemeClr val="bg1"/>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chemeClr val="bg1"/>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chemeClr val="bg1"/>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chemeClr val="bg1"/>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chemeClr val="bg1"/>
                </a:solidFill>
                <a:latin typeface="Arial" panose="020B0604020202020204" pitchFamily="34" charset="0"/>
              </a:defRPr>
            </a:lvl5pPr>
          </a:lstStyle>
          <a:p>
            <a:pPr lvl="0"/>
            <a:r>
              <a:rPr lang="es-ES" dirty="0"/>
              <a:t>Párrafo sólo texto Arial 14</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cxnSp>
        <p:nvCxnSpPr>
          <p:cNvPr id="6" name="Conector recto 5">
            <a:extLst>
              <a:ext uri="{FF2B5EF4-FFF2-40B4-BE49-F238E27FC236}">
                <a16:creationId xmlns:a16="http://schemas.microsoft.com/office/drawing/2014/main" xmlns="" id="{10BA23C3-EC8E-4742-B2AB-1D1BC21F7B28}"/>
              </a:ext>
            </a:extLst>
          </p:cNvPr>
          <p:cNvCxnSpPr>
            <a:cxnSpLocks/>
          </p:cNvCxnSpPr>
          <p:nvPr/>
        </p:nvCxnSpPr>
        <p:spPr>
          <a:xfrm>
            <a:off x="739560" y="1632116"/>
            <a:ext cx="1435219"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82157566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5_Verde Achs2_sin logo">
    <p:bg>
      <p:bgPr>
        <a:solidFill>
          <a:schemeClr val="accent4">
            <a:alpha val="40000"/>
          </a:schemeClr>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xmlns="" id="{B84DB78E-B884-3E48-915E-C5765A8E5FD6}"/>
              </a:ext>
            </a:extLst>
          </p:cNvPr>
          <p:cNvSpPr>
            <a:spLocks noGrp="1"/>
          </p:cNvSpPr>
          <p:nvPr>
            <p:ph type="ftr" sz="quarter" idx="11"/>
          </p:nvPr>
        </p:nvSpPr>
        <p:spPr>
          <a:xfrm>
            <a:off x="597029" y="8485692"/>
            <a:ext cx="9033335" cy="479227"/>
          </a:xfrm>
          <a:prstGeom prst="rect">
            <a:avLst/>
          </a:prstGeom>
        </p:spPr>
        <p:txBody>
          <a:bodyPr anchor="t"/>
          <a:lstStyle>
            <a:lvl1pPr algn="l">
              <a:defRPr sz="1167">
                <a:solidFill>
                  <a:srgbClr val="00444F"/>
                </a:solidFill>
                <a:latin typeface="Arial" panose="020B0604020202020204" pitchFamily="34" charset="0"/>
                <a:cs typeface="Arial" panose="020B0604020202020204" pitchFamily="34" charset="0"/>
              </a:defRPr>
            </a:lvl1pPr>
          </a:lstStyle>
          <a:p>
            <a:endParaRPr lang="es-CL" dirty="0"/>
          </a:p>
        </p:txBody>
      </p:sp>
      <p:sp>
        <p:nvSpPr>
          <p:cNvPr id="3" name="Slide Number Placeholder 3">
            <a:extLst>
              <a:ext uri="{FF2B5EF4-FFF2-40B4-BE49-F238E27FC236}">
                <a16:creationId xmlns:a16="http://schemas.microsoft.com/office/drawing/2014/main" xmlns="" id="{EDDDFC07-DD8C-7342-A814-425AA0514ADD}"/>
              </a:ext>
            </a:extLst>
          </p:cNvPr>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rgbClr val="00444F"/>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pPr/>
              <a:t>‹Nº›</a:t>
            </a:fld>
            <a:endParaRPr lang="es-CL" dirty="0"/>
          </a:p>
        </p:txBody>
      </p:sp>
      <p:sp>
        <p:nvSpPr>
          <p:cNvPr id="4" name="Marcador de texto 7">
            <a:extLst>
              <a:ext uri="{FF2B5EF4-FFF2-40B4-BE49-F238E27FC236}">
                <a16:creationId xmlns:a16="http://schemas.microsoft.com/office/drawing/2014/main" xmlns="" id="{3C264635-3521-4B42-ABE7-E1B51E0907F6}"/>
              </a:ext>
            </a:extLst>
          </p:cNvPr>
          <p:cNvSpPr>
            <a:spLocks noGrp="1"/>
          </p:cNvSpPr>
          <p:nvPr>
            <p:ph type="body" sz="quarter" idx="13" hasCustomPrompt="1"/>
          </p:nvPr>
        </p:nvSpPr>
        <p:spPr>
          <a:xfrm>
            <a:off x="597029" y="591741"/>
            <a:ext cx="11739405" cy="687586"/>
          </a:xfrm>
          <a:prstGeom prst="rect">
            <a:avLst/>
          </a:prstGeom>
        </p:spPr>
        <p:txBody>
          <a:bodyPr/>
          <a:lstStyle>
            <a:lvl1pPr marL="0" indent="0">
              <a:lnSpc>
                <a:spcPct val="90000"/>
              </a:lnSpc>
              <a:spcBef>
                <a:spcPts val="0"/>
              </a:spcBef>
              <a:buNone/>
              <a:defRPr sz="3150" b="1">
                <a:solidFill>
                  <a:srgbClr val="00444F"/>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5" name="Marcador de texto 7">
            <a:extLst>
              <a:ext uri="{FF2B5EF4-FFF2-40B4-BE49-F238E27FC236}">
                <a16:creationId xmlns:a16="http://schemas.microsoft.com/office/drawing/2014/main" xmlns="" id="{6C7C5B58-FE52-D646-8F45-D4D7894EA219}"/>
              </a:ext>
            </a:extLst>
          </p:cNvPr>
          <p:cNvSpPr>
            <a:spLocks noGrp="1"/>
          </p:cNvSpPr>
          <p:nvPr>
            <p:ph type="body" sz="quarter" idx="14" hasCustomPrompt="1"/>
          </p:nvPr>
        </p:nvSpPr>
        <p:spPr>
          <a:xfrm>
            <a:off x="597029" y="1120169"/>
            <a:ext cx="11739405" cy="654392"/>
          </a:xfrm>
          <a:prstGeom prst="rect">
            <a:avLst/>
          </a:prstGeom>
        </p:spPr>
        <p:txBody>
          <a:bodyPr anchor="t"/>
          <a:lstStyle>
            <a:lvl1pPr marL="0" indent="0">
              <a:lnSpc>
                <a:spcPct val="90000"/>
              </a:lnSpc>
              <a:spcBef>
                <a:spcPts val="0"/>
              </a:spcBef>
              <a:buNone/>
              <a:defRPr sz="2363" b="0">
                <a:solidFill>
                  <a:schemeClr val="accent2"/>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6" name="Conector recto 5">
            <a:extLst>
              <a:ext uri="{FF2B5EF4-FFF2-40B4-BE49-F238E27FC236}">
                <a16:creationId xmlns:a16="http://schemas.microsoft.com/office/drawing/2014/main" xmlns="" id="{10BA23C3-EC8E-4742-B2AB-1D1BC21F7B28}"/>
              </a:ext>
            </a:extLst>
          </p:cNvPr>
          <p:cNvCxnSpPr>
            <a:cxnSpLocks/>
          </p:cNvCxnSpPr>
          <p:nvPr/>
        </p:nvCxnSpPr>
        <p:spPr>
          <a:xfrm>
            <a:off x="739560" y="1632116"/>
            <a:ext cx="1435219" cy="0"/>
          </a:xfrm>
          <a:prstGeom prst="line">
            <a:avLst/>
          </a:prstGeom>
          <a:noFill/>
          <a:ln w="22225" cap="flat">
            <a:solidFill>
              <a:srgbClr val="00444F"/>
            </a:solidFill>
            <a:prstDash val="solid"/>
            <a:miter lim="400000"/>
          </a:ln>
          <a:effectLst/>
          <a:sp3d/>
        </p:spPr>
        <p:style>
          <a:lnRef idx="0">
            <a:scrgbClr r="0" g="0" b="0"/>
          </a:lnRef>
          <a:fillRef idx="0">
            <a:scrgbClr r="0" g="0" b="0"/>
          </a:fillRef>
          <a:effectRef idx="0">
            <a:scrgbClr r="0" g="0" b="0"/>
          </a:effectRef>
          <a:fontRef idx="none"/>
        </p:style>
      </p:cxnSp>
      <p:pic>
        <p:nvPicPr>
          <p:cNvPr id="7" name="Imagen 6">
            <a:extLst>
              <a:ext uri="{FF2B5EF4-FFF2-40B4-BE49-F238E27FC236}">
                <a16:creationId xmlns:a16="http://schemas.microsoft.com/office/drawing/2014/main" xmlns="" id="{11FA269D-9EDF-6148-B584-6D89468117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8" name="Marcador de texto 2">
            <a:extLst>
              <a:ext uri="{FF2B5EF4-FFF2-40B4-BE49-F238E27FC236}">
                <a16:creationId xmlns:a16="http://schemas.microsoft.com/office/drawing/2014/main" xmlns="" id="{1A299CBF-BF7E-9C40-BB30-37728C3329A8}"/>
              </a:ext>
            </a:extLst>
          </p:cNvPr>
          <p:cNvSpPr>
            <a:spLocks noGrp="1"/>
          </p:cNvSpPr>
          <p:nvPr>
            <p:ph type="body" sz="quarter" idx="15" hasCustomPrompt="1"/>
          </p:nvPr>
        </p:nvSpPr>
        <p:spPr>
          <a:xfrm>
            <a:off x="8238230" y="2127352"/>
            <a:ext cx="7339342"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2100" b="0" i="0">
                <a:solidFill>
                  <a:srgbClr val="00444F"/>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rgbClr val="00444F"/>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rgbClr val="00444F"/>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rgbClr val="00444F"/>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rgbClr val="00444F"/>
                </a:solidFill>
                <a:latin typeface="Arial" panose="020B0604020202020204" pitchFamily="34" charset="0"/>
              </a:defRPr>
            </a:lvl5pPr>
          </a:lstStyle>
          <a:p>
            <a:pPr lvl="0"/>
            <a:r>
              <a:rPr lang="es-ES" dirty="0"/>
              <a:t>Párrafo sólo texto Arial 16</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
        <p:nvSpPr>
          <p:cNvPr id="9" name="Marcador de texto 2">
            <a:extLst>
              <a:ext uri="{FF2B5EF4-FFF2-40B4-BE49-F238E27FC236}">
                <a16:creationId xmlns:a16="http://schemas.microsoft.com/office/drawing/2014/main" xmlns="" id="{0B721D1D-B7F0-734E-B1E8-8F3FE0C1E1A5}"/>
              </a:ext>
            </a:extLst>
          </p:cNvPr>
          <p:cNvSpPr>
            <a:spLocks noGrp="1"/>
          </p:cNvSpPr>
          <p:nvPr>
            <p:ph type="body" sz="quarter" idx="16" hasCustomPrompt="1"/>
          </p:nvPr>
        </p:nvSpPr>
        <p:spPr>
          <a:xfrm>
            <a:off x="598771" y="2127352"/>
            <a:ext cx="7339342"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2100" b="0" i="0">
                <a:solidFill>
                  <a:srgbClr val="00444F"/>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rgbClr val="00444F"/>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rgbClr val="00444F"/>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rgbClr val="00444F"/>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rgbClr val="00444F"/>
                </a:solidFill>
                <a:latin typeface="Arial" panose="020B0604020202020204" pitchFamily="34" charset="0"/>
              </a:defRPr>
            </a:lvl5pPr>
          </a:lstStyle>
          <a:p>
            <a:pPr lvl="0"/>
            <a:r>
              <a:rPr lang="es-ES" dirty="0"/>
              <a:t>Párrafo sólo texto Arial 16</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Tree>
    <p:extLst>
      <p:ext uri="{BB962C8B-B14F-4D97-AF65-F5344CB8AC3E}">
        <p14:creationId xmlns:p14="http://schemas.microsoft.com/office/powerpoint/2010/main" val="18875663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7_Verde Achs2_sin logo">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xmlns="" id="{B84DB78E-B884-3E48-915E-C5765A8E5FD6}"/>
              </a:ext>
            </a:extLst>
          </p:cNvPr>
          <p:cNvSpPr>
            <a:spLocks noGrp="1"/>
          </p:cNvSpPr>
          <p:nvPr>
            <p:ph type="ftr" sz="quarter" idx="11"/>
          </p:nvPr>
        </p:nvSpPr>
        <p:spPr>
          <a:xfrm>
            <a:off x="597029" y="8485692"/>
            <a:ext cx="9033335" cy="479227"/>
          </a:xfrm>
          <a:prstGeom prst="rect">
            <a:avLst/>
          </a:prstGeom>
        </p:spPr>
        <p:txBody>
          <a:bodyPr anchor="t"/>
          <a:lstStyle>
            <a:lvl1pPr algn="l">
              <a:defRPr sz="1167">
                <a:solidFill>
                  <a:schemeClr val="tx1"/>
                </a:solidFill>
                <a:latin typeface="Arial" panose="020B0604020202020204" pitchFamily="34" charset="0"/>
                <a:cs typeface="Arial" panose="020B0604020202020204" pitchFamily="34" charset="0"/>
              </a:defRPr>
            </a:lvl1pPr>
          </a:lstStyle>
          <a:p>
            <a:endParaRPr lang="es-CL">
              <a:solidFill>
                <a:srgbClr val="0C662F"/>
              </a:solidFill>
            </a:endParaRPr>
          </a:p>
        </p:txBody>
      </p:sp>
      <p:sp>
        <p:nvSpPr>
          <p:cNvPr id="3" name="Slide Number Placeholder 3">
            <a:extLst>
              <a:ext uri="{FF2B5EF4-FFF2-40B4-BE49-F238E27FC236}">
                <a16:creationId xmlns:a16="http://schemas.microsoft.com/office/drawing/2014/main" xmlns="" id="{EDDDFC07-DD8C-7342-A814-425AA0514ADD}"/>
              </a:ext>
            </a:extLst>
          </p:cNvPr>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1"/>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0C662F"/>
                </a:solidFill>
              </a:rPr>
              <a:pPr/>
              <a:t>‹Nº›</a:t>
            </a:fld>
            <a:endParaRPr lang="es-CL">
              <a:solidFill>
                <a:srgbClr val="0C662F"/>
              </a:solidFill>
            </a:endParaRPr>
          </a:p>
        </p:txBody>
      </p:sp>
      <p:sp>
        <p:nvSpPr>
          <p:cNvPr id="4" name="Marcador de texto 7">
            <a:extLst>
              <a:ext uri="{FF2B5EF4-FFF2-40B4-BE49-F238E27FC236}">
                <a16:creationId xmlns:a16="http://schemas.microsoft.com/office/drawing/2014/main" xmlns="" id="{3C264635-3521-4B42-ABE7-E1B51E0907F6}"/>
              </a:ext>
            </a:extLst>
          </p:cNvPr>
          <p:cNvSpPr>
            <a:spLocks noGrp="1"/>
          </p:cNvSpPr>
          <p:nvPr>
            <p:ph type="body" sz="quarter" idx="13" hasCustomPrompt="1"/>
          </p:nvPr>
        </p:nvSpPr>
        <p:spPr>
          <a:xfrm>
            <a:off x="597029" y="591742"/>
            <a:ext cx="11739405" cy="541955"/>
          </a:xfrm>
          <a:prstGeom prst="rect">
            <a:avLst/>
          </a:prstGeom>
        </p:spPr>
        <p:txBody>
          <a:bodyPr/>
          <a:lstStyle>
            <a:lvl1pPr marL="0" indent="0">
              <a:lnSpc>
                <a:spcPct val="90000"/>
              </a:lnSpc>
              <a:spcBef>
                <a:spcPts val="0"/>
              </a:spcBef>
              <a:buNone/>
              <a:defRPr sz="3111" b="1">
                <a:solidFill>
                  <a:srgbClr val="00454C"/>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5" name="Marcador de texto 7">
            <a:extLst>
              <a:ext uri="{FF2B5EF4-FFF2-40B4-BE49-F238E27FC236}">
                <a16:creationId xmlns:a16="http://schemas.microsoft.com/office/drawing/2014/main" xmlns="" id="{6C7C5B58-FE52-D646-8F45-D4D7894EA219}"/>
              </a:ext>
            </a:extLst>
          </p:cNvPr>
          <p:cNvSpPr>
            <a:spLocks noGrp="1"/>
          </p:cNvSpPr>
          <p:nvPr>
            <p:ph type="body" sz="quarter" idx="14" hasCustomPrompt="1"/>
          </p:nvPr>
        </p:nvSpPr>
        <p:spPr>
          <a:xfrm>
            <a:off x="597029" y="1131775"/>
            <a:ext cx="11739405" cy="467620"/>
          </a:xfrm>
          <a:prstGeom prst="rect">
            <a:avLst/>
          </a:prstGeom>
        </p:spPr>
        <p:txBody>
          <a:bodyPr/>
          <a:lstStyle>
            <a:lvl1pPr marL="0" indent="0">
              <a:lnSpc>
                <a:spcPct val="90000"/>
              </a:lnSpc>
              <a:spcBef>
                <a:spcPts val="0"/>
              </a:spcBef>
              <a:buNone/>
              <a:defRPr sz="2334" b="0">
                <a:solidFill>
                  <a:schemeClr val="tx1"/>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6" name="Conector recto 5">
            <a:extLst>
              <a:ext uri="{FF2B5EF4-FFF2-40B4-BE49-F238E27FC236}">
                <a16:creationId xmlns:a16="http://schemas.microsoft.com/office/drawing/2014/main" xmlns="" id="{10BA23C3-EC8E-4742-B2AB-1D1BC21F7B28}"/>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pic>
        <p:nvPicPr>
          <p:cNvPr id="7" name="Imagen 6">
            <a:extLst>
              <a:ext uri="{FF2B5EF4-FFF2-40B4-BE49-F238E27FC236}">
                <a16:creationId xmlns:a16="http://schemas.microsoft.com/office/drawing/2014/main" xmlns="" id="{11FA269D-9EDF-6148-B584-6D89468117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8" name="Marcador de texto 2">
            <a:extLst>
              <a:ext uri="{FF2B5EF4-FFF2-40B4-BE49-F238E27FC236}">
                <a16:creationId xmlns:a16="http://schemas.microsoft.com/office/drawing/2014/main" xmlns="" id="{1A299CBF-BF7E-9C40-BB30-37728C3329A8}"/>
              </a:ext>
            </a:extLst>
          </p:cNvPr>
          <p:cNvSpPr>
            <a:spLocks noGrp="1"/>
          </p:cNvSpPr>
          <p:nvPr>
            <p:ph type="body" sz="quarter" idx="15" hasCustomPrompt="1"/>
          </p:nvPr>
        </p:nvSpPr>
        <p:spPr>
          <a:xfrm>
            <a:off x="8238230" y="2127352"/>
            <a:ext cx="7339342"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1815" b="0" i="0">
                <a:solidFill>
                  <a:schemeClr val="tx1"/>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chemeClr val="tx1"/>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chemeClr val="tx1"/>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chemeClr val="tx1"/>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chemeClr val="tx1"/>
                </a:solidFill>
                <a:latin typeface="Arial" panose="020B0604020202020204" pitchFamily="34" charset="0"/>
              </a:defRPr>
            </a:lvl5pPr>
          </a:lstStyle>
          <a:p>
            <a:pPr lvl="0"/>
            <a:r>
              <a:rPr lang="es-ES" dirty="0"/>
              <a:t>Párrafo sólo texto Arial 14</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
        <p:nvSpPr>
          <p:cNvPr id="9" name="Marcador de texto 2">
            <a:extLst>
              <a:ext uri="{FF2B5EF4-FFF2-40B4-BE49-F238E27FC236}">
                <a16:creationId xmlns:a16="http://schemas.microsoft.com/office/drawing/2014/main" xmlns="" id="{0B721D1D-B7F0-734E-B1E8-8F3FE0C1E1A5}"/>
              </a:ext>
            </a:extLst>
          </p:cNvPr>
          <p:cNvSpPr>
            <a:spLocks noGrp="1"/>
          </p:cNvSpPr>
          <p:nvPr>
            <p:ph type="body" sz="quarter" idx="16" hasCustomPrompt="1"/>
          </p:nvPr>
        </p:nvSpPr>
        <p:spPr>
          <a:xfrm>
            <a:off x="598771" y="2127352"/>
            <a:ext cx="7339342" cy="6297662"/>
          </a:xfrm>
          <a:prstGeom prst="rect">
            <a:avLst/>
          </a:prstGeom>
        </p:spPr>
        <p:txBody>
          <a:bodyPr/>
          <a:lstStyle>
            <a:lvl1pPr marL="0" indent="0">
              <a:lnSpc>
                <a:spcPct val="100000"/>
              </a:lnSpc>
              <a:spcBef>
                <a:spcPts val="518"/>
              </a:spcBef>
              <a:spcAft>
                <a:spcPts val="518"/>
              </a:spcAft>
              <a:buClr>
                <a:schemeClr val="bg2"/>
              </a:buClr>
              <a:buSzPct val="95000"/>
              <a:buFontTx/>
              <a:buNone/>
              <a:defRPr sz="1815" b="0" i="0">
                <a:solidFill>
                  <a:schemeClr val="tx1"/>
                </a:solidFill>
                <a:latin typeface="Arial" panose="020B0604020202020204" pitchFamily="34" charset="0"/>
              </a:defRPr>
            </a:lvl1pPr>
            <a:lvl2pPr marL="876654" indent="-481543">
              <a:lnSpc>
                <a:spcPct val="100000"/>
              </a:lnSpc>
              <a:spcBef>
                <a:spcPts val="518"/>
              </a:spcBef>
              <a:spcAft>
                <a:spcPts val="518"/>
              </a:spcAft>
              <a:buClr>
                <a:schemeClr val="bg2"/>
              </a:buClr>
              <a:buSzPct val="95000"/>
              <a:buFont typeface="Wingdings" pitchFamily="2" charset="2"/>
              <a:buChar char="§"/>
              <a:tabLst/>
              <a:defRPr lang="es-ES" sz="1427" b="0" i="0" u="none" strike="noStrike" cap="none" spc="0" baseline="0" dirty="0" smtClean="0">
                <a:solidFill>
                  <a:schemeClr val="tx1"/>
                </a:solidFill>
                <a:uFillTx/>
                <a:latin typeface="Arial"/>
                <a:ea typeface="Arial"/>
                <a:cs typeface="Arial"/>
                <a:sym typeface="Arial"/>
              </a:defRPr>
            </a:lvl2pPr>
            <a:lvl3pPr marL="1335561" indent="-432154">
              <a:lnSpc>
                <a:spcPct val="100000"/>
              </a:lnSpc>
              <a:spcBef>
                <a:spcPts val="518"/>
              </a:spcBef>
              <a:spcAft>
                <a:spcPts val="518"/>
              </a:spcAft>
              <a:buClr>
                <a:schemeClr val="bg2"/>
              </a:buClr>
              <a:buSzPct val="95000"/>
              <a:buFont typeface="Wingdings" pitchFamily="2" charset="2"/>
              <a:buChar char="§"/>
              <a:tabLst/>
              <a:defRPr sz="1427" b="0" i="0">
                <a:solidFill>
                  <a:schemeClr val="tx1"/>
                </a:solidFill>
                <a:latin typeface="Arial" panose="020B0604020202020204" pitchFamily="34" charset="0"/>
              </a:defRPr>
            </a:lvl3pPr>
            <a:lvl4pPr marL="1739934" indent="-431126">
              <a:lnSpc>
                <a:spcPct val="100000"/>
              </a:lnSpc>
              <a:spcBef>
                <a:spcPts val="518"/>
              </a:spcBef>
              <a:spcAft>
                <a:spcPts val="518"/>
              </a:spcAft>
              <a:buClr>
                <a:schemeClr val="bg2"/>
              </a:buClr>
              <a:buSzPct val="95000"/>
              <a:buFont typeface="Wingdings" pitchFamily="2" charset="2"/>
              <a:buChar char="§"/>
              <a:tabLst/>
              <a:defRPr sz="1427" b="0" i="0">
                <a:solidFill>
                  <a:schemeClr val="tx1"/>
                </a:solidFill>
                <a:latin typeface="Arial" panose="020B0604020202020204" pitchFamily="34" charset="0"/>
              </a:defRPr>
            </a:lvl4pPr>
            <a:lvl5pPr marL="2172088" indent="-472283">
              <a:lnSpc>
                <a:spcPct val="100000"/>
              </a:lnSpc>
              <a:spcBef>
                <a:spcPts val="518"/>
              </a:spcBef>
              <a:spcAft>
                <a:spcPts val="518"/>
              </a:spcAft>
              <a:buClr>
                <a:schemeClr val="bg2"/>
              </a:buClr>
              <a:buSzPct val="95000"/>
              <a:buFont typeface="Wingdings" pitchFamily="2" charset="2"/>
              <a:buChar char="§"/>
              <a:tabLst>
                <a:tab pos="2037295" algn="l"/>
              </a:tabLst>
              <a:defRPr sz="1427" b="0" i="0">
                <a:solidFill>
                  <a:schemeClr val="tx1"/>
                </a:solidFill>
                <a:latin typeface="Arial" panose="020B0604020202020204" pitchFamily="34" charset="0"/>
              </a:defRPr>
            </a:lvl5pPr>
          </a:lstStyle>
          <a:p>
            <a:pPr lvl="0"/>
            <a:r>
              <a:rPr lang="es-ES" dirty="0"/>
              <a:t>Párrafo sólo texto Arial 14</a:t>
            </a:r>
          </a:p>
          <a:p>
            <a:pPr lvl="1"/>
            <a:r>
              <a:rPr lang="es-ES" dirty="0"/>
              <a:t>Segundo nivel Arial 11</a:t>
            </a:r>
          </a:p>
          <a:p>
            <a:pPr lvl="2"/>
            <a:r>
              <a:rPr lang="es-ES" dirty="0"/>
              <a:t>Tercer nivel Arial 11</a:t>
            </a:r>
          </a:p>
          <a:p>
            <a:pPr lvl="3"/>
            <a:r>
              <a:rPr lang="es-ES" dirty="0"/>
              <a:t>Cuarto nivel Arial 11</a:t>
            </a:r>
          </a:p>
          <a:p>
            <a:pPr lvl="4"/>
            <a:r>
              <a:rPr lang="es-ES" dirty="0"/>
              <a:t>Quinto nivel Arial 11</a:t>
            </a:r>
            <a:endParaRPr lang="es-CL" dirty="0"/>
          </a:p>
        </p:txBody>
      </p:sp>
    </p:spTree>
    <p:extLst>
      <p:ext uri="{BB962C8B-B14F-4D97-AF65-F5344CB8AC3E}">
        <p14:creationId xmlns:p14="http://schemas.microsoft.com/office/powerpoint/2010/main" val="11431503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x" preserve="1">
  <p:cSld name="Gris">
    <p:bg>
      <p:bgPr>
        <a:solidFill>
          <a:srgbClr val="5E5E5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669710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55_Title and Content">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6202025" cy="9001125"/>
          </a:xfrm>
          <a:custGeom>
            <a:avLst/>
            <a:gdLst>
              <a:gd name="connsiteX0" fmla="*/ 0 w 5770605"/>
              <a:gd name="connsiteY0" fmla="*/ 0 h 6858000"/>
              <a:gd name="connsiteX1" fmla="*/ 5770605 w 5770605"/>
              <a:gd name="connsiteY1" fmla="*/ 0 h 6858000"/>
              <a:gd name="connsiteX2" fmla="*/ 5770605 w 5770605"/>
              <a:gd name="connsiteY2" fmla="*/ 6858000 h 6858000"/>
              <a:gd name="connsiteX3" fmla="*/ 0 w 577060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770605" h="6858000">
                <a:moveTo>
                  <a:pt x="0" y="0"/>
                </a:moveTo>
                <a:lnTo>
                  <a:pt x="5770605" y="0"/>
                </a:lnTo>
                <a:lnTo>
                  <a:pt x="5770605" y="6858000"/>
                </a:lnTo>
                <a:lnTo>
                  <a:pt x="0" y="6858000"/>
                </a:lnTo>
                <a:close/>
              </a:path>
            </a:pathLst>
          </a:custGeom>
          <a:solidFill>
            <a:schemeClr val="bg1">
              <a:lumMod val="95000"/>
            </a:schemeClr>
          </a:solidFill>
        </p:spPr>
        <p:txBody>
          <a:bodyPr wrap="square">
            <a:noAutofit/>
          </a:bodyPr>
          <a:lstStyle>
            <a:lvl1pPr>
              <a:defRPr sz="1555" b="0" i="0">
                <a:latin typeface="Arial" panose="020B0604020202020204" pitchFamily="34" charset="0"/>
              </a:defRPr>
            </a:lvl1pPr>
          </a:lstStyle>
          <a:p>
            <a:r>
              <a:rPr lang="es-ES"/>
              <a:t>Haga clic en el icono para agregar una imagen</a:t>
            </a:r>
            <a:endParaRPr lang="en-US" dirty="0"/>
          </a:p>
        </p:txBody>
      </p:sp>
      <p:sp>
        <p:nvSpPr>
          <p:cNvPr id="4" name="Date Placeholder 3"/>
          <p:cNvSpPr>
            <a:spLocks noGrp="1"/>
          </p:cNvSpPr>
          <p:nvPr>
            <p:ph type="dt" sz="half" idx="10"/>
          </p:nvPr>
        </p:nvSpPr>
        <p:spPr>
          <a:xfrm>
            <a:off x="1113889" y="8342714"/>
            <a:ext cx="3645456" cy="479227"/>
          </a:xfrm>
          <a:prstGeom prst="rect">
            <a:avLst/>
          </a:prstGeom>
        </p:spPr>
        <p:txBody>
          <a:bodyPr/>
          <a:lstStyle>
            <a:lvl1pPr>
              <a:defRPr b="0" i="0">
                <a:latin typeface="Arial" panose="020B0604020202020204" pitchFamily="34" charset="0"/>
              </a:defRPr>
            </a:lvl1pPr>
          </a:lstStyle>
          <a:p>
            <a:fld id="{E51760D5-0A4F-46CB-966E-D7A789D304D4}" type="datetimeFigureOut">
              <a:rPr lang="es-CL" smtClean="0">
                <a:solidFill>
                  <a:srgbClr val="0C662F">
                    <a:tint val="75000"/>
                  </a:srgbClr>
                </a:solidFill>
              </a:rPr>
              <a:pPr/>
              <a:t>23-01-2025</a:t>
            </a:fld>
            <a:endParaRPr lang="es-CL">
              <a:solidFill>
                <a:srgbClr val="0C662F">
                  <a:tint val="75000"/>
                </a:srgbClr>
              </a:solidFill>
            </a:endParaRPr>
          </a:p>
        </p:txBody>
      </p:sp>
      <p:sp>
        <p:nvSpPr>
          <p:cNvPr id="5" name="Footer Placeholder 4"/>
          <p:cNvSpPr>
            <a:spLocks noGrp="1"/>
          </p:cNvSpPr>
          <p:nvPr>
            <p:ph type="ftr" sz="quarter" idx="11"/>
          </p:nvPr>
        </p:nvSpPr>
        <p:spPr>
          <a:xfrm>
            <a:off x="5366921" y="8342714"/>
            <a:ext cx="5468183" cy="479227"/>
          </a:xfrm>
          <a:prstGeom prst="rect">
            <a:avLst/>
          </a:prstGeom>
        </p:spPr>
        <p:txBody>
          <a:bodyPr/>
          <a:lstStyle>
            <a:lvl1pPr>
              <a:defRPr b="0" i="0">
                <a:latin typeface="Arial" panose="020B0604020202020204" pitchFamily="34" charset="0"/>
              </a:defRPr>
            </a:lvl1pPr>
          </a:lstStyle>
          <a:p>
            <a:endParaRPr lang="es-CL">
              <a:solidFill>
                <a:srgbClr val="0C662F">
                  <a:tint val="75000"/>
                </a:srgbClr>
              </a:solidFill>
            </a:endParaRPr>
          </a:p>
        </p:txBody>
      </p:sp>
      <p:sp>
        <p:nvSpPr>
          <p:cNvPr id="6" name="Slide Number Placeholder 5"/>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193277716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3EA3E24-6F21-4D20-B848-6E605E20AC58}"/>
              </a:ext>
            </a:extLst>
          </p:cNvPr>
          <p:cNvSpPr>
            <a:spLocks noGrp="1"/>
          </p:cNvSpPr>
          <p:nvPr>
            <p:ph type="ctrTitle"/>
          </p:nvPr>
        </p:nvSpPr>
        <p:spPr>
          <a:xfrm>
            <a:off x="2025253" y="1473101"/>
            <a:ext cx="12151519" cy="3133725"/>
          </a:xfrm>
          <a:prstGeom prst="rect">
            <a:avLst/>
          </a:prstGeom>
        </p:spPr>
        <p:txBody>
          <a:bodyPr anchor="b"/>
          <a:lstStyle>
            <a:lvl1pPr algn="ctr">
              <a:defRPr sz="7778"/>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6FDE8D6F-A942-427F-ACA0-B849618B4067}"/>
              </a:ext>
            </a:extLst>
          </p:cNvPr>
          <p:cNvSpPr>
            <a:spLocks noGrp="1"/>
          </p:cNvSpPr>
          <p:nvPr>
            <p:ph type="subTitle" idx="1"/>
          </p:nvPr>
        </p:nvSpPr>
        <p:spPr>
          <a:xfrm>
            <a:off x="2025253" y="4727675"/>
            <a:ext cx="12151519" cy="2173188"/>
          </a:xfrm>
          <a:prstGeom prst="rect">
            <a:avLst/>
          </a:prstGeom>
        </p:spPr>
        <p:txBody>
          <a:bodyPr/>
          <a:lstStyle>
            <a:lvl1pPr marL="0" indent="0" algn="ctr">
              <a:buNone/>
              <a:defRPr sz="3111" b="0" i="0">
                <a:latin typeface="Arial" panose="020B0604020202020204" pitchFamily="34" charset="0"/>
              </a:defRPr>
            </a:lvl1pPr>
            <a:lvl2pPr marL="592667" indent="0" algn="ctr">
              <a:buNone/>
              <a:defRPr sz="2592"/>
            </a:lvl2pPr>
            <a:lvl3pPr marL="1185336" indent="0" algn="ctr">
              <a:buNone/>
              <a:defRPr sz="2334"/>
            </a:lvl3pPr>
            <a:lvl4pPr marL="1778003" indent="0" algn="ctr">
              <a:buNone/>
              <a:defRPr sz="2074"/>
            </a:lvl4pPr>
            <a:lvl5pPr marL="2370672" indent="0" algn="ctr">
              <a:buNone/>
              <a:defRPr sz="2074"/>
            </a:lvl5pPr>
            <a:lvl6pPr marL="2963339" indent="0" algn="ctr">
              <a:buNone/>
              <a:defRPr sz="2074"/>
            </a:lvl6pPr>
            <a:lvl7pPr marL="3556007" indent="0" algn="ctr">
              <a:buNone/>
              <a:defRPr sz="2074"/>
            </a:lvl7pPr>
            <a:lvl8pPr marL="4148675" indent="0" algn="ctr">
              <a:buNone/>
              <a:defRPr sz="2074"/>
            </a:lvl8pPr>
            <a:lvl9pPr marL="4741343" indent="0" algn="ctr">
              <a:buNone/>
              <a:defRPr sz="2074"/>
            </a:lvl9pPr>
          </a:lstStyle>
          <a:p>
            <a:r>
              <a:rPr lang="es-ES"/>
              <a:t>Haga clic para modificar el estilo de subtítulo del patrón</a:t>
            </a:r>
            <a:endParaRPr lang="es-CL" dirty="0"/>
          </a:p>
        </p:txBody>
      </p:sp>
      <p:sp>
        <p:nvSpPr>
          <p:cNvPr id="4" name="Marcador de fecha 3">
            <a:extLst>
              <a:ext uri="{FF2B5EF4-FFF2-40B4-BE49-F238E27FC236}">
                <a16:creationId xmlns:a16="http://schemas.microsoft.com/office/drawing/2014/main" xmlns="" id="{23DBBB66-A7F8-4D2C-865B-C01D1BD0B9FC}"/>
              </a:ext>
            </a:extLst>
          </p:cNvPr>
          <p:cNvSpPr>
            <a:spLocks noGrp="1"/>
          </p:cNvSpPr>
          <p:nvPr>
            <p:ph type="dt" sz="half" idx="10"/>
          </p:nvPr>
        </p:nvSpPr>
        <p:spPr>
          <a:xfrm>
            <a:off x="1113889" y="8342711"/>
            <a:ext cx="3645456" cy="479227"/>
          </a:xfrm>
          <a:prstGeom prst="rect">
            <a:avLst/>
          </a:prstGeom>
        </p:spPr>
        <p:txBody>
          <a:bodyPr/>
          <a:lstStyle>
            <a:lvl1pPr>
              <a:defRPr b="0" i="0">
                <a:latin typeface="Arial" panose="020B0604020202020204" pitchFamily="34" charset="0"/>
              </a:defRPr>
            </a:lvl1pPr>
          </a:lstStyle>
          <a:p>
            <a:fld id="{E51760D5-0A4F-46CB-966E-D7A789D304D4}" type="datetimeFigureOut">
              <a:rPr lang="es-CL" smtClean="0">
                <a:solidFill>
                  <a:srgbClr val="0C662F">
                    <a:tint val="75000"/>
                  </a:srgbClr>
                </a:solidFill>
              </a:rPr>
              <a:pPr/>
              <a:t>23-01-2025</a:t>
            </a:fld>
            <a:endParaRPr lang="es-CL">
              <a:solidFill>
                <a:srgbClr val="0C662F">
                  <a:tint val="75000"/>
                </a:srgbClr>
              </a:solidFill>
            </a:endParaRPr>
          </a:p>
        </p:txBody>
      </p:sp>
      <p:sp>
        <p:nvSpPr>
          <p:cNvPr id="5" name="Marcador de pie de página 4">
            <a:extLst>
              <a:ext uri="{FF2B5EF4-FFF2-40B4-BE49-F238E27FC236}">
                <a16:creationId xmlns:a16="http://schemas.microsoft.com/office/drawing/2014/main" xmlns="" id="{975FCA14-DF25-4509-8F1C-9F4B99B0AFF7}"/>
              </a:ext>
            </a:extLst>
          </p:cNvPr>
          <p:cNvSpPr>
            <a:spLocks noGrp="1"/>
          </p:cNvSpPr>
          <p:nvPr>
            <p:ph type="ftr" sz="quarter" idx="11"/>
          </p:nvPr>
        </p:nvSpPr>
        <p:spPr>
          <a:xfrm>
            <a:off x="5366921" y="8342711"/>
            <a:ext cx="5468183" cy="479227"/>
          </a:xfrm>
          <a:prstGeom prst="rect">
            <a:avLst/>
          </a:prstGeom>
        </p:spPr>
        <p:txBody>
          <a:bodyPr/>
          <a:lstStyle>
            <a:lvl1pPr>
              <a:defRPr b="0" i="0">
                <a:latin typeface="Arial" panose="020B0604020202020204" pitchFamily="34" charset="0"/>
              </a:defRPr>
            </a:lvl1pPr>
          </a:lstStyle>
          <a:p>
            <a:endParaRPr lang="es-CL">
              <a:solidFill>
                <a:srgbClr val="0C662F">
                  <a:tint val="75000"/>
                </a:srgbClr>
              </a:solidFill>
            </a:endParaRPr>
          </a:p>
        </p:txBody>
      </p:sp>
      <p:sp>
        <p:nvSpPr>
          <p:cNvPr id="6" name="Marcador de número de diapositiva 5">
            <a:extLst>
              <a:ext uri="{FF2B5EF4-FFF2-40B4-BE49-F238E27FC236}">
                <a16:creationId xmlns:a16="http://schemas.microsoft.com/office/drawing/2014/main" xmlns="" id="{CD172509-CD18-4A2B-B481-18F6041AD1B6}"/>
              </a:ext>
            </a:extLst>
          </p:cNvPr>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29000426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2062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0" y="0"/>
            <a:ext cx="16202025" cy="9001125"/>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dirty="0"/>
          </a:p>
        </p:txBody>
      </p:sp>
    </p:spTree>
    <p:extLst>
      <p:ext uri="{BB962C8B-B14F-4D97-AF65-F5344CB8AC3E}">
        <p14:creationId xmlns:p14="http://schemas.microsoft.com/office/powerpoint/2010/main" val="145052613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6BEBF2C1-2B32-4C6A-A69D-80D695DA7CD8}"/>
              </a:ext>
            </a:extLst>
          </p:cNvPr>
          <p:cNvSpPr>
            <a:spLocks noGrp="1"/>
          </p:cNvSpPr>
          <p:nvPr>
            <p:ph type="dt" sz="half" idx="10"/>
          </p:nvPr>
        </p:nvSpPr>
        <p:spPr/>
        <p:txBody>
          <a:bodyPr/>
          <a:lstStyle/>
          <a:p>
            <a:fld id="{E51760D5-0A4F-46CB-966E-D7A789D304D4}" type="datetimeFigureOut">
              <a:rPr lang="es-CL" smtClean="0">
                <a:solidFill>
                  <a:srgbClr val="0C662F">
                    <a:tint val="75000"/>
                  </a:srgbClr>
                </a:solidFill>
              </a:rPr>
              <a:pPr/>
              <a:t>23-01-2025</a:t>
            </a:fld>
            <a:endParaRPr lang="es-CL">
              <a:solidFill>
                <a:srgbClr val="0C662F">
                  <a:tint val="75000"/>
                </a:srgbClr>
              </a:solidFill>
            </a:endParaRPr>
          </a:p>
        </p:txBody>
      </p:sp>
      <p:sp>
        <p:nvSpPr>
          <p:cNvPr id="3" name="Marcador de pie de página 2">
            <a:extLst>
              <a:ext uri="{FF2B5EF4-FFF2-40B4-BE49-F238E27FC236}">
                <a16:creationId xmlns:a16="http://schemas.microsoft.com/office/drawing/2014/main" xmlns="" id="{D5F9BE01-A54C-45B7-8C3F-DD705930930A}"/>
              </a:ext>
            </a:extLst>
          </p:cNvPr>
          <p:cNvSpPr>
            <a:spLocks noGrp="1"/>
          </p:cNvSpPr>
          <p:nvPr>
            <p:ph type="ftr" sz="quarter" idx="11"/>
          </p:nvPr>
        </p:nvSpPr>
        <p:spPr/>
        <p:txBody>
          <a:bodyPr/>
          <a:lstStyle/>
          <a:p>
            <a:endParaRPr lang="es-CL">
              <a:solidFill>
                <a:srgbClr val="0C662F">
                  <a:tint val="75000"/>
                </a:srgbClr>
              </a:solidFill>
            </a:endParaRPr>
          </a:p>
        </p:txBody>
      </p:sp>
      <p:sp>
        <p:nvSpPr>
          <p:cNvPr id="4" name="Marcador de número de diapositiva 3">
            <a:extLst>
              <a:ext uri="{FF2B5EF4-FFF2-40B4-BE49-F238E27FC236}">
                <a16:creationId xmlns:a16="http://schemas.microsoft.com/office/drawing/2014/main" xmlns="" id="{A4142BCC-61D0-4D08-A9D0-E62317B88EB1}"/>
              </a:ext>
            </a:extLst>
          </p:cNvPr>
          <p:cNvSpPr>
            <a:spLocks noGrp="1"/>
          </p:cNvSpPr>
          <p:nvPr>
            <p:ph type="sldNum" sz="quarter" idx="12"/>
          </p:nvPr>
        </p:nvSpPr>
        <p:spPr/>
        <p:txBody>
          <a:bodyPr/>
          <a:lstStyle/>
          <a:p>
            <a:fld id="{D53CCA99-CF64-451F-A9BB-06365FA9480C}" type="slidenum">
              <a:rPr lang="es-CL" smtClean="0">
                <a:solidFill>
                  <a:srgbClr val="0C662F">
                    <a:tint val="75000"/>
                  </a:srgbClr>
                </a:solidFill>
              </a:rPr>
              <a:pPr/>
              <a:t>‹Nº›</a:t>
            </a:fld>
            <a:endParaRPr lang="es-CL">
              <a:solidFill>
                <a:srgbClr val="0C662F">
                  <a:tint val="75000"/>
                </a:srgbClr>
              </a:solidFill>
            </a:endParaRPr>
          </a:p>
        </p:txBody>
      </p:sp>
    </p:spTree>
    <p:extLst>
      <p:ext uri="{BB962C8B-B14F-4D97-AF65-F5344CB8AC3E}">
        <p14:creationId xmlns:p14="http://schemas.microsoft.com/office/powerpoint/2010/main" val="41861238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2F7C922-2B35-488C-90C3-78D02206DF0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722033A6-C6C2-40D6-AAB1-5B9FB01C4ACD}"/>
              </a:ext>
            </a:extLst>
          </p:cNvPr>
          <p:cNvSpPr>
            <a:spLocks noGrp="1"/>
          </p:cNvSpPr>
          <p:nvPr>
            <p:ph idx="1"/>
          </p:nvPr>
        </p:nvSpPr>
        <p:spPr/>
        <p:txBody>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xmlns="" id="{2A108EC1-DB56-4789-89D8-F63AFC525491}"/>
              </a:ext>
            </a:extLst>
          </p:cNvPr>
          <p:cNvSpPr>
            <a:spLocks noGrp="1"/>
          </p:cNvSpPr>
          <p:nvPr>
            <p:ph type="dt" sz="half" idx="10"/>
          </p:nvPr>
        </p:nvSpPr>
        <p:spPr/>
        <p:txBody>
          <a:bodyPr/>
          <a:lstStyle/>
          <a:p>
            <a:fld id="{E51760D5-0A4F-46CB-966E-D7A789D304D4}" type="datetimeFigureOut">
              <a:rPr lang="es-CL" smtClean="0">
                <a:solidFill>
                  <a:srgbClr val="0C662F">
                    <a:tint val="75000"/>
                  </a:srgbClr>
                </a:solidFill>
              </a:rPr>
              <a:pPr/>
              <a:t>23-01-2025</a:t>
            </a:fld>
            <a:endParaRPr lang="es-CL">
              <a:solidFill>
                <a:srgbClr val="0C662F">
                  <a:tint val="75000"/>
                </a:srgbClr>
              </a:solidFill>
            </a:endParaRPr>
          </a:p>
        </p:txBody>
      </p:sp>
      <p:sp>
        <p:nvSpPr>
          <p:cNvPr id="5" name="Marcador de pie de página 4">
            <a:extLst>
              <a:ext uri="{FF2B5EF4-FFF2-40B4-BE49-F238E27FC236}">
                <a16:creationId xmlns:a16="http://schemas.microsoft.com/office/drawing/2014/main" xmlns="" id="{B5A8A96D-0DB6-4B62-A310-6A525D782B3F}"/>
              </a:ext>
            </a:extLst>
          </p:cNvPr>
          <p:cNvSpPr>
            <a:spLocks noGrp="1"/>
          </p:cNvSpPr>
          <p:nvPr>
            <p:ph type="ftr" sz="quarter" idx="11"/>
          </p:nvPr>
        </p:nvSpPr>
        <p:spPr/>
        <p:txBody>
          <a:bodyPr/>
          <a:lstStyle/>
          <a:p>
            <a:endParaRPr lang="es-CL">
              <a:solidFill>
                <a:srgbClr val="0C662F">
                  <a:tint val="75000"/>
                </a:srgbClr>
              </a:solidFill>
            </a:endParaRPr>
          </a:p>
        </p:txBody>
      </p:sp>
      <p:sp>
        <p:nvSpPr>
          <p:cNvPr id="6" name="Marcador de número de diapositiva 5">
            <a:extLst>
              <a:ext uri="{FF2B5EF4-FFF2-40B4-BE49-F238E27FC236}">
                <a16:creationId xmlns:a16="http://schemas.microsoft.com/office/drawing/2014/main" xmlns="" id="{60AF4B7E-8BF3-43F2-8130-2B50445CA360}"/>
              </a:ext>
            </a:extLst>
          </p:cNvPr>
          <p:cNvSpPr>
            <a:spLocks noGrp="1"/>
          </p:cNvSpPr>
          <p:nvPr>
            <p:ph type="sldNum" sz="quarter" idx="12"/>
          </p:nvPr>
        </p:nvSpPr>
        <p:spPr/>
        <p:txBody>
          <a:bodyPr/>
          <a:lstStyle/>
          <a:p>
            <a:fld id="{D53CCA99-CF64-451F-A9BB-06365FA9480C}" type="slidenum">
              <a:rPr lang="es-CL" smtClean="0">
                <a:solidFill>
                  <a:srgbClr val="0C662F">
                    <a:tint val="75000"/>
                  </a:srgbClr>
                </a:solidFill>
              </a:rPr>
              <a:pPr/>
              <a:t>‹Nº›</a:t>
            </a:fld>
            <a:endParaRPr lang="es-CL">
              <a:solidFill>
                <a:srgbClr val="0C662F">
                  <a:tint val="75000"/>
                </a:srgbClr>
              </a:solidFill>
            </a:endParaRPr>
          </a:p>
        </p:txBody>
      </p:sp>
    </p:spTree>
    <p:extLst>
      <p:ext uri="{BB962C8B-B14F-4D97-AF65-F5344CB8AC3E}">
        <p14:creationId xmlns:p14="http://schemas.microsoft.com/office/powerpoint/2010/main" val="239821006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xmlns="" id="{59E97F7F-8F39-4088-8781-69FEAB78DB97}"/>
              </a:ext>
            </a:extLst>
          </p:cNvPr>
          <p:cNvSpPr>
            <a:spLocks noGrp="1"/>
          </p:cNvSpPr>
          <p:nvPr>
            <p:ph type="sldNum" sz="quarter" idx="12"/>
          </p:nvPr>
        </p:nvSpPr>
        <p:spPr>
          <a:xfrm>
            <a:off x="15205820" y="514364"/>
            <a:ext cx="878521" cy="479227"/>
          </a:xfrm>
          <a:prstGeom prst="rect">
            <a:avLst/>
          </a:prstGeom>
        </p:spPr>
        <p:txBody>
          <a:bodyPr/>
          <a:lstStyle/>
          <a:p>
            <a:fld id="{2792224D-FD33-4836-BBD8-A8F18D809236}" type="slidenum">
              <a:rPr lang="en-US" smtClean="0">
                <a:solidFill>
                  <a:srgbClr val="0C662F">
                    <a:tint val="75000"/>
                  </a:srgbClr>
                </a:solidFill>
              </a:rPr>
              <a:pPr/>
              <a:t>‹Nº›</a:t>
            </a:fld>
            <a:endParaRPr lang="en-US" dirty="0">
              <a:solidFill>
                <a:srgbClr val="0C662F">
                  <a:tint val="75000"/>
                </a:srgbClr>
              </a:solidFill>
            </a:endParaRPr>
          </a:p>
        </p:txBody>
      </p:sp>
      <p:sp>
        <p:nvSpPr>
          <p:cNvPr id="12" name="Picture Placeholder 11">
            <a:extLst>
              <a:ext uri="{FF2B5EF4-FFF2-40B4-BE49-F238E27FC236}">
                <a16:creationId xmlns:a16="http://schemas.microsoft.com/office/drawing/2014/main" xmlns="" id="{389A5E46-8D5D-474E-B97E-9CC2AA555007}"/>
              </a:ext>
            </a:extLst>
          </p:cNvPr>
          <p:cNvSpPr>
            <a:spLocks noGrp="1"/>
          </p:cNvSpPr>
          <p:nvPr>
            <p:ph type="pic" sz="quarter" idx="13"/>
          </p:nvPr>
        </p:nvSpPr>
        <p:spPr>
          <a:xfrm>
            <a:off x="10515296" y="4"/>
            <a:ext cx="5686730" cy="9001124"/>
          </a:xfrm>
          <a:custGeom>
            <a:avLst/>
            <a:gdLst>
              <a:gd name="connsiteX0" fmla="*/ 1534407 w 4279256"/>
              <a:gd name="connsiteY0" fmla="*/ 0 h 6857999"/>
              <a:gd name="connsiteX1" fmla="*/ 4279256 w 4279256"/>
              <a:gd name="connsiteY1" fmla="*/ 0 h 6857999"/>
              <a:gd name="connsiteX2" fmla="*/ 4279255 w 4279256"/>
              <a:gd name="connsiteY2" fmla="*/ 6857999 h 6857999"/>
              <a:gd name="connsiteX3" fmla="*/ 1534406 w 4279256"/>
              <a:gd name="connsiteY3" fmla="*/ 6857999 h 6857999"/>
              <a:gd name="connsiteX4" fmla="*/ 1507287 w 4279256"/>
              <a:gd name="connsiteY4" fmla="*/ 6834508 h 6857999"/>
              <a:gd name="connsiteX5" fmla="*/ 0 w 4279256"/>
              <a:gd name="connsiteY5" fmla="*/ 3429000 h 6857999"/>
              <a:gd name="connsiteX6" fmla="*/ 1507287 w 4279256"/>
              <a:gd name="connsiteY6" fmla="*/ 2349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9256" h="6857999">
                <a:moveTo>
                  <a:pt x="1534407" y="0"/>
                </a:moveTo>
                <a:lnTo>
                  <a:pt x="4279256" y="0"/>
                </a:lnTo>
                <a:lnTo>
                  <a:pt x="4279255" y="6857999"/>
                </a:lnTo>
                <a:lnTo>
                  <a:pt x="1534406" y="6857999"/>
                </a:lnTo>
                <a:lnTo>
                  <a:pt x="1507287" y="6834508"/>
                </a:lnTo>
                <a:cubicBezTo>
                  <a:pt x="581329" y="5992915"/>
                  <a:pt x="0" y="4778846"/>
                  <a:pt x="0" y="3429000"/>
                </a:cubicBezTo>
                <a:cubicBezTo>
                  <a:pt x="0" y="2079154"/>
                  <a:pt x="581329" y="865084"/>
                  <a:pt x="1507287" y="23492"/>
                </a:cubicBezTo>
                <a:close/>
              </a:path>
            </a:pathLst>
          </a:custGeom>
          <a:solidFill>
            <a:schemeClr val="bg1">
              <a:lumMod val="95000"/>
            </a:schemeClr>
          </a:solidFill>
        </p:spPr>
        <p:txBody>
          <a:bodyPr wrap="square">
            <a:noAutofit/>
          </a:bodyPr>
          <a:lstStyle>
            <a:lvl1pPr>
              <a:defRPr sz="1575">
                <a:solidFill>
                  <a:schemeClr val="tx1"/>
                </a:solidFill>
              </a:defRPr>
            </a:lvl1pPr>
          </a:lstStyle>
          <a:p>
            <a:endParaRPr lang="en-US" dirty="0"/>
          </a:p>
        </p:txBody>
      </p:sp>
    </p:spTree>
    <p:extLst>
      <p:ext uri="{BB962C8B-B14F-4D97-AF65-F5344CB8AC3E}">
        <p14:creationId xmlns:p14="http://schemas.microsoft.com/office/powerpoint/2010/main" val="213187266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xmlns="" id="{59E97F7F-8F39-4088-8781-69FEAB78DB97}"/>
              </a:ext>
            </a:extLst>
          </p:cNvPr>
          <p:cNvSpPr>
            <a:spLocks noGrp="1"/>
          </p:cNvSpPr>
          <p:nvPr>
            <p:ph type="sldNum" sz="quarter" idx="12"/>
          </p:nvPr>
        </p:nvSpPr>
        <p:spPr>
          <a:xfrm>
            <a:off x="15311509" y="514364"/>
            <a:ext cx="667143" cy="479227"/>
          </a:xfrm>
          <a:prstGeom prst="rect">
            <a:avLst/>
          </a:prstGeom>
        </p:spPr>
        <p:txBody>
          <a:bodyPr/>
          <a:lstStyle/>
          <a:p>
            <a:fld id="{2792224D-FD33-4836-BBD8-A8F18D809236}" type="slidenum">
              <a:rPr lang="en-US" smtClean="0">
                <a:solidFill>
                  <a:srgbClr val="0C662F">
                    <a:tint val="75000"/>
                  </a:srgbClr>
                </a:solidFill>
              </a:rPr>
              <a:pPr/>
              <a:t>‹Nº›</a:t>
            </a:fld>
            <a:endParaRPr lang="en-US" dirty="0">
              <a:solidFill>
                <a:srgbClr val="0C662F">
                  <a:tint val="75000"/>
                </a:srgbClr>
              </a:solidFill>
            </a:endParaRPr>
          </a:p>
        </p:txBody>
      </p:sp>
      <p:sp>
        <p:nvSpPr>
          <p:cNvPr id="3" name="Picture Placeholder 2">
            <a:extLst>
              <a:ext uri="{FF2B5EF4-FFF2-40B4-BE49-F238E27FC236}">
                <a16:creationId xmlns:a16="http://schemas.microsoft.com/office/drawing/2014/main" xmlns="" id="{870B173A-72FB-4A32-A457-F6EB4C5DDF8C}"/>
              </a:ext>
            </a:extLst>
          </p:cNvPr>
          <p:cNvSpPr>
            <a:spLocks noGrp="1"/>
          </p:cNvSpPr>
          <p:nvPr>
            <p:ph type="pic" sz="quarter" idx="13"/>
          </p:nvPr>
        </p:nvSpPr>
        <p:spPr>
          <a:xfrm>
            <a:off x="0" y="0"/>
            <a:ext cx="16202025" cy="9001125"/>
          </a:xfrm>
          <a:prstGeom prst="rect">
            <a:avLst/>
          </a:prstGeom>
          <a:solidFill>
            <a:schemeClr val="bg1">
              <a:lumMod val="95000"/>
            </a:schemeClr>
          </a:solidFill>
        </p:spPr>
        <p:txBody>
          <a:bodyPr>
            <a:normAutofit/>
          </a:bodyPr>
          <a:lstStyle>
            <a:lvl1pPr>
              <a:defRPr sz="1575"/>
            </a:lvl1pPr>
          </a:lstStyle>
          <a:p>
            <a:endParaRPr lang="en-US" dirty="0"/>
          </a:p>
        </p:txBody>
      </p:sp>
    </p:spTree>
    <p:extLst>
      <p:ext uri="{BB962C8B-B14F-4D97-AF65-F5344CB8AC3E}">
        <p14:creationId xmlns:p14="http://schemas.microsoft.com/office/powerpoint/2010/main" val="20333243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9C18FE8-0749-2C42-B198-0F4DC5680F43}"/>
              </a:ext>
            </a:extLst>
          </p:cNvPr>
          <p:cNvSpPr>
            <a:spLocks noGrp="1"/>
          </p:cNvSpPr>
          <p:nvPr>
            <p:ph type="ctrTitle"/>
          </p:nvPr>
        </p:nvSpPr>
        <p:spPr>
          <a:xfrm>
            <a:off x="2025253" y="1473101"/>
            <a:ext cx="12151519" cy="3133725"/>
          </a:xfrm>
        </p:spPr>
        <p:txBody>
          <a:bodyPr anchor="b"/>
          <a:lstStyle>
            <a:lvl1pPr algn="ctr">
              <a:defRPr sz="7875"/>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353F16A4-AA9E-234F-B410-8DFF50025333}"/>
              </a:ext>
            </a:extLst>
          </p:cNvPr>
          <p:cNvSpPr>
            <a:spLocks noGrp="1"/>
          </p:cNvSpPr>
          <p:nvPr>
            <p:ph type="subTitle" idx="1"/>
          </p:nvPr>
        </p:nvSpPr>
        <p:spPr>
          <a:xfrm>
            <a:off x="2025253" y="4727675"/>
            <a:ext cx="12151519" cy="2173188"/>
          </a:xfrm>
        </p:spPr>
        <p:txBody>
          <a:bodyPr/>
          <a:lstStyle>
            <a:lvl1pPr marL="0" indent="0" algn="ctr">
              <a:buNone/>
              <a:defRPr sz="3150"/>
            </a:lvl1pPr>
            <a:lvl2pPr marL="600075" indent="0" algn="ctr">
              <a:buNone/>
              <a:defRPr sz="2625"/>
            </a:lvl2pPr>
            <a:lvl3pPr marL="1200150" indent="0" algn="ctr">
              <a:buNone/>
              <a:defRPr sz="2363"/>
            </a:lvl3pPr>
            <a:lvl4pPr marL="1800225" indent="0" algn="ctr">
              <a:buNone/>
              <a:defRPr sz="2100"/>
            </a:lvl4pPr>
            <a:lvl5pPr marL="2400300" indent="0" algn="ctr">
              <a:buNone/>
              <a:defRPr sz="2100"/>
            </a:lvl5pPr>
            <a:lvl6pPr marL="3000375" indent="0" algn="ctr">
              <a:buNone/>
              <a:defRPr sz="2100"/>
            </a:lvl6pPr>
            <a:lvl7pPr marL="3600450" indent="0" algn="ctr">
              <a:buNone/>
              <a:defRPr sz="2100"/>
            </a:lvl7pPr>
            <a:lvl8pPr marL="4200525" indent="0" algn="ctr">
              <a:buNone/>
              <a:defRPr sz="2100"/>
            </a:lvl8pPr>
            <a:lvl9pPr marL="4800600" indent="0" algn="ctr">
              <a:buNone/>
              <a:defRPr sz="21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8387DE06-223E-2244-A571-B284E954A96A}"/>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907C2FDC-5719-904E-A060-B6058680B96A}"/>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6D64D61-8CDF-454B-88D3-8B532544DAD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8516940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884828A-099E-2347-B19D-1C80ECCE077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4F8E1F0-E41D-D545-A40F-6BADA7C03DFB}"/>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DF3CF82D-BAD7-484A-98E4-BE01FD421FD1}"/>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EE583DE5-4464-0F40-BA02-E9FAF4A93AB4}"/>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D7F6F050-6708-6A42-92DD-7E0D834B6344}"/>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27342394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1FDD8CC-7D23-574F-832E-026B7C97180D}"/>
              </a:ext>
            </a:extLst>
          </p:cNvPr>
          <p:cNvSpPr>
            <a:spLocks noGrp="1"/>
          </p:cNvSpPr>
          <p:nvPr>
            <p:ph type="title"/>
          </p:nvPr>
        </p:nvSpPr>
        <p:spPr>
          <a:xfrm>
            <a:off x="1105450" y="2244032"/>
            <a:ext cx="13974247" cy="3744217"/>
          </a:xfrm>
        </p:spPr>
        <p:txBody>
          <a:bodyPr anchor="b"/>
          <a:lstStyle>
            <a:lvl1pPr>
              <a:defRPr sz="7875"/>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C5EE044A-675D-ED4C-A767-9BC712FA195A}"/>
              </a:ext>
            </a:extLst>
          </p:cNvPr>
          <p:cNvSpPr>
            <a:spLocks noGrp="1"/>
          </p:cNvSpPr>
          <p:nvPr>
            <p:ph type="body" idx="1"/>
          </p:nvPr>
        </p:nvSpPr>
        <p:spPr>
          <a:xfrm>
            <a:off x="1105450" y="6023671"/>
            <a:ext cx="13974247" cy="1968995"/>
          </a:xfrm>
        </p:spPr>
        <p:txBody>
          <a:bodyPr/>
          <a:lstStyle>
            <a:lvl1pPr marL="0" indent="0">
              <a:buNone/>
              <a:defRPr sz="3150">
                <a:solidFill>
                  <a:schemeClr val="tx1">
                    <a:tint val="75000"/>
                  </a:schemeClr>
                </a:solidFill>
              </a:defRPr>
            </a:lvl1pPr>
            <a:lvl2pPr marL="600075" indent="0">
              <a:buNone/>
              <a:defRPr sz="2625">
                <a:solidFill>
                  <a:schemeClr val="tx1">
                    <a:tint val="75000"/>
                  </a:schemeClr>
                </a:solidFill>
              </a:defRPr>
            </a:lvl2pPr>
            <a:lvl3pPr marL="1200150" indent="0">
              <a:buNone/>
              <a:defRPr sz="2363">
                <a:solidFill>
                  <a:schemeClr val="tx1">
                    <a:tint val="75000"/>
                  </a:schemeClr>
                </a:solidFill>
              </a:defRPr>
            </a:lvl3pPr>
            <a:lvl4pPr marL="1800225" indent="0">
              <a:buNone/>
              <a:defRPr sz="2100">
                <a:solidFill>
                  <a:schemeClr val="tx1">
                    <a:tint val="75000"/>
                  </a:schemeClr>
                </a:solidFill>
              </a:defRPr>
            </a:lvl4pPr>
            <a:lvl5pPr marL="2400300" indent="0">
              <a:buNone/>
              <a:defRPr sz="2100">
                <a:solidFill>
                  <a:schemeClr val="tx1">
                    <a:tint val="75000"/>
                  </a:schemeClr>
                </a:solidFill>
              </a:defRPr>
            </a:lvl5pPr>
            <a:lvl6pPr marL="3000375" indent="0">
              <a:buNone/>
              <a:defRPr sz="2100">
                <a:solidFill>
                  <a:schemeClr val="tx1">
                    <a:tint val="75000"/>
                  </a:schemeClr>
                </a:solidFill>
              </a:defRPr>
            </a:lvl6pPr>
            <a:lvl7pPr marL="3600450" indent="0">
              <a:buNone/>
              <a:defRPr sz="2100">
                <a:solidFill>
                  <a:schemeClr val="tx1">
                    <a:tint val="75000"/>
                  </a:schemeClr>
                </a:solidFill>
              </a:defRPr>
            </a:lvl7pPr>
            <a:lvl8pPr marL="4200525" indent="0">
              <a:buNone/>
              <a:defRPr sz="2100">
                <a:solidFill>
                  <a:schemeClr val="tx1">
                    <a:tint val="75000"/>
                  </a:schemeClr>
                </a:solidFill>
              </a:defRPr>
            </a:lvl8pPr>
            <a:lvl9pPr marL="4800600" indent="0">
              <a:buNone/>
              <a:defRPr sz="21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1BA5BFD-9126-B440-90F1-F47A6259064F}"/>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12731A68-3B59-8C40-AFDF-CCAB350FF11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51D325D-637D-9649-ADB0-A863497477F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69257969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7A881FB-4F42-8046-ABC6-B04A53866E0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B62BF278-7035-F148-AFCF-4FA196416ED3}"/>
              </a:ext>
            </a:extLst>
          </p:cNvPr>
          <p:cNvSpPr>
            <a:spLocks noGrp="1"/>
          </p:cNvSpPr>
          <p:nvPr>
            <p:ph sz="half" idx="1"/>
          </p:nvPr>
        </p:nvSpPr>
        <p:spPr>
          <a:xfrm>
            <a:off x="1113889" y="2396133"/>
            <a:ext cx="6885861" cy="5711131"/>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FCA97817-07AA-5E4B-97F1-F783A4A740D7}"/>
              </a:ext>
            </a:extLst>
          </p:cNvPr>
          <p:cNvSpPr>
            <a:spLocks noGrp="1"/>
          </p:cNvSpPr>
          <p:nvPr>
            <p:ph sz="half" idx="2"/>
          </p:nvPr>
        </p:nvSpPr>
        <p:spPr>
          <a:xfrm>
            <a:off x="8202275" y="2396133"/>
            <a:ext cx="6885861" cy="5711131"/>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1EDC9D8F-2F49-EA47-AA74-DD02ACE0F072}"/>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4A3E329F-D94A-0A44-AC1D-F3C7944AE39C}"/>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6F475A9C-0876-284E-8D0F-C653941FA731}"/>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74538141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AB87EF9-D2CA-1F40-85B8-4D5B5EA77898}"/>
              </a:ext>
            </a:extLst>
          </p:cNvPr>
          <p:cNvSpPr>
            <a:spLocks noGrp="1"/>
          </p:cNvSpPr>
          <p:nvPr>
            <p:ph type="title"/>
          </p:nvPr>
        </p:nvSpPr>
        <p:spPr>
          <a:xfrm>
            <a:off x="1115999" y="479227"/>
            <a:ext cx="13974247" cy="1739801"/>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2F78C959-5C05-5A42-B241-D5C7245124C0}"/>
              </a:ext>
            </a:extLst>
          </p:cNvPr>
          <p:cNvSpPr>
            <a:spLocks noGrp="1"/>
          </p:cNvSpPr>
          <p:nvPr>
            <p:ph type="body" idx="1"/>
          </p:nvPr>
        </p:nvSpPr>
        <p:spPr>
          <a:xfrm>
            <a:off x="1116000" y="2206526"/>
            <a:ext cx="6854215" cy="1081385"/>
          </a:xfrm>
        </p:spPr>
        <p:txBody>
          <a:bodyPr anchor="b"/>
          <a:lstStyle>
            <a:lvl1pPr marL="0" indent="0">
              <a:buNone/>
              <a:defRPr sz="3150" b="1"/>
            </a:lvl1pPr>
            <a:lvl2pPr marL="600075" indent="0">
              <a:buNone/>
              <a:defRPr sz="2625" b="1"/>
            </a:lvl2pPr>
            <a:lvl3pPr marL="1200150" indent="0">
              <a:buNone/>
              <a:defRPr sz="2363" b="1"/>
            </a:lvl3pPr>
            <a:lvl4pPr marL="1800225" indent="0">
              <a:buNone/>
              <a:defRPr sz="2100" b="1"/>
            </a:lvl4pPr>
            <a:lvl5pPr marL="2400300" indent="0">
              <a:buNone/>
              <a:defRPr sz="2100" b="1"/>
            </a:lvl5pPr>
            <a:lvl6pPr marL="3000375" indent="0">
              <a:buNone/>
              <a:defRPr sz="2100" b="1"/>
            </a:lvl6pPr>
            <a:lvl7pPr marL="3600450" indent="0">
              <a:buNone/>
              <a:defRPr sz="2100" b="1"/>
            </a:lvl7pPr>
            <a:lvl8pPr marL="4200525" indent="0">
              <a:buNone/>
              <a:defRPr sz="2100" b="1"/>
            </a:lvl8pPr>
            <a:lvl9pPr marL="4800600" indent="0">
              <a:buNone/>
              <a:defRPr sz="21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201F5C5C-CFA9-8947-9E7F-EAEF055FB92C}"/>
              </a:ext>
            </a:extLst>
          </p:cNvPr>
          <p:cNvSpPr>
            <a:spLocks noGrp="1"/>
          </p:cNvSpPr>
          <p:nvPr>
            <p:ph sz="half" idx="2"/>
          </p:nvPr>
        </p:nvSpPr>
        <p:spPr>
          <a:xfrm>
            <a:off x="1116000" y="3287911"/>
            <a:ext cx="6854215" cy="4836022"/>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xmlns="" id="{62A23890-50DA-BF48-BF51-6D023D6F5626}"/>
              </a:ext>
            </a:extLst>
          </p:cNvPr>
          <p:cNvSpPr>
            <a:spLocks noGrp="1"/>
          </p:cNvSpPr>
          <p:nvPr>
            <p:ph type="body" sz="quarter" idx="3"/>
          </p:nvPr>
        </p:nvSpPr>
        <p:spPr>
          <a:xfrm>
            <a:off x="8202275" y="2206526"/>
            <a:ext cx="6887971" cy="1081385"/>
          </a:xfrm>
        </p:spPr>
        <p:txBody>
          <a:bodyPr anchor="b"/>
          <a:lstStyle>
            <a:lvl1pPr marL="0" indent="0">
              <a:buNone/>
              <a:defRPr sz="3150" b="1"/>
            </a:lvl1pPr>
            <a:lvl2pPr marL="600075" indent="0">
              <a:buNone/>
              <a:defRPr sz="2625" b="1"/>
            </a:lvl2pPr>
            <a:lvl3pPr marL="1200150" indent="0">
              <a:buNone/>
              <a:defRPr sz="2363" b="1"/>
            </a:lvl3pPr>
            <a:lvl4pPr marL="1800225" indent="0">
              <a:buNone/>
              <a:defRPr sz="2100" b="1"/>
            </a:lvl4pPr>
            <a:lvl5pPr marL="2400300" indent="0">
              <a:buNone/>
              <a:defRPr sz="2100" b="1"/>
            </a:lvl5pPr>
            <a:lvl6pPr marL="3000375" indent="0">
              <a:buNone/>
              <a:defRPr sz="2100" b="1"/>
            </a:lvl6pPr>
            <a:lvl7pPr marL="3600450" indent="0">
              <a:buNone/>
              <a:defRPr sz="2100" b="1"/>
            </a:lvl7pPr>
            <a:lvl8pPr marL="4200525" indent="0">
              <a:buNone/>
              <a:defRPr sz="2100" b="1"/>
            </a:lvl8pPr>
            <a:lvl9pPr marL="4800600" indent="0">
              <a:buNone/>
              <a:defRPr sz="21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xmlns="" id="{2669B336-F8D7-1244-9AEF-B3D4CF221F2E}"/>
              </a:ext>
            </a:extLst>
          </p:cNvPr>
          <p:cNvSpPr>
            <a:spLocks noGrp="1"/>
          </p:cNvSpPr>
          <p:nvPr>
            <p:ph sz="quarter" idx="4"/>
          </p:nvPr>
        </p:nvSpPr>
        <p:spPr>
          <a:xfrm>
            <a:off x="8202275" y="3287911"/>
            <a:ext cx="6887971" cy="4836022"/>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xmlns="" id="{0EDC099B-DF1B-2449-9A08-9318A4FD2886}"/>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8" name="Marcador de pie de página 7">
            <a:extLst>
              <a:ext uri="{FF2B5EF4-FFF2-40B4-BE49-F238E27FC236}">
                <a16:creationId xmlns:a16="http://schemas.microsoft.com/office/drawing/2014/main" xmlns="" id="{75F737D9-C32F-2346-A5CA-E61781AC72E2}"/>
              </a:ext>
            </a:extLst>
          </p:cNvPr>
          <p:cNvSpPr>
            <a:spLocks noGrp="1"/>
          </p:cNvSpPr>
          <p:nvPr>
            <p:ph type="ftr" sz="quarter" idx="11"/>
          </p:nvPr>
        </p:nvSpPr>
        <p:spPr/>
        <p:txBody>
          <a:bodyPr/>
          <a:lstStyle/>
          <a:p>
            <a:endParaRPr lang="es-CL">
              <a:solidFill>
                <a:prstClr val="black">
                  <a:tint val="75000"/>
                </a:prstClr>
              </a:solidFill>
            </a:endParaRPr>
          </a:p>
        </p:txBody>
      </p:sp>
      <p:sp>
        <p:nvSpPr>
          <p:cNvPr id="9" name="Marcador de número de diapositiva 8">
            <a:extLst>
              <a:ext uri="{FF2B5EF4-FFF2-40B4-BE49-F238E27FC236}">
                <a16:creationId xmlns:a16="http://schemas.microsoft.com/office/drawing/2014/main" xmlns="" id="{A1704B97-9C58-804B-8BDF-B18CF564C53D}"/>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47184763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F8977A6-5208-D946-973F-FD471EA08A5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31CC0EF0-3CAD-9D41-8E5E-8E9F5E30559D}"/>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4" name="Marcador de pie de página 3">
            <a:extLst>
              <a:ext uri="{FF2B5EF4-FFF2-40B4-BE49-F238E27FC236}">
                <a16:creationId xmlns:a16="http://schemas.microsoft.com/office/drawing/2014/main" xmlns="" id="{639BA876-8B0B-7F41-9383-7EA4CF6AEAD8}"/>
              </a:ext>
            </a:extLst>
          </p:cNvPr>
          <p:cNvSpPr>
            <a:spLocks noGrp="1"/>
          </p:cNvSpPr>
          <p:nvPr>
            <p:ph type="ftr" sz="quarter" idx="11"/>
          </p:nvPr>
        </p:nvSpPr>
        <p:spPr/>
        <p:txBody>
          <a:bodyPr/>
          <a:lstStyle/>
          <a:p>
            <a:endParaRPr lang="es-CL">
              <a:solidFill>
                <a:prstClr val="black">
                  <a:tint val="75000"/>
                </a:prstClr>
              </a:solidFill>
            </a:endParaRPr>
          </a:p>
        </p:txBody>
      </p:sp>
      <p:sp>
        <p:nvSpPr>
          <p:cNvPr id="5" name="Marcador de número de diapositiva 4">
            <a:extLst>
              <a:ext uri="{FF2B5EF4-FFF2-40B4-BE49-F238E27FC236}">
                <a16:creationId xmlns:a16="http://schemas.microsoft.com/office/drawing/2014/main" xmlns="" id="{DDEC1E57-3812-B243-8646-D1D2C1A1766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8895067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xmlns="" id="{70A96AC2-DB9F-4D6D-881E-4E543430B393}"/>
              </a:ext>
            </a:extLst>
          </p:cNvPr>
          <p:cNvSpPr>
            <a:spLocks noGrp="1"/>
          </p:cNvSpPr>
          <p:nvPr>
            <p:ph type="pic" sz="quarter" idx="13"/>
          </p:nvPr>
        </p:nvSpPr>
        <p:spPr>
          <a:xfrm>
            <a:off x="481456" y="1961880"/>
            <a:ext cx="7268358" cy="6697144"/>
          </a:xfrm>
          <a:custGeom>
            <a:avLst/>
            <a:gdLst>
              <a:gd name="connsiteX0" fmla="*/ 3149332 w 5470853"/>
              <a:gd name="connsiteY0" fmla="*/ 555 h 5102586"/>
              <a:gd name="connsiteX1" fmla="*/ 3568655 w 5470853"/>
              <a:gd name="connsiteY1" fmla="*/ 52874 h 5102586"/>
              <a:gd name="connsiteX2" fmla="*/ 3797788 w 5470853"/>
              <a:gd name="connsiteY2" fmla="*/ 93576 h 5102586"/>
              <a:gd name="connsiteX3" fmla="*/ 3840750 w 5470853"/>
              <a:gd name="connsiteY3" fmla="*/ 174980 h 5102586"/>
              <a:gd name="connsiteX4" fmla="*/ 3840750 w 5470853"/>
              <a:gd name="connsiteY4" fmla="*/ 520950 h 5102586"/>
              <a:gd name="connsiteX5" fmla="*/ 3826430 w 5470853"/>
              <a:gd name="connsiteY5" fmla="*/ 602354 h 5102586"/>
              <a:gd name="connsiteX6" fmla="*/ 3820533 w 5470853"/>
              <a:gd name="connsiteY6" fmla="*/ 605400 h 5102586"/>
              <a:gd name="connsiteX7" fmla="*/ 3822171 w 5470853"/>
              <a:gd name="connsiteY7" fmla="*/ 625061 h 5102586"/>
              <a:gd name="connsiteX8" fmla="*/ 3838281 w 5470853"/>
              <a:gd name="connsiteY8" fmla="*/ 681027 h 5102586"/>
              <a:gd name="connsiteX9" fmla="*/ 3952849 w 5470853"/>
              <a:gd name="connsiteY9" fmla="*/ 579271 h 5102586"/>
              <a:gd name="connsiteX10" fmla="*/ 4697530 w 5470853"/>
              <a:gd name="connsiteY10" fmla="*/ 619973 h 5102586"/>
              <a:gd name="connsiteX11" fmla="*/ 4926663 w 5470853"/>
              <a:gd name="connsiteY11" fmla="*/ 660675 h 5102586"/>
              <a:gd name="connsiteX12" fmla="*/ 4969625 w 5470853"/>
              <a:gd name="connsiteY12" fmla="*/ 742081 h 5102586"/>
              <a:gd name="connsiteX13" fmla="*/ 4969625 w 5470853"/>
              <a:gd name="connsiteY13" fmla="*/ 1088050 h 5102586"/>
              <a:gd name="connsiteX14" fmla="*/ 4955305 w 5470853"/>
              <a:gd name="connsiteY14" fmla="*/ 1169454 h 5102586"/>
              <a:gd name="connsiteX15" fmla="*/ 4883700 w 5470853"/>
              <a:gd name="connsiteY15" fmla="*/ 1434019 h 5102586"/>
              <a:gd name="connsiteX16" fmla="*/ 4955305 w 5470853"/>
              <a:gd name="connsiteY16" fmla="*/ 1556125 h 5102586"/>
              <a:gd name="connsiteX17" fmla="*/ 5026909 w 5470853"/>
              <a:gd name="connsiteY17" fmla="*/ 1576476 h 5102586"/>
              <a:gd name="connsiteX18" fmla="*/ 4969625 w 5470853"/>
              <a:gd name="connsiteY18" fmla="*/ 1657880 h 5102586"/>
              <a:gd name="connsiteX19" fmla="*/ 5041229 w 5470853"/>
              <a:gd name="connsiteY19" fmla="*/ 1637529 h 5102586"/>
              <a:gd name="connsiteX20" fmla="*/ 5026909 w 5470853"/>
              <a:gd name="connsiteY20" fmla="*/ 1576476 h 5102586"/>
              <a:gd name="connsiteX21" fmla="*/ 5041229 w 5470853"/>
              <a:gd name="connsiteY21" fmla="*/ 1576476 h 5102586"/>
              <a:gd name="connsiteX22" fmla="*/ 5055550 w 5470853"/>
              <a:gd name="connsiteY22" fmla="*/ 1556125 h 5102586"/>
              <a:gd name="connsiteX23" fmla="*/ 5241721 w 5470853"/>
              <a:gd name="connsiteY23" fmla="*/ 1576476 h 5102586"/>
              <a:gd name="connsiteX24" fmla="*/ 5470853 w 5470853"/>
              <a:gd name="connsiteY24" fmla="*/ 1657880 h 5102586"/>
              <a:gd name="connsiteX25" fmla="*/ 5470853 w 5470853"/>
              <a:gd name="connsiteY25" fmla="*/ 1678231 h 5102586"/>
              <a:gd name="connsiteX26" fmla="*/ 5456533 w 5470853"/>
              <a:gd name="connsiteY26" fmla="*/ 1942796 h 5102586"/>
              <a:gd name="connsiteX27" fmla="*/ 5427891 w 5470853"/>
              <a:gd name="connsiteY27" fmla="*/ 1963147 h 5102586"/>
              <a:gd name="connsiteX28" fmla="*/ 5356287 w 5470853"/>
              <a:gd name="connsiteY28" fmla="*/ 1942796 h 5102586"/>
              <a:gd name="connsiteX29" fmla="*/ 5284683 w 5470853"/>
              <a:gd name="connsiteY29" fmla="*/ 1841041 h 5102586"/>
              <a:gd name="connsiteX30" fmla="*/ 5270363 w 5470853"/>
              <a:gd name="connsiteY30" fmla="*/ 1779988 h 5102586"/>
              <a:gd name="connsiteX31" fmla="*/ 5213079 w 5470853"/>
              <a:gd name="connsiteY31" fmla="*/ 1841041 h 5102586"/>
              <a:gd name="connsiteX32" fmla="*/ 5213079 w 5470853"/>
              <a:gd name="connsiteY32" fmla="*/ 1861392 h 5102586"/>
              <a:gd name="connsiteX33" fmla="*/ 5198758 w 5470853"/>
              <a:gd name="connsiteY33" fmla="*/ 1881743 h 5102586"/>
              <a:gd name="connsiteX34" fmla="*/ 5170117 w 5470853"/>
              <a:gd name="connsiteY34" fmla="*/ 1861392 h 5102586"/>
              <a:gd name="connsiteX35" fmla="*/ 5184437 w 5470853"/>
              <a:gd name="connsiteY35" fmla="*/ 1820690 h 5102586"/>
              <a:gd name="connsiteX36" fmla="*/ 5198758 w 5470853"/>
              <a:gd name="connsiteY36" fmla="*/ 1739285 h 5102586"/>
              <a:gd name="connsiteX37" fmla="*/ 4998267 w 5470853"/>
              <a:gd name="connsiteY37" fmla="*/ 1942796 h 5102586"/>
              <a:gd name="connsiteX38" fmla="*/ 5170117 w 5470853"/>
              <a:gd name="connsiteY38" fmla="*/ 2024201 h 5102586"/>
              <a:gd name="connsiteX39" fmla="*/ 5184437 w 5470853"/>
              <a:gd name="connsiteY39" fmla="*/ 2003849 h 5102586"/>
              <a:gd name="connsiteX40" fmla="*/ 5198758 w 5470853"/>
              <a:gd name="connsiteY40" fmla="*/ 1983498 h 5102586"/>
              <a:gd name="connsiteX41" fmla="*/ 5327646 w 5470853"/>
              <a:gd name="connsiteY41" fmla="*/ 2064903 h 5102586"/>
              <a:gd name="connsiteX42" fmla="*/ 5041229 w 5470853"/>
              <a:gd name="connsiteY42" fmla="*/ 2064903 h 5102586"/>
              <a:gd name="connsiteX43" fmla="*/ 4969625 w 5470853"/>
              <a:gd name="connsiteY43" fmla="*/ 2064903 h 5102586"/>
              <a:gd name="connsiteX44" fmla="*/ 4826417 w 5470853"/>
              <a:gd name="connsiteY44" fmla="*/ 2248063 h 5102586"/>
              <a:gd name="connsiteX45" fmla="*/ 4898021 w 5470853"/>
              <a:gd name="connsiteY45" fmla="*/ 2309116 h 5102586"/>
              <a:gd name="connsiteX46" fmla="*/ 5084192 w 5470853"/>
              <a:gd name="connsiteY46" fmla="*/ 2349819 h 5102586"/>
              <a:gd name="connsiteX47" fmla="*/ 5141475 w 5470853"/>
              <a:gd name="connsiteY47" fmla="*/ 2451574 h 5102586"/>
              <a:gd name="connsiteX48" fmla="*/ 5098512 w 5470853"/>
              <a:gd name="connsiteY48" fmla="*/ 2838245 h 5102586"/>
              <a:gd name="connsiteX49" fmla="*/ 5084192 w 5470853"/>
              <a:gd name="connsiteY49" fmla="*/ 3001054 h 5102586"/>
              <a:gd name="connsiteX50" fmla="*/ 5012588 w 5470853"/>
              <a:gd name="connsiteY50" fmla="*/ 3102810 h 5102586"/>
              <a:gd name="connsiteX51" fmla="*/ 4940983 w 5470853"/>
              <a:gd name="connsiteY51" fmla="*/ 3082459 h 5102586"/>
              <a:gd name="connsiteX52" fmla="*/ 4797776 w 5470853"/>
              <a:gd name="connsiteY52" fmla="*/ 3001054 h 5102586"/>
              <a:gd name="connsiteX53" fmla="*/ 4683209 w 5470853"/>
              <a:gd name="connsiteY53" fmla="*/ 3001054 h 5102586"/>
              <a:gd name="connsiteX54" fmla="*/ 4625926 w 5470853"/>
              <a:gd name="connsiteY54" fmla="*/ 3041756 h 5102586"/>
              <a:gd name="connsiteX55" fmla="*/ 4654568 w 5470853"/>
              <a:gd name="connsiteY55" fmla="*/ 3102810 h 5102586"/>
              <a:gd name="connsiteX56" fmla="*/ 4726171 w 5470853"/>
              <a:gd name="connsiteY56" fmla="*/ 3102810 h 5102586"/>
              <a:gd name="connsiteX57" fmla="*/ 4797776 w 5470853"/>
              <a:gd name="connsiteY57" fmla="*/ 3102810 h 5102586"/>
              <a:gd name="connsiteX58" fmla="*/ 4797776 w 5470853"/>
              <a:gd name="connsiteY58" fmla="*/ 3123161 h 5102586"/>
              <a:gd name="connsiteX59" fmla="*/ 4769134 w 5470853"/>
              <a:gd name="connsiteY59" fmla="*/ 3143512 h 5102586"/>
              <a:gd name="connsiteX60" fmla="*/ 4224944 w 5470853"/>
              <a:gd name="connsiteY60" fmla="*/ 3204565 h 5102586"/>
              <a:gd name="connsiteX61" fmla="*/ 4031613 w 5470853"/>
              <a:gd name="connsiteY61" fmla="*/ 3229368 h 5102586"/>
              <a:gd name="connsiteX62" fmla="*/ 3998391 w 5470853"/>
              <a:gd name="connsiteY62" fmla="*/ 3232975 h 5102586"/>
              <a:gd name="connsiteX63" fmla="*/ 4007678 w 5470853"/>
              <a:gd name="connsiteY63" fmla="*/ 3252543 h 5102586"/>
              <a:gd name="connsiteX64" fmla="*/ 4012600 w 5470853"/>
              <a:gd name="connsiteY64" fmla="*/ 3291337 h 5102586"/>
              <a:gd name="connsiteX65" fmla="*/ 4011350 w 5470853"/>
              <a:gd name="connsiteY65" fmla="*/ 3334560 h 5102586"/>
              <a:gd name="connsiteX66" fmla="*/ 4031613 w 5470853"/>
              <a:gd name="connsiteY66" fmla="*/ 3334303 h 5102586"/>
              <a:gd name="connsiteX67" fmla="*/ 4181981 w 5470853"/>
              <a:gd name="connsiteY67" fmla="*/ 3326672 h 5102586"/>
              <a:gd name="connsiteX68" fmla="*/ 4597285 w 5470853"/>
              <a:gd name="connsiteY68" fmla="*/ 3306321 h 5102586"/>
              <a:gd name="connsiteX69" fmla="*/ 4769134 w 5470853"/>
              <a:gd name="connsiteY69" fmla="*/ 3306321 h 5102586"/>
              <a:gd name="connsiteX70" fmla="*/ 4869380 w 5470853"/>
              <a:gd name="connsiteY70" fmla="*/ 3448779 h 5102586"/>
              <a:gd name="connsiteX71" fmla="*/ 4826417 w 5470853"/>
              <a:gd name="connsiteY71" fmla="*/ 3509832 h 5102586"/>
              <a:gd name="connsiteX72" fmla="*/ 4783455 w 5470853"/>
              <a:gd name="connsiteY72" fmla="*/ 3428428 h 5102586"/>
              <a:gd name="connsiteX73" fmla="*/ 4783455 w 5470853"/>
              <a:gd name="connsiteY73" fmla="*/ 3448779 h 5102586"/>
              <a:gd name="connsiteX74" fmla="*/ 4797776 w 5470853"/>
              <a:gd name="connsiteY74" fmla="*/ 3530183 h 5102586"/>
              <a:gd name="connsiteX75" fmla="*/ 4826417 w 5470853"/>
              <a:gd name="connsiteY75" fmla="*/ 3570885 h 5102586"/>
              <a:gd name="connsiteX76" fmla="*/ 4783455 w 5470853"/>
              <a:gd name="connsiteY76" fmla="*/ 3570885 h 5102586"/>
              <a:gd name="connsiteX77" fmla="*/ 4726171 w 5470853"/>
              <a:gd name="connsiteY77" fmla="*/ 3611587 h 5102586"/>
              <a:gd name="connsiteX78" fmla="*/ 4697530 w 5470853"/>
              <a:gd name="connsiteY78" fmla="*/ 3652290 h 5102586"/>
              <a:gd name="connsiteX79" fmla="*/ 4654568 w 5470853"/>
              <a:gd name="connsiteY79" fmla="*/ 3570885 h 5102586"/>
              <a:gd name="connsiteX80" fmla="*/ 4625926 w 5470853"/>
              <a:gd name="connsiteY80" fmla="*/ 3570885 h 5102586"/>
              <a:gd name="connsiteX81" fmla="*/ 4597285 w 5470853"/>
              <a:gd name="connsiteY81" fmla="*/ 3509832 h 5102586"/>
              <a:gd name="connsiteX82" fmla="*/ 4554322 w 5470853"/>
              <a:gd name="connsiteY82" fmla="*/ 3631938 h 5102586"/>
              <a:gd name="connsiteX83" fmla="*/ 4525680 w 5470853"/>
              <a:gd name="connsiteY83" fmla="*/ 3692992 h 5102586"/>
              <a:gd name="connsiteX84" fmla="*/ 4497039 w 5470853"/>
              <a:gd name="connsiteY84" fmla="*/ 3631938 h 5102586"/>
              <a:gd name="connsiteX85" fmla="*/ 4497039 w 5470853"/>
              <a:gd name="connsiteY85" fmla="*/ 3611587 h 5102586"/>
              <a:gd name="connsiteX86" fmla="*/ 4482718 w 5470853"/>
              <a:gd name="connsiteY86" fmla="*/ 3611587 h 5102586"/>
              <a:gd name="connsiteX87" fmla="*/ 4411114 w 5470853"/>
              <a:gd name="connsiteY87" fmla="*/ 3713343 h 5102586"/>
              <a:gd name="connsiteX88" fmla="*/ 4425435 w 5470853"/>
              <a:gd name="connsiteY88" fmla="*/ 3591236 h 5102586"/>
              <a:gd name="connsiteX89" fmla="*/ 4454076 w 5470853"/>
              <a:gd name="connsiteY89" fmla="*/ 3530183 h 5102586"/>
              <a:gd name="connsiteX90" fmla="*/ 4468397 w 5470853"/>
              <a:gd name="connsiteY90" fmla="*/ 3469130 h 5102586"/>
              <a:gd name="connsiteX91" fmla="*/ 4439756 w 5470853"/>
              <a:gd name="connsiteY91" fmla="*/ 3448779 h 5102586"/>
              <a:gd name="connsiteX92" fmla="*/ 4425435 w 5470853"/>
              <a:gd name="connsiteY92" fmla="*/ 3509832 h 5102586"/>
              <a:gd name="connsiteX93" fmla="*/ 4411114 w 5470853"/>
              <a:gd name="connsiteY93" fmla="*/ 3570885 h 5102586"/>
              <a:gd name="connsiteX94" fmla="*/ 4396793 w 5470853"/>
              <a:gd name="connsiteY94" fmla="*/ 3652290 h 5102586"/>
              <a:gd name="connsiteX95" fmla="*/ 4368151 w 5470853"/>
              <a:gd name="connsiteY95" fmla="*/ 3652290 h 5102586"/>
              <a:gd name="connsiteX96" fmla="*/ 4325189 w 5470853"/>
              <a:gd name="connsiteY96" fmla="*/ 3631938 h 5102586"/>
              <a:gd name="connsiteX97" fmla="*/ 4296547 w 5470853"/>
              <a:gd name="connsiteY97" fmla="*/ 3570885 h 5102586"/>
              <a:gd name="connsiteX98" fmla="*/ 4282227 w 5470853"/>
              <a:gd name="connsiteY98" fmla="*/ 3591236 h 5102586"/>
              <a:gd name="connsiteX99" fmla="*/ 4325189 w 5470853"/>
              <a:gd name="connsiteY99" fmla="*/ 3631938 h 5102586"/>
              <a:gd name="connsiteX100" fmla="*/ 4325189 w 5470853"/>
              <a:gd name="connsiteY100" fmla="*/ 3652290 h 5102586"/>
              <a:gd name="connsiteX101" fmla="*/ 3995810 w 5470853"/>
              <a:gd name="connsiteY101" fmla="*/ 3713343 h 5102586"/>
              <a:gd name="connsiteX102" fmla="*/ 3979029 w 5470853"/>
              <a:gd name="connsiteY102" fmla="*/ 3703485 h 5102586"/>
              <a:gd name="connsiteX103" fmla="*/ 3969170 w 5470853"/>
              <a:gd name="connsiteY103" fmla="*/ 3680760 h 5102586"/>
              <a:gd name="connsiteX104" fmla="*/ 3957600 w 5470853"/>
              <a:gd name="connsiteY104" fmla="*/ 3748879 h 5102586"/>
              <a:gd name="connsiteX105" fmla="*/ 3994021 w 5470853"/>
              <a:gd name="connsiteY105" fmla="*/ 3746414 h 5102586"/>
              <a:gd name="connsiteX106" fmla="*/ 4096056 w 5470853"/>
              <a:gd name="connsiteY106" fmla="*/ 3754046 h 5102586"/>
              <a:gd name="connsiteX107" fmla="*/ 4224944 w 5470853"/>
              <a:gd name="connsiteY107" fmla="*/ 3815099 h 5102586"/>
              <a:gd name="connsiteX108" fmla="*/ 4224944 w 5470853"/>
              <a:gd name="connsiteY108" fmla="*/ 3835450 h 5102586"/>
              <a:gd name="connsiteX109" fmla="*/ 3985294 w 5470853"/>
              <a:gd name="connsiteY109" fmla="*/ 3866931 h 5102586"/>
              <a:gd name="connsiteX110" fmla="*/ 3947048 w 5470853"/>
              <a:gd name="connsiteY110" fmla="*/ 3871608 h 5102586"/>
              <a:gd name="connsiteX111" fmla="*/ 3944129 w 5470853"/>
              <a:gd name="connsiteY111" fmla="*/ 3882474 h 5102586"/>
              <a:gd name="connsiteX112" fmla="*/ 3883713 w 5470853"/>
              <a:gd name="connsiteY112" fmla="*/ 3942573 h 5102586"/>
              <a:gd name="connsiteX113" fmla="*/ 3812109 w 5470853"/>
              <a:gd name="connsiteY113" fmla="*/ 3922222 h 5102586"/>
              <a:gd name="connsiteX114" fmla="*/ 3794960 w 5470853"/>
              <a:gd name="connsiteY114" fmla="*/ 3891144 h 5102586"/>
              <a:gd name="connsiteX115" fmla="*/ 3749000 w 5470853"/>
              <a:gd name="connsiteY115" fmla="*/ 3897139 h 5102586"/>
              <a:gd name="connsiteX116" fmla="*/ 3589458 w 5470853"/>
              <a:gd name="connsiteY116" fmla="*/ 3906679 h 5102586"/>
              <a:gd name="connsiteX117" fmla="*/ 3502505 w 5470853"/>
              <a:gd name="connsiteY117" fmla="*/ 3911967 h 5102586"/>
              <a:gd name="connsiteX118" fmla="*/ 3506002 w 5470853"/>
              <a:gd name="connsiteY118" fmla="*/ 3919678 h 5102586"/>
              <a:gd name="connsiteX119" fmla="*/ 3525693 w 5470853"/>
              <a:gd name="connsiteY119" fmla="*/ 3942573 h 5102586"/>
              <a:gd name="connsiteX120" fmla="*/ 3597297 w 5470853"/>
              <a:gd name="connsiteY120" fmla="*/ 3942573 h 5102586"/>
              <a:gd name="connsiteX121" fmla="*/ 3668901 w 5470853"/>
              <a:gd name="connsiteY121" fmla="*/ 3942573 h 5102586"/>
              <a:gd name="connsiteX122" fmla="*/ 3668901 w 5470853"/>
              <a:gd name="connsiteY122" fmla="*/ 3962924 h 5102586"/>
              <a:gd name="connsiteX123" fmla="*/ 3640259 w 5470853"/>
              <a:gd name="connsiteY123" fmla="*/ 3983275 h 5102586"/>
              <a:gd name="connsiteX124" fmla="*/ 3096069 w 5470853"/>
              <a:gd name="connsiteY124" fmla="*/ 4044328 h 5102586"/>
              <a:gd name="connsiteX125" fmla="*/ 2322746 w 5470853"/>
              <a:gd name="connsiteY125" fmla="*/ 4166435 h 5102586"/>
              <a:gd name="connsiteX126" fmla="*/ 2193858 w 5470853"/>
              <a:gd name="connsiteY126" fmla="*/ 4166435 h 5102586"/>
              <a:gd name="connsiteX127" fmla="*/ 1950405 w 5470853"/>
              <a:gd name="connsiteY127" fmla="*/ 4227489 h 5102586"/>
              <a:gd name="connsiteX128" fmla="*/ 2193858 w 5470853"/>
              <a:gd name="connsiteY128" fmla="*/ 4207137 h 5102586"/>
              <a:gd name="connsiteX129" fmla="*/ 2222500 w 5470853"/>
              <a:gd name="connsiteY129" fmla="*/ 4186786 h 5102586"/>
              <a:gd name="connsiteX130" fmla="*/ 2236821 w 5470853"/>
              <a:gd name="connsiteY130" fmla="*/ 4207137 h 5102586"/>
              <a:gd name="connsiteX131" fmla="*/ 2752370 w 5470853"/>
              <a:gd name="connsiteY131" fmla="*/ 4166435 h 5102586"/>
              <a:gd name="connsiteX132" fmla="*/ 3053106 w 5470853"/>
              <a:gd name="connsiteY132" fmla="*/ 4166435 h 5102586"/>
              <a:gd name="connsiteX133" fmla="*/ 3468410 w 5470853"/>
              <a:gd name="connsiteY133" fmla="*/ 4146083 h 5102586"/>
              <a:gd name="connsiteX134" fmla="*/ 3640259 w 5470853"/>
              <a:gd name="connsiteY134" fmla="*/ 4146083 h 5102586"/>
              <a:gd name="connsiteX135" fmla="*/ 3740505 w 5470853"/>
              <a:gd name="connsiteY135" fmla="*/ 4288542 h 5102586"/>
              <a:gd name="connsiteX136" fmla="*/ 3697542 w 5470853"/>
              <a:gd name="connsiteY136" fmla="*/ 4349595 h 5102586"/>
              <a:gd name="connsiteX137" fmla="*/ 3654581 w 5470853"/>
              <a:gd name="connsiteY137" fmla="*/ 4268191 h 5102586"/>
              <a:gd name="connsiteX138" fmla="*/ 3654581 w 5470853"/>
              <a:gd name="connsiteY138" fmla="*/ 4288542 h 5102586"/>
              <a:gd name="connsiteX139" fmla="*/ 3668901 w 5470853"/>
              <a:gd name="connsiteY139" fmla="*/ 4369946 h 5102586"/>
              <a:gd name="connsiteX140" fmla="*/ 3697542 w 5470853"/>
              <a:gd name="connsiteY140" fmla="*/ 4410648 h 5102586"/>
              <a:gd name="connsiteX141" fmla="*/ 3654581 w 5470853"/>
              <a:gd name="connsiteY141" fmla="*/ 4410648 h 5102586"/>
              <a:gd name="connsiteX142" fmla="*/ 3597297 w 5470853"/>
              <a:gd name="connsiteY142" fmla="*/ 4451350 h 5102586"/>
              <a:gd name="connsiteX143" fmla="*/ 3568655 w 5470853"/>
              <a:gd name="connsiteY143" fmla="*/ 4492053 h 5102586"/>
              <a:gd name="connsiteX144" fmla="*/ 3525693 w 5470853"/>
              <a:gd name="connsiteY144" fmla="*/ 4410648 h 5102586"/>
              <a:gd name="connsiteX145" fmla="*/ 3497052 w 5470853"/>
              <a:gd name="connsiteY145" fmla="*/ 4410648 h 5102586"/>
              <a:gd name="connsiteX146" fmla="*/ 3468410 w 5470853"/>
              <a:gd name="connsiteY146" fmla="*/ 4349595 h 5102586"/>
              <a:gd name="connsiteX147" fmla="*/ 3425447 w 5470853"/>
              <a:gd name="connsiteY147" fmla="*/ 4471701 h 5102586"/>
              <a:gd name="connsiteX148" fmla="*/ 3396806 w 5470853"/>
              <a:gd name="connsiteY148" fmla="*/ 4532755 h 5102586"/>
              <a:gd name="connsiteX149" fmla="*/ 3368164 w 5470853"/>
              <a:gd name="connsiteY149" fmla="*/ 4471701 h 5102586"/>
              <a:gd name="connsiteX150" fmla="*/ 3368164 w 5470853"/>
              <a:gd name="connsiteY150" fmla="*/ 4451350 h 5102586"/>
              <a:gd name="connsiteX151" fmla="*/ 3353843 w 5470853"/>
              <a:gd name="connsiteY151" fmla="*/ 4451350 h 5102586"/>
              <a:gd name="connsiteX152" fmla="*/ 3282240 w 5470853"/>
              <a:gd name="connsiteY152" fmla="*/ 4553106 h 5102586"/>
              <a:gd name="connsiteX153" fmla="*/ 3296560 w 5470853"/>
              <a:gd name="connsiteY153" fmla="*/ 4430999 h 5102586"/>
              <a:gd name="connsiteX154" fmla="*/ 3325201 w 5470853"/>
              <a:gd name="connsiteY154" fmla="*/ 4369946 h 5102586"/>
              <a:gd name="connsiteX155" fmla="*/ 3339523 w 5470853"/>
              <a:gd name="connsiteY155" fmla="*/ 4308893 h 5102586"/>
              <a:gd name="connsiteX156" fmla="*/ 3310881 w 5470853"/>
              <a:gd name="connsiteY156" fmla="*/ 4288542 h 5102586"/>
              <a:gd name="connsiteX157" fmla="*/ 3296560 w 5470853"/>
              <a:gd name="connsiteY157" fmla="*/ 4349595 h 5102586"/>
              <a:gd name="connsiteX158" fmla="*/ 3282240 w 5470853"/>
              <a:gd name="connsiteY158" fmla="*/ 4410648 h 5102586"/>
              <a:gd name="connsiteX159" fmla="*/ 3267918 w 5470853"/>
              <a:gd name="connsiteY159" fmla="*/ 4492053 h 5102586"/>
              <a:gd name="connsiteX160" fmla="*/ 3239277 w 5470853"/>
              <a:gd name="connsiteY160" fmla="*/ 4492053 h 5102586"/>
              <a:gd name="connsiteX161" fmla="*/ 3196314 w 5470853"/>
              <a:gd name="connsiteY161" fmla="*/ 4471701 h 5102586"/>
              <a:gd name="connsiteX162" fmla="*/ 3167672 w 5470853"/>
              <a:gd name="connsiteY162" fmla="*/ 4410648 h 5102586"/>
              <a:gd name="connsiteX163" fmla="*/ 3153352 w 5470853"/>
              <a:gd name="connsiteY163" fmla="*/ 4430999 h 5102586"/>
              <a:gd name="connsiteX164" fmla="*/ 3196314 w 5470853"/>
              <a:gd name="connsiteY164" fmla="*/ 4471701 h 5102586"/>
              <a:gd name="connsiteX165" fmla="*/ 3196314 w 5470853"/>
              <a:gd name="connsiteY165" fmla="*/ 4492053 h 5102586"/>
              <a:gd name="connsiteX166" fmla="*/ 2866936 w 5470853"/>
              <a:gd name="connsiteY166" fmla="*/ 4553106 h 5102586"/>
              <a:gd name="connsiteX167" fmla="*/ 2823974 w 5470853"/>
              <a:gd name="connsiteY167" fmla="*/ 4471701 h 5102586"/>
              <a:gd name="connsiteX168" fmla="*/ 2752370 w 5470853"/>
              <a:gd name="connsiteY168" fmla="*/ 4593809 h 5102586"/>
              <a:gd name="connsiteX169" fmla="*/ 2967182 w 5470853"/>
              <a:gd name="connsiteY169" fmla="*/ 4593809 h 5102586"/>
              <a:gd name="connsiteX170" fmla="*/ 3096069 w 5470853"/>
              <a:gd name="connsiteY170" fmla="*/ 4654862 h 5102586"/>
              <a:gd name="connsiteX171" fmla="*/ 3096069 w 5470853"/>
              <a:gd name="connsiteY171" fmla="*/ 4675213 h 5102586"/>
              <a:gd name="connsiteX172" fmla="*/ 2781011 w 5470853"/>
              <a:gd name="connsiteY172" fmla="*/ 4715915 h 5102586"/>
              <a:gd name="connsiteX173" fmla="*/ 2150896 w 5470853"/>
              <a:gd name="connsiteY173" fmla="*/ 4776968 h 5102586"/>
              <a:gd name="connsiteX174" fmla="*/ 1764234 w 5470853"/>
              <a:gd name="connsiteY174" fmla="*/ 4838021 h 5102586"/>
              <a:gd name="connsiteX175" fmla="*/ 1248685 w 5470853"/>
              <a:gd name="connsiteY175" fmla="*/ 4939778 h 5102586"/>
              <a:gd name="connsiteX176" fmla="*/ 790420 w 5470853"/>
              <a:gd name="connsiteY176" fmla="*/ 5021182 h 5102586"/>
              <a:gd name="connsiteX177" fmla="*/ 632891 w 5470853"/>
              <a:gd name="connsiteY177" fmla="*/ 5082235 h 5102586"/>
              <a:gd name="connsiteX178" fmla="*/ 432399 w 5470853"/>
              <a:gd name="connsiteY178" fmla="*/ 5102586 h 5102586"/>
              <a:gd name="connsiteX179" fmla="*/ 360796 w 5470853"/>
              <a:gd name="connsiteY179" fmla="*/ 5021182 h 5102586"/>
              <a:gd name="connsiteX180" fmla="*/ 317833 w 5470853"/>
              <a:gd name="connsiteY180" fmla="*/ 4736266 h 5102586"/>
              <a:gd name="connsiteX181" fmla="*/ 403758 w 5470853"/>
              <a:gd name="connsiteY181" fmla="*/ 4573458 h 5102586"/>
              <a:gd name="connsiteX182" fmla="*/ 761778 w 5470853"/>
              <a:gd name="connsiteY182" fmla="*/ 4471701 h 5102586"/>
              <a:gd name="connsiteX183" fmla="*/ 546966 w 5470853"/>
              <a:gd name="connsiteY183" fmla="*/ 4512404 h 5102586"/>
              <a:gd name="connsiteX184" fmla="*/ 389437 w 5470853"/>
              <a:gd name="connsiteY184" fmla="*/ 4553106 h 5102586"/>
              <a:gd name="connsiteX185" fmla="*/ 289191 w 5470853"/>
              <a:gd name="connsiteY185" fmla="*/ 4430999 h 5102586"/>
              <a:gd name="connsiteX186" fmla="*/ 274871 w 5470853"/>
              <a:gd name="connsiteY186" fmla="*/ 4247840 h 5102586"/>
              <a:gd name="connsiteX187" fmla="*/ 217587 w 5470853"/>
              <a:gd name="connsiteY187" fmla="*/ 4186786 h 5102586"/>
              <a:gd name="connsiteX188" fmla="*/ 103021 w 5470853"/>
              <a:gd name="connsiteY188" fmla="*/ 4207137 h 5102586"/>
              <a:gd name="connsiteX189" fmla="*/ 31417 w 5470853"/>
              <a:gd name="connsiteY189" fmla="*/ 4085030 h 5102586"/>
              <a:gd name="connsiteX190" fmla="*/ 2776 w 5470853"/>
              <a:gd name="connsiteY190" fmla="*/ 3718710 h 5102586"/>
              <a:gd name="connsiteX191" fmla="*/ 88700 w 5470853"/>
              <a:gd name="connsiteY191" fmla="*/ 3596604 h 5102586"/>
              <a:gd name="connsiteX192" fmla="*/ 346474 w 5470853"/>
              <a:gd name="connsiteY192" fmla="*/ 3596604 h 5102586"/>
              <a:gd name="connsiteX193" fmla="*/ 355584 w 5470853"/>
              <a:gd name="connsiteY193" fmla="*/ 3591606 h 5102586"/>
              <a:gd name="connsiteX194" fmla="*/ 344013 w 5470853"/>
              <a:gd name="connsiteY194" fmla="*/ 3541183 h 5102586"/>
              <a:gd name="connsiteX195" fmla="*/ 333944 w 5470853"/>
              <a:gd name="connsiteY195" fmla="*/ 3471862 h 5102586"/>
              <a:gd name="connsiteX196" fmla="*/ 324940 w 5470853"/>
              <a:gd name="connsiteY196" fmla="*/ 3392239 h 5102586"/>
              <a:gd name="connsiteX197" fmla="*/ 320741 w 5470853"/>
              <a:gd name="connsiteY197" fmla="*/ 3392456 h 5102586"/>
              <a:gd name="connsiteX198" fmla="*/ 246229 w 5470853"/>
              <a:gd name="connsiteY198" fmla="*/ 3413443 h 5102586"/>
              <a:gd name="connsiteX199" fmla="*/ 88700 w 5470853"/>
              <a:gd name="connsiteY199" fmla="*/ 3270986 h 5102586"/>
              <a:gd name="connsiteX200" fmla="*/ 74379 w 5470853"/>
              <a:gd name="connsiteY200" fmla="*/ 2904666 h 5102586"/>
              <a:gd name="connsiteX201" fmla="*/ 73280 w 5470853"/>
              <a:gd name="connsiteY201" fmla="*/ 2792209 h 5102586"/>
              <a:gd name="connsiteX202" fmla="*/ 51109 w 5470853"/>
              <a:gd name="connsiteY202" fmla="*/ 2769748 h 5102586"/>
              <a:gd name="connsiteX203" fmla="*/ 31417 w 5470853"/>
              <a:gd name="connsiteY203" fmla="*/ 2678168 h 5102586"/>
              <a:gd name="connsiteX204" fmla="*/ 2776 w 5470853"/>
              <a:gd name="connsiteY204" fmla="*/ 2311848 h 5102586"/>
              <a:gd name="connsiteX205" fmla="*/ 88700 w 5470853"/>
              <a:gd name="connsiteY205" fmla="*/ 2189742 h 5102586"/>
              <a:gd name="connsiteX206" fmla="*/ 346474 w 5470853"/>
              <a:gd name="connsiteY206" fmla="*/ 2189742 h 5102586"/>
              <a:gd name="connsiteX207" fmla="*/ 375116 w 5470853"/>
              <a:gd name="connsiteY207" fmla="*/ 2128689 h 5102586"/>
              <a:gd name="connsiteX208" fmla="*/ 246229 w 5470853"/>
              <a:gd name="connsiteY208" fmla="*/ 2006581 h 5102586"/>
              <a:gd name="connsiteX209" fmla="*/ 88700 w 5470853"/>
              <a:gd name="connsiteY209" fmla="*/ 1864124 h 5102586"/>
              <a:gd name="connsiteX210" fmla="*/ 60059 w 5470853"/>
              <a:gd name="connsiteY210" fmla="*/ 1131484 h 5102586"/>
              <a:gd name="connsiteX211" fmla="*/ 231908 w 5470853"/>
              <a:gd name="connsiteY211" fmla="*/ 948323 h 5102586"/>
              <a:gd name="connsiteX212" fmla="*/ 575608 w 5470853"/>
              <a:gd name="connsiteY212" fmla="*/ 887270 h 5102586"/>
              <a:gd name="connsiteX213" fmla="*/ 604249 w 5470853"/>
              <a:gd name="connsiteY213" fmla="*/ 805866 h 5102586"/>
              <a:gd name="connsiteX214" fmla="*/ 575608 w 5470853"/>
              <a:gd name="connsiteY214" fmla="*/ 500599 h 5102586"/>
              <a:gd name="connsiteX215" fmla="*/ 647212 w 5470853"/>
              <a:gd name="connsiteY215" fmla="*/ 337790 h 5102586"/>
              <a:gd name="connsiteX216" fmla="*/ 976590 w 5470853"/>
              <a:gd name="connsiteY216" fmla="*/ 236034 h 5102586"/>
              <a:gd name="connsiteX217" fmla="*/ 1305968 w 5470853"/>
              <a:gd name="connsiteY217" fmla="*/ 154630 h 5102586"/>
              <a:gd name="connsiteX218" fmla="*/ 2050650 w 5470853"/>
              <a:gd name="connsiteY218" fmla="*/ 73225 h 5102586"/>
              <a:gd name="connsiteX219" fmla="*/ 2136575 w 5470853"/>
              <a:gd name="connsiteY219" fmla="*/ 134278 h 5102586"/>
              <a:gd name="connsiteX220" fmla="*/ 2165217 w 5470853"/>
              <a:gd name="connsiteY220" fmla="*/ 174980 h 5102586"/>
              <a:gd name="connsiteX221" fmla="*/ 2179538 w 5470853"/>
              <a:gd name="connsiteY221" fmla="*/ 134278 h 5102586"/>
              <a:gd name="connsiteX222" fmla="*/ 2165217 w 5470853"/>
              <a:gd name="connsiteY222" fmla="*/ 52874 h 5102586"/>
              <a:gd name="connsiteX223" fmla="*/ 2265462 w 5470853"/>
              <a:gd name="connsiteY223" fmla="*/ 73225 h 5102586"/>
              <a:gd name="connsiteX224" fmla="*/ 2251141 w 5470853"/>
              <a:gd name="connsiteY224" fmla="*/ 174980 h 5102586"/>
              <a:gd name="connsiteX225" fmla="*/ 2308424 w 5470853"/>
              <a:gd name="connsiteY225" fmla="*/ 73225 h 5102586"/>
              <a:gd name="connsiteX226" fmla="*/ 2337067 w 5470853"/>
              <a:gd name="connsiteY226" fmla="*/ 32523 h 5102586"/>
              <a:gd name="connsiteX227" fmla="*/ 2422991 w 5470853"/>
              <a:gd name="connsiteY227" fmla="*/ 73225 h 5102586"/>
              <a:gd name="connsiteX228" fmla="*/ 2451633 w 5470853"/>
              <a:gd name="connsiteY228" fmla="*/ 113927 h 5102586"/>
              <a:gd name="connsiteX229" fmla="*/ 2437312 w 5470853"/>
              <a:gd name="connsiteY229" fmla="*/ 32523 h 5102586"/>
              <a:gd name="connsiteX230" fmla="*/ 2666445 w 5470853"/>
              <a:gd name="connsiteY230" fmla="*/ 32523 h 5102586"/>
              <a:gd name="connsiteX231" fmla="*/ 2709407 w 5470853"/>
              <a:gd name="connsiteY231" fmla="*/ 113927 h 5102586"/>
              <a:gd name="connsiteX232" fmla="*/ 2823974 w 5470853"/>
              <a:gd name="connsiteY232" fmla="*/ 12172 h 5102586"/>
              <a:gd name="connsiteX233" fmla="*/ 3008802 w 5470853"/>
              <a:gd name="connsiteY233" fmla="*/ 1360 h 5102586"/>
              <a:gd name="connsiteX234" fmla="*/ 3149332 w 5470853"/>
              <a:gd name="connsiteY234" fmla="*/ 555 h 5102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Lst>
            <a:rect l="l" t="t" r="r" b="b"/>
            <a:pathLst>
              <a:path w="5470853" h="5102586">
                <a:moveTo>
                  <a:pt x="3149332" y="555"/>
                </a:moveTo>
                <a:cubicBezTo>
                  <a:pt x="3290239" y="3507"/>
                  <a:pt x="3431712" y="18531"/>
                  <a:pt x="3568655" y="52874"/>
                </a:cubicBezTo>
                <a:cubicBezTo>
                  <a:pt x="3640259" y="52874"/>
                  <a:pt x="3726184" y="52874"/>
                  <a:pt x="3797788" y="93576"/>
                </a:cubicBezTo>
                <a:cubicBezTo>
                  <a:pt x="3826430" y="113927"/>
                  <a:pt x="3840750" y="134278"/>
                  <a:pt x="3840750" y="174980"/>
                </a:cubicBezTo>
                <a:cubicBezTo>
                  <a:pt x="3826430" y="297087"/>
                  <a:pt x="3826430" y="398843"/>
                  <a:pt x="3840750" y="520950"/>
                </a:cubicBezTo>
                <a:cubicBezTo>
                  <a:pt x="3840750" y="541301"/>
                  <a:pt x="3840750" y="582003"/>
                  <a:pt x="3826430" y="602354"/>
                </a:cubicBezTo>
                <a:lnTo>
                  <a:pt x="3820533" y="605400"/>
                </a:lnTo>
                <a:lnTo>
                  <a:pt x="3822171" y="625061"/>
                </a:lnTo>
                <a:cubicBezTo>
                  <a:pt x="3820382" y="645412"/>
                  <a:pt x="3816801" y="670852"/>
                  <a:pt x="3838281" y="681027"/>
                </a:cubicBezTo>
                <a:cubicBezTo>
                  <a:pt x="3852603" y="579271"/>
                  <a:pt x="3909886" y="579271"/>
                  <a:pt x="3952849" y="579271"/>
                </a:cubicBezTo>
                <a:cubicBezTo>
                  <a:pt x="4196302" y="558920"/>
                  <a:pt x="4454076" y="558920"/>
                  <a:pt x="4697530" y="619973"/>
                </a:cubicBezTo>
                <a:cubicBezTo>
                  <a:pt x="4769134" y="619973"/>
                  <a:pt x="4855059" y="619973"/>
                  <a:pt x="4926663" y="660675"/>
                </a:cubicBezTo>
                <a:cubicBezTo>
                  <a:pt x="4955305" y="681027"/>
                  <a:pt x="4969625" y="701378"/>
                  <a:pt x="4969625" y="742081"/>
                </a:cubicBezTo>
                <a:cubicBezTo>
                  <a:pt x="4955305" y="864187"/>
                  <a:pt x="4955305" y="965942"/>
                  <a:pt x="4969625" y="1088050"/>
                </a:cubicBezTo>
                <a:cubicBezTo>
                  <a:pt x="4969625" y="1108401"/>
                  <a:pt x="4969625" y="1149103"/>
                  <a:pt x="4955305" y="1169454"/>
                </a:cubicBezTo>
                <a:cubicBezTo>
                  <a:pt x="4840738" y="1210156"/>
                  <a:pt x="4869380" y="1332262"/>
                  <a:pt x="4883700" y="1434019"/>
                </a:cubicBezTo>
                <a:cubicBezTo>
                  <a:pt x="4883700" y="1474721"/>
                  <a:pt x="4883700" y="1556125"/>
                  <a:pt x="4955305" y="1556125"/>
                </a:cubicBezTo>
                <a:cubicBezTo>
                  <a:pt x="4969625" y="1535774"/>
                  <a:pt x="5012588" y="1535774"/>
                  <a:pt x="5026909" y="1576476"/>
                </a:cubicBezTo>
                <a:cubicBezTo>
                  <a:pt x="5012588" y="1617178"/>
                  <a:pt x="4983946" y="1617178"/>
                  <a:pt x="4969625" y="1657880"/>
                </a:cubicBezTo>
                <a:cubicBezTo>
                  <a:pt x="4998267" y="1678231"/>
                  <a:pt x="5026909" y="1657880"/>
                  <a:pt x="5041229" y="1637529"/>
                </a:cubicBezTo>
                <a:cubicBezTo>
                  <a:pt x="5055550" y="1637529"/>
                  <a:pt x="5041229" y="1596827"/>
                  <a:pt x="5026909" y="1576476"/>
                </a:cubicBezTo>
                <a:cubicBezTo>
                  <a:pt x="5041229" y="1576476"/>
                  <a:pt x="5041229" y="1576476"/>
                  <a:pt x="5041229" y="1576476"/>
                </a:cubicBezTo>
                <a:cubicBezTo>
                  <a:pt x="5055550" y="1576476"/>
                  <a:pt x="5055550" y="1576476"/>
                  <a:pt x="5055550" y="1556125"/>
                </a:cubicBezTo>
                <a:cubicBezTo>
                  <a:pt x="5127154" y="1576476"/>
                  <a:pt x="5184437" y="1576476"/>
                  <a:pt x="5241721" y="1576476"/>
                </a:cubicBezTo>
                <a:cubicBezTo>
                  <a:pt x="5313324" y="1576476"/>
                  <a:pt x="5399249" y="1637529"/>
                  <a:pt x="5470853" y="1657880"/>
                </a:cubicBezTo>
                <a:cubicBezTo>
                  <a:pt x="5470853" y="1657880"/>
                  <a:pt x="5470853" y="1678231"/>
                  <a:pt x="5470853" y="1678231"/>
                </a:cubicBezTo>
                <a:cubicBezTo>
                  <a:pt x="5456533" y="1759636"/>
                  <a:pt x="5470853" y="1861392"/>
                  <a:pt x="5456533" y="1942796"/>
                </a:cubicBezTo>
                <a:cubicBezTo>
                  <a:pt x="5456533" y="1963147"/>
                  <a:pt x="5442212" y="1963147"/>
                  <a:pt x="5427891" y="1963147"/>
                </a:cubicBezTo>
                <a:cubicBezTo>
                  <a:pt x="5399249" y="1942796"/>
                  <a:pt x="5384929" y="1942796"/>
                  <a:pt x="5356287" y="1942796"/>
                </a:cubicBezTo>
                <a:cubicBezTo>
                  <a:pt x="5299004" y="1942796"/>
                  <a:pt x="5284683" y="1902094"/>
                  <a:pt x="5284683" y="1841041"/>
                </a:cubicBezTo>
                <a:cubicBezTo>
                  <a:pt x="5284683" y="1820690"/>
                  <a:pt x="5299004" y="1779988"/>
                  <a:pt x="5270363" y="1779988"/>
                </a:cubicBezTo>
                <a:cubicBezTo>
                  <a:pt x="5256041" y="1779988"/>
                  <a:pt x="5213079" y="1779988"/>
                  <a:pt x="5213079" y="1841041"/>
                </a:cubicBezTo>
                <a:cubicBezTo>
                  <a:pt x="5213079" y="1841041"/>
                  <a:pt x="5213079" y="1861392"/>
                  <a:pt x="5213079" y="1861392"/>
                </a:cubicBezTo>
                <a:cubicBezTo>
                  <a:pt x="5213079" y="1881743"/>
                  <a:pt x="5213079" y="1881743"/>
                  <a:pt x="5198758" y="1881743"/>
                </a:cubicBezTo>
                <a:cubicBezTo>
                  <a:pt x="5184437" y="1881743"/>
                  <a:pt x="5170117" y="1861392"/>
                  <a:pt x="5170117" y="1861392"/>
                </a:cubicBezTo>
                <a:cubicBezTo>
                  <a:pt x="5155795" y="1841041"/>
                  <a:pt x="5170117" y="1841041"/>
                  <a:pt x="5184437" y="1820690"/>
                </a:cubicBezTo>
                <a:cubicBezTo>
                  <a:pt x="5213079" y="1820690"/>
                  <a:pt x="5198758" y="1779988"/>
                  <a:pt x="5198758" y="1739285"/>
                </a:cubicBezTo>
                <a:cubicBezTo>
                  <a:pt x="5155795" y="1861392"/>
                  <a:pt x="5084192" y="1902094"/>
                  <a:pt x="4998267" y="1942796"/>
                </a:cubicBezTo>
                <a:cubicBezTo>
                  <a:pt x="5055550" y="1983498"/>
                  <a:pt x="5127154" y="1963147"/>
                  <a:pt x="5170117" y="2024201"/>
                </a:cubicBezTo>
                <a:cubicBezTo>
                  <a:pt x="5170117" y="2044552"/>
                  <a:pt x="5184437" y="2024201"/>
                  <a:pt x="5184437" y="2003849"/>
                </a:cubicBezTo>
                <a:cubicBezTo>
                  <a:pt x="5184437" y="1983498"/>
                  <a:pt x="5184437" y="1963147"/>
                  <a:pt x="5198758" y="1983498"/>
                </a:cubicBezTo>
                <a:cubicBezTo>
                  <a:pt x="5241721" y="2024201"/>
                  <a:pt x="5299004" y="1983498"/>
                  <a:pt x="5327646" y="2064903"/>
                </a:cubicBezTo>
                <a:cubicBezTo>
                  <a:pt x="5227400" y="2064903"/>
                  <a:pt x="5127154" y="2064903"/>
                  <a:pt x="5041229" y="2064903"/>
                </a:cubicBezTo>
                <a:cubicBezTo>
                  <a:pt x="5012588" y="2064903"/>
                  <a:pt x="4983946" y="2064903"/>
                  <a:pt x="4969625" y="2064903"/>
                </a:cubicBezTo>
                <a:cubicBezTo>
                  <a:pt x="4840738" y="2044552"/>
                  <a:pt x="4826417" y="2064903"/>
                  <a:pt x="4826417" y="2248063"/>
                </a:cubicBezTo>
                <a:cubicBezTo>
                  <a:pt x="4826417" y="2309116"/>
                  <a:pt x="4869380" y="2309116"/>
                  <a:pt x="4898021" y="2309116"/>
                </a:cubicBezTo>
                <a:cubicBezTo>
                  <a:pt x="4955305" y="2329467"/>
                  <a:pt x="5026909" y="2309116"/>
                  <a:pt x="5084192" y="2349819"/>
                </a:cubicBezTo>
                <a:cubicBezTo>
                  <a:pt x="5112834" y="2370170"/>
                  <a:pt x="5141475" y="2390521"/>
                  <a:pt x="5141475" y="2451574"/>
                </a:cubicBezTo>
                <a:cubicBezTo>
                  <a:pt x="5141475" y="2573681"/>
                  <a:pt x="5141475" y="2695788"/>
                  <a:pt x="5098512" y="2838245"/>
                </a:cubicBezTo>
                <a:cubicBezTo>
                  <a:pt x="5084192" y="2878947"/>
                  <a:pt x="5084192" y="2940001"/>
                  <a:pt x="5084192" y="3001054"/>
                </a:cubicBezTo>
                <a:cubicBezTo>
                  <a:pt x="5069871" y="3062108"/>
                  <a:pt x="5055550" y="3102810"/>
                  <a:pt x="5012588" y="3102810"/>
                </a:cubicBezTo>
                <a:cubicBezTo>
                  <a:pt x="4983946" y="3123161"/>
                  <a:pt x="4955305" y="3143512"/>
                  <a:pt x="4940983" y="3082459"/>
                </a:cubicBezTo>
                <a:cubicBezTo>
                  <a:pt x="4912342" y="3021405"/>
                  <a:pt x="4869380" y="2960352"/>
                  <a:pt x="4797776" y="3001054"/>
                </a:cubicBezTo>
                <a:cubicBezTo>
                  <a:pt x="4769134" y="3021405"/>
                  <a:pt x="4726171" y="3001054"/>
                  <a:pt x="4683209" y="3001054"/>
                </a:cubicBezTo>
                <a:cubicBezTo>
                  <a:pt x="4668888" y="3001054"/>
                  <a:pt x="4640247" y="3001054"/>
                  <a:pt x="4625926" y="3041756"/>
                </a:cubicBezTo>
                <a:cubicBezTo>
                  <a:pt x="4625926" y="3082459"/>
                  <a:pt x="4640247" y="3082459"/>
                  <a:pt x="4654568" y="3102810"/>
                </a:cubicBezTo>
                <a:cubicBezTo>
                  <a:pt x="4683209" y="3123161"/>
                  <a:pt x="4697530" y="3123161"/>
                  <a:pt x="4726171" y="3102810"/>
                </a:cubicBezTo>
                <a:cubicBezTo>
                  <a:pt x="4754813" y="3041756"/>
                  <a:pt x="4769134" y="3102810"/>
                  <a:pt x="4797776" y="3102810"/>
                </a:cubicBezTo>
                <a:cubicBezTo>
                  <a:pt x="4797776" y="3102810"/>
                  <a:pt x="4812097" y="3123161"/>
                  <a:pt x="4797776" y="3123161"/>
                </a:cubicBezTo>
                <a:cubicBezTo>
                  <a:pt x="4797776" y="3163863"/>
                  <a:pt x="4783455" y="3143512"/>
                  <a:pt x="4769134" y="3143512"/>
                </a:cubicBezTo>
                <a:cubicBezTo>
                  <a:pt x="4582964" y="3163863"/>
                  <a:pt x="4411114" y="3184214"/>
                  <a:pt x="4224944" y="3204565"/>
                </a:cubicBezTo>
                <a:cubicBezTo>
                  <a:pt x="4160501" y="3214741"/>
                  <a:pt x="4096056" y="3222372"/>
                  <a:pt x="4031613" y="3229368"/>
                </a:cubicBezTo>
                <a:lnTo>
                  <a:pt x="3998391" y="3232975"/>
                </a:lnTo>
                <a:lnTo>
                  <a:pt x="4007678" y="3252543"/>
                </a:lnTo>
                <a:cubicBezTo>
                  <a:pt x="4010810" y="3263354"/>
                  <a:pt x="4012600" y="3276074"/>
                  <a:pt x="4012600" y="3291337"/>
                </a:cubicBezTo>
                <a:lnTo>
                  <a:pt x="4011350" y="3334560"/>
                </a:lnTo>
                <a:lnTo>
                  <a:pt x="4031613" y="3334303"/>
                </a:lnTo>
                <a:cubicBezTo>
                  <a:pt x="4081735" y="3331759"/>
                  <a:pt x="4131858" y="3326672"/>
                  <a:pt x="4181981" y="3326672"/>
                </a:cubicBezTo>
                <a:cubicBezTo>
                  <a:pt x="4310868" y="3326672"/>
                  <a:pt x="4454076" y="3326672"/>
                  <a:pt x="4597285" y="3306321"/>
                </a:cubicBezTo>
                <a:cubicBezTo>
                  <a:pt x="4654568" y="3285970"/>
                  <a:pt x="4711851" y="3326672"/>
                  <a:pt x="4769134" y="3306321"/>
                </a:cubicBezTo>
                <a:cubicBezTo>
                  <a:pt x="4826417" y="3285970"/>
                  <a:pt x="4855059" y="3387726"/>
                  <a:pt x="4869380" y="3448779"/>
                </a:cubicBezTo>
                <a:cubicBezTo>
                  <a:pt x="4883700" y="3469130"/>
                  <a:pt x="4826417" y="3448779"/>
                  <a:pt x="4826417" y="3509832"/>
                </a:cubicBezTo>
                <a:cubicBezTo>
                  <a:pt x="4797776" y="3489481"/>
                  <a:pt x="4812097" y="3448779"/>
                  <a:pt x="4783455" y="3428428"/>
                </a:cubicBezTo>
                <a:cubicBezTo>
                  <a:pt x="4783455" y="3428428"/>
                  <a:pt x="4783455" y="3428428"/>
                  <a:pt x="4783455" y="3448779"/>
                </a:cubicBezTo>
                <a:cubicBezTo>
                  <a:pt x="4797776" y="3469130"/>
                  <a:pt x="4754813" y="3509832"/>
                  <a:pt x="4797776" y="3530183"/>
                </a:cubicBezTo>
                <a:cubicBezTo>
                  <a:pt x="4812097" y="3530183"/>
                  <a:pt x="4840738" y="3509832"/>
                  <a:pt x="4826417" y="3570885"/>
                </a:cubicBezTo>
                <a:cubicBezTo>
                  <a:pt x="4812097" y="3631938"/>
                  <a:pt x="4797776" y="3570885"/>
                  <a:pt x="4783455" y="3570885"/>
                </a:cubicBezTo>
                <a:cubicBezTo>
                  <a:pt x="4754813" y="3550534"/>
                  <a:pt x="4726171" y="3570885"/>
                  <a:pt x="4726171" y="3611587"/>
                </a:cubicBezTo>
                <a:cubicBezTo>
                  <a:pt x="4726171" y="3652290"/>
                  <a:pt x="4711851" y="3652290"/>
                  <a:pt x="4697530" y="3652290"/>
                </a:cubicBezTo>
                <a:cubicBezTo>
                  <a:pt x="4683209" y="3611587"/>
                  <a:pt x="4697530" y="3570885"/>
                  <a:pt x="4654568" y="3570885"/>
                </a:cubicBezTo>
                <a:cubicBezTo>
                  <a:pt x="4640247" y="3570885"/>
                  <a:pt x="4625926" y="3570885"/>
                  <a:pt x="4625926" y="3570885"/>
                </a:cubicBezTo>
                <a:cubicBezTo>
                  <a:pt x="4625926" y="3530183"/>
                  <a:pt x="4625926" y="3489481"/>
                  <a:pt x="4597285" y="3509832"/>
                </a:cubicBezTo>
                <a:cubicBezTo>
                  <a:pt x="4582964" y="3550534"/>
                  <a:pt x="4540001" y="3570885"/>
                  <a:pt x="4554322" y="3631938"/>
                </a:cubicBezTo>
                <a:cubicBezTo>
                  <a:pt x="4554322" y="3652290"/>
                  <a:pt x="4568643" y="3692992"/>
                  <a:pt x="4525680" y="3692992"/>
                </a:cubicBezTo>
                <a:cubicBezTo>
                  <a:pt x="4497039" y="3692992"/>
                  <a:pt x="4468397" y="3672641"/>
                  <a:pt x="4497039" y="3631938"/>
                </a:cubicBezTo>
                <a:cubicBezTo>
                  <a:pt x="4497039" y="3631938"/>
                  <a:pt x="4497039" y="3611587"/>
                  <a:pt x="4497039" y="3611587"/>
                </a:cubicBezTo>
                <a:cubicBezTo>
                  <a:pt x="4497039" y="3591236"/>
                  <a:pt x="4482718" y="3611587"/>
                  <a:pt x="4482718" y="3611587"/>
                </a:cubicBezTo>
                <a:cubicBezTo>
                  <a:pt x="4497039" y="3692992"/>
                  <a:pt x="4425435" y="3672641"/>
                  <a:pt x="4411114" y="3713343"/>
                </a:cubicBezTo>
                <a:cubicBezTo>
                  <a:pt x="4382473" y="3672641"/>
                  <a:pt x="4425435" y="3631938"/>
                  <a:pt x="4425435" y="3591236"/>
                </a:cubicBezTo>
                <a:cubicBezTo>
                  <a:pt x="4439756" y="3570885"/>
                  <a:pt x="4439756" y="3550534"/>
                  <a:pt x="4454076" y="3530183"/>
                </a:cubicBezTo>
                <a:cubicBezTo>
                  <a:pt x="4468397" y="3509832"/>
                  <a:pt x="4468397" y="3489481"/>
                  <a:pt x="4468397" y="3469130"/>
                </a:cubicBezTo>
                <a:cubicBezTo>
                  <a:pt x="4468397" y="3448779"/>
                  <a:pt x="4454076" y="3448779"/>
                  <a:pt x="4439756" y="3448779"/>
                </a:cubicBezTo>
                <a:cubicBezTo>
                  <a:pt x="4411114" y="3448779"/>
                  <a:pt x="4425435" y="3489481"/>
                  <a:pt x="4425435" y="3509832"/>
                </a:cubicBezTo>
                <a:cubicBezTo>
                  <a:pt x="4425435" y="3530183"/>
                  <a:pt x="4411114" y="3550534"/>
                  <a:pt x="4411114" y="3570885"/>
                </a:cubicBezTo>
                <a:cubicBezTo>
                  <a:pt x="4396793" y="3591236"/>
                  <a:pt x="4396793" y="3611587"/>
                  <a:pt x="4396793" y="3652290"/>
                </a:cubicBezTo>
                <a:cubicBezTo>
                  <a:pt x="4382473" y="3692992"/>
                  <a:pt x="4368151" y="3652290"/>
                  <a:pt x="4368151" y="3652290"/>
                </a:cubicBezTo>
                <a:cubicBezTo>
                  <a:pt x="4353831" y="3631938"/>
                  <a:pt x="4339510" y="3631938"/>
                  <a:pt x="4325189" y="3631938"/>
                </a:cubicBezTo>
                <a:cubicBezTo>
                  <a:pt x="4325189" y="3611587"/>
                  <a:pt x="4325189" y="3570885"/>
                  <a:pt x="4296547" y="3570885"/>
                </a:cubicBezTo>
                <a:cubicBezTo>
                  <a:pt x="4282227" y="3570885"/>
                  <a:pt x="4282227" y="3591236"/>
                  <a:pt x="4282227" y="3591236"/>
                </a:cubicBezTo>
                <a:cubicBezTo>
                  <a:pt x="4282227" y="3631938"/>
                  <a:pt x="4310868" y="3631938"/>
                  <a:pt x="4325189" y="3631938"/>
                </a:cubicBezTo>
                <a:cubicBezTo>
                  <a:pt x="4325189" y="3631938"/>
                  <a:pt x="4325189" y="3652290"/>
                  <a:pt x="4325189" y="3652290"/>
                </a:cubicBezTo>
                <a:cubicBezTo>
                  <a:pt x="4224944" y="3754046"/>
                  <a:pt x="4110378" y="3692992"/>
                  <a:pt x="3995810" y="3713343"/>
                </a:cubicBezTo>
                <a:cubicBezTo>
                  <a:pt x="3988650" y="3713343"/>
                  <a:pt x="3983280" y="3709527"/>
                  <a:pt x="3979029" y="3703485"/>
                </a:cubicBezTo>
                <a:lnTo>
                  <a:pt x="3969170" y="3680760"/>
                </a:lnTo>
                <a:lnTo>
                  <a:pt x="3957600" y="3748879"/>
                </a:lnTo>
                <a:lnTo>
                  <a:pt x="3994021" y="3746414"/>
                </a:lnTo>
                <a:cubicBezTo>
                  <a:pt x="4031613" y="3743870"/>
                  <a:pt x="4067415" y="3743870"/>
                  <a:pt x="4096056" y="3754046"/>
                </a:cubicBezTo>
                <a:cubicBezTo>
                  <a:pt x="4139019" y="3774397"/>
                  <a:pt x="4196302" y="3733695"/>
                  <a:pt x="4224944" y="3815099"/>
                </a:cubicBezTo>
                <a:cubicBezTo>
                  <a:pt x="4224944" y="3815099"/>
                  <a:pt x="4224944" y="3835450"/>
                  <a:pt x="4224944" y="3835450"/>
                </a:cubicBezTo>
                <a:cubicBezTo>
                  <a:pt x="4139019" y="3865977"/>
                  <a:pt x="4061150" y="3862161"/>
                  <a:pt x="3985294" y="3866931"/>
                </a:cubicBezTo>
                <a:lnTo>
                  <a:pt x="3947048" y="3871608"/>
                </a:lnTo>
                <a:lnTo>
                  <a:pt x="3944129" y="3882474"/>
                </a:lnTo>
                <a:cubicBezTo>
                  <a:pt x="3932046" y="3919678"/>
                  <a:pt x="3915935" y="3942573"/>
                  <a:pt x="3883713" y="3942573"/>
                </a:cubicBezTo>
                <a:cubicBezTo>
                  <a:pt x="3855071" y="3962924"/>
                  <a:pt x="3826430" y="3983275"/>
                  <a:pt x="3812109" y="3922222"/>
                </a:cubicBezTo>
                <a:lnTo>
                  <a:pt x="3794960" y="3891144"/>
                </a:lnTo>
                <a:lnTo>
                  <a:pt x="3749000" y="3897139"/>
                </a:lnTo>
                <a:cubicBezTo>
                  <a:pt x="3695521" y="3901591"/>
                  <a:pt x="3642266" y="3904135"/>
                  <a:pt x="3589458" y="3906679"/>
                </a:cubicBezTo>
                <a:lnTo>
                  <a:pt x="3502505" y="3911967"/>
                </a:lnTo>
                <a:lnTo>
                  <a:pt x="3506002" y="3919678"/>
                </a:lnTo>
                <a:cubicBezTo>
                  <a:pt x="3511372" y="3927310"/>
                  <a:pt x="3518533" y="3932397"/>
                  <a:pt x="3525693" y="3942573"/>
                </a:cubicBezTo>
                <a:cubicBezTo>
                  <a:pt x="3554335" y="3962924"/>
                  <a:pt x="3568655" y="3962924"/>
                  <a:pt x="3597297" y="3942573"/>
                </a:cubicBezTo>
                <a:cubicBezTo>
                  <a:pt x="3625938" y="3881519"/>
                  <a:pt x="3640259" y="3942573"/>
                  <a:pt x="3668901" y="3942573"/>
                </a:cubicBezTo>
                <a:cubicBezTo>
                  <a:pt x="3668901" y="3942573"/>
                  <a:pt x="3683222" y="3962924"/>
                  <a:pt x="3668901" y="3962924"/>
                </a:cubicBezTo>
                <a:cubicBezTo>
                  <a:pt x="3668901" y="4003626"/>
                  <a:pt x="3654581" y="3983275"/>
                  <a:pt x="3640259" y="3983275"/>
                </a:cubicBezTo>
                <a:cubicBezTo>
                  <a:pt x="3454089" y="4003626"/>
                  <a:pt x="3282240" y="4023977"/>
                  <a:pt x="3096069" y="4044328"/>
                </a:cubicBezTo>
                <a:cubicBezTo>
                  <a:pt x="2838294" y="4085030"/>
                  <a:pt x="2580520" y="4085030"/>
                  <a:pt x="2322746" y="4166435"/>
                </a:cubicBezTo>
                <a:cubicBezTo>
                  <a:pt x="2279783" y="4166435"/>
                  <a:pt x="2236821" y="4166435"/>
                  <a:pt x="2193858" y="4166435"/>
                </a:cubicBezTo>
                <a:cubicBezTo>
                  <a:pt x="2122255" y="4207137"/>
                  <a:pt x="2036329" y="4166435"/>
                  <a:pt x="1950405" y="4227489"/>
                </a:cubicBezTo>
                <a:cubicBezTo>
                  <a:pt x="2036329" y="4247840"/>
                  <a:pt x="2122255" y="4207137"/>
                  <a:pt x="2193858" y="4207137"/>
                </a:cubicBezTo>
                <a:cubicBezTo>
                  <a:pt x="2208179" y="4207137"/>
                  <a:pt x="2208179" y="4186786"/>
                  <a:pt x="2222500" y="4186786"/>
                </a:cubicBezTo>
                <a:cubicBezTo>
                  <a:pt x="2222500" y="4207137"/>
                  <a:pt x="2236821" y="4207137"/>
                  <a:pt x="2236821" y="4207137"/>
                </a:cubicBezTo>
                <a:cubicBezTo>
                  <a:pt x="2408670" y="4186786"/>
                  <a:pt x="2580520" y="4146083"/>
                  <a:pt x="2752370" y="4166435"/>
                </a:cubicBezTo>
                <a:cubicBezTo>
                  <a:pt x="2852616" y="4186786"/>
                  <a:pt x="2952860" y="4166435"/>
                  <a:pt x="3053106" y="4166435"/>
                </a:cubicBezTo>
                <a:cubicBezTo>
                  <a:pt x="3181994" y="4166435"/>
                  <a:pt x="3325201" y="4166435"/>
                  <a:pt x="3468410" y="4146083"/>
                </a:cubicBezTo>
                <a:cubicBezTo>
                  <a:pt x="3525693" y="4125732"/>
                  <a:pt x="3582976" y="4166435"/>
                  <a:pt x="3640259" y="4146083"/>
                </a:cubicBezTo>
                <a:cubicBezTo>
                  <a:pt x="3697542" y="4125732"/>
                  <a:pt x="3726184" y="4227489"/>
                  <a:pt x="3740505" y="4288542"/>
                </a:cubicBezTo>
                <a:cubicBezTo>
                  <a:pt x="3754825" y="4308893"/>
                  <a:pt x="3697542" y="4288542"/>
                  <a:pt x="3697542" y="4349595"/>
                </a:cubicBezTo>
                <a:cubicBezTo>
                  <a:pt x="3668901" y="4329244"/>
                  <a:pt x="3683222" y="4288542"/>
                  <a:pt x="3654581" y="4268191"/>
                </a:cubicBezTo>
                <a:cubicBezTo>
                  <a:pt x="3654581" y="4268191"/>
                  <a:pt x="3654581" y="4268191"/>
                  <a:pt x="3654581" y="4288542"/>
                </a:cubicBezTo>
                <a:cubicBezTo>
                  <a:pt x="3668901" y="4308893"/>
                  <a:pt x="3625938" y="4349595"/>
                  <a:pt x="3668901" y="4369946"/>
                </a:cubicBezTo>
                <a:cubicBezTo>
                  <a:pt x="3683222" y="4369946"/>
                  <a:pt x="3711864" y="4349595"/>
                  <a:pt x="3697542" y="4410648"/>
                </a:cubicBezTo>
                <a:cubicBezTo>
                  <a:pt x="3683222" y="4471701"/>
                  <a:pt x="3668901" y="4410648"/>
                  <a:pt x="3654581" y="4410648"/>
                </a:cubicBezTo>
                <a:cubicBezTo>
                  <a:pt x="3625938" y="4390297"/>
                  <a:pt x="3597297" y="4410648"/>
                  <a:pt x="3597297" y="4451350"/>
                </a:cubicBezTo>
                <a:cubicBezTo>
                  <a:pt x="3597297" y="4492053"/>
                  <a:pt x="3582976" y="4492053"/>
                  <a:pt x="3568655" y="4492053"/>
                </a:cubicBezTo>
                <a:cubicBezTo>
                  <a:pt x="3554335" y="4451350"/>
                  <a:pt x="3568655" y="4410648"/>
                  <a:pt x="3525693" y="4410648"/>
                </a:cubicBezTo>
                <a:cubicBezTo>
                  <a:pt x="3511372" y="4410648"/>
                  <a:pt x="3497052" y="4410648"/>
                  <a:pt x="3497052" y="4410648"/>
                </a:cubicBezTo>
                <a:cubicBezTo>
                  <a:pt x="3497052" y="4369946"/>
                  <a:pt x="3497052" y="4329244"/>
                  <a:pt x="3468410" y="4349595"/>
                </a:cubicBezTo>
                <a:cubicBezTo>
                  <a:pt x="3454089" y="4390297"/>
                  <a:pt x="3411126" y="4410648"/>
                  <a:pt x="3425447" y="4471701"/>
                </a:cubicBezTo>
                <a:cubicBezTo>
                  <a:pt x="3425447" y="4492053"/>
                  <a:pt x="3439769" y="4532755"/>
                  <a:pt x="3396806" y="4532755"/>
                </a:cubicBezTo>
                <a:cubicBezTo>
                  <a:pt x="3368164" y="4532755"/>
                  <a:pt x="3339523" y="4512404"/>
                  <a:pt x="3368164" y="4471701"/>
                </a:cubicBezTo>
                <a:cubicBezTo>
                  <a:pt x="3368164" y="4471701"/>
                  <a:pt x="3368164" y="4451350"/>
                  <a:pt x="3368164" y="4451350"/>
                </a:cubicBezTo>
                <a:cubicBezTo>
                  <a:pt x="3368164" y="4430999"/>
                  <a:pt x="3353843" y="4451350"/>
                  <a:pt x="3353843" y="4451350"/>
                </a:cubicBezTo>
                <a:cubicBezTo>
                  <a:pt x="3368164" y="4532755"/>
                  <a:pt x="3296560" y="4512404"/>
                  <a:pt x="3282240" y="4553106"/>
                </a:cubicBezTo>
                <a:cubicBezTo>
                  <a:pt x="3253598" y="4512404"/>
                  <a:pt x="3296560" y="4471701"/>
                  <a:pt x="3296560" y="4430999"/>
                </a:cubicBezTo>
                <a:cubicBezTo>
                  <a:pt x="3310881" y="4410648"/>
                  <a:pt x="3310881" y="4390297"/>
                  <a:pt x="3325201" y="4369946"/>
                </a:cubicBezTo>
                <a:cubicBezTo>
                  <a:pt x="3339523" y="4349595"/>
                  <a:pt x="3339523" y="4329244"/>
                  <a:pt x="3339523" y="4308893"/>
                </a:cubicBezTo>
                <a:cubicBezTo>
                  <a:pt x="3339523" y="4288542"/>
                  <a:pt x="3325201" y="4288542"/>
                  <a:pt x="3310881" y="4288542"/>
                </a:cubicBezTo>
                <a:cubicBezTo>
                  <a:pt x="3282240" y="4288542"/>
                  <a:pt x="3296560" y="4329244"/>
                  <a:pt x="3296560" y="4349595"/>
                </a:cubicBezTo>
                <a:cubicBezTo>
                  <a:pt x="3296560" y="4369946"/>
                  <a:pt x="3282240" y="4390297"/>
                  <a:pt x="3282240" y="4410648"/>
                </a:cubicBezTo>
                <a:cubicBezTo>
                  <a:pt x="3267918" y="4430999"/>
                  <a:pt x="3267918" y="4451350"/>
                  <a:pt x="3267918" y="4492053"/>
                </a:cubicBezTo>
                <a:cubicBezTo>
                  <a:pt x="3253598" y="4532755"/>
                  <a:pt x="3239277" y="4492053"/>
                  <a:pt x="3239277" y="4492053"/>
                </a:cubicBezTo>
                <a:cubicBezTo>
                  <a:pt x="3224957" y="4471701"/>
                  <a:pt x="3210635" y="4471701"/>
                  <a:pt x="3196314" y="4471701"/>
                </a:cubicBezTo>
                <a:cubicBezTo>
                  <a:pt x="3196314" y="4451350"/>
                  <a:pt x="3196314" y="4410648"/>
                  <a:pt x="3167672" y="4410648"/>
                </a:cubicBezTo>
                <a:cubicBezTo>
                  <a:pt x="3153352" y="4410648"/>
                  <a:pt x="3153352" y="4430999"/>
                  <a:pt x="3153352" y="4430999"/>
                </a:cubicBezTo>
                <a:cubicBezTo>
                  <a:pt x="3153352" y="4471701"/>
                  <a:pt x="3181994" y="4471701"/>
                  <a:pt x="3196314" y="4471701"/>
                </a:cubicBezTo>
                <a:cubicBezTo>
                  <a:pt x="3196314" y="4471701"/>
                  <a:pt x="3196314" y="4492053"/>
                  <a:pt x="3196314" y="4492053"/>
                </a:cubicBezTo>
                <a:cubicBezTo>
                  <a:pt x="3096069" y="4593809"/>
                  <a:pt x="2981503" y="4532755"/>
                  <a:pt x="2866936" y="4553106"/>
                </a:cubicBezTo>
                <a:cubicBezTo>
                  <a:pt x="2838294" y="4553106"/>
                  <a:pt x="2838294" y="4492053"/>
                  <a:pt x="2823974" y="4471701"/>
                </a:cubicBezTo>
                <a:cubicBezTo>
                  <a:pt x="2795332" y="4512404"/>
                  <a:pt x="2781011" y="4553106"/>
                  <a:pt x="2752370" y="4593809"/>
                </a:cubicBezTo>
                <a:cubicBezTo>
                  <a:pt x="2823974" y="4593809"/>
                  <a:pt x="2909899" y="4573458"/>
                  <a:pt x="2967182" y="4593809"/>
                </a:cubicBezTo>
                <a:cubicBezTo>
                  <a:pt x="3010145" y="4614160"/>
                  <a:pt x="3067428" y="4573458"/>
                  <a:pt x="3096069" y="4654862"/>
                </a:cubicBezTo>
                <a:cubicBezTo>
                  <a:pt x="3096069" y="4654862"/>
                  <a:pt x="3096069" y="4675213"/>
                  <a:pt x="3096069" y="4675213"/>
                </a:cubicBezTo>
                <a:cubicBezTo>
                  <a:pt x="2981503" y="4715915"/>
                  <a:pt x="2881257" y="4695564"/>
                  <a:pt x="2781011" y="4715915"/>
                </a:cubicBezTo>
                <a:cubicBezTo>
                  <a:pt x="2566199" y="4756617"/>
                  <a:pt x="2351387" y="4736266"/>
                  <a:pt x="2150896" y="4776968"/>
                </a:cubicBezTo>
                <a:cubicBezTo>
                  <a:pt x="2022009" y="4817670"/>
                  <a:pt x="1893122" y="4817670"/>
                  <a:pt x="1764234" y="4838021"/>
                </a:cubicBezTo>
                <a:cubicBezTo>
                  <a:pt x="1592385" y="4878724"/>
                  <a:pt x="1420535" y="4919427"/>
                  <a:pt x="1248685" y="4939778"/>
                </a:cubicBezTo>
                <a:cubicBezTo>
                  <a:pt x="1091156" y="4980480"/>
                  <a:pt x="947949" y="5021182"/>
                  <a:pt x="790420" y="5021182"/>
                </a:cubicBezTo>
                <a:cubicBezTo>
                  <a:pt x="733137" y="5021182"/>
                  <a:pt x="675852" y="5061884"/>
                  <a:pt x="632891" y="5082235"/>
                </a:cubicBezTo>
                <a:cubicBezTo>
                  <a:pt x="561286" y="5102586"/>
                  <a:pt x="489683" y="5102586"/>
                  <a:pt x="432399" y="5102586"/>
                </a:cubicBezTo>
                <a:cubicBezTo>
                  <a:pt x="389437" y="5102586"/>
                  <a:pt x="375116" y="5082235"/>
                  <a:pt x="360796" y="5021182"/>
                </a:cubicBezTo>
                <a:cubicBezTo>
                  <a:pt x="332154" y="4919427"/>
                  <a:pt x="332154" y="4838021"/>
                  <a:pt x="317833" y="4736266"/>
                </a:cubicBezTo>
                <a:cubicBezTo>
                  <a:pt x="303512" y="4614160"/>
                  <a:pt x="317833" y="4573458"/>
                  <a:pt x="403758" y="4573458"/>
                </a:cubicBezTo>
                <a:cubicBezTo>
                  <a:pt x="532645" y="4573458"/>
                  <a:pt x="647212" y="4512404"/>
                  <a:pt x="761778" y="4471701"/>
                </a:cubicBezTo>
                <a:cubicBezTo>
                  <a:pt x="690174" y="4471701"/>
                  <a:pt x="618570" y="4471701"/>
                  <a:pt x="546966" y="4512404"/>
                </a:cubicBezTo>
                <a:cubicBezTo>
                  <a:pt x="504003" y="4532755"/>
                  <a:pt x="446720" y="4532755"/>
                  <a:pt x="389437" y="4553106"/>
                </a:cubicBezTo>
                <a:cubicBezTo>
                  <a:pt x="332154" y="4553106"/>
                  <a:pt x="289191" y="4532755"/>
                  <a:pt x="289191" y="4430999"/>
                </a:cubicBezTo>
                <a:cubicBezTo>
                  <a:pt x="289191" y="4369946"/>
                  <a:pt x="260550" y="4308893"/>
                  <a:pt x="274871" y="4247840"/>
                </a:cubicBezTo>
                <a:cubicBezTo>
                  <a:pt x="274871" y="4207137"/>
                  <a:pt x="246229" y="4186786"/>
                  <a:pt x="217587" y="4186786"/>
                </a:cubicBezTo>
                <a:cubicBezTo>
                  <a:pt x="188945" y="4207137"/>
                  <a:pt x="145984" y="4207137"/>
                  <a:pt x="103021" y="4207137"/>
                </a:cubicBezTo>
                <a:cubicBezTo>
                  <a:pt x="60059" y="4207137"/>
                  <a:pt x="31417" y="4166435"/>
                  <a:pt x="31417" y="4085030"/>
                </a:cubicBezTo>
                <a:cubicBezTo>
                  <a:pt x="17096" y="3962924"/>
                  <a:pt x="17096" y="3840817"/>
                  <a:pt x="2776" y="3718710"/>
                </a:cubicBezTo>
                <a:cubicBezTo>
                  <a:pt x="-11545" y="3637306"/>
                  <a:pt x="31417" y="3596604"/>
                  <a:pt x="88700" y="3596604"/>
                </a:cubicBezTo>
                <a:cubicBezTo>
                  <a:pt x="174625" y="3616955"/>
                  <a:pt x="260550" y="3596604"/>
                  <a:pt x="346474" y="3596604"/>
                </a:cubicBezTo>
                <a:lnTo>
                  <a:pt x="355584" y="3591606"/>
                </a:lnTo>
                <a:lnTo>
                  <a:pt x="344013" y="3541183"/>
                </a:lnTo>
                <a:cubicBezTo>
                  <a:pt x="339762" y="3517652"/>
                  <a:pt x="336629" y="3494757"/>
                  <a:pt x="333944" y="3471862"/>
                </a:cubicBezTo>
                <a:lnTo>
                  <a:pt x="324940" y="3392239"/>
                </a:lnTo>
                <a:lnTo>
                  <a:pt x="320741" y="3392456"/>
                </a:lnTo>
                <a:cubicBezTo>
                  <a:pt x="302617" y="3395636"/>
                  <a:pt x="278451" y="3403268"/>
                  <a:pt x="246229" y="3413443"/>
                </a:cubicBezTo>
                <a:cubicBezTo>
                  <a:pt x="131662" y="3454146"/>
                  <a:pt x="117342" y="3413443"/>
                  <a:pt x="88700" y="3270986"/>
                </a:cubicBezTo>
                <a:cubicBezTo>
                  <a:pt x="74379" y="3148879"/>
                  <a:pt x="74379" y="3026772"/>
                  <a:pt x="74379" y="2904666"/>
                </a:cubicBezTo>
                <a:lnTo>
                  <a:pt x="73280" y="2792209"/>
                </a:lnTo>
                <a:lnTo>
                  <a:pt x="51109" y="2769748"/>
                </a:lnTo>
                <a:cubicBezTo>
                  <a:pt x="38577" y="2749397"/>
                  <a:pt x="31417" y="2718870"/>
                  <a:pt x="31417" y="2678168"/>
                </a:cubicBezTo>
                <a:cubicBezTo>
                  <a:pt x="17096" y="2556062"/>
                  <a:pt x="17096" y="2433954"/>
                  <a:pt x="2776" y="2311848"/>
                </a:cubicBezTo>
                <a:cubicBezTo>
                  <a:pt x="-11545" y="2230444"/>
                  <a:pt x="31417" y="2189742"/>
                  <a:pt x="88700" y="2189742"/>
                </a:cubicBezTo>
                <a:cubicBezTo>
                  <a:pt x="174625" y="2210093"/>
                  <a:pt x="260550" y="2189742"/>
                  <a:pt x="346474" y="2189742"/>
                </a:cubicBezTo>
                <a:cubicBezTo>
                  <a:pt x="389437" y="2169391"/>
                  <a:pt x="375116" y="2169391"/>
                  <a:pt x="375116" y="2128689"/>
                </a:cubicBezTo>
                <a:cubicBezTo>
                  <a:pt x="375116" y="1965879"/>
                  <a:pt x="375116" y="1965879"/>
                  <a:pt x="246229" y="2006581"/>
                </a:cubicBezTo>
                <a:cubicBezTo>
                  <a:pt x="131662" y="2047283"/>
                  <a:pt x="117342" y="2006581"/>
                  <a:pt x="88700" y="1864124"/>
                </a:cubicBezTo>
                <a:cubicBezTo>
                  <a:pt x="60059" y="1619910"/>
                  <a:pt x="88700" y="1375697"/>
                  <a:pt x="60059" y="1131484"/>
                </a:cubicBezTo>
                <a:cubicBezTo>
                  <a:pt x="45738" y="989025"/>
                  <a:pt x="117342" y="927972"/>
                  <a:pt x="231908" y="948323"/>
                </a:cubicBezTo>
                <a:cubicBezTo>
                  <a:pt x="346474" y="968674"/>
                  <a:pt x="461041" y="907621"/>
                  <a:pt x="575608" y="887270"/>
                </a:cubicBezTo>
                <a:cubicBezTo>
                  <a:pt x="604249" y="887270"/>
                  <a:pt x="604249" y="826217"/>
                  <a:pt x="604249" y="805866"/>
                </a:cubicBezTo>
                <a:cubicBezTo>
                  <a:pt x="589928" y="704110"/>
                  <a:pt x="589928" y="602354"/>
                  <a:pt x="575608" y="500599"/>
                </a:cubicBezTo>
                <a:cubicBezTo>
                  <a:pt x="561286" y="398843"/>
                  <a:pt x="589928" y="358141"/>
                  <a:pt x="647212" y="337790"/>
                </a:cubicBezTo>
                <a:cubicBezTo>
                  <a:pt x="761778" y="297087"/>
                  <a:pt x="862024" y="276736"/>
                  <a:pt x="976590" y="236034"/>
                </a:cubicBezTo>
                <a:cubicBezTo>
                  <a:pt x="1076836" y="174980"/>
                  <a:pt x="1191402" y="195332"/>
                  <a:pt x="1305968" y="154630"/>
                </a:cubicBezTo>
                <a:cubicBezTo>
                  <a:pt x="1549422" y="113927"/>
                  <a:pt x="1807197" y="93576"/>
                  <a:pt x="2050650" y="73225"/>
                </a:cubicBezTo>
                <a:cubicBezTo>
                  <a:pt x="2093613" y="73225"/>
                  <a:pt x="2122255" y="73225"/>
                  <a:pt x="2136575" y="134278"/>
                </a:cubicBezTo>
                <a:cubicBezTo>
                  <a:pt x="2136575" y="154630"/>
                  <a:pt x="2150896" y="174980"/>
                  <a:pt x="2165217" y="174980"/>
                </a:cubicBezTo>
                <a:cubicBezTo>
                  <a:pt x="2179538" y="154630"/>
                  <a:pt x="2179538" y="134278"/>
                  <a:pt x="2179538" y="134278"/>
                </a:cubicBezTo>
                <a:cubicBezTo>
                  <a:pt x="2165217" y="93576"/>
                  <a:pt x="2136575" y="52874"/>
                  <a:pt x="2165217" y="52874"/>
                </a:cubicBezTo>
                <a:cubicBezTo>
                  <a:pt x="2193858" y="52874"/>
                  <a:pt x="2236821" y="32523"/>
                  <a:pt x="2265462" y="73225"/>
                </a:cubicBezTo>
                <a:cubicBezTo>
                  <a:pt x="2294104" y="93576"/>
                  <a:pt x="2251141" y="113927"/>
                  <a:pt x="2251141" y="174980"/>
                </a:cubicBezTo>
                <a:cubicBezTo>
                  <a:pt x="2279783" y="134278"/>
                  <a:pt x="2322746" y="134278"/>
                  <a:pt x="2308424" y="73225"/>
                </a:cubicBezTo>
                <a:cubicBezTo>
                  <a:pt x="2308424" y="32523"/>
                  <a:pt x="2322746" y="32523"/>
                  <a:pt x="2337067" y="32523"/>
                </a:cubicBezTo>
                <a:cubicBezTo>
                  <a:pt x="2365708" y="52874"/>
                  <a:pt x="2408670" y="32523"/>
                  <a:pt x="2422991" y="73225"/>
                </a:cubicBezTo>
                <a:cubicBezTo>
                  <a:pt x="2437312" y="93576"/>
                  <a:pt x="2437312" y="113927"/>
                  <a:pt x="2451633" y="113927"/>
                </a:cubicBezTo>
                <a:cubicBezTo>
                  <a:pt x="2465953" y="73225"/>
                  <a:pt x="2437312" y="52874"/>
                  <a:pt x="2437312" y="32523"/>
                </a:cubicBezTo>
                <a:cubicBezTo>
                  <a:pt x="2523236" y="-8179"/>
                  <a:pt x="2594841" y="32523"/>
                  <a:pt x="2666445" y="32523"/>
                </a:cubicBezTo>
                <a:cubicBezTo>
                  <a:pt x="2723728" y="12172"/>
                  <a:pt x="2666445" y="93576"/>
                  <a:pt x="2709407" y="113927"/>
                </a:cubicBezTo>
                <a:cubicBezTo>
                  <a:pt x="2723728" y="12172"/>
                  <a:pt x="2781011" y="12172"/>
                  <a:pt x="2823974" y="12172"/>
                </a:cubicBezTo>
                <a:cubicBezTo>
                  <a:pt x="2884837" y="7084"/>
                  <a:pt x="2946595" y="3268"/>
                  <a:pt x="3008802" y="1360"/>
                </a:cubicBezTo>
                <a:cubicBezTo>
                  <a:pt x="3055456" y="-71"/>
                  <a:pt x="3102362" y="-428"/>
                  <a:pt x="3149332" y="555"/>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330961207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BD45F530-C227-BA42-AB23-739B64D07C18}"/>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3" name="Marcador de pie de página 2">
            <a:extLst>
              <a:ext uri="{FF2B5EF4-FFF2-40B4-BE49-F238E27FC236}">
                <a16:creationId xmlns:a16="http://schemas.microsoft.com/office/drawing/2014/main" xmlns="" id="{B554A6B6-6BFD-044B-A1BD-94AE28B5FA9D}"/>
              </a:ext>
            </a:extLst>
          </p:cNvPr>
          <p:cNvSpPr>
            <a:spLocks noGrp="1"/>
          </p:cNvSpPr>
          <p:nvPr>
            <p:ph type="ftr" sz="quarter" idx="11"/>
          </p:nvPr>
        </p:nvSpPr>
        <p:spPr/>
        <p:txBody>
          <a:bodyPr/>
          <a:lstStyle/>
          <a:p>
            <a:endParaRPr lang="es-CL">
              <a:solidFill>
                <a:prstClr val="black">
                  <a:tint val="75000"/>
                </a:prstClr>
              </a:solidFill>
            </a:endParaRPr>
          </a:p>
        </p:txBody>
      </p:sp>
      <p:sp>
        <p:nvSpPr>
          <p:cNvPr id="4" name="Marcador de número de diapositiva 3">
            <a:extLst>
              <a:ext uri="{FF2B5EF4-FFF2-40B4-BE49-F238E27FC236}">
                <a16:creationId xmlns:a16="http://schemas.microsoft.com/office/drawing/2014/main" xmlns="" id="{E9094E48-E8C6-FB4D-BF96-987F5B77B906}"/>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93339948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F24450B-F42B-FB4D-89A9-CA59CC3E3900}"/>
              </a:ext>
            </a:extLst>
          </p:cNvPr>
          <p:cNvSpPr>
            <a:spLocks noGrp="1"/>
          </p:cNvSpPr>
          <p:nvPr>
            <p:ph type="title"/>
          </p:nvPr>
        </p:nvSpPr>
        <p:spPr>
          <a:xfrm>
            <a:off x="1116000" y="600075"/>
            <a:ext cx="5225574" cy="2100263"/>
          </a:xfrm>
        </p:spPr>
        <p:txBody>
          <a:bodyPr anchor="b"/>
          <a:lstStyle>
            <a:lvl1pPr>
              <a:defRPr sz="4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53E39D99-AAAB-4145-A36D-C8F424A998ED}"/>
              </a:ext>
            </a:extLst>
          </p:cNvPr>
          <p:cNvSpPr>
            <a:spLocks noGrp="1"/>
          </p:cNvSpPr>
          <p:nvPr>
            <p:ph idx="1"/>
          </p:nvPr>
        </p:nvSpPr>
        <p:spPr>
          <a:xfrm>
            <a:off x="6887971" y="1295996"/>
            <a:ext cx="8202275" cy="6396633"/>
          </a:xfrm>
        </p:spPr>
        <p:txBody>
          <a:bodyPr/>
          <a:lstStyle>
            <a:lvl1pPr>
              <a:defRPr sz="4200"/>
            </a:lvl1pPr>
            <a:lvl2pPr>
              <a:defRPr sz="3675"/>
            </a:lvl2pPr>
            <a:lvl3pPr>
              <a:defRPr sz="3150"/>
            </a:lvl3pPr>
            <a:lvl4pPr>
              <a:defRPr sz="2625"/>
            </a:lvl4pPr>
            <a:lvl5pPr>
              <a:defRPr sz="2625"/>
            </a:lvl5pPr>
            <a:lvl6pPr>
              <a:defRPr sz="2625"/>
            </a:lvl6pPr>
            <a:lvl7pPr>
              <a:defRPr sz="2625"/>
            </a:lvl7pPr>
            <a:lvl8pPr>
              <a:defRPr sz="2625"/>
            </a:lvl8pPr>
            <a:lvl9pPr>
              <a:defRPr sz="2625"/>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xmlns="" id="{D69F24E0-BBF4-CC49-B05E-FACC0CEA5491}"/>
              </a:ext>
            </a:extLst>
          </p:cNvPr>
          <p:cNvSpPr>
            <a:spLocks noGrp="1"/>
          </p:cNvSpPr>
          <p:nvPr>
            <p:ph type="body" sz="half" idx="2"/>
          </p:nvPr>
        </p:nvSpPr>
        <p:spPr>
          <a:xfrm>
            <a:off x="1116000" y="2700338"/>
            <a:ext cx="5225574" cy="5002709"/>
          </a:xfrm>
        </p:spPr>
        <p:txBody>
          <a:bodyPr/>
          <a:lstStyle>
            <a:lvl1pPr marL="0" indent="0">
              <a:buNone/>
              <a:defRPr sz="2100"/>
            </a:lvl1pPr>
            <a:lvl2pPr marL="600075" indent="0">
              <a:buNone/>
              <a:defRPr sz="1838"/>
            </a:lvl2pPr>
            <a:lvl3pPr marL="1200150" indent="0">
              <a:buNone/>
              <a:defRPr sz="1575"/>
            </a:lvl3pPr>
            <a:lvl4pPr marL="1800225" indent="0">
              <a:buNone/>
              <a:defRPr sz="1313"/>
            </a:lvl4pPr>
            <a:lvl5pPr marL="2400300" indent="0">
              <a:buNone/>
              <a:defRPr sz="1313"/>
            </a:lvl5pPr>
            <a:lvl6pPr marL="3000375" indent="0">
              <a:buNone/>
              <a:defRPr sz="1313"/>
            </a:lvl6pPr>
            <a:lvl7pPr marL="3600450" indent="0">
              <a:buNone/>
              <a:defRPr sz="1313"/>
            </a:lvl7pPr>
            <a:lvl8pPr marL="4200525" indent="0">
              <a:buNone/>
              <a:defRPr sz="1313"/>
            </a:lvl8pPr>
            <a:lvl9pPr marL="4800600" indent="0">
              <a:buNone/>
              <a:defRPr sz="1313"/>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806DF0AF-C098-5B48-829D-DB56DAD24D00}"/>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B13E2C68-9F65-2F48-BDAA-BF825D3174DA}"/>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4D7BD95A-BA1D-F445-8878-128B3761C738}"/>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41828303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E313084-ED99-9E4D-BE6C-2CE06565205C}"/>
              </a:ext>
            </a:extLst>
          </p:cNvPr>
          <p:cNvSpPr>
            <a:spLocks noGrp="1"/>
          </p:cNvSpPr>
          <p:nvPr>
            <p:ph type="title"/>
          </p:nvPr>
        </p:nvSpPr>
        <p:spPr>
          <a:xfrm>
            <a:off x="1116000" y="600075"/>
            <a:ext cx="5225574" cy="2100263"/>
          </a:xfrm>
        </p:spPr>
        <p:txBody>
          <a:bodyPr anchor="b"/>
          <a:lstStyle>
            <a:lvl1pPr>
              <a:defRPr sz="4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8F3066EA-AB7D-814F-8929-75A7F98C1ED8}"/>
              </a:ext>
            </a:extLst>
          </p:cNvPr>
          <p:cNvSpPr>
            <a:spLocks noGrp="1"/>
          </p:cNvSpPr>
          <p:nvPr>
            <p:ph type="pic" idx="1"/>
          </p:nvPr>
        </p:nvSpPr>
        <p:spPr>
          <a:xfrm>
            <a:off x="6887971" y="1295996"/>
            <a:ext cx="8202275" cy="6396633"/>
          </a:xfrm>
        </p:spPr>
        <p:txBody>
          <a:bodyPr/>
          <a:lstStyle>
            <a:lvl1pPr marL="0" indent="0">
              <a:buNone/>
              <a:defRPr sz="4200"/>
            </a:lvl1pPr>
            <a:lvl2pPr marL="600075" indent="0">
              <a:buNone/>
              <a:defRPr sz="3675"/>
            </a:lvl2pPr>
            <a:lvl3pPr marL="1200150" indent="0">
              <a:buNone/>
              <a:defRPr sz="3150"/>
            </a:lvl3pPr>
            <a:lvl4pPr marL="1800225" indent="0">
              <a:buNone/>
              <a:defRPr sz="2625"/>
            </a:lvl4pPr>
            <a:lvl5pPr marL="2400300" indent="0">
              <a:buNone/>
              <a:defRPr sz="2625"/>
            </a:lvl5pPr>
            <a:lvl6pPr marL="3000375" indent="0">
              <a:buNone/>
              <a:defRPr sz="2625"/>
            </a:lvl6pPr>
            <a:lvl7pPr marL="3600450" indent="0">
              <a:buNone/>
              <a:defRPr sz="2625"/>
            </a:lvl7pPr>
            <a:lvl8pPr marL="4200525" indent="0">
              <a:buNone/>
              <a:defRPr sz="2625"/>
            </a:lvl8pPr>
            <a:lvl9pPr marL="4800600" indent="0">
              <a:buNone/>
              <a:defRPr sz="2625"/>
            </a:lvl9pPr>
          </a:lstStyle>
          <a:p>
            <a:endParaRPr lang="es-CL"/>
          </a:p>
        </p:txBody>
      </p:sp>
      <p:sp>
        <p:nvSpPr>
          <p:cNvPr id="4" name="Marcador de texto 3">
            <a:extLst>
              <a:ext uri="{FF2B5EF4-FFF2-40B4-BE49-F238E27FC236}">
                <a16:creationId xmlns:a16="http://schemas.microsoft.com/office/drawing/2014/main" xmlns="" id="{C8449CCE-225C-284F-846D-5AC4E78A7CD6}"/>
              </a:ext>
            </a:extLst>
          </p:cNvPr>
          <p:cNvSpPr>
            <a:spLocks noGrp="1"/>
          </p:cNvSpPr>
          <p:nvPr>
            <p:ph type="body" sz="half" idx="2"/>
          </p:nvPr>
        </p:nvSpPr>
        <p:spPr>
          <a:xfrm>
            <a:off x="1116000" y="2700338"/>
            <a:ext cx="5225574" cy="5002709"/>
          </a:xfrm>
        </p:spPr>
        <p:txBody>
          <a:bodyPr/>
          <a:lstStyle>
            <a:lvl1pPr marL="0" indent="0">
              <a:buNone/>
              <a:defRPr sz="2100"/>
            </a:lvl1pPr>
            <a:lvl2pPr marL="600075" indent="0">
              <a:buNone/>
              <a:defRPr sz="1838"/>
            </a:lvl2pPr>
            <a:lvl3pPr marL="1200150" indent="0">
              <a:buNone/>
              <a:defRPr sz="1575"/>
            </a:lvl3pPr>
            <a:lvl4pPr marL="1800225" indent="0">
              <a:buNone/>
              <a:defRPr sz="1313"/>
            </a:lvl4pPr>
            <a:lvl5pPr marL="2400300" indent="0">
              <a:buNone/>
              <a:defRPr sz="1313"/>
            </a:lvl5pPr>
            <a:lvl6pPr marL="3000375" indent="0">
              <a:buNone/>
              <a:defRPr sz="1313"/>
            </a:lvl6pPr>
            <a:lvl7pPr marL="3600450" indent="0">
              <a:buNone/>
              <a:defRPr sz="1313"/>
            </a:lvl7pPr>
            <a:lvl8pPr marL="4200525" indent="0">
              <a:buNone/>
              <a:defRPr sz="1313"/>
            </a:lvl8pPr>
            <a:lvl9pPr marL="4800600" indent="0">
              <a:buNone/>
              <a:defRPr sz="1313"/>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30D8D557-0D49-EC48-A3B7-15D7C5C9259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E1D28889-5E0B-9147-ABC2-A94291DD8EAE}"/>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8DB87C00-1C7E-584F-89FD-D7F418C4E39A}"/>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36084072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5CA2BA3-7E7A-6042-9A7D-C221AEDC808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6407B4BC-AFE8-3341-B25E-9E072D02B9AC}"/>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36FFC573-089B-E647-AFE6-37263961C6E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DA080199-4A5D-7049-B631-4AA803EB2C26}"/>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5DCC475-665A-E44B-AFDB-9E3FFD824663}"/>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8704766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AE300FBC-0B96-604A-8C1A-82366ED1FE57}"/>
              </a:ext>
            </a:extLst>
          </p:cNvPr>
          <p:cNvSpPr>
            <a:spLocks noGrp="1"/>
          </p:cNvSpPr>
          <p:nvPr>
            <p:ph type="title" orient="vert"/>
          </p:nvPr>
        </p:nvSpPr>
        <p:spPr>
          <a:xfrm>
            <a:off x="11594574" y="479227"/>
            <a:ext cx="3493562" cy="7628037"/>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9CDD020B-FC82-8A4C-842D-35FC3DCBB7D6}"/>
              </a:ext>
            </a:extLst>
          </p:cNvPr>
          <p:cNvSpPr>
            <a:spLocks noGrp="1"/>
          </p:cNvSpPr>
          <p:nvPr>
            <p:ph type="body" orient="vert" idx="1"/>
          </p:nvPr>
        </p:nvSpPr>
        <p:spPr>
          <a:xfrm>
            <a:off x="1113889" y="479227"/>
            <a:ext cx="10278160" cy="7628037"/>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20F747D2-B59F-5E4D-B65E-F47D39459A8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63D477E8-49AB-FF4B-8553-D73F13CB689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035512FF-35ED-1C44-ADB9-F8DF8881FF8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0478911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Rectangle 1"/>
          <p:cNvSpPr/>
          <p:nvPr userDrawn="1"/>
        </p:nvSpPr>
        <p:spPr>
          <a:xfrm>
            <a:off x="14415032" y="247590"/>
            <a:ext cx="1626338" cy="14176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00150"/>
            <a:endParaRPr lang="es-CL" sz="2361">
              <a:solidFill>
                <a:prstClr val="white"/>
              </a:solidFill>
            </a:endParaRPr>
          </a:p>
        </p:txBody>
      </p:sp>
      <p:sp>
        <p:nvSpPr>
          <p:cNvPr id="12" name="Picture Placeholder 11">
            <a:extLst>
              <a:ext uri="{FF2B5EF4-FFF2-40B4-BE49-F238E27FC236}">
                <a16:creationId xmlns:a16="http://schemas.microsoft.com/office/drawing/2014/main" xmlns="" id="{E3C226A8-89D9-4EBB-A7BC-EB7F2D7C834C}"/>
              </a:ext>
            </a:extLst>
          </p:cNvPr>
          <p:cNvSpPr>
            <a:spLocks noGrp="1"/>
          </p:cNvSpPr>
          <p:nvPr>
            <p:ph type="pic" sz="quarter" idx="10"/>
          </p:nvPr>
        </p:nvSpPr>
        <p:spPr>
          <a:xfrm>
            <a:off x="7570382" y="467197"/>
            <a:ext cx="8631643" cy="8525080"/>
          </a:xfrm>
          <a:custGeom>
            <a:avLst/>
            <a:gdLst>
              <a:gd name="connsiteX0" fmla="*/ 6495299 w 6495299"/>
              <a:gd name="connsiteY0" fmla="*/ 0 h 6495299"/>
              <a:gd name="connsiteX1" fmla="*/ 6495299 w 6495299"/>
              <a:gd name="connsiteY1" fmla="*/ 3356640 h 6495299"/>
              <a:gd name="connsiteX2" fmla="*/ 3356639 w 6495299"/>
              <a:gd name="connsiteY2" fmla="*/ 6495299 h 6495299"/>
              <a:gd name="connsiteX3" fmla="*/ 0 w 6495299"/>
              <a:gd name="connsiteY3" fmla="*/ 6495299 h 6495299"/>
              <a:gd name="connsiteX4" fmla="*/ 6495299 w 6495299"/>
              <a:gd name="connsiteY4" fmla="*/ 0 h 6495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95299" h="6495299">
                <a:moveTo>
                  <a:pt x="6495299" y="0"/>
                </a:moveTo>
                <a:lnTo>
                  <a:pt x="6495299" y="3356640"/>
                </a:lnTo>
                <a:cubicBezTo>
                  <a:pt x="4761865" y="3356640"/>
                  <a:pt x="3356639" y="4761866"/>
                  <a:pt x="3356639" y="6495299"/>
                </a:cubicBezTo>
                <a:lnTo>
                  <a:pt x="0" y="6495299"/>
                </a:lnTo>
                <a:cubicBezTo>
                  <a:pt x="0" y="2908044"/>
                  <a:pt x="2908043" y="0"/>
                  <a:pt x="6495299" y="0"/>
                </a:cubicBezTo>
                <a:close/>
              </a:path>
            </a:pathLst>
          </a:custGeom>
          <a:solidFill>
            <a:schemeClr val="bg1">
              <a:lumMod val="95000"/>
            </a:schemeClr>
          </a:solidFill>
        </p:spPr>
        <p:txBody>
          <a:bodyPr wrap="square">
            <a:noAutofit/>
          </a:bodyPr>
          <a:lstStyle/>
          <a:p>
            <a:endParaRPr lang="en-US" dirty="0"/>
          </a:p>
        </p:txBody>
      </p:sp>
    </p:spTree>
    <p:extLst>
      <p:ext uri="{BB962C8B-B14F-4D97-AF65-F5344CB8AC3E}">
        <p14:creationId xmlns:p14="http://schemas.microsoft.com/office/powerpoint/2010/main" val="1706506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F75185ED-ED79-41AF-9E14-0051C9C133AB}"/>
              </a:ext>
            </a:extLst>
          </p:cNvPr>
          <p:cNvSpPr>
            <a:spLocks noGrp="1"/>
          </p:cNvSpPr>
          <p:nvPr>
            <p:ph type="pic" sz="quarter" idx="10"/>
          </p:nvPr>
        </p:nvSpPr>
        <p:spPr>
          <a:xfrm>
            <a:off x="7387086" y="4"/>
            <a:ext cx="8789370" cy="8672230"/>
          </a:xfrm>
          <a:custGeom>
            <a:avLst/>
            <a:gdLst>
              <a:gd name="connsiteX0" fmla="*/ 0 w 6613988"/>
              <a:gd name="connsiteY0" fmla="*/ 0 h 6607413"/>
              <a:gd name="connsiteX1" fmla="*/ 3418234 w 6613988"/>
              <a:gd name="connsiteY1" fmla="*/ 0 h 6607413"/>
              <a:gd name="connsiteX2" fmla="*/ 3434394 w 6613988"/>
              <a:gd name="connsiteY2" fmla="*/ 320036 h 6607413"/>
              <a:gd name="connsiteX3" fmla="*/ 6613988 w 6613988"/>
              <a:gd name="connsiteY3" fmla="*/ 3189348 h 6607413"/>
              <a:gd name="connsiteX4" fmla="*/ 6613988 w 6613988"/>
              <a:gd name="connsiteY4" fmla="*/ 6607413 h 6607413"/>
              <a:gd name="connsiteX5" fmla="*/ 8436 w 6613988"/>
              <a:gd name="connsiteY5" fmla="*/ 333618 h 660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13988" h="6607413">
                <a:moveTo>
                  <a:pt x="0" y="0"/>
                </a:moveTo>
                <a:lnTo>
                  <a:pt x="3418234" y="0"/>
                </a:lnTo>
                <a:lnTo>
                  <a:pt x="3434394" y="320036"/>
                </a:lnTo>
                <a:cubicBezTo>
                  <a:pt x="3598066" y="1931686"/>
                  <a:pt x="4959155" y="3189348"/>
                  <a:pt x="6613988" y="3189348"/>
                </a:cubicBezTo>
                <a:lnTo>
                  <a:pt x="6613988" y="6607413"/>
                </a:lnTo>
                <a:cubicBezTo>
                  <a:pt x="3075241" y="6607413"/>
                  <a:pt x="185584" y="3828340"/>
                  <a:pt x="8436" y="333618"/>
                </a:cubicBezTo>
                <a:close/>
              </a:path>
            </a:pathLst>
          </a:custGeom>
          <a:solidFill>
            <a:schemeClr val="bg1">
              <a:lumMod val="95000"/>
            </a:schemeClr>
          </a:solidFill>
        </p:spPr>
        <p:txBody>
          <a:bodyPr wrap="square">
            <a:noAutofit/>
          </a:bodyPr>
          <a:lstStyle/>
          <a:p>
            <a:endParaRPr lang="en-US" dirty="0"/>
          </a:p>
        </p:txBody>
      </p:sp>
    </p:spTree>
    <p:extLst>
      <p:ext uri="{BB962C8B-B14F-4D97-AF65-F5344CB8AC3E}">
        <p14:creationId xmlns:p14="http://schemas.microsoft.com/office/powerpoint/2010/main" val="3596568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5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xmlns="" id="{B83E1244-06E4-4241-9219-02D751D3DF4F}"/>
              </a:ext>
            </a:extLst>
          </p:cNvPr>
          <p:cNvSpPr>
            <a:spLocks noGrp="1"/>
          </p:cNvSpPr>
          <p:nvPr>
            <p:ph type="pic" sz="quarter" idx="21" hasCustomPrompt="1"/>
          </p:nvPr>
        </p:nvSpPr>
        <p:spPr>
          <a:xfrm>
            <a:off x="1308658" y="342100"/>
            <a:ext cx="13252967" cy="5995230"/>
          </a:xfrm>
          <a:custGeom>
            <a:avLst/>
            <a:gdLst>
              <a:gd name="connsiteX0" fmla="*/ 6297620 w 9972838"/>
              <a:gd name="connsiteY0" fmla="*/ 4196232 h 4567794"/>
              <a:gd name="connsiteX1" fmla="*/ 6305057 w 9972838"/>
              <a:gd name="connsiteY1" fmla="*/ 4203050 h 4567794"/>
              <a:gd name="connsiteX2" fmla="*/ 6302652 w 9972838"/>
              <a:gd name="connsiteY2" fmla="*/ 4203050 h 4567794"/>
              <a:gd name="connsiteX3" fmla="*/ 6302756 w 9972838"/>
              <a:gd name="connsiteY3" fmla="*/ 4203144 h 4567794"/>
              <a:gd name="connsiteX4" fmla="*/ 6287837 w 9972838"/>
              <a:gd name="connsiteY4" fmla="*/ 4203144 h 4567794"/>
              <a:gd name="connsiteX5" fmla="*/ 6295337 w 9972838"/>
              <a:gd name="connsiteY5" fmla="*/ 4196354 h 4567794"/>
              <a:gd name="connsiteX6" fmla="*/ 6296408 w 9972838"/>
              <a:gd name="connsiteY6" fmla="*/ 4197335 h 4567794"/>
              <a:gd name="connsiteX7" fmla="*/ 7024299 w 9972838"/>
              <a:gd name="connsiteY7" fmla="*/ 4174346 h 4567794"/>
              <a:gd name="connsiteX8" fmla="*/ 6979278 w 9972838"/>
              <a:gd name="connsiteY8" fmla="*/ 4383345 h 4567794"/>
              <a:gd name="connsiteX9" fmla="*/ 6994283 w 9972838"/>
              <a:gd name="connsiteY9" fmla="*/ 4413202 h 4567794"/>
              <a:gd name="connsiteX10" fmla="*/ 7009289 w 9972838"/>
              <a:gd name="connsiteY10" fmla="*/ 4428130 h 4567794"/>
              <a:gd name="connsiteX11" fmla="*/ 7009289 w 9972838"/>
              <a:gd name="connsiteY11" fmla="*/ 4457988 h 4567794"/>
              <a:gd name="connsiteX12" fmla="*/ 7054309 w 9972838"/>
              <a:gd name="connsiteY12" fmla="*/ 4443058 h 4567794"/>
              <a:gd name="connsiteX13" fmla="*/ 7069319 w 9972838"/>
              <a:gd name="connsiteY13" fmla="*/ 4428130 h 4567794"/>
              <a:gd name="connsiteX14" fmla="*/ 7084325 w 9972838"/>
              <a:gd name="connsiteY14" fmla="*/ 4472917 h 4567794"/>
              <a:gd name="connsiteX15" fmla="*/ 6934257 w 9972838"/>
              <a:gd name="connsiteY15" fmla="*/ 4517702 h 4567794"/>
              <a:gd name="connsiteX16" fmla="*/ 6649123 w 9972838"/>
              <a:gd name="connsiteY16" fmla="*/ 4383345 h 4567794"/>
              <a:gd name="connsiteX17" fmla="*/ 6604103 w 9972838"/>
              <a:gd name="connsiteY17" fmla="*/ 4308703 h 4567794"/>
              <a:gd name="connsiteX18" fmla="*/ 6784185 w 9972838"/>
              <a:gd name="connsiteY18" fmla="*/ 4263917 h 4567794"/>
              <a:gd name="connsiteX19" fmla="*/ 6844215 w 9972838"/>
              <a:gd name="connsiteY19" fmla="*/ 4263917 h 4567794"/>
              <a:gd name="connsiteX20" fmla="*/ 6829206 w 9972838"/>
              <a:gd name="connsiteY20" fmla="*/ 4219131 h 4567794"/>
              <a:gd name="connsiteX21" fmla="*/ 7024299 w 9972838"/>
              <a:gd name="connsiteY21" fmla="*/ 4174346 h 4567794"/>
              <a:gd name="connsiteX22" fmla="*/ 6394773 w 9972838"/>
              <a:gd name="connsiteY22" fmla="*/ 4023622 h 4567794"/>
              <a:gd name="connsiteX23" fmla="*/ 6370472 w 9972838"/>
              <a:gd name="connsiteY23" fmla="*/ 4130157 h 4567794"/>
              <a:gd name="connsiteX24" fmla="*/ 6297620 w 9972838"/>
              <a:gd name="connsiteY24" fmla="*/ 4196232 h 4567794"/>
              <a:gd name="connsiteX25" fmla="*/ 6296548 w 9972838"/>
              <a:gd name="connsiteY25" fmla="*/ 4195250 h 4567794"/>
              <a:gd name="connsiteX26" fmla="*/ 6295337 w 9972838"/>
              <a:gd name="connsiteY26" fmla="*/ 4196354 h 4567794"/>
              <a:gd name="connsiteX27" fmla="*/ 6280377 w 9972838"/>
              <a:gd name="connsiteY27" fmla="*/ 4182655 h 4567794"/>
              <a:gd name="connsiteX28" fmla="*/ 6257998 w 9972838"/>
              <a:gd name="connsiteY28" fmla="*/ 4173342 h 4567794"/>
              <a:gd name="connsiteX29" fmla="*/ 6280377 w 9972838"/>
              <a:gd name="connsiteY29" fmla="*/ 4154710 h 4567794"/>
              <a:gd name="connsiteX30" fmla="*/ 6281996 w 9972838"/>
              <a:gd name="connsiteY30" fmla="*/ 4154982 h 4567794"/>
              <a:gd name="connsiteX31" fmla="*/ 6282627 w 9972838"/>
              <a:gd name="connsiteY31" fmla="*/ 4154458 h 4567794"/>
              <a:gd name="connsiteX32" fmla="*/ 6303044 w 9972838"/>
              <a:gd name="connsiteY32" fmla="*/ 4157857 h 4567794"/>
              <a:gd name="connsiteX33" fmla="*/ 6317671 w 9972838"/>
              <a:gd name="connsiteY33" fmla="*/ 4128633 h 4567794"/>
              <a:gd name="connsiteX34" fmla="*/ 6300889 w 9972838"/>
              <a:gd name="connsiteY34" fmla="*/ 4082062 h 4567794"/>
              <a:gd name="connsiteX35" fmla="*/ 6303190 w 9972838"/>
              <a:gd name="connsiteY35" fmla="*/ 4081572 h 4567794"/>
              <a:gd name="connsiteX36" fmla="*/ 6303186 w 9972838"/>
              <a:gd name="connsiteY36" fmla="*/ 4081564 h 4567794"/>
              <a:gd name="connsiteX37" fmla="*/ 6362429 w 9972838"/>
              <a:gd name="connsiteY37" fmla="*/ 4068995 h 4567794"/>
              <a:gd name="connsiteX38" fmla="*/ 6366159 w 9972838"/>
              <a:gd name="connsiteY38" fmla="*/ 4041078 h 4567794"/>
              <a:gd name="connsiteX39" fmla="*/ 6392264 w 9972838"/>
              <a:gd name="connsiteY39" fmla="*/ 4024309 h 4567794"/>
              <a:gd name="connsiteX40" fmla="*/ 6392019 w 9972838"/>
              <a:gd name="connsiteY40" fmla="*/ 4025394 h 4567794"/>
              <a:gd name="connsiteX41" fmla="*/ 5139957 w 9972838"/>
              <a:gd name="connsiteY41" fmla="*/ 3850985 h 4567794"/>
              <a:gd name="connsiteX42" fmla="*/ 5183020 w 9972838"/>
              <a:gd name="connsiteY42" fmla="*/ 3875978 h 4567794"/>
              <a:gd name="connsiteX43" fmla="*/ 5183020 w 9972838"/>
              <a:gd name="connsiteY43" fmla="*/ 3891359 h 4567794"/>
              <a:gd name="connsiteX44" fmla="*/ 5154311 w 9972838"/>
              <a:gd name="connsiteY44" fmla="*/ 3891359 h 4567794"/>
              <a:gd name="connsiteX45" fmla="*/ 5082541 w 9972838"/>
              <a:gd name="connsiteY45" fmla="*/ 3891359 h 4567794"/>
              <a:gd name="connsiteX46" fmla="*/ 5096895 w 9972838"/>
              <a:gd name="connsiteY46" fmla="*/ 3860597 h 4567794"/>
              <a:gd name="connsiteX47" fmla="*/ 5139957 w 9972838"/>
              <a:gd name="connsiteY47" fmla="*/ 3850985 h 4567794"/>
              <a:gd name="connsiteX48" fmla="*/ 4751996 w 9972838"/>
              <a:gd name="connsiteY48" fmla="*/ 3673039 h 4567794"/>
              <a:gd name="connsiteX49" fmla="*/ 4704240 w 9972838"/>
              <a:gd name="connsiteY49" fmla="*/ 3707117 h 4567794"/>
              <a:gd name="connsiteX50" fmla="*/ 4686816 w 9972838"/>
              <a:gd name="connsiteY50" fmla="*/ 3719282 h 4567794"/>
              <a:gd name="connsiteX51" fmla="*/ 4671571 w 9972838"/>
              <a:gd name="connsiteY51" fmla="*/ 3722694 h 4567794"/>
              <a:gd name="connsiteX52" fmla="*/ 4646786 w 9972838"/>
              <a:gd name="connsiteY52" fmla="*/ 3756056 h 4567794"/>
              <a:gd name="connsiteX53" fmla="*/ 4512519 w 9972838"/>
              <a:gd name="connsiteY53" fmla="*/ 3994506 h 4567794"/>
              <a:gd name="connsiteX54" fmla="*/ 4393172 w 9972838"/>
              <a:gd name="connsiteY54" fmla="*/ 4232952 h 4567794"/>
              <a:gd name="connsiteX55" fmla="*/ 4423008 w 9972838"/>
              <a:gd name="connsiteY55" fmla="*/ 4232952 h 4567794"/>
              <a:gd name="connsiteX56" fmla="*/ 4542359 w 9972838"/>
              <a:gd name="connsiteY56" fmla="*/ 4113727 h 4567794"/>
              <a:gd name="connsiteX57" fmla="*/ 4616951 w 9972838"/>
              <a:gd name="connsiteY57" fmla="*/ 4098825 h 4567794"/>
              <a:gd name="connsiteX58" fmla="*/ 4646786 w 9972838"/>
              <a:gd name="connsiteY58" fmla="*/ 4069018 h 4567794"/>
              <a:gd name="connsiteX59" fmla="*/ 4616951 w 9972838"/>
              <a:gd name="connsiteY59" fmla="*/ 4024309 h 4567794"/>
              <a:gd name="connsiteX60" fmla="*/ 4736298 w 9972838"/>
              <a:gd name="connsiteY60" fmla="*/ 3919990 h 4567794"/>
              <a:gd name="connsiteX61" fmla="*/ 4751218 w 9972838"/>
              <a:gd name="connsiteY61" fmla="*/ 3875281 h 4567794"/>
              <a:gd name="connsiteX62" fmla="*/ 4885484 w 9972838"/>
              <a:gd name="connsiteY62" fmla="*/ 3741156 h 4567794"/>
              <a:gd name="connsiteX63" fmla="*/ 4899254 w 9972838"/>
              <a:gd name="connsiteY63" fmla="*/ 3725782 h 4567794"/>
              <a:gd name="connsiteX64" fmla="*/ 4878045 w 9972838"/>
              <a:gd name="connsiteY64" fmla="*/ 3714976 h 4567794"/>
              <a:gd name="connsiteX65" fmla="*/ 4825828 w 9972838"/>
              <a:gd name="connsiteY65" fmla="*/ 3687034 h 4567794"/>
              <a:gd name="connsiteX66" fmla="*/ 4753568 w 9972838"/>
              <a:gd name="connsiteY66" fmla="*/ 3673994 h 4567794"/>
              <a:gd name="connsiteX67" fmla="*/ 5636716 w 9972838"/>
              <a:gd name="connsiteY67" fmla="*/ 3651979 h 4567794"/>
              <a:gd name="connsiteX68" fmla="*/ 5614274 w 9972838"/>
              <a:gd name="connsiteY68" fmla="*/ 3677309 h 4567794"/>
              <a:gd name="connsiteX69" fmla="*/ 5477911 w 9972838"/>
              <a:gd name="connsiteY69" fmla="*/ 3738086 h 4567794"/>
              <a:gd name="connsiteX70" fmla="*/ 5439439 w 9972838"/>
              <a:gd name="connsiteY70" fmla="*/ 3710154 h 4567794"/>
              <a:gd name="connsiteX71" fmla="*/ 5347962 w 9972838"/>
              <a:gd name="connsiteY71" fmla="*/ 3875281 h 4567794"/>
              <a:gd name="connsiteX72" fmla="*/ 5303208 w 9972838"/>
              <a:gd name="connsiteY72" fmla="*/ 4024309 h 4567794"/>
              <a:gd name="connsiteX73" fmla="*/ 5288289 w 9972838"/>
              <a:gd name="connsiteY73" fmla="*/ 4024309 h 4567794"/>
              <a:gd name="connsiteX74" fmla="*/ 5243530 w 9972838"/>
              <a:gd name="connsiteY74" fmla="*/ 4069018 h 4567794"/>
              <a:gd name="connsiteX75" fmla="*/ 5333043 w 9972838"/>
              <a:gd name="connsiteY75" fmla="*/ 4173342 h 4567794"/>
              <a:gd name="connsiteX76" fmla="*/ 5168938 w 9972838"/>
              <a:gd name="connsiteY76" fmla="*/ 4337271 h 4567794"/>
              <a:gd name="connsiteX77" fmla="*/ 5183857 w 9972838"/>
              <a:gd name="connsiteY77" fmla="*/ 4352176 h 4567794"/>
              <a:gd name="connsiteX78" fmla="*/ 5362882 w 9972838"/>
              <a:gd name="connsiteY78" fmla="*/ 4322369 h 4567794"/>
              <a:gd name="connsiteX79" fmla="*/ 5347962 w 9972838"/>
              <a:gd name="connsiteY79" fmla="*/ 4218050 h 4567794"/>
              <a:gd name="connsiteX80" fmla="*/ 5422555 w 9972838"/>
              <a:gd name="connsiteY80" fmla="*/ 4128633 h 4567794"/>
              <a:gd name="connsiteX81" fmla="*/ 5452394 w 9972838"/>
              <a:gd name="connsiteY81" fmla="*/ 4158436 h 4567794"/>
              <a:gd name="connsiteX82" fmla="*/ 5526986 w 9972838"/>
              <a:gd name="connsiteY82" fmla="*/ 4098825 h 4567794"/>
              <a:gd name="connsiteX83" fmla="*/ 5616500 w 9972838"/>
              <a:gd name="connsiteY83" fmla="*/ 3994506 h 4567794"/>
              <a:gd name="connsiteX84" fmla="*/ 5646334 w 9972838"/>
              <a:gd name="connsiteY84" fmla="*/ 3949794 h 4567794"/>
              <a:gd name="connsiteX85" fmla="*/ 5735846 w 9972838"/>
              <a:gd name="connsiteY85" fmla="*/ 3845475 h 4567794"/>
              <a:gd name="connsiteX86" fmla="*/ 5765683 w 9972838"/>
              <a:gd name="connsiteY86" fmla="*/ 3752330 h 4567794"/>
              <a:gd name="connsiteX87" fmla="*/ 5768123 w 9972838"/>
              <a:gd name="connsiteY87" fmla="*/ 3748696 h 4567794"/>
              <a:gd name="connsiteX88" fmla="*/ 5749308 w 9972838"/>
              <a:gd name="connsiteY88" fmla="*/ 3741088 h 4567794"/>
              <a:gd name="connsiteX89" fmla="*/ 5679431 w 9972838"/>
              <a:gd name="connsiteY89" fmla="*/ 3703301 h 4567794"/>
              <a:gd name="connsiteX90" fmla="*/ 5637225 w 9972838"/>
              <a:gd name="connsiteY90" fmla="*/ 3657115 h 4567794"/>
              <a:gd name="connsiteX91" fmla="*/ 3749343 w 9972838"/>
              <a:gd name="connsiteY91" fmla="*/ 3638187 h 4567794"/>
              <a:gd name="connsiteX92" fmla="*/ 3705049 w 9972838"/>
              <a:gd name="connsiteY92" fmla="*/ 3707621 h 4567794"/>
              <a:gd name="connsiteX93" fmla="*/ 3617403 w 9972838"/>
              <a:gd name="connsiteY93" fmla="*/ 3919990 h 4567794"/>
              <a:gd name="connsiteX94" fmla="*/ 3557727 w 9972838"/>
              <a:gd name="connsiteY94" fmla="*/ 4069018 h 4567794"/>
              <a:gd name="connsiteX95" fmla="*/ 3557727 w 9972838"/>
              <a:gd name="connsiteY95" fmla="*/ 4232952 h 4567794"/>
              <a:gd name="connsiteX96" fmla="*/ 3677076 w 9972838"/>
              <a:gd name="connsiteY96" fmla="*/ 4262759 h 4567794"/>
              <a:gd name="connsiteX97" fmla="*/ 3766591 w 9972838"/>
              <a:gd name="connsiteY97" fmla="*/ 4143535 h 4567794"/>
              <a:gd name="connsiteX98" fmla="*/ 3796424 w 9972838"/>
              <a:gd name="connsiteY98" fmla="*/ 4098825 h 4567794"/>
              <a:gd name="connsiteX99" fmla="*/ 3871017 w 9972838"/>
              <a:gd name="connsiteY99" fmla="*/ 4069018 h 4567794"/>
              <a:gd name="connsiteX100" fmla="*/ 4005288 w 9972838"/>
              <a:gd name="connsiteY100" fmla="*/ 3890182 h 4567794"/>
              <a:gd name="connsiteX101" fmla="*/ 4034426 w 9972838"/>
              <a:gd name="connsiteY101" fmla="*/ 3851994 h 4567794"/>
              <a:gd name="connsiteX102" fmla="*/ 4052903 w 9972838"/>
              <a:gd name="connsiteY102" fmla="*/ 3819563 h 4567794"/>
              <a:gd name="connsiteX103" fmla="*/ 4045400 w 9972838"/>
              <a:gd name="connsiteY103" fmla="*/ 3813941 h 4567794"/>
              <a:gd name="connsiteX104" fmla="*/ 3885957 w 9972838"/>
              <a:gd name="connsiteY104" fmla="*/ 3761550 h 4567794"/>
              <a:gd name="connsiteX105" fmla="*/ 3766608 w 9972838"/>
              <a:gd name="connsiteY105" fmla="*/ 3673994 h 4567794"/>
              <a:gd name="connsiteX106" fmla="*/ 4220563 w 9972838"/>
              <a:gd name="connsiteY106" fmla="*/ 3622458 h 4567794"/>
              <a:gd name="connsiteX107" fmla="*/ 4205526 w 9972838"/>
              <a:gd name="connsiteY107" fmla="*/ 3646982 h 4567794"/>
              <a:gd name="connsiteX108" fmla="*/ 4206922 w 9972838"/>
              <a:gd name="connsiteY108" fmla="*/ 3647311 h 4567794"/>
              <a:gd name="connsiteX109" fmla="*/ 4229068 w 9972838"/>
              <a:gd name="connsiteY109" fmla="*/ 3636832 h 4567794"/>
              <a:gd name="connsiteX110" fmla="*/ 4455487 w 9972838"/>
              <a:gd name="connsiteY110" fmla="*/ 3617654 h 4567794"/>
              <a:gd name="connsiteX111" fmla="*/ 4417432 w 9972838"/>
              <a:gd name="connsiteY111" fmla="*/ 3659092 h 4567794"/>
              <a:gd name="connsiteX112" fmla="*/ 4273837 w 9972838"/>
              <a:gd name="connsiteY112" fmla="*/ 3821161 h 4567794"/>
              <a:gd name="connsiteX113" fmla="*/ 4222789 w 9972838"/>
              <a:gd name="connsiteY113" fmla="*/ 3865637 h 4567794"/>
              <a:gd name="connsiteX114" fmla="*/ 4182777 w 9972838"/>
              <a:gd name="connsiteY114" fmla="*/ 3884458 h 4567794"/>
              <a:gd name="connsiteX115" fmla="*/ 4176849 w 9972838"/>
              <a:gd name="connsiteY115" fmla="*/ 3919988 h 4567794"/>
              <a:gd name="connsiteX116" fmla="*/ 4169389 w 9972838"/>
              <a:gd name="connsiteY116" fmla="*/ 3964699 h 4567794"/>
              <a:gd name="connsiteX117" fmla="*/ 4109715 w 9972838"/>
              <a:gd name="connsiteY117" fmla="*/ 3964699 h 4567794"/>
              <a:gd name="connsiteX118" fmla="*/ 4081743 w 9972838"/>
              <a:gd name="connsiteY118" fmla="*/ 4026172 h 4567794"/>
              <a:gd name="connsiteX119" fmla="*/ 4065752 w 9972838"/>
              <a:gd name="connsiteY119" fmla="*/ 4095394 h 4567794"/>
              <a:gd name="connsiteX120" fmla="*/ 4070558 w 9972838"/>
              <a:gd name="connsiteY120" fmla="*/ 4095394 h 4567794"/>
              <a:gd name="connsiteX121" fmla="*/ 4070558 w 9972838"/>
              <a:gd name="connsiteY121" fmla="*/ 4102569 h 4567794"/>
              <a:gd name="connsiteX122" fmla="*/ 4063380 w 9972838"/>
              <a:gd name="connsiteY122" fmla="*/ 4102569 h 4567794"/>
              <a:gd name="connsiteX123" fmla="*/ 4063380 w 9972838"/>
              <a:gd name="connsiteY123" fmla="*/ 4099526 h 4567794"/>
              <a:gd name="connsiteX124" fmla="*/ 4014612 w 9972838"/>
              <a:gd name="connsiteY124" fmla="*/ 4121182 h 4567794"/>
              <a:gd name="connsiteX125" fmla="*/ 3975449 w 9972838"/>
              <a:gd name="connsiteY125" fmla="*/ 4143535 h 4567794"/>
              <a:gd name="connsiteX126" fmla="*/ 3945610 w 9972838"/>
              <a:gd name="connsiteY126" fmla="*/ 4203144 h 4567794"/>
              <a:gd name="connsiteX127" fmla="*/ 3990369 w 9972838"/>
              <a:gd name="connsiteY127" fmla="*/ 4203144 h 4567794"/>
              <a:gd name="connsiteX128" fmla="*/ 4005288 w 9972838"/>
              <a:gd name="connsiteY128" fmla="*/ 4203144 h 4567794"/>
              <a:gd name="connsiteX129" fmla="*/ 4184308 w 9972838"/>
              <a:gd name="connsiteY129" fmla="*/ 4113727 h 4567794"/>
              <a:gd name="connsiteX130" fmla="*/ 4199228 w 9972838"/>
              <a:gd name="connsiteY130" fmla="*/ 4054117 h 4567794"/>
              <a:gd name="connsiteX131" fmla="*/ 4393172 w 9972838"/>
              <a:gd name="connsiteY131" fmla="*/ 3919990 h 4567794"/>
              <a:gd name="connsiteX132" fmla="*/ 4423008 w 9972838"/>
              <a:gd name="connsiteY132" fmla="*/ 3860376 h 4567794"/>
              <a:gd name="connsiteX133" fmla="*/ 4408087 w 9972838"/>
              <a:gd name="connsiteY133" fmla="*/ 3800765 h 4567794"/>
              <a:gd name="connsiteX134" fmla="*/ 4497600 w 9972838"/>
              <a:gd name="connsiteY134" fmla="*/ 3815667 h 4567794"/>
              <a:gd name="connsiteX135" fmla="*/ 4467767 w 9972838"/>
              <a:gd name="connsiteY135" fmla="*/ 3756056 h 4567794"/>
              <a:gd name="connsiteX136" fmla="*/ 4512519 w 9972838"/>
              <a:gd name="connsiteY136" fmla="*/ 3756056 h 4567794"/>
              <a:gd name="connsiteX137" fmla="*/ 4572194 w 9972838"/>
              <a:gd name="connsiteY137" fmla="*/ 3756056 h 4567794"/>
              <a:gd name="connsiteX138" fmla="*/ 4572194 w 9972838"/>
              <a:gd name="connsiteY138" fmla="*/ 3696446 h 4567794"/>
              <a:gd name="connsiteX139" fmla="*/ 4552168 w 9972838"/>
              <a:gd name="connsiteY139" fmla="*/ 3675508 h 4567794"/>
              <a:gd name="connsiteX140" fmla="*/ 4465543 w 9972838"/>
              <a:gd name="connsiteY140" fmla="*/ 3621422 h 4567794"/>
              <a:gd name="connsiteX141" fmla="*/ 2901862 w 9972838"/>
              <a:gd name="connsiteY141" fmla="*/ 3585616 h 4567794"/>
              <a:gd name="connsiteX142" fmla="*/ 2886390 w 9972838"/>
              <a:gd name="connsiteY142" fmla="*/ 3592123 h 4567794"/>
              <a:gd name="connsiteX143" fmla="*/ 2886390 w 9972838"/>
              <a:gd name="connsiteY143" fmla="*/ 3607029 h 4567794"/>
              <a:gd name="connsiteX144" fmla="*/ 2826717 w 9972838"/>
              <a:gd name="connsiteY144" fmla="*/ 3741156 h 4567794"/>
              <a:gd name="connsiteX145" fmla="*/ 2752124 w 9972838"/>
              <a:gd name="connsiteY145" fmla="*/ 3890182 h 4567794"/>
              <a:gd name="connsiteX146" fmla="*/ 2662610 w 9972838"/>
              <a:gd name="connsiteY146" fmla="*/ 4039216 h 4567794"/>
              <a:gd name="connsiteX147" fmla="*/ 2677531 w 9972838"/>
              <a:gd name="connsiteY147" fmla="*/ 4158436 h 4567794"/>
              <a:gd name="connsiteX148" fmla="*/ 2737204 w 9972838"/>
              <a:gd name="connsiteY148" fmla="*/ 4128633 h 4567794"/>
              <a:gd name="connsiteX149" fmla="*/ 2856551 w 9972838"/>
              <a:gd name="connsiteY149" fmla="*/ 4054117 h 4567794"/>
              <a:gd name="connsiteX150" fmla="*/ 2856551 w 9972838"/>
              <a:gd name="connsiteY150" fmla="*/ 3994506 h 4567794"/>
              <a:gd name="connsiteX151" fmla="*/ 3102009 w 9972838"/>
              <a:gd name="connsiteY151" fmla="*/ 3816365 h 4567794"/>
              <a:gd name="connsiteX152" fmla="*/ 3130156 w 9972838"/>
              <a:gd name="connsiteY152" fmla="*/ 3768426 h 4567794"/>
              <a:gd name="connsiteX153" fmla="*/ 3125107 w 9972838"/>
              <a:gd name="connsiteY153" fmla="*/ 3765274 h 4567794"/>
              <a:gd name="connsiteX154" fmla="*/ 3035597 w 9972838"/>
              <a:gd name="connsiteY154" fmla="*/ 3731743 h 4567794"/>
              <a:gd name="connsiteX155" fmla="*/ 2911816 w 9972838"/>
              <a:gd name="connsiteY155" fmla="*/ 3639531 h 4567794"/>
              <a:gd name="connsiteX156" fmla="*/ 4285670 w 9972838"/>
              <a:gd name="connsiteY156" fmla="*/ 3538942 h 4567794"/>
              <a:gd name="connsiteX157" fmla="*/ 4285011 w 9972838"/>
              <a:gd name="connsiteY157" fmla="*/ 3539965 h 4567794"/>
              <a:gd name="connsiteX158" fmla="*/ 4251153 w 9972838"/>
              <a:gd name="connsiteY158" fmla="*/ 3571531 h 4567794"/>
              <a:gd name="connsiteX159" fmla="*/ 4239907 w 9972838"/>
              <a:gd name="connsiteY159" fmla="*/ 3590404 h 4567794"/>
              <a:gd name="connsiteX160" fmla="*/ 4268693 w 9972838"/>
              <a:gd name="connsiteY160" fmla="*/ 3585836 h 4567794"/>
              <a:gd name="connsiteX161" fmla="*/ 4348414 w 9972838"/>
              <a:gd name="connsiteY161" fmla="*/ 3592123 h 4567794"/>
              <a:gd name="connsiteX162" fmla="*/ 4361991 w 9972838"/>
              <a:gd name="connsiteY162" fmla="*/ 3595891 h 4567794"/>
              <a:gd name="connsiteX163" fmla="*/ 4357756 w 9972838"/>
              <a:gd name="connsiteY163" fmla="*/ 3584576 h 4567794"/>
              <a:gd name="connsiteX164" fmla="*/ 4358495 w 9972838"/>
              <a:gd name="connsiteY164" fmla="*/ 3580104 h 4567794"/>
              <a:gd name="connsiteX165" fmla="*/ 4323585 w 9972838"/>
              <a:gd name="connsiteY165" fmla="*/ 3564605 h 4567794"/>
              <a:gd name="connsiteX166" fmla="*/ 2586378 w 9972838"/>
              <a:gd name="connsiteY166" fmla="*/ 3530291 h 4567794"/>
              <a:gd name="connsiteX167" fmla="*/ 2587221 w 9972838"/>
              <a:gd name="connsiteY167" fmla="*/ 3541790 h 4567794"/>
              <a:gd name="connsiteX168" fmla="*/ 2602937 w 9972838"/>
              <a:gd name="connsiteY168" fmla="*/ 3532513 h 4567794"/>
              <a:gd name="connsiteX169" fmla="*/ 2687420 w 9972838"/>
              <a:gd name="connsiteY169" fmla="*/ 3484053 h 4567794"/>
              <a:gd name="connsiteX170" fmla="*/ 2691803 w 9972838"/>
              <a:gd name="connsiteY170" fmla="*/ 3500318 h 4567794"/>
              <a:gd name="connsiteX171" fmla="*/ 2692536 w 9972838"/>
              <a:gd name="connsiteY171" fmla="*/ 3499690 h 4567794"/>
              <a:gd name="connsiteX172" fmla="*/ 2706891 w 9972838"/>
              <a:gd name="connsiteY172" fmla="*/ 3515071 h 4567794"/>
              <a:gd name="connsiteX173" fmla="*/ 2707744 w 9972838"/>
              <a:gd name="connsiteY173" fmla="*/ 3517412 h 4567794"/>
              <a:gd name="connsiteX174" fmla="*/ 2740017 w 9972838"/>
              <a:gd name="connsiteY174" fmla="*/ 3500774 h 4567794"/>
              <a:gd name="connsiteX175" fmla="*/ 2720065 w 9972838"/>
              <a:gd name="connsiteY175" fmla="*/ 3492886 h 4567794"/>
              <a:gd name="connsiteX176" fmla="*/ 5605517 w 9972838"/>
              <a:gd name="connsiteY176" fmla="*/ 3452095 h 4567794"/>
              <a:gd name="connsiteX177" fmla="*/ 5571740 w 9972838"/>
              <a:gd name="connsiteY177" fmla="*/ 3502705 h 4567794"/>
              <a:gd name="connsiteX178" fmla="*/ 5555430 w 9972838"/>
              <a:gd name="connsiteY178" fmla="*/ 3527792 h 4567794"/>
              <a:gd name="connsiteX179" fmla="*/ 5590967 w 9972838"/>
              <a:gd name="connsiteY179" fmla="*/ 3506856 h 4567794"/>
              <a:gd name="connsiteX180" fmla="*/ 5733626 w 9972838"/>
              <a:gd name="connsiteY180" fmla="*/ 3498474 h 4567794"/>
              <a:gd name="connsiteX181" fmla="*/ 5708216 w 9972838"/>
              <a:gd name="connsiteY181" fmla="*/ 3467503 h 4567794"/>
              <a:gd name="connsiteX182" fmla="*/ 5705309 w 9972838"/>
              <a:gd name="connsiteY182" fmla="*/ 3459738 h 4567794"/>
              <a:gd name="connsiteX183" fmla="*/ 5697859 w 9972838"/>
              <a:gd name="connsiteY183" fmla="*/ 3464010 h 4567794"/>
              <a:gd name="connsiteX184" fmla="*/ 5617198 w 9972838"/>
              <a:gd name="connsiteY184" fmla="*/ 3458411 h 4567794"/>
              <a:gd name="connsiteX185" fmla="*/ 2584791 w 9972838"/>
              <a:gd name="connsiteY185" fmla="*/ 3439775 h 4567794"/>
              <a:gd name="connsiteX186" fmla="*/ 2582443 w 9972838"/>
              <a:gd name="connsiteY186" fmla="*/ 3476531 h 4567794"/>
              <a:gd name="connsiteX187" fmla="*/ 2583599 w 9972838"/>
              <a:gd name="connsiteY187" fmla="*/ 3492344 h 4567794"/>
              <a:gd name="connsiteX188" fmla="*/ 2589882 w 9972838"/>
              <a:gd name="connsiteY188" fmla="*/ 3491529 h 4567794"/>
              <a:gd name="connsiteX189" fmla="*/ 2632772 w 9972838"/>
              <a:gd name="connsiteY189" fmla="*/ 3472902 h 4567794"/>
              <a:gd name="connsiteX190" fmla="*/ 2636418 w 9972838"/>
              <a:gd name="connsiteY190" fmla="*/ 3470253 h 4567794"/>
              <a:gd name="connsiteX191" fmla="*/ 2630552 w 9972838"/>
              <a:gd name="connsiteY191" fmla="*/ 3468666 h 4567794"/>
              <a:gd name="connsiteX192" fmla="*/ 5838040 w 9972838"/>
              <a:gd name="connsiteY192" fmla="*/ 3429589 h 4567794"/>
              <a:gd name="connsiteX193" fmla="*/ 5830364 w 9972838"/>
              <a:gd name="connsiteY193" fmla="*/ 3436300 h 4567794"/>
              <a:gd name="connsiteX194" fmla="*/ 5757869 w 9972838"/>
              <a:gd name="connsiteY194" fmla="*/ 3515240 h 4567794"/>
              <a:gd name="connsiteX195" fmla="*/ 5653054 w 9972838"/>
              <a:gd name="connsiteY195" fmla="*/ 3633539 h 4567794"/>
              <a:gd name="connsiteX196" fmla="*/ 5687873 w 9972838"/>
              <a:gd name="connsiteY196" fmla="*/ 3642654 h 4567794"/>
              <a:gd name="connsiteX197" fmla="*/ 5814493 w 9972838"/>
              <a:gd name="connsiteY197" fmla="*/ 3583872 h 4567794"/>
              <a:gd name="connsiteX198" fmla="*/ 5819610 w 9972838"/>
              <a:gd name="connsiteY198" fmla="*/ 3581504 h 4567794"/>
              <a:gd name="connsiteX199" fmla="*/ 5844005 w 9972838"/>
              <a:gd name="connsiteY199" fmla="*/ 3541827 h 4567794"/>
              <a:gd name="connsiteX200" fmla="*/ 5887831 w 9972838"/>
              <a:gd name="connsiteY200" fmla="*/ 3482448 h 4567794"/>
              <a:gd name="connsiteX201" fmla="*/ 5891370 w 9972838"/>
              <a:gd name="connsiteY201" fmla="*/ 3473394 h 4567794"/>
              <a:gd name="connsiteX202" fmla="*/ 5871592 w 9972838"/>
              <a:gd name="connsiteY202" fmla="*/ 3462321 h 4567794"/>
              <a:gd name="connsiteX203" fmla="*/ 6484880 w 9972838"/>
              <a:gd name="connsiteY203" fmla="*/ 3425277 h 4567794"/>
              <a:gd name="connsiteX204" fmla="*/ 6466935 w 9972838"/>
              <a:gd name="connsiteY204" fmla="*/ 3448721 h 4567794"/>
              <a:gd name="connsiteX205" fmla="*/ 6467203 w 9972838"/>
              <a:gd name="connsiteY205" fmla="*/ 3448874 h 4567794"/>
              <a:gd name="connsiteX206" fmla="*/ 6477692 w 9972838"/>
              <a:gd name="connsiteY206" fmla="*/ 3440723 h 4567794"/>
              <a:gd name="connsiteX207" fmla="*/ 7287792 w 9972838"/>
              <a:gd name="connsiteY207" fmla="*/ 3379923 h 4567794"/>
              <a:gd name="connsiteX208" fmla="*/ 7280077 w 9972838"/>
              <a:gd name="connsiteY208" fmla="*/ 3385400 h 4567794"/>
              <a:gd name="connsiteX209" fmla="*/ 7274446 w 9972838"/>
              <a:gd name="connsiteY209" fmla="*/ 3391812 h 4567794"/>
              <a:gd name="connsiteX210" fmla="*/ 7266081 w 9972838"/>
              <a:gd name="connsiteY210" fmla="*/ 3404802 h 4567794"/>
              <a:gd name="connsiteX211" fmla="*/ 7297497 w 9972838"/>
              <a:gd name="connsiteY211" fmla="*/ 3395235 h 4567794"/>
              <a:gd name="connsiteX212" fmla="*/ 7307521 w 9972838"/>
              <a:gd name="connsiteY212" fmla="*/ 3389741 h 4567794"/>
              <a:gd name="connsiteX213" fmla="*/ 7305260 w 9972838"/>
              <a:gd name="connsiteY213" fmla="*/ 3383643 h 4567794"/>
              <a:gd name="connsiteX214" fmla="*/ 7287792 w 9972838"/>
              <a:gd name="connsiteY214" fmla="*/ 3379923 h 4567794"/>
              <a:gd name="connsiteX215" fmla="*/ 7165215 w 9972838"/>
              <a:gd name="connsiteY215" fmla="*/ 3322850 h 4567794"/>
              <a:gd name="connsiteX216" fmla="*/ 7167945 w 9972838"/>
              <a:gd name="connsiteY216" fmla="*/ 3324413 h 4567794"/>
              <a:gd name="connsiteX217" fmla="*/ 7171087 w 9972838"/>
              <a:gd name="connsiteY217" fmla="*/ 3324106 h 4567794"/>
              <a:gd name="connsiteX218" fmla="*/ 3278406 w 9972838"/>
              <a:gd name="connsiteY218" fmla="*/ 3305427 h 4567794"/>
              <a:gd name="connsiteX219" fmla="*/ 3262726 w 9972838"/>
              <a:gd name="connsiteY219" fmla="*/ 3325227 h 4567794"/>
              <a:gd name="connsiteX220" fmla="*/ 3152702 w 9972838"/>
              <a:gd name="connsiteY220" fmla="*/ 3438863 h 4567794"/>
              <a:gd name="connsiteX221" fmla="*/ 3098624 w 9972838"/>
              <a:gd name="connsiteY221" fmla="*/ 3491021 h 4567794"/>
              <a:gd name="connsiteX222" fmla="*/ 3054757 w 9972838"/>
              <a:gd name="connsiteY222" fmla="*/ 3526079 h 4567794"/>
              <a:gd name="connsiteX223" fmla="*/ 3065930 w 9972838"/>
              <a:gd name="connsiteY223" fmla="*/ 3527816 h 4567794"/>
              <a:gd name="connsiteX224" fmla="*/ 3214616 w 9972838"/>
              <a:gd name="connsiteY224" fmla="*/ 3433682 h 4567794"/>
              <a:gd name="connsiteX225" fmla="*/ 3229536 w 9972838"/>
              <a:gd name="connsiteY225" fmla="*/ 3374073 h 4567794"/>
              <a:gd name="connsiteX226" fmla="*/ 3282917 w 9972838"/>
              <a:gd name="connsiteY226" fmla="*/ 3344732 h 4567794"/>
              <a:gd name="connsiteX227" fmla="*/ 3299539 w 9972838"/>
              <a:gd name="connsiteY227" fmla="*/ 3323342 h 4567794"/>
              <a:gd name="connsiteX228" fmla="*/ 3286936 w 9972838"/>
              <a:gd name="connsiteY228" fmla="*/ 3315386 h 4567794"/>
              <a:gd name="connsiteX229" fmla="*/ 6585941 w 9972838"/>
              <a:gd name="connsiteY229" fmla="*/ 3284034 h 4567794"/>
              <a:gd name="connsiteX230" fmla="*/ 6571244 w 9972838"/>
              <a:gd name="connsiteY230" fmla="*/ 3296885 h 4567794"/>
              <a:gd name="connsiteX231" fmla="*/ 6519539 w 9972838"/>
              <a:gd name="connsiteY231" fmla="*/ 3379990 h 4567794"/>
              <a:gd name="connsiteX232" fmla="*/ 6499782 w 9972838"/>
              <a:gd name="connsiteY232" fmla="*/ 3405806 h 4567794"/>
              <a:gd name="connsiteX233" fmla="*/ 6519186 w 9972838"/>
              <a:gd name="connsiteY233" fmla="*/ 3393919 h 4567794"/>
              <a:gd name="connsiteX234" fmla="*/ 6598908 w 9972838"/>
              <a:gd name="connsiteY234" fmla="*/ 3379249 h 4567794"/>
              <a:gd name="connsiteX235" fmla="*/ 6627690 w 9972838"/>
              <a:gd name="connsiteY235" fmla="*/ 3379249 h 4567794"/>
              <a:gd name="connsiteX236" fmla="*/ 6614364 w 9972838"/>
              <a:gd name="connsiteY236" fmla="*/ 3366248 h 4567794"/>
              <a:gd name="connsiteX237" fmla="*/ 6586858 w 9972838"/>
              <a:gd name="connsiteY237" fmla="*/ 3309197 h 4567794"/>
              <a:gd name="connsiteX238" fmla="*/ 4080459 w 9972838"/>
              <a:gd name="connsiteY238" fmla="*/ 3268526 h 4567794"/>
              <a:gd name="connsiteX239" fmla="*/ 4070063 w 9972838"/>
              <a:gd name="connsiteY239" fmla="*/ 3279845 h 4567794"/>
              <a:gd name="connsiteX240" fmla="*/ 3938678 w 9972838"/>
              <a:gd name="connsiteY240" fmla="*/ 3428135 h 4567794"/>
              <a:gd name="connsiteX241" fmla="*/ 3942468 w 9972838"/>
              <a:gd name="connsiteY241" fmla="*/ 3435219 h 4567794"/>
              <a:gd name="connsiteX242" fmla="*/ 4018683 w 9972838"/>
              <a:gd name="connsiteY242" fmla="*/ 3448875 h 4567794"/>
              <a:gd name="connsiteX243" fmla="*/ 4025052 w 9972838"/>
              <a:gd name="connsiteY243" fmla="*/ 3446687 h 4567794"/>
              <a:gd name="connsiteX244" fmla="*/ 4050994 w 9972838"/>
              <a:gd name="connsiteY244" fmla="*/ 3417384 h 4567794"/>
              <a:gd name="connsiteX245" fmla="*/ 4094818 w 9972838"/>
              <a:gd name="connsiteY245" fmla="*/ 3329364 h 4567794"/>
              <a:gd name="connsiteX246" fmla="*/ 4094818 w 9972838"/>
              <a:gd name="connsiteY246" fmla="*/ 3359171 h 4567794"/>
              <a:gd name="connsiteX247" fmla="*/ 4124651 w 9972838"/>
              <a:gd name="connsiteY247" fmla="*/ 3344265 h 4567794"/>
              <a:gd name="connsiteX248" fmla="*/ 4132318 w 9972838"/>
              <a:gd name="connsiteY248" fmla="*/ 3334365 h 4567794"/>
              <a:gd name="connsiteX249" fmla="*/ 4125644 w 9972838"/>
              <a:gd name="connsiteY249" fmla="*/ 3301182 h 4567794"/>
              <a:gd name="connsiteX250" fmla="*/ 4126203 w 9972838"/>
              <a:gd name="connsiteY250" fmla="*/ 3297406 h 4567794"/>
              <a:gd name="connsiteX251" fmla="*/ 6669610 w 9972838"/>
              <a:gd name="connsiteY251" fmla="*/ 3260583 h 4567794"/>
              <a:gd name="connsiteX252" fmla="*/ 6642337 w 9972838"/>
              <a:gd name="connsiteY252" fmla="*/ 3263789 h 4567794"/>
              <a:gd name="connsiteX253" fmla="*/ 6644201 w 9972838"/>
              <a:gd name="connsiteY253" fmla="*/ 3289870 h 4567794"/>
              <a:gd name="connsiteX254" fmla="*/ 6684060 w 9972838"/>
              <a:gd name="connsiteY254" fmla="*/ 3302444 h 4567794"/>
              <a:gd name="connsiteX255" fmla="*/ 6684770 w 9972838"/>
              <a:gd name="connsiteY255" fmla="*/ 3300622 h 4567794"/>
              <a:gd name="connsiteX256" fmla="*/ 6659746 w 9972838"/>
              <a:gd name="connsiteY256" fmla="*/ 3272369 h 4567794"/>
              <a:gd name="connsiteX257" fmla="*/ 1760788 w 9972838"/>
              <a:gd name="connsiteY257" fmla="*/ 3257495 h 4567794"/>
              <a:gd name="connsiteX258" fmla="*/ 1743268 w 9972838"/>
              <a:gd name="connsiteY258" fmla="*/ 3295832 h 4567794"/>
              <a:gd name="connsiteX259" fmla="*/ 1692919 w 9972838"/>
              <a:gd name="connsiteY259" fmla="*/ 3359171 h 4567794"/>
              <a:gd name="connsiteX260" fmla="*/ 1707839 w 9972838"/>
              <a:gd name="connsiteY260" fmla="*/ 3478392 h 4567794"/>
              <a:gd name="connsiteX261" fmla="*/ 1767513 w 9972838"/>
              <a:gd name="connsiteY261" fmla="*/ 3448589 h 4567794"/>
              <a:gd name="connsiteX262" fmla="*/ 1886860 w 9972838"/>
              <a:gd name="connsiteY262" fmla="*/ 3374073 h 4567794"/>
              <a:gd name="connsiteX263" fmla="*/ 1898048 w 9972838"/>
              <a:gd name="connsiteY263" fmla="*/ 3338679 h 4567794"/>
              <a:gd name="connsiteX264" fmla="*/ 1892705 w 9972838"/>
              <a:gd name="connsiteY264" fmla="*/ 3327115 h 4567794"/>
              <a:gd name="connsiteX265" fmla="*/ 1882621 w 9972838"/>
              <a:gd name="connsiteY265" fmla="*/ 3322689 h 4567794"/>
              <a:gd name="connsiteX266" fmla="*/ 1808026 w 9972838"/>
              <a:gd name="connsiteY266" fmla="*/ 3289158 h 4567794"/>
              <a:gd name="connsiteX267" fmla="*/ 1766660 w 9972838"/>
              <a:gd name="connsiteY267" fmla="*/ 3258166 h 4567794"/>
              <a:gd name="connsiteX268" fmla="*/ 1408519 w 9972838"/>
              <a:gd name="connsiteY268" fmla="*/ 3257465 h 4567794"/>
              <a:gd name="connsiteX269" fmla="*/ 1345550 w 9972838"/>
              <a:gd name="connsiteY269" fmla="*/ 3307787 h 4567794"/>
              <a:gd name="connsiteX270" fmla="*/ 1316965 w 9972838"/>
              <a:gd name="connsiteY270" fmla="*/ 3326096 h 4567794"/>
              <a:gd name="connsiteX271" fmla="*/ 1300159 w 9972838"/>
              <a:gd name="connsiteY271" fmla="*/ 3332256 h 4567794"/>
              <a:gd name="connsiteX272" fmla="*/ 1315990 w 9972838"/>
              <a:gd name="connsiteY272" fmla="*/ 3336815 h 4567794"/>
              <a:gd name="connsiteX273" fmla="*/ 1334873 w 9972838"/>
              <a:gd name="connsiteY273" fmla="*/ 3403880 h 4567794"/>
              <a:gd name="connsiteX274" fmla="*/ 1349789 w 9972838"/>
              <a:gd name="connsiteY274" fmla="*/ 3418781 h 4567794"/>
              <a:gd name="connsiteX275" fmla="*/ 1379628 w 9972838"/>
              <a:gd name="connsiteY275" fmla="*/ 3403880 h 4567794"/>
              <a:gd name="connsiteX276" fmla="*/ 1424381 w 9972838"/>
              <a:gd name="connsiteY276" fmla="*/ 3344265 h 4567794"/>
              <a:gd name="connsiteX277" fmla="*/ 1424381 w 9972838"/>
              <a:gd name="connsiteY277" fmla="*/ 3284655 h 4567794"/>
              <a:gd name="connsiteX278" fmla="*/ 1405503 w 9972838"/>
              <a:gd name="connsiteY278" fmla="*/ 3265792 h 4567794"/>
              <a:gd name="connsiteX279" fmla="*/ 6686227 w 9972838"/>
              <a:gd name="connsiteY279" fmla="*/ 3251366 h 4567794"/>
              <a:gd name="connsiteX280" fmla="*/ 6678858 w 9972838"/>
              <a:gd name="connsiteY280" fmla="*/ 3256623 h 4567794"/>
              <a:gd name="connsiteX281" fmla="*/ 6686469 w 9972838"/>
              <a:gd name="connsiteY281" fmla="*/ 3255008 h 4567794"/>
              <a:gd name="connsiteX282" fmla="*/ 5743217 w 9972838"/>
              <a:gd name="connsiteY282" fmla="*/ 3245761 h 4567794"/>
              <a:gd name="connsiteX283" fmla="*/ 5720927 w 9972838"/>
              <a:gd name="connsiteY283" fmla="*/ 3279161 h 4567794"/>
              <a:gd name="connsiteX284" fmla="*/ 5673283 w 9972838"/>
              <a:gd name="connsiteY284" fmla="*/ 3350552 h 4567794"/>
              <a:gd name="connsiteX285" fmla="*/ 5682084 w 9972838"/>
              <a:gd name="connsiteY285" fmla="*/ 3350233 h 4567794"/>
              <a:gd name="connsiteX286" fmla="*/ 5688010 w 9972838"/>
              <a:gd name="connsiteY286" fmla="*/ 3345748 h 4567794"/>
              <a:gd name="connsiteX287" fmla="*/ 5695982 w 9972838"/>
              <a:gd name="connsiteY287" fmla="*/ 3344581 h 4567794"/>
              <a:gd name="connsiteX288" fmla="*/ 5697632 w 9972838"/>
              <a:gd name="connsiteY288" fmla="*/ 3349669 h 4567794"/>
              <a:gd name="connsiteX289" fmla="*/ 5703787 w 9972838"/>
              <a:gd name="connsiteY289" fmla="*/ 3349445 h 4567794"/>
              <a:gd name="connsiteX290" fmla="*/ 5698228 w 9972838"/>
              <a:gd name="connsiteY290" fmla="*/ 3351508 h 4567794"/>
              <a:gd name="connsiteX291" fmla="*/ 5698327 w 9972838"/>
              <a:gd name="connsiteY291" fmla="*/ 3351811 h 4567794"/>
              <a:gd name="connsiteX292" fmla="*/ 5692229 w 9972838"/>
              <a:gd name="connsiteY292" fmla="*/ 3368840 h 4567794"/>
              <a:gd name="connsiteX293" fmla="*/ 5692229 w 9972838"/>
              <a:gd name="connsiteY293" fmla="*/ 3398697 h 4567794"/>
              <a:gd name="connsiteX294" fmla="*/ 5714742 w 9972838"/>
              <a:gd name="connsiteY294" fmla="*/ 3396831 h 4567794"/>
              <a:gd name="connsiteX295" fmla="*/ 5718484 w 9972838"/>
              <a:gd name="connsiteY295" fmla="*/ 3394659 h 4567794"/>
              <a:gd name="connsiteX296" fmla="*/ 5718706 w 9972838"/>
              <a:gd name="connsiteY296" fmla="*/ 3394155 h 4567794"/>
              <a:gd name="connsiteX297" fmla="*/ 5735979 w 9972838"/>
              <a:gd name="connsiteY297" fmla="*/ 3379344 h 4567794"/>
              <a:gd name="connsiteX298" fmla="*/ 5735374 w 9972838"/>
              <a:gd name="connsiteY298" fmla="*/ 3377237 h 4567794"/>
              <a:gd name="connsiteX299" fmla="*/ 5737251 w 9972838"/>
              <a:gd name="connsiteY299" fmla="*/ 3358577 h 4567794"/>
              <a:gd name="connsiteX300" fmla="*/ 5750018 w 9972838"/>
              <a:gd name="connsiteY300" fmla="*/ 3367307 h 4567794"/>
              <a:gd name="connsiteX301" fmla="*/ 5750177 w 9972838"/>
              <a:gd name="connsiteY301" fmla="*/ 3367170 h 4567794"/>
              <a:gd name="connsiteX302" fmla="*/ 5764408 w 9972838"/>
              <a:gd name="connsiteY302" fmla="*/ 3338540 h 4567794"/>
              <a:gd name="connsiteX303" fmla="*/ 5759572 w 9972838"/>
              <a:gd name="connsiteY303" fmla="*/ 3331786 h 4567794"/>
              <a:gd name="connsiteX304" fmla="*/ 5749081 w 9972838"/>
              <a:gd name="connsiteY304" fmla="*/ 3274968 h 4567794"/>
              <a:gd name="connsiteX305" fmla="*/ 5747217 w 9972838"/>
              <a:gd name="connsiteY305" fmla="*/ 3252613 h 4567794"/>
              <a:gd name="connsiteX306" fmla="*/ 6672067 w 9972838"/>
              <a:gd name="connsiteY306" fmla="*/ 3218050 h 4567794"/>
              <a:gd name="connsiteX307" fmla="*/ 6652077 w 9972838"/>
              <a:gd name="connsiteY307" fmla="*/ 3226371 h 4567794"/>
              <a:gd name="connsiteX308" fmla="*/ 6653525 w 9972838"/>
              <a:gd name="connsiteY308" fmla="*/ 3228397 h 4567794"/>
              <a:gd name="connsiteX309" fmla="*/ 6674036 w 9972838"/>
              <a:gd name="connsiteY309" fmla="*/ 3230260 h 4567794"/>
              <a:gd name="connsiteX310" fmla="*/ 6679407 w 9972838"/>
              <a:gd name="connsiteY310" fmla="*/ 3222212 h 4567794"/>
              <a:gd name="connsiteX311" fmla="*/ 8175683 w 9972838"/>
              <a:gd name="connsiteY311" fmla="*/ 3208441 h 4567794"/>
              <a:gd name="connsiteX312" fmla="*/ 8183121 w 9972838"/>
              <a:gd name="connsiteY312" fmla="*/ 3215260 h 4567794"/>
              <a:gd name="connsiteX313" fmla="*/ 8180717 w 9972838"/>
              <a:gd name="connsiteY313" fmla="*/ 3215260 h 4567794"/>
              <a:gd name="connsiteX314" fmla="*/ 8180821 w 9972838"/>
              <a:gd name="connsiteY314" fmla="*/ 3215354 h 4567794"/>
              <a:gd name="connsiteX315" fmla="*/ 8165901 w 9972838"/>
              <a:gd name="connsiteY315" fmla="*/ 3215354 h 4567794"/>
              <a:gd name="connsiteX316" fmla="*/ 8173401 w 9972838"/>
              <a:gd name="connsiteY316" fmla="*/ 3208563 h 4567794"/>
              <a:gd name="connsiteX317" fmla="*/ 8174472 w 9972838"/>
              <a:gd name="connsiteY317" fmla="*/ 3209544 h 4567794"/>
              <a:gd name="connsiteX318" fmla="*/ 4011318 w 9972838"/>
              <a:gd name="connsiteY318" fmla="*/ 3207809 h 4567794"/>
              <a:gd name="connsiteX319" fmla="*/ 3999692 w 9972838"/>
              <a:gd name="connsiteY319" fmla="*/ 3221411 h 4567794"/>
              <a:gd name="connsiteX320" fmla="*/ 3980711 w 9972838"/>
              <a:gd name="connsiteY320" fmla="*/ 3252141 h 4567794"/>
              <a:gd name="connsiteX321" fmla="*/ 3992675 w 9972838"/>
              <a:gd name="connsiteY321" fmla="*/ 3250969 h 4567794"/>
              <a:gd name="connsiteX322" fmla="*/ 4045822 w 9972838"/>
              <a:gd name="connsiteY322" fmla="*/ 3263078 h 4567794"/>
              <a:gd name="connsiteX323" fmla="*/ 4020413 w 9972838"/>
              <a:gd name="connsiteY323" fmla="*/ 3232108 h 4567794"/>
              <a:gd name="connsiteX324" fmla="*/ 7257033 w 9972838"/>
              <a:gd name="connsiteY324" fmla="*/ 3202246 h 4567794"/>
              <a:gd name="connsiteX325" fmla="*/ 7228863 w 9972838"/>
              <a:gd name="connsiteY325" fmla="*/ 3216210 h 4567794"/>
              <a:gd name="connsiteX326" fmla="*/ 7200914 w 9972838"/>
              <a:gd name="connsiteY326" fmla="*/ 3279460 h 4567794"/>
              <a:gd name="connsiteX327" fmla="*/ 7197188 w 9972838"/>
              <a:gd name="connsiteY327" fmla="*/ 3312948 h 4567794"/>
              <a:gd name="connsiteX328" fmla="*/ 7171115 w 9972838"/>
              <a:gd name="connsiteY328" fmla="*/ 3324104 h 4567794"/>
              <a:gd name="connsiteX329" fmla="*/ 7187797 w 9972838"/>
              <a:gd name="connsiteY329" fmla="*/ 3322470 h 4567794"/>
              <a:gd name="connsiteX330" fmla="*/ 7192342 w 9972838"/>
              <a:gd name="connsiteY330" fmla="*/ 3323505 h 4567794"/>
              <a:gd name="connsiteX331" fmla="*/ 7196286 w 9972838"/>
              <a:gd name="connsiteY331" fmla="*/ 3316404 h 4567794"/>
              <a:gd name="connsiteX332" fmla="*/ 7209138 w 9972838"/>
              <a:gd name="connsiteY332" fmla="*/ 3292566 h 4567794"/>
              <a:gd name="connsiteX333" fmla="*/ 7210980 w 9972838"/>
              <a:gd name="connsiteY333" fmla="*/ 3291437 h 4567794"/>
              <a:gd name="connsiteX334" fmla="*/ 7205512 w 9972838"/>
              <a:gd name="connsiteY334" fmla="*/ 3276830 h 4567794"/>
              <a:gd name="connsiteX335" fmla="*/ 7226025 w 9972838"/>
              <a:gd name="connsiteY335" fmla="*/ 3230260 h 4567794"/>
              <a:gd name="connsiteX336" fmla="*/ 7250269 w 9972838"/>
              <a:gd name="connsiteY336" fmla="*/ 3214191 h 4567794"/>
              <a:gd name="connsiteX337" fmla="*/ 8902363 w 9972838"/>
              <a:gd name="connsiteY337" fmla="*/ 3186555 h 4567794"/>
              <a:gd name="connsiteX338" fmla="*/ 8857343 w 9972838"/>
              <a:gd name="connsiteY338" fmla="*/ 3395554 h 4567794"/>
              <a:gd name="connsiteX339" fmla="*/ 8872347 w 9972838"/>
              <a:gd name="connsiteY339" fmla="*/ 3425411 h 4567794"/>
              <a:gd name="connsiteX340" fmla="*/ 8887353 w 9972838"/>
              <a:gd name="connsiteY340" fmla="*/ 3440341 h 4567794"/>
              <a:gd name="connsiteX341" fmla="*/ 8887353 w 9972838"/>
              <a:gd name="connsiteY341" fmla="*/ 3470197 h 4567794"/>
              <a:gd name="connsiteX342" fmla="*/ 8932374 w 9972838"/>
              <a:gd name="connsiteY342" fmla="*/ 3455268 h 4567794"/>
              <a:gd name="connsiteX343" fmla="*/ 8947383 w 9972838"/>
              <a:gd name="connsiteY343" fmla="*/ 3440341 h 4567794"/>
              <a:gd name="connsiteX344" fmla="*/ 8962389 w 9972838"/>
              <a:gd name="connsiteY344" fmla="*/ 3485126 h 4567794"/>
              <a:gd name="connsiteX345" fmla="*/ 8812321 w 9972838"/>
              <a:gd name="connsiteY345" fmla="*/ 3529911 h 4567794"/>
              <a:gd name="connsiteX346" fmla="*/ 8527188 w 9972838"/>
              <a:gd name="connsiteY346" fmla="*/ 3395554 h 4567794"/>
              <a:gd name="connsiteX347" fmla="*/ 8482166 w 9972838"/>
              <a:gd name="connsiteY347" fmla="*/ 3320912 h 4567794"/>
              <a:gd name="connsiteX348" fmla="*/ 8662249 w 9972838"/>
              <a:gd name="connsiteY348" fmla="*/ 3276127 h 4567794"/>
              <a:gd name="connsiteX349" fmla="*/ 8722280 w 9972838"/>
              <a:gd name="connsiteY349" fmla="*/ 3276127 h 4567794"/>
              <a:gd name="connsiteX350" fmla="*/ 8707271 w 9972838"/>
              <a:gd name="connsiteY350" fmla="*/ 3231340 h 4567794"/>
              <a:gd name="connsiteX351" fmla="*/ 8902363 w 9972838"/>
              <a:gd name="connsiteY351" fmla="*/ 3186555 h 4567794"/>
              <a:gd name="connsiteX352" fmla="*/ 5835949 w 9972838"/>
              <a:gd name="connsiteY352" fmla="*/ 3163564 h 4567794"/>
              <a:gd name="connsiteX353" fmla="*/ 5827404 w 9972838"/>
              <a:gd name="connsiteY353" fmla="*/ 3179961 h 4567794"/>
              <a:gd name="connsiteX354" fmla="*/ 5823675 w 9972838"/>
              <a:gd name="connsiteY354" fmla="*/ 3215354 h 4567794"/>
              <a:gd name="connsiteX355" fmla="*/ 5868433 w 9972838"/>
              <a:gd name="connsiteY355" fmla="*/ 3215354 h 4567794"/>
              <a:gd name="connsiteX356" fmla="*/ 5883352 w 9972838"/>
              <a:gd name="connsiteY356" fmla="*/ 3215354 h 4567794"/>
              <a:gd name="connsiteX357" fmla="*/ 5913684 w 9972838"/>
              <a:gd name="connsiteY357" fmla="*/ 3220069 h 4567794"/>
              <a:gd name="connsiteX358" fmla="*/ 5922966 w 9972838"/>
              <a:gd name="connsiteY358" fmla="*/ 3217793 h 4567794"/>
              <a:gd name="connsiteX359" fmla="*/ 5925704 w 9972838"/>
              <a:gd name="connsiteY359" fmla="*/ 3211593 h 4567794"/>
              <a:gd name="connsiteX360" fmla="*/ 5931451 w 9972838"/>
              <a:gd name="connsiteY360" fmla="*/ 3205798 h 4567794"/>
              <a:gd name="connsiteX361" fmla="*/ 5918419 w 9972838"/>
              <a:gd name="connsiteY361" fmla="*/ 3196034 h 4567794"/>
              <a:gd name="connsiteX362" fmla="*/ 5863406 w 9972838"/>
              <a:gd name="connsiteY362" fmla="*/ 3171582 h 4567794"/>
              <a:gd name="connsiteX363" fmla="*/ 1518929 w 9972838"/>
              <a:gd name="connsiteY363" fmla="*/ 3147662 h 4567794"/>
              <a:gd name="connsiteX364" fmla="*/ 1464897 w 9972838"/>
              <a:gd name="connsiteY364" fmla="*/ 3203468 h 4567794"/>
              <a:gd name="connsiteX365" fmla="*/ 1414797 w 9972838"/>
              <a:gd name="connsiteY365" fmla="*/ 3251787 h 4567794"/>
              <a:gd name="connsiteX366" fmla="*/ 1420420 w 9972838"/>
              <a:gd name="connsiteY366" fmla="*/ 3248561 h 4567794"/>
              <a:gd name="connsiteX367" fmla="*/ 1439301 w 9972838"/>
              <a:gd name="connsiteY367" fmla="*/ 3254848 h 4567794"/>
              <a:gd name="connsiteX368" fmla="*/ 1618326 w 9972838"/>
              <a:gd name="connsiteY368" fmla="*/ 3239946 h 4567794"/>
              <a:gd name="connsiteX369" fmla="*/ 1566110 w 9972838"/>
              <a:gd name="connsiteY369" fmla="*/ 3178470 h 4567794"/>
              <a:gd name="connsiteX370" fmla="*/ 1575890 w 9972838"/>
              <a:gd name="connsiteY370" fmla="*/ 3166208 h 4567794"/>
              <a:gd name="connsiteX371" fmla="*/ 1537661 w 9972838"/>
              <a:gd name="connsiteY371" fmla="*/ 3155882 h 4567794"/>
              <a:gd name="connsiteX372" fmla="*/ 1376906 w 9972838"/>
              <a:gd name="connsiteY372" fmla="*/ 3075088 h 4567794"/>
              <a:gd name="connsiteX373" fmla="*/ 1367098 w 9972838"/>
              <a:gd name="connsiteY373" fmla="*/ 3078098 h 4567794"/>
              <a:gd name="connsiteX374" fmla="*/ 1355787 w 9972838"/>
              <a:gd name="connsiteY374" fmla="*/ 3076760 h 4567794"/>
              <a:gd name="connsiteX375" fmla="*/ 1360469 w 9972838"/>
              <a:gd name="connsiteY375" fmla="*/ 3099145 h 4567794"/>
              <a:gd name="connsiteX376" fmla="*/ 1390304 w 9972838"/>
              <a:gd name="connsiteY376" fmla="*/ 3089834 h 4567794"/>
              <a:gd name="connsiteX377" fmla="*/ 1393262 w 9972838"/>
              <a:gd name="connsiteY377" fmla="*/ 3087343 h 4567794"/>
              <a:gd name="connsiteX378" fmla="*/ 8272837 w 9972838"/>
              <a:gd name="connsiteY378" fmla="*/ 3035832 h 4567794"/>
              <a:gd name="connsiteX379" fmla="*/ 8248536 w 9972838"/>
              <a:gd name="connsiteY379" fmla="*/ 3142366 h 4567794"/>
              <a:gd name="connsiteX380" fmla="*/ 8175683 w 9972838"/>
              <a:gd name="connsiteY380" fmla="*/ 3208441 h 4567794"/>
              <a:gd name="connsiteX381" fmla="*/ 8174613 w 9972838"/>
              <a:gd name="connsiteY381" fmla="*/ 3207460 h 4567794"/>
              <a:gd name="connsiteX382" fmla="*/ 8173401 w 9972838"/>
              <a:gd name="connsiteY382" fmla="*/ 3208563 h 4567794"/>
              <a:gd name="connsiteX383" fmla="*/ 8158440 w 9972838"/>
              <a:gd name="connsiteY383" fmla="*/ 3194864 h 4567794"/>
              <a:gd name="connsiteX384" fmla="*/ 8136061 w 9972838"/>
              <a:gd name="connsiteY384" fmla="*/ 3185551 h 4567794"/>
              <a:gd name="connsiteX385" fmla="*/ 8158440 w 9972838"/>
              <a:gd name="connsiteY385" fmla="*/ 3166920 h 4567794"/>
              <a:gd name="connsiteX386" fmla="*/ 8160060 w 9972838"/>
              <a:gd name="connsiteY386" fmla="*/ 3167191 h 4567794"/>
              <a:gd name="connsiteX387" fmla="*/ 8160692 w 9972838"/>
              <a:gd name="connsiteY387" fmla="*/ 3166667 h 4567794"/>
              <a:gd name="connsiteX388" fmla="*/ 8181109 w 9972838"/>
              <a:gd name="connsiteY388" fmla="*/ 3170066 h 4567794"/>
              <a:gd name="connsiteX389" fmla="*/ 8195735 w 9972838"/>
              <a:gd name="connsiteY389" fmla="*/ 3140842 h 4567794"/>
              <a:gd name="connsiteX390" fmla="*/ 8178953 w 9972838"/>
              <a:gd name="connsiteY390" fmla="*/ 3094271 h 4567794"/>
              <a:gd name="connsiteX391" fmla="*/ 8181254 w 9972838"/>
              <a:gd name="connsiteY391" fmla="*/ 3093782 h 4567794"/>
              <a:gd name="connsiteX392" fmla="*/ 8181248 w 9972838"/>
              <a:gd name="connsiteY392" fmla="*/ 3093773 h 4567794"/>
              <a:gd name="connsiteX393" fmla="*/ 8240493 w 9972838"/>
              <a:gd name="connsiteY393" fmla="*/ 3081205 h 4567794"/>
              <a:gd name="connsiteX394" fmla="*/ 8244222 w 9972838"/>
              <a:gd name="connsiteY394" fmla="*/ 3053287 h 4567794"/>
              <a:gd name="connsiteX395" fmla="*/ 8270327 w 9972838"/>
              <a:gd name="connsiteY395" fmla="*/ 3036519 h 4567794"/>
              <a:gd name="connsiteX396" fmla="*/ 8270083 w 9972838"/>
              <a:gd name="connsiteY396" fmla="*/ 3037603 h 4567794"/>
              <a:gd name="connsiteX397" fmla="*/ 6111269 w 9972838"/>
              <a:gd name="connsiteY397" fmla="*/ 2975272 h 4567794"/>
              <a:gd name="connsiteX398" fmla="*/ 6102103 w 9972838"/>
              <a:gd name="connsiteY398" fmla="*/ 2990651 h 4567794"/>
              <a:gd name="connsiteX399" fmla="*/ 6079041 w 9972838"/>
              <a:gd name="connsiteY399" fmla="*/ 3028265 h 4567794"/>
              <a:gd name="connsiteX400" fmla="*/ 6106590 w 9972838"/>
              <a:gd name="connsiteY400" fmla="*/ 3021579 h 4567794"/>
              <a:gd name="connsiteX401" fmla="*/ 2302076 w 9972838"/>
              <a:gd name="connsiteY401" fmla="*/ 2868327 h 4567794"/>
              <a:gd name="connsiteX402" fmla="*/ 2297009 w 9972838"/>
              <a:gd name="connsiteY402" fmla="*/ 2870577 h 4567794"/>
              <a:gd name="connsiteX403" fmla="*/ 2286823 w 9972838"/>
              <a:gd name="connsiteY403" fmla="*/ 2900751 h 4567794"/>
              <a:gd name="connsiteX404" fmla="*/ 2270505 w 9972838"/>
              <a:gd name="connsiteY404" fmla="*/ 2935213 h 4567794"/>
              <a:gd name="connsiteX405" fmla="*/ 2255812 w 9972838"/>
              <a:gd name="connsiteY405" fmla="*/ 2966244 h 4567794"/>
              <a:gd name="connsiteX406" fmla="*/ 2261448 w 9972838"/>
              <a:gd name="connsiteY406" fmla="*/ 2963077 h 4567794"/>
              <a:gd name="connsiteX407" fmla="*/ 2263505 w 9972838"/>
              <a:gd name="connsiteY407" fmla="*/ 2961149 h 4567794"/>
              <a:gd name="connsiteX408" fmla="*/ 2266817 w 9972838"/>
              <a:gd name="connsiteY408" fmla="*/ 2951667 h 4567794"/>
              <a:gd name="connsiteX409" fmla="*/ 2304581 w 9972838"/>
              <a:gd name="connsiteY409" fmla="*/ 2897177 h 4567794"/>
              <a:gd name="connsiteX410" fmla="*/ 1231247 w 9972838"/>
              <a:gd name="connsiteY410" fmla="*/ 2826601 h 4567794"/>
              <a:gd name="connsiteX411" fmla="*/ 1203126 w 9972838"/>
              <a:gd name="connsiteY411" fmla="*/ 2862111 h 4567794"/>
              <a:gd name="connsiteX412" fmla="*/ 1270958 w 9972838"/>
              <a:gd name="connsiteY412" fmla="*/ 2860700 h 4567794"/>
              <a:gd name="connsiteX413" fmla="*/ 6179713 w 9972838"/>
              <a:gd name="connsiteY413" fmla="*/ 2754227 h 4567794"/>
              <a:gd name="connsiteX414" fmla="*/ 6153353 w 9972838"/>
              <a:gd name="connsiteY414" fmla="*/ 2774799 h 4567794"/>
              <a:gd name="connsiteX415" fmla="*/ 6153897 w 9972838"/>
              <a:gd name="connsiteY415" fmla="*/ 2775403 h 4567794"/>
              <a:gd name="connsiteX416" fmla="*/ 6149237 w 9972838"/>
              <a:gd name="connsiteY416" fmla="*/ 2791660 h 4567794"/>
              <a:gd name="connsiteX417" fmla="*/ 6148980 w 9972838"/>
              <a:gd name="connsiteY417" fmla="*/ 2791868 h 4567794"/>
              <a:gd name="connsiteX418" fmla="*/ 6149237 w 9972838"/>
              <a:gd name="connsiteY418" fmla="*/ 2792899 h 4567794"/>
              <a:gd name="connsiteX419" fmla="*/ 6133597 w 9972838"/>
              <a:gd name="connsiteY419" fmla="*/ 2805392 h 4567794"/>
              <a:gd name="connsiteX420" fmla="*/ 6125179 w 9972838"/>
              <a:gd name="connsiteY420" fmla="*/ 2827185 h 4567794"/>
              <a:gd name="connsiteX421" fmla="*/ 6130075 w 9972838"/>
              <a:gd name="connsiteY421" fmla="*/ 2862347 h 4567794"/>
              <a:gd name="connsiteX422" fmla="*/ 6134159 w 9972838"/>
              <a:gd name="connsiteY422" fmla="*/ 2864134 h 4567794"/>
              <a:gd name="connsiteX423" fmla="*/ 6143989 w 9972838"/>
              <a:gd name="connsiteY423" fmla="*/ 2836048 h 4567794"/>
              <a:gd name="connsiteX424" fmla="*/ 6172698 w 9972838"/>
              <a:gd name="connsiteY424" fmla="*/ 2805292 h 4567794"/>
              <a:gd name="connsiteX425" fmla="*/ 6173060 w 9972838"/>
              <a:gd name="connsiteY425" fmla="*/ 2806273 h 4567794"/>
              <a:gd name="connsiteX426" fmla="*/ 6176521 w 9972838"/>
              <a:gd name="connsiteY426" fmla="*/ 2780104 h 4567794"/>
              <a:gd name="connsiteX427" fmla="*/ 6189428 w 9972838"/>
              <a:gd name="connsiteY427" fmla="*/ 2759114 h 4567794"/>
              <a:gd name="connsiteX428" fmla="*/ 6182393 w 9972838"/>
              <a:gd name="connsiteY428" fmla="*/ 2755310 h 4567794"/>
              <a:gd name="connsiteX429" fmla="*/ 1103568 w 9972838"/>
              <a:gd name="connsiteY429" fmla="*/ 2748818 h 4567794"/>
              <a:gd name="connsiteX430" fmla="*/ 1106851 w 9972838"/>
              <a:gd name="connsiteY430" fmla="*/ 2756376 h 4567794"/>
              <a:gd name="connsiteX431" fmla="*/ 1121771 w 9972838"/>
              <a:gd name="connsiteY431" fmla="*/ 2786184 h 4567794"/>
              <a:gd name="connsiteX432" fmla="*/ 1077012 w 9972838"/>
              <a:gd name="connsiteY432" fmla="*/ 2801086 h 4567794"/>
              <a:gd name="connsiteX433" fmla="*/ 1032258 w 9972838"/>
              <a:gd name="connsiteY433" fmla="*/ 2845793 h 4567794"/>
              <a:gd name="connsiteX434" fmla="*/ 1026331 w 9972838"/>
              <a:gd name="connsiteY434" fmla="*/ 2876121 h 4567794"/>
              <a:gd name="connsiteX435" fmla="*/ 1052804 w 9972838"/>
              <a:gd name="connsiteY435" fmla="*/ 2868536 h 4567794"/>
              <a:gd name="connsiteX436" fmla="*/ 1138819 w 9972838"/>
              <a:gd name="connsiteY436" fmla="*/ 2803570 h 4567794"/>
              <a:gd name="connsiteX437" fmla="*/ 1150008 w 9972838"/>
              <a:gd name="connsiteY437" fmla="*/ 2768174 h 4567794"/>
              <a:gd name="connsiteX438" fmla="*/ 1146916 w 9972838"/>
              <a:gd name="connsiteY438" fmla="*/ 2761482 h 4567794"/>
              <a:gd name="connsiteX439" fmla="*/ 1109223 w 9972838"/>
              <a:gd name="connsiteY439" fmla="*/ 2751300 h 4567794"/>
              <a:gd name="connsiteX440" fmla="*/ 2382074 w 9972838"/>
              <a:gd name="connsiteY440" fmla="*/ 2735931 h 4567794"/>
              <a:gd name="connsiteX441" fmla="*/ 2364013 w 9972838"/>
              <a:gd name="connsiteY441" fmla="*/ 2775624 h 4567794"/>
              <a:gd name="connsiteX442" fmla="*/ 2362659 w 9972838"/>
              <a:gd name="connsiteY442" fmla="*/ 2781487 h 4567794"/>
              <a:gd name="connsiteX443" fmla="*/ 2394094 w 9972838"/>
              <a:gd name="connsiteY443" fmla="*/ 2777952 h 4567794"/>
              <a:gd name="connsiteX444" fmla="*/ 1004584 w 9972838"/>
              <a:gd name="connsiteY444" fmla="*/ 2704857 h 4567794"/>
              <a:gd name="connsiteX445" fmla="*/ 995228 w 9972838"/>
              <a:gd name="connsiteY445" fmla="*/ 2725328 h 4567794"/>
              <a:gd name="connsiteX446" fmla="*/ 994186 w 9972838"/>
              <a:gd name="connsiteY446" fmla="*/ 2727052 h 4567794"/>
              <a:gd name="connsiteX447" fmla="*/ 996303 w 9972838"/>
              <a:gd name="connsiteY447" fmla="*/ 2731927 h 4567794"/>
              <a:gd name="connsiteX448" fmla="*/ 1047176 w 9972838"/>
              <a:gd name="connsiteY448" fmla="*/ 2734023 h 4567794"/>
              <a:gd name="connsiteX449" fmla="*/ 1061553 w 9972838"/>
              <a:gd name="connsiteY449" fmla="*/ 2730379 h 4567794"/>
              <a:gd name="connsiteX450" fmla="*/ 1053512 w 9972838"/>
              <a:gd name="connsiteY450" fmla="*/ 2726850 h 4567794"/>
              <a:gd name="connsiteX451" fmla="*/ 2465078 w 9972838"/>
              <a:gd name="connsiteY451" fmla="*/ 2633724 h 4567794"/>
              <a:gd name="connsiteX452" fmla="*/ 2460013 w 9972838"/>
              <a:gd name="connsiteY452" fmla="*/ 2664082 h 4567794"/>
              <a:gd name="connsiteX453" fmla="*/ 2468688 w 9972838"/>
              <a:gd name="connsiteY453" fmla="*/ 2662457 h 4567794"/>
              <a:gd name="connsiteX454" fmla="*/ 2528362 w 9972838"/>
              <a:gd name="connsiteY454" fmla="*/ 2673633 h 4567794"/>
              <a:gd name="connsiteX455" fmla="*/ 2576615 w 9972838"/>
              <a:gd name="connsiteY455" fmla="*/ 2688304 h 4567794"/>
              <a:gd name="connsiteX456" fmla="*/ 2580224 w 9972838"/>
              <a:gd name="connsiteY456" fmla="*/ 2683668 h 4567794"/>
              <a:gd name="connsiteX457" fmla="*/ 2573405 w 9972838"/>
              <a:gd name="connsiteY457" fmla="*/ 2681827 h 4567794"/>
              <a:gd name="connsiteX458" fmla="*/ 2517693 w 9972838"/>
              <a:gd name="connsiteY458" fmla="*/ 2657375 h 4567794"/>
              <a:gd name="connsiteX459" fmla="*/ 3094488 w 9972838"/>
              <a:gd name="connsiteY459" fmla="*/ 2571175 h 4567794"/>
              <a:gd name="connsiteX460" fmla="*/ 3082446 w 9972838"/>
              <a:gd name="connsiteY460" fmla="*/ 2583411 h 4567794"/>
              <a:gd name="connsiteX461" fmla="*/ 3065207 w 9972838"/>
              <a:gd name="connsiteY461" fmla="*/ 2612334 h 4567794"/>
              <a:gd name="connsiteX462" fmla="*/ 3067633 w 9972838"/>
              <a:gd name="connsiteY462" fmla="*/ 2611386 h 4567794"/>
              <a:gd name="connsiteX463" fmla="*/ 3080332 w 9972838"/>
              <a:gd name="connsiteY463" fmla="*/ 2593625 h 4567794"/>
              <a:gd name="connsiteX464" fmla="*/ 3095988 w 9972838"/>
              <a:gd name="connsiteY464" fmla="*/ 2571730 h 4567794"/>
              <a:gd name="connsiteX465" fmla="*/ 7633239 w 9972838"/>
              <a:gd name="connsiteY465" fmla="*/ 2495434 h 4567794"/>
              <a:gd name="connsiteX466" fmla="*/ 7623509 w 9972838"/>
              <a:gd name="connsiteY466" fmla="*/ 2504745 h 4567794"/>
              <a:gd name="connsiteX467" fmla="*/ 7556427 w 9972838"/>
              <a:gd name="connsiteY467" fmla="*/ 2518698 h 4567794"/>
              <a:gd name="connsiteX468" fmla="*/ 7544781 w 9972838"/>
              <a:gd name="connsiteY468" fmla="*/ 2518214 h 4567794"/>
              <a:gd name="connsiteX469" fmla="*/ 7525784 w 9972838"/>
              <a:gd name="connsiteY469" fmla="*/ 2543034 h 4567794"/>
              <a:gd name="connsiteX470" fmla="*/ 7526941 w 9972838"/>
              <a:gd name="connsiteY470" fmla="*/ 2543775 h 4567794"/>
              <a:gd name="connsiteX471" fmla="*/ 7525855 w 9972838"/>
              <a:gd name="connsiteY471" fmla="*/ 2544172 h 4567794"/>
              <a:gd name="connsiteX472" fmla="*/ 7526941 w 9972838"/>
              <a:gd name="connsiteY472" fmla="*/ 2544864 h 4567794"/>
              <a:gd name="connsiteX473" fmla="*/ 7522375 w 9972838"/>
              <a:gd name="connsiteY473" fmla="*/ 2547501 h 4567794"/>
              <a:gd name="connsiteX474" fmla="*/ 7479029 w 9972838"/>
              <a:gd name="connsiteY474" fmla="*/ 2613426 h 4567794"/>
              <a:gd name="connsiteX475" fmla="*/ 7482217 w 9972838"/>
              <a:gd name="connsiteY475" fmla="*/ 2618083 h 4567794"/>
              <a:gd name="connsiteX476" fmla="*/ 7489673 w 9972838"/>
              <a:gd name="connsiteY476" fmla="*/ 2647809 h 4567794"/>
              <a:gd name="connsiteX477" fmla="*/ 7489417 w 9972838"/>
              <a:gd name="connsiteY477" fmla="*/ 2648017 h 4567794"/>
              <a:gd name="connsiteX478" fmla="*/ 7489673 w 9972838"/>
              <a:gd name="connsiteY478" fmla="*/ 2649047 h 4567794"/>
              <a:gd name="connsiteX479" fmla="*/ 7459976 w 9972838"/>
              <a:gd name="connsiteY479" fmla="*/ 2672768 h 4567794"/>
              <a:gd name="connsiteX480" fmla="*/ 7469229 w 9972838"/>
              <a:gd name="connsiteY480" fmla="*/ 2684026 h 4567794"/>
              <a:gd name="connsiteX481" fmla="*/ 7493454 w 9972838"/>
              <a:gd name="connsiteY481" fmla="*/ 2684029 h 4567794"/>
              <a:gd name="connsiteX482" fmla="*/ 7500283 w 9972838"/>
              <a:gd name="connsiteY482" fmla="*/ 2680368 h 4567794"/>
              <a:gd name="connsiteX483" fmla="*/ 7513133 w 9972838"/>
              <a:gd name="connsiteY483" fmla="*/ 2661440 h 4567794"/>
              <a:gd name="connsiteX484" fmla="*/ 7517395 w 9972838"/>
              <a:gd name="connsiteY484" fmla="*/ 2672974 h 4567794"/>
              <a:gd name="connsiteX485" fmla="*/ 7516635 w 9972838"/>
              <a:gd name="connsiteY485" fmla="*/ 2676521 h 4567794"/>
              <a:gd name="connsiteX486" fmla="*/ 7518347 w 9972838"/>
              <a:gd name="connsiteY486" fmla="*/ 2676712 h 4567794"/>
              <a:gd name="connsiteX487" fmla="*/ 7528857 w 9972838"/>
              <a:gd name="connsiteY487" fmla="*/ 2684026 h 4567794"/>
              <a:gd name="connsiteX488" fmla="*/ 7547630 w 9972838"/>
              <a:gd name="connsiteY488" fmla="*/ 2700702 h 4567794"/>
              <a:gd name="connsiteX489" fmla="*/ 7550814 w 9972838"/>
              <a:gd name="connsiteY489" fmla="*/ 2699888 h 4567794"/>
              <a:gd name="connsiteX490" fmla="*/ 7557768 w 9972838"/>
              <a:gd name="connsiteY490" fmla="*/ 2707577 h 4567794"/>
              <a:gd name="connsiteX491" fmla="*/ 7557193 w 9972838"/>
              <a:gd name="connsiteY491" fmla="*/ 2709195 h 4567794"/>
              <a:gd name="connsiteX492" fmla="*/ 7567288 w 9972838"/>
              <a:gd name="connsiteY492" fmla="*/ 2718163 h 4567794"/>
              <a:gd name="connsiteX493" fmla="*/ 7612705 w 9972838"/>
              <a:gd name="connsiteY493" fmla="*/ 2734186 h 4567794"/>
              <a:gd name="connsiteX494" fmla="*/ 7619855 w 9972838"/>
              <a:gd name="connsiteY494" fmla="*/ 2734495 h 4567794"/>
              <a:gd name="connsiteX495" fmla="*/ 7623829 w 9972838"/>
              <a:gd name="connsiteY495" fmla="*/ 2714688 h 4567794"/>
              <a:gd name="connsiteX496" fmla="*/ 7654226 w 9972838"/>
              <a:gd name="connsiteY496" fmla="*/ 2678112 h 4567794"/>
              <a:gd name="connsiteX497" fmla="*/ 7678281 w 9972838"/>
              <a:gd name="connsiteY497" fmla="*/ 2658241 h 4567794"/>
              <a:gd name="connsiteX498" fmla="*/ 7683841 w 9972838"/>
              <a:gd name="connsiteY498" fmla="*/ 2616210 h 4567794"/>
              <a:gd name="connsiteX499" fmla="*/ 7692015 w 9972838"/>
              <a:gd name="connsiteY499" fmla="*/ 2602915 h 4567794"/>
              <a:gd name="connsiteX500" fmla="*/ 7676004 w 9972838"/>
              <a:gd name="connsiteY500" fmla="*/ 2559748 h 4567794"/>
              <a:gd name="connsiteX501" fmla="*/ 7631283 w 9972838"/>
              <a:gd name="connsiteY501" fmla="*/ 2589514 h 4567794"/>
              <a:gd name="connsiteX502" fmla="*/ 7556753 w 9972838"/>
              <a:gd name="connsiteY502" fmla="*/ 2589514 h 4567794"/>
              <a:gd name="connsiteX503" fmla="*/ 7557575 w 9972838"/>
              <a:gd name="connsiteY503" fmla="*/ 2588900 h 4567794"/>
              <a:gd name="connsiteX504" fmla="*/ 7556753 w 9972838"/>
              <a:gd name="connsiteY504" fmla="*/ 2588361 h 4567794"/>
              <a:gd name="connsiteX505" fmla="*/ 7616375 w 9972838"/>
              <a:gd name="connsiteY505" fmla="*/ 2543775 h 4567794"/>
              <a:gd name="connsiteX506" fmla="*/ 7644325 w 9972838"/>
              <a:gd name="connsiteY506" fmla="*/ 2547491 h 4567794"/>
              <a:gd name="connsiteX507" fmla="*/ 7660709 w 9972838"/>
              <a:gd name="connsiteY507" fmla="*/ 2529339 h 4567794"/>
              <a:gd name="connsiteX508" fmla="*/ 7644325 w 9972838"/>
              <a:gd name="connsiteY508" fmla="*/ 2502077 h 4567794"/>
              <a:gd name="connsiteX509" fmla="*/ 9201246 w 9972838"/>
              <a:gd name="connsiteY509" fmla="*/ 2444172 h 4567794"/>
              <a:gd name="connsiteX510" fmla="*/ 9199664 w 9972838"/>
              <a:gd name="connsiteY510" fmla="*/ 2447442 h 4567794"/>
              <a:gd name="connsiteX511" fmla="*/ 9195911 w 9972838"/>
              <a:gd name="connsiteY511" fmla="*/ 2467967 h 4567794"/>
              <a:gd name="connsiteX512" fmla="*/ 9199579 w 9972838"/>
              <a:gd name="connsiteY512" fmla="*/ 2469792 h 4567794"/>
              <a:gd name="connsiteX513" fmla="*/ 9201865 w 9972838"/>
              <a:gd name="connsiteY513" fmla="*/ 2445842 h 4567794"/>
              <a:gd name="connsiteX514" fmla="*/ 7683559 w 9972838"/>
              <a:gd name="connsiteY514" fmla="*/ 2419714 h 4567794"/>
              <a:gd name="connsiteX515" fmla="*/ 7659841 w 9972838"/>
              <a:gd name="connsiteY515" fmla="*/ 2467075 h 4567794"/>
              <a:gd name="connsiteX516" fmla="*/ 7690657 w 9972838"/>
              <a:gd name="connsiteY516" fmla="*/ 2439967 h 4567794"/>
              <a:gd name="connsiteX517" fmla="*/ 1412650 w 9972838"/>
              <a:gd name="connsiteY517" fmla="*/ 2410649 h 4567794"/>
              <a:gd name="connsiteX518" fmla="*/ 1411557 w 9972838"/>
              <a:gd name="connsiteY518" fmla="*/ 2413888 h 4567794"/>
              <a:gd name="connsiteX519" fmla="*/ 1409347 w 9972838"/>
              <a:gd name="connsiteY519" fmla="*/ 2448500 h 4567794"/>
              <a:gd name="connsiteX520" fmla="*/ 1448115 w 9972838"/>
              <a:gd name="connsiteY520" fmla="*/ 2428513 h 4567794"/>
              <a:gd name="connsiteX521" fmla="*/ 1448399 w 9972838"/>
              <a:gd name="connsiteY521" fmla="*/ 2428011 h 4567794"/>
              <a:gd name="connsiteX522" fmla="*/ 1433967 w 9972838"/>
              <a:gd name="connsiteY522" fmla="*/ 2424106 h 4567794"/>
              <a:gd name="connsiteX523" fmla="*/ 875069 w 9972838"/>
              <a:gd name="connsiteY523" fmla="*/ 2338694 h 4567794"/>
              <a:gd name="connsiteX524" fmla="*/ 858404 w 9972838"/>
              <a:gd name="connsiteY524" fmla="*/ 2354045 h 4567794"/>
              <a:gd name="connsiteX525" fmla="*/ 844652 w 9972838"/>
              <a:gd name="connsiteY525" fmla="*/ 2369180 h 4567794"/>
              <a:gd name="connsiteX526" fmla="*/ 775510 w 9972838"/>
              <a:gd name="connsiteY526" fmla="*/ 2456491 h 4567794"/>
              <a:gd name="connsiteX527" fmla="*/ 782526 w 9972838"/>
              <a:gd name="connsiteY527" fmla="*/ 2457362 h 4567794"/>
              <a:gd name="connsiteX528" fmla="*/ 824085 w 9972838"/>
              <a:gd name="connsiteY528" fmla="*/ 2475819 h 4567794"/>
              <a:gd name="connsiteX529" fmla="*/ 824081 w 9972838"/>
              <a:gd name="connsiteY529" fmla="*/ 2475819 h 4567794"/>
              <a:gd name="connsiteX530" fmla="*/ 824085 w 9972838"/>
              <a:gd name="connsiteY530" fmla="*/ 2475823 h 4567794"/>
              <a:gd name="connsiteX531" fmla="*/ 740965 w 9972838"/>
              <a:gd name="connsiteY531" fmla="*/ 2508678 h 4567794"/>
              <a:gd name="connsiteX532" fmla="*/ 732262 w 9972838"/>
              <a:gd name="connsiteY532" fmla="*/ 2507989 h 4567794"/>
              <a:gd name="connsiteX533" fmla="*/ 696845 w 9972838"/>
              <a:gd name="connsiteY533" fmla="*/ 2544568 h 4567794"/>
              <a:gd name="connsiteX534" fmla="*/ 697380 w 9972838"/>
              <a:gd name="connsiteY534" fmla="*/ 2544861 h 4567794"/>
              <a:gd name="connsiteX535" fmla="*/ 706181 w 9972838"/>
              <a:gd name="connsiteY535" fmla="*/ 2565119 h 4567794"/>
              <a:gd name="connsiteX536" fmla="*/ 721100 w 9972838"/>
              <a:gd name="connsiteY536" fmla="*/ 2594927 h 4567794"/>
              <a:gd name="connsiteX537" fmla="*/ 676342 w 9972838"/>
              <a:gd name="connsiteY537" fmla="*/ 2609828 h 4567794"/>
              <a:gd name="connsiteX538" fmla="*/ 642899 w 9972838"/>
              <a:gd name="connsiteY538" fmla="*/ 2600285 h 4567794"/>
              <a:gd name="connsiteX539" fmla="*/ 635789 w 9972838"/>
              <a:gd name="connsiteY539" fmla="*/ 2607629 h 4567794"/>
              <a:gd name="connsiteX540" fmla="*/ 625190 w 9972838"/>
              <a:gd name="connsiteY540" fmla="*/ 2617853 h 4567794"/>
              <a:gd name="connsiteX541" fmla="*/ 623894 w 9972838"/>
              <a:gd name="connsiteY541" fmla="*/ 2630787 h 4567794"/>
              <a:gd name="connsiteX542" fmla="*/ 631588 w 9972838"/>
              <a:gd name="connsiteY542" fmla="*/ 2654537 h 4567794"/>
              <a:gd name="connsiteX543" fmla="*/ 542075 w 9972838"/>
              <a:gd name="connsiteY543" fmla="*/ 2758861 h 4567794"/>
              <a:gd name="connsiteX544" fmla="*/ 586834 w 9972838"/>
              <a:gd name="connsiteY544" fmla="*/ 2833377 h 4567794"/>
              <a:gd name="connsiteX545" fmla="*/ 601749 w 9972838"/>
              <a:gd name="connsiteY545" fmla="*/ 2848278 h 4567794"/>
              <a:gd name="connsiteX546" fmla="*/ 631588 w 9972838"/>
              <a:gd name="connsiteY546" fmla="*/ 2833377 h 4567794"/>
              <a:gd name="connsiteX547" fmla="*/ 676342 w 9972838"/>
              <a:gd name="connsiteY547" fmla="*/ 2773763 h 4567794"/>
              <a:gd name="connsiteX548" fmla="*/ 676342 w 9972838"/>
              <a:gd name="connsiteY548" fmla="*/ 2714151 h 4567794"/>
              <a:gd name="connsiteX549" fmla="*/ 661426 w 9972838"/>
              <a:gd name="connsiteY549" fmla="*/ 2684344 h 4567794"/>
              <a:gd name="connsiteX550" fmla="*/ 691261 w 9972838"/>
              <a:gd name="connsiteY550" fmla="*/ 2684344 h 4567794"/>
              <a:gd name="connsiteX551" fmla="*/ 870286 w 9972838"/>
              <a:gd name="connsiteY551" fmla="*/ 2669443 h 4567794"/>
              <a:gd name="connsiteX552" fmla="*/ 900120 w 9972838"/>
              <a:gd name="connsiteY552" fmla="*/ 2535317 h 4567794"/>
              <a:gd name="connsiteX553" fmla="*/ 885205 w 9972838"/>
              <a:gd name="connsiteY553" fmla="*/ 2445900 h 4567794"/>
              <a:gd name="connsiteX554" fmla="*/ 904784 w 9972838"/>
              <a:gd name="connsiteY554" fmla="*/ 2447297 h 4567794"/>
              <a:gd name="connsiteX555" fmla="*/ 925476 w 9972838"/>
              <a:gd name="connsiteY555" fmla="*/ 2446147 h 4567794"/>
              <a:gd name="connsiteX556" fmla="*/ 926703 w 9972838"/>
              <a:gd name="connsiteY556" fmla="*/ 2443696 h 4567794"/>
              <a:gd name="connsiteX557" fmla="*/ 934160 w 9972838"/>
              <a:gd name="connsiteY557" fmla="*/ 2428795 h 4567794"/>
              <a:gd name="connsiteX558" fmla="*/ 933433 w 9972838"/>
              <a:gd name="connsiteY558" fmla="*/ 2409171 h 4567794"/>
              <a:gd name="connsiteX559" fmla="*/ 929959 w 9972838"/>
              <a:gd name="connsiteY559" fmla="*/ 2401190 h 4567794"/>
              <a:gd name="connsiteX560" fmla="*/ 894527 w 9972838"/>
              <a:gd name="connsiteY560" fmla="*/ 2343439 h 4567794"/>
              <a:gd name="connsiteX561" fmla="*/ 1500348 w 9972838"/>
              <a:gd name="connsiteY561" fmla="*/ 2208067 h 4567794"/>
              <a:gd name="connsiteX562" fmla="*/ 1493770 w 9972838"/>
              <a:gd name="connsiteY562" fmla="*/ 2210258 h 4567794"/>
              <a:gd name="connsiteX563" fmla="*/ 1488895 w 9972838"/>
              <a:gd name="connsiteY563" fmla="*/ 2222071 h 4567794"/>
              <a:gd name="connsiteX564" fmla="*/ 1493642 w 9972838"/>
              <a:gd name="connsiteY564" fmla="*/ 2230370 h 4567794"/>
              <a:gd name="connsiteX565" fmla="*/ 1498196 w 9972838"/>
              <a:gd name="connsiteY565" fmla="*/ 2228715 h 4567794"/>
              <a:gd name="connsiteX566" fmla="*/ 9168419 w 9972838"/>
              <a:gd name="connsiteY566" fmla="*/ 2187490 h 4567794"/>
              <a:gd name="connsiteX567" fmla="*/ 9078978 w 9972838"/>
              <a:gd name="connsiteY567" fmla="*/ 2291669 h 4567794"/>
              <a:gd name="connsiteX568" fmla="*/ 9079630 w 9972838"/>
              <a:gd name="connsiteY568" fmla="*/ 2295090 h 4567794"/>
              <a:gd name="connsiteX569" fmla="*/ 9101179 w 9972838"/>
              <a:gd name="connsiteY569" fmla="*/ 2297223 h 4567794"/>
              <a:gd name="connsiteX570" fmla="*/ 9147138 w 9972838"/>
              <a:gd name="connsiteY570" fmla="*/ 2283228 h 4567794"/>
              <a:gd name="connsiteX571" fmla="*/ 9191887 w 9972838"/>
              <a:gd name="connsiteY571" fmla="*/ 2258699 h 4567794"/>
              <a:gd name="connsiteX572" fmla="*/ 9185186 w 9972838"/>
              <a:gd name="connsiteY572" fmla="*/ 2239583 h 4567794"/>
              <a:gd name="connsiteX573" fmla="*/ 9183325 w 9972838"/>
              <a:gd name="connsiteY573" fmla="*/ 2202374 h 4567794"/>
              <a:gd name="connsiteX574" fmla="*/ 9168419 w 9972838"/>
              <a:gd name="connsiteY574" fmla="*/ 2187490 h 4567794"/>
              <a:gd name="connsiteX575" fmla="*/ 827225 w 9972838"/>
              <a:gd name="connsiteY575" fmla="*/ 2118607 h 4567794"/>
              <a:gd name="connsiteX576" fmla="*/ 852794 w 9972838"/>
              <a:gd name="connsiteY576" fmla="*/ 2119953 h 4567794"/>
              <a:gd name="connsiteX577" fmla="*/ 852794 w 9972838"/>
              <a:gd name="connsiteY577" fmla="*/ 2148661 h 4567794"/>
              <a:gd name="connsiteX578" fmla="*/ 766667 w 9972838"/>
              <a:gd name="connsiteY578" fmla="*/ 2163016 h 4567794"/>
              <a:gd name="connsiteX579" fmla="*/ 827225 w 9972838"/>
              <a:gd name="connsiteY579" fmla="*/ 2118607 h 4567794"/>
              <a:gd name="connsiteX580" fmla="*/ 262656 w 9972838"/>
              <a:gd name="connsiteY580" fmla="*/ 1966570 h 4567794"/>
              <a:gd name="connsiteX581" fmla="*/ 395648 w 9972838"/>
              <a:gd name="connsiteY581" fmla="*/ 2071237 h 4567794"/>
              <a:gd name="connsiteX582" fmla="*/ 395642 w 9972838"/>
              <a:gd name="connsiteY582" fmla="*/ 2071237 h 4567794"/>
              <a:gd name="connsiteX583" fmla="*/ 395648 w 9972838"/>
              <a:gd name="connsiteY583" fmla="*/ 2071241 h 4567794"/>
              <a:gd name="connsiteX584" fmla="*/ 262656 w 9972838"/>
              <a:gd name="connsiteY584" fmla="*/ 2071241 h 4567794"/>
              <a:gd name="connsiteX585" fmla="*/ 233102 w 9972838"/>
              <a:gd name="connsiteY585" fmla="*/ 2086193 h 4567794"/>
              <a:gd name="connsiteX586" fmla="*/ 159218 w 9972838"/>
              <a:gd name="connsiteY586" fmla="*/ 2086193 h 4567794"/>
              <a:gd name="connsiteX587" fmla="*/ 159223 w 9972838"/>
              <a:gd name="connsiteY587" fmla="*/ 2086189 h 4567794"/>
              <a:gd name="connsiteX588" fmla="*/ 159218 w 9972838"/>
              <a:gd name="connsiteY588" fmla="*/ 2086189 h 4567794"/>
              <a:gd name="connsiteX589" fmla="*/ 203551 w 9972838"/>
              <a:gd name="connsiteY589" fmla="*/ 2026379 h 4567794"/>
              <a:gd name="connsiteX590" fmla="*/ 262656 w 9972838"/>
              <a:gd name="connsiteY590" fmla="*/ 1966570 h 4567794"/>
              <a:gd name="connsiteX591" fmla="*/ 778537 w 9972838"/>
              <a:gd name="connsiteY591" fmla="*/ 1920319 h 4567794"/>
              <a:gd name="connsiteX592" fmla="*/ 775651 w 9972838"/>
              <a:gd name="connsiteY592" fmla="*/ 1922092 h 4567794"/>
              <a:gd name="connsiteX593" fmla="*/ 740221 w 9972838"/>
              <a:gd name="connsiteY593" fmla="*/ 1936994 h 4567794"/>
              <a:gd name="connsiteX594" fmla="*/ 740221 w 9972838"/>
              <a:gd name="connsiteY594" fmla="*/ 1951898 h 4567794"/>
              <a:gd name="connsiteX595" fmla="*/ 680547 w 9972838"/>
              <a:gd name="connsiteY595" fmla="*/ 2086025 h 4567794"/>
              <a:gd name="connsiteX596" fmla="*/ 605954 w 9972838"/>
              <a:gd name="connsiteY596" fmla="*/ 2235054 h 4567794"/>
              <a:gd name="connsiteX597" fmla="*/ 516441 w 9972838"/>
              <a:gd name="connsiteY597" fmla="*/ 2384087 h 4567794"/>
              <a:gd name="connsiteX598" fmla="*/ 531362 w 9972838"/>
              <a:gd name="connsiteY598" fmla="*/ 2503306 h 4567794"/>
              <a:gd name="connsiteX599" fmla="*/ 577513 w 9972838"/>
              <a:gd name="connsiteY599" fmla="*/ 2480257 h 4567794"/>
              <a:gd name="connsiteX600" fmla="*/ 585379 w 9972838"/>
              <a:gd name="connsiteY600" fmla="*/ 2476328 h 4567794"/>
              <a:gd name="connsiteX601" fmla="*/ 584194 w 9972838"/>
              <a:gd name="connsiteY601" fmla="*/ 2468809 h 4567794"/>
              <a:gd name="connsiteX602" fmla="*/ 631989 w 9972838"/>
              <a:gd name="connsiteY602" fmla="*/ 2430961 h 4567794"/>
              <a:gd name="connsiteX603" fmla="*/ 691093 w 9972838"/>
              <a:gd name="connsiteY603" fmla="*/ 2371153 h 4567794"/>
              <a:gd name="connsiteX604" fmla="*/ 690748 w 9972838"/>
              <a:gd name="connsiteY604" fmla="*/ 2408153 h 4567794"/>
              <a:gd name="connsiteX605" fmla="*/ 695167 w 9972838"/>
              <a:gd name="connsiteY605" fmla="*/ 2420152 h 4567794"/>
              <a:gd name="connsiteX606" fmla="*/ 710381 w 9972838"/>
              <a:gd name="connsiteY606" fmla="*/ 2398988 h 4567794"/>
              <a:gd name="connsiteX607" fmla="*/ 710381 w 9972838"/>
              <a:gd name="connsiteY607" fmla="*/ 2339377 h 4567794"/>
              <a:gd name="connsiteX608" fmla="*/ 805256 w 9972838"/>
              <a:gd name="connsiteY608" fmla="*/ 2291173 h 4567794"/>
              <a:gd name="connsiteX609" fmla="*/ 831948 w 9972838"/>
              <a:gd name="connsiteY609" fmla="*/ 2272364 h 4567794"/>
              <a:gd name="connsiteX610" fmla="*/ 825530 w 9972838"/>
              <a:gd name="connsiteY610" fmla="*/ 2270788 h 4567794"/>
              <a:gd name="connsiteX611" fmla="*/ 765854 w 9972838"/>
              <a:gd name="connsiteY611" fmla="*/ 2281965 h 4567794"/>
              <a:gd name="connsiteX612" fmla="*/ 750934 w 9972838"/>
              <a:gd name="connsiteY612" fmla="*/ 2281965 h 4567794"/>
              <a:gd name="connsiteX613" fmla="*/ 750934 w 9972838"/>
              <a:gd name="connsiteY613" fmla="*/ 2252157 h 4567794"/>
              <a:gd name="connsiteX614" fmla="*/ 840446 w 9972838"/>
              <a:gd name="connsiteY614" fmla="*/ 2237257 h 4567794"/>
              <a:gd name="connsiteX615" fmla="*/ 872149 w 9972838"/>
              <a:gd name="connsiteY615" fmla="*/ 2240982 h 4567794"/>
              <a:gd name="connsiteX616" fmla="*/ 883446 w 9972838"/>
              <a:gd name="connsiteY616" fmla="*/ 2236076 h 4567794"/>
              <a:gd name="connsiteX617" fmla="*/ 887541 w 9972838"/>
              <a:gd name="connsiteY617" fmla="*/ 2233190 h 4567794"/>
              <a:gd name="connsiteX618" fmla="*/ 1008754 w 9972838"/>
              <a:gd name="connsiteY618" fmla="*/ 2071119 h 4567794"/>
              <a:gd name="connsiteX619" fmla="*/ 1008788 w 9972838"/>
              <a:gd name="connsiteY619" fmla="*/ 2070986 h 4567794"/>
              <a:gd name="connsiteX620" fmla="*/ 973908 w 9972838"/>
              <a:gd name="connsiteY620" fmla="*/ 2057193 h 4567794"/>
              <a:gd name="connsiteX621" fmla="*/ 945862 w 9972838"/>
              <a:gd name="connsiteY621" fmla="*/ 2049604 h 4567794"/>
              <a:gd name="connsiteX622" fmla="*/ 917877 w 9972838"/>
              <a:gd name="connsiteY622" fmla="*/ 2075688 h 4567794"/>
              <a:gd name="connsiteX623" fmla="*/ 854100 w 9972838"/>
              <a:gd name="connsiteY623" fmla="*/ 2090643 h 4567794"/>
              <a:gd name="connsiteX624" fmla="*/ 839090 w 9972838"/>
              <a:gd name="connsiteY624" fmla="*/ 2060736 h 4567794"/>
              <a:gd name="connsiteX625" fmla="*/ 840723 w 9972838"/>
              <a:gd name="connsiteY625" fmla="*/ 2058968 h 4567794"/>
              <a:gd name="connsiteX626" fmla="*/ 840446 w 9972838"/>
              <a:gd name="connsiteY626" fmla="*/ 2058420 h 4567794"/>
              <a:gd name="connsiteX627" fmla="*/ 870984 w 9972838"/>
              <a:gd name="connsiteY627" fmla="*/ 2040024 h 4567794"/>
              <a:gd name="connsiteX628" fmla="*/ 876311 w 9972838"/>
              <a:gd name="connsiteY628" fmla="*/ 2027871 h 4567794"/>
              <a:gd name="connsiteX629" fmla="*/ 826119 w 9972838"/>
              <a:gd name="connsiteY629" fmla="*/ 1996182 h 4567794"/>
              <a:gd name="connsiteX630" fmla="*/ 787424 w 9972838"/>
              <a:gd name="connsiteY630" fmla="*/ 1951008 h 4567794"/>
              <a:gd name="connsiteX631" fmla="*/ 740221 w 9972838"/>
              <a:gd name="connsiteY631" fmla="*/ 1847576 h 4567794"/>
              <a:gd name="connsiteX632" fmla="*/ 764462 w 9972838"/>
              <a:gd name="connsiteY632" fmla="*/ 1882972 h 4567794"/>
              <a:gd name="connsiteX633" fmla="*/ 772157 w 9972838"/>
              <a:gd name="connsiteY633" fmla="*/ 1886318 h 4567794"/>
              <a:gd name="connsiteX634" fmla="*/ 776176 w 9972838"/>
              <a:gd name="connsiteY634" fmla="*/ 1854408 h 4567794"/>
              <a:gd name="connsiteX635" fmla="*/ 765163 w 9972838"/>
              <a:gd name="connsiteY635" fmla="*/ 1851768 h 4567794"/>
              <a:gd name="connsiteX636" fmla="*/ 740221 w 9972838"/>
              <a:gd name="connsiteY636" fmla="*/ 1847576 h 4567794"/>
              <a:gd name="connsiteX637" fmla="*/ 398787 w 9972838"/>
              <a:gd name="connsiteY637" fmla="*/ 1714025 h 4567794"/>
              <a:gd name="connsiteX638" fmla="*/ 424356 w 9972838"/>
              <a:gd name="connsiteY638" fmla="*/ 1715371 h 4567794"/>
              <a:gd name="connsiteX639" fmla="*/ 424356 w 9972838"/>
              <a:gd name="connsiteY639" fmla="*/ 1744079 h 4567794"/>
              <a:gd name="connsiteX640" fmla="*/ 338230 w 9972838"/>
              <a:gd name="connsiteY640" fmla="*/ 1758434 h 4567794"/>
              <a:gd name="connsiteX641" fmla="*/ 398787 w 9972838"/>
              <a:gd name="connsiteY641" fmla="*/ 1714025 h 4567794"/>
              <a:gd name="connsiteX642" fmla="*/ 9362775 w 9972838"/>
              <a:gd name="connsiteY642" fmla="*/ 1549431 h 4567794"/>
              <a:gd name="connsiteX643" fmla="*/ 9377129 w 9972838"/>
              <a:gd name="connsiteY643" fmla="*/ 1595569 h 4567794"/>
              <a:gd name="connsiteX644" fmla="*/ 9391483 w 9972838"/>
              <a:gd name="connsiteY644" fmla="*/ 1626325 h 4567794"/>
              <a:gd name="connsiteX645" fmla="*/ 9334067 w 9972838"/>
              <a:gd name="connsiteY645" fmla="*/ 1641706 h 4567794"/>
              <a:gd name="connsiteX646" fmla="*/ 9334067 w 9972838"/>
              <a:gd name="connsiteY646" fmla="*/ 1580188 h 4567794"/>
              <a:gd name="connsiteX647" fmla="*/ 9362775 w 9972838"/>
              <a:gd name="connsiteY647" fmla="*/ 1549431 h 4567794"/>
              <a:gd name="connsiteX648" fmla="*/ 506650 w 9972838"/>
              <a:gd name="connsiteY648" fmla="*/ 1539038 h 4567794"/>
              <a:gd name="connsiteX649" fmla="*/ 523901 w 9972838"/>
              <a:gd name="connsiteY649" fmla="*/ 1543928 h 4567794"/>
              <a:gd name="connsiteX650" fmla="*/ 561195 w 9972838"/>
              <a:gd name="connsiteY650" fmla="*/ 1549516 h 4567794"/>
              <a:gd name="connsiteX651" fmla="*/ 560245 w 9972838"/>
              <a:gd name="connsiteY651" fmla="*/ 1551418 h 4567794"/>
              <a:gd name="connsiteX652" fmla="*/ 560725 w 9972838"/>
              <a:gd name="connsiteY652" fmla="*/ 1551487 h 4567794"/>
              <a:gd name="connsiteX653" fmla="*/ 530710 w 9972838"/>
              <a:gd name="connsiteY653" fmla="*/ 1611295 h 4567794"/>
              <a:gd name="connsiteX654" fmla="*/ 425663 w 9972838"/>
              <a:gd name="connsiteY654" fmla="*/ 1686061 h 4567794"/>
              <a:gd name="connsiteX655" fmla="*/ 410653 w 9972838"/>
              <a:gd name="connsiteY655" fmla="*/ 1656154 h 4567794"/>
              <a:gd name="connsiteX656" fmla="*/ 412285 w 9972838"/>
              <a:gd name="connsiteY656" fmla="*/ 1654386 h 4567794"/>
              <a:gd name="connsiteX657" fmla="*/ 412009 w 9972838"/>
              <a:gd name="connsiteY657" fmla="*/ 1653838 h 4567794"/>
              <a:gd name="connsiteX658" fmla="*/ 486603 w 9972838"/>
              <a:gd name="connsiteY658" fmla="*/ 1549516 h 4567794"/>
              <a:gd name="connsiteX659" fmla="*/ 506650 w 9972838"/>
              <a:gd name="connsiteY659" fmla="*/ 1539038 h 4567794"/>
              <a:gd name="connsiteX660" fmla="*/ 1211997 w 9972838"/>
              <a:gd name="connsiteY660" fmla="*/ 1328339 h 4567794"/>
              <a:gd name="connsiteX661" fmla="*/ 1130354 w 9972838"/>
              <a:gd name="connsiteY661" fmla="*/ 1449786 h 4567794"/>
              <a:gd name="connsiteX662" fmla="*/ 1147358 w 9972838"/>
              <a:gd name="connsiteY662" fmla="*/ 1454309 h 4567794"/>
              <a:gd name="connsiteX663" fmla="*/ 1166405 w 9972838"/>
              <a:gd name="connsiteY663" fmla="*/ 1466778 h 4567794"/>
              <a:gd name="connsiteX664" fmla="*/ 1166401 w 9972838"/>
              <a:gd name="connsiteY664" fmla="*/ 1466778 h 4567794"/>
              <a:gd name="connsiteX665" fmla="*/ 1166405 w 9972838"/>
              <a:gd name="connsiteY665" fmla="*/ 1466783 h 4567794"/>
              <a:gd name="connsiteX666" fmla="*/ 1133157 w 9972838"/>
              <a:gd name="connsiteY666" fmla="*/ 1477297 h 4567794"/>
              <a:gd name="connsiteX667" fmla="*/ 1100176 w 9972838"/>
              <a:gd name="connsiteY667" fmla="*/ 1494679 h 4567794"/>
              <a:gd name="connsiteX668" fmla="*/ 1083346 w 9972838"/>
              <a:gd name="connsiteY668" fmla="*/ 1519712 h 4567794"/>
              <a:gd name="connsiteX669" fmla="*/ 1049825 w 9972838"/>
              <a:gd name="connsiteY669" fmla="*/ 1558159 h 4567794"/>
              <a:gd name="connsiteX670" fmla="*/ 1061555 w 9972838"/>
              <a:gd name="connsiteY670" fmla="*/ 1576572 h 4567794"/>
              <a:gd name="connsiteX671" fmla="*/ 1063419 w 9972838"/>
              <a:gd name="connsiteY671" fmla="*/ 1585885 h 4567794"/>
              <a:gd name="connsiteX672" fmla="*/ 1018661 w 9972838"/>
              <a:gd name="connsiteY672" fmla="*/ 1600787 h 4567794"/>
              <a:gd name="connsiteX673" fmla="*/ 1014405 w 9972838"/>
              <a:gd name="connsiteY673" fmla="*/ 1599572 h 4567794"/>
              <a:gd name="connsiteX674" fmla="*/ 993838 w 9972838"/>
              <a:gd name="connsiteY674" fmla="*/ 1624031 h 4567794"/>
              <a:gd name="connsiteX675" fmla="*/ 974257 w 9972838"/>
              <a:gd name="connsiteY675" fmla="*/ 1642196 h 4567794"/>
              <a:gd name="connsiteX676" fmla="*/ 973073 w 9972838"/>
              <a:gd name="connsiteY676" fmla="*/ 1642918 h 4567794"/>
              <a:gd name="connsiteX677" fmla="*/ 973908 w 9972838"/>
              <a:gd name="connsiteY677" fmla="*/ 1645497 h 4567794"/>
              <a:gd name="connsiteX678" fmla="*/ 966215 w 9972838"/>
              <a:gd name="connsiteY678" fmla="*/ 1684852 h 4567794"/>
              <a:gd name="connsiteX679" fmla="*/ 948168 w 9972838"/>
              <a:gd name="connsiteY679" fmla="*/ 1711171 h 4567794"/>
              <a:gd name="connsiteX680" fmla="*/ 949080 w 9972838"/>
              <a:gd name="connsiteY680" fmla="*/ 1713450 h 4567794"/>
              <a:gd name="connsiteX681" fmla="*/ 946345 w 9972838"/>
              <a:gd name="connsiteY681" fmla="*/ 1713829 h 4567794"/>
              <a:gd name="connsiteX682" fmla="*/ 945936 w 9972838"/>
              <a:gd name="connsiteY682" fmla="*/ 1714425 h 4567794"/>
              <a:gd name="connsiteX683" fmla="*/ 917264 w 9972838"/>
              <a:gd name="connsiteY683" fmla="*/ 1735616 h 4567794"/>
              <a:gd name="connsiteX684" fmla="*/ 891220 w 9972838"/>
              <a:gd name="connsiteY684" fmla="*/ 1746870 h 4567794"/>
              <a:gd name="connsiteX685" fmla="*/ 888889 w 9972838"/>
              <a:gd name="connsiteY685" fmla="*/ 1751114 h 4567794"/>
              <a:gd name="connsiteX686" fmla="*/ 910271 w 9972838"/>
              <a:gd name="connsiteY686" fmla="*/ 1757270 h 4567794"/>
              <a:gd name="connsiteX687" fmla="*/ 929153 w 9972838"/>
              <a:gd name="connsiteY687" fmla="*/ 1824336 h 4567794"/>
              <a:gd name="connsiteX688" fmla="*/ 944069 w 9972838"/>
              <a:gd name="connsiteY688" fmla="*/ 1839237 h 4567794"/>
              <a:gd name="connsiteX689" fmla="*/ 973908 w 9972838"/>
              <a:gd name="connsiteY689" fmla="*/ 1824336 h 4567794"/>
              <a:gd name="connsiteX690" fmla="*/ 1018661 w 9972838"/>
              <a:gd name="connsiteY690" fmla="*/ 1764722 h 4567794"/>
              <a:gd name="connsiteX691" fmla="*/ 1018661 w 9972838"/>
              <a:gd name="connsiteY691" fmla="*/ 1705111 h 4567794"/>
              <a:gd name="connsiteX692" fmla="*/ 1003746 w 9972838"/>
              <a:gd name="connsiteY692" fmla="*/ 1675303 h 4567794"/>
              <a:gd name="connsiteX693" fmla="*/ 1033581 w 9972838"/>
              <a:gd name="connsiteY693" fmla="*/ 1675303 h 4567794"/>
              <a:gd name="connsiteX694" fmla="*/ 1123094 w 9972838"/>
              <a:gd name="connsiteY694" fmla="*/ 1662265 h 4567794"/>
              <a:gd name="connsiteX695" fmla="*/ 1127670 w 9972838"/>
              <a:gd name="connsiteY695" fmla="*/ 1662170 h 4567794"/>
              <a:gd name="connsiteX696" fmla="*/ 1166004 w 9972838"/>
              <a:gd name="connsiteY696" fmla="*/ 1612456 h 4567794"/>
              <a:gd name="connsiteX697" fmla="*/ 1160390 w 9972838"/>
              <a:gd name="connsiteY697" fmla="*/ 1598925 h 4567794"/>
              <a:gd name="connsiteX698" fmla="*/ 1183234 w 9972838"/>
              <a:gd name="connsiteY698" fmla="*/ 1570285 h 4567794"/>
              <a:gd name="connsiteX699" fmla="*/ 1216861 w 9972838"/>
              <a:gd name="connsiteY699" fmla="*/ 1545289 h 4567794"/>
              <a:gd name="connsiteX700" fmla="*/ 1235232 w 9972838"/>
              <a:gd name="connsiteY700" fmla="*/ 1520011 h 4567794"/>
              <a:gd name="connsiteX701" fmla="*/ 1219132 w 9972838"/>
              <a:gd name="connsiteY701" fmla="*/ 1506016 h 4567794"/>
              <a:gd name="connsiteX702" fmla="*/ 1227526 w 9972838"/>
              <a:gd name="connsiteY702" fmla="*/ 1436859 h 4567794"/>
              <a:gd name="connsiteX703" fmla="*/ 1272280 w 9972838"/>
              <a:gd name="connsiteY703" fmla="*/ 1392149 h 4567794"/>
              <a:gd name="connsiteX704" fmla="*/ 1236848 w 9972838"/>
              <a:gd name="connsiteY704" fmla="*/ 1334398 h 4567794"/>
              <a:gd name="connsiteX705" fmla="*/ 1436385 w 9972838"/>
              <a:gd name="connsiteY705" fmla="*/ 1108991 h 4567794"/>
              <a:gd name="connsiteX706" fmla="*/ 1350368 w 9972838"/>
              <a:gd name="connsiteY706" fmla="*/ 1136236 h 4567794"/>
              <a:gd name="connsiteX707" fmla="*/ 1339992 w 9972838"/>
              <a:gd name="connsiteY707" fmla="*/ 1132395 h 4567794"/>
              <a:gd name="connsiteX708" fmla="*/ 1300128 w 9972838"/>
              <a:gd name="connsiteY708" fmla="*/ 1194294 h 4567794"/>
              <a:gd name="connsiteX709" fmla="*/ 1303981 w 9972838"/>
              <a:gd name="connsiteY709" fmla="*/ 1194682 h 4567794"/>
              <a:gd name="connsiteX710" fmla="*/ 1316392 w 9972838"/>
              <a:gd name="connsiteY710" fmla="*/ 1240730 h 4567794"/>
              <a:gd name="connsiteX711" fmla="*/ 1317123 w 9972838"/>
              <a:gd name="connsiteY711" fmla="*/ 1240101 h 4567794"/>
              <a:gd name="connsiteX712" fmla="*/ 1331478 w 9972838"/>
              <a:gd name="connsiteY712" fmla="*/ 1255482 h 4567794"/>
              <a:gd name="connsiteX713" fmla="*/ 1332333 w 9972838"/>
              <a:gd name="connsiteY713" fmla="*/ 1257825 h 4567794"/>
              <a:gd name="connsiteX714" fmla="*/ 1389765 w 9972838"/>
              <a:gd name="connsiteY714" fmla="*/ 1228216 h 4567794"/>
              <a:gd name="connsiteX715" fmla="*/ 1436385 w 9972838"/>
              <a:gd name="connsiteY715" fmla="*/ 1108991 h 4567794"/>
              <a:gd name="connsiteX716" fmla="*/ 1451304 w 9972838"/>
              <a:gd name="connsiteY716" fmla="*/ 1004672 h 4567794"/>
              <a:gd name="connsiteX717" fmla="*/ 1428925 w 9972838"/>
              <a:gd name="connsiteY717" fmla="*/ 1012123 h 4567794"/>
              <a:gd name="connsiteX718" fmla="*/ 1414320 w 9972838"/>
              <a:gd name="connsiteY718" fmla="*/ 1016985 h 4567794"/>
              <a:gd name="connsiteX719" fmla="*/ 1369813 w 9972838"/>
              <a:gd name="connsiteY719" fmla="*/ 1086092 h 4567794"/>
              <a:gd name="connsiteX720" fmla="*/ 1384169 w 9972838"/>
              <a:gd name="connsiteY720" fmla="*/ 1079188 h 4567794"/>
              <a:gd name="connsiteX721" fmla="*/ 1451304 w 9972838"/>
              <a:gd name="connsiteY721" fmla="*/ 1034474 h 4567794"/>
              <a:gd name="connsiteX722" fmla="*/ 1481140 w 9972838"/>
              <a:gd name="connsiteY722" fmla="*/ 1019574 h 4567794"/>
              <a:gd name="connsiteX723" fmla="*/ 1451304 w 9972838"/>
              <a:gd name="connsiteY723" fmla="*/ 1004672 h 4567794"/>
              <a:gd name="connsiteX724" fmla="*/ 3913267 w 9972838"/>
              <a:gd name="connsiteY724" fmla="*/ 785447 h 4567794"/>
              <a:gd name="connsiteX725" fmla="*/ 3824939 w 9972838"/>
              <a:gd name="connsiteY725" fmla="*/ 861572 h 4567794"/>
              <a:gd name="connsiteX726" fmla="*/ 3741020 w 9972838"/>
              <a:gd name="connsiteY726" fmla="*/ 943536 h 4567794"/>
              <a:gd name="connsiteX727" fmla="*/ 3706967 w 9972838"/>
              <a:gd name="connsiteY727" fmla="*/ 998380 h 4567794"/>
              <a:gd name="connsiteX728" fmla="*/ 3733270 w 9972838"/>
              <a:gd name="connsiteY728" fmla="*/ 1009286 h 4567794"/>
              <a:gd name="connsiteX729" fmla="*/ 3757181 w 9972838"/>
              <a:gd name="connsiteY729" fmla="*/ 1015232 h 4567794"/>
              <a:gd name="connsiteX730" fmla="*/ 3767187 w 9972838"/>
              <a:gd name="connsiteY730" fmla="*/ 992328 h 4567794"/>
              <a:gd name="connsiteX731" fmla="*/ 3853206 w 9972838"/>
              <a:gd name="connsiteY731" fmla="*/ 885447 h 4567794"/>
              <a:gd name="connsiteX732" fmla="*/ 2833842 w 9972838"/>
              <a:gd name="connsiteY732" fmla="*/ 119 h 4567794"/>
              <a:gd name="connsiteX733" fmla="*/ 2853657 w 9972838"/>
              <a:gd name="connsiteY733" fmla="*/ 6173 h 4567794"/>
              <a:gd name="connsiteX734" fmla="*/ 3017762 w 9972838"/>
              <a:gd name="connsiteY734" fmla="*/ 110496 h 4567794"/>
              <a:gd name="connsiteX735" fmla="*/ 3107270 w 9972838"/>
              <a:gd name="connsiteY735" fmla="*/ 110496 h 4567794"/>
              <a:gd name="connsiteX736" fmla="*/ 3241542 w 9972838"/>
              <a:gd name="connsiteY736" fmla="*/ 170105 h 4567794"/>
              <a:gd name="connsiteX737" fmla="*/ 3226622 w 9972838"/>
              <a:gd name="connsiteY737" fmla="*/ 244623 h 4567794"/>
              <a:gd name="connsiteX738" fmla="*/ 3047597 w 9972838"/>
              <a:gd name="connsiteY738" fmla="*/ 408551 h 4567794"/>
              <a:gd name="connsiteX739" fmla="*/ 2853657 w 9972838"/>
              <a:gd name="connsiteY739" fmla="*/ 691710 h 4567794"/>
              <a:gd name="connsiteX740" fmla="*/ 2787553 w 9972838"/>
              <a:gd name="connsiteY740" fmla="*/ 769749 h 4567794"/>
              <a:gd name="connsiteX741" fmla="*/ 2810937 w 9972838"/>
              <a:gd name="connsiteY741" fmla="*/ 778442 h 4567794"/>
              <a:gd name="connsiteX742" fmla="*/ 2875739 w 9972838"/>
              <a:gd name="connsiteY742" fmla="*/ 794508 h 4567794"/>
              <a:gd name="connsiteX743" fmla="*/ 2911172 w 9972838"/>
              <a:gd name="connsiteY743" fmla="*/ 850394 h 4567794"/>
              <a:gd name="connsiteX744" fmla="*/ 2907713 w 9972838"/>
              <a:gd name="connsiteY744" fmla="*/ 885762 h 4567794"/>
              <a:gd name="connsiteX745" fmla="*/ 2933261 w 9972838"/>
              <a:gd name="connsiteY745" fmla="*/ 893789 h 4567794"/>
              <a:gd name="connsiteX746" fmla="*/ 2940190 w 9972838"/>
              <a:gd name="connsiteY746" fmla="*/ 897251 h 4567794"/>
              <a:gd name="connsiteX747" fmla="*/ 2970586 w 9972838"/>
              <a:gd name="connsiteY747" fmla="*/ 859297 h 4567794"/>
              <a:gd name="connsiteX748" fmla="*/ 3030264 w 9972838"/>
              <a:gd name="connsiteY748" fmla="*/ 784783 h 4567794"/>
              <a:gd name="connsiteX749" fmla="*/ 3104857 w 9972838"/>
              <a:gd name="connsiteY749" fmla="*/ 665559 h 4567794"/>
              <a:gd name="connsiteX750" fmla="*/ 3343551 w 9972838"/>
              <a:gd name="connsiteY750" fmla="*/ 412211 h 4567794"/>
              <a:gd name="connsiteX751" fmla="*/ 3367797 w 9972838"/>
              <a:gd name="connsiteY751" fmla="*/ 393580 h 4567794"/>
              <a:gd name="connsiteX752" fmla="*/ 3383412 w 9972838"/>
              <a:gd name="connsiteY752" fmla="*/ 391252 h 4567794"/>
              <a:gd name="connsiteX753" fmla="*/ 3403227 w 9972838"/>
              <a:gd name="connsiteY753" fmla="*/ 397305 h 4567794"/>
              <a:gd name="connsiteX754" fmla="*/ 3444881 w 9972838"/>
              <a:gd name="connsiteY754" fmla="*/ 413743 h 4567794"/>
              <a:gd name="connsiteX755" fmla="*/ 3495154 w 9972838"/>
              <a:gd name="connsiteY755" fmla="*/ 348942 h 4567794"/>
              <a:gd name="connsiteX756" fmla="*/ 3704018 w 9972838"/>
              <a:gd name="connsiteY756" fmla="*/ 289331 h 4567794"/>
              <a:gd name="connsiteX757" fmla="*/ 3853206 w 9972838"/>
              <a:gd name="connsiteY757" fmla="*/ 363844 h 4567794"/>
              <a:gd name="connsiteX758" fmla="*/ 3857848 w 9972838"/>
              <a:gd name="connsiteY758" fmla="*/ 368487 h 4567794"/>
              <a:gd name="connsiteX759" fmla="*/ 3857848 w 9972838"/>
              <a:gd name="connsiteY759" fmla="*/ 364485 h 4567794"/>
              <a:gd name="connsiteX760" fmla="*/ 3870851 w 9972838"/>
              <a:gd name="connsiteY760" fmla="*/ 377487 h 4567794"/>
              <a:gd name="connsiteX761" fmla="*/ 3907981 w 9972838"/>
              <a:gd name="connsiteY761" fmla="*/ 360353 h 4567794"/>
              <a:gd name="connsiteX762" fmla="*/ 4002391 w 9972838"/>
              <a:gd name="connsiteY762" fmla="*/ 408551 h 4567794"/>
              <a:gd name="connsiteX763" fmla="*/ 3987471 w 9972838"/>
              <a:gd name="connsiteY763" fmla="*/ 497969 h 4567794"/>
              <a:gd name="connsiteX764" fmla="*/ 3926630 w 9972838"/>
              <a:gd name="connsiteY764" fmla="*/ 593674 h 4567794"/>
              <a:gd name="connsiteX765" fmla="*/ 3875730 w 9972838"/>
              <a:gd name="connsiteY765" fmla="*/ 660251 h 4567794"/>
              <a:gd name="connsiteX766" fmla="*/ 3903495 w 9972838"/>
              <a:gd name="connsiteY766" fmla="*/ 681106 h 4567794"/>
              <a:gd name="connsiteX767" fmla="*/ 3934963 w 9972838"/>
              <a:gd name="connsiteY767" fmla="*/ 705091 h 4567794"/>
              <a:gd name="connsiteX768" fmla="*/ 3947318 w 9972838"/>
              <a:gd name="connsiteY768" fmla="*/ 727213 h 4567794"/>
              <a:gd name="connsiteX769" fmla="*/ 3947017 w 9972838"/>
              <a:gd name="connsiteY769" fmla="*/ 729254 h 4567794"/>
              <a:gd name="connsiteX770" fmla="*/ 4032225 w 9972838"/>
              <a:gd name="connsiteY770" fmla="*/ 587386 h 4567794"/>
              <a:gd name="connsiteX771" fmla="*/ 4241089 w 9972838"/>
              <a:gd name="connsiteY771" fmla="*/ 334040 h 4567794"/>
              <a:gd name="connsiteX772" fmla="*/ 4285843 w 9972838"/>
              <a:gd name="connsiteY772" fmla="*/ 319134 h 4567794"/>
              <a:gd name="connsiteX773" fmla="*/ 4405191 w 9972838"/>
              <a:gd name="connsiteY773" fmla="*/ 363844 h 4567794"/>
              <a:gd name="connsiteX774" fmla="*/ 4614055 w 9972838"/>
              <a:gd name="connsiteY774" fmla="*/ 423458 h 4567794"/>
              <a:gd name="connsiteX775" fmla="*/ 4673728 w 9972838"/>
              <a:gd name="connsiteY775" fmla="*/ 542678 h 4567794"/>
              <a:gd name="connsiteX776" fmla="*/ 4589812 w 9972838"/>
              <a:gd name="connsiteY776" fmla="*/ 669353 h 4567794"/>
              <a:gd name="connsiteX777" fmla="*/ 4505788 w 9972838"/>
              <a:gd name="connsiteY777" fmla="*/ 781264 h 4567794"/>
              <a:gd name="connsiteX778" fmla="*/ 4528064 w 9972838"/>
              <a:gd name="connsiteY778" fmla="*/ 797361 h 4567794"/>
              <a:gd name="connsiteX779" fmla="*/ 4551960 w 9972838"/>
              <a:gd name="connsiteY779" fmla="*/ 799685 h 4567794"/>
              <a:gd name="connsiteX780" fmla="*/ 4537041 w 9972838"/>
              <a:gd name="connsiteY780" fmla="*/ 889103 h 4567794"/>
              <a:gd name="connsiteX781" fmla="*/ 4535871 w 9972838"/>
              <a:gd name="connsiteY781" fmla="*/ 890943 h 4567794"/>
              <a:gd name="connsiteX782" fmla="*/ 4546626 w 9972838"/>
              <a:gd name="connsiteY782" fmla="*/ 898827 h 4567794"/>
              <a:gd name="connsiteX783" fmla="*/ 4551270 w 9972838"/>
              <a:gd name="connsiteY783" fmla="*/ 903471 h 4567794"/>
              <a:gd name="connsiteX784" fmla="*/ 4551270 w 9972838"/>
              <a:gd name="connsiteY784" fmla="*/ 899469 h 4567794"/>
              <a:gd name="connsiteX785" fmla="*/ 4564272 w 9972838"/>
              <a:gd name="connsiteY785" fmla="*/ 912472 h 4567794"/>
              <a:gd name="connsiteX786" fmla="*/ 4601404 w 9972838"/>
              <a:gd name="connsiteY786" fmla="*/ 895336 h 4567794"/>
              <a:gd name="connsiteX787" fmla="*/ 4626481 w 9972838"/>
              <a:gd name="connsiteY787" fmla="*/ 905913 h 4567794"/>
              <a:gd name="connsiteX788" fmla="*/ 4632389 w 9972838"/>
              <a:gd name="connsiteY788" fmla="*/ 910817 h 4567794"/>
              <a:gd name="connsiteX789" fmla="*/ 4680634 w 9972838"/>
              <a:gd name="connsiteY789" fmla="*/ 846256 h 4567794"/>
              <a:gd name="connsiteX790" fmla="*/ 4790660 w 9972838"/>
              <a:gd name="connsiteY790" fmla="*/ 725172 h 4567794"/>
              <a:gd name="connsiteX791" fmla="*/ 4830518 w 9972838"/>
              <a:gd name="connsiteY791" fmla="*/ 704213 h 4567794"/>
              <a:gd name="connsiteX792" fmla="*/ 4832438 w 9972838"/>
              <a:gd name="connsiteY792" fmla="*/ 706588 h 4567794"/>
              <a:gd name="connsiteX793" fmla="*/ 4912426 w 9972838"/>
              <a:gd name="connsiteY793" fmla="*/ 587386 h 4567794"/>
              <a:gd name="connsiteX794" fmla="*/ 5061612 w 9972838"/>
              <a:gd name="connsiteY794" fmla="*/ 408551 h 4567794"/>
              <a:gd name="connsiteX795" fmla="*/ 5106367 w 9972838"/>
              <a:gd name="connsiteY795" fmla="*/ 393650 h 4567794"/>
              <a:gd name="connsiteX796" fmla="*/ 5270472 w 9972838"/>
              <a:gd name="connsiteY796" fmla="*/ 468166 h 4567794"/>
              <a:gd name="connsiteX797" fmla="*/ 5345066 w 9972838"/>
              <a:gd name="connsiteY797" fmla="*/ 501696 h 4567794"/>
              <a:gd name="connsiteX798" fmla="*/ 5411587 w 9972838"/>
              <a:gd name="connsiteY798" fmla="*/ 511666 h 4567794"/>
              <a:gd name="connsiteX799" fmla="*/ 5438713 w 9972838"/>
              <a:gd name="connsiteY799" fmla="*/ 495653 h 4567794"/>
              <a:gd name="connsiteX800" fmla="*/ 5524494 w 9972838"/>
              <a:gd name="connsiteY800" fmla="*/ 493791 h 4567794"/>
              <a:gd name="connsiteX801" fmla="*/ 5778112 w 9972838"/>
              <a:gd name="connsiteY801" fmla="*/ 583209 h 4567794"/>
              <a:gd name="connsiteX802" fmla="*/ 5795081 w 9972838"/>
              <a:gd name="connsiteY802" fmla="*/ 597203 h 4567794"/>
              <a:gd name="connsiteX803" fmla="*/ 5840410 w 9972838"/>
              <a:gd name="connsiteY803" fmla="*/ 528472 h 4567794"/>
              <a:gd name="connsiteX804" fmla="*/ 5944756 w 9972838"/>
              <a:gd name="connsiteY804" fmla="*/ 394718 h 4567794"/>
              <a:gd name="connsiteX805" fmla="*/ 6024878 w 9972838"/>
              <a:gd name="connsiteY805" fmla="*/ 370565 h 4567794"/>
              <a:gd name="connsiteX806" fmla="*/ 6093820 w 9972838"/>
              <a:gd name="connsiteY806" fmla="*/ 424438 h 4567794"/>
              <a:gd name="connsiteX807" fmla="*/ 6153449 w 9972838"/>
              <a:gd name="connsiteY807" fmla="*/ 424438 h 4567794"/>
              <a:gd name="connsiteX808" fmla="*/ 6237295 w 9972838"/>
              <a:gd name="connsiteY808" fmla="*/ 474598 h 4567794"/>
              <a:gd name="connsiteX809" fmla="*/ 6261071 w 9972838"/>
              <a:gd name="connsiteY809" fmla="*/ 475628 h 4567794"/>
              <a:gd name="connsiteX810" fmla="*/ 6264835 w 9972838"/>
              <a:gd name="connsiteY810" fmla="*/ 471436 h 4567794"/>
              <a:gd name="connsiteX811" fmla="*/ 6389776 w 9972838"/>
              <a:gd name="connsiteY811" fmla="*/ 344763 h 4567794"/>
              <a:gd name="connsiteX812" fmla="*/ 6414022 w 9972838"/>
              <a:gd name="connsiteY812" fmla="*/ 326131 h 4567794"/>
              <a:gd name="connsiteX813" fmla="*/ 6429639 w 9972838"/>
              <a:gd name="connsiteY813" fmla="*/ 323803 h 4567794"/>
              <a:gd name="connsiteX814" fmla="*/ 6449453 w 9972838"/>
              <a:gd name="connsiteY814" fmla="*/ 329857 h 4567794"/>
              <a:gd name="connsiteX815" fmla="*/ 6613559 w 9972838"/>
              <a:gd name="connsiteY815" fmla="*/ 434180 h 4567794"/>
              <a:gd name="connsiteX816" fmla="*/ 6703067 w 9972838"/>
              <a:gd name="connsiteY816" fmla="*/ 434180 h 4567794"/>
              <a:gd name="connsiteX817" fmla="*/ 6837337 w 9972838"/>
              <a:gd name="connsiteY817" fmla="*/ 493791 h 4567794"/>
              <a:gd name="connsiteX818" fmla="*/ 6822418 w 9972838"/>
              <a:gd name="connsiteY818" fmla="*/ 568307 h 4567794"/>
              <a:gd name="connsiteX819" fmla="*/ 6643394 w 9972838"/>
              <a:gd name="connsiteY819" fmla="*/ 732236 h 4567794"/>
              <a:gd name="connsiteX820" fmla="*/ 6613917 w 9972838"/>
              <a:gd name="connsiteY820" fmla="*/ 779710 h 4567794"/>
              <a:gd name="connsiteX821" fmla="*/ 6643390 w 9972838"/>
              <a:gd name="connsiteY821" fmla="*/ 815571 h 4567794"/>
              <a:gd name="connsiteX822" fmla="*/ 6703019 w 9972838"/>
              <a:gd name="connsiteY822" fmla="*/ 815571 h 4567794"/>
              <a:gd name="connsiteX823" fmla="*/ 6881893 w 9972838"/>
              <a:gd name="connsiteY823" fmla="*/ 860158 h 4567794"/>
              <a:gd name="connsiteX824" fmla="*/ 6921022 w 9972838"/>
              <a:gd name="connsiteY824" fmla="*/ 871304 h 4567794"/>
              <a:gd name="connsiteX825" fmla="*/ 6924299 w 9972838"/>
              <a:gd name="connsiteY825" fmla="*/ 890915 h 4567794"/>
              <a:gd name="connsiteX826" fmla="*/ 6986523 w 9972838"/>
              <a:gd name="connsiteY826" fmla="*/ 821653 h 4567794"/>
              <a:gd name="connsiteX827" fmla="*/ 7090951 w 9972838"/>
              <a:gd name="connsiteY827" fmla="*/ 672626 h 4567794"/>
              <a:gd name="connsiteX828" fmla="*/ 7299815 w 9972838"/>
              <a:gd name="connsiteY828" fmla="*/ 613015 h 4567794"/>
              <a:gd name="connsiteX829" fmla="*/ 7449001 w 9972838"/>
              <a:gd name="connsiteY829" fmla="*/ 687528 h 4567794"/>
              <a:gd name="connsiteX830" fmla="*/ 7453644 w 9972838"/>
              <a:gd name="connsiteY830" fmla="*/ 692171 h 4567794"/>
              <a:gd name="connsiteX831" fmla="*/ 7453644 w 9972838"/>
              <a:gd name="connsiteY831" fmla="*/ 688169 h 4567794"/>
              <a:gd name="connsiteX832" fmla="*/ 7466647 w 9972838"/>
              <a:gd name="connsiteY832" fmla="*/ 701172 h 4567794"/>
              <a:gd name="connsiteX833" fmla="*/ 7503778 w 9972838"/>
              <a:gd name="connsiteY833" fmla="*/ 684037 h 4567794"/>
              <a:gd name="connsiteX834" fmla="*/ 7598187 w 9972838"/>
              <a:gd name="connsiteY834" fmla="*/ 732236 h 4567794"/>
              <a:gd name="connsiteX835" fmla="*/ 7583267 w 9972838"/>
              <a:gd name="connsiteY835" fmla="*/ 821653 h 4567794"/>
              <a:gd name="connsiteX836" fmla="*/ 7314729 w 9972838"/>
              <a:gd name="connsiteY836" fmla="*/ 1179328 h 4567794"/>
              <a:gd name="connsiteX837" fmla="*/ 7150629 w 9972838"/>
              <a:gd name="connsiteY837" fmla="*/ 1417774 h 4567794"/>
              <a:gd name="connsiteX838" fmla="*/ 7046197 w 9972838"/>
              <a:gd name="connsiteY838" fmla="*/ 1581706 h 4567794"/>
              <a:gd name="connsiteX839" fmla="*/ 7044331 w 9972838"/>
              <a:gd name="connsiteY839" fmla="*/ 1596608 h 4567794"/>
              <a:gd name="connsiteX840" fmla="*/ 7043427 w 9972838"/>
              <a:gd name="connsiteY840" fmla="*/ 1597641 h 4567794"/>
              <a:gd name="connsiteX841" fmla="*/ 7070780 w 9972838"/>
              <a:gd name="connsiteY841" fmla="*/ 1609327 h 4567794"/>
              <a:gd name="connsiteX842" fmla="*/ 7106679 w 9972838"/>
              <a:gd name="connsiteY842" fmla="*/ 1635640 h 4567794"/>
              <a:gd name="connsiteX843" fmla="*/ 7111321 w 9972838"/>
              <a:gd name="connsiteY843" fmla="*/ 1640283 h 4567794"/>
              <a:gd name="connsiteX844" fmla="*/ 7111321 w 9972838"/>
              <a:gd name="connsiteY844" fmla="*/ 1636282 h 4567794"/>
              <a:gd name="connsiteX845" fmla="*/ 7124059 w 9972838"/>
              <a:gd name="connsiteY845" fmla="*/ 1649021 h 4567794"/>
              <a:gd name="connsiteX846" fmla="*/ 7191162 w 9972838"/>
              <a:gd name="connsiteY846" fmla="*/ 1549022 h 4567794"/>
              <a:gd name="connsiteX847" fmla="*/ 7265753 w 9972838"/>
              <a:gd name="connsiteY847" fmla="*/ 1454019 h 4567794"/>
              <a:gd name="connsiteX848" fmla="*/ 7336664 w 9972838"/>
              <a:gd name="connsiteY848" fmla="*/ 1374327 h 4567794"/>
              <a:gd name="connsiteX849" fmla="*/ 7344569 w 9972838"/>
              <a:gd name="connsiteY849" fmla="*/ 1358159 h 4567794"/>
              <a:gd name="connsiteX850" fmla="*/ 7449001 w 9972838"/>
              <a:gd name="connsiteY850" fmla="*/ 1209131 h 4567794"/>
              <a:gd name="connsiteX851" fmla="*/ 7628021 w 9972838"/>
              <a:gd name="connsiteY851" fmla="*/ 911071 h 4567794"/>
              <a:gd name="connsiteX852" fmla="*/ 7836885 w 9972838"/>
              <a:gd name="connsiteY852" fmla="*/ 657725 h 4567794"/>
              <a:gd name="connsiteX853" fmla="*/ 7881639 w 9972838"/>
              <a:gd name="connsiteY853" fmla="*/ 642818 h 4567794"/>
              <a:gd name="connsiteX854" fmla="*/ 8000987 w 9972838"/>
              <a:gd name="connsiteY854" fmla="*/ 687528 h 4567794"/>
              <a:gd name="connsiteX855" fmla="*/ 8209850 w 9972838"/>
              <a:gd name="connsiteY855" fmla="*/ 747142 h 4567794"/>
              <a:gd name="connsiteX856" fmla="*/ 8269523 w 9972838"/>
              <a:gd name="connsiteY856" fmla="*/ 866362 h 4567794"/>
              <a:gd name="connsiteX857" fmla="*/ 8090498 w 9972838"/>
              <a:gd name="connsiteY857" fmla="*/ 1119714 h 4567794"/>
              <a:gd name="connsiteX858" fmla="*/ 7792127 w 9972838"/>
              <a:gd name="connsiteY858" fmla="*/ 1566802 h 4567794"/>
              <a:gd name="connsiteX859" fmla="*/ 7728533 w 9972838"/>
              <a:gd name="connsiteY859" fmla="*/ 1664613 h 4567794"/>
              <a:gd name="connsiteX860" fmla="*/ 7757503 w 9972838"/>
              <a:gd name="connsiteY860" fmla="*/ 1676625 h 4567794"/>
              <a:gd name="connsiteX861" fmla="*/ 7867527 w 9972838"/>
              <a:gd name="connsiteY861" fmla="*/ 1695255 h 4567794"/>
              <a:gd name="connsiteX862" fmla="*/ 7930465 w 9972838"/>
              <a:gd name="connsiteY862" fmla="*/ 1770700 h 4567794"/>
              <a:gd name="connsiteX863" fmla="*/ 7928730 w 9972838"/>
              <a:gd name="connsiteY863" fmla="*/ 1793982 h 4567794"/>
              <a:gd name="connsiteX864" fmla="*/ 7940271 w 9972838"/>
              <a:gd name="connsiteY864" fmla="*/ 1772481 h 4567794"/>
              <a:gd name="connsiteX865" fmla="*/ 8119145 w 9972838"/>
              <a:gd name="connsiteY865" fmla="*/ 1490108 h 4567794"/>
              <a:gd name="connsiteX866" fmla="*/ 8143849 w 9972838"/>
              <a:gd name="connsiteY866" fmla="*/ 1461507 h 4567794"/>
              <a:gd name="connsiteX867" fmla="*/ 8172555 w 9972838"/>
              <a:gd name="connsiteY867" fmla="*/ 1408458 h 4567794"/>
              <a:gd name="connsiteX868" fmla="*/ 8209850 w 9972838"/>
              <a:gd name="connsiteY868" fmla="*/ 1328356 h 4567794"/>
              <a:gd name="connsiteX869" fmla="*/ 8269523 w 9972838"/>
              <a:gd name="connsiteY869" fmla="*/ 1238939 h 4567794"/>
              <a:gd name="connsiteX870" fmla="*/ 8508222 w 9972838"/>
              <a:gd name="connsiteY870" fmla="*/ 911071 h 4567794"/>
              <a:gd name="connsiteX871" fmla="*/ 8657408 w 9972838"/>
              <a:gd name="connsiteY871" fmla="*/ 732236 h 4567794"/>
              <a:gd name="connsiteX872" fmla="*/ 8702162 w 9972838"/>
              <a:gd name="connsiteY872" fmla="*/ 717334 h 4567794"/>
              <a:gd name="connsiteX873" fmla="*/ 8866268 w 9972838"/>
              <a:gd name="connsiteY873" fmla="*/ 791852 h 4567794"/>
              <a:gd name="connsiteX874" fmla="*/ 9015453 w 9972838"/>
              <a:gd name="connsiteY874" fmla="*/ 836559 h 4567794"/>
              <a:gd name="connsiteX875" fmla="*/ 9060212 w 9972838"/>
              <a:gd name="connsiteY875" fmla="*/ 940878 h 4567794"/>
              <a:gd name="connsiteX876" fmla="*/ 8970700 w 9972838"/>
              <a:gd name="connsiteY876" fmla="*/ 1089906 h 4567794"/>
              <a:gd name="connsiteX877" fmla="*/ 8657408 w 9972838"/>
              <a:gd name="connsiteY877" fmla="*/ 1551900 h 4567794"/>
              <a:gd name="connsiteX878" fmla="*/ 8595402 w 9972838"/>
              <a:gd name="connsiteY878" fmla="*/ 1646208 h 4567794"/>
              <a:gd name="connsiteX879" fmla="*/ 8548065 w 9972838"/>
              <a:gd name="connsiteY879" fmla="*/ 1735644 h 4567794"/>
              <a:gd name="connsiteX880" fmla="*/ 8554636 w 9972838"/>
              <a:gd name="connsiteY880" fmla="*/ 1743641 h 4567794"/>
              <a:gd name="connsiteX881" fmla="*/ 8614265 w 9972838"/>
              <a:gd name="connsiteY881" fmla="*/ 1743641 h 4567794"/>
              <a:gd name="connsiteX882" fmla="*/ 8652694 w 9972838"/>
              <a:gd name="connsiteY882" fmla="*/ 1777777 h 4567794"/>
              <a:gd name="connsiteX883" fmla="*/ 8671581 w 9972838"/>
              <a:gd name="connsiteY883" fmla="*/ 1784441 h 4567794"/>
              <a:gd name="connsiteX884" fmla="*/ 8673132 w 9972838"/>
              <a:gd name="connsiteY884" fmla="*/ 1784673 h 4567794"/>
              <a:gd name="connsiteX885" fmla="*/ 8683881 w 9972838"/>
              <a:gd name="connsiteY885" fmla="*/ 1788780 h 4567794"/>
              <a:gd name="connsiteX886" fmla="*/ 8698111 w 9972838"/>
              <a:gd name="connsiteY886" fmla="*/ 1793801 h 4567794"/>
              <a:gd name="connsiteX887" fmla="*/ 8793141 w 9972838"/>
              <a:gd name="connsiteY887" fmla="*/ 1788227 h 4567794"/>
              <a:gd name="connsiteX888" fmla="*/ 8832269 w 9972838"/>
              <a:gd name="connsiteY888" fmla="*/ 1799374 h 4567794"/>
              <a:gd name="connsiteX889" fmla="*/ 8836528 w 9972838"/>
              <a:gd name="connsiteY889" fmla="*/ 1824857 h 4567794"/>
              <a:gd name="connsiteX890" fmla="*/ 8877214 w 9972838"/>
              <a:gd name="connsiteY890" fmla="*/ 1795882 h 4567794"/>
              <a:gd name="connsiteX891" fmla="*/ 8929387 w 9972838"/>
              <a:gd name="connsiteY891" fmla="*/ 1758729 h 4567794"/>
              <a:gd name="connsiteX892" fmla="*/ 8981559 w 9972838"/>
              <a:gd name="connsiteY892" fmla="*/ 1686275 h 4567794"/>
              <a:gd name="connsiteX893" fmla="*/ 9033547 w 9972838"/>
              <a:gd name="connsiteY893" fmla="*/ 1625191 h 4567794"/>
              <a:gd name="connsiteX894" fmla="*/ 9024414 w 9972838"/>
              <a:gd name="connsiteY894" fmla="*/ 1568664 h 4567794"/>
              <a:gd name="connsiteX895" fmla="*/ 9024573 w 9972838"/>
              <a:gd name="connsiteY895" fmla="*/ 1568361 h 4567794"/>
              <a:gd name="connsiteX896" fmla="*/ 9024414 w 9972838"/>
              <a:gd name="connsiteY896" fmla="*/ 1567380 h 4567794"/>
              <a:gd name="connsiteX897" fmla="*/ 9048639 w 9972838"/>
              <a:gd name="connsiteY897" fmla="*/ 1520940 h 4567794"/>
              <a:gd name="connsiteX898" fmla="*/ 9257330 w 9972838"/>
              <a:gd name="connsiteY898" fmla="*/ 1134529 h 4567794"/>
              <a:gd name="connsiteX899" fmla="*/ 9436206 w 9972838"/>
              <a:gd name="connsiteY899" fmla="*/ 852158 h 4567794"/>
              <a:gd name="connsiteX900" fmla="*/ 9540552 w 9972838"/>
              <a:gd name="connsiteY900" fmla="*/ 718402 h 4567794"/>
              <a:gd name="connsiteX901" fmla="*/ 9620674 w 9972838"/>
              <a:gd name="connsiteY901" fmla="*/ 694251 h 4567794"/>
              <a:gd name="connsiteX902" fmla="*/ 9689616 w 9972838"/>
              <a:gd name="connsiteY902" fmla="*/ 748123 h 4567794"/>
              <a:gd name="connsiteX903" fmla="*/ 9749244 w 9972838"/>
              <a:gd name="connsiteY903" fmla="*/ 748123 h 4567794"/>
              <a:gd name="connsiteX904" fmla="*/ 9928120 w 9972838"/>
              <a:gd name="connsiteY904" fmla="*/ 792710 h 4567794"/>
              <a:gd name="connsiteX905" fmla="*/ 9972838 w 9972838"/>
              <a:gd name="connsiteY905" fmla="*/ 837297 h 4567794"/>
              <a:gd name="connsiteX906" fmla="*/ 9972788 w 9972838"/>
              <a:gd name="connsiteY906" fmla="*/ 837477 h 4567794"/>
              <a:gd name="connsiteX907" fmla="*/ 9972838 w 9972838"/>
              <a:gd name="connsiteY907" fmla="*/ 837532 h 4567794"/>
              <a:gd name="connsiteX908" fmla="*/ 9943026 w 9972838"/>
              <a:gd name="connsiteY908" fmla="*/ 941710 h 4567794"/>
              <a:gd name="connsiteX909" fmla="*/ 9749244 w 9972838"/>
              <a:gd name="connsiteY909" fmla="*/ 1254260 h 4567794"/>
              <a:gd name="connsiteX910" fmla="*/ 9525647 w 9972838"/>
              <a:gd name="connsiteY910" fmla="*/ 1626339 h 4567794"/>
              <a:gd name="connsiteX911" fmla="*/ 9468492 w 9972838"/>
              <a:gd name="connsiteY911" fmla="*/ 1738536 h 4567794"/>
              <a:gd name="connsiteX912" fmla="*/ 9490770 w 9972838"/>
              <a:gd name="connsiteY912" fmla="*/ 1746396 h 4567794"/>
              <a:gd name="connsiteX913" fmla="*/ 9585799 w 9972838"/>
              <a:gd name="connsiteY913" fmla="*/ 1740822 h 4567794"/>
              <a:gd name="connsiteX914" fmla="*/ 9630516 w 9972838"/>
              <a:gd name="connsiteY914" fmla="*/ 1785409 h 4567794"/>
              <a:gd name="connsiteX915" fmla="*/ 9630466 w 9972838"/>
              <a:gd name="connsiteY915" fmla="*/ 1785591 h 4567794"/>
              <a:gd name="connsiteX916" fmla="*/ 9630516 w 9972838"/>
              <a:gd name="connsiteY916" fmla="*/ 1785645 h 4567794"/>
              <a:gd name="connsiteX917" fmla="*/ 9600704 w 9972838"/>
              <a:gd name="connsiteY917" fmla="*/ 1889824 h 4567794"/>
              <a:gd name="connsiteX918" fmla="*/ 9406922 w 9972838"/>
              <a:gd name="connsiteY918" fmla="*/ 2202374 h 4567794"/>
              <a:gd name="connsiteX919" fmla="*/ 9289532 w 9972838"/>
              <a:gd name="connsiteY919" fmla="*/ 2382830 h 4567794"/>
              <a:gd name="connsiteX920" fmla="*/ 9231092 w 9972838"/>
              <a:gd name="connsiteY920" fmla="*/ 2488270 h 4567794"/>
              <a:gd name="connsiteX921" fmla="*/ 9229675 w 9972838"/>
              <a:gd name="connsiteY921" fmla="*/ 2492227 h 4567794"/>
              <a:gd name="connsiteX922" fmla="*/ 9228556 w 9972838"/>
              <a:gd name="connsiteY922" fmla="*/ 2492845 h 4567794"/>
              <a:gd name="connsiteX923" fmla="*/ 9217400 w 9972838"/>
              <a:gd name="connsiteY923" fmla="*/ 2512973 h 4567794"/>
              <a:gd name="connsiteX924" fmla="*/ 9229675 w 9972838"/>
              <a:gd name="connsiteY924" fmla="*/ 2522084 h 4567794"/>
              <a:gd name="connsiteX925" fmla="*/ 9274695 w 9972838"/>
              <a:gd name="connsiteY925" fmla="*/ 2507155 h 4567794"/>
              <a:gd name="connsiteX926" fmla="*/ 9289705 w 9972838"/>
              <a:gd name="connsiteY926" fmla="*/ 2492227 h 4567794"/>
              <a:gd name="connsiteX927" fmla="*/ 9304711 w 9972838"/>
              <a:gd name="connsiteY927" fmla="*/ 2537012 h 4567794"/>
              <a:gd name="connsiteX928" fmla="*/ 9197084 w 9972838"/>
              <a:gd name="connsiteY928" fmla="*/ 2593694 h 4567794"/>
              <a:gd name="connsiteX929" fmla="*/ 9176466 w 9972838"/>
              <a:gd name="connsiteY929" fmla="*/ 2587916 h 4567794"/>
              <a:gd name="connsiteX930" fmla="*/ 9073389 w 9972838"/>
              <a:gd name="connsiteY930" fmla="*/ 2790259 h 4567794"/>
              <a:gd name="connsiteX931" fmla="*/ 8974633 w 9972838"/>
              <a:gd name="connsiteY931" fmla="*/ 3006065 h 4567794"/>
              <a:gd name="connsiteX932" fmla="*/ 8929914 w 9972838"/>
              <a:gd name="connsiteY932" fmla="*/ 3035832 h 4567794"/>
              <a:gd name="connsiteX933" fmla="*/ 8932898 w 9972838"/>
              <a:gd name="connsiteY933" fmla="*/ 3035832 h 4567794"/>
              <a:gd name="connsiteX934" fmla="*/ 8917107 w 9972838"/>
              <a:gd name="connsiteY934" fmla="*/ 3093249 h 4567794"/>
              <a:gd name="connsiteX935" fmla="*/ 8915221 w 9972838"/>
              <a:gd name="connsiteY935" fmla="*/ 3092395 h 4567794"/>
              <a:gd name="connsiteX936" fmla="*/ 8915008 w 9972838"/>
              <a:gd name="connsiteY936" fmla="*/ 3093249 h 4567794"/>
              <a:gd name="connsiteX937" fmla="*/ 8893298 w 9972838"/>
              <a:gd name="connsiteY937" fmla="*/ 3082431 h 4567794"/>
              <a:gd name="connsiteX938" fmla="*/ 8885527 w 9972838"/>
              <a:gd name="connsiteY938" fmla="*/ 3078895 h 4567794"/>
              <a:gd name="connsiteX939" fmla="*/ 8885572 w 9972838"/>
              <a:gd name="connsiteY939" fmla="*/ 3078579 h 4567794"/>
              <a:gd name="connsiteX940" fmla="*/ 8885192 w 9972838"/>
              <a:gd name="connsiteY940" fmla="*/ 3078388 h 4567794"/>
              <a:gd name="connsiteX941" fmla="*/ 8888921 w 9972838"/>
              <a:gd name="connsiteY941" fmla="*/ 3050521 h 4567794"/>
              <a:gd name="connsiteX942" fmla="*/ 8914439 w 9972838"/>
              <a:gd name="connsiteY942" fmla="*/ 3034168 h 4567794"/>
              <a:gd name="connsiteX943" fmla="*/ 8890785 w 9972838"/>
              <a:gd name="connsiteY943" fmla="*/ 2965135 h 4567794"/>
              <a:gd name="connsiteX944" fmla="*/ 8891291 w 9972838"/>
              <a:gd name="connsiteY944" fmla="*/ 2964683 h 4567794"/>
              <a:gd name="connsiteX945" fmla="*/ 8890785 w 9972838"/>
              <a:gd name="connsiteY945" fmla="*/ 2963206 h 4567794"/>
              <a:gd name="connsiteX946" fmla="*/ 8944820 w 9972838"/>
              <a:gd name="connsiteY946" fmla="*/ 2914907 h 4567794"/>
              <a:gd name="connsiteX947" fmla="*/ 8944820 w 9972838"/>
              <a:gd name="connsiteY947" fmla="*/ 2901882 h 4567794"/>
              <a:gd name="connsiteX948" fmla="*/ 8944820 w 9972838"/>
              <a:gd name="connsiteY948" fmla="*/ 2900045 h 4567794"/>
              <a:gd name="connsiteX949" fmla="*/ 9034262 w 9972838"/>
              <a:gd name="connsiteY949" fmla="*/ 2781150 h 4567794"/>
              <a:gd name="connsiteX950" fmla="*/ 9078978 w 9972838"/>
              <a:gd name="connsiteY950" fmla="*/ 2721703 h 4567794"/>
              <a:gd name="connsiteX951" fmla="*/ 9123697 w 9972838"/>
              <a:gd name="connsiteY951" fmla="*/ 2587948 h 4567794"/>
              <a:gd name="connsiteX952" fmla="*/ 9127838 w 9972838"/>
              <a:gd name="connsiteY952" fmla="*/ 2567303 h 4567794"/>
              <a:gd name="connsiteX953" fmla="*/ 9084767 w 9972838"/>
              <a:gd name="connsiteY953" fmla="*/ 2544009 h 4567794"/>
              <a:gd name="connsiteX954" fmla="*/ 9022096 w 9972838"/>
              <a:gd name="connsiteY954" fmla="*/ 2518670 h 4567794"/>
              <a:gd name="connsiteX955" fmla="*/ 9022247 w 9972838"/>
              <a:gd name="connsiteY955" fmla="*/ 2520613 h 4567794"/>
              <a:gd name="connsiteX956" fmla="*/ 9034807 w 9972838"/>
              <a:gd name="connsiteY956" fmla="*/ 2543682 h 4567794"/>
              <a:gd name="connsiteX957" fmla="*/ 9049161 w 9972838"/>
              <a:gd name="connsiteY957" fmla="*/ 2574440 h 4567794"/>
              <a:gd name="connsiteX958" fmla="*/ 8991745 w 9972838"/>
              <a:gd name="connsiteY958" fmla="*/ 2589820 h 4567794"/>
              <a:gd name="connsiteX959" fmla="*/ 8991745 w 9972838"/>
              <a:gd name="connsiteY959" fmla="*/ 2528301 h 4567794"/>
              <a:gd name="connsiteX960" fmla="*/ 9006099 w 9972838"/>
              <a:gd name="connsiteY960" fmla="*/ 2518691 h 4567794"/>
              <a:gd name="connsiteX961" fmla="*/ 9009554 w 9972838"/>
              <a:gd name="connsiteY961" fmla="*/ 2513600 h 4567794"/>
              <a:gd name="connsiteX962" fmla="*/ 8977569 w 9972838"/>
              <a:gd name="connsiteY962" fmla="*/ 2500667 h 4567794"/>
              <a:gd name="connsiteX963" fmla="*/ 8959726 w 9972838"/>
              <a:gd name="connsiteY963" fmla="*/ 2514919 h 4567794"/>
              <a:gd name="connsiteX964" fmla="*/ 8736129 w 9972838"/>
              <a:gd name="connsiteY964" fmla="*/ 2619102 h 4567794"/>
              <a:gd name="connsiteX965" fmla="*/ 8631786 w 9972838"/>
              <a:gd name="connsiteY965" fmla="*/ 2782815 h 4567794"/>
              <a:gd name="connsiteX966" fmla="*/ 8497624 w 9972838"/>
              <a:gd name="connsiteY966" fmla="*/ 2827464 h 4567794"/>
              <a:gd name="connsiteX967" fmla="*/ 8467812 w 9972838"/>
              <a:gd name="connsiteY967" fmla="*/ 2812582 h 4567794"/>
              <a:gd name="connsiteX968" fmla="*/ 8468499 w 9972838"/>
              <a:gd name="connsiteY968" fmla="*/ 2811216 h 4567794"/>
              <a:gd name="connsiteX969" fmla="*/ 8467812 w 9972838"/>
              <a:gd name="connsiteY969" fmla="*/ 2810872 h 4567794"/>
              <a:gd name="connsiteX970" fmla="*/ 8482718 w 9972838"/>
              <a:gd name="connsiteY970" fmla="*/ 2781150 h 4567794"/>
              <a:gd name="connsiteX971" fmla="*/ 8587065 w 9972838"/>
              <a:gd name="connsiteY971" fmla="*/ 2706843 h 4567794"/>
              <a:gd name="connsiteX972" fmla="*/ 8639237 w 9972838"/>
              <a:gd name="connsiteY972" fmla="*/ 2634388 h 4567794"/>
              <a:gd name="connsiteX973" fmla="*/ 8691225 w 9972838"/>
              <a:gd name="connsiteY973" fmla="*/ 2573305 h 4567794"/>
              <a:gd name="connsiteX974" fmla="*/ 8682093 w 9972838"/>
              <a:gd name="connsiteY974" fmla="*/ 2516777 h 4567794"/>
              <a:gd name="connsiteX975" fmla="*/ 8682251 w 9972838"/>
              <a:gd name="connsiteY975" fmla="*/ 2516474 h 4567794"/>
              <a:gd name="connsiteX976" fmla="*/ 8682093 w 9972838"/>
              <a:gd name="connsiteY976" fmla="*/ 2515493 h 4567794"/>
              <a:gd name="connsiteX977" fmla="*/ 8706317 w 9972838"/>
              <a:gd name="connsiteY977" fmla="*/ 2469053 h 4567794"/>
              <a:gd name="connsiteX978" fmla="*/ 8915008 w 9972838"/>
              <a:gd name="connsiteY978" fmla="*/ 2082642 h 4567794"/>
              <a:gd name="connsiteX979" fmla="*/ 9093884 w 9972838"/>
              <a:gd name="connsiteY979" fmla="*/ 1800270 h 4567794"/>
              <a:gd name="connsiteX980" fmla="*/ 9198230 w 9972838"/>
              <a:gd name="connsiteY980" fmla="*/ 1666514 h 4567794"/>
              <a:gd name="connsiteX981" fmla="*/ 9278352 w 9972838"/>
              <a:gd name="connsiteY981" fmla="*/ 1642363 h 4567794"/>
              <a:gd name="connsiteX982" fmla="*/ 9347294 w 9972838"/>
              <a:gd name="connsiteY982" fmla="*/ 1696236 h 4567794"/>
              <a:gd name="connsiteX983" fmla="*/ 9406922 w 9972838"/>
              <a:gd name="connsiteY983" fmla="*/ 1696236 h 4567794"/>
              <a:gd name="connsiteX984" fmla="*/ 9423064 w 9972838"/>
              <a:gd name="connsiteY984" fmla="*/ 1710574 h 4567794"/>
              <a:gd name="connsiteX985" fmla="*/ 9426891 w 9972838"/>
              <a:gd name="connsiteY985" fmla="*/ 1701138 h 4567794"/>
              <a:gd name="connsiteX986" fmla="*/ 9466019 w 9972838"/>
              <a:gd name="connsiteY986" fmla="*/ 1639834 h 4567794"/>
              <a:gd name="connsiteX987" fmla="*/ 9540552 w 9972838"/>
              <a:gd name="connsiteY987" fmla="*/ 1535801 h 4567794"/>
              <a:gd name="connsiteX988" fmla="*/ 9544187 w 9972838"/>
              <a:gd name="connsiteY988" fmla="*/ 1497728 h 4567794"/>
              <a:gd name="connsiteX989" fmla="*/ 9525647 w 9972838"/>
              <a:gd name="connsiteY989" fmla="*/ 1447739 h 4567794"/>
              <a:gd name="connsiteX990" fmla="*/ 9480925 w 9972838"/>
              <a:gd name="connsiteY990" fmla="*/ 1477505 h 4567794"/>
              <a:gd name="connsiteX991" fmla="*/ 9406394 w 9972838"/>
              <a:gd name="connsiteY991" fmla="*/ 1477505 h 4567794"/>
              <a:gd name="connsiteX992" fmla="*/ 9407217 w 9972838"/>
              <a:gd name="connsiteY992" fmla="*/ 1476891 h 4567794"/>
              <a:gd name="connsiteX993" fmla="*/ 9406394 w 9972838"/>
              <a:gd name="connsiteY993" fmla="*/ 1476352 h 4567794"/>
              <a:gd name="connsiteX994" fmla="*/ 9466019 w 9972838"/>
              <a:gd name="connsiteY994" fmla="*/ 1431766 h 4567794"/>
              <a:gd name="connsiteX995" fmla="*/ 9493968 w 9972838"/>
              <a:gd name="connsiteY995" fmla="*/ 1435482 h 4567794"/>
              <a:gd name="connsiteX996" fmla="*/ 9510352 w 9972838"/>
              <a:gd name="connsiteY996" fmla="*/ 1417331 h 4567794"/>
              <a:gd name="connsiteX997" fmla="*/ 9493968 w 9972838"/>
              <a:gd name="connsiteY997" fmla="*/ 1390069 h 4567794"/>
              <a:gd name="connsiteX998" fmla="*/ 9466019 w 9972838"/>
              <a:gd name="connsiteY998" fmla="*/ 1373322 h 4567794"/>
              <a:gd name="connsiteX999" fmla="*/ 9467036 w 9972838"/>
              <a:gd name="connsiteY999" fmla="*/ 1372929 h 4567794"/>
              <a:gd name="connsiteX1000" fmla="*/ 9466019 w 9972838"/>
              <a:gd name="connsiteY1000" fmla="*/ 1372319 h 4567794"/>
              <a:gd name="connsiteX1001" fmla="*/ 9508877 w 9972838"/>
              <a:gd name="connsiteY1001" fmla="*/ 1355600 h 4567794"/>
              <a:gd name="connsiteX1002" fmla="*/ 9540299 w 9972838"/>
              <a:gd name="connsiteY1002" fmla="*/ 1327958 h 4567794"/>
              <a:gd name="connsiteX1003" fmla="*/ 9527508 w 9972838"/>
              <a:gd name="connsiteY1003" fmla="*/ 1291469 h 4567794"/>
              <a:gd name="connsiteX1004" fmla="*/ 9525647 w 9972838"/>
              <a:gd name="connsiteY1004" fmla="*/ 1254260 h 4567794"/>
              <a:gd name="connsiteX1005" fmla="*/ 9510740 w 9972838"/>
              <a:gd name="connsiteY1005" fmla="*/ 1239377 h 4567794"/>
              <a:gd name="connsiteX1006" fmla="*/ 9421300 w 9972838"/>
              <a:gd name="connsiteY1006" fmla="*/ 1343555 h 4567794"/>
              <a:gd name="connsiteX1007" fmla="*/ 9391488 w 9972838"/>
              <a:gd name="connsiteY1007" fmla="*/ 1388205 h 4567794"/>
              <a:gd name="connsiteX1008" fmla="*/ 9357947 w 9972838"/>
              <a:gd name="connsiteY1008" fmla="*/ 1377043 h 4567794"/>
              <a:gd name="connsiteX1009" fmla="*/ 9346888 w 9972838"/>
              <a:gd name="connsiteY1009" fmla="*/ 1388088 h 4567794"/>
              <a:gd name="connsiteX1010" fmla="*/ 9350495 w 9972838"/>
              <a:gd name="connsiteY1010" fmla="*/ 1415047 h 4567794"/>
              <a:gd name="connsiteX1011" fmla="*/ 9376583 w 9972838"/>
              <a:gd name="connsiteY1011" fmla="*/ 1431766 h 4567794"/>
              <a:gd name="connsiteX1012" fmla="*/ 9375497 w 9972838"/>
              <a:gd name="connsiteY1012" fmla="*/ 1432164 h 4567794"/>
              <a:gd name="connsiteX1013" fmla="*/ 9376583 w 9972838"/>
              <a:gd name="connsiteY1013" fmla="*/ 1432856 h 4567794"/>
              <a:gd name="connsiteX1014" fmla="*/ 9320684 w 9972838"/>
              <a:gd name="connsiteY1014" fmla="*/ 1453323 h 4567794"/>
              <a:gd name="connsiteX1015" fmla="*/ 9305779 w 9972838"/>
              <a:gd name="connsiteY1015" fmla="*/ 1467980 h 4567794"/>
              <a:gd name="connsiteX1016" fmla="*/ 9331861 w 9972838"/>
              <a:gd name="connsiteY1016" fmla="*/ 1506074 h 4567794"/>
              <a:gd name="connsiteX1017" fmla="*/ 9339315 w 9972838"/>
              <a:gd name="connsiteY1017" fmla="*/ 1535801 h 4567794"/>
              <a:gd name="connsiteX1018" fmla="*/ 9339057 w 9972838"/>
              <a:gd name="connsiteY1018" fmla="*/ 1536009 h 4567794"/>
              <a:gd name="connsiteX1019" fmla="*/ 9339315 w 9972838"/>
              <a:gd name="connsiteY1019" fmla="*/ 1537039 h 4567794"/>
              <a:gd name="connsiteX1020" fmla="*/ 9302048 w 9972838"/>
              <a:gd name="connsiteY1020" fmla="*/ 1566806 h 4567794"/>
              <a:gd name="connsiteX1021" fmla="*/ 9078450 w 9972838"/>
              <a:gd name="connsiteY1021" fmla="*/ 1670989 h 4567794"/>
              <a:gd name="connsiteX1022" fmla="*/ 8974108 w 9972838"/>
              <a:gd name="connsiteY1022" fmla="*/ 1834701 h 4567794"/>
              <a:gd name="connsiteX1023" fmla="*/ 8839946 w 9972838"/>
              <a:gd name="connsiteY1023" fmla="*/ 1879352 h 4567794"/>
              <a:gd name="connsiteX1024" fmla="*/ 8834983 w 9972838"/>
              <a:gd name="connsiteY1024" fmla="*/ 1877550 h 4567794"/>
              <a:gd name="connsiteX1025" fmla="*/ 8834132 w 9972838"/>
              <a:gd name="connsiteY1025" fmla="*/ 1890719 h 4567794"/>
              <a:gd name="connsiteX1026" fmla="*/ 8808045 w 9972838"/>
              <a:gd name="connsiteY1026" fmla="*/ 1937229 h 4567794"/>
              <a:gd name="connsiteX1027" fmla="*/ 8614265 w 9972838"/>
              <a:gd name="connsiteY1027" fmla="*/ 2249779 h 4567794"/>
              <a:gd name="connsiteX1028" fmla="*/ 8390666 w 9972838"/>
              <a:gd name="connsiteY1028" fmla="*/ 2621858 h 4567794"/>
              <a:gd name="connsiteX1029" fmla="*/ 8181973 w 9972838"/>
              <a:gd name="connsiteY1029" fmla="*/ 3053470 h 4567794"/>
              <a:gd name="connsiteX1030" fmla="*/ 8137257 w 9972838"/>
              <a:gd name="connsiteY1030" fmla="*/ 3083237 h 4567794"/>
              <a:gd name="connsiteX1031" fmla="*/ 8140240 w 9972838"/>
              <a:gd name="connsiteY1031" fmla="*/ 3083237 h 4567794"/>
              <a:gd name="connsiteX1032" fmla="*/ 8124447 w 9972838"/>
              <a:gd name="connsiteY1032" fmla="*/ 3140654 h 4567794"/>
              <a:gd name="connsiteX1033" fmla="*/ 8122563 w 9972838"/>
              <a:gd name="connsiteY1033" fmla="*/ 3139800 h 4567794"/>
              <a:gd name="connsiteX1034" fmla="*/ 8122350 w 9972838"/>
              <a:gd name="connsiteY1034" fmla="*/ 3140654 h 4567794"/>
              <a:gd name="connsiteX1035" fmla="*/ 8100641 w 9972838"/>
              <a:gd name="connsiteY1035" fmla="*/ 3129836 h 4567794"/>
              <a:gd name="connsiteX1036" fmla="*/ 8092869 w 9972838"/>
              <a:gd name="connsiteY1036" fmla="*/ 3126300 h 4567794"/>
              <a:gd name="connsiteX1037" fmla="*/ 8092914 w 9972838"/>
              <a:gd name="connsiteY1037" fmla="*/ 3125984 h 4567794"/>
              <a:gd name="connsiteX1038" fmla="*/ 8092535 w 9972838"/>
              <a:gd name="connsiteY1038" fmla="*/ 3125793 h 4567794"/>
              <a:gd name="connsiteX1039" fmla="*/ 8096263 w 9972838"/>
              <a:gd name="connsiteY1039" fmla="*/ 3097926 h 4567794"/>
              <a:gd name="connsiteX1040" fmla="*/ 8121780 w 9972838"/>
              <a:gd name="connsiteY1040" fmla="*/ 3081573 h 4567794"/>
              <a:gd name="connsiteX1041" fmla="*/ 8098126 w 9972838"/>
              <a:gd name="connsiteY1041" fmla="*/ 3012540 h 4567794"/>
              <a:gd name="connsiteX1042" fmla="*/ 8098633 w 9972838"/>
              <a:gd name="connsiteY1042" fmla="*/ 3012088 h 4567794"/>
              <a:gd name="connsiteX1043" fmla="*/ 8098126 w 9972838"/>
              <a:gd name="connsiteY1043" fmla="*/ 3010611 h 4567794"/>
              <a:gd name="connsiteX1044" fmla="*/ 8152163 w 9972838"/>
              <a:gd name="connsiteY1044" fmla="*/ 2962312 h 4567794"/>
              <a:gd name="connsiteX1045" fmla="*/ 8152163 w 9972838"/>
              <a:gd name="connsiteY1045" fmla="*/ 2949287 h 4567794"/>
              <a:gd name="connsiteX1046" fmla="*/ 8152163 w 9972838"/>
              <a:gd name="connsiteY1046" fmla="*/ 2947450 h 4567794"/>
              <a:gd name="connsiteX1047" fmla="*/ 8241603 w 9972838"/>
              <a:gd name="connsiteY1047" fmla="*/ 2828556 h 4567794"/>
              <a:gd name="connsiteX1048" fmla="*/ 8286321 w 9972838"/>
              <a:gd name="connsiteY1048" fmla="*/ 2769108 h 4567794"/>
              <a:gd name="connsiteX1049" fmla="*/ 8331037 w 9972838"/>
              <a:gd name="connsiteY1049" fmla="*/ 2635353 h 4567794"/>
              <a:gd name="connsiteX1050" fmla="*/ 8405572 w 9972838"/>
              <a:gd name="connsiteY1050" fmla="*/ 2531319 h 4567794"/>
              <a:gd name="connsiteX1051" fmla="*/ 8409207 w 9972838"/>
              <a:gd name="connsiteY1051" fmla="*/ 2493247 h 4567794"/>
              <a:gd name="connsiteX1052" fmla="*/ 8390666 w 9972838"/>
              <a:gd name="connsiteY1052" fmla="*/ 2443258 h 4567794"/>
              <a:gd name="connsiteX1053" fmla="*/ 8345944 w 9972838"/>
              <a:gd name="connsiteY1053" fmla="*/ 2473024 h 4567794"/>
              <a:gd name="connsiteX1054" fmla="*/ 8332202 w 9972838"/>
              <a:gd name="connsiteY1054" fmla="*/ 2496047 h 4567794"/>
              <a:gd name="connsiteX1055" fmla="*/ 8314531 w 9972838"/>
              <a:gd name="connsiteY1055" fmla="*/ 2500859 h 4567794"/>
              <a:gd name="connsiteX1056" fmla="*/ 8259208 w 9972838"/>
              <a:gd name="connsiteY1056" fmla="*/ 2585002 h 4567794"/>
              <a:gd name="connsiteX1057" fmla="*/ 8265476 w 9972838"/>
              <a:gd name="connsiteY1057" fmla="*/ 2583399 h 4567794"/>
              <a:gd name="connsiteX1058" fmla="*/ 8256504 w 9972838"/>
              <a:gd name="connsiteY1058" fmla="*/ 2621845 h 4567794"/>
              <a:gd name="connsiteX1059" fmla="*/ 8233177 w 9972838"/>
              <a:gd name="connsiteY1059" fmla="*/ 2641071 h 4567794"/>
              <a:gd name="connsiteX1060" fmla="*/ 8227889 w 9972838"/>
              <a:gd name="connsiteY1060" fmla="*/ 2641915 h 4567794"/>
              <a:gd name="connsiteX1061" fmla="*/ 8199467 w 9972838"/>
              <a:gd name="connsiteY1061" fmla="*/ 2695614 h 4567794"/>
              <a:gd name="connsiteX1062" fmla="*/ 8106227 w 9972838"/>
              <a:gd name="connsiteY1062" fmla="*/ 2902393 h 4567794"/>
              <a:gd name="connsiteX1063" fmla="*/ 8031633 w 9972838"/>
              <a:gd name="connsiteY1063" fmla="*/ 3051425 h 4567794"/>
              <a:gd name="connsiteX1064" fmla="*/ 8031633 w 9972838"/>
              <a:gd name="connsiteY1064" fmla="*/ 3066327 h 4567794"/>
              <a:gd name="connsiteX1065" fmla="*/ 8001794 w 9972838"/>
              <a:gd name="connsiteY1065" fmla="*/ 3170645 h 4567794"/>
              <a:gd name="connsiteX1066" fmla="*/ 7971955 w 9972838"/>
              <a:gd name="connsiteY1066" fmla="*/ 3215354 h 4567794"/>
              <a:gd name="connsiteX1067" fmla="*/ 7957041 w 9972838"/>
              <a:gd name="connsiteY1067" fmla="*/ 3274968 h 4567794"/>
              <a:gd name="connsiteX1068" fmla="*/ 8001794 w 9972838"/>
              <a:gd name="connsiteY1068" fmla="*/ 3245161 h 4567794"/>
              <a:gd name="connsiteX1069" fmla="*/ 8106227 w 9972838"/>
              <a:gd name="connsiteY1069" fmla="*/ 3215354 h 4567794"/>
              <a:gd name="connsiteX1070" fmla="*/ 8165901 w 9972838"/>
              <a:gd name="connsiteY1070" fmla="*/ 3215354 h 4567794"/>
              <a:gd name="connsiteX1071" fmla="*/ 8116017 w 9972838"/>
              <a:gd name="connsiteY1071" fmla="*/ 3288706 h 4567794"/>
              <a:gd name="connsiteX1072" fmla="*/ 8086773 w 9972838"/>
              <a:gd name="connsiteY1072" fmla="*/ 3322009 h 4567794"/>
              <a:gd name="connsiteX1073" fmla="*/ 8087193 w 9972838"/>
              <a:gd name="connsiteY1073" fmla="*/ 3338460 h 4567794"/>
              <a:gd name="connsiteX1074" fmla="*/ 8064685 w 9972838"/>
              <a:gd name="connsiteY1074" fmla="*/ 3442959 h 4567794"/>
              <a:gd name="connsiteX1075" fmla="*/ 8079689 w 9972838"/>
              <a:gd name="connsiteY1075" fmla="*/ 3472816 h 4567794"/>
              <a:gd name="connsiteX1076" fmla="*/ 8094695 w 9972838"/>
              <a:gd name="connsiteY1076" fmla="*/ 3487746 h 4567794"/>
              <a:gd name="connsiteX1077" fmla="*/ 8094695 w 9972838"/>
              <a:gd name="connsiteY1077" fmla="*/ 3517602 h 4567794"/>
              <a:gd name="connsiteX1078" fmla="*/ 8139716 w 9972838"/>
              <a:gd name="connsiteY1078" fmla="*/ 3502673 h 4567794"/>
              <a:gd name="connsiteX1079" fmla="*/ 8154725 w 9972838"/>
              <a:gd name="connsiteY1079" fmla="*/ 3487746 h 4567794"/>
              <a:gd name="connsiteX1080" fmla="*/ 8169731 w 9972838"/>
              <a:gd name="connsiteY1080" fmla="*/ 3532531 h 4567794"/>
              <a:gd name="connsiteX1081" fmla="*/ 8019663 w 9972838"/>
              <a:gd name="connsiteY1081" fmla="*/ 3577316 h 4567794"/>
              <a:gd name="connsiteX1082" fmla="*/ 7734529 w 9972838"/>
              <a:gd name="connsiteY1082" fmla="*/ 3442959 h 4567794"/>
              <a:gd name="connsiteX1083" fmla="*/ 7692323 w 9972838"/>
              <a:gd name="connsiteY1083" fmla="*/ 3396774 h 4567794"/>
              <a:gd name="connsiteX1084" fmla="*/ 7691544 w 9972838"/>
              <a:gd name="connsiteY1084" fmla="*/ 3388898 h 4567794"/>
              <a:gd name="connsiteX1085" fmla="*/ 7673583 w 9972838"/>
              <a:gd name="connsiteY1085" fmla="*/ 3379287 h 4567794"/>
              <a:gd name="connsiteX1086" fmla="*/ 7501555 w 9972838"/>
              <a:gd name="connsiteY1086" fmla="*/ 3278692 h 4567794"/>
              <a:gd name="connsiteX1087" fmla="*/ 7491041 w 9972838"/>
              <a:gd name="connsiteY1087" fmla="*/ 3248298 h 4567794"/>
              <a:gd name="connsiteX1088" fmla="*/ 7411467 w 9972838"/>
              <a:gd name="connsiteY1088" fmla="*/ 3370621 h 4567794"/>
              <a:gd name="connsiteX1089" fmla="*/ 7372187 w 9972838"/>
              <a:gd name="connsiteY1089" fmla="*/ 3441491 h 4567794"/>
              <a:gd name="connsiteX1090" fmla="*/ 7372531 w 9972838"/>
              <a:gd name="connsiteY1090" fmla="*/ 3454949 h 4567794"/>
              <a:gd name="connsiteX1091" fmla="*/ 7350023 w 9972838"/>
              <a:gd name="connsiteY1091" fmla="*/ 3559449 h 4567794"/>
              <a:gd name="connsiteX1092" fmla="*/ 7365027 w 9972838"/>
              <a:gd name="connsiteY1092" fmla="*/ 3589306 h 4567794"/>
              <a:gd name="connsiteX1093" fmla="*/ 7380033 w 9972838"/>
              <a:gd name="connsiteY1093" fmla="*/ 3604235 h 4567794"/>
              <a:gd name="connsiteX1094" fmla="*/ 7380033 w 9972838"/>
              <a:gd name="connsiteY1094" fmla="*/ 3634092 h 4567794"/>
              <a:gd name="connsiteX1095" fmla="*/ 7425053 w 9972838"/>
              <a:gd name="connsiteY1095" fmla="*/ 3619163 h 4567794"/>
              <a:gd name="connsiteX1096" fmla="*/ 7440063 w 9972838"/>
              <a:gd name="connsiteY1096" fmla="*/ 3604235 h 4567794"/>
              <a:gd name="connsiteX1097" fmla="*/ 7455069 w 9972838"/>
              <a:gd name="connsiteY1097" fmla="*/ 3649021 h 4567794"/>
              <a:gd name="connsiteX1098" fmla="*/ 7305002 w 9972838"/>
              <a:gd name="connsiteY1098" fmla="*/ 3693806 h 4567794"/>
              <a:gd name="connsiteX1099" fmla="*/ 7252658 w 9972838"/>
              <a:gd name="connsiteY1099" fmla="*/ 3665500 h 4567794"/>
              <a:gd name="connsiteX1100" fmla="*/ 7195324 w 9972838"/>
              <a:gd name="connsiteY1100" fmla="*/ 3778050 h 4567794"/>
              <a:gd name="connsiteX1101" fmla="*/ 7096567 w 9972838"/>
              <a:gd name="connsiteY1101" fmla="*/ 3993856 h 4567794"/>
              <a:gd name="connsiteX1102" fmla="*/ 7051850 w 9972838"/>
              <a:gd name="connsiteY1102" fmla="*/ 4023622 h 4567794"/>
              <a:gd name="connsiteX1103" fmla="*/ 7054833 w 9972838"/>
              <a:gd name="connsiteY1103" fmla="*/ 4023622 h 4567794"/>
              <a:gd name="connsiteX1104" fmla="*/ 7039043 w 9972838"/>
              <a:gd name="connsiteY1104" fmla="*/ 4081040 h 4567794"/>
              <a:gd name="connsiteX1105" fmla="*/ 7037156 w 9972838"/>
              <a:gd name="connsiteY1105" fmla="*/ 4080185 h 4567794"/>
              <a:gd name="connsiteX1106" fmla="*/ 7036945 w 9972838"/>
              <a:gd name="connsiteY1106" fmla="*/ 4081040 h 4567794"/>
              <a:gd name="connsiteX1107" fmla="*/ 7015234 w 9972838"/>
              <a:gd name="connsiteY1107" fmla="*/ 4070222 h 4567794"/>
              <a:gd name="connsiteX1108" fmla="*/ 7007463 w 9972838"/>
              <a:gd name="connsiteY1108" fmla="*/ 4066686 h 4567794"/>
              <a:gd name="connsiteX1109" fmla="*/ 7007507 w 9972838"/>
              <a:gd name="connsiteY1109" fmla="*/ 4066369 h 4567794"/>
              <a:gd name="connsiteX1110" fmla="*/ 7007128 w 9972838"/>
              <a:gd name="connsiteY1110" fmla="*/ 4066178 h 4567794"/>
              <a:gd name="connsiteX1111" fmla="*/ 7010857 w 9972838"/>
              <a:gd name="connsiteY1111" fmla="*/ 4038311 h 4567794"/>
              <a:gd name="connsiteX1112" fmla="*/ 7036375 w 9972838"/>
              <a:gd name="connsiteY1112" fmla="*/ 4021958 h 4567794"/>
              <a:gd name="connsiteX1113" fmla="*/ 7012721 w 9972838"/>
              <a:gd name="connsiteY1113" fmla="*/ 3952926 h 4567794"/>
              <a:gd name="connsiteX1114" fmla="*/ 7013227 w 9972838"/>
              <a:gd name="connsiteY1114" fmla="*/ 3952474 h 4567794"/>
              <a:gd name="connsiteX1115" fmla="*/ 7012721 w 9972838"/>
              <a:gd name="connsiteY1115" fmla="*/ 3950996 h 4567794"/>
              <a:gd name="connsiteX1116" fmla="*/ 7066757 w 9972838"/>
              <a:gd name="connsiteY1116" fmla="*/ 3902697 h 4567794"/>
              <a:gd name="connsiteX1117" fmla="*/ 7066757 w 9972838"/>
              <a:gd name="connsiteY1117" fmla="*/ 3889672 h 4567794"/>
              <a:gd name="connsiteX1118" fmla="*/ 7066757 w 9972838"/>
              <a:gd name="connsiteY1118" fmla="*/ 3887836 h 4567794"/>
              <a:gd name="connsiteX1119" fmla="*/ 7156195 w 9972838"/>
              <a:gd name="connsiteY1119" fmla="*/ 3768941 h 4567794"/>
              <a:gd name="connsiteX1120" fmla="*/ 7200914 w 9972838"/>
              <a:gd name="connsiteY1120" fmla="*/ 3709494 h 4567794"/>
              <a:gd name="connsiteX1121" fmla="*/ 7193227 w 9972838"/>
              <a:gd name="connsiteY1121" fmla="*/ 3669785 h 4567794"/>
              <a:gd name="connsiteX1122" fmla="*/ 7203925 w 9972838"/>
              <a:gd name="connsiteY1122" fmla="*/ 3643403 h 4567794"/>
              <a:gd name="connsiteX1123" fmla="*/ 7162435 w 9972838"/>
              <a:gd name="connsiteY1123" fmla="*/ 3626627 h 4567794"/>
              <a:gd name="connsiteX1124" fmla="*/ 7089744 w 9972838"/>
              <a:gd name="connsiteY1124" fmla="*/ 3597236 h 4567794"/>
              <a:gd name="connsiteX1125" fmla="*/ 7041901 w 9972838"/>
              <a:gd name="connsiteY1125" fmla="*/ 3571365 h 4567794"/>
              <a:gd name="connsiteX1126" fmla="*/ 7026489 w 9972838"/>
              <a:gd name="connsiteY1126" fmla="*/ 3578615 h 4567794"/>
              <a:gd name="connsiteX1127" fmla="*/ 6985231 w 9972838"/>
              <a:gd name="connsiteY1127" fmla="*/ 3574191 h 4567794"/>
              <a:gd name="connsiteX1128" fmla="*/ 6953183 w 9972838"/>
              <a:gd name="connsiteY1128" fmla="*/ 3550923 h 4567794"/>
              <a:gd name="connsiteX1129" fmla="*/ 6911868 w 9972838"/>
              <a:gd name="connsiteY1129" fmla="*/ 3578057 h 4567794"/>
              <a:gd name="connsiteX1130" fmla="*/ 6858064 w 9972838"/>
              <a:gd name="connsiteY1130" fmla="*/ 3606893 h 4567794"/>
              <a:gd name="connsiteX1131" fmla="*/ 6753723 w 9972838"/>
              <a:gd name="connsiteY1131" fmla="*/ 3770605 h 4567794"/>
              <a:gd name="connsiteX1132" fmla="*/ 6619560 w 9972838"/>
              <a:gd name="connsiteY1132" fmla="*/ 3815255 h 4567794"/>
              <a:gd name="connsiteX1133" fmla="*/ 6589749 w 9972838"/>
              <a:gd name="connsiteY1133" fmla="*/ 3800372 h 4567794"/>
              <a:gd name="connsiteX1134" fmla="*/ 6590436 w 9972838"/>
              <a:gd name="connsiteY1134" fmla="*/ 3799007 h 4567794"/>
              <a:gd name="connsiteX1135" fmla="*/ 6589749 w 9972838"/>
              <a:gd name="connsiteY1135" fmla="*/ 3798663 h 4567794"/>
              <a:gd name="connsiteX1136" fmla="*/ 6604654 w 9972838"/>
              <a:gd name="connsiteY1136" fmla="*/ 3768941 h 4567794"/>
              <a:gd name="connsiteX1137" fmla="*/ 6709000 w 9972838"/>
              <a:gd name="connsiteY1137" fmla="*/ 3694633 h 4567794"/>
              <a:gd name="connsiteX1138" fmla="*/ 6761173 w 9972838"/>
              <a:gd name="connsiteY1138" fmla="*/ 3622179 h 4567794"/>
              <a:gd name="connsiteX1139" fmla="*/ 6813161 w 9972838"/>
              <a:gd name="connsiteY1139" fmla="*/ 3561094 h 4567794"/>
              <a:gd name="connsiteX1140" fmla="*/ 6804028 w 9972838"/>
              <a:gd name="connsiteY1140" fmla="*/ 3504568 h 4567794"/>
              <a:gd name="connsiteX1141" fmla="*/ 6804187 w 9972838"/>
              <a:gd name="connsiteY1141" fmla="*/ 3504264 h 4567794"/>
              <a:gd name="connsiteX1142" fmla="*/ 6804028 w 9972838"/>
              <a:gd name="connsiteY1142" fmla="*/ 3503284 h 4567794"/>
              <a:gd name="connsiteX1143" fmla="*/ 6818289 w 9972838"/>
              <a:gd name="connsiteY1143" fmla="*/ 3475946 h 4567794"/>
              <a:gd name="connsiteX1144" fmla="*/ 6783132 w 9972838"/>
              <a:gd name="connsiteY1144" fmla="*/ 3465679 h 4567794"/>
              <a:gd name="connsiteX1145" fmla="*/ 6733715 w 9972838"/>
              <a:gd name="connsiteY1145" fmla="*/ 3453804 h 4567794"/>
              <a:gd name="connsiteX1146" fmla="*/ 6664249 w 9972838"/>
              <a:gd name="connsiteY1146" fmla="*/ 3414915 h 4567794"/>
              <a:gd name="connsiteX1147" fmla="*/ 6646260 w 9972838"/>
              <a:gd name="connsiteY1147" fmla="*/ 3397366 h 4567794"/>
              <a:gd name="connsiteX1148" fmla="*/ 6608697 w 9972838"/>
              <a:gd name="connsiteY1148" fmla="*/ 3452600 h 4567794"/>
              <a:gd name="connsiteX1149" fmla="*/ 6419883 w 9972838"/>
              <a:gd name="connsiteY1149" fmla="*/ 3647501 h 4567794"/>
              <a:gd name="connsiteX1150" fmla="*/ 6360209 w 9972838"/>
              <a:gd name="connsiteY1150" fmla="*/ 3662407 h 4567794"/>
              <a:gd name="connsiteX1151" fmla="*/ 6349019 w 9972838"/>
              <a:gd name="connsiteY1151" fmla="*/ 3653093 h 4567794"/>
              <a:gd name="connsiteX1152" fmla="*/ 6340987 w 9972838"/>
              <a:gd name="connsiteY1152" fmla="*/ 3646405 h 4567794"/>
              <a:gd name="connsiteX1153" fmla="*/ 6321402 w 9972838"/>
              <a:gd name="connsiteY1153" fmla="*/ 3683405 h 4567794"/>
              <a:gd name="connsiteX1154" fmla="*/ 6228163 w 9972838"/>
              <a:gd name="connsiteY1154" fmla="*/ 3890182 h 4567794"/>
              <a:gd name="connsiteX1155" fmla="*/ 6153570 w 9972838"/>
              <a:gd name="connsiteY1155" fmla="*/ 4039216 h 4567794"/>
              <a:gd name="connsiteX1156" fmla="*/ 6153570 w 9972838"/>
              <a:gd name="connsiteY1156" fmla="*/ 4054117 h 4567794"/>
              <a:gd name="connsiteX1157" fmla="*/ 6123732 w 9972838"/>
              <a:gd name="connsiteY1157" fmla="*/ 4158436 h 4567794"/>
              <a:gd name="connsiteX1158" fmla="*/ 6093892 w 9972838"/>
              <a:gd name="connsiteY1158" fmla="*/ 4203144 h 4567794"/>
              <a:gd name="connsiteX1159" fmla="*/ 6078977 w 9972838"/>
              <a:gd name="connsiteY1159" fmla="*/ 4262759 h 4567794"/>
              <a:gd name="connsiteX1160" fmla="*/ 6123732 w 9972838"/>
              <a:gd name="connsiteY1160" fmla="*/ 4232952 h 4567794"/>
              <a:gd name="connsiteX1161" fmla="*/ 6228163 w 9972838"/>
              <a:gd name="connsiteY1161" fmla="*/ 4203144 h 4567794"/>
              <a:gd name="connsiteX1162" fmla="*/ 6287837 w 9972838"/>
              <a:gd name="connsiteY1162" fmla="*/ 4203144 h 4567794"/>
              <a:gd name="connsiteX1163" fmla="*/ 6049138 w 9972838"/>
              <a:gd name="connsiteY1163" fmla="*/ 4471397 h 4567794"/>
              <a:gd name="connsiteX1164" fmla="*/ 5989464 w 9972838"/>
              <a:gd name="connsiteY1164" fmla="*/ 4486303 h 4567794"/>
              <a:gd name="connsiteX1165" fmla="*/ 5899953 w 9972838"/>
              <a:gd name="connsiteY1165" fmla="*/ 4411787 h 4567794"/>
              <a:gd name="connsiteX1166" fmla="*/ 5795520 w 9972838"/>
              <a:gd name="connsiteY1166" fmla="*/ 4367078 h 4567794"/>
              <a:gd name="connsiteX1167" fmla="*/ 5601580 w 9972838"/>
              <a:gd name="connsiteY1167" fmla="*/ 4203144 h 4567794"/>
              <a:gd name="connsiteX1168" fmla="*/ 5586660 w 9972838"/>
              <a:gd name="connsiteY1168" fmla="*/ 4158436 h 4567794"/>
              <a:gd name="connsiteX1169" fmla="*/ 5541907 w 9972838"/>
              <a:gd name="connsiteY1169" fmla="*/ 4188243 h 4567794"/>
              <a:gd name="connsiteX1170" fmla="*/ 5243530 w 9972838"/>
              <a:gd name="connsiteY1170" fmla="*/ 4501205 h 4567794"/>
              <a:gd name="connsiteX1171" fmla="*/ 5064509 w 9972838"/>
              <a:gd name="connsiteY1171" fmla="*/ 4531012 h 4567794"/>
              <a:gd name="connsiteX1172" fmla="*/ 4855650 w 9972838"/>
              <a:gd name="connsiteY1172" fmla="*/ 4441594 h 4567794"/>
              <a:gd name="connsiteX1173" fmla="*/ 4706459 w 9972838"/>
              <a:gd name="connsiteY1173" fmla="*/ 4232952 h 4567794"/>
              <a:gd name="connsiteX1174" fmla="*/ 4766138 w 9972838"/>
              <a:gd name="connsiteY1174" fmla="*/ 4203144 h 4567794"/>
              <a:gd name="connsiteX1175" fmla="*/ 4795972 w 9972838"/>
              <a:gd name="connsiteY1175" fmla="*/ 4218050 h 4567794"/>
              <a:gd name="connsiteX1176" fmla="*/ 4810891 w 9972838"/>
              <a:gd name="connsiteY1176" fmla="*/ 4218050 h 4567794"/>
              <a:gd name="connsiteX1177" fmla="*/ 4795972 w 9972838"/>
              <a:gd name="connsiteY1177" fmla="*/ 4247854 h 4567794"/>
              <a:gd name="connsiteX1178" fmla="*/ 4766138 w 9972838"/>
              <a:gd name="connsiteY1178" fmla="*/ 4277661 h 4567794"/>
              <a:gd name="connsiteX1179" fmla="*/ 4810891 w 9972838"/>
              <a:gd name="connsiteY1179" fmla="*/ 4277661 h 4567794"/>
              <a:gd name="connsiteX1180" fmla="*/ 5064509 w 9972838"/>
              <a:gd name="connsiteY1180" fmla="*/ 4009408 h 4567794"/>
              <a:gd name="connsiteX1181" fmla="*/ 5064509 w 9972838"/>
              <a:gd name="connsiteY1181" fmla="*/ 4039216 h 4567794"/>
              <a:gd name="connsiteX1182" fmla="*/ 5094344 w 9972838"/>
              <a:gd name="connsiteY1182" fmla="*/ 4024309 h 4567794"/>
              <a:gd name="connsiteX1183" fmla="*/ 5154021 w 9972838"/>
              <a:gd name="connsiteY1183" fmla="*/ 3979601 h 4567794"/>
              <a:gd name="connsiteX1184" fmla="*/ 5258449 w 9972838"/>
              <a:gd name="connsiteY1184" fmla="*/ 3830573 h 4567794"/>
              <a:gd name="connsiteX1185" fmla="*/ 5198775 w 9972838"/>
              <a:gd name="connsiteY1185" fmla="*/ 3785863 h 4567794"/>
              <a:gd name="connsiteX1186" fmla="*/ 5347962 w 9972838"/>
              <a:gd name="connsiteY1186" fmla="*/ 3666638 h 4567794"/>
              <a:gd name="connsiteX1187" fmla="*/ 5355537 w 9972838"/>
              <a:gd name="connsiteY1187" fmla="*/ 3656624 h 4567794"/>
              <a:gd name="connsiteX1188" fmla="*/ 5330824 w 9972838"/>
              <a:gd name="connsiteY1188" fmla="*/ 3645639 h 4567794"/>
              <a:gd name="connsiteX1189" fmla="*/ 5320900 w 9972838"/>
              <a:gd name="connsiteY1189" fmla="*/ 3642741 h 4567794"/>
              <a:gd name="connsiteX1190" fmla="*/ 5323197 w 9972838"/>
              <a:gd name="connsiteY1190" fmla="*/ 3652880 h 4567794"/>
              <a:gd name="connsiteX1191" fmla="*/ 5305030 w 9972838"/>
              <a:gd name="connsiteY1191" fmla="*/ 3679121 h 4567794"/>
              <a:gd name="connsiteX1192" fmla="*/ 5276321 w 9972838"/>
              <a:gd name="connsiteY1192" fmla="*/ 3722185 h 4567794"/>
              <a:gd name="connsiteX1193" fmla="*/ 5261968 w 9972838"/>
              <a:gd name="connsiteY1193" fmla="*/ 3679121 h 4567794"/>
              <a:gd name="connsiteX1194" fmla="*/ 5260172 w 9972838"/>
              <a:gd name="connsiteY1194" fmla="*/ 3664766 h 4567794"/>
              <a:gd name="connsiteX1195" fmla="*/ 5260172 w 9972838"/>
              <a:gd name="connsiteY1195" fmla="*/ 3664763 h 4567794"/>
              <a:gd name="connsiteX1196" fmla="*/ 5290677 w 9972838"/>
              <a:gd name="connsiteY1196" fmla="*/ 3650408 h 4567794"/>
              <a:gd name="connsiteX1197" fmla="*/ 5299647 w 9972838"/>
              <a:gd name="connsiteY1197" fmla="*/ 3643232 h 4567794"/>
              <a:gd name="connsiteX1198" fmla="*/ 5309862 w 9972838"/>
              <a:gd name="connsiteY1198" fmla="*/ 3639517 h 4567794"/>
              <a:gd name="connsiteX1199" fmla="*/ 5275813 w 9972838"/>
              <a:gd name="connsiteY1199" fmla="*/ 3629573 h 4567794"/>
              <a:gd name="connsiteX1200" fmla="*/ 5245560 w 9972838"/>
              <a:gd name="connsiteY1200" fmla="*/ 3622304 h 4567794"/>
              <a:gd name="connsiteX1201" fmla="*/ 5209985 w 9972838"/>
              <a:gd name="connsiteY1201" fmla="*/ 3662817 h 4567794"/>
              <a:gd name="connsiteX1202" fmla="*/ 5079447 w 9972838"/>
              <a:gd name="connsiteY1202" fmla="*/ 3791353 h 4567794"/>
              <a:gd name="connsiteX1203" fmla="*/ 5019772 w 9972838"/>
              <a:gd name="connsiteY1203" fmla="*/ 3806259 h 4567794"/>
              <a:gd name="connsiteX1204" fmla="*/ 5008583 w 9972838"/>
              <a:gd name="connsiteY1204" fmla="*/ 3796945 h 4567794"/>
              <a:gd name="connsiteX1205" fmla="*/ 5004212 w 9972838"/>
              <a:gd name="connsiteY1205" fmla="*/ 3793305 h 4567794"/>
              <a:gd name="connsiteX1206" fmla="*/ 5005300 w 9972838"/>
              <a:gd name="connsiteY1206" fmla="*/ 3799836 h 4567794"/>
              <a:gd name="connsiteX1207" fmla="*/ 5034670 w 9972838"/>
              <a:gd name="connsiteY1207" fmla="*/ 3830573 h 4567794"/>
              <a:gd name="connsiteX1208" fmla="*/ 4930243 w 9972838"/>
              <a:gd name="connsiteY1208" fmla="*/ 3875281 h 4567794"/>
              <a:gd name="connsiteX1209" fmla="*/ 4751218 w 9972838"/>
              <a:gd name="connsiteY1209" fmla="*/ 4039216 h 4567794"/>
              <a:gd name="connsiteX1210" fmla="*/ 4676626 w 9972838"/>
              <a:gd name="connsiteY1210" fmla="*/ 4143535 h 4567794"/>
              <a:gd name="connsiteX1211" fmla="*/ 4452848 w 9972838"/>
              <a:gd name="connsiteY1211" fmla="*/ 4426688 h 4567794"/>
              <a:gd name="connsiteX1212" fmla="*/ 4333495 w 9972838"/>
              <a:gd name="connsiteY1212" fmla="*/ 4531012 h 4567794"/>
              <a:gd name="connsiteX1213" fmla="*/ 4184308 w 9972838"/>
              <a:gd name="connsiteY1213" fmla="*/ 4501205 h 4567794"/>
              <a:gd name="connsiteX1214" fmla="*/ 4005288 w 9972838"/>
              <a:gd name="connsiteY1214" fmla="*/ 4411787 h 4567794"/>
              <a:gd name="connsiteX1215" fmla="*/ 3871017 w 9972838"/>
              <a:gd name="connsiteY1215" fmla="*/ 4262759 h 4567794"/>
              <a:gd name="connsiteX1216" fmla="*/ 3856102 w 9972838"/>
              <a:gd name="connsiteY1216" fmla="*/ 4218050 h 4567794"/>
              <a:gd name="connsiteX1217" fmla="*/ 3826264 w 9972838"/>
              <a:gd name="connsiteY1217" fmla="*/ 4247854 h 4567794"/>
              <a:gd name="connsiteX1218" fmla="*/ 3677076 w 9972838"/>
              <a:gd name="connsiteY1218" fmla="*/ 4396886 h 4567794"/>
              <a:gd name="connsiteX1219" fmla="*/ 3408539 w 9972838"/>
              <a:gd name="connsiteY1219" fmla="*/ 4471397 h 4567794"/>
              <a:gd name="connsiteX1220" fmla="*/ 3199680 w 9972838"/>
              <a:gd name="connsiteY1220" fmla="*/ 4381980 h 4567794"/>
              <a:gd name="connsiteX1221" fmla="*/ 3050495 w 9972838"/>
              <a:gd name="connsiteY1221" fmla="*/ 4292562 h 4567794"/>
              <a:gd name="connsiteX1222" fmla="*/ 3065415 w 9972838"/>
              <a:gd name="connsiteY1222" fmla="*/ 4113727 h 4567794"/>
              <a:gd name="connsiteX1223" fmla="*/ 3080330 w 9972838"/>
              <a:gd name="connsiteY1223" fmla="*/ 4083924 h 4567794"/>
              <a:gd name="connsiteX1224" fmla="*/ 3065415 w 9972838"/>
              <a:gd name="connsiteY1224" fmla="*/ 3994506 h 4567794"/>
              <a:gd name="connsiteX1225" fmla="*/ 2990821 w 9972838"/>
              <a:gd name="connsiteY1225" fmla="*/ 4024309 h 4567794"/>
              <a:gd name="connsiteX1226" fmla="*/ 2781958 w 9972838"/>
              <a:gd name="connsiteY1226" fmla="*/ 4262759 h 4567794"/>
              <a:gd name="connsiteX1227" fmla="*/ 2662610 w 9972838"/>
              <a:gd name="connsiteY1227" fmla="*/ 4367078 h 4567794"/>
              <a:gd name="connsiteX1228" fmla="*/ 2438833 w 9972838"/>
              <a:gd name="connsiteY1228" fmla="*/ 4352176 h 4567794"/>
              <a:gd name="connsiteX1229" fmla="*/ 2259807 w 9972838"/>
              <a:gd name="connsiteY1229" fmla="*/ 4292562 h 4567794"/>
              <a:gd name="connsiteX1230" fmla="*/ 2155375 w 9972838"/>
              <a:gd name="connsiteY1230" fmla="*/ 4083924 h 4567794"/>
              <a:gd name="connsiteX1231" fmla="*/ 2185214 w 9972838"/>
              <a:gd name="connsiteY1231" fmla="*/ 3905084 h 4567794"/>
              <a:gd name="connsiteX1232" fmla="*/ 2229972 w 9972838"/>
              <a:gd name="connsiteY1232" fmla="*/ 3845475 h 4567794"/>
              <a:gd name="connsiteX1233" fmla="*/ 2274727 w 9972838"/>
              <a:gd name="connsiteY1233" fmla="*/ 3800765 h 4567794"/>
              <a:gd name="connsiteX1234" fmla="*/ 2289646 w 9972838"/>
              <a:gd name="connsiteY1234" fmla="*/ 3785863 h 4567794"/>
              <a:gd name="connsiteX1235" fmla="*/ 2304566 w 9972838"/>
              <a:gd name="connsiteY1235" fmla="*/ 3770957 h 4567794"/>
              <a:gd name="connsiteX1236" fmla="*/ 2423914 w 9972838"/>
              <a:gd name="connsiteY1236" fmla="*/ 3815667 h 4567794"/>
              <a:gd name="connsiteX1237" fmla="*/ 2438833 w 9972838"/>
              <a:gd name="connsiteY1237" fmla="*/ 3845475 h 4567794"/>
              <a:gd name="connsiteX1238" fmla="*/ 2394074 w 9972838"/>
              <a:gd name="connsiteY1238" fmla="*/ 3860376 h 4567794"/>
              <a:gd name="connsiteX1239" fmla="*/ 2349319 w 9972838"/>
              <a:gd name="connsiteY1239" fmla="*/ 3905084 h 4567794"/>
              <a:gd name="connsiteX1240" fmla="*/ 2259807 w 9972838"/>
              <a:gd name="connsiteY1240" fmla="*/ 4009408 h 4567794"/>
              <a:gd name="connsiteX1241" fmla="*/ 2304566 w 9972838"/>
              <a:gd name="connsiteY1241" fmla="*/ 4083924 h 4567794"/>
              <a:gd name="connsiteX1242" fmla="*/ 2319481 w 9972838"/>
              <a:gd name="connsiteY1242" fmla="*/ 4098825 h 4567794"/>
              <a:gd name="connsiteX1243" fmla="*/ 2349319 w 9972838"/>
              <a:gd name="connsiteY1243" fmla="*/ 4083924 h 4567794"/>
              <a:gd name="connsiteX1244" fmla="*/ 2394074 w 9972838"/>
              <a:gd name="connsiteY1244" fmla="*/ 4024309 h 4567794"/>
              <a:gd name="connsiteX1245" fmla="*/ 2394074 w 9972838"/>
              <a:gd name="connsiteY1245" fmla="*/ 3964699 h 4567794"/>
              <a:gd name="connsiteX1246" fmla="*/ 2379159 w 9972838"/>
              <a:gd name="connsiteY1246" fmla="*/ 3934892 h 4567794"/>
              <a:gd name="connsiteX1247" fmla="*/ 2408992 w 9972838"/>
              <a:gd name="connsiteY1247" fmla="*/ 3934892 h 4567794"/>
              <a:gd name="connsiteX1248" fmla="*/ 2588017 w 9972838"/>
              <a:gd name="connsiteY1248" fmla="*/ 3919990 h 4567794"/>
              <a:gd name="connsiteX1249" fmla="*/ 2558646 w 9972838"/>
              <a:gd name="connsiteY1249" fmla="*/ 3829873 h 4567794"/>
              <a:gd name="connsiteX1250" fmla="*/ 2558909 w 9972838"/>
              <a:gd name="connsiteY1250" fmla="*/ 3829677 h 4567794"/>
              <a:gd name="connsiteX1251" fmla="*/ 2543484 w 9972838"/>
              <a:gd name="connsiteY1251" fmla="*/ 3831958 h 4567794"/>
              <a:gd name="connsiteX1252" fmla="*/ 2438849 w 9972838"/>
              <a:gd name="connsiteY1252" fmla="*/ 3791353 h 4567794"/>
              <a:gd name="connsiteX1253" fmla="*/ 2391529 w 9972838"/>
              <a:gd name="connsiteY1253" fmla="*/ 3758521 h 4567794"/>
              <a:gd name="connsiteX1254" fmla="*/ 2363334 w 9972838"/>
              <a:gd name="connsiteY1254" fmla="*/ 3748961 h 4567794"/>
              <a:gd name="connsiteX1255" fmla="*/ 2357339 w 9972838"/>
              <a:gd name="connsiteY1255" fmla="*/ 3751835 h 4567794"/>
              <a:gd name="connsiteX1256" fmla="*/ 2305388 w 9972838"/>
              <a:gd name="connsiteY1256" fmla="*/ 3741322 h 4567794"/>
              <a:gd name="connsiteX1257" fmla="*/ 2305392 w 9972838"/>
              <a:gd name="connsiteY1257" fmla="*/ 3741318 h 4567794"/>
              <a:gd name="connsiteX1258" fmla="*/ 2305388 w 9972838"/>
              <a:gd name="connsiteY1258" fmla="*/ 3741318 h 4567794"/>
              <a:gd name="connsiteX1259" fmla="*/ 2303806 w 9972838"/>
              <a:gd name="connsiteY1259" fmla="*/ 3731276 h 4567794"/>
              <a:gd name="connsiteX1260" fmla="*/ 2285700 w 9972838"/>
              <a:gd name="connsiteY1260" fmla="*/ 3726386 h 4567794"/>
              <a:gd name="connsiteX1261" fmla="*/ 2229989 w 9972838"/>
              <a:gd name="connsiteY1261" fmla="*/ 3701935 h 4567794"/>
              <a:gd name="connsiteX1262" fmla="*/ 2080804 w 9972838"/>
              <a:gd name="connsiteY1262" fmla="*/ 3612518 h 4567794"/>
              <a:gd name="connsiteX1263" fmla="*/ 2095722 w 9972838"/>
              <a:gd name="connsiteY1263" fmla="*/ 3433682 h 4567794"/>
              <a:gd name="connsiteX1264" fmla="*/ 2102721 w 9972838"/>
              <a:gd name="connsiteY1264" fmla="*/ 3419698 h 4567794"/>
              <a:gd name="connsiteX1265" fmla="*/ 2091479 w 9972838"/>
              <a:gd name="connsiteY1265" fmla="*/ 3412106 h 4567794"/>
              <a:gd name="connsiteX1266" fmla="*/ 2044161 w 9972838"/>
              <a:gd name="connsiteY1266" fmla="*/ 3379274 h 4567794"/>
              <a:gd name="connsiteX1267" fmla="*/ 2004148 w 9972838"/>
              <a:gd name="connsiteY1267" fmla="*/ 3365710 h 4567794"/>
              <a:gd name="connsiteX1268" fmla="*/ 1922291 w 9972838"/>
              <a:gd name="connsiteY1268" fmla="*/ 3469079 h 4567794"/>
              <a:gd name="connsiteX1269" fmla="*/ 1812265 w 9972838"/>
              <a:gd name="connsiteY1269" fmla="*/ 3582715 h 4567794"/>
              <a:gd name="connsiteX1270" fmla="*/ 1692919 w 9972838"/>
              <a:gd name="connsiteY1270" fmla="*/ 3687034 h 4567794"/>
              <a:gd name="connsiteX1271" fmla="*/ 1469139 w 9972838"/>
              <a:gd name="connsiteY1271" fmla="*/ 3672132 h 4567794"/>
              <a:gd name="connsiteX1272" fmla="*/ 1290115 w 9972838"/>
              <a:gd name="connsiteY1272" fmla="*/ 3612518 h 4567794"/>
              <a:gd name="connsiteX1273" fmla="*/ 1185684 w 9972838"/>
              <a:gd name="connsiteY1273" fmla="*/ 3403880 h 4567794"/>
              <a:gd name="connsiteX1274" fmla="*/ 1202241 w 9972838"/>
              <a:gd name="connsiteY1274" fmla="*/ 3331706 h 4567794"/>
              <a:gd name="connsiteX1275" fmla="*/ 1171421 w 9972838"/>
              <a:gd name="connsiteY1275" fmla="*/ 3322458 h 4567794"/>
              <a:gd name="connsiteX1276" fmla="*/ 1121771 w 9972838"/>
              <a:gd name="connsiteY1276" fmla="*/ 3292885 h 4567794"/>
              <a:gd name="connsiteX1277" fmla="*/ 942746 w 9972838"/>
              <a:gd name="connsiteY1277" fmla="*/ 3233271 h 4567794"/>
              <a:gd name="connsiteX1278" fmla="*/ 845775 w 9972838"/>
              <a:gd name="connsiteY1278" fmla="*/ 3151306 h 4567794"/>
              <a:gd name="connsiteX1279" fmla="*/ 844660 w 9972838"/>
              <a:gd name="connsiteY1279" fmla="*/ 3147455 h 4567794"/>
              <a:gd name="connsiteX1280" fmla="*/ 827394 w 9972838"/>
              <a:gd name="connsiteY1280" fmla="*/ 3148199 h 4567794"/>
              <a:gd name="connsiteX1281" fmla="*/ 721100 w 9972838"/>
              <a:gd name="connsiteY1281" fmla="*/ 3101628 h 4567794"/>
              <a:gd name="connsiteX1282" fmla="*/ 542075 w 9972838"/>
              <a:gd name="connsiteY1282" fmla="*/ 3042014 h 4567794"/>
              <a:gd name="connsiteX1283" fmla="*/ 437642 w 9972838"/>
              <a:gd name="connsiteY1283" fmla="*/ 2833377 h 4567794"/>
              <a:gd name="connsiteX1284" fmla="*/ 458157 w 9972838"/>
              <a:gd name="connsiteY1284" fmla="*/ 2743957 h 4567794"/>
              <a:gd name="connsiteX1285" fmla="*/ 458462 w 9972838"/>
              <a:gd name="connsiteY1285" fmla="*/ 2741032 h 4567794"/>
              <a:gd name="connsiteX1286" fmla="*/ 458399 w 9972838"/>
              <a:gd name="connsiteY1286" fmla="*/ 2741056 h 4567794"/>
              <a:gd name="connsiteX1287" fmla="*/ 292663 w 9972838"/>
              <a:gd name="connsiteY1287" fmla="*/ 2697046 h 4567794"/>
              <a:gd name="connsiteX1288" fmla="*/ 113637 w 9972838"/>
              <a:gd name="connsiteY1288" fmla="*/ 2637433 h 4567794"/>
              <a:gd name="connsiteX1289" fmla="*/ 9205 w 9972838"/>
              <a:gd name="connsiteY1289" fmla="*/ 2428795 h 4567794"/>
              <a:gd name="connsiteX1290" fmla="*/ 39045 w 9972838"/>
              <a:gd name="connsiteY1290" fmla="*/ 2249954 h 4567794"/>
              <a:gd name="connsiteX1291" fmla="*/ 83803 w 9972838"/>
              <a:gd name="connsiteY1291" fmla="*/ 2190344 h 4567794"/>
              <a:gd name="connsiteX1292" fmla="*/ 128557 w 9972838"/>
              <a:gd name="connsiteY1292" fmla="*/ 2145636 h 4567794"/>
              <a:gd name="connsiteX1293" fmla="*/ 143477 w 9972838"/>
              <a:gd name="connsiteY1293" fmla="*/ 2130735 h 4567794"/>
              <a:gd name="connsiteX1294" fmla="*/ 158397 w 9972838"/>
              <a:gd name="connsiteY1294" fmla="*/ 2115829 h 4567794"/>
              <a:gd name="connsiteX1295" fmla="*/ 277743 w 9972838"/>
              <a:gd name="connsiteY1295" fmla="*/ 2160537 h 4567794"/>
              <a:gd name="connsiteX1296" fmla="*/ 292663 w 9972838"/>
              <a:gd name="connsiteY1296" fmla="*/ 2190344 h 4567794"/>
              <a:gd name="connsiteX1297" fmla="*/ 247904 w 9972838"/>
              <a:gd name="connsiteY1297" fmla="*/ 2205246 h 4567794"/>
              <a:gd name="connsiteX1298" fmla="*/ 203150 w 9972838"/>
              <a:gd name="connsiteY1298" fmla="*/ 2249954 h 4567794"/>
              <a:gd name="connsiteX1299" fmla="*/ 113637 w 9972838"/>
              <a:gd name="connsiteY1299" fmla="*/ 2354279 h 4567794"/>
              <a:gd name="connsiteX1300" fmla="*/ 158397 w 9972838"/>
              <a:gd name="connsiteY1300" fmla="*/ 2428795 h 4567794"/>
              <a:gd name="connsiteX1301" fmla="*/ 173311 w 9972838"/>
              <a:gd name="connsiteY1301" fmla="*/ 2443696 h 4567794"/>
              <a:gd name="connsiteX1302" fmla="*/ 203150 w 9972838"/>
              <a:gd name="connsiteY1302" fmla="*/ 2428795 h 4567794"/>
              <a:gd name="connsiteX1303" fmla="*/ 247904 w 9972838"/>
              <a:gd name="connsiteY1303" fmla="*/ 2369180 h 4567794"/>
              <a:gd name="connsiteX1304" fmla="*/ 247904 w 9972838"/>
              <a:gd name="connsiteY1304" fmla="*/ 2309569 h 4567794"/>
              <a:gd name="connsiteX1305" fmla="*/ 232989 w 9972838"/>
              <a:gd name="connsiteY1305" fmla="*/ 2279762 h 4567794"/>
              <a:gd name="connsiteX1306" fmla="*/ 262824 w 9972838"/>
              <a:gd name="connsiteY1306" fmla="*/ 2279762 h 4567794"/>
              <a:gd name="connsiteX1307" fmla="*/ 441849 w 9972838"/>
              <a:gd name="connsiteY1307" fmla="*/ 2264861 h 4567794"/>
              <a:gd name="connsiteX1308" fmla="*/ 471683 w 9972838"/>
              <a:gd name="connsiteY1308" fmla="*/ 2130735 h 4567794"/>
              <a:gd name="connsiteX1309" fmla="*/ 456768 w 9972838"/>
              <a:gd name="connsiteY1309" fmla="*/ 2041317 h 4567794"/>
              <a:gd name="connsiteX1310" fmla="*/ 501522 w 9972838"/>
              <a:gd name="connsiteY1310" fmla="*/ 1996608 h 4567794"/>
              <a:gd name="connsiteX1311" fmla="*/ 397090 w 9972838"/>
              <a:gd name="connsiteY1311" fmla="*/ 1936994 h 4567794"/>
              <a:gd name="connsiteX1312" fmla="*/ 456768 w 9972838"/>
              <a:gd name="connsiteY1312" fmla="*/ 1877383 h 4567794"/>
              <a:gd name="connsiteX1313" fmla="*/ 337416 w 9972838"/>
              <a:gd name="connsiteY1313" fmla="*/ 1877383 h 4567794"/>
              <a:gd name="connsiteX1314" fmla="*/ 322497 w 9972838"/>
              <a:gd name="connsiteY1314" fmla="*/ 1877383 h 4567794"/>
              <a:gd name="connsiteX1315" fmla="*/ 322497 w 9972838"/>
              <a:gd name="connsiteY1315" fmla="*/ 1847576 h 4567794"/>
              <a:gd name="connsiteX1316" fmla="*/ 412009 w 9972838"/>
              <a:gd name="connsiteY1316" fmla="*/ 1832674 h 4567794"/>
              <a:gd name="connsiteX1317" fmla="*/ 486603 w 9972838"/>
              <a:gd name="connsiteY1317" fmla="*/ 1817773 h 4567794"/>
              <a:gd name="connsiteX1318" fmla="*/ 533223 w 9972838"/>
              <a:gd name="connsiteY1318" fmla="*/ 1799141 h 4567794"/>
              <a:gd name="connsiteX1319" fmla="*/ 545634 w 9972838"/>
              <a:gd name="connsiteY1319" fmla="*/ 1845189 h 4567794"/>
              <a:gd name="connsiteX1320" fmla="*/ 546366 w 9972838"/>
              <a:gd name="connsiteY1320" fmla="*/ 1844560 h 4567794"/>
              <a:gd name="connsiteX1321" fmla="*/ 560720 w 9972838"/>
              <a:gd name="connsiteY1321" fmla="*/ 1859941 h 4567794"/>
              <a:gd name="connsiteX1322" fmla="*/ 561575 w 9972838"/>
              <a:gd name="connsiteY1322" fmla="*/ 1862283 h 4567794"/>
              <a:gd name="connsiteX1323" fmla="*/ 619006 w 9972838"/>
              <a:gd name="connsiteY1323" fmla="*/ 1832674 h 4567794"/>
              <a:gd name="connsiteX1324" fmla="*/ 665628 w 9972838"/>
              <a:gd name="connsiteY1324" fmla="*/ 1713450 h 4567794"/>
              <a:gd name="connsiteX1325" fmla="*/ 546276 w 9972838"/>
              <a:gd name="connsiteY1325" fmla="*/ 1728355 h 4567794"/>
              <a:gd name="connsiteX1326" fmla="*/ 680547 w 9972838"/>
              <a:gd name="connsiteY1326" fmla="*/ 1638933 h 4567794"/>
              <a:gd name="connsiteX1327" fmla="*/ 710381 w 9972838"/>
              <a:gd name="connsiteY1327" fmla="*/ 1624031 h 4567794"/>
              <a:gd name="connsiteX1328" fmla="*/ 680547 w 9972838"/>
              <a:gd name="connsiteY1328" fmla="*/ 1609130 h 4567794"/>
              <a:gd name="connsiteX1329" fmla="*/ 635789 w 9972838"/>
              <a:gd name="connsiteY1329" fmla="*/ 1624031 h 4567794"/>
              <a:gd name="connsiteX1330" fmla="*/ 591034 w 9972838"/>
              <a:gd name="connsiteY1330" fmla="*/ 1594224 h 4567794"/>
              <a:gd name="connsiteX1331" fmla="*/ 605954 w 9972838"/>
              <a:gd name="connsiteY1331" fmla="*/ 1579323 h 4567794"/>
              <a:gd name="connsiteX1332" fmla="*/ 620869 w 9972838"/>
              <a:gd name="connsiteY1332" fmla="*/ 1534614 h 4567794"/>
              <a:gd name="connsiteX1333" fmla="*/ 576115 w 9972838"/>
              <a:gd name="connsiteY1333" fmla="*/ 1549516 h 4567794"/>
              <a:gd name="connsiteX1334" fmla="*/ 561195 w 9972838"/>
              <a:gd name="connsiteY1334" fmla="*/ 1549516 h 4567794"/>
              <a:gd name="connsiteX1335" fmla="*/ 859568 w 9972838"/>
              <a:gd name="connsiteY1335" fmla="*/ 1042818 h 4567794"/>
              <a:gd name="connsiteX1336" fmla="*/ 1008754 w 9972838"/>
              <a:gd name="connsiteY1336" fmla="*/ 834175 h 4567794"/>
              <a:gd name="connsiteX1337" fmla="*/ 1157939 w 9972838"/>
              <a:gd name="connsiteY1337" fmla="*/ 774564 h 4567794"/>
              <a:gd name="connsiteX1338" fmla="*/ 1346756 w 9972838"/>
              <a:gd name="connsiteY1338" fmla="*/ 847917 h 4567794"/>
              <a:gd name="connsiteX1339" fmla="*/ 1360877 w 9972838"/>
              <a:gd name="connsiteY1339" fmla="*/ 851418 h 4567794"/>
              <a:gd name="connsiteX1340" fmla="*/ 1376476 w 9972838"/>
              <a:gd name="connsiteY1340" fmla="*/ 800919 h 4567794"/>
              <a:gd name="connsiteX1341" fmla="*/ 1630325 w 9972838"/>
              <a:gd name="connsiteY1341" fmla="*/ 438359 h 4567794"/>
              <a:gd name="connsiteX1342" fmla="*/ 1779512 w 9972838"/>
              <a:gd name="connsiteY1342" fmla="*/ 229717 h 4567794"/>
              <a:gd name="connsiteX1343" fmla="*/ 1928697 w 9972838"/>
              <a:gd name="connsiteY1343" fmla="*/ 170105 h 4567794"/>
              <a:gd name="connsiteX1344" fmla="*/ 2182315 w 9972838"/>
              <a:gd name="connsiteY1344" fmla="*/ 259525 h 4567794"/>
              <a:gd name="connsiteX1345" fmla="*/ 2197235 w 9972838"/>
              <a:gd name="connsiteY1345" fmla="*/ 393650 h 4567794"/>
              <a:gd name="connsiteX1346" fmla="*/ 2061211 w 9972838"/>
              <a:gd name="connsiteY1346" fmla="*/ 604857 h 4567794"/>
              <a:gd name="connsiteX1347" fmla="*/ 2063084 w 9972838"/>
              <a:gd name="connsiteY1347" fmla="*/ 604578 h 4567794"/>
              <a:gd name="connsiteX1348" fmla="*/ 2082898 w 9972838"/>
              <a:gd name="connsiteY1348" fmla="*/ 610631 h 4567794"/>
              <a:gd name="connsiteX1349" fmla="*/ 2217166 w 9972838"/>
              <a:gd name="connsiteY1349" fmla="*/ 671410 h 4567794"/>
              <a:gd name="connsiteX1350" fmla="*/ 2244257 w 9972838"/>
              <a:gd name="connsiteY1350" fmla="*/ 710947 h 4567794"/>
              <a:gd name="connsiteX1351" fmla="*/ 2247353 w 9972838"/>
              <a:gd name="connsiteY1351" fmla="*/ 703118 h 4567794"/>
              <a:gd name="connsiteX1352" fmla="*/ 2256908 w 9972838"/>
              <a:gd name="connsiteY1352" fmla="*/ 676804 h 4567794"/>
              <a:gd name="connsiteX1353" fmla="*/ 2361340 w 9972838"/>
              <a:gd name="connsiteY1353" fmla="*/ 542678 h 4567794"/>
              <a:gd name="connsiteX1354" fmla="*/ 2480692 w 9972838"/>
              <a:gd name="connsiteY1354" fmla="*/ 393650 h 4567794"/>
              <a:gd name="connsiteX1355" fmla="*/ 2555285 w 9972838"/>
              <a:gd name="connsiteY1355" fmla="*/ 274424 h 4567794"/>
              <a:gd name="connsiteX1356" fmla="*/ 2793979 w 9972838"/>
              <a:gd name="connsiteY1356" fmla="*/ 21079 h 4567794"/>
              <a:gd name="connsiteX1357" fmla="*/ 2818225 w 9972838"/>
              <a:gd name="connsiteY1357" fmla="*/ 2447 h 4567794"/>
              <a:gd name="connsiteX1358" fmla="*/ 2833842 w 9972838"/>
              <a:gd name="connsiteY1358" fmla="*/ 119 h 456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Lst>
            <a:rect l="l" t="t" r="r" b="b"/>
            <a:pathLst>
              <a:path w="9972838" h="4567794">
                <a:moveTo>
                  <a:pt x="6297620" y="4196232"/>
                </a:moveTo>
                <a:lnTo>
                  <a:pt x="6305057" y="4203050"/>
                </a:lnTo>
                <a:lnTo>
                  <a:pt x="6302652" y="4203050"/>
                </a:lnTo>
                <a:lnTo>
                  <a:pt x="6302756" y="4203144"/>
                </a:lnTo>
                <a:lnTo>
                  <a:pt x="6287837" y="4203144"/>
                </a:lnTo>
                <a:lnTo>
                  <a:pt x="6295337" y="4196354"/>
                </a:lnTo>
                <a:lnTo>
                  <a:pt x="6296408" y="4197335"/>
                </a:lnTo>
                <a:close/>
                <a:moveTo>
                  <a:pt x="7024299" y="4174346"/>
                </a:moveTo>
                <a:cubicBezTo>
                  <a:pt x="6964268" y="4234059"/>
                  <a:pt x="7039303" y="4323631"/>
                  <a:pt x="6979278" y="4383345"/>
                </a:cubicBezTo>
                <a:cubicBezTo>
                  <a:pt x="6964268" y="4398273"/>
                  <a:pt x="6979278" y="4413202"/>
                  <a:pt x="6994283" y="4413202"/>
                </a:cubicBezTo>
                <a:cubicBezTo>
                  <a:pt x="7009289" y="4398273"/>
                  <a:pt x="7024299" y="4398273"/>
                  <a:pt x="7009289" y="4428130"/>
                </a:cubicBezTo>
                <a:cubicBezTo>
                  <a:pt x="6994283" y="4428130"/>
                  <a:pt x="6979278" y="4443058"/>
                  <a:pt x="7009289" y="4457988"/>
                </a:cubicBezTo>
                <a:cubicBezTo>
                  <a:pt x="7024299" y="4457988"/>
                  <a:pt x="7039303" y="4457988"/>
                  <a:pt x="7054309" y="4443058"/>
                </a:cubicBezTo>
                <a:cubicBezTo>
                  <a:pt x="7054309" y="4443058"/>
                  <a:pt x="7039303" y="4398273"/>
                  <a:pt x="7069319" y="4428130"/>
                </a:cubicBezTo>
                <a:cubicBezTo>
                  <a:pt x="7099331" y="4428130"/>
                  <a:pt x="7084325" y="4457988"/>
                  <a:pt x="7084325" y="4472917"/>
                </a:cubicBezTo>
                <a:cubicBezTo>
                  <a:pt x="7039303" y="4517702"/>
                  <a:pt x="6994283" y="4547559"/>
                  <a:pt x="6934257" y="4517702"/>
                </a:cubicBezTo>
                <a:cubicBezTo>
                  <a:pt x="6844215" y="4457988"/>
                  <a:pt x="6739165" y="4443058"/>
                  <a:pt x="6649123" y="4383345"/>
                </a:cubicBezTo>
                <a:cubicBezTo>
                  <a:pt x="6619112" y="4368416"/>
                  <a:pt x="6604103" y="4353487"/>
                  <a:pt x="6604103" y="4308703"/>
                </a:cubicBezTo>
                <a:cubicBezTo>
                  <a:pt x="6679139" y="4338560"/>
                  <a:pt x="6739165" y="4323631"/>
                  <a:pt x="6784185" y="4263917"/>
                </a:cubicBezTo>
                <a:cubicBezTo>
                  <a:pt x="6799195" y="4248988"/>
                  <a:pt x="6829206" y="4263917"/>
                  <a:pt x="6844215" y="4263917"/>
                </a:cubicBezTo>
                <a:cubicBezTo>
                  <a:pt x="6859221" y="4248988"/>
                  <a:pt x="6814201" y="4248988"/>
                  <a:pt x="6829206" y="4219131"/>
                </a:cubicBezTo>
                <a:cubicBezTo>
                  <a:pt x="6904242" y="4263917"/>
                  <a:pt x="6949263" y="4189274"/>
                  <a:pt x="7024299" y="4174346"/>
                </a:cubicBezTo>
                <a:close/>
                <a:moveTo>
                  <a:pt x="6394773" y="4023622"/>
                </a:moveTo>
                <a:cubicBezTo>
                  <a:pt x="6409725" y="4075959"/>
                  <a:pt x="6394773" y="4105860"/>
                  <a:pt x="6370472" y="4130157"/>
                </a:cubicBezTo>
                <a:lnTo>
                  <a:pt x="6297620" y="4196232"/>
                </a:lnTo>
                <a:lnTo>
                  <a:pt x="6296548" y="4195250"/>
                </a:lnTo>
                <a:lnTo>
                  <a:pt x="6295337" y="4196354"/>
                </a:lnTo>
                <a:lnTo>
                  <a:pt x="6280377" y="4182655"/>
                </a:lnTo>
                <a:cubicBezTo>
                  <a:pt x="6269187" y="4180792"/>
                  <a:pt x="6257998" y="4180792"/>
                  <a:pt x="6257998" y="4173342"/>
                </a:cubicBezTo>
                <a:cubicBezTo>
                  <a:pt x="6265457" y="4158436"/>
                  <a:pt x="6272917" y="4154710"/>
                  <a:pt x="6280377" y="4154710"/>
                </a:cubicBezTo>
                <a:lnTo>
                  <a:pt x="6281996" y="4154982"/>
                </a:lnTo>
                <a:lnTo>
                  <a:pt x="6282627" y="4154458"/>
                </a:lnTo>
                <a:lnTo>
                  <a:pt x="6303044" y="4157857"/>
                </a:lnTo>
                <a:lnTo>
                  <a:pt x="6317671" y="4128633"/>
                </a:lnTo>
                <a:cubicBezTo>
                  <a:pt x="6280377" y="4098825"/>
                  <a:pt x="6284106" y="4087649"/>
                  <a:pt x="6300889" y="4082062"/>
                </a:cubicBezTo>
                <a:lnTo>
                  <a:pt x="6303190" y="4081572"/>
                </a:lnTo>
                <a:lnTo>
                  <a:pt x="6303186" y="4081564"/>
                </a:lnTo>
                <a:lnTo>
                  <a:pt x="6362429" y="4068995"/>
                </a:lnTo>
                <a:lnTo>
                  <a:pt x="6366159" y="4041078"/>
                </a:lnTo>
                <a:cubicBezTo>
                  <a:pt x="6369888" y="4031765"/>
                  <a:pt x="6377345" y="4024309"/>
                  <a:pt x="6392264" y="4024309"/>
                </a:cubicBezTo>
                <a:lnTo>
                  <a:pt x="6392019" y="4025394"/>
                </a:lnTo>
                <a:close/>
                <a:moveTo>
                  <a:pt x="5139957" y="3850985"/>
                </a:moveTo>
                <a:cubicBezTo>
                  <a:pt x="5154311" y="3849064"/>
                  <a:pt x="5168665" y="3852911"/>
                  <a:pt x="5183020" y="3875978"/>
                </a:cubicBezTo>
                <a:cubicBezTo>
                  <a:pt x="5183020" y="3875978"/>
                  <a:pt x="5183020" y="3875978"/>
                  <a:pt x="5183020" y="3891359"/>
                </a:cubicBezTo>
                <a:cubicBezTo>
                  <a:pt x="5168665" y="3906734"/>
                  <a:pt x="5154311" y="3891359"/>
                  <a:pt x="5154311" y="3891359"/>
                </a:cubicBezTo>
                <a:cubicBezTo>
                  <a:pt x="5125602" y="3891359"/>
                  <a:pt x="5111248" y="3937497"/>
                  <a:pt x="5082541" y="3891359"/>
                </a:cubicBezTo>
                <a:cubicBezTo>
                  <a:pt x="5082541" y="3875978"/>
                  <a:pt x="5082541" y="3875978"/>
                  <a:pt x="5096895" y="3860597"/>
                </a:cubicBezTo>
                <a:cubicBezTo>
                  <a:pt x="5111248" y="3860597"/>
                  <a:pt x="5125602" y="3852911"/>
                  <a:pt x="5139957" y="3850985"/>
                </a:cubicBezTo>
                <a:close/>
                <a:moveTo>
                  <a:pt x="4751996" y="3673039"/>
                </a:moveTo>
                <a:lnTo>
                  <a:pt x="4704240" y="3707117"/>
                </a:lnTo>
                <a:cubicBezTo>
                  <a:pt x="4698646" y="3712704"/>
                  <a:pt x="4692819" y="3716663"/>
                  <a:pt x="4686816" y="3719282"/>
                </a:cubicBezTo>
                <a:lnTo>
                  <a:pt x="4671571" y="3722694"/>
                </a:lnTo>
                <a:lnTo>
                  <a:pt x="4646786" y="3756056"/>
                </a:lnTo>
                <a:cubicBezTo>
                  <a:pt x="4587113" y="3830573"/>
                  <a:pt x="4557273" y="3919990"/>
                  <a:pt x="4512519" y="3994506"/>
                </a:cubicBezTo>
                <a:cubicBezTo>
                  <a:pt x="4467767" y="4069018"/>
                  <a:pt x="4437927" y="4158436"/>
                  <a:pt x="4393172" y="4232952"/>
                </a:cubicBezTo>
                <a:cubicBezTo>
                  <a:pt x="4408087" y="4232952"/>
                  <a:pt x="4423008" y="4232952"/>
                  <a:pt x="4423008" y="4232952"/>
                </a:cubicBezTo>
                <a:cubicBezTo>
                  <a:pt x="4482681" y="4218050"/>
                  <a:pt x="4512519" y="4158436"/>
                  <a:pt x="4542359" y="4113727"/>
                </a:cubicBezTo>
                <a:cubicBezTo>
                  <a:pt x="4572194" y="4098825"/>
                  <a:pt x="4572194" y="4054117"/>
                  <a:pt x="4616951" y="4098825"/>
                </a:cubicBezTo>
                <a:cubicBezTo>
                  <a:pt x="4616951" y="4098825"/>
                  <a:pt x="4646786" y="4083924"/>
                  <a:pt x="4646786" y="4069018"/>
                </a:cubicBezTo>
                <a:cubicBezTo>
                  <a:pt x="4661706" y="4039216"/>
                  <a:pt x="4602033" y="4054117"/>
                  <a:pt x="4616951" y="4024309"/>
                </a:cubicBezTo>
                <a:cubicBezTo>
                  <a:pt x="4691545" y="4024309"/>
                  <a:pt x="4706459" y="3964699"/>
                  <a:pt x="4736298" y="3919990"/>
                </a:cubicBezTo>
                <a:cubicBezTo>
                  <a:pt x="4736298" y="3905084"/>
                  <a:pt x="4751218" y="3890182"/>
                  <a:pt x="4751218" y="3875281"/>
                </a:cubicBezTo>
                <a:cubicBezTo>
                  <a:pt x="4825811" y="3860376"/>
                  <a:pt x="4855650" y="3800765"/>
                  <a:pt x="4885484" y="3741156"/>
                </a:cubicBezTo>
                <a:lnTo>
                  <a:pt x="4899254" y="3725782"/>
                </a:lnTo>
                <a:lnTo>
                  <a:pt x="4878045" y="3714976"/>
                </a:lnTo>
                <a:cubicBezTo>
                  <a:pt x="4863126" y="3705661"/>
                  <a:pt x="4848208" y="3694484"/>
                  <a:pt x="4825828" y="3687034"/>
                </a:cubicBezTo>
                <a:cubicBezTo>
                  <a:pt x="4799723" y="3687034"/>
                  <a:pt x="4775480" y="3682377"/>
                  <a:pt x="4753568" y="3673994"/>
                </a:cubicBezTo>
                <a:close/>
                <a:moveTo>
                  <a:pt x="5636716" y="3651979"/>
                </a:moveTo>
                <a:lnTo>
                  <a:pt x="5614274" y="3677309"/>
                </a:lnTo>
                <a:cubicBezTo>
                  <a:pt x="5558330" y="3733196"/>
                  <a:pt x="5519170" y="3755549"/>
                  <a:pt x="5477911" y="3738086"/>
                </a:cubicBezTo>
                <a:lnTo>
                  <a:pt x="5439439" y="3710154"/>
                </a:lnTo>
                <a:lnTo>
                  <a:pt x="5347962" y="3875281"/>
                </a:lnTo>
                <a:cubicBezTo>
                  <a:pt x="5318122" y="3905084"/>
                  <a:pt x="5258449" y="3949794"/>
                  <a:pt x="5303208" y="4024309"/>
                </a:cubicBezTo>
                <a:cubicBezTo>
                  <a:pt x="5318122" y="4039216"/>
                  <a:pt x="5288289" y="4024309"/>
                  <a:pt x="5288289" y="4024309"/>
                </a:cubicBezTo>
                <a:cubicBezTo>
                  <a:pt x="5258449" y="4039216"/>
                  <a:pt x="5243530" y="4054117"/>
                  <a:pt x="5243530" y="4069018"/>
                </a:cubicBezTo>
                <a:cubicBezTo>
                  <a:pt x="5198775" y="4158436"/>
                  <a:pt x="5213695" y="4188243"/>
                  <a:pt x="5333043" y="4173342"/>
                </a:cubicBezTo>
                <a:cubicBezTo>
                  <a:pt x="5228614" y="4188243"/>
                  <a:pt x="5213695" y="4277661"/>
                  <a:pt x="5168938" y="4337271"/>
                </a:cubicBezTo>
                <a:cubicBezTo>
                  <a:pt x="5183857" y="4352176"/>
                  <a:pt x="5183857" y="4352176"/>
                  <a:pt x="5183857" y="4352176"/>
                </a:cubicBezTo>
                <a:cubicBezTo>
                  <a:pt x="5228614" y="4322369"/>
                  <a:pt x="5288289" y="4292562"/>
                  <a:pt x="5362882" y="4322369"/>
                </a:cubicBezTo>
                <a:cubicBezTo>
                  <a:pt x="5318122" y="4277661"/>
                  <a:pt x="5318122" y="4247854"/>
                  <a:pt x="5347962" y="4218050"/>
                </a:cubicBezTo>
                <a:cubicBezTo>
                  <a:pt x="5392719" y="4203144"/>
                  <a:pt x="5377800" y="4158436"/>
                  <a:pt x="5422555" y="4128633"/>
                </a:cubicBezTo>
                <a:cubicBezTo>
                  <a:pt x="5437475" y="4128633"/>
                  <a:pt x="5437475" y="4173342"/>
                  <a:pt x="5452394" y="4158436"/>
                </a:cubicBezTo>
                <a:cubicBezTo>
                  <a:pt x="5482228" y="4143535"/>
                  <a:pt x="5512066" y="4143535"/>
                  <a:pt x="5526986" y="4098825"/>
                </a:cubicBezTo>
                <a:cubicBezTo>
                  <a:pt x="5541907" y="4054117"/>
                  <a:pt x="5556821" y="4009408"/>
                  <a:pt x="5616500" y="3994506"/>
                </a:cubicBezTo>
                <a:cubicBezTo>
                  <a:pt x="5631413" y="3994506"/>
                  <a:pt x="5646334" y="3964699"/>
                  <a:pt x="5646334" y="3949794"/>
                </a:cubicBezTo>
                <a:cubicBezTo>
                  <a:pt x="5676173" y="3905084"/>
                  <a:pt x="5661254" y="3845475"/>
                  <a:pt x="5735846" y="3845475"/>
                </a:cubicBezTo>
                <a:cubicBezTo>
                  <a:pt x="5728386" y="3808217"/>
                  <a:pt x="5747035" y="3778410"/>
                  <a:pt x="5765683" y="3752330"/>
                </a:cubicBezTo>
                <a:lnTo>
                  <a:pt x="5768123" y="3748696"/>
                </a:lnTo>
                <a:lnTo>
                  <a:pt x="5749308" y="3741088"/>
                </a:lnTo>
                <a:cubicBezTo>
                  <a:pt x="5725390" y="3730359"/>
                  <a:pt x="5701942" y="3718230"/>
                  <a:pt x="5679431" y="3703301"/>
                </a:cubicBezTo>
                <a:cubicBezTo>
                  <a:pt x="5656923" y="3692104"/>
                  <a:pt x="5642853" y="3680907"/>
                  <a:pt x="5637225" y="3657115"/>
                </a:cubicBezTo>
                <a:close/>
                <a:moveTo>
                  <a:pt x="3749343" y="3638187"/>
                </a:moveTo>
                <a:lnTo>
                  <a:pt x="3705049" y="3707621"/>
                </a:lnTo>
                <a:cubicBezTo>
                  <a:pt x="3669618" y="3774684"/>
                  <a:pt x="3639781" y="3845475"/>
                  <a:pt x="3617403" y="3919990"/>
                </a:cubicBezTo>
                <a:cubicBezTo>
                  <a:pt x="3602484" y="3979601"/>
                  <a:pt x="3572646" y="4009408"/>
                  <a:pt x="3557727" y="4069018"/>
                </a:cubicBezTo>
                <a:cubicBezTo>
                  <a:pt x="3542811" y="4128633"/>
                  <a:pt x="3557727" y="4188243"/>
                  <a:pt x="3557727" y="4232952"/>
                </a:cubicBezTo>
                <a:cubicBezTo>
                  <a:pt x="3572646" y="4292562"/>
                  <a:pt x="3647237" y="4277661"/>
                  <a:pt x="3677076" y="4262759"/>
                </a:cubicBezTo>
                <a:cubicBezTo>
                  <a:pt x="3721832" y="4247854"/>
                  <a:pt x="3781505" y="4218050"/>
                  <a:pt x="3766591" y="4143535"/>
                </a:cubicBezTo>
                <a:cubicBezTo>
                  <a:pt x="3751670" y="4113727"/>
                  <a:pt x="3766591" y="4083924"/>
                  <a:pt x="3796424" y="4098825"/>
                </a:cubicBezTo>
                <a:cubicBezTo>
                  <a:pt x="3841183" y="4128633"/>
                  <a:pt x="3856102" y="4098825"/>
                  <a:pt x="3871017" y="4069018"/>
                </a:cubicBezTo>
                <a:cubicBezTo>
                  <a:pt x="3915775" y="4009408"/>
                  <a:pt x="3960529" y="3949794"/>
                  <a:pt x="4005288" y="3890182"/>
                </a:cubicBezTo>
                <a:cubicBezTo>
                  <a:pt x="4016476" y="3879006"/>
                  <a:pt x="4025802" y="3865966"/>
                  <a:pt x="4034426" y="3851994"/>
                </a:cubicBezTo>
                <a:lnTo>
                  <a:pt x="4052903" y="3819563"/>
                </a:lnTo>
                <a:lnTo>
                  <a:pt x="4045400" y="3813941"/>
                </a:lnTo>
                <a:cubicBezTo>
                  <a:pt x="3992253" y="3783903"/>
                  <a:pt x="3930713" y="3772726"/>
                  <a:pt x="3885957" y="3761550"/>
                </a:cubicBezTo>
                <a:cubicBezTo>
                  <a:pt x="3833742" y="3739196"/>
                  <a:pt x="3792715" y="3709390"/>
                  <a:pt x="3766608" y="3673994"/>
                </a:cubicBezTo>
                <a:close/>
                <a:moveTo>
                  <a:pt x="4220563" y="3622458"/>
                </a:moveTo>
                <a:lnTo>
                  <a:pt x="4205526" y="3646982"/>
                </a:lnTo>
                <a:lnTo>
                  <a:pt x="4206922" y="3647311"/>
                </a:lnTo>
                <a:cubicBezTo>
                  <a:pt x="4214147" y="3647078"/>
                  <a:pt x="4221608" y="3644283"/>
                  <a:pt x="4229068" y="3636832"/>
                </a:cubicBezTo>
                <a:close/>
                <a:moveTo>
                  <a:pt x="4455487" y="3617654"/>
                </a:moveTo>
                <a:lnTo>
                  <a:pt x="4417432" y="3659092"/>
                </a:lnTo>
                <a:cubicBezTo>
                  <a:pt x="4370810" y="3713115"/>
                  <a:pt x="4326054" y="3769001"/>
                  <a:pt x="4273837" y="3821161"/>
                </a:cubicBezTo>
                <a:cubicBezTo>
                  <a:pt x="4255190" y="3839789"/>
                  <a:pt x="4238406" y="3854692"/>
                  <a:pt x="4222789" y="3865637"/>
                </a:cubicBezTo>
                <a:lnTo>
                  <a:pt x="4182777" y="3884458"/>
                </a:lnTo>
                <a:lnTo>
                  <a:pt x="4176849" y="3919988"/>
                </a:lnTo>
                <a:cubicBezTo>
                  <a:pt x="4173120" y="3934892"/>
                  <a:pt x="4169389" y="3949795"/>
                  <a:pt x="4169389" y="3964699"/>
                </a:cubicBezTo>
                <a:cubicBezTo>
                  <a:pt x="4154474" y="3949794"/>
                  <a:pt x="4139554" y="3905084"/>
                  <a:pt x="4109715" y="3964699"/>
                </a:cubicBezTo>
                <a:cubicBezTo>
                  <a:pt x="4102256" y="3987051"/>
                  <a:pt x="4091066" y="4005683"/>
                  <a:pt x="4081743" y="4026172"/>
                </a:cubicBezTo>
                <a:lnTo>
                  <a:pt x="4065752" y="4095394"/>
                </a:lnTo>
                <a:lnTo>
                  <a:pt x="4070558" y="4095394"/>
                </a:lnTo>
                <a:lnTo>
                  <a:pt x="4070558" y="4102569"/>
                </a:lnTo>
                <a:lnTo>
                  <a:pt x="4063380" y="4102569"/>
                </a:lnTo>
                <a:lnTo>
                  <a:pt x="4063380" y="4099526"/>
                </a:lnTo>
                <a:lnTo>
                  <a:pt x="4014612" y="4121182"/>
                </a:lnTo>
                <a:cubicBezTo>
                  <a:pt x="4001558" y="4132358"/>
                  <a:pt x="3990369" y="4143535"/>
                  <a:pt x="3975449" y="4143535"/>
                </a:cubicBezTo>
                <a:cubicBezTo>
                  <a:pt x="3945610" y="4143535"/>
                  <a:pt x="3945610" y="4188243"/>
                  <a:pt x="3945610" y="4203144"/>
                </a:cubicBezTo>
                <a:cubicBezTo>
                  <a:pt x="3960529" y="4232952"/>
                  <a:pt x="3975449" y="4218050"/>
                  <a:pt x="3990369" y="4203144"/>
                </a:cubicBezTo>
                <a:cubicBezTo>
                  <a:pt x="3990369" y="4203144"/>
                  <a:pt x="4005288" y="4203144"/>
                  <a:pt x="4005288" y="4203144"/>
                </a:cubicBezTo>
                <a:cubicBezTo>
                  <a:pt x="4094796" y="4232952"/>
                  <a:pt x="4109715" y="4113727"/>
                  <a:pt x="4184308" y="4113727"/>
                </a:cubicBezTo>
                <a:cubicBezTo>
                  <a:pt x="4199228" y="4113727"/>
                  <a:pt x="4154474" y="4069018"/>
                  <a:pt x="4199228" y="4054117"/>
                </a:cubicBezTo>
                <a:cubicBezTo>
                  <a:pt x="4288741" y="4039216"/>
                  <a:pt x="4288741" y="3905084"/>
                  <a:pt x="4393172" y="3919990"/>
                </a:cubicBezTo>
                <a:cubicBezTo>
                  <a:pt x="4437927" y="3919990"/>
                  <a:pt x="4452848" y="3890182"/>
                  <a:pt x="4423008" y="3860376"/>
                </a:cubicBezTo>
                <a:cubicBezTo>
                  <a:pt x="4408087" y="3845475"/>
                  <a:pt x="4393172" y="3830573"/>
                  <a:pt x="4408087" y="3800765"/>
                </a:cubicBezTo>
                <a:cubicBezTo>
                  <a:pt x="4437927" y="3815667"/>
                  <a:pt x="4467767" y="3830573"/>
                  <a:pt x="4497600" y="3815667"/>
                </a:cubicBezTo>
                <a:cubicBezTo>
                  <a:pt x="4512519" y="3785863"/>
                  <a:pt x="4482681" y="3770957"/>
                  <a:pt x="4467767" y="3756056"/>
                </a:cubicBezTo>
                <a:cubicBezTo>
                  <a:pt x="4482681" y="3756056"/>
                  <a:pt x="4512519" y="3756056"/>
                  <a:pt x="4512519" y="3756056"/>
                </a:cubicBezTo>
                <a:cubicBezTo>
                  <a:pt x="4542359" y="3770957"/>
                  <a:pt x="4557273" y="3770957"/>
                  <a:pt x="4572194" y="3756056"/>
                </a:cubicBezTo>
                <a:cubicBezTo>
                  <a:pt x="4587113" y="3726249"/>
                  <a:pt x="4587113" y="3711348"/>
                  <a:pt x="4572194" y="3696446"/>
                </a:cubicBezTo>
                <a:lnTo>
                  <a:pt x="4552168" y="3675508"/>
                </a:lnTo>
                <a:lnTo>
                  <a:pt x="4465543" y="3621422"/>
                </a:lnTo>
                <a:close/>
                <a:moveTo>
                  <a:pt x="2901862" y="3585616"/>
                </a:moveTo>
                <a:lnTo>
                  <a:pt x="2886390" y="3592123"/>
                </a:lnTo>
                <a:cubicBezTo>
                  <a:pt x="2886390" y="3592123"/>
                  <a:pt x="2886390" y="3607029"/>
                  <a:pt x="2886390" y="3607029"/>
                </a:cubicBezTo>
                <a:cubicBezTo>
                  <a:pt x="2901310" y="3666638"/>
                  <a:pt x="2856551" y="3696446"/>
                  <a:pt x="2826717" y="3741156"/>
                </a:cubicBezTo>
                <a:cubicBezTo>
                  <a:pt x="2796878" y="3800765"/>
                  <a:pt x="2781958" y="3845475"/>
                  <a:pt x="2752124" y="3890182"/>
                </a:cubicBezTo>
                <a:cubicBezTo>
                  <a:pt x="2722284" y="3949794"/>
                  <a:pt x="2707365" y="4009408"/>
                  <a:pt x="2662610" y="4039216"/>
                </a:cubicBezTo>
                <a:cubicBezTo>
                  <a:pt x="2632772" y="4083924"/>
                  <a:pt x="2677531" y="4113727"/>
                  <a:pt x="2677531" y="4158436"/>
                </a:cubicBezTo>
                <a:cubicBezTo>
                  <a:pt x="2692445" y="4173342"/>
                  <a:pt x="2722284" y="4128633"/>
                  <a:pt x="2737204" y="4128633"/>
                </a:cubicBezTo>
                <a:cubicBezTo>
                  <a:pt x="2781958" y="4113727"/>
                  <a:pt x="2826717" y="4113727"/>
                  <a:pt x="2856551" y="4054117"/>
                </a:cubicBezTo>
                <a:cubicBezTo>
                  <a:pt x="2871471" y="4024309"/>
                  <a:pt x="2871471" y="4009408"/>
                  <a:pt x="2856551" y="3994506"/>
                </a:cubicBezTo>
                <a:cubicBezTo>
                  <a:pt x="2957254" y="3949795"/>
                  <a:pt x="3041171" y="3896702"/>
                  <a:pt x="3102009" y="3816365"/>
                </a:cubicBezTo>
                <a:lnTo>
                  <a:pt x="3130156" y="3768426"/>
                </a:lnTo>
                <a:lnTo>
                  <a:pt x="3125107" y="3765274"/>
                </a:lnTo>
                <a:cubicBezTo>
                  <a:pt x="3095270" y="3750371"/>
                  <a:pt x="3065434" y="3739194"/>
                  <a:pt x="3035597" y="3731743"/>
                </a:cubicBezTo>
                <a:cubicBezTo>
                  <a:pt x="2979653" y="3709387"/>
                  <a:pt x="2932097" y="3687035"/>
                  <a:pt x="2911816" y="3639531"/>
                </a:cubicBezTo>
                <a:close/>
                <a:moveTo>
                  <a:pt x="4285670" y="3538942"/>
                </a:moveTo>
                <a:lnTo>
                  <a:pt x="4285011" y="3539965"/>
                </a:lnTo>
                <a:lnTo>
                  <a:pt x="4251153" y="3571531"/>
                </a:lnTo>
                <a:lnTo>
                  <a:pt x="4239907" y="3590404"/>
                </a:lnTo>
                <a:lnTo>
                  <a:pt x="4268693" y="3585836"/>
                </a:lnTo>
                <a:cubicBezTo>
                  <a:pt x="4303657" y="3583740"/>
                  <a:pt x="4326035" y="3592123"/>
                  <a:pt x="4348414" y="3592123"/>
                </a:cubicBezTo>
                <a:lnTo>
                  <a:pt x="4361991" y="3595891"/>
                </a:lnTo>
                <a:lnTo>
                  <a:pt x="4357756" y="3584576"/>
                </a:lnTo>
                <a:lnTo>
                  <a:pt x="4358495" y="3580104"/>
                </a:lnTo>
                <a:lnTo>
                  <a:pt x="4323585" y="3564605"/>
                </a:lnTo>
                <a:close/>
                <a:moveTo>
                  <a:pt x="2586378" y="3530291"/>
                </a:moveTo>
                <a:lnTo>
                  <a:pt x="2587221" y="3541790"/>
                </a:lnTo>
                <a:lnTo>
                  <a:pt x="2602937" y="3532513"/>
                </a:lnTo>
                <a:close/>
                <a:moveTo>
                  <a:pt x="2687420" y="3484053"/>
                </a:moveTo>
                <a:lnTo>
                  <a:pt x="2691803" y="3500318"/>
                </a:lnTo>
                <a:lnTo>
                  <a:pt x="2692536" y="3499690"/>
                </a:lnTo>
                <a:cubicBezTo>
                  <a:pt x="2692536" y="3515071"/>
                  <a:pt x="2706891" y="3515071"/>
                  <a:pt x="2706891" y="3515071"/>
                </a:cubicBezTo>
                <a:lnTo>
                  <a:pt x="2707744" y="3517412"/>
                </a:lnTo>
                <a:lnTo>
                  <a:pt x="2740017" y="3500774"/>
                </a:lnTo>
                <a:lnTo>
                  <a:pt x="2720065" y="3492886"/>
                </a:lnTo>
                <a:close/>
                <a:moveTo>
                  <a:pt x="5605517" y="3452095"/>
                </a:moveTo>
                <a:lnTo>
                  <a:pt x="5571740" y="3502705"/>
                </a:lnTo>
                <a:lnTo>
                  <a:pt x="5555430" y="3527792"/>
                </a:lnTo>
                <a:lnTo>
                  <a:pt x="5590967" y="3506856"/>
                </a:lnTo>
                <a:cubicBezTo>
                  <a:pt x="5630129" y="3487295"/>
                  <a:pt x="5677681" y="3476118"/>
                  <a:pt x="5733626" y="3498474"/>
                </a:cubicBezTo>
                <a:cubicBezTo>
                  <a:pt x="5722437" y="3487296"/>
                  <a:pt x="5714044" y="3477051"/>
                  <a:pt x="5708216" y="3467503"/>
                </a:cubicBezTo>
                <a:lnTo>
                  <a:pt x="5705309" y="3459738"/>
                </a:lnTo>
                <a:lnTo>
                  <a:pt x="5697859" y="3464010"/>
                </a:lnTo>
                <a:cubicBezTo>
                  <a:pt x="5673472" y="3473340"/>
                  <a:pt x="5647211" y="3473340"/>
                  <a:pt x="5617198" y="3458411"/>
                </a:cubicBezTo>
                <a:close/>
                <a:moveTo>
                  <a:pt x="2584791" y="3439775"/>
                </a:moveTo>
                <a:lnTo>
                  <a:pt x="2582443" y="3476531"/>
                </a:lnTo>
                <a:lnTo>
                  <a:pt x="2583599" y="3492344"/>
                </a:lnTo>
                <a:lnTo>
                  <a:pt x="2589882" y="3491529"/>
                </a:lnTo>
                <a:cubicBezTo>
                  <a:pt x="2602936" y="3487804"/>
                  <a:pt x="2617855" y="3480354"/>
                  <a:pt x="2632772" y="3472902"/>
                </a:cubicBezTo>
                <a:lnTo>
                  <a:pt x="2636418" y="3470253"/>
                </a:lnTo>
                <a:lnTo>
                  <a:pt x="2630552" y="3468666"/>
                </a:lnTo>
                <a:close/>
                <a:moveTo>
                  <a:pt x="5838040" y="3429589"/>
                </a:moveTo>
                <a:lnTo>
                  <a:pt x="5830364" y="3436300"/>
                </a:lnTo>
                <a:cubicBezTo>
                  <a:pt x="5804955" y="3461682"/>
                  <a:pt x="5781179" y="3488229"/>
                  <a:pt x="5757869" y="3515240"/>
                </a:cubicBezTo>
                <a:lnTo>
                  <a:pt x="5653054" y="3633539"/>
                </a:lnTo>
                <a:lnTo>
                  <a:pt x="5687873" y="3642654"/>
                </a:lnTo>
                <a:cubicBezTo>
                  <a:pt x="5738522" y="3648252"/>
                  <a:pt x="5780728" y="3628659"/>
                  <a:pt x="5814493" y="3583872"/>
                </a:cubicBezTo>
                <a:lnTo>
                  <a:pt x="5819610" y="3581504"/>
                </a:lnTo>
                <a:lnTo>
                  <a:pt x="5844005" y="3541827"/>
                </a:lnTo>
                <a:cubicBezTo>
                  <a:pt x="5858925" y="3522268"/>
                  <a:pt x="5874776" y="3503172"/>
                  <a:pt x="5887831" y="3482448"/>
                </a:cubicBezTo>
                <a:lnTo>
                  <a:pt x="5891370" y="3473394"/>
                </a:lnTo>
                <a:lnTo>
                  <a:pt x="5871592" y="3462321"/>
                </a:lnTo>
                <a:close/>
                <a:moveTo>
                  <a:pt x="6484880" y="3425277"/>
                </a:moveTo>
                <a:lnTo>
                  <a:pt x="6466935" y="3448721"/>
                </a:lnTo>
                <a:lnTo>
                  <a:pt x="6467203" y="3448874"/>
                </a:lnTo>
                <a:cubicBezTo>
                  <a:pt x="6471632" y="3448641"/>
                  <a:pt x="6474894" y="3445380"/>
                  <a:pt x="6477692" y="3440723"/>
                </a:cubicBezTo>
                <a:close/>
                <a:moveTo>
                  <a:pt x="7287792" y="3379923"/>
                </a:moveTo>
                <a:lnTo>
                  <a:pt x="7280077" y="3385400"/>
                </a:lnTo>
                <a:lnTo>
                  <a:pt x="7274446" y="3391812"/>
                </a:lnTo>
                <a:lnTo>
                  <a:pt x="7266081" y="3404802"/>
                </a:lnTo>
                <a:lnTo>
                  <a:pt x="7297497" y="3395235"/>
                </a:lnTo>
                <a:lnTo>
                  <a:pt x="7307521" y="3389741"/>
                </a:lnTo>
                <a:lnTo>
                  <a:pt x="7305260" y="3383643"/>
                </a:lnTo>
                <a:cubicBezTo>
                  <a:pt x="7297807" y="3379923"/>
                  <a:pt x="7292217" y="3378991"/>
                  <a:pt x="7287792" y="3379923"/>
                </a:cubicBezTo>
                <a:close/>
                <a:moveTo>
                  <a:pt x="7165215" y="3322850"/>
                </a:moveTo>
                <a:lnTo>
                  <a:pt x="7167945" y="3324413"/>
                </a:lnTo>
                <a:lnTo>
                  <a:pt x="7171087" y="3324106"/>
                </a:lnTo>
                <a:close/>
                <a:moveTo>
                  <a:pt x="3278406" y="3305427"/>
                </a:moveTo>
                <a:lnTo>
                  <a:pt x="3262726" y="3325227"/>
                </a:lnTo>
                <a:cubicBezTo>
                  <a:pt x="3227294" y="3364347"/>
                  <a:pt x="3189997" y="3401605"/>
                  <a:pt x="3152702" y="3438863"/>
                </a:cubicBezTo>
                <a:cubicBezTo>
                  <a:pt x="3137785" y="3453764"/>
                  <a:pt x="3119137" y="3472393"/>
                  <a:pt x="3098624" y="3491021"/>
                </a:cubicBezTo>
                <a:lnTo>
                  <a:pt x="3054757" y="3526079"/>
                </a:lnTo>
                <a:lnTo>
                  <a:pt x="3065930" y="3527816"/>
                </a:lnTo>
                <a:cubicBezTo>
                  <a:pt x="3129766" y="3524964"/>
                  <a:pt x="3149348" y="3433682"/>
                  <a:pt x="3214616" y="3433682"/>
                </a:cubicBezTo>
                <a:cubicBezTo>
                  <a:pt x="3229536" y="3433682"/>
                  <a:pt x="3184783" y="3388974"/>
                  <a:pt x="3229536" y="3374073"/>
                </a:cubicBezTo>
                <a:cubicBezTo>
                  <a:pt x="3251915" y="3370347"/>
                  <a:pt x="3268698" y="3359171"/>
                  <a:pt x="3282917" y="3344732"/>
                </a:cubicBezTo>
                <a:lnTo>
                  <a:pt x="3299539" y="3323342"/>
                </a:lnTo>
                <a:lnTo>
                  <a:pt x="3286936" y="3315386"/>
                </a:lnTo>
                <a:close/>
                <a:moveTo>
                  <a:pt x="6585941" y="3284034"/>
                </a:moveTo>
                <a:lnTo>
                  <a:pt x="6571244" y="3296885"/>
                </a:lnTo>
                <a:lnTo>
                  <a:pt x="6519539" y="3379990"/>
                </a:lnTo>
                <a:lnTo>
                  <a:pt x="6499782" y="3405806"/>
                </a:lnTo>
                <a:lnTo>
                  <a:pt x="6519186" y="3393919"/>
                </a:lnTo>
                <a:cubicBezTo>
                  <a:pt x="6545760" y="3384838"/>
                  <a:pt x="6576528" y="3390428"/>
                  <a:pt x="6598908" y="3379249"/>
                </a:cubicBezTo>
                <a:lnTo>
                  <a:pt x="6627690" y="3379249"/>
                </a:lnTo>
                <a:lnTo>
                  <a:pt x="6614364" y="3366248"/>
                </a:lnTo>
                <a:cubicBezTo>
                  <a:pt x="6601310" y="3348551"/>
                  <a:pt x="6591986" y="3329456"/>
                  <a:pt x="6586858" y="3309197"/>
                </a:cubicBezTo>
                <a:close/>
                <a:moveTo>
                  <a:pt x="4080459" y="3268526"/>
                </a:moveTo>
                <a:lnTo>
                  <a:pt x="4070063" y="3279845"/>
                </a:lnTo>
                <a:lnTo>
                  <a:pt x="3938678" y="3428135"/>
                </a:lnTo>
                <a:lnTo>
                  <a:pt x="3942468" y="3435219"/>
                </a:lnTo>
                <a:cubicBezTo>
                  <a:pt x="3961384" y="3454507"/>
                  <a:pt x="3992984" y="3454638"/>
                  <a:pt x="4018683" y="3448875"/>
                </a:cubicBezTo>
                <a:lnTo>
                  <a:pt x="4025052" y="3446687"/>
                </a:lnTo>
                <a:lnTo>
                  <a:pt x="4050994" y="3417384"/>
                </a:lnTo>
                <a:cubicBezTo>
                  <a:pt x="4068710" y="3391770"/>
                  <a:pt x="4083627" y="3362895"/>
                  <a:pt x="4094818" y="3329364"/>
                </a:cubicBezTo>
                <a:cubicBezTo>
                  <a:pt x="4094818" y="3344265"/>
                  <a:pt x="4094818" y="3359171"/>
                  <a:pt x="4094818" y="3359171"/>
                </a:cubicBezTo>
                <a:cubicBezTo>
                  <a:pt x="4109737" y="3374073"/>
                  <a:pt x="4124651" y="3359171"/>
                  <a:pt x="4124651" y="3344265"/>
                </a:cubicBezTo>
                <a:lnTo>
                  <a:pt x="4132318" y="3334365"/>
                </a:lnTo>
                <a:lnTo>
                  <a:pt x="4125644" y="3301182"/>
                </a:lnTo>
                <a:lnTo>
                  <a:pt x="4126203" y="3297406"/>
                </a:lnTo>
                <a:close/>
                <a:moveTo>
                  <a:pt x="6669610" y="3260583"/>
                </a:moveTo>
                <a:lnTo>
                  <a:pt x="6642337" y="3263789"/>
                </a:lnTo>
                <a:cubicBezTo>
                  <a:pt x="6636742" y="3267515"/>
                  <a:pt x="6636742" y="3274966"/>
                  <a:pt x="6644201" y="3289870"/>
                </a:cubicBezTo>
                <a:cubicBezTo>
                  <a:pt x="6655388" y="3323402"/>
                  <a:pt x="6674969" y="3315018"/>
                  <a:pt x="6684060" y="3302444"/>
                </a:cubicBezTo>
                <a:lnTo>
                  <a:pt x="6684770" y="3300622"/>
                </a:lnTo>
                <a:lnTo>
                  <a:pt x="6659746" y="3272369"/>
                </a:lnTo>
                <a:close/>
                <a:moveTo>
                  <a:pt x="1760788" y="3257495"/>
                </a:moveTo>
                <a:lnTo>
                  <a:pt x="1743268" y="3295832"/>
                </a:lnTo>
                <a:cubicBezTo>
                  <a:pt x="1730214" y="3321913"/>
                  <a:pt x="1715295" y="3344268"/>
                  <a:pt x="1692919" y="3359171"/>
                </a:cubicBezTo>
                <a:cubicBezTo>
                  <a:pt x="1663081" y="3403880"/>
                  <a:pt x="1707839" y="3433682"/>
                  <a:pt x="1707839" y="3478392"/>
                </a:cubicBezTo>
                <a:cubicBezTo>
                  <a:pt x="1722754" y="3493297"/>
                  <a:pt x="1752592" y="3448589"/>
                  <a:pt x="1767513" y="3448589"/>
                </a:cubicBezTo>
                <a:cubicBezTo>
                  <a:pt x="1812265" y="3433682"/>
                  <a:pt x="1857025" y="3433682"/>
                  <a:pt x="1886860" y="3374073"/>
                </a:cubicBezTo>
                <a:cubicBezTo>
                  <a:pt x="1894319" y="3359170"/>
                  <a:pt x="1898048" y="3347992"/>
                  <a:pt x="1898048" y="3338679"/>
                </a:cubicBezTo>
                <a:lnTo>
                  <a:pt x="1892705" y="3327115"/>
                </a:lnTo>
                <a:lnTo>
                  <a:pt x="1882621" y="3322689"/>
                </a:lnTo>
                <a:cubicBezTo>
                  <a:pt x="1860241" y="3315238"/>
                  <a:pt x="1834133" y="3304061"/>
                  <a:pt x="1808026" y="3289158"/>
                </a:cubicBezTo>
                <a:lnTo>
                  <a:pt x="1766660" y="3258166"/>
                </a:lnTo>
                <a:close/>
                <a:moveTo>
                  <a:pt x="1408519" y="3257465"/>
                </a:moveTo>
                <a:lnTo>
                  <a:pt x="1345550" y="3307787"/>
                </a:lnTo>
                <a:cubicBezTo>
                  <a:pt x="1336225" y="3315238"/>
                  <a:pt x="1326669" y="3321292"/>
                  <a:pt x="1316965" y="3326096"/>
                </a:cubicBezTo>
                <a:lnTo>
                  <a:pt x="1300159" y="3332256"/>
                </a:lnTo>
                <a:lnTo>
                  <a:pt x="1315990" y="3336815"/>
                </a:lnTo>
                <a:cubicBezTo>
                  <a:pt x="1343264" y="3342403"/>
                  <a:pt x="1368439" y="3347993"/>
                  <a:pt x="1334873" y="3403880"/>
                </a:cubicBezTo>
                <a:cubicBezTo>
                  <a:pt x="1334873" y="3403880"/>
                  <a:pt x="1349789" y="3403880"/>
                  <a:pt x="1349789" y="3418781"/>
                </a:cubicBezTo>
                <a:cubicBezTo>
                  <a:pt x="1364708" y="3418781"/>
                  <a:pt x="1379628" y="3403880"/>
                  <a:pt x="1379628" y="3403880"/>
                </a:cubicBezTo>
                <a:cubicBezTo>
                  <a:pt x="1394546" y="3374073"/>
                  <a:pt x="1409467" y="3359171"/>
                  <a:pt x="1424381" y="3344265"/>
                </a:cubicBezTo>
                <a:cubicBezTo>
                  <a:pt x="1469139" y="3329364"/>
                  <a:pt x="1484059" y="3314462"/>
                  <a:pt x="1424381" y="3284655"/>
                </a:cubicBezTo>
                <a:cubicBezTo>
                  <a:pt x="1424381" y="3284655"/>
                  <a:pt x="1407600" y="3276271"/>
                  <a:pt x="1405503" y="3265792"/>
                </a:cubicBezTo>
                <a:close/>
                <a:moveTo>
                  <a:pt x="6686227" y="3251366"/>
                </a:moveTo>
                <a:lnTo>
                  <a:pt x="6678858" y="3256623"/>
                </a:lnTo>
                <a:lnTo>
                  <a:pt x="6686469" y="3255008"/>
                </a:lnTo>
                <a:close/>
                <a:moveTo>
                  <a:pt x="5743217" y="3245761"/>
                </a:moveTo>
                <a:lnTo>
                  <a:pt x="5720927" y="3279161"/>
                </a:lnTo>
                <a:lnTo>
                  <a:pt x="5673283" y="3350552"/>
                </a:lnTo>
                <a:lnTo>
                  <a:pt x="5682084" y="3350233"/>
                </a:lnTo>
                <a:lnTo>
                  <a:pt x="5688010" y="3345748"/>
                </a:lnTo>
                <a:cubicBezTo>
                  <a:pt x="5691292" y="3344114"/>
                  <a:pt x="5694107" y="3343648"/>
                  <a:pt x="5695982" y="3344581"/>
                </a:cubicBezTo>
                <a:lnTo>
                  <a:pt x="5697632" y="3349669"/>
                </a:lnTo>
                <a:lnTo>
                  <a:pt x="5703787" y="3349445"/>
                </a:lnTo>
                <a:lnTo>
                  <a:pt x="5698228" y="3351508"/>
                </a:lnTo>
                <a:lnTo>
                  <a:pt x="5698327" y="3351811"/>
                </a:lnTo>
                <a:cubicBezTo>
                  <a:pt x="5697859" y="3355777"/>
                  <a:pt x="5695982" y="3361376"/>
                  <a:pt x="5692229" y="3368840"/>
                </a:cubicBezTo>
                <a:cubicBezTo>
                  <a:pt x="5677224" y="3368840"/>
                  <a:pt x="5662218" y="3383768"/>
                  <a:pt x="5692229" y="3398697"/>
                </a:cubicBezTo>
                <a:cubicBezTo>
                  <a:pt x="5699734" y="3398697"/>
                  <a:pt x="5707238" y="3398697"/>
                  <a:pt x="5714742" y="3396831"/>
                </a:cubicBezTo>
                <a:lnTo>
                  <a:pt x="5718484" y="3394659"/>
                </a:lnTo>
                <a:lnTo>
                  <a:pt x="5718706" y="3394155"/>
                </a:lnTo>
                <a:lnTo>
                  <a:pt x="5735979" y="3379344"/>
                </a:lnTo>
                <a:lnTo>
                  <a:pt x="5735374" y="3377237"/>
                </a:lnTo>
                <a:cubicBezTo>
                  <a:pt x="5733498" y="3369773"/>
                  <a:pt x="5731624" y="3358576"/>
                  <a:pt x="5737251" y="3358577"/>
                </a:cubicBezTo>
                <a:lnTo>
                  <a:pt x="5750018" y="3367307"/>
                </a:lnTo>
                <a:lnTo>
                  <a:pt x="5750177" y="3367170"/>
                </a:lnTo>
                <a:lnTo>
                  <a:pt x="5764408" y="3338540"/>
                </a:lnTo>
                <a:lnTo>
                  <a:pt x="5759572" y="3331786"/>
                </a:lnTo>
                <a:cubicBezTo>
                  <a:pt x="5752812" y="3315951"/>
                  <a:pt x="5749081" y="3297322"/>
                  <a:pt x="5749081" y="3274968"/>
                </a:cubicBezTo>
                <a:cubicBezTo>
                  <a:pt x="5749081" y="3267516"/>
                  <a:pt x="5749081" y="3260064"/>
                  <a:pt x="5747217" y="3252613"/>
                </a:cubicBezTo>
                <a:close/>
                <a:moveTo>
                  <a:pt x="6672067" y="3218050"/>
                </a:moveTo>
                <a:lnTo>
                  <a:pt x="6652077" y="3226371"/>
                </a:lnTo>
                <a:lnTo>
                  <a:pt x="6653525" y="3228397"/>
                </a:lnTo>
                <a:cubicBezTo>
                  <a:pt x="6659118" y="3230260"/>
                  <a:pt x="6666577" y="3230260"/>
                  <a:pt x="6674036" y="3230260"/>
                </a:cubicBezTo>
                <a:lnTo>
                  <a:pt x="6679407" y="3222212"/>
                </a:lnTo>
                <a:close/>
                <a:moveTo>
                  <a:pt x="8175683" y="3208441"/>
                </a:moveTo>
                <a:lnTo>
                  <a:pt x="8183121" y="3215260"/>
                </a:lnTo>
                <a:lnTo>
                  <a:pt x="8180717" y="3215260"/>
                </a:lnTo>
                <a:lnTo>
                  <a:pt x="8180821" y="3215354"/>
                </a:lnTo>
                <a:lnTo>
                  <a:pt x="8165901" y="3215354"/>
                </a:lnTo>
                <a:lnTo>
                  <a:pt x="8173401" y="3208563"/>
                </a:lnTo>
                <a:lnTo>
                  <a:pt x="8174472" y="3209544"/>
                </a:lnTo>
                <a:close/>
                <a:moveTo>
                  <a:pt x="4011318" y="3207809"/>
                </a:moveTo>
                <a:lnTo>
                  <a:pt x="3999692" y="3221411"/>
                </a:lnTo>
                <a:lnTo>
                  <a:pt x="3980711" y="3252141"/>
                </a:lnTo>
                <a:lnTo>
                  <a:pt x="3992675" y="3250969"/>
                </a:lnTo>
                <a:cubicBezTo>
                  <a:pt x="4009458" y="3251901"/>
                  <a:pt x="4027173" y="3255627"/>
                  <a:pt x="4045822" y="3263078"/>
                </a:cubicBezTo>
                <a:cubicBezTo>
                  <a:pt x="4034632" y="3251902"/>
                  <a:pt x="4026241" y="3241656"/>
                  <a:pt x="4020413" y="3232108"/>
                </a:cubicBezTo>
                <a:close/>
                <a:moveTo>
                  <a:pt x="7257033" y="3202246"/>
                </a:moveTo>
                <a:lnTo>
                  <a:pt x="7228863" y="3216210"/>
                </a:lnTo>
                <a:cubicBezTo>
                  <a:pt x="7208367" y="3227371"/>
                  <a:pt x="7193461" y="3242253"/>
                  <a:pt x="7200914" y="3279460"/>
                </a:cubicBezTo>
                <a:cubicBezTo>
                  <a:pt x="7208367" y="3294343"/>
                  <a:pt x="7204641" y="3305505"/>
                  <a:pt x="7197188" y="3312948"/>
                </a:cubicBezTo>
                <a:lnTo>
                  <a:pt x="7171115" y="3324104"/>
                </a:lnTo>
                <a:lnTo>
                  <a:pt x="7187797" y="3322470"/>
                </a:lnTo>
                <a:lnTo>
                  <a:pt x="7192342" y="3323505"/>
                </a:lnTo>
                <a:lnTo>
                  <a:pt x="7196286" y="3316404"/>
                </a:lnTo>
                <a:cubicBezTo>
                  <a:pt x="7200045" y="3307934"/>
                  <a:pt x="7203543" y="3298155"/>
                  <a:pt x="7209138" y="3292566"/>
                </a:cubicBezTo>
                <a:lnTo>
                  <a:pt x="7210980" y="3291437"/>
                </a:lnTo>
                <a:lnTo>
                  <a:pt x="7205512" y="3276830"/>
                </a:lnTo>
                <a:cubicBezTo>
                  <a:pt x="7203647" y="3260064"/>
                  <a:pt x="7211107" y="3245161"/>
                  <a:pt x="7226025" y="3230260"/>
                </a:cubicBezTo>
                <a:cubicBezTo>
                  <a:pt x="7237215" y="3226534"/>
                  <a:pt x="7244675" y="3220944"/>
                  <a:pt x="7250269" y="3214191"/>
                </a:cubicBezTo>
                <a:close/>
                <a:moveTo>
                  <a:pt x="8902363" y="3186555"/>
                </a:moveTo>
                <a:cubicBezTo>
                  <a:pt x="8842333" y="3246268"/>
                  <a:pt x="8917369" y="3335840"/>
                  <a:pt x="8857343" y="3395554"/>
                </a:cubicBezTo>
                <a:cubicBezTo>
                  <a:pt x="8842333" y="3410482"/>
                  <a:pt x="8857343" y="3425411"/>
                  <a:pt x="8872347" y="3425411"/>
                </a:cubicBezTo>
                <a:cubicBezTo>
                  <a:pt x="8887353" y="3410482"/>
                  <a:pt x="8902363" y="3410482"/>
                  <a:pt x="8887353" y="3440341"/>
                </a:cubicBezTo>
                <a:cubicBezTo>
                  <a:pt x="8872347" y="3440341"/>
                  <a:pt x="8857343" y="3455268"/>
                  <a:pt x="8887353" y="3470197"/>
                </a:cubicBezTo>
                <a:cubicBezTo>
                  <a:pt x="8902363" y="3470197"/>
                  <a:pt x="8917369" y="3470197"/>
                  <a:pt x="8932374" y="3455268"/>
                </a:cubicBezTo>
                <a:cubicBezTo>
                  <a:pt x="8932374" y="3455268"/>
                  <a:pt x="8917369" y="3410482"/>
                  <a:pt x="8947383" y="3440341"/>
                </a:cubicBezTo>
                <a:cubicBezTo>
                  <a:pt x="8977394" y="3440341"/>
                  <a:pt x="8962389" y="3470197"/>
                  <a:pt x="8962389" y="3485126"/>
                </a:cubicBezTo>
                <a:cubicBezTo>
                  <a:pt x="8917369" y="3529911"/>
                  <a:pt x="8872347" y="3559768"/>
                  <a:pt x="8812321" y="3529911"/>
                </a:cubicBezTo>
                <a:cubicBezTo>
                  <a:pt x="8722280" y="3470197"/>
                  <a:pt x="8617229" y="3455268"/>
                  <a:pt x="8527188" y="3395554"/>
                </a:cubicBezTo>
                <a:cubicBezTo>
                  <a:pt x="8497177" y="3380625"/>
                  <a:pt x="8482166" y="3365697"/>
                  <a:pt x="8482166" y="3320912"/>
                </a:cubicBezTo>
                <a:cubicBezTo>
                  <a:pt x="8557203" y="3350769"/>
                  <a:pt x="8617229" y="3335840"/>
                  <a:pt x="8662249" y="3276127"/>
                </a:cubicBezTo>
                <a:cubicBezTo>
                  <a:pt x="8677260" y="3261197"/>
                  <a:pt x="8707271" y="3276127"/>
                  <a:pt x="8722280" y="3276127"/>
                </a:cubicBezTo>
                <a:cubicBezTo>
                  <a:pt x="8737285" y="3261197"/>
                  <a:pt x="8692265" y="3261197"/>
                  <a:pt x="8707271" y="3231340"/>
                </a:cubicBezTo>
                <a:cubicBezTo>
                  <a:pt x="8782307" y="3276127"/>
                  <a:pt x="8827327" y="3201483"/>
                  <a:pt x="8902363" y="3186555"/>
                </a:cubicBezTo>
                <a:close/>
                <a:moveTo>
                  <a:pt x="5835949" y="3163564"/>
                </a:moveTo>
                <a:lnTo>
                  <a:pt x="5827404" y="3179961"/>
                </a:lnTo>
                <a:cubicBezTo>
                  <a:pt x="5823675" y="3193001"/>
                  <a:pt x="5823675" y="3207903"/>
                  <a:pt x="5823675" y="3215354"/>
                </a:cubicBezTo>
                <a:cubicBezTo>
                  <a:pt x="5838594" y="3245161"/>
                  <a:pt x="5853513" y="3230260"/>
                  <a:pt x="5868433" y="3215354"/>
                </a:cubicBezTo>
                <a:cubicBezTo>
                  <a:pt x="5868433" y="3215354"/>
                  <a:pt x="5883352" y="3215354"/>
                  <a:pt x="5883352" y="3215354"/>
                </a:cubicBezTo>
                <a:cubicBezTo>
                  <a:pt x="5894542" y="3219080"/>
                  <a:pt x="5904564" y="3220477"/>
                  <a:pt x="5913684" y="3220069"/>
                </a:cubicBezTo>
                <a:lnTo>
                  <a:pt x="5922966" y="3217793"/>
                </a:lnTo>
                <a:lnTo>
                  <a:pt x="5925704" y="3211593"/>
                </a:lnTo>
                <a:lnTo>
                  <a:pt x="5931451" y="3205798"/>
                </a:lnTo>
                <a:lnTo>
                  <a:pt x="5918419" y="3196034"/>
                </a:lnTo>
                <a:cubicBezTo>
                  <a:pt x="5900702" y="3186021"/>
                  <a:pt x="5882055" y="3178104"/>
                  <a:pt x="5863406" y="3171582"/>
                </a:cubicBezTo>
                <a:close/>
                <a:moveTo>
                  <a:pt x="1518929" y="3147662"/>
                </a:moveTo>
                <a:lnTo>
                  <a:pt x="1464897" y="3203468"/>
                </a:lnTo>
                <a:lnTo>
                  <a:pt x="1414797" y="3251787"/>
                </a:lnTo>
                <a:lnTo>
                  <a:pt x="1420420" y="3248561"/>
                </a:lnTo>
                <a:cubicBezTo>
                  <a:pt x="1430908" y="3246466"/>
                  <a:pt x="1439301" y="3254848"/>
                  <a:pt x="1439301" y="3254848"/>
                </a:cubicBezTo>
                <a:cubicBezTo>
                  <a:pt x="1498974" y="3239946"/>
                  <a:pt x="1558652" y="3239946"/>
                  <a:pt x="1618326" y="3239946"/>
                </a:cubicBezTo>
                <a:cubicBezTo>
                  <a:pt x="1581029" y="3210138"/>
                  <a:pt x="1562382" y="3195236"/>
                  <a:pt x="1566110" y="3178470"/>
                </a:cubicBezTo>
                <a:lnTo>
                  <a:pt x="1575890" y="3166208"/>
                </a:lnTo>
                <a:lnTo>
                  <a:pt x="1537661" y="3155882"/>
                </a:lnTo>
                <a:close/>
                <a:moveTo>
                  <a:pt x="1376906" y="3075088"/>
                </a:moveTo>
                <a:lnTo>
                  <a:pt x="1367098" y="3078098"/>
                </a:lnTo>
                <a:lnTo>
                  <a:pt x="1355787" y="3076760"/>
                </a:lnTo>
                <a:lnTo>
                  <a:pt x="1360469" y="3099145"/>
                </a:lnTo>
                <a:cubicBezTo>
                  <a:pt x="1367927" y="3106597"/>
                  <a:pt x="1379115" y="3099147"/>
                  <a:pt x="1390304" y="3089834"/>
                </a:cubicBezTo>
                <a:lnTo>
                  <a:pt x="1393262" y="3087343"/>
                </a:lnTo>
                <a:close/>
                <a:moveTo>
                  <a:pt x="8272837" y="3035832"/>
                </a:moveTo>
                <a:cubicBezTo>
                  <a:pt x="8287788" y="3088168"/>
                  <a:pt x="8272837" y="3118070"/>
                  <a:pt x="8248536" y="3142366"/>
                </a:cubicBezTo>
                <a:lnTo>
                  <a:pt x="8175683" y="3208441"/>
                </a:lnTo>
                <a:lnTo>
                  <a:pt x="8174613" y="3207460"/>
                </a:lnTo>
                <a:lnTo>
                  <a:pt x="8173401" y="3208563"/>
                </a:lnTo>
                <a:lnTo>
                  <a:pt x="8158440" y="3194864"/>
                </a:lnTo>
                <a:cubicBezTo>
                  <a:pt x="8147251" y="3193002"/>
                  <a:pt x="8136061" y="3193002"/>
                  <a:pt x="8136061" y="3185551"/>
                </a:cubicBezTo>
                <a:cubicBezTo>
                  <a:pt x="8143521" y="3170645"/>
                  <a:pt x="8150981" y="3166920"/>
                  <a:pt x="8158440" y="3166920"/>
                </a:cubicBezTo>
                <a:lnTo>
                  <a:pt x="8160060" y="3167191"/>
                </a:lnTo>
                <a:lnTo>
                  <a:pt x="8160692" y="3166667"/>
                </a:lnTo>
                <a:lnTo>
                  <a:pt x="8181109" y="3170066"/>
                </a:lnTo>
                <a:lnTo>
                  <a:pt x="8195735" y="3140842"/>
                </a:lnTo>
                <a:cubicBezTo>
                  <a:pt x="8158440" y="3111035"/>
                  <a:pt x="8162171" y="3099858"/>
                  <a:pt x="8178953" y="3094271"/>
                </a:cubicBezTo>
                <a:lnTo>
                  <a:pt x="8181254" y="3093782"/>
                </a:lnTo>
                <a:lnTo>
                  <a:pt x="8181248" y="3093773"/>
                </a:lnTo>
                <a:lnTo>
                  <a:pt x="8240493" y="3081205"/>
                </a:lnTo>
                <a:lnTo>
                  <a:pt x="8244222" y="3053287"/>
                </a:lnTo>
                <a:cubicBezTo>
                  <a:pt x="8247953" y="3043974"/>
                  <a:pt x="8255407" y="3036519"/>
                  <a:pt x="8270327" y="3036519"/>
                </a:cubicBezTo>
                <a:lnTo>
                  <a:pt x="8270083" y="3037603"/>
                </a:lnTo>
                <a:close/>
                <a:moveTo>
                  <a:pt x="6111269" y="2975272"/>
                </a:moveTo>
                <a:lnTo>
                  <a:pt x="6102103" y="2990651"/>
                </a:lnTo>
                <a:lnTo>
                  <a:pt x="6079041" y="3028265"/>
                </a:lnTo>
                <a:lnTo>
                  <a:pt x="6106590" y="3021579"/>
                </a:lnTo>
                <a:close/>
                <a:moveTo>
                  <a:pt x="2302076" y="2868327"/>
                </a:moveTo>
                <a:lnTo>
                  <a:pt x="2297009" y="2870577"/>
                </a:lnTo>
                <a:lnTo>
                  <a:pt x="2286823" y="2900751"/>
                </a:lnTo>
                <a:cubicBezTo>
                  <a:pt x="2281694" y="2912859"/>
                  <a:pt x="2276099" y="2924036"/>
                  <a:pt x="2270505" y="2935213"/>
                </a:cubicBezTo>
                <a:lnTo>
                  <a:pt x="2255812" y="2966244"/>
                </a:lnTo>
                <a:lnTo>
                  <a:pt x="2261448" y="2963077"/>
                </a:lnTo>
                <a:lnTo>
                  <a:pt x="2263505" y="2961149"/>
                </a:lnTo>
                <a:lnTo>
                  <a:pt x="2266817" y="2951667"/>
                </a:lnTo>
                <a:cubicBezTo>
                  <a:pt x="2279406" y="2933503"/>
                  <a:pt x="2304581" y="2919533"/>
                  <a:pt x="2304581" y="2897177"/>
                </a:cubicBezTo>
                <a:close/>
                <a:moveTo>
                  <a:pt x="1231247" y="2826601"/>
                </a:moveTo>
                <a:lnTo>
                  <a:pt x="1203126" y="2862111"/>
                </a:lnTo>
                <a:lnTo>
                  <a:pt x="1270958" y="2860700"/>
                </a:lnTo>
                <a:close/>
                <a:moveTo>
                  <a:pt x="6179713" y="2754227"/>
                </a:moveTo>
                <a:lnTo>
                  <a:pt x="6153353" y="2774799"/>
                </a:lnTo>
                <a:lnTo>
                  <a:pt x="6153897" y="2775403"/>
                </a:lnTo>
                <a:cubicBezTo>
                  <a:pt x="6154829" y="2780513"/>
                  <a:pt x="6152965" y="2786086"/>
                  <a:pt x="6149237" y="2791660"/>
                </a:cubicBezTo>
                <a:lnTo>
                  <a:pt x="6148980" y="2791868"/>
                </a:lnTo>
                <a:lnTo>
                  <a:pt x="6149237" y="2792899"/>
                </a:lnTo>
                <a:lnTo>
                  <a:pt x="6133597" y="2805392"/>
                </a:lnTo>
                <a:lnTo>
                  <a:pt x="6125179" y="2827185"/>
                </a:lnTo>
                <a:cubicBezTo>
                  <a:pt x="6122149" y="2842321"/>
                  <a:pt x="6123548" y="2853964"/>
                  <a:pt x="6130075" y="2862347"/>
                </a:cubicBezTo>
                <a:lnTo>
                  <a:pt x="6134159" y="2864134"/>
                </a:lnTo>
                <a:lnTo>
                  <a:pt x="6143989" y="2836048"/>
                </a:lnTo>
                <a:cubicBezTo>
                  <a:pt x="6158343" y="2836048"/>
                  <a:pt x="6158343" y="2820673"/>
                  <a:pt x="6172698" y="2805292"/>
                </a:cubicBezTo>
                <a:lnTo>
                  <a:pt x="6173060" y="2806273"/>
                </a:lnTo>
                <a:lnTo>
                  <a:pt x="6176521" y="2780104"/>
                </a:lnTo>
                <a:lnTo>
                  <a:pt x="6189428" y="2759114"/>
                </a:lnTo>
                <a:lnTo>
                  <a:pt x="6182393" y="2755310"/>
                </a:lnTo>
                <a:close/>
                <a:moveTo>
                  <a:pt x="1103568" y="2748818"/>
                </a:moveTo>
                <a:lnTo>
                  <a:pt x="1106851" y="2756376"/>
                </a:lnTo>
                <a:cubicBezTo>
                  <a:pt x="1106851" y="2771282"/>
                  <a:pt x="1136691" y="2786184"/>
                  <a:pt x="1121771" y="2786184"/>
                </a:cubicBezTo>
                <a:cubicBezTo>
                  <a:pt x="1106851" y="2801086"/>
                  <a:pt x="1091931" y="2801086"/>
                  <a:pt x="1077012" y="2801086"/>
                </a:cubicBezTo>
                <a:cubicBezTo>
                  <a:pt x="1017339" y="2771282"/>
                  <a:pt x="1017339" y="2815991"/>
                  <a:pt x="1032258" y="2845793"/>
                </a:cubicBezTo>
                <a:lnTo>
                  <a:pt x="1026331" y="2876121"/>
                </a:lnTo>
                <a:lnTo>
                  <a:pt x="1052804" y="2868536"/>
                </a:lnTo>
                <a:cubicBezTo>
                  <a:pt x="1085673" y="2859454"/>
                  <a:pt x="1116443" y="2848277"/>
                  <a:pt x="1138819" y="2803570"/>
                </a:cubicBezTo>
                <a:cubicBezTo>
                  <a:pt x="1146279" y="2788665"/>
                  <a:pt x="1150008" y="2777488"/>
                  <a:pt x="1150008" y="2768174"/>
                </a:cubicBezTo>
                <a:lnTo>
                  <a:pt x="1146916" y="2761482"/>
                </a:lnTo>
                <a:lnTo>
                  <a:pt x="1109223" y="2751300"/>
                </a:lnTo>
                <a:close/>
                <a:moveTo>
                  <a:pt x="2382074" y="2735931"/>
                </a:moveTo>
                <a:lnTo>
                  <a:pt x="2364013" y="2775624"/>
                </a:lnTo>
                <a:lnTo>
                  <a:pt x="2362659" y="2781487"/>
                </a:lnTo>
                <a:lnTo>
                  <a:pt x="2394094" y="2777952"/>
                </a:lnTo>
                <a:close/>
                <a:moveTo>
                  <a:pt x="1004584" y="2704857"/>
                </a:moveTo>
                <a:lnTo>
                  <a:pt x="995228" y="2725328"/>
                </a:lnTo>
                <a:lnTo>
                  <a:pt x="994186" y="2727052"/>
                </a:lnTo>
                <a:lnTo>
                  <a:pt x="996303" y="2731927"/>
                </a:lnTo>
                <a:cubicBezTo>
                  <a:pt x="1008015" y="2745200"/>
                  <a:pt x="1027595" y="2739612"/>
                  <a:pt x="1047176" y="2734023"/>
                </a:cubicBezTo>
                <a:lnTo>
                  <a:pt x="1061553" y="2730379"/>
                </a:lnTo>
                <a:lnTo>
                  <a:pt x="1053512" y="2726850"/>
                </a:lnTo>
                <a:close/>
                <a:moveTo>
                  <a:pt x="2465078" y="2633724"/>
                </a:moveTo>
                <a:lnTo>
                  <a:pt x="2460013" y="2664082"/>
                </a:lnTo>
                <a:lnTo>
                  <a:pt x="2468688" y="2662457"/>
                </a:lnTo>
                <a:cubicBezTo>
                  <a:pt x="2491066" y="2662457"/>
                  <a:pt x="2513444" y="2666183"/>
                  <a:pt x="2528362" y="2673633"/>
                </a:cubicBezTo>
                <a:cubicBezTo>
                  <a:pt x="2550740" y="2684810"/>
                  <a:pt x="2564728" y="2695988"/>
                  <a:pt x="2576615" y="2688304"/>
                </a:cubicBezTo>
                <a:lnTo>
                  <a:pt x="2580224" y="2683668"/>
                </a:lnTo>
                <a:lnTo>
                  <a:pt x="2573405" y="2681827"/>
                </a:lnTo>
                <a:cubicBezTo>
                  <a:pt x="2554988" y="2676004"/>
                  <a:pt x="2536340" y="2668553"/>
                  <a:pt x="2517693" y="2657375"/>
                </a:cubicBezTo>
                <a:close/>
                <a:moveTo>
                  <a:pt x="3094488" y="2571175"/>
                </a:moveTo>
                <a:lnTo>
                  <a:pt x="3082446" y="2583411"/>
                </a:lnTo>
                <a:lnTo>
                  <a:pt x="3065207" y="2612334"/>
                </a:lnTo>
                <a:lnTo>
                  <a:pt x="3067633" y="2611386"/>
                </a:lnTo>
                <a:lnTo>
                  <a:pt x="3080332" y="2593625"/>
                </a:lnTo>
                <a:lnTo>
                  <a:pt x="3095988" y="2571730"/>
                </a:lnTo>
                <a:close/>
                <a:moveTo>
                  <a:pt x="7633239" y="2495434"/>
                </a:moveTo>
                <a:lnTo>
                  <a:pt x="7623509" y="2504745"/>
                </a:lnTo>
                <a:cubicBezTo>
                  <a:pt x="7601147" y="2518698"/>
                  <a:pt x="7578787" y="2519629"/>
                  <a:pt x="7556427" y="2518698"/>
                </a:cubicBezTo>
                <a:lnTo>
                  <a:pt x="7544781" y="2518214"/>
                </a:lnTo>
                <a:lnTo>
                  <a:pt x="7525784" y="2543034"/>
                </a:lnTo>
                <a:lnTo>
                  <a:pt x="7526941" y="2543775"/>
                </a:lnTo>
                <a:lnTo>
                  <a:pt x="7525855" y="2544172"/>
                </a:lnTo>
                <a:lnTo>
                  <a:pt x="7526941" y="2544864"/>
                </a:lnTo>
                <a:lnTo>
                  <a:pt x="7522375" y="2547501"/>
                </a:lnTo>
                <a:lnTo>
                  <a:pt x="7479029" y="2613426"/>
                </a:lnTo>
                <a:lnTo>
                  <a:pt x="7482217" y="2618083"/>
                </a:lnTo>
                <a:cubicBezTo>
                  <a:pt x="7497128" y="2625516"/>
                  <a:pt x="7497128" y="2636659"/>
                  <a:pt x="7489673" y="2647809"/>
                </a:cubicBezTo>
                <a:lnTo>
                  <a:pt x="7489417" y="2648017"/>
                </a:lnTo>
                <a:lnTo>
                  <a:pt x="7489673" y="2649047"/>
                </a:lnTo>
                <a:lnTo>
                  <a:pt x="7459976" y="2672768"/>
                </a:lnTo>
                <a:lnTo>
                  <a:pt x="7469229" y="2684026"/>
                </a:lnTo>
                <a:cubicBezTo>
                  <a:pt x="7476682" y="2698889"/>
                  <a:pt x="7484136" y="2691460"/>
                  <a:pt x="7493454" y="2684029"/>
                </a:cubicBezTo>
                <a:lnTo>
                  <a:pt x="7500283" y="2680368"/>
                </a:lnTo>
                <a:lnTo>
                  <a:pt x="7513133" y="2661440"/>
                </a:lnTo>
                <a:cubicBezTo>
                  <a:pt x="7516721" y="2665285"/>
                  <a:pt x="7517619" y="2669130"/>
                  <a:pt x="7517395" y="2672974"/>
                </a:cubicBezTo>
                <a:lnTo>
                  <a:pt x="7516635" y="2676521"/>
                </a:lnTo>
                <a:lnTo>
                  <a:pt x="7518347" y="2676712"/>
                </a:lnTo>
                <a:cubicBezTo>
                  <a:pt x="7521638" y="2677990"/>
                  <a:pt x="7525131" y="2680312"/>
                  <a:pt x="7528857" y="2684026"/>
                </a:cubicBezTo>
                <a:lnTo>
                  <a:pt x="7547630" y="2700702"/>
                </a:lnTo>
                <a:lnTo>
                  <a:pt x="7550814" y="2699888"/>
                </a:lnTo>
                <a:cubicBezTo>
                  <a:pt x="7555300" y="2699888"/>
                  <a:pt x="7558440" y="2701810"/>
                  <a:pt x="7557768" y="2707577"/>
                </a:cubicBezTo>
                <a:lnTo>
                  <a:pt x="7557193" y="2709195"/>
                </a:lnTo>
                <a:lnTo>
                  <a:pt x="7567288" y="2718163"/>
                </a:lnTo>
                <a:cubicBezTo>
                  <a:pt x="7581495" y="2726290"/>
                  <a:pt x="7596866" y="2731399"/>
                  <a:pt x="7612705" y="2734186"/>
                </a:cubicBezTo>
                <a:lnTo>
                  <a:pt x="7619855" y="2734495"/>
                </a:lnTo>
                <a:lnTo>
                  <a:pt x="7623829" y="2714688"/>
                </a:lnTo>
                <a:cubicBezTo>
                  <a:pt x="7630818" y="2699361"/>
                  <a:pt x="7641999" y="2688213"/>
                  <a:pt x="7654226" y="2678112"/>
                </a:cubicBezTo>
                <a:lnTo>
                  <a:pt x="7678281" y="2658241"/>
                </a:lnTo>
                <a:lnTo>
                  <a:pt x="7683841" y="2616210"/>
                </a:lnTo>
                <a:lnTo>
                  <a:pt x="7692015" y="2602915"/>
                </a:lnTo>
                <a:lnTo>
                  <a:pt x="7676004" y="2559748"/>
                </a:lnTo>
                <a:cubicBezTo>
                  <a:pt x="7646193" y="2544864"/>
                  <a:pt x="7646193" y="2574631"/>
                  <a:pt x="7631283" y="2589514"/>
                </a:cubicBezTo>
                <a:cubicBezTo>
                  <a:pt x="7616375" y="2634164"/>
                  <a:pt x="7586564" y="2619281"/>
                  <a:pt x="7556753" y="2589514"/>
                </a:cubicBezTo>
                <a:lnTo>
                  <a:pt x="7557575" y="2588900"/>
                </a:lnTo>
                <a:lnTo>
                  <a:pt x="7556753" y="2588361"/>
                </a:lnTo>
                <a:cubicBezTo>
                  <a:pt x="7571659" y="2573500"/>
                  <a:pt x="7586564" y="2558635"/>
                  <a:pt x="7616375" y="2543775"/>
                </a:cubicBezTo>
                <a:cubicBezTo>
                  <a:pt x="7623831" y="2543775"/>
                  <a:pt x="7635013" y="2547491"/>
                  <a:pt x="7644325" y="2547491"/>
                </a:cubicBezTo>
                <a:lnTo>
                  <a:pt x="7660709" y="2529339"/>
                </a:lnTo>
                <a:lnTo>
                  <a:pt x="7644325" y="2502077"/>
                </a:lnTo>
                <a:close/>
                <a:moveTo>
                  <a:pt x="9201246" y="2444172"/>
                </a:moveTo>
                <a:lnTo>
                  <a:pt x="9199664" y="2447442"/>
                </a:lnTo>
                <a:cubicBezTo>
                  <a:pt x="9192159" y="2454906"/>
                  <a:pt x="9192159" y="2462370"/>
                  <a:pt x="9195911" y="2467967"/>
                </a:cubicBezTo>
                <a:lnTo>
                  <a:pt x="9199579" y="2469792"/>
                </a:lnTo>
                <a:lnTo>
                  <a:pt x="9201865" y="2445842"/>
                </a:lnTo>
                <a:close/>
                <a:moveTo>
                  <a:pt x="7683559" y="2419714"/>
                </a:moveTo>
                <a:lnTo>
                  <a:pt x="7659841" y="2467075"/>
                </a:lnTo>
                <a:lnTo>
                  <a:pt x="7690657" y="2439967"/>
                </a:lnTo>
                <a:close/>
                <a:moveTo>
                  <a:pt x="1412650" y="2410649"/>
                </a:moveTo>
                <a:lnTo>
                  <a:pt x="1411557" y="2413888"/>
                </a:lnTo>
                <a:lnTo>
                  <a:pt x="1409347" y="2448500"/>
                </a:lnTo>
                <a:lnTo>
                  <a:pt x="1448115" y="2428513"/>
                </a:lnTo>
                <a:lnTo>
                  <a:pt x="1448399" y="2428011"/>
                </a:lnTo>
                <a:lnTo>
                  <a:pt x="1433967" y="2424106"/>
                </a:lnTo>
                <a:close/>
                <a:moveTo>
                  <a:pt x="875069" y="2338694"/>
                </a:moveTo>
                <a:lnTo>
                  <a:pt x="858404" y="2354045"/>
                </a:lnTo>
                <a:cubicBezTo>
                  <a:pt x="853043" y="2359866"/>
                  <a:pt x="848381" y="2365455"/>
                  <a:pt x="844652" y="2369180"/>
                </a:cubicBezTo>
                <a:lnTo>
                  <a:pt x="775510" y="2456491"/>
                </a:lnTo>
                <a:lnTo>
                  <a:pt x="782526" y="2457362"/>
                </a:lnTo>
                <a:cubicBezTo>
                  <a:pt x="798226" y="2459933"/>
                  <a:pt x="813003" y="2464605"/>
                  <a:pt x="824085" y="2475819"/>
                </a:cubicBezTo>
                <a:lnTo>
                  <a:pt x="824081" y="2475819"/>
                </a:lnTo>
                <a:lnTo>
                  <a:pt x="824085" y="2475823"/>
                </a:lnTo>
                <a:cubicBezTo>
                  <a:pt x="796380" y="2475823"/>
                  <a:pt x="768672" y="2505028"/>
                  <a:pt x="740965" y="2508678"/>
                </a:cubicBezTo>
                <a:lnTo>
                  <a:pt x="732262" y="2507989"/>
                </a:lnTo>
                <a:lnTo>
                  <a:pt x="696845" y="2544568"/>
                </a:lnTo>
                <a:lnTo>
                  <a:pt x="697380" y="2544861"/>
                </a:lnTo>
                <a:cubicBezTo>
                  <a:pt x="701285" y="2549285"/>
                  <a:pt x="704315" y="2555805"/>
                  <a:pt x="706181" y="2565119"/>
                </a:cubicBezTo>
                <a:cubicBezTo>
                  <a:pt x="706181" y="2580025"/>
                  <a:pt x="736020" y="2594927"/>
                  <a:pt x="721100" y="2594927"/>
                </a:cubicBezTo>
                <a:cubicBezTo>
                  <a:pt x="706181" y="2609828"/>
                  <a:pt x="691261" y="2609828"/>
                  <a:pt x="676342" y="2609828"/>
                </a:cubicBezTo>
                <a:lnTo>
                  <a:pt x="642899" y="2600285"/>
                </a:lnTo>
                <a:lnTo>
                  <a:pt x="635789" y="2607629"/>
                </a:lnTo>
                <a:lnTo>
                  <a:pt x="625190" y="2617853"/>
                </a:lnTo>
                <a:lnTo>
                  <a:pt x="623894" y="2630787"/>
                </a:lnTo>
                <a:cubicBezTo>
                  <a:pt x="625060" y="2638703"/>
                  <a:pt x="627857" y="2647086"/>
                  <a:pt x="631588" y="2654537"/>
                </a:cubicBezTo>
                <a:cubicBezTo>
                  <a:pt x="631588" y="2714151"/>
                  <a:pt x="586834" y="2743959"/>
                  <a:pt x="542075" y="2758861"/>
                </a:cubicBezTo>
                <a:cubicBezTo>
                  <a:pt x="571914" y="2773763"/>
                  <a:pt x="631588" y="2758861"/>
                  <a:pt x="586834" y="2833377"/>
                </a:cubicBezTo>
                <a:cubicBezTo>
                  <a:pt x="586834" y="2833377"/>
                  <a:pt x="601749" y="2833377"/>
                  <a:pt x="601749" y="2848278"/>
                </a:cubicBezTo>
                <a:cubicBezTo>
                  <a:pt x="616668" y="2848278"/>
                  <a:pt x="631588" y="2833377"/>
                  <a:pt x="631588" y="2833377"/>
                </a:cubicBezTo>
                <a:cubicBezTo>
                  <a:pt x="646507" y="2803570"/>
                  <a:pt x="661426" y="2788668"/>
                  <a:pt x="676342" y="2773763"/>
                </a:cubicBezTo>
                <a:cubicBezTo>
                  <a:pt x="721100" y="2758861"/>
                  <a:pt x="736020" y="2743959"/>
                  <a:pt x="676342" y="2714151"/>
                </a:cubicBezTo>
                <a:cubicBezTo>
                  <a:pt x="676342" y="2714151"/>
                  <a:pt x="646507" y="2699246"/>
                  <a:pt x="661426" y="2684344"/>
                </a:cubicBezTo>
                <a:cubicBezTo>
                  <a:pt x="676342" y="2669443"/>
                  <a:pt x="691261" y="2684344"/>
                  <a:pt x="691261" y="2684344"/>
                </a:cubicBezTo>
                <a:cubicBezTo>
                  <a:pt x="750934" y="2669443"/>
                  <a:pt x="810612" y="2669443"/>
                  <a:pt x="870286" y="2669443"/>
                </a:cubicBezTo>
                <a:cubicBezTo>
                  <a:pt x="795694" y="2609828"/>
                  <a:pt x="795694" y="2609828"/>
                  <a:pt x="900120" y="2535317"/>
                </a:cubicBezTo>
                <a:cubicBezTo>
                  <a:pt x="870286" y="2505509"/>
                  <a:pt x="825528" y="2490608"/>
                  <a:pt x="885205" y="2445900"/>
                </a:cubicBezTo>
                <a:cubicBezTo>
                  <a:pt x="888934" y="2445900"/>
                  <a:pt x="896392" y="2446830"/>
                  <a:pt x="904784" y="2447297"/>
                </a:cubicBezTo>
                <a:lnTo>
                  <a:pt x="925476" y="2446147"/>
                </a:lnTo>
                <a:lnTo>
                  <a:pt x="926703" y="2443696"/>
                </a:lnTo>
                <a:cubicBezTo>
                  <a:pt x="930432" y="2439970"/>
                  <a:pt x="934160" y="2436246"/>
                  <a:pt x="934160" y="2428795"/>
                </a:cubicBezTo>
                <a:lnTo>
                  <a:pt x="933433" y="2409171"/>
                </a:lnTo>
                <a:lnTo>
                  <a:pt x="929959" y="2401190"/>
                </a:lnTo>
                <a:cubicBezTo>
                  <a:pt x="922499" y="2371383"/>
                  <a:pt x="911311" y="2352754"/>
                  <a:pt x="894527" y="2343439"/>
                </a:cubicBezTo>
                <a:close/>
                <a:moveTo>
                  <a:pt x="1500348" y="2208067"/>
                </a:moveTo>
                <a:lnTo>
                  <a:pt x="1493770" y="2210258"/>
                </a:lnTo>
                <a:lnTo>
                  <a:pt x="1488895" y="2222071"/>
                </a:lnTo>
                <a:lnTo>
                  <a:pt x="1493642" y="2230370"/>
                </a:lnTo>
                <a:lnTo>
                  <a:pt x="1498196" y="2228715"/>
                </a:lnTo>
                <a:close/>
                <a:moveTo>
                  <a:pt x="9168419" y="2187490"/>
                </a:moveTo>
                <a:cubicBezTo>
                  <a:pt x="9138603" y="2232141"/>
                  <a:pt x="9064072" y="2217257"/>
                  <a:pt x="9078978" y="2291669"/>
                </a:cubicBezTo>
                <a:lnTo>
                  <a:pt x="9079630" y="2295090"/>
                </a:lnTo>
                <a:lnTo>
                  <a:pt x="9101179" y="2297223"/>
                </a:lnTo>
                <a:cubicBezTo>
                  <a:pt x="9117124" y="2296290"/>
                  <a:pt x="9132131" y="2290691"/>
                  <a:pt x="9147138" y="2283228"/>
                </a:cubicBezTo>
                <a:lnTo>
                  <a:pt x="9191887" y="2258699"/>
                </a:lnTo>
                <a:lnTo>
                  <a:pt x="9185186" y="2239583"/>
                </a:lnTo>
                <a:cubicBezTo>
                  <a:pt x="9175869" y="2228420"/>
                  <a:pt x="9168419" y="2217257"/>
                  <a:pt x="9183325" y="2202374"/>
                </a:cubicBezTo>
                <a:cubicBezTo>
                  <a:pt x="9183325" y="2202374"/>
                  <a:pt x="9168419" y="2187490"/>
                  <a:pt x="9168419" y="2187490"/>
                </a:cubicBezTo>
                <a:close/>
                <a:moveTo>
                  <a:pt x="827225" y="2118607"/>
                </a:moveTo>
                <a:cubicBezTo>
                  <a:pt x="833954" y="2116365"/>
                  <a:pt x="842028" y="2116365"/>
                  <a:pt x="852794" y="2119953"/>
                </a:cubicBezTo>
                <a:cubicBezTo>
                  <a:pt x="852794" y="2119953"/>
                  <a:pt x="852794" y="2134307"/>
                  <a:pt x="852794" y="2148661"/>
                </a:cubicBezTo>
                <a:cubicBezTo>
                  <a:pt x="824085" y="2148661"/>
                  <a:pt x="824085" y="2191724"/>
                  <a:pt x="766667" y="2163016"/>
                </a:cubicBezTo>
                <a:cubicBezTo>
                  <a:pt x="798965" y="2152249"/>
                  <a:pt x="807039" y="2125336"/>
                  <a:pt x="827225" y="2118607"/>
                </a:cubicBezTo>
                <a:close/>
                <a:moveTo>
                  <a:pt x="262656" y="1966570"/>
                </a:moveTo>
                <a:cubicBezTo>
                  <a:pt x="247881" y="2086189"/>
                  <a:pt x="351318" y="2026379"/>
                  <a:pt x="395648" y="2071237"/>
                </a:cubicBezTo>
                <a:lnTo>
                  <a:pt x="395642" y="2071237"/>
                </a:lnTo>
                <a:lnTo>
                  <a:pt x="395648" y="2071241"/>
                </a:lnTo>
                <a:cubicBezTo>
                  <a:pt x="351318" y="2071241"/>
                  <a:pt x="306985" y="2146002"/>
                  <a:pt x="262656" y="2071241"/>
                </a:cubicBezTo>
                <a:cubicBezTo>
                  <a:pt x="247881" y="2056285"/>
                  <a:pt x="247881" y="2071241"/>
                  <a:pt x="233102" y="2086193"/>
                </a:cubicBezTo>
                <a:cubicBezTo>
                  <a:pt x="203551" y="2101144"/>
                  <a:pt x="173998" y="2116095"/>
                  <a:pt x="159218" y="2086193"/>
                </a:cubicBezTo>
                <a:lnTo>
                  <a:pt x="159223" y="2086189"/>
                </a:lnTo>
                <a:lnTo>
                  <a:pt x="159218" y="2086189"/>
                </a:lnTo>
                <a:cubicBezTo>
                  <a:pt x="144444" y="2056282"/>
                  <a:pt x="173998" y="2026379"/>
                  <a:pt x="203551" y="2026379"/>
                </a:cubicBezTo>
                <a:cubicBezTo>
                  <a:pt x="218327" y="2011428"/>
                  <a:pt x="233102" y="1996472"/>
                  <a:pt x="262656" y="1966570"/>
                </a:cubicBezTo>
                <a:close/>
                <a:moveTo>
                  <a:pt x="778537" y="1920319"/>
                </a:moveTo>
                <a:lnTo>
                  <a:pt x="775651" y="1922092"/>
                </a:lnTo>
                <a:cubicBezTo>
                  <a:pt x="766328" y="1925817"/>
                  <a:pt x="755139" y="1929542"/>
                  <a:pt x="740221" y="1936994"/>
                </a:cubicBezTo>
                <a:cubicBezTo>
                  <a:pt x="740221" y="1936994"/>
                  <a:pt x="740221" y="1951898"/>
                  <a:pt x="740221" y="1951898"/>
                </a:cubicBezTo>
                <a:cubicBezTo>
                  <a:pt x="755139" y="2011509"/>
                  <a:pt x="710381" y="2041317"/>
                  <a:pt x="680547" y="2086025"/>
                </a:cubicBezTo>
                <a:cubicBezTo>
                  <a:pt x="650708" y="2145636"/>
                  <a:pt x="635789" y="2190344"/>
                  <a:pt x="605954" y="2235054"/>
                </a:cubicBezTo>
                <a:cubicBezTo>
                  <a:pt x="576115" y="2294664"/>
                  <a:pt x="561195" y="2354279"/>
                  <a:pt x="516441" y="2384087"/>
                </a:cubicBezTo>
                <a:cubicBezTo>
                  <a:pt x="486603" y="2428795"/>
                  <a:pt x="531362" y="2458598"/>
                  <a:pt x="531362" y="2503306"/>
                </a:cubicBezTo>
                <a:cubicBezTo>
                  <a:pt x="542547" y="2514485"/>
                  <a:pt x="562128" y="2492132"/>
                  <a:pt x="577513" y="2480257"/>
                </a:cubicBezTo>
                <a:lnTo>
                  <a:pt x="585379" y="2476328"/>
                </a:lnTo>
                <a:lnTo>
                  <a:pt x="584194" y="2468809"/>
                </a:lnTo>
                <a:cubicBezTo>
                  <a:pt x="587658" y="2447782"/>
                  <a:pt x="609825" y="2430961"/>
                  <a:pt x="631989" y="2430961"/>
                </a:cubicBezTo>
                <a:cubicBezTo>
                  <a:pt x="646764" y="2416010"/>
                  <a:pt x="661540" y="2401055"/>
                  <a:pt x="691093" y="2371153"/>
                </a:cubicBezTo>
                <a:cubicBezTo>
                  <a:pt x="689246" y="2386105"/>
                  <a:pt x="689246" y="2398254"/>
                  <a:pt x="690748" y="2408153"/>
                </a:cubicBezTo>
                <a:lnTo>
                  <a:pt x="695167" y="2420152"/>
                </a:lnTo>
                <a:lnTo>
                  <a:pt x="710381" y="2398988"/>
                </a:lnTo>
                <a:cubicBezTo>
                  <a:pt x="725301" y="2369180"/>
                  <a:pt x="725301" y="2354279"/>
                  <a:pt x="710381" y="2339377"/>
                </a:cubicBezTo>
                <a:cubicBezTo>
                  <a:pt x="743950" y="2324474"/>
                  <a:pt x="775651" y="2308639"/>
                  <a:pt x="805256" y="2291173"/>
                </a:cubicBezTo>
                <a:lnTo>
                  <a:pt x="831948" y="2272364"/>
                </a:lnTo>
                <a:lnTo>
                  <a:pt x="825530" y="2270788"/>
                </a:lnTo>
                <a:cubicBezTo>
                  <a:pt x="806881" y="2267061"/>
                  <a:pt x="788233" y="2267061"/>
                  <a:pt x="765854" y="2281965"/>
                </a:cubicBezTo>
                <a:cubicBezTo>
                  <a:pt x="765854" y="2296867"/>
                  <a:pt x="750934" y="2296867"/>
                  <a:pt x="750934" y="2281965"/>
                </a:cubicBezTo>
                <a:cubicBezTo>
                  <a:pt x="750934" y="2267064"/>
                  <a:pt x="750934" y="2252157"/>
                  <a:pt x="750934" y="2252157"/>
                </a:cubicBezTo>
                <a:cubicBezTo>
                  <a:pt x="780774" y="2252157"/>
                  <a:pt x="795694" y="2177646"/>
                  <a:pt x="840446" y="2237257"/>
                </a:cubicBezTo>
                <a:cubicBezTo>
                  <a:pt x="847906" y="2244707"/>
                  <a:pt x="859095" y="2244707"/>
                  <a:pt x="872149" y="2240982"/>
                </a:cubicBezTo>
                <a:lnTo>
                  <a:pt x="883446" y="2236076"/>
                </a:lnTo>
                <a:lnTo>
                  <a:pt x="887541" y="2233190"/>
                </a:lnTo>
                <a:cubicBezTo>
                  <a:pt x="937891" y="2190343"/>
                  <a:pt x="978917" y="2138183"/>
                  <a:pt x="1008754" y="2071119"/>
                </a:cubicBezTo>
                <a:lnTo>
                  <a:pt x="1008788" y="2070986"/>
                </a:lnTo>
                <a:lnTo>
                  <a:pt x="973908" y="2057193"/>
                </a:lnTo>
                <a:lnTo>
                  <a:pt x="945862" y="2049604"/>
                </a:lnTo>
                <a:lnTo>
                  <a:pt x="917877" y="2075688"/>
                </a:lnTo>
                <a:cubicBezTo>
                  <a:pt x="895368" y="2090642"/>
                  <a:pt x="869106" y="2098119"/>
                  <a:pt x="854100" y="2090643"/>
                </a:cubicBezTo>
                <a:cubicBezTo>
                  <a:pt x="839090" y="2090643"/>
                  <a:pt x="824085" y="2075686"/>
                  <a:pt x="839090" y="2060736"/>
                </a:cubicBezTo>
                <a:lnTo>
                  <a:pt x="840723" y="2058968"/>
                </a:lnTo>
                <a:lnTo>
                  <a:pt x="840446" y="2058420"/>
                </a:lnTo>
                <a:cubicBezTo>
                  <a:pt x="855365" y="2054695"/>
                  <a:pt x="864689" y="2048175"/>
                  <a:pt x="870984" y="2040024"/>
                </a:cubicBezTo>
                <a:lnTo>
                  <a:pt x="876311" y="2027871"/>
                </a:lnTo>
                <a:lnTo>
                  <a:pt x="826119" y="1996182"/>
                </a:lnTo>
                <a:cubicBezTo>
                  <a:pt x="809802" y="1982677"/>
                  <a:pt x="796748" y="1967774"/>
                  <a:pt x="787424" y="1951008"/>
                </a:cubicBezTo>
                <a:close/>
                <a:moveTo>
                  <a:pt x="740221" y="1847576"/>
                </a:moveTo>
                <a:cubicBezTo>
                  <a:pt x="740221" y="1869931"/>
                  <a:pt x="751409" y="1877382"/>
                  <a:pt x="764462" y="1882972"/>
                </a:cubicBezTo>
                <a:lnTo>
                  <a:pt x="772157" y="1886318"/>
                </a:lnTo>
                <a:lnTo>
                  <a:pt x="776176" y="1854408"/>
                </a:lnTo>
                <a:lnTo>
                  <a:pt x="765163" y="1851768"/>
                </a:lnTo>
                <a:cubicBezTo>
                  <a:pt x="756072" y="1849439"/>
                  <a:pt x="747680" y="1847576"/>
                  <a:pt x="740221" y="1847576"/>
                </a:cubicBezTo>
                <a:close/>
                <a:moveTo>
                  <a:pt x="398787" y="1714025"/>
                </a:moveTo>
                <a:cubicBezTo>
                  <a:pt x="405516" y="1711782"/>
                  <a:pt x="413590" y="1711782"/>
                  <a:pt x="424356" y="1715371"/>
                </a:cubicBezTo>
                <a:cubicBezTo>
                  <a:pt x="424356" y="1715371"/>
                  <a:pt x="424356" y="1729725"/>
                  <a:pt x="424356" y="1744079"/>
                </a:cubicBezTo>
                <a:cubicBezTo>
                  <a:pt x="395648" y="1744079"/>
                  <a:pt x="395648" y="1787142"/>
                  <a:pt x="338230" y="1758434"/>
                </a:cubicBezTo>
                <a:cubicBezTo>
                  <a:pt x="370527" y="1747668"/>
                  <a:pt x="378601" y="1720754"/>
                  <a:pt x="398787" y="1714025"/>
                </a:cubicBezTo>
                <a:close/>
                <a:moveTo>
                  <a:pt x="9362775" y="1549431"/>
                </a:moveTo>
                <a:cubicBezTo>
                  <a:pt x="9377129" y="1564812"/>
                  <a:pt x="9348420" y="1580188"/>
                  <a:pt x="9377129" y="1595569"/>
                </a:cubicBezTo>
                <a:cubicBezTo>
                  <a:pt x="9377129" y="1595569"/>
                  <a:pt x="9434547" y="1564812"/>
                  <a:pt x="9391483" y="1626325"/>
                </a:cubicBezTo>
                <a:cubicBezTo>
                  <a:pt x="9377129" y="1641706"/>
                  <a:pt x="9362775" y="1657087"/>
                  <a:pt x="9334067" y="1641706"/>
                </a:cubicBezTo>
                <a:cubicBezTo>
                  <a:pt x="9319713" y="1626325"/>
                  <a:pt x="9319713" y="1595569"/>
                  <a:pt x="9334067" y="1580188"/>
                </a:cubicBezTo>
                <a:cubicBezTo>
                  <a:pt x="9348420" y="1580188"/>
                  <a:pt x="9348420" y="1564812"/>
                  <a:pt x="9362775" y="1549431"/>
                </a:cubicBezTo>
                <a:close/>
                <a:moveTo>
                  <a:pt x="506650" y="1539038"/>
                </a:moveTo>
                <a:cubicBezTo>
                  <a:pt x="512712" y="1538805"/>
                  <a:pt x="518305" y="1541134"/>
                  <a:pt x="523901" y="1543928"/>
                </a:cubicBezTo>
                <a:cubicBezTo>
                  <a:pt x="535090" y="1549519"/>
                  <a:pt x="546281" y="1556971"/>
                  <a:pt x="561195" y="1549516"/>
                </a:cubicBezTo>
                <a:lnTo>
                  <a:pt x="560245" y="1551418"/>
                </a:lnTo>
                <a:lnTo>
                  <a:pt x="560725" y="1551487"/>
                </a:lnTo>
                <a:cubicBezTo>
                  <a:pt x="560725" y="1581394"/>
                  <a:pt x="530710" y="1581394"/>
                  <a:pt x="530710" y="1611295"/>
                </a:cubicBezTo>
                <a:cubicBezTo>
                  <a:pt x="530710" y="1656154"/>
                  <a:pt x="455674" y="1701011"/>
                  <a:pt x="425663" y="1686061"/>
                </a:cubicBezTo>
                <a:cubicBezTo>
                  <a:pt x="410653" y="1686061"/>
                  <a:pt x="395648" y="1671104"/>
                  <a:pt x="410653" y="1656154"/>
                </a:cubicBezTo>
                <a:lnTo>
                  <a:pt x="412285" y="1654386"/>
                </a:lnTo>
                <a:lnTo>
                  <a:pt x="412009" y="1653838"/>
                </a:lnTo>
                <a:cubicBezTo>
                  <a:pt x="471683" y="1638933"/>
                  <a:pt x="441849" y="1579323"/>
                  <a:pt x="486603" y="1549516"/>
                </a:cubicBezTo>
                <a:cubicBezTo>
                  <a:pt x="494062" y="1542065"/>
                  <a:pt x="500589" y="1539270"/>
                  <a:pt x="506650" y="1539038"/>
                </a:cubicBezTo>
                <a:close/>
                <a:moveTo>
                  <a:pt x="1211997" y="1328339"/>
                </a:moveTo>
                <a:lnTo>
                  <a:pt x="1130354" y="1449786"/>
                </a:lnTo>
                <a:lnTo>
                  <a:pt x="1147358" y="1454309"/>
                </a:lnTo>
                <a:cubicBezTo>
                  <a:pt x="1154400" y="1457200"/>
                  <a:pt x="1160864" y="1461172"/>
                  <a:pt x="1166405" y="1466778"/>
                </a:cubicBezTo>
                <a:lnTo>
                  <a:pt x="1166401" y="1466778"/>
                </a:lnTo>
                <a:lnTo>
                  <a:pt x="1166405" y="1466783"/>
                </a:lnTo>
                <a:cubicBezTo>
                  <a:pt x="1155323" y="1466783"/>
                  <a:pt x="1144240" y="1471456"/>
                  <a:pt x="1133157" y="1477297"/>
                </a:cubicBezTo>
                <a:lnTo>
                  <a:pt x="1100176" y="1494679"/>
                </a:lnTo>
                <a:lnTo>
                  <a:pt x="1083346" y="1519712"/>
                </a:lnTo>
                <a:lnTo>
                  <a:pt x="1049825" y="1558159"/>
                </a:lnTo>
                <a:lnTo>
                  <a:pt x="1061555" y="1576572"/>
                </a:lnTo>
                <a:cubicBezTo>
                  <a:pt x="1067150" y="1582161"/>
                  <a:pt x="1070880" y="1585885"/>
                  <a:pt x="1063419" y="1585885"/>
                </a:cubicBezTo>
                <a:cubicBezTo>
                  <a:pt x="1048500" y="1600787"/>
                  <a:pt x="1033581" y="1600787"/>
                  <a:pt x="1018661" y="1600787"/>
                </a:cubicBezTo>
                <a:lnTo>
                  <a:pt x="1014405" y="1599572"/>
                </a:lnTo>
                <a:lnTo>
                  <a:pt x="993838" y="1624031"/>
                </a:lnTo>
                <a:cubicBezTo>
                  <a:pt x="990109" y="1631484"/>
                  <a:pt x="982648" y="1637073"/>
                  <a:pt x="974257" y="1642196"/>
                </a:cubicBezTo>
                <a:lnTo>
                  <a:pt x="973073" y="1642918"/>
                </a:lnTo>
                <a:lnTo>
                  <a:pt x="973908" y="1645497"/>
                </a:lnTo>
                <a:cubicBezTo>
                  <a:pt x="973908" y="1660400"/>
                  <a:pt x="971110" y="1673441"/>
                  <a:pt x="966215" y="1684852"/>
                </a:cubicBezTo>
                <a:lnTo>
                  <a:pt x="948168" y="1711171"/>
                </a:lnTo>
                <a:lnTo>
                  <a:pt x="949080" y="1713450"/>
                </a:lnTo>
                <a:lnTo>
                  <a:pt x="946345" y="1713829"/>
                </a:lnTo>
                <a:lnTo>
                  <a:pt x="945936" y="1714425"/>
                </a:lnTo>
                <a:cubicBezTo>
                  <a:pt x="937544" y="1722809"/>
                  <a:pt x="927754" y="1729794"/>
                  <a:pt x="917264" y="1735616"/>
                </a:cubicBezTo>
                <a:lnTo>
                  <a:pt x="891220" y="1746870"/>
                </a:lnTo>
                <a:lnTo>
                  <a:pt x="888889" y="1751114"/>
                </a:lnTo>
                <a:lnTo>
                  <a:pt x="910271" y="1757270"/>
                </a:lnTo>
                <a:cubicBezTo>
                  <a:pt x="937544" y="1762859"/>
                  <a:pt x="962719" y="1768449"/>
                  <a:pt x="929153" y="1824336"/>
                </a:cubicBezTo>
                <a:cubicBezTo>
                  <a:pt x="929153" y="1824336"/>
                  <a:pt x="944069" y="1824336"/>
                  <a:pt x="944069" y="1839237"/>
                </a:cubicBezTo>
                <a:cubicBezTo>
                  <a:pt x="958988" y="1839237"/>
                  <a:pt x="973908" y="1824336"/>
                  <a:pt x="973908" y="1824336"/>
                </a:cubicBezTo>
                <a:cubicBezTo>
                  <a:pt x="988827" y="1794528"/>
                  <a:pt x="1003746" y="1779627"/>
                  <a:pt x="1018661" y="1764722"/>
                </a:cubicBezTo>
                <a:cubicBezTo>
                  <a:pt x="1063419" y="1749820"/>
                  <a:pt x="1078340" y="1734919"/>
                  <a:pt x="1018661" y="1705111"/>
                </a:cubicBezTo>
                <a:cubicBezTo>
                  <a:pt x="1018661" y="1705111"/>
                  <a:pt x="988827" y="1690204"/>
                  <a:pt x="1003746" y="1675303"/>
                </a:cubicBezTo>
                <a:cubicBezTo>
                  <a:pt x="1018661" y="1660402"/>
                  <a:pt x="1033581" y="1675303"/>
                  <a:pt x="1033581" y="1675303"/>
                </a:cubicBezTo>
                <a:cubicBezTo>
                  <a:pt x="1063418" y="1667853"/>
                  <a:pt x="1093256" y="1664127"/>
                  <a:pt x="1123094" y="1662265"/>
                </a:cubicBezTo>
                <a:lnTo>
                  <a:pt x="1127670" y="1662170"/>
                </a:lnTo>
                <a:lnTo>
                  <a:pt x="1166004" y="1612456"/>
                </a:lnTo>
                <a:lnTo>
                  <a:pt x="1160390" y="1598925"/>
                </a:lnTo>
                <a:cubicBezTo>
                  <a:pt x="1162256" y="1590542"/>
                  <a:pt x="1169714" y="1581693"/>
                  <a:pt x="1183234" y="1570285"/>
                </a:cubicBezTo>
                <a:lnTo>
                  <a:pt x="1216861" y="1545289"/>
                </a:lnTo>
                <a:lnTo>
                  <a:pt x="1235232" y="1520011"/>
                </a:lnTo>
                <a:lnTo>
                  <a:pt x="1219132" y="1506016"/>
                </a:lnTo>
                <a:cubicBezTo>
                  <a:pt x="1196754" y="1487155"/>
                  <a:pt x="1182766" y="1470390"/>
                  <a:pt x="1227526" y="1436859"/>
                </a:cubicBezTo>
                <a:cubicBezTo>
                  <a:pt x="1242440" y="1436859"/>
                  <a:pt x="1317034" y="1451759"/>
                  <a:pt x="1272280" y="1392149"/>
                </a:cubicBezTo>
                <a:cubicBezTo>
                  <a:pt x="1264820" y="1362342"/>
                  <a:pt x="1253632" y="1343713"/>
                  <a:pt x="1236848" y="1334398"/>
                </a:cubicBezTo>
                <a:close/>
                <a:moveTo>
                  <a:pt x="1436385" y="1108991"/>
                </a:moveTo>
                <a:cubicBezTo>
                  <a:pt x="1414006" y="1120170"/>
                  <a:pt x="1383237" y="1139729"/>
                  <a:pt x="1350368" y="1136236"/>
                </a:cubicBezTo>
                <a:lnTo>
                  <a:pt x="1339992" y="1132395"/>
                </a:lnTo>
                <a:lnTo>
                  <a:pt x="1300128" y="1194294"/>
                </a:lnTo>
                <a:lnTo>
                  <a:pt x="1303981" y="1194682"/>
                </a:lnTo>
                <a:lnTo>
                  <a:pt x="1316392" y="1240730"/>
                </a:lnTo>
                <a:lnTo>
                  <a:pt x="1317123" y="1240101"/>
                </a:lnTo>
                <a:cubicBezTo>
                  <a:pt x="1317123" y="1255482"/>
                  <a:pt x="1331478" y="1255482"/>
                  <a:pt x="1331478" y="1255482"/>
                </a:cubicBezTo>
                <a:lnTo>
                  <a:pt x="1332333" y="1257825"/>
                </a:lnTo>
                <a:lnTo>
                  <a:pt x="1389765" y="1228216"/>
                </a:lnTo>
                <a:cubicBezTo>
                  <a:pt x="1402817" y="1209584"/>
                  <a:pt x="1414006" y="1176057"/>
                  <a:pt x="1436385" y="1108991"/>
                </a:cubicBezTo>
                <a:close/>
                <a:moveTo>
                  <a:pt x="1451304" y="1004672"/>
                </a:moveTo>
                <a:cubicBezTo>
                  <a:pt x="1443844" y="1004672"/>
                  <a:pt x="1436385" y="1008397"/>
                  <a:pt x="1428925" y="1012123"/>
                </a:cubicBezTo>
                <a:lnTo>
                  <a:pt x="1414320" y="1016985"/>
                </a:lnTo>
                <a:lnTo>
                  <a:pt x="1369813" y="1086092"/>
                </a:lnTo>
                <a:lnTo>
                  <a:pt x="1384169" y="1079188"/>
                </a:lnTo>
                <a:cubicBezTo>
                  <a:pt x="1410277" y="1068010"/>
                  <a:pt x="1436385" y="1056831"/>
                  <a:pt x="1451304" y="1034474"/>
                </a:cubicBezTo>
                <a:cubicBezTo>
                  <a:pt x="1451304" y="1034474"/>
                  <a:pt x="1481140" y="1049381"/>
                  <a:pt x="1481140" y="1019574"/>
                </a:cubicBezTo>
                <a:cubicBezTo>
                  <a:pt x="1481140" y="1004672"/>
                  <a:pt x="1466225" y="1004672"/>
                  <a:pt x="1451304" y="1004672"/>
                </a:cubicBezTo>
                <a:close/>
                <a:moveTo>
                  <a:pt x="3913267" y="785447"/>
                </a:moveTo>
                <a:lnTo>
                  <a:pt x="3824939" y="861572"/>
                </a:lnTo>
                <a:cubicBezTo>
                  <a:pt x="3793235" y="887652"/>
                  <a:pt x="3763398" y="913732"/>
                  <a:pt x="3741020" y="943536"/>
                </a:cubicBezTo>
                <a:lnTo>
                  <a:pt x="3706967" y="998380"/>
                </a:lnTo>
                <a:lnTo>
                  <a:pt x="3733270" y="1009286"/>
                </a:lnTo>
                <a:lnTo>
                  <a:pt x="3757181" y="1015232"/>
                </a:lnTo>
                <a:lnTo>
                  <a:pt x="3767187" y="992328"/>
                </a:lnTo>
                <a:cubicBezTo>
                  <a:pt x="3791665" y="952511"/>
                  <a:pt x="3830825" y="918978"/>
                  <a:pt x="3853206" y="885447"/>
                </a:cubicBezTo>
                <a:close/>
                <a:moveTo>
                  <a:pt x="2833842" y="119"/>
                </a:moveTo>
                <a:cubicBezTo>
                  <a:pt x="2839669" y="584"/>
                  <a:pt x="2846196" y="2447"/>
                  <a:pt x="2853657" y="6173"/>
                </a:cubicBezTo>
                <a:cubicBezTo>
                  <a:pt x="2913330" y="35980"/>
                  <a:pt x="2987923" y="35980"/>
                  <a:pt x="3017762" y="110496"/>
                </a:cubicBezTo>
                <a:cubicBezTo>
                  <a:pt x="3032677" y="140299"/>
                  <a:pt x="3077436" y="125398"/>
                  <a:pt x="3107270" y="110496"/>
                </a:cubicBezTo>
                <a:cubicBezTo>
                  <a:pt x="3166948" y="95590"/>
                  <a:pt x="3196783" y="140299"/>
                  <a:pt x="3241542" y="170105"/>
                </a:cubicBezTo>
                <a:cubicBezTo>
                  <a:pt x="3271375" y="199913"/>
                  <a:pt x="3241542" y="229717"/>
                  <a:pt x="3226622" y="244623"/>
                </a:cubicBezTo>
                <a:cubicBezTo>
                  <a:pt x="3166948" y="304232"/>
                  <a:pt x="3092355" y="348942"/>
                  <a:pt x="3047597" y="408551"/>
                </a:cubicBezTo>
                <a:cubicBezTo>
                  <a:pt x="2987923" y="512875"/>
                  <a:pt x="2928250" y="602292"/>
                  <a:pt x="2853657" y="691710"/>
                </a:cubicBezTo>
                <a:lnTo>
                  <a:pt x="2787553" y="769749"/>
                </a:lnTo>
                <a:lnTo>
                  <a:pt x="2810937" y="778442"/>
                </a:lnTo>
                <a:cubicBezTo>
                  <a:pt x="2831916" y="785195"/>
                  <a:pt x="2853362" y="790783"/>
                  <a:pt x="2875739" y="794508"/>
                </a:cubicBezTo>
                <a:cubicBezTo>
                  <a:pt x="2898118" y="801958"/>
                  <a:pt x="2909308" y="824314"/>
                  <a:pt x="2911172" y="850394"/>
                </a:cubicBezTo>
                <a:lnTo>
                  <a:pt x="2907713" y="885762"/>
                </a:lnTo>
                <a:lnTo>
                  <a:pt x="2933261" y="893789"/>
                </a:lnTo>
                <a:lnTo>
                  <a:pt x="2940190" y="897251"/>
                </a:lnTo>
                <a:lnTo>
                  <a:pt x="2970586" y="859297"/>
                </a:lnTo>
                <a:cubicBezTo>
                  <a:pt x="2989235" y="833217"/>
                  <a:pt x="3007884" y="807138"/>
                  <a:pt x="3030264" y="784783"/>
                </a:cubicBezTo>
                <a:cubicBezTo>
                  <a:pt x="3060098" y="754975"/>
                  <a:pt x="3075017" y="695365"/>
                  <a:pt x="3104857" y="665559"/>
                </a:cubicBezTo>
                <a:cubicBezTo>
                  <a:pt x="3179448" y="576141"/>
                  <a:pt x="3254042" y="501629"/>
                  <a:pt x="3343551" y="412211"/>
                </a:cubicBezTo>
                <a:cubicBezTo>
                  <a:pt x="3351009" y="404756"/>
                  <a:pt x="3358468" y="397305"/>
                  <a:pt x="3367797" y="393580"/>
                </a:cubicBezTo>
                <a:cubicBezTo>
                  <a:pt x="3372456" y="391718"/>
                  <a:pt x="3377584" y="390786"/>
                  <a:pt x="3383412" y="391252"/>
                </a:cubicBezTo>
                <a:cubicBezTo>
                  <a:pt x="3389239" y="391718"/>
                  <a:pt x="3395768" y="393580"/>
                  <a:pt x="3403227" y="397305"/>
                </a:cubicBezTo>
                <a:lnTo>
                  <a:pt x="3444881" y="413743"/>
                </a:lnTo>
                <a:lnTo>
                  <a:pt x="3495154" y="348942"/>
                </a:lnTo>
                <a:cubicBezTo>
                  <a:pt x="3584667" y="259525"/>
                  <a:pt x="3584667" y="244623"/>
                  <a:pt x="3704018" y="289331"/>
                </a:cubicBezTo>
                <a:cubicBezTo>
                  <a:pt x="3748772" y="319134"/>
                  <a:pt x="3808447" y="319134"/>
                  <a:pt x="3853206" y="363844"/>
                </a:cubicBezTo>
                <a:lnTo>
                  <a:pt x="3857848" y="368487"/>
                </a:lnTo>
                <a:lnTo>
                  <a:pt x="3857848" y="364485"/>
                </a:lnTo>
                <a:lnTo>
                  <a:pt x="3870851" y="377487"/>
                </a:lnTo>
                <a:lnTo>
                  <a:pt x="3907981" y="360353"/>
                </a:lnTo>
                <a:cubicBezTo>
                  <a:pt x="3943648" y="363844"/>
                  <a:pt x="3968822" y="419732"/>
                  <a:pt x="4002391" y="408551"/>
                </a:cubicBezTo>
                <a:cubicBezTo>
                  <a:pt x="4017309" y="408551"/>
                  <a:pt x="4002391" y="468166"/>
                  <a:pt x="3987471" y="497969"/>
                </a:cubicBezTo>
                <a:cubicBezTo>
                  <a:pt x="3968822" y="531500"/>
                  <a:pt x="3948310" y="563169"/>
                  <a:pt x="3926630" y="593674"/>
                </a:cubicBezTo>
                <a:lnTo>
                  <a:pt x="3875730" y="660251"/>
                </a:lnTo>
                <a:lnTo>
                  <a:pt x="3903495" y="681106"/>
                </a:lnTo>
                <a:cubicBezTo>
                  <a:pt x="3913518" y="689256"/>
                  <a:pt x="3923774" y="697639"/>
                  <a:pt x="3934963" y="705091"/>
                </a:cubicBezTo>
                <a:cubicBezTo>
                  <a:pt x="3942421" y="712543"/>
                  <a:pt x="3946152" y="719995"/>
                  <a:pt x="3947318" y="727213"/>
                </a:cubicBezTo>
                <a:lnTo>
                  <a:pt x="3947017" y="729254"/>
                </a:lnTo>
                <a:lnTo>
                  <a:pt x="4032225" y="587386"/>
                </a:lnTo>
                <a:cubicBezTo>
                  <a:pt x="4091904" y="497969"/>
                  <a:pt x="4166496" y="408551"/>
                  <a:pt x="4241089" y="334040"/>
                </a:cubicBezTo>
                <a:cubicBezTo>
                  <a:pt x="4256003" y="319134"/>
                  <a:pt x="4285843" y="304232"/>
                  <a:pt x="4285843" y="319134"/>
                </a:cubicBezTo>
                <a:cubicBezTo>
                  <a:pt x="4330598" y="348942"/>
                  <a:pt x="4375356" y="334040"/>
                  <a:pt x="4405191" y="363844"/>
                </a:cubicBezTo>
                <a:cubicBezTo>
                  <a:pt x="4464868" y="393650"/>
                  <a:pt x="4539463" y="423458"/>
                  <a:pt x="4614055" y="423458"/>
                </a:cubicBezTo>
                <a:cubicBezTo>
                  <a:pt x="4658808" y="423458"/>
                  <a:pt x="4688648" y="483068"/>
                  <a:pt x="4673728" y="542678"/>
                </a:cubicBezTo>
                <a:cubicBezTo>
                  <a:pt x="4651351" y="587386"/>
                  <a:pt x="4621515" y="628370"/>
                  <a:pt x="4589812" y="669353"/>
                </a:cubicBezTo>
                <a:lnTo>
                  <a:pt x="4505788" y="781264"/>
                </a:lnTo>
                <a:lnTo>
                  <a:pt x="4528064" y="797361"/>
                </a:lnTo>
                <a:cubicBezTo>
                  <a:pt x="4535701" y="801083"/>
                  <a:pt x="4543569" y="802480"/>
                  <a:pt x="4551960" y="799685"/>
                </a:cubicBezTo>
                <a:cubicBezTo>
                  <a:pt x="4566880" y="799685"/>
                  <a:pt x="4551960" y="859300"/>
                  <a:pt x="4537041" y="889103"/>
                </a:cubicBezTo>
                <a:lnTo>
                  <a:pt x="4535871" y="890943"/>
                </a:lnTo>
                <a:lnTo>
                  <a:pt x="4546626" y="898827"/>
                </a:lnTo>
                <a:lnTo>
                  <a:pt x="4551270" y="903471"/>
                </a:lnTo>
                <a:lnTo>
                  <a:pt x="4551270" y="899469"/>
                </a:lnTo>
                <a:lnTo>
                  <a:pt x="4564272" y="912472"/>
                </a:lnTo>
                <a:lnTo>
                  <a:pt x="4601404" y="895336"/>
                </a:lnTo>
                <a:cubicBezTo>
                  <a:pt x="4610320" y="896210"/>
                  <a:pt x="4618581" y="900358"/>
                  <a:pt x="4626481" y="905913"/>
                </a:cubicBezTo>
                <a:lnTo>
                  <a:pt x="4632389" y="910817"/>
                </a:lnTo>
                <a:lnTo>
                  <a:pt x="4680634" y="846256"/>
                </a:lnTo>
                <a:cubicBezTo>
                  <a:pt x="4716067" y="803410"/>
                  <a:pt x="4753362" y="762429"/>
                  <a:pt x="4790660" y="725172"/>
                </a:cubicBezTo>
                <a:cubicBezTo>
                  <a:pt x="4801845" y="713993"/>
                  <a:pt x="4821427" y="702816"/>
                  <a:pt x="4830518" y="704213"/>
                </a:cubicBezTo>
                <a:lnTo>
                  <a:pt x="4832438" y="706588"/>
                </a:lnTo>
                <a:lnTo>
                  <a:pt x="4912426" y="587386"/>
                </a:lnTo>
                <a:cubicBezTo>
                  <a:pt x="4957179" y="512875"/>
                  <a:pt x="5016854" y="468166"/>
                  <a:pt x="5061612" y="408551"/>
                </a:cubicBezTo>
                <a:cubicBezTo>
                  <a:pt x="5076531" y="393650"/>
                  <a:pt x="5091447" y="378748"/>
                  <a:pt x="5106367" y="393650"/>
                </a:cubicBezTo>
                <a:cubicBezTo>
                  <a:pt x="5151124" y="423458"/>
                  <a:pt x="5225717" y="423458"/>
                  <a:pt x="5270472" y="468166"/>
                </a:cubicBezTo>
                <a:cubicBezTo>
                  <a:pt x="5292851" y="483068"/>
                  <a:pt x="5318959" y="494246"/>
                  <a:pt x="5345066" y="501696"/>
                </a:cubicBezTo>
                <a:lnTo>
                  <a:pt x="5411587" y="511666"/>
                </a:lnTo>
                <a:lnTo>
                  <a:pt x="5438713" y="495653"/>
                </a:lnTo>
                <a:cubicBezTo>
                  <a:pt x="5464820" y="486340"/>
                  <a:pt x="5494657" y="486340"/>
                  <a:pt x="5524494" y="493791"/>
                </a:cubicBezTo>
                <a:cubicBezTo>
                  <a:pt x="5614006" y="523598"/>
                  <a:pt x="5688604" y="568307"/>
                  <a:pt x="5778112" y="583209"/>
                </a:cubicBezTo>
                <a:lnTo>
                  <a:pt x="5795081" y="597203"/>
                </a:lnTo>
                <a:lnTo>
                  <a:pt x="5840410" y="528472"/>
                </a:lnTo>
                <a:cubicBezTo>
                  <a:pt x="5885128" y="483886"/>
                  <a:pt x="5914944" y="439299"/>
                  <a:pt x="5944756" y="394718"/>
                </a:cubicBezTo>
                <a:cubicBezTo>
                  <a:pt x="5967117" y="372423"/>
                  <a:pt x="5996929" y="364991"/>
                  <a:pt x="6024878" y="370565"/>
                </a:cubicBezTo>
                <a:cubicBezTo>
                  <a:pt x="6052828" y="376141"/>
                  <a:pt x="6078913" y="394718"/>
                  <a:pt x="6093820" y="424438"/>
                </a:cubicBezTo>
                <a:cubicBezTo>
                  <a:pt x="6108726" y="454165"/>
                  <a:pt x="6123632" y="394718"/>
                  <a:pt x="6153449" y="424438"/>
                </a:cubicBezTo>
                <a:cubicBezTo>
                  <a:pt x="6175807" y="454162"/>
                  <a:pt x="6205619" y="469024"/>
                  <a:pt x="6237295" y="474598"/>
                </a:cubicBezTo>
                <a:lnTo>
                  <a:pt x="6261071" y="475628"/>
                </a:lnTo>
                <a:lnTo>
                  <a:pt x="6264835" y="471436"/>
                </a:lnTo>
                <a:cubicBezTo>
                  <a:pt x="6303996" y="430454"/>
                  <a:pt x="6345021" y="389472"/>
                  <a:pt x="6389776" y="344763"/>
                </a:cubicBezTo>
                <a:cubicBezTo>
                  <a:pt x="6397236" y="337308"/>
                  <a:pt x="6404695" y="329857"/>
                  <a:pt x="6414022" y="326131"/>
                </a:cubicBezTo>
                <a:cubicBezTo>
                  <a:pt x="6418683" y="324269"/>
                  <a:pt x="6423811" y="323337"/>
                  <a:pt x="6429639" y="323803"/>
                </a:cubicBezTo>
                <a:cubicBezTo>
                  <a:pt x="6435467" y="324269"/>
                  <a:pt x="6441994" y="326132"/>
                  <a:pt x="6449453" y="329857"/>
                </a:cubicBezTo>
                <a:cubicBezTo>
                  <a:pt x="6509126" y="359665"/>
                  <a:pt x="6583720" y="359665"/>
                  <a:pt x="6613559" y="434180"/>
                </a:cubicBezTo>
                <a:cubicBezTo>
                  <a:pt x="6628473" y="463984"/>
                  <a:pt x="6673232" y="449082"/>
                  <a:pt x="6703067" y="434180"/>
                </a:cubicBezTo>
                <a:cubicBezTo>
                  <a:pt x="6762744" y="419274"/>
                  <a:pt x="6792579" y="463984"/>
                  <a:pt x="6837337" y="493791"/>
                </a:cubicBezTo>
                <a:cubicBezTo>
                  <a:pt x="6867171" y="523598"/>
                  <a:pt x="6837337" y="553401"/>
                  <a:pt x="6822418" y="568307"/>
                </a:cubicBezTo>
                <a:cubicBezTo>
                  <a:pt x="6762744" y="627917"/>
                  <a:pt x="6688152" y="672626"/>
                  <a:pt x="6643394" y="732236"/>
                </a:cubicBezTo>
                <a:lnTo>
                  <a:pt x="6613917" y="779710"/>
                </a:lnTo>
                <a:lnTo>
                  <a:pt x="6643390" y="815571"/>
                </a:lnTo>
                <a:cubicBezTo>
                  <a:pt x="6658296" y="845297"/>
                  <a:pt x="6673202" y="785849"/>
                  <a:pt x="6703019" y="815571"/>
                </a:cubicBezTo>
                <a:cubicBezTo>
                  <a:pt x="6747735" y="875019"/>
                  <a:pt x="6822265" y="875019"/>
                  <a:pt x="6881893" y="860158"/>
                </a:cubicBezTo>
                <a:cubicBezTo>
                  <a:pt x="6904253" y="860158"/>
                  <a:pt x="6915432" y="863873"/>
                  <a:pt x="6921022" y="871304"/>
                </a:cubicBezTo>
                <a:lnTo>
                  <a:pt x="6924299" y="890915"/>
                </a:lnTo>
                <a:lnTo>
                  <a:pt x="6986523" y="821653"/>
                </a:lnTo>
                <a:cubicBezTo>
                  <a:pt x="7016358" y="776945"/>
                  <a:pt x="7046197" y="717334"/>
                  <a:pt x="7090951" y="672626"/>
                </a:cubicBezTo>
                <a:cubicBezTo>
                  <a:pt x="7180463" y="583209"/>
                  <a:pt x="7180463" y="568307"/>
                  <a:pt x="7299815" y="613015"/>
                </a:cubicBezTo>
                <a:cubicBezTo>
                  <a:pt x="7344569" y="642818"/>
                  <a:pt x="7404243" y="642818"/>
                  <a:pt x="7449001" y="687528"/>
                </a:cubicBezTo>
                <a:lnTo>
                  <a:pt x="7453644" y="692171"/>
                </a:lnTo>
                <a:lnTo>
                  <a:pt x="7453644" y="688169"/>
                </a:lnTo>
                <a:lnTo>
                  <a:pt x="7466647" y="701172"/>
                </a:lnTo>
                <a:lnTo>
                  <a:pt x="7503778" y="684037"/>
                </a:lnTo>
                <a:cubicBezTo>
                  <a:pt x="7539445" y="687528"/>
                  <a:pt x="7564617" y="743416"/>
                  <a:pt x="7598187" y="732236"/>
                </a:cubicBezTo>
                <a:cubicBezTo>
                  <a:pt x="7613106" y="732236"/>
                  <a:pt x="7598187" y="791852"/>
                  <a:pt x="7583267" y="821653"/>
                </a:cubicBezTo>
                <a:cubicBezTo>
                  <a:pt x="7508673" y="955780"/>
                  <a:pt x="7404243" y="1060103"/>
                  <a:pt x="7314729" y="1179328"/>
                </a:cubicBezTo>
                <a:cubicBezTo>
                  <a:pt x="7269976" y="1268741"/>
                  <a:pt x="7225221" y="1358159"/>
                  <a:pt x="7150629" y="1417774"/>
                </a:cubicBezTo>
                <a:cubicBezTo>
                  <a:pt x="7105870" y="1462483"/>
                  <a:pt x="7061117" y="1522092"/>
                  <a:pt x="7046197" y="1581706"/>
                </a:cubicBezTo>
                <a:cubicBezTo>
                  <a:pt x="7046197" y="1589158"/>
                  <a:pt x="7046197" y="1592883"/>
                  <a:pt x="7044331" y="1596608"/>
                </a:cubicBezTo>
                <a:lnTo>
                  <a:pt x="7043427" y="1597641"/>
                </a:lnTo>
                <a:lnTo>
                  <a:pt x="7070780" y="1609327"/>
                </a:lnTo>
                <a:cubicBezTo>
                  <a:pt x="7083368" y="1616081"/>
                  <a:pt x="7095489" y="1624463"/>
                  <a:pt x="7106679" y="1635640"/>
                </a:cubicBezTo>
                <a:lnTo>
                  <a:pt x="7111321" y="1640283"/>
                </a:lnTo>
                <a:lnTo>
                  <a:pt x="7111321" y="1636282"/>
                </a:lnTo>
                <a:lnTo>
                  <a:pt x="7124059" y="1649021"/>
                </a:lnTo>
                <a:lnTo>
                  <a:pt x="7191162" y="1549022"/>
                </a:lnTo>
                <a:cubicBezTo>
                  <a:pt x="7213539" y="1511767"/>
                  <a:pt x="7239645" y="1481961"/>
                  <a:pt x="7265753" y="1454019"/>
                </a:cubicBezTo>
                <a:lnTo>
                  <a:pt x="7336664" y="1374327"/>
                </a:lnTo>
                <a:lnTo>
                  <a:pt x="7344569" y="1358159"/>
                </a:lnTo>
                <a:cubicBezTo>
                  <a:pt x="7359488" y="1298548"/>
                  <a:pt x="7419162" y="1253840"/>
                  <a:pt x="7449001" y="1209131"/>
                </a:cubicBezTo>
                <a:cubicBezTo>
                  <a:pt x="7508673" y="1104812"/>
                  <a:pt x="7568347" y="1015395"/>
                  <a:pt x="7628021" y="911071"/>
                </a:cubicBezTo>
                <a:cubicBezTo>
                  <a:pt x="7687699" y="821653"/>
                  <a:pt x="7762293" y="732236"/>
                  <a:pt x="7836885" y="657725"/>
                </a:cubicBezTo>
                <a:cubicBezTo>
                  <a:pt x="7851799" y="642818"/>
                  <a:pt x="7881639" y="627917"/>
                  <a:pt x="7881639" y="642818"/>
                </a:cubicBezTo>
                <a:cubicBezTo>
                  <a:pt x="7926393" y="672626"/>
                  <a:pt x="7971151" y="657725"/>
                  <a:pt x="8000987" y="687528"/>
                </a:cubicBezTo>
                <a:cubicBezTo>
                  <a:pt x="8060664" y="717334"/>
                  <a:pt x="8135257" y="747142"/>
                  <a:pt x="8209850" y="747142"/>
                </a:cubicBezTo>
                <a:cubicBezTo>
                  <a:pt x="8254603" y="747142"/>
                  <a:pt x="8284443" y="806752"/>
                  <a:pt x="8269523" y="866362"/>
                </a:cubicBezTo>
                <a:cubicBezTo>
                  <a:pt x="8224769" y="955780"/>
                  <a:pt x="8150177" y="1030296"/>
                  <a:pt x="8090498" y="1119714"/>
                </a:cubicBezTo>
                <a:cubicBezTo>
                  <a:pt x="8000987" y="1268741"/>
                  <a:pt x="7881639" y="1417774"/>
                  <a:pt x="7792127" y="1566802"/>
                </a:cubicBezTo>
                <a:lnTo>
                  <a:pt x="7728533" y="1664613"/>
                </a:lnTo>
                <a:lnTo>
                  <a:pt x="7757503" y="1676625"/>
                </a:lnTo>
                <a:cubicBezTo>
                  <a:pt x="7792935" y="1687803"/>
                  <a:pt x="7830233" y="1695255"/>
                  <a:pt x="7867527" y="1695255"/>
                </a:cubicBezTo>
                <a:cubicBezTo>
                  <a:pt x="7901093" y="1695255"/>
                  <a:pt x="7926269" y="1728785"/>
                  <a:pt x="7930465" y="1770700"/>
                </a:cubicBezTo>
                <a:lnTo>
                  <a:pt x="7928730" y="1793982"/>
                </a:lnTo>
                <a:lnTo>
                  <a:pt x="7940271" y="1772481"/>
                </a:lnTo>
                <a:cubicBezTo>
                  <a:pt x="7999893" y="1668450"/>
                  <a:pt x="8059522" y="1579277"/>
                  <a:pt x="8119145" y="1490108"/>
                </a:cubicBezTo>
                <a:lnTo>
                  <a:pt x="8143849" y="1461507"/>
                </a:lnTo>
                <a:lnTo>
                  <a:pt x="8172555" y="1408458"/>
                </a:lnTo>
                <a:cubicBezTo>
                  <a:pt x="8187472" y="1384241"/>
                  <a:pt x="8202391" y="1358160"/>
                  <a:pt x="8209850" y="1328356"/>
                </a:cubicBezTo>
                <a:cubicBezTo>
                  <a:pt x="8224769" y="1298548"/>
                  <a:pt x="8254603" y="1268741"/>
                  <a:pt x="8269523" y="1238939"/>
                </a:cubicBezTo>
                <a:cubicBezTo>
                  <a:pt x="8359035" y="1134615"/>
                  <a:pt x="8433629" y="1030296"/>
                  <a:pt x="8508222" y="911071"/>
                </a:cubicBezTo>
                <a:cubicBezTo>
                  <a:pt x="8552976" y="836559"/>
                  <a:pt x="8612649" y="791852"/>
                  <a:pt x="8657408" y="732236"/>
                </a:cubicBezTo>
                <a:cubicBezTo>
                  <a:pt x="8672327" y="717334"/>
                  <a:pt x="8687242" y="702433"/>
                  <a:pt x="8702162" y="717334"/>
                </a:cubicBezTo>
                <a:cubicBezTo>
                  <a:pt x="8746920" y="747142"/>
                  <a:pt x="8821513" y="747142"/>
                  <a:pt x="8866268" y="791852"/>
                </a:cubicBezTo>
                <a:cubicBezTo>
                  <a:pt x="8911026" y="821653"/>
                  <a:pt x="8970700" y="836559"/>
                  <a:pt x="9015453" y="836559"/>
                </a:cubicBezTo>
                <a:cubicBezTo>
                  <a:pt x="9090046" y="851461"/>
                  <a:pt x="9090046" y="896169"/>
                  <a:pt x="9060212" y="940878"/>
                </a:cubicBezTo>
                <a:cubicBezTo>
                  <a:pt x="9045292" y="985588"/>
                  <a:pt x="9015453" y="1045197"/>
                  <a:pt x="8970700" y="1089906"/>
                </a:cubicBezTo>
                <a:cubicBezTo>
                  <a:pt x="8851348" y="1238939"/>
                  <a:pt x="8776755" y="1417774"/>
                  <a:pt x="8657408" y="1551900"/>
                </a:cubicBezTo>
                <a:cubicBezTo>
                  <a:pt x="8635030" y="1581706"/>
                  <a:pt x="8614517" y="1613375"/>
                  <a:pt x="8595402" y="1646208"/>
                </a:cubicBezTo>
                <a:lnTo>
                  <a:pt x="8548065" y="1735644"/>
                </a:lnTo>
                <a:lnTo>
                  <a:pt x="8554636" y="1743641"/>
                </a:lnTo>
                <a:cubicBezTo>
                  <a:pt x="8569542" y="1773367"/>
                  <a:pt x="8584449" y="1713919"/>
                  <a:pt x="8614265" y="1743641"/>
                </a:cubicBezTo>
                <a:cubicBezTo>
                  <a:pt x="8625444" y="1758503"/>
                  <a:pt x="8638487" y="1769649"/>
                  <a:pt x="8652694" y="1777777"/>
                </a:cubicBezTo>
                <a:lnTo>
                  <a:pt x="8671581" y="1784441"/>
                </a:lnTo>
                <a:lnTo>
                  <a:pt x="8673132" y="1784673"/>
                </a:lnTo>
                <a:lnTo>
                  <a:pt x="8683881" y="1788780"/>
                </a:lnTo>
                <a:lnTo>
                  <a:pt x="8698111" y="1793801"/>
                </a:lnTo>
                <a:cubicBezTo>
                  <a:pt x="8729786" y="1799373"/>
                  <a:pt x="8763326" y="1795657"/>
                  <a:pt x="8793141" y="1788227"/>
                </a:cubicBezTo>
                <a:cubicBezTo>
                  <a:pt x="8815500" y="1788227"/>
                  <a:pt x="8826678" y="1791943"/>
                  <a:pt x="8832269" y="1799374"/>
                </a:cubicBezTo>
                <a:lnTo>
                  <a:pt x="8836528" y="1824857"/>
                </a:lnTo>
                <a:lnTo>
                  <a:pt x="8877214" y="1795882"/>
                </a:lnTo>
                <a:cubicBezTo>
                  <a:pt x="8895848" y="1784736"/>
                  <a:pt x="8914480" y="1773591"/>
                  <a:pt x="8929387" y="1758729"/>
                </a:cubicBezTo>
                <a:cubicBezTo>
                  <a:pt x="8959197" y="1743864"/>
                  <a:pt x="8970379" y="1714143"/>
                  <a:pt x="8981559" y="1686275"/>
                </a:cubicBezTo>
                <a:lnTo>
                  <a:pt x="9033547" y="1625191"/>
                </a:lnTo>
                <a:lnTo>
                  <a:pt x="9024414" y="1568664"/>
                </a:lnTo>
                <a:lnTo>
                  <a:pt x="9024573" y="1568361"/>
                </a:lnTo>
                <a:lnTo>
                  <a:pt x="9024414" y="1567380"/>
                </a:lnTo>
                <a:cubicBezTo>
                  <a:pt x="9030007" y="1550660"/>
                  <a:pt x="9041187" y="1535801"/>
                  <a:pt x="9048639" y="1520940"/>
                </a:cubicBezTo>
                <a:cubicBezTo>
                  <a:pt x="9093355" y="1372319"/>
                  <a:pt x="9197703" y="1268289"/>
                  <a:pt x="9257330" y="1134529"/>
                </a:cubicBezTo>
                <a:cubicBezTo>
                  <a:pt x="9316955" y="1030500"/>
                  <a:pt x="9376583" y="941325"/>
                  <a:pt x="9436206" y="852158"/>
                </a:cubicBezTo>
                <a:cubicBezTo>
                  <a:pt x="9480925" y="807571"/>
                  <a:pt x="9510740" y="762984"/>
                  <a:pt x="9540552" y="718402"/>
                </a:cubicBezTo>
                <a:cubicBezTo>
                  <a:pt x="9562913" y="696108"/>
                  <a:pt x="9592725" y="688675"/>
                  <a:pt x="9620674" y="694251"/>
                </a:cubicBezTo>
                <a:cubicBezTo>
                  <a:pt x="9648623" y="699825"/>
                  <a:pt x="9674710" y="718402"/>
                  <a:pt x="9689616" y="748123"/>
                </a:cubicBezTo>
                <a:cubicBezTo>
                  <a:pt x="9704522" y="777849"/>
                  <a:pt x="9719428" y="718402"/>
                  <a:pt x="9749244" y="748123"/>
                </a:cubicBezTo>
                <a:cubicBezTo>
                  <a:pt x="9793962" y="807571"/>
                  <a:pt x="9868492" y="807571"/>
                  <a:pt x="9928120" y="792710"/>
                </a:cubicBezTo>
                <a:cubicBezTo>
                  <a:pt x="9972838" y="792710"/>
                  <a:pt x="9972838" y="807571"/>
                  <a:pt x="9972838" y="837297"/>
                </a:cubicBezTo>
                <a:lnTo>
                  <a:pt x="9972788" y="837477"/>
                </a:lnTo>
                <a:lnTo>
                  <a:pt x="9972838" y="837532"/>
                </a:lnTo>
                <a:cubicBezTo>
                  <a:pt x="9972838" y="882177"/>
                  <a:pt x="9972838" y="911944"/>
                  <a:pt x="9943026" y="941710"/>
                </a:cubicBezTo>
                <a:cubicBezTo>
                  <a:pt x="9868492" y="1045894"/>
                  <a:pt x="9808869" y="1150077"/>
                  <a:pt x="9749244" y="1254260"/>
                </a:cubicBezTo>
                <a:cubicBezTo>
                  <a:pt x="9674710" y="1373322"/>
                  <a:pt x="9585270" y="1492389"/>
                  <a:pt x="9525647" y="1626339"/>
                </a:cubicBezTo>
                <a:lnTo>
                  <a:pt x="9468492" y="1738536"/>
                </a:lnTo>
                <a:lnTo>
                  <a:pt x="9490770" y="1746396"/>
                </a:lnTo>
                <a:cubicBezTo>
                  <a:pt x="9522445" y="1751968"/>
                  <a:pt x="9555984" y="1748253"/>
                  <a:pt x="9585799" y="1740822"/>
                </a:cubicBezTo>
                <a:cubicBezTo>
                  <a:pt x="9630516" y="1740822"/>
                  <a:pt x="9630516" y="1755684"/>
                  <a:pt x="9630516" y="1785409"/>
                </a:cubicBezTo>
                <a:lnTo>
                  <a:pt x="9630466" y="1785591"/>
                </a:lnTo>
                <a:lnTo>
                  <a:pt x="9630516" y="1785645"/>
                </a:lnTo>
                <a:cubicBezTo>
                  <a:pt x="9630516" y="1830290"/>
                  <a:pt x="9630516" y="1860057"/>
                  <a:pt x="9600704" y="1889824"/>
                </a:cubicBezTo>
                <a:cubicBezTo>
                  <a:pt x="9526170" y="1994006"/>
                  <a:pt x="9466546" y="2098190"/>
                  <a:pt x="9406922" y="2202374"/>
                </a:cubicBezTo>
                <a:cubicBezTo>
                  <a:pt x="9369656" y="2261905"/>
                  <a:pt x="9328662" y="2321437"/>
                  <a:pt x="9289532" y="2382830"/>
                </a:cubicBezTo>
                <a:lnTo>
                  <a:pt x="9231092" y="2488270"/>
                </a:lnTo>
                <a:lnTo>
                  <a:pt x="9229675" y="2492227"/>
                </a:lnTo>
                <a:lnTo>
                  <a:pt x="9228556" y="2492845"/>
                </a:lnTo>
                <a:lnTo>
                  <a:pt x="9217400" y="2512973"/>
                </a:lnTo>
                <a:lnTo>
                  <a:pt x="9229675" y="2522084"/>
                </a:lnTo>
                <a:cubicBezTo>
                  <a:pt x="9244685" y="2522084"/>
                  <a:pt x="9259691" y="2522084"/>
                  <a:pt x="9274695" y="2507155"/>
                </a:cubicBezTo>
                <a:cubicBezTo>
                  <a:pt x="9274695" y="2507155"/>
                  <a:pt x="9259691" y="2462370"/>
                  <a:pt x="9289705" y="2492227"/>
                </a:cubicBezTo>
                <a:cubicBezTo>
                  <a:pt x="9319716" y="2492227"/>
                  <a:pt x="9304711" y="2522084"/>
                  <a:pt x="9304711" y="2537012"/>
                </a:cubicBezTo>
                <a:cubicBezTo>
                  <a:pt x="9270945" y="2570602"/>
                  <a:pt x="9237180" y="2595794"/>
                  <a:pt x="9197084" y="2593694"/>
                </a:cubicBezTo>
                <a:lnTo>
                  <a:pt x="9176466" y="2587916"/>
                </a:lnTo>
                <a:lnTo>
                  <a:pt x="9073389" y="2790259"/>
                </a:lnTo>
                <a:cubicBezTo>
                  <a:pt x="9037986" y="2860954"/>
                  <a:pt x="9004447" y="2931647"/>
                  <a:pt x="8974633" y="3006065"/>
                </a:cubicBezTo>
                <a:cubicBezTo>
                  <a:pt x="8959726" y="3020948"/>
                  <a:pt x="8944820" y="3035832"/>
                  <a:pt x="8929914" y="3035832"/>
                </a:cubicBezTo>
                <a:lnTo>
                  <a:pt x="8932898" y="3035832"/>
                </a:lnTo>
                <a:cubicBezTo>
                  <a:pt x="8932898" y="3064541"/>
                  <a:pt x="8948686" y="3078895"/>
                  <a:pt x="8917107" y="3093249"/>
                </a:cubicBezTo>
                <a:lnTo>
                  <a:pt x="8915221" y="3092395"/>
                </a:lnTo>
                <a:lnTo>
                  <a:pt x="8915008" y="3093249"/>
                </a:lnTo>
                <a:lnTo>
                  <a:pt x="8893298" y="3082431"/>
                </a:lnTo>
                <a:lnTo>
                  <a:pt x="8885527" y="3078895"/>
                </a:lnTo>
                <a:lnTo>
                  <a:pt x="8885572" y="3078579"/>
                </a:lnTo>
                <a:lnTo>
                  <a:pt x="8885192" y="3078388"/>
                </a:lnTo>
                <a:cubicBezTo>
                  <a:pt x="8877741" y="3063528"/>
                  <a:pt x="8881467" y="3056094"/>
                  <a:pt x="8888921" y="3050521"/>
                </a:cubicBezTo>
                <a:lnTo>
                  <a:pt x="8914439" y="3034168"/>
                </a:lnTo>
                <a:lnTo>
                  <a:pt x="8890785" y="2965135"/>
                </a:lnTo>
                <a:lnTo>
                  <a:pt x="8891291" y="2964683"/>
                </a:lnTo>
                <a:lnTo>
                  <a:pt x="8890785" y="2963206"/>
                </a:lnTo>
                <a:cubicBezTo>
                  <a:pt x="8885197" y="2940916"/>
                  <a:pt x="8892647" y="2922339"/>
                  <a:pt x="8944820" y="2914907"/>
                </a:cubicBezTo>
                <a:lnTo>
                  <a:pt x="8944820" y="2901882"/>
                </a:lnTo>
                <a:lnTo>
                  <a:pt x="8944820" y="2900045"/>
                </a:lnTo>
                <a:cubicBezTo>
                  <a:pt x="8944820" y="2840598"/>
                  <a:pt x="8974633" y="2796012"/>
                  <a:pt x="9034262" y="2781150"/>
                </a:cubicBezTo>
                <a:cubicBezTo>
                  <a:pt x="9064072" y="2781150"/>
                  <a:pt x="9078978" y="2736565"/>
                  <a:pt x="9078978" y="2721703"/>
                </a:cubicBezTo>
                <a:cubicBezTo>
                  <a:pt x="9049166" y="2662256"/>
                  <a:pt x="9108790" y="2632530"/>
                  <a:pt x="9123697" y="2587948"/>
                </a:cubicBezTo>
                <a:lnTo>
                  <a:pt x="9127838" y="2567303"/>
                </a:lnTo>
                <a:lnTo>
                  <a:pt x="9084767" y="2544009"/>
                </a:lnTo>
                <a:lnTo>
                  <a:pt x="9022096" y="2518670"/>
                </a:lnTo>
                <a:lnTo>
                  <a:pt x="9022247" y="2520613"/>
                </a:lnTo>
                <a:cubicBezTo>
                  <a:pt x="9020453" y="2528303"/>
                  <a:pt x="9020453" y="2535993"/>
                  <a:pt x="9034807" y="2543682"/>
                </a:cubicBezTo>
                <a:cubicBezTo>
                  <a:pt x="9034807" y="2543682"/>
                  <a:pt x="9092225" y="2512926"/>
                  <a:pt x="9049161" y="2574440"/>
                </a:cubicBezTo>
                <a:cubicBezTo>
                  <a:pt x="9034807" y="2589820"/>
                  <a:pt x="9020454" y="2605200"/>
                  <a:pt x="8991745" y="2589820"/>
                </a:cubicBezTo>
                <a:cubicBezTo>
                  <a:pt x="8977391" y="2574440"/>
                  <a:pt x="8977391" y="2543682"/>
                  <a:pt x="8991745" y="2528301"/>
                </a:cubicBezTo>
                <a:cubicBezTo>
                  <a:pt x="8998921" y="2528301"/>
                  <a:pt x="9002510" y="2524458"/>
                  <a:pt x="9006099" y="2518691"/>
                </a:cubicBezTo>
                <a:lnTo>
                  <a:pt x="9009554" y="2513600"/>
                </a:lnTo>
                <a:lnTo>
                  <a:pt x="8977569" y="2500667"/>
                </a:lnTo>
                <a:lnTo>
                  <a:pt x="8959726" y="2514919"/>
                </a:lnTo>
                <a:cubicBezTo>
                  <a:pt x="8870286" y="2514919"/>
                  <a:pt x="8810662" y="2589337"/>
                  <a:pt x="8736129" y="2619102"/>
                </a:cubicBezTo>
                <a:cubicBezTo>
                  <a:pt x="8691411" y="2648869"/>
                  <a:pt x="8661598" y="2723287"/>
                  <a:pt x="8631786" y="2782815"/>
                </a:cubicBezTo>
                <a:cubicBezTo>
                  <a:pt x="8587065" y="2842348"/>
                  <a:pt x="8542347" y="2827464"/>
                  <a:pt x="8497624" y="2827464"/>
                </a:cubicBezTo>
                <a:cubicBezTo>
                  <a:pt x="8482718" y="2827464"/>
                  <a:pt x="8467812" y="2812582"/>
                  <a:pt x="8467812" y="2812582"/>
                </a:cubicBezTo>
                <a:lnTo>
                  <a:pt x="8468499" y="2811216"/>
                </a:lnTo>
                <a:lnTo>
                  <a:pt x="8467812" y="2810872"/>
                </a:lnTo>
                <a:cubicBezTo>
                  <a:pt x="8467812" y="2810872"/>
                  <a:pt x="8482718" y="2796012"/>
                  <a:pt x="8482718" y="2781150"/>
                </a:cubicBezTo>
                <a:cubicBezTo>
                  <a:pt x="8512534" y="2751425"/>
                  <a:pt x="8557253" y="2736565"/>
                  <a:pt x="8587065" y="2706843"/>
                </a:cubicBezTo>
                <a:cubicBezTo>
                  <a:pt x="8616876" y="2691977"/>
                  <a:pt x="8628058" y="2662256"/>
                  <a:pt x="8639237" y="2634388"/>
                </a:cubicBezTo>
                <a:lnTo>
                  <a:pt x="8691225" y="2573305"/>
                </a:lnTo>
                <a:lnTo>
                  <a:pt x="8682093" y="2516777"/>
                </a:lnTo>
                <a:lnTo>
                  <a:pt x="8682251" y="2516474"/>
                </a:lnTo>
                <a:lnTo>
                  <a:pt x="8682093" y="2515493"/>
                </a:lnTo>
                <a:cubicBezTo>
                  <a:pt x="8687685" y="2498775"/>
                  <a:pt x="8698865" y="2483914"/>
                  <a:pt x="8706317" y="2469053"/>
                </a:cubicBezTo>
                <a:cubicBezTo>
                  <a:pt x="8751034" y="2320433"/>
                  <a:pt x="8855381" y="2216403"/>
                  <a:pt x="8915008" y="2082642"/>
                </a:cubicBezTo>
                <a:cubicBezTo>
                  <a:pt x="8974633" y="1978612"/>
                  <a:pt x="9034262" y="1889439"/>
                  <a:pt x="9093884" y="1800270"/>
                </a:cubicBezTo>
                <a:cubicBezTo>
                  <a:pt x="9138603" y="1755684"/>
                  <a:pt x="9168419" y="1711097"/>
                  <a:pt x="9198230" y="1666514"/>
                </a:cubicBezTo>
                <a:cubicBezTo>
                  <a:pt x="9220592" y="1644221"/>
                  <a:pt x="9250403" y="1636789"/>
                  <a:pt x="9278352" y="1642363"/>
                </a:cubicBezTo>
                <a:cubicBezTo>
                  <a:pt x="9306301" y="1647937"/>
                  <a:pt x="9332388" y="1666514"/>
                  <a:pt x="9347294" y="1696236"/>
                </a:cubicBezTo>
                <a:cubicBezTo>
                  <a:pt x="9362199" y="1725962"/>
                  <a:pt x="9377106" y="1666514"/>
                  <a:pt x="9406922" y="1696236"/>
                </a:cubicBezTo>
                <a:lnTo>
                  <a:pt x="9423064" y="1710574"/>
                </a:lnTo>
                <a:lnTo>
                  <a:pt x="9426891" y="1701138"/>
                </a:lnTo>
                <a:cubicBezTo>
                  <a:pt x="9439933" y="1680703"/>
                  <a:pt x="9458565" y="1662126"/>
                  <a:pt x="9466019" y="1639834"/>
                </a:cubicBezTo>
                <a:cubicBezTo>
                  <a:pt x="9466019" y="1580387"/>
                  <a:pt x="9510740" y="1565522"/>
                  <a:pt x="9540552" y="1535801"/>
                </a:cubicBezTo>
                <a:lnTo>
                  <a:pt x="9544187" y="1497728"/>
                </a:lnTo>
                <a:lnTo>
                  <a:pt x="9525647" y="1447739"/>
                </a:lnTo>
                <a:cubicBezTo>
                  <a:pt x="9495834" y="1432856"/>
                  <a:pt x="9495834" y="1462623"/>
                  <a:pt x="9480925" y="1477505"/>
                </a:cubicBezTo>
                <a:cubicBezTo>
                  <a:pt x="9466019" y="1522156"/>
                  <a:pt x="9436206" y="1507272"/>
                  <a:pt x="9406394" y="1477505"/>
                </a:cubicBezTo>
                <a:lnTo>
                  <a:pt x="9407217" y="1476891"/>
                </a:lnTo>
                <a:lnTo>
                  <a:pt x="9406394" y="1476352"/>
                </a:lnTo>
                <a:cubicBezTo>
                  <a:pt x="9421300" y="1461493"/>
                  <a:pt x="9436206" y="1446627"/>
                  <a:pt x="9466019" y="1431766"/>
                </a:cubicBezTo>
                <a:cubicBezTo>
                  <a:pt x="9473473" y="1431766"/>
                  <a:pt x="9484654" y="1435482"/>
                  <a:pt x="9493968" y="1435482"/>
                </a:cubicBezTo>
                <a:lnTo>
                  <a:pt x="9510352" y="1417331"/>
                </a:lnTo>
                <a:lnTo>
                  <a:pt x="9493968" y="1390069"/>
                </a:lnTo>
                <a:cubicBezTo>
                  <a:pt x="9484654" y="1384485"/>
                  <a:pt x="9473473" y="1380764"/>
                  <a:pt x="9466019" y="1373322"/>
                </a:cubicBezTo>
                <a:lnTo>
                  <a:pt x="9467036" y="1372929"/>
                </a:lnTo>
                <a:lnTo>
                  <a:pt x="9466019" y="1372319"/>
                </a:lnTo>
                <a:cubicBezTo>
                  <a:pt x="9480929" y="1364891"/>
                  <a:pt x="9495834" y="1361175"/>
                  <a:pt x="9508877" y="1355600"/>
                </a:cubicBezTo>
                <a:lnTo>
                  <a:pt x="9540299" y="1327958"/>
                </a:lnTo>
                <a:lnTo>
                  <a:pt x="9527508" y="1291469"/>
                </a:lnTo>
                <a:cubicBezTo>
                  <a:pt x="9518191" y="1280306"/>
                  <a:pt x="9510740" y="1269144"/>
                  <a:pt x="9525647" y="1254260"/>
                </a:cubicBezTo>
                <a:cubicBezTo>
                  <a:pt x="9525647" y="1254260"/>
                  <a:pt x="9510740" y="1239377"/>
                  <a:pt x="9510740" y="1239377"/>
                </a:cubicBezTo>
                <a:cubicBezTo>
                  <a:pt x="9480925" y="1284028"/>
                  <a:pt x="9406394" y="1269144"/>
                  <a:pt x="9421300" y="1343555"/>
                </a:cubicBezTo>
                <a:cubicBezTo>
                  <a:pt x="9436206" y="1373322"/>
                  <a:pt x="9406394" y="1388205"/>
                  <a:pt x="9391488" y="1388205"/>
                </a:cubicBezTo>
                <a:cubicBezTo>
                  <a:pt x="9376583" y="1388205"/>
                  <a:pt x="9365401" y="1380764"/>
                  <a:pt x="9357947" y="1377043"/>
                </a:cubicBezTo>
                <a:lnTo>
                  <a:pt x="9346888" y="1388088"/>
                </a:lnTo>
                <a:lnTo>
                  <a:pt x="9350495" y="1415047"/>
                </a:lnTo>
                <a:cubicBezTo>
                  <a:pt x="9357947" y="1420622"/>
                  <a:pt x="9369127" y="1424338"/>
                  <a:pt x="9376583" y="1431766"/>
                </a:cubicBezTo>
                <a:lnTo>
                  <a:pt x="9375497" y="1432164"/>
                </a:lnTo>
                <a:lnTo>
                  <a:pt x="9376583" y="1432856"/>
                </a:lnTo>
                <a:cubicBezTo>
                  <a:pt x="9369127" y="1447739"/>
                  <a:pt x="9339315" y="1447739"/>
                  <a:pt x="9320684" y="1453323"/>
                </a:cubicBezTo>
                <a:lnTo>
                  <a:pt x="9305779" y="1467980"/>
                </a:lnTo>
                <a:lnTo>
                  <a:pt x="9331861" y="1506074"/>
                </a:lnTo>
                <a:cubicBezTo>
                  <a:pt x="9346771" y="1513506"/>
                  <a:pt x="9346771" y="1524651"/>
                  <a:pt x="9339315" y="1535801"/>
                </a:cubicBezTo>
                <a:lnTo>
                  <a:pt x="9339057" y="1536009"/>
                </a:lnTo>
                <a:lnTo>
                  <a:pt x="9339315" y="1537039"/>
                </a:lnTo>
                <a:cubicBezTo>
                  <a:pt x="9331861" y="1548202"/>
                  <a:pt x="9316955" y="1559364"/>
                  <a:pt x="9302048" y="1566806"/>
                </a:cubicBezTo>
                <a:cubicBezTo>
                  <a:pt x="9212608" y="1566806"/>
                  <a:pt x="9152984" y="1641222"/>
                  <a:pt x="9078450" y="1670989"/>
                </a:cubicBezTo>
                <a:cubicBezTo>
                  <a:pt x="9033733" y="1700756"/>
                  <a:pt x="9003920" y="1775172"/>
                  <a:pt x="8974108" y="1834701"/>
                </a:cubicBezTo>
                <a:cubicBezTo>
                  <a:pt x="8929387" y="1894236"/>
                  <a:pt x="8884669" y="1879352"/>
                  <a:pt x="8839946" y="1879352"/>
                </a:cubicBezTo>
                <a:lnTo>
                  <a:pt x="8834983" y="1877550"/>
                </a:lnTo>
                <a:lnTo>
                  <a:pt x="8834132" y="1890719"/>
                </a:lnTo>
                <a:cubicBezTo>
                  <a:pt x="8830405" y="1907462"/>
                  <a:pt x="8822952" y="1922345"/>
                  <a:pt x="8808045" y="1937229"/>
                </a:cubicBezTo>
                <a:cubicBezTo>
                  <a:pt x="8733512" y="2041412"/>
                  <a:pt x="8673888" y="2145595"/>
                  <a:pt x="8614265" y="2249779"/>
                </a:cubicBezTo>
                <a:cubicBezTo>
                  <a:pt x="8539730" y="2368841"/>
                  <a:pt x="8450290" y="2487908"/>
                  <a:pt x="8390666" y="2621858"/>
                </a:cubicBezTo>
                <a:cubicBezTo>
                  <a:pt x="8316133" y="2770692"/>
                  <a:pt x="8241603" y="2904637"/>
                  <a:pt x="8181973" y="3053470"/>
                </a:cubicBezTo>
                <a:cubicBezTo>
                  <a:pt x="8167068" y="3068353"/>
                  <a:pt x="8152163" y="3083237"/>
                  <a:pt x="8137257" y="3083237"/>
                </a:cubicBezTo>
                <a:lnTo>
                  <a:pt x="8140240" y="3083237"/>
                </a:lnTo>
                <a:cubicBezTo>
                  <a:pt x="8140240" y="3111946"/>
                  <a:pt x="8156027" y="3126300"/>
                  <a:pt x="8124447" y="3140654"/>
                </a:cubicBezTo>
                <a:lnTo>
                  <a:pt x="8122563" y="3139800"/>
                </a:lnTo>
                <a:lnTo>
                  <a:pt x="8122350" y="3140654"/>
                </a:lnTo>
                <a:lnTo>
                  <a:pt x="8100641" y="3129836"/>
                </a:lnTo>
                <a:lnTo>
                  <a:pt x="8092869" y="3126300"/>
                </a:lnTo>
                <a:lnTo>
                  <a:pt x="8092914" y="3125984"/>
                </a:lnTo>
                <a:lnTo>
                  <a:pt x="8092535" y="3125793"/>
                </a:lnTo>
                <a:cubicBezTo>
                  <a:pt x="8085083" y="3110933"/>
                  <a:pt x="8088809" y="3103499"/>
                  <a:pt x="8096263" y="3097926"/>
                </a:cubicBezTo>
                <a:lnTo>
                  <a:pt x="8121780" y="3081573"/>
                </a:lnTo>
                <a:lnTo>
                  <a:pt x="8098126" y="3012540"/>
                </a:lnTo>
                <a:lnTo>
                  <a:pt x="8098633" y="3012088"/>
                </a:lnTo>
                <a:lnTo>
                  <a:pt x="8098126" y="3010611"/>
                </a:lnTo>
                <a:cubicBezTo>
                  <a:pt x="8092539" y="2988321"/>
                  <a:pt x="8099989" y="2969744"/>
                  <a:pt x="8152163" y="2962312"/>
                </a:cubicBezTo>
                <a:lnTo>
                  <a:pt x="8152163" y="2949287"/>
                </a:lnTo>
                <a:lnTo>
                  <a:pt x="8152163" y="2947450"/>
                </a:lnTo>
                <a:cubicBezTo>
                  <a:pt x="8152163" y="2888003"/>
                  <a:pt x="8181973" y="2843417"/>
                  <a:pt x="8241603" y="2828556"/>
                </a:cubicBezTo>
                <a:cubicBezTo>
                  <a:pt x="8271414" y="2828556"/>
                  <a:pt x="8286321" y="2783970"/>
                  <a:pt x="8286321" y="2769108"/>
                </a:cubicBezTo>
                <a:cubicBezTo>
                  <a:pt x="8256508" y="2709661"/>
                  <a:pt x="8316133" y="2679935"/>
                  <a:pt x="8331037" y="2635353"/>
                </a:cubicBezTo>
                <a:cubicBezTo>
                  <a:pt x="8331037" y="2575906"/>
                  <a:pt x="8375761" y="2561041"/>
                  <a:pt x="8405572" y="2531319"/>
                </a:cubicBezTo>
                <a:lnTo>
                  <a:pt x="8409207" y="2493247"/>
                </a:lnTo>
                <a:lnTo>
                  <a:pt x="8390666" y="2443258"/>
                </a:lnTo>
                <a:cubicBezTo>
                  <a:pt x="8360855" y="2428374"/>
                  <a:pt x="8360855" y="2458140"/>
                  <a:pt x="8345944" y="2473024"/>
                </a:cubicBezTo>
                <a:cubicBezTo>
                  <a:pt x="8342217" y="2484187"/>
                  <a:pt x="8337559" y="2491628"/>
                  <a:pt x="8332202" y="2496047"/>
                </a:cubicBezTo>
                <a:lnTo>
                  <a:pt x="8314531" y="2500859"/>
                </a:lnTo>
                <a:lnTo>
                  <a:pt x="8259208" y="2585002"/>
                </a:lnTo>
                <a:lnTo>
                  <a:pt x="8265476" y="2583399"/>
                </a:lnTo>
                <a:cubicBezTo>
                  <a:pt x="8274447" y="2583399"/>
                  <a:pt x="8278036" y="2591087"/>
                  <a:pt x="8256504" y="2621845"/>
                </a:cubicBezTo>
                <a:cubicBezTo>
                  <a:pt x="8249327" y="2629534"/>
                  <a:pt x="8242150" y="2637225"/>
                  <a:pt x="8233177" y="2641071"/>
                </a:cubicBezTo>
                <a:lnTo>
                  <a:pt x="8227889" y="2641915"/>
                </a:lnTo>
                <a:lnTo>
                  <a:pt x="8199467" y="2695614"/>
                </a:lnTo>
                <a:cubicBezTo>
                  <a:pt x="8165901" y="2764541"/>
                  <a:pt x="8136064" y="2835330"/>
                  <a:pt x="8106227" y="2902393"/>
                </a:cubicBezTo>
                <a:cubicBezTo>
                  <a:pt x="8091307" y="2947101"/>
                  <a:pt x="8091307" y="3021617"/>
                  <a:pt x="8031633" y="3051425"/>
                </a:cubicBezTo>
                <a:cubicBezTo>
                  <a:pt x="8031633" y="3051425"/>
                  <a:pt x="8031633" y="3066327"/>
                  <a:pt x="8031633" y="3066327"/>
                </a:cubicBezTo>
                <a:cubicBezTo>
                  <a:pt x="8091307" y="3111035"/>
                  <a:pt x="8031633" y="3140842"/>
                  <a:pt x="8001794" y="3170645"/>
                </a:cubicBezTo>
                <a:cubicBezTo>
                  <a:pt x="7986875" y="3185551"/>
                  <a:pt x="7971955" y="3200452"/>
                  <a:pt x="7971955" y="3215354"/>
                </a:cubicBezTo>
                <a:cubicBezTo>
                  <a:pt x="7971955" y="3245161"/>
                  <a:pt x="7927201" y="3274968"/>
                  <a:pt x="7957041" y="3274968"/>
                </a:cubicBezTo>
                <a:cubicBezTo>
                  <a:pt x="7986875" y="3304771"/>
                  <a:pt x="7986875" y="3260063"/>
                  <a:pt x="8001794" y="3245161"/>
                </a:cubicBezTo>
                <a:cubicBezTo>
                  <a:pt x="8031633" y="3215354"/>
                  <a:pt x="8076387" y="3230260"/>
                  <a:pt x="8106227" y="3215354"/>
                </a:cubicBezTo>
                <a:lnTo>
                  <a:pt x="8165901" y="3215354"/>
                </a:lnTo>
                <a:cubicBezTo>
                  <a:pt x="8150983" y="3241435"/>
                  <a:pt x="8134199" y="3265653"/>
                  <a:pt x="8116017" y="3288706"/>
                </a:cubicBezTo>
                <a:lnTo>
                  <a:pt x="8086773" y="3322009"/>
                </a:lnTo>
                <a:lnTo>
                  <a:pt x="8087193" y="3338460"/>
                </a:lnTo>
                <a:cubicBezTo>
                  <a:pt x="8090945" y="3375781"/>
                  <a:pt x="8094697" y="3413103"/>
                  <a:pt x="8064685" y="3442959"/>
                </a:cubicBezTo>
                <a:cubicBezTo>
                  <a:pt x="8049675" y="3457887"/>
                  <a:pt x="8064685" y="3472816"/>
                  <a:pt x="8079689" y="3472816"/>
                </a:cubicBezTo>
                <a:cubicBezTo>
                  <a:pt x="8094695" y="3457887"/>
                  <a:pt x="8109705" y="3457887"/>
                  <a:pt x="8094695" y="3487746"/>
                </a:cubicBezTo>
                <a:cubicBezTo>
                  <a:pt x="8079689" y="3487746"/>
                  <a:pt x="8064685" y="3502673"/>
                  <a:pt x="8094695" y="3517602"/>
                </a:cubicBezTo>
                <a:cubicBezTo>
                  <a:pt x="8109705" y="3517602"/>
                  <a:pt x="8124711" y="3517602"/>
                  <a:pt x="8139716" y="3502673"/>
                </a:cubicBezTo>
                <a:cubicBezTo>
                  <a:pt x="8139716" y="3502673"/>
                  <a:pt x="8124711" y="3457887"/>
                  <a:pt x="8154725" y="3487746"/>
                </a:cubicBezTo>
                <a:cubicBezTo>
                  <a:pt x="8184737" y="3487746"/>
                  <a:pt x="8169731" y="3517602"/>
                  <a:pt x="8169731" y="3532531"/>
                </a:cubicBezTo>
                <a:cubicBezTo>
                  <a:pt x="8124711" y="3577316"/>
                  <a:pt x="8079689" y="3607173"/>
                  <a:pt x="8019663" y="3577316"/>
                </a:cubicBezTo>
                <a:cubicBezTo>
                  <a:pt x="7929622" y="3517602"/>
                  <a:pt x="7824571" y="3502673"/>
                  <a:pt x="7734529" y="3442959"/>
                </a:cubicBezTo>
                <a:cubicBezTo>
                  <a:pt x="7712021" y="3431763"/>
                  <a:pt x="7697951" y="3420567"/>
                  <a:pt x="7692323" y="3396774"/>
                </a:cubicBezTo>
                <a:lnTo>
                  <a:pt x="7691544" y="3388898"/>
                </a:lnTo>
                <a:lnTo>
                  <a:pt x="7673583" y="3379287"/>
                </a:lnTo>
                <a:cubicBezTo>
                  <a:pt x="7595263" y="3379287"/>
                  <a:pt x="7533725" y="3337372"/>
                  <a:pt x="7501555" y="3278692"/>
                </a:cubicBezTo>
                <a:lnTo>
                  <a:pt x="7491041" y="3248298"/>
                </a:lnTo>
                <a:lnTo>
                  <a:pt x="7411467" y="3370621"/>
                </a:lnTo>
                <a:lnTo>
                  <a:pt x="7372187" y="3441491"/>
                </a:lnTo>
                <a:lnTo>
                  <a:pt x="7372531" y="3454949"/>
                </a:lnTo>
                <a:cubicBezTo>
                  <a:pt x="7376283" y="3492271"/>
                  <a:pt x="7380035" y="3529592"/>
                  <a:pt x="7350023" y="3559449"/>
                </a:cubicBezTo>
                <a:cubicBezTo>
                  <a:pt x="7335013" y="3574377"/>
                  <a:pt x="7350023" y="3589306"/>
                  <a:pt x="7365027" y="3589306"/>
                </a:cubicBezTo>
                <a:cubicBezTo>
                  <a:pt x="7380033" y="3574377"/>
                  <a:pt x="7395043" y="3574377"/>
                  <a:pt x="7380033" y="3604235"/>
                </a:cubicBezTo>
                <a:cubicBezTo>
                  <a:pt x="7365027" y="3604235"/>
                  <a:pt x="7350023" y="3619163"/>
                  <a:pt x="7380033" y="3634092"/>
                </a:cubicBezTo>
                <a:cubicBezTo>
                  <a:pt x="7395043" y="3634092"/>
                  <a:pt x="7410049" y="3634092"/>
                  <a:pt x="7425053" y="3619163"/>
                </a:cubicBezTo>
                <a:cubicBezTo>
                  <a:pt x="7425053" y="3619163"/>
                  <a:pt x="7410049" y="3574377"/>
                  <a:pt x="7440063" y="3604235"/>
                </a:cubicBezTo>
                <a:cubicBezTo>
                  <a:pt x="7470075" y="3604235"/>
                  <a:pt x="7455069" y="3634092"/>
                  <a:pt x="7455069" y="3649021"/>
                </a:cubicBezTo>
                <a:cubicBezTo>
                  <a:pt x="7410049" y="3693806"/>
                  <a:pt x="7365027" y="3723663"/>
                  <a:pt x="7305002" y="3693806"/>
                </a:cubicBezTo>
                <a:lnTo>
                  <a:pt x="7252658" y="3665500"/>
                </a:lnTo>
                <a:lnTo>
                  <a:pt x="7195324" y="3778050"/>
                </a:lnTo>
                <a:cubicBezTo>
                  <a:pt x="7159921" y="3848744"/>
                  <a:pt x="7126381" y="3919439"/>
                  <a:pt x="7096567" y="3993856"/>
                </a:cubicBezTo>
                <a:cubicBezTo>
                  <a:pt x="7081661" y="4008738"/>
                  <a:pt x="7066757" y="4023622"/>
                  <a:pt x="7051850" y="4023622"/>
                </a:cubicBezTo>
                <a:lnTo>
                  <a:pt x="7054833" y="4023622"/>
                </a:lnTo>
                <a:cubicBezTo>
                  <a:pt x="7054833" y="4052331"/>
                  <a:pt x="7070621" y="4066686"/>
                  <a:pt x="7039043" y="4081040"/>
                </a:cubicBezTo>
                <a:lnTo>
                  <a:pt x="7037156" y="4080185"/>
                </a:lnTo>
                <a:lnTo>
                  <a:pt x="7036945" y="4081040"/>
                </a:lnTo>
                <a:lnTo>
                  <a:pt x="7015234" y="4070222"/>
                </a:lnTo>
                <a:lnTo>
                  <a:pt x="7007463" y="4066686"/>
                </a:lnTo>
                <a:lnTo>
                  <a:pt x="7007507" y="4066369"/>
                </a:lnTo>
                <a:lnTo>
                  <a:pt x="7007128" y="4066178"/>
                </a:lnTo>
                <a:cubicBezTo>
                  <a:pt x="6999677" y="4051319"/>
                  <a:pt x="7003403" y="4043885"/>
                  <a:pt x="7010857" y="4038311"/>
                </a:cubicBezTo>
                <a:lnTo>
                  <a:pt x="7036375" y="4021958"/>
                </a:lnTo>
                <a:lnTo>
                  <a:pt x="7012721" y="3952926"/>
                </a:lnTo>
                <a:lnTo>
                  <a:pt x="7013227" y="3952474"/>
                </a:lnTo>
                <a:lnTo>
                  <a:pt x="7012721" y="3950996"/>
                </a:lnTo>
                <a:cubicBezTo>
                  <a:pt x="7007133" y="3928707"/>
                  <a:pt x="7014583" y="3910130"/>
                  <a:pt x="7066757" y="3902697"/>
                </a:cubicBezTo>
                <a:lnTo>
                  <a:pt x="7066757" y="3889672"/>
                </a:lnTo>
                <a:lnTo>
                  <a:pt x="7066757" y="3887836"/>
                </a:lnTo>
                <a:cubicBezTo>
                  <a:pt x="7066757" y="3828389"/>
                  <a:pt x="7096567" y="3783803"/>
                  <a:pt x="7156195" y="3768941"/>
                </a:cubicBezTo>
                <a:cubicBezTo>
                  <a:pt x="7186007" y="3768941"/>
                  <a:pt x="7200914" y="3724355"/>
                  <a:pt x="7200914" y="3709494"/>
                </a:cubicBezTo>
                <a:cubicBezTo>
                  <a:pt x="7193461" y="3694632"/>
                  <a:pt x="7191598" y="3681628"/>
                  <a:pt x="7193227" y="3669785"/>
                </a:cubicBezTo>
                <a:lnTo>
                  <a:pt x="7203925" y="3643403"/>
                </a:lnTo>
                <a:lnTo>
                  <a:pt x="7162435" y="3626627"/>
                </a:lnTo>
                <a:cubicBezTo>
                  <a:pt x="7138047" y="3617298"/>
                  <a:pt x="7113661" y="3607967"/>
                  <a:pt x="7089744" y="3597236"/>
                </a:cubicBezTo>
                <a:lnTo>
                  <a:pt x="7041901" y="3571365"/>
                </a:lnTo>
                <a:lnTo>
                  <a:pt x="7026489" y="3578615"/>
                </a:lnTo>
                <a:cubicBezTo>
                  <a:pt x="7012503" y="3581409"/>
                  <a:pt x="6998984" y="3580012"/>
                  <a:pt x="6985231" y="3574191"/>
                </a:cubicBezTo>
                <a:lnTo>
                  <a:pt x="6953183" y="3550923"/>
                </a:lnTo>
                <a:lnTo>
                  <a:pt x="6911868" y="3578057"/>
                </a:lnTo>
                <a:cubicBezTo>
                  <a:pt x="6894400" y="3589219"/>
                  <a:pt x="6876697" y="3599451"/>
                  <a:pt x="6858064" y="3606893"/>
                </a:cubicBezTo>
                <a:cubicBezTo>
                  <a:pt x="6813346" y="3636660"/>
                  <a:pt x="6783533" y="3711077"/>
                  <a:pt x="6753723" y="3770605"/>
                </a:cubicBezTo>
                <a:cubicBezTo>
                  <a:pt x="6709000" y="3830139"/>
                  <a:pt x="6664282" y="3815255"/>
                  <a:pt x="6619560" y="3815255"/>
                </a:cubicBezTo>
                <a:cubicBezTo>
                  <a:pt x="6604654" y="3815255"/>
                  <a:pt x="6589749" y="3800372"/>
                  <a:pt x="6589749" y="3800372"/>
                </a:cubicBezTo>
                <a:lnTo>
                  <a:pt x="6590436" y="3799007"/>
                </a:lnTo>
                <a:lnTo>
                  <a:pt x="6589749" y="3798663"/>
                </a:lnTo>
                <a:cubicBezTo>
                  <a:pt x="6589749" y="3798663"/>
                  <a:pt x="6604654" y="3783803"/>
                  <a:pt x="6604654" y="3768941"/>
                </a:cubicBezTo>
                <a:cubicBezTo>
                  <a:pt x="6634471" y="3739216"/>
                  <a:pt x="6679189" y="3724355"/>
                  <a:pt x="6709000" y="3694633"/>
                </a:cubicBezTo>
                <a:cubicBezTo>
                  <a:pt x="6738813" y="3679768"/>
                  <a:pt x="6749993" y="3650046"/>
                  <a:pt x="6761173" y="3622179"/>
                </a:cubicBezTo>
                <a:lnTo>
                  <a:pt x="6813161" y="3561094"/>
                </a:lnTo>
                <a:lnTo>
                  <a:pt x="6804028" y="3504568"/>
                </a:lnTo>
                <a:lnTo>
                  <a:pt x="6804187" y="3504264"/>
                </a:lnTo>
                <a:lnTo>
                  <a:pt x="6804028" y="3503284"/>
                </a:lnTo>
                <a:lnTo>
                  <a:pt x="6818289" y="3475946"/>
                </a:lnTo>
                <a:lnTo>
                  <a:pt x="6783132" y="3465679"/>
                </a:lnTo>
                <a:cubicBezTo>
                  <a:pt x="6765416" y="3461255"/>
                  <a:pt x="6748633" y="3457529"/>
                  <a:pt x="6733715" y="3453804"/>
                </a:cubicBezTo>
                <a:cubicBezTo>
                  <a:pt x="6707607" y="3442626"/>
                  <a:pt x="6684296" y="3429586"/>
                  <a:pt x="6664249" y="3414915"/>
                </a:cubicBezTo>
                <a:lnTo>
                  <a:pt x="6646260" y="3397366"/>
                </a:lnTo>
                <a:lnTo>
                  <a:pt x="6608697" y="3452600"/>
                </a:lnTo>
                <a:cubicBezTo>
                  <a:pt x="6554151" y="3521760"/>
                  <a:pt x="6487017" y="3580438"/>
                  <a:pt x="6419883" y="3647501"/>
                </a:cubicBezTo>
                <a:cubicBezTo>
                  <a:pt x="6404964" y="3677309"/>
                  <a:pt x="6390044" y="3677309"/>
                  <a:pt x="6360209" y="3662407"/>
                </a:cubicBezTo>
                <a:cubicBezTo>
                  <a:pt x="6360209" y="3662407"/>
                  <a:pt x="6360209" y="3662407"/>
                  <a:pt x="6349019" y="3653093"/>
                </a:cubicBezTo>
                <a:lnTo>
                  <a:pt x="6340987" y="3646405"/>
                </a:lnTo>
                <a:lnTo>
                  <a:pt x="6321402" y="3683405"/>
                </a:lnTo>
                <a:cubicBezTo>
                  <a:pt x="6287837" y="3752331"/>
                  <a:pt x="6258000" y="3823119"/>
                  <a:pt x="6228163" y="3890182"/>
                </a:cubicBezTo>
                <a:cubicBezTo>
                  <a:pt x="6213243" y="3934892"/>
                  <a:pt x="6213243" y="4009408"/>
                  <a:pt x="6153570" y="4039216"/>
                </a:cubicBezTo>
                <a:cubicBezTo>
                  <a:pt x="6153570" y="4039216"/>
                  <a:pt x="6153570" y="4054117"/>
                  <a:pt x="6153570" y="4054117"/>
                </a:cubicBezTo>
                <a:cubicBezTo>
                  <a:pt x="6213243" y="4098825"/>
                  <a:pt x="6153570" y="4128633"/>
                  <a:pt x="6123732" y="4158436"/>
                </a:cubicBezTo>
                <a:cubicBezTo>
                  <a:pt x="6108811" y="4173342"/>
                  <a:pt x="6093892" y="4188243"/>
                  <a:pt x="6093892" y="4203144"/>
                </a:cubicBezTo>
                <a:cubicBezTo>
                  <a:pt x="6093892" y="4232952"/>
                  <a:pt x="6049138" y="4262759"/>
                  <a:pt x="6078977" y="4262759"/>
                </a:cubicBezTo>
                <a:cubicBezTo>
                  <a:pt x="6108811" y="4292562"/>
                  <a:pt x="6108811" y="4247854"/>
                  <a:pt x="6123732" y="4232952"/>
                </a:cubicBezTo>
                <a:cubicBezTo>
                  <a:pt x="6153570" y="4203144"/>
                  <a:pt x="6198324" y="4218050"/>
                  <a:pt x="6228163" y="4203144"/>
                </a:cubicBezTo>
                <a:lnTo>
                  <a:pt x="6287837" y="4203144"/>
                </a:lnTo>
                <a:cubicBezTo>
                  <a:pt x="6228163" y="4307469"/>
                  <a:pt x="6138651" y="4381980"/>
                  <a:pt x="6049138" y="4471397"/>
                </a:cubicBezTo>
                <a:cubicBezTo>
                  <a:pt x="6034219" y="4501205"/>
                  <a:pt x="6019299" y="4501205"/>
                  <a:pt x="5989464" y="4486303"/>
                </a:cubicBezTo>
                <a:cubicBezTo>
                  <a:pt x="5989464" y="4486303"/>
                  <a:pt x="5989464" y="4486303"/>
                  <a:pt x="5899953" y="4411787"/>
                </a:cubicBezTo>
                <a:cubicBezTo>
                  <a:pt x="5855193" y="4411787"/>
                  <a:pt x="5840279" y="4381980"/>
                  <a:pt x="5795520" y="4367078"/>
                </a:cubicBezTo>
                <a:cubicBezTo>
                  <a:pt x="5691093" y="4367078"/>
                  <a:pt x="5616500" y="4292562"/>
                  <a:pt x="5601580" y="4203144"/>
                </a:cubicBezTo>
                <a:cubicBezTo>
                  <a:pt x="5601580" y="4188243"/>
                  <a:pt x="5601580" y="4158436"/>
                  <a:pt x="5586660" y="4158436"/>
                </a:cubicBezTo>
                <a:cubicBezTo>
                  <a:pt x="5571740" y="4158436"/>
                  <a:pt x="5556821" y="4173342"/>
                  <a:pt x="5541907" y="4188243"/>
                </a:cubicBezTo>
                <a:cubicBezTo>
                  <a:pt x="5422555" y="4277661"/>
                  <a:pt x="5347962" y="4396886"/>
                  <a:pt x="5243530" y="4501205"/>
                </a:cubicBezTo>
                <a:cubicBezTo>
                  <a:pt x="5168938" y="4575720"/>
                  <a:pt x="5124182" y="4590622"/>
                  <a:pt x="5064509" y="4531012"/>
                </a:cubicBezTo>
                <a:cubicBezTo>
                  <a:pt x="5004835" y="4471397"/>
                  <a:pt x="4915323" y="4456496"/>
                  <a:pt x="4855650" y="4441594"/>
                </a:cubicBezTo>
                <a:cubicBezTo>
                  <a:pt x="4751218" y="4396886"/>
                  <a:pt x="4691545" y="4322369"/>
                  <a:pt x="4706459" y="4232952"/>
                </a:cubicBezTo>
                <a:cubicBezTo>
                  <a:pt x="4721378" y="4203144"/>
                  <a:pt x="4721378" y="4143535"/>
                  <a:pt x="4766138" y="4203144"/>
                </a:cubicBezTo>
                <a:cubicBezTo>
                  <a:pt x="4766138" y="4218050"/>
                  <a:pt x="4781052" y="4218050"/>
                  <a:pt x="4795972" y="4218050"/>
                </a:cubicBezTo>
                <a:cubicBezTo>
                  <a:pt x="4795972" y="4203144"/>
                  <a:pt x="4810891" y="4203144"/>
                  <a:pt x="4810891" y="4218050"/>
                </a:cubicBezTo>
                <a:cubicBezTo>
                  <a:pt x="4810891" y="4232952"/>
                  <a:pt x="4810891" y="4247854"/>
                  <a:pt x="4795972" y="4247854"/>
                </a:cubicBezTo>
                <a:cubicBezTo>
                  <a:pt x="4766138" y="4247854"/>
                  <a:pt x="4751218" y="4247854"/>
                  <a:pt x="4766138" y="4277661"/>
                </a:cubicBezTo>
                <a:cubicBezTo>
                  <a:pt x="4781052" y="4322369"/>
                  <a:pt x="4810891" y="4292562"/>
                  <a:pt x="4810891" y="4277661"/>
                </a:cubicBezTo>
                <a:cubicBezTo>
                  <a:pt x="4915323" y="4203144"/>
                  <a:pt x="5019750" y="4143535"/>
                  <a:pt x="5064509" y="4009408"/>
                </a:cubicBezTo>
                <a:cubicBezTo>
                  <a:pt x="5064509" y="4024309"/>
                  <a:pt x="5064509" y="4039216"/>
                  <a:pt x="5064509" y="4039216"/>
                </a:cubicBezTo>
                <a:cubicBezTo>
                  <a:pt x="5079429" y="4054117"/>
                  <a:pt x="5094344" y="4039216"/>
                  <a:pt x="5094344" y="4024309"/>
                </a:cubicBezTo>
                <a:cubicBezTo>
                  <a:pt x="5109263" y="3994506"/>
                  <a:pt x="5139102" y="3994506"/>
                  <a:pt x="5154021" y="3979601"/>
                </a:cubicBezTo>
                <a:cubicBezTo>
                  <a:pt x="5198775" y="3934892"/>
                  <a:pt x="5243530" y="3890182"/>
                  <a:pt x="5258449" y="3830573"/>
                </a:cubicBezTo>
                <a:cubicBezTo>
                  <a:pt x="5258449" y="3800765"/>
                  <a:pt x="5228614" y="3800765"/>
                  <a:pt x="5198775" y="3785863"/>
                </a:cubicBezTo>
                <a:cubicBezTo>
                  <a:pt x="5303208" y="3800765"/>
                  <a:pt x="5318122" y="3726249"/>
                  <a:pt x="5347962" y="3666638"/>
                </a:cubicBezTo>
                <a:lnTo>
                  <a:pt x="5355537" y="3656624"/>
                </a:lnTo>
                <a:lnTo>
                  <a:pt x="5330824" y="3645639"/>
                </a:lnTo>
                <a:lnTo>
                  <a:pt x="5320900" y="3642741"/>
                </a:lnTo>
                <a:lnTo>
                  <a:pt x="5323197" y="3652880"/>
                </a:lnTo>
                <a:cubicBezTo>
                  <a:pt x="5321179" y="3665665"/>
                  <a:pt x="5305030" y="3668356"/>
                  <a:pt x="5305030" y="3679121"/>
                </a:cubicBezTo>
                <a:cubicBezTo>
                  <a:pt x="5290677" y="3693476"/>
                  <a:pt x="5305030" y="3722185"/>
                  <a:pt x="5276321" y="3722185"/>
                </a:cubicBezTo>
                <a:cubicBezTo>
                  <a:pt x="5247612" y="3722185"/>
                  <a:pt x="5276321" y="3693476"/>
                  <a:pt x="5261968" y="3679121"/>
                </a:cubicBezTo>
                <a:cubicBezTo>
                  <a:pt x="5247612" y="3664766"/>
                  <a:pt x="5251203" y="3664766"/>
                  <a:pt x="5260172" y="3664766"/>
                </a:cubicBezTo>
                <a:lnTo>
                  <a:pt x="5260172" y="3664763"/>
                </a:lnTo>
                <a:cubicBezTo>
                  <a:pt x="5269147" y="3664763"/>
                  <a:pt x="5283501" y="3664763"/>
                  <a:pt x="5290677" y="3650408"/>
                </a:cubicBezTo>
                <a:cubicBezTo>
                  <a:pt x="5290677" y="3650408"/>
                  <a:pt x="5294266" y="3646819"/>
                  <a:pt x="5299647" y="3643232"/>
                </a:cubicBezTo>
                <a:lnTo>
                  <a:pt x="5309862" y="3639517"/>
                </a:lnTo>
                <a:lnTo>
                  <a:pt x="5275813" y="3629573"/>
                </a:lnTo>
                <a:lnTo>
                  <a:pt x="5245560" y="3622304"/>
                </a:lnTo>
                <a:lnTo>
                  <a:pt x="5209985" y="3662817"/>
                </a:lnTo>
                <a:cubicBezTo>
                  <a:pt x="5168960" y="3705661"/>
                  <a:pt x="5124204" y="3746644"/>
                  <a:pt x="5079447" y="3791353"/>
                </a:cubicBezTo>
                <a:cubicBezTo>
                  <a:pt x="5064528" y="3821161"/>
                  <a:pt x="5049608" y="3821161"/>
                  <a:pt x="5019772" y="3806259"/>
                </a:cubicBezTo>
                <a:cubicBezTo>
                  <a:pt x="5019772" y="3806259"/>
                  <a:pt x="5019772" y="3806259"/>
                  <a:pt x="5008583" y="3796945"/>
                </a:cubicBezTo>
                <a:lnTo>
                  <a:pt x="5004212" y="3793305"/>
                </a:lnTo>
                <a:lnTo>
                  <a:pt x="5005300" y="3799836"/>
                </a:lnTo>
                <a:cubicBezTo>
                  <a:pt x="5010429" y="3809150"/>
                  <a:pt x="5019752" y="3819395"/>
                  <a:pt x="5034670" y="3830573"/>
                </a:cubicBezTo>
                <a:cubicBezTo>
                  <a:pt x="4974996" y="3815667"/>
                  <a:pt x="4945158" y="3845475"/>
                  <a:pt x="4930243" y="3875281"/>
                </a:cubicBezTo>
                <a:cubicBezTo>
                  <a:pt x="4885484" y="3949794"/>
                  <a:pt x="4855650" y="4024309"/>
                  <a:pt x="4751218" y="4039216"/>
                </a:cubicBezTo>
                <a:cubicBezTo>
                  <a:pt x="4736298" y="4054117"/>
                  <a:pt x="4721378" y="4113727"/>
                  <a:pt x="4676626" y="4143535"/>
                </a:cubicBezTo>
                <a:cubicBezTo>
                  <a:pt x="4587113" y="4232952"/>
                  <a:pt x="4512519" y="4322369"/>
                  <a:pt x="4452848" y="4426688"/>
                </a:cubicBezTo>
                <a:cubicBezTo>
                  <a:pt x="4423008" y="4471397"/>
                  <a:pt x="4378252" y="4501205"/>
                  <a:pt x="4333495" y="4531012"/>
                </a:cubicBezTo>
                <a:cubicBezTo>
                  <a:pt x="4288741" y="4575720"/>
                  <a:pt x="4229068" y="4516106"/>
                  <a:pt x="4184308" y="4501205"/>
                </a:cubicBezTo>
                <a:cubicBezTo>
                  <a:pt x="4124634" y="4456496"/>
                  <a:pt x="4064961" y="4426688"/>
                  <a:pt x="4005288" y="4411787"/>
                </a:cubicBezTo>
                <a:cubicBezTo>
                  <a:pt x="3930696" y="4381980"/>
                  <a:pt x="3871017" y="4352176"/>
                  <a:pt x="3871017" y="4262759"/>
                </a:cubicBezTo>
                <a:cubicBezTo>
                  <a:pt x="3871017" y="4247854"/>
                  <a:pt x="3871017" y="4232952"/>
                  <a:pt x="3856102" y="4218050"/>
                </a:cubicBezTo>
                <a:cubicBezTo>
                  <a:pt x="3841183" y="4218050"/>
                  <a:pt x="3841183" y="4232952"/>
                  <a:pt x="3826264" y="4247854"/>
                </a:cubicBezTo>
                <a:cubicBezTo>
                  <a:pt x="3766591" y="4292562"/>
                  <a:pt x="3721832" y="4352176"/>
                  <a:pt x="3677076" y="4396886"/>
                </a:cubicBezTo>
                <a:cubicBezTo>
                  <a:pt x="3602484" y="4516106"/>
                  <a:pt x="3498052" y="4545913"/>
                  <a:pt x="3408539" y="4471397"/>
                </a:cubicBezTo>
                <a:cubicBezTo>
                  <a:pt x="3348866" y="4411787"/>
                  <a:pt x="3274273" y="4426688"/>
                  <a:pt x="3199680" y="4381980"/>
                </a:cubicBezTo>
                <a:cubicBezTo>
                  <a:pt x="3154921" y="4367078"/>
                  <a:pt x="3095251" y="4337271"/>
                  <a:pt x="3050495" y="4292562"/>
                </a:cubicBezTo>
                <a:cubicBezTo>
                  <a:pt x="3020657" y="4218050"/>
                  <a:pt x="3065415" y="4173342"/>
                  <a:pt x="3065415" y="4113727"/>
                </a:cubicBezTo>
                <a:cubicBezTo>
                  <a:pt x="3065415" y="4098825"/>
                  <a:pt x="3080330" y="4098825"/>
                  <a:pt x="3080330" y="4083924"/>
                </a:cubicBezTo>
                <a:cubicBezTo>
                  <a:pt x="3080330" y="4054117"/>
                  <a:pt x="3080330" y="4009408"/>
                  <a:pt x="3065415" y="3994506"/>
                </a:cubicBezTo>
                <a:cubicBezTo>
                  <a:pt x="3035576" y="3964699"/>
                  <a:pt x="3005737" y="4009408"/>
                  <a:pt x="2990821" y="4024309"/>
                </a:cubicBezTo>
                <a:cubicBezTo>
                  <a:pt x="2931145" y="4113727"/>
                  <a:pt x="2856551" y="4188243"/>
                  <a:pt x="2781958" y="4262759"/>
                </a:cubicBezTo>
                <a:cubicBezTo>
                  <a:pt x="2752124" y="4292562"/>
                  <a:pt x="2707365" y="4337271"/>
                  <a:pt x="2662610" y="4367078"/>
                </a:cubicBezTo>
                <a:cubicBezTo>
                  <a:pt x="2588017" y="4426688"/>
                  <a:pt x="2498506" y="4396886"/>
                  <a:pt x="2438833" y="4352176"/>
                </a:cubicBezTo>
                <a:cubicBezTo>
                  <a:pt x="2379159" y="4322369"/>
                  <a:pt x="2319481" y="4307469"/>
                  <a:pt x="2259807" y="4292562"/>
                </a:cubicBezTo>
                <a:cubicBezTo>
                  <a:pt x="2170295" y="4247854"/>
                  <a:pt x="2125541" y="4188243"/>
                  <a:pt x="2155375" y="4083924"/>
                </a:cubicBezTo>
                <a:cubicBezTo>
                  <a:pt x="2170295" y="4024309"/>
                  <a:pt x="2185214" y="3964699"/>
                  <a:pt x="2185214" y="3905084"/>
                </a:cubicBezTo>
                <a:cubicBezTo>
                  <a:pt x="2185214" y="3875281"/>
                  <a:pt x="2215054" y="3860376"/>
                  <a:pt x="2229972" y="3845475"/>
                </a:cubicBezTo>
                <a:cubicBezTo>
                  <a:pt x="2244888" y="3830573"/>
                  <a:pt x="2274727" y="3830573"/>
                  <a:pt x="2274727" y="3800765"/>
                </a:cubicBezTo>
                <a:cubicBezTo>
                  <a:pt x="2274727" y="3785863"/>
                  <a:pt x="2289646" y="3785863"/>
                  <a:pt x="2289646" y="3785863"/>
                </a:cubicBezTo>
                <a:cubicBezTo>
                  <a:pt x="2289646" y="3770957"/>
                  <a:pt x="2304566" y="3770957"/>
                  <a:pt x="2304566" y="3770957"/>
                </a:cubicBezTo>
                <a:cubicBezTo>
                  <a:pt x="2319481" y="3845475"/>
                  <a:pt x="2408992" y="3741156"/>
                  <a:pt x="2423914" y="3815667"/>
                </a:cubicBezTo>
                <a:cubicBezTo>
                  <a:pt x="2423914" y="3830573"/>
                  <a:pt x="2453752" y="3845475"/>
                  <a:pt x="2438833" y="3845475"/>
                </a:cubicBezTo>
                <a:cubicBezTo>
                  <a:pt x="2423914" y="3860376"/>
                  <a:pt x="2408992" y="3860376"/>
                  <a:pt x="2394074" y="3860376"/>
                </a:cubicBezTo>
                <a:cubicBezTo>
                  <a:pt x="2334400" y="3830573"/>
                  <a:pt x="2334400" y="3875281"/>
                  <a:pt x="2349319" y="3905084"/>
                </a:cubicBezTo>
                <a:cubicBezTo>
                  <a:pt x="2349319" y="3964699"/>
                  <a:pt x="2304566" y="3994506"/>
                  <a:pt x="2259807" y="4009408"/>
                </a:cubicBezTo>
                <a:cubicBezTo>
                  <a:pt x="2289646" y="4024309"/>
                  <a:pt x="2349319" y="4009408"/>
                  <a:pt x="2304566" y="4083924"/>
                </a:cubicBezTo>
                <a:cubicBezTo>
                  <a:pt x="2304566" y="4083924"/>
                  <a:pt x="2319481" y="4083924"/>
                  <a:pt x="2319481" y="4098825"/>
                </a:cubicBezTo>
                <a:cubicBezTo>
                  <a:pt x="2334400" y="4098825"/>
                  <a:pt x="2349319" y="4083924"/>
                  <a:pt x="2349319" y="4083924"/>
                </a:cubicBezTo>
                <a:cubicBezTo>
                  <a:pt x="2364240" y="4054117"/>
                  <a:pt x="2379159" y="4039216"/>
                  <a:pt x="2394074" y="4024309"/>
                </a:cubicBezTo>
                <a:cubicBezTo>
                  <a:pt x="2438833" y="4009408"/>
                  <a:pt x="2453752" y="3994506"/>
                  <a:pt x="2394074" y="3964699"/>
                </a:cubicBezTo>
                <a:cubicBezTo>
                  <a:pt x="2394074" y="3964699"/>
                  <a:pt x="2364240" y="3949794"/>
                  <a:pt x="2379159" y="3934892"/>
                </a:cubicBezTo>
                <a:cubicBezTo>
                  <a:pt x="2394074" y="3919990"/>
                  <a:pt x="2408992" y="3934892"/>
                  <a:pt x="2408992" y="3934892"/>
                </a:cubicBezTo>
                <a:cubicBezTo>
                  <a:pt x="2468666" y="3919990"/>
                  <a:pt x="2528345" y="3919990"/>
                  <a:pt x="2588017" y="3919990"/>
                </a:cubicBezTo>
                <a:cubicBezTo>
                  <a:pt x="2532073" y="3875279"/>
                  <a:pt x="2518087" y="3864101"/>
                  <a:pt x="2558646" y="3829873"/>
                </a:cubicBezTo>
                <a:lnTo>
                  <a:pt x="2558909" y="3829677"/>
                </a:lnTo>
                <a:lnTo>
                  <a:pt x="2543484" y="3831958"/>
                </a:lnTo>
                <a:cubicBezTo>
                  <a:pt x="2508080" y="3832569"/>
                  <a:pt x="2472416" y="3819296"/>
                  <a:pt x="2438849" y="3791353"/>
                </a:cubicBezTo>
                <a:cubicBezTo>
                  <a:pt x="2423929" y="3776450"/>
                  <a:pt x="2408080" y="3766205"/>
                  <a:pt x="2391529" y="3758521"/>
                </a:cubicBezTo>
                <a:lnTo>
                  <a:pt x="2363334" y="3748961"/>
                </a:lnTo>
                <a:lnTo>
                  <a:pt x="2357339" y="3751835"/>
                </a:lnTo>
                <a:cubicBezTo>
                  <a:pt x="2335868" y="3760946"/>
                  <a:pt x="2316473" y="3763749"/>
                  <a:pt x="2305388" y="3741322"/>
                </a:cubicBezTo>
                <a:lnTo>
                  <a:pt x="2305392" y="3741318"/>
                </a:lnTo>
                <a:lnTo>
                  <a:pt x="2305388" y="3741318"/>
                </a:lnTo>
                <a:lnTo>
                  <a:pt x="2303806" y="3731276"/>
                </a:lnTo>
                <a:lnTo>
                  <a:pt x="2285700" y="3726386"/>
                </a:lnTo>
                <a:cubicBezTo>
                  <a:pt x="2267286" y="3720564"/>
                  <a:pt x="2248638" y="3713113"/>
                  <a:pt x="2229989" y="3701935"/>
                </a:cubicBezTo>
                <a:cubicBezTo>
                  <a:pt x="2185230" y="3687034"/>
                  <a:pt x="2125557" y="3657227"/>
                  <a:pt x="2080804" y="3612518"/>
                </a:cubicBezTo>
                <a:cubicBezTo>
                  <a:pt x="2050964" y="3538006"/>
                  <a:pt x="2095722" y="3493297"/>
                  <a:pt x="2095722" y="3433682"/>
                </a:cubicBezTo>
                <a:lnTo>
                  <a:pt x="2102721" y="3419698"/>
                </a:lnTo>
                <a:lnTo>
                  <a:pt x="2091479" y="3412106"/>
                </a:lnTo>
                <a:cubicBezTo>
                  <a:pt x="2076561" y="3397203"/>
                  <a:pt x="2060710" y="3386958"/>
                  <a:pt x="2044161" y="3379274"/>
                </a:cubicBezTo>
                <a:lnTo>
                  <a:pt x="2004148" y="3365710"/>
                </a:lnTo>
                <a:lnTo>
                  <a:pt x="1922291" y="3469079"/>
                </a:lnTo>
                <a:cubicBezTo>
                  <a:pt x="1886859" y="3508199"/>
                  <a:pt x="1849563" y="3545457"/>
                  <a:pt x="1812265" y="3582715"/>
                </a:cubicBezTo>
                <a:cubicBezTo>
                  <a:pt x="1782431" y="3612518"/>
                  <a:pt x="1737673" y="3657227"/>
                  <a:pt x="1692919" y="3687034"/>
                </a:cubicBezTo>
                <a:cubicBezTo>
                  <a:pt x="1618326" y="3746644"/>
                  <a:pt x="1528813" y="3716842"/>
                  <a:pt x="1469139" y="3672132"/>
                </a:cubicBezTo>
                <a:cubicBezTo>
                  <a:pt x="1409467" y="3642325"/>
                  <a:pt x="1349789" y="3627424"/>
                  <a:pt x="1290115" y="3612518"/>
                </a:cubicBezTo>
                <a:cubicBezTo>
                  <a:pt x="1200603" y="3567809"/>
                  <a:pt x="1155848" y="3508199"/>
                  <a:pt x="1185684" y="3403880"/>
                </a:cubicBezTo>
                <a:lnTo>
                  <a:pt x="1202241" y="3331706"/>
                </a:lnTo>
                <a:lnTo>
                  <a:pt x="1171421" y="3322458"/>
                </a:lnTo>
                <a:cubicBezTo>
                  <a:pt x="1153472" y="3314308"/>
                  <a:pt x="1136689" y="3304063"/>
                  <a:pt x="1121771" y="3292885"/>
                </a:cubicBezTo>
                <a:cubicBezTo>
                  <a:pt x="1062098" y="3263078"/>
                  <a:pt x="1002419" y="3248178"/>
                  <a:pt x="942746" y="3233271"/>
                </a:cubicBezTo>
                <a:cubicBezTo>
                  <a:pt x="897989" y="3210917"/>
                  <a:pt x="864424" y="3184837"/>
                  <a:pt x="845775" y="3151306"/>
                </a:cubicBezTo>
                <a:lnTo>
                  <a:pt x="844660" y="3147455"/>
                </a:lnTo>
                <a:lnTo>
                  <a:pt x="827394" y="3148199"/>
                </a:lnTo>
                <a:cubicBezTo>
                  <a:pt x="788233" y="3142611"/>
                  <a:pt x="750937" y="3123984"/>
                  <a:pt x="721100" y="3101628"/>
                </a:cubicBezTo>
                <a:cubicBezTo>
                  <a:pt x="661426" y="3071822"/>
                  <a:pt x="601749" y="3056921"/>
                  <a:pt x="542075" y="3042014"/>
                </a:cubicBezTo>
                <a:cubicBezTo>
                  <a:pt x="452563" y="2997306"/>
                  <a:pt x="407808" y="2937695"/>
                  <a:pt x="437642" y="2833377"/>
                </a:cubicBezTo>
                <a:cubicBezTo>
                  <a:pt x="445103" y="2803569"/>
                  <a:pt x="452563" y="2773763"/>
                  <a:pt x="458157" y="2743957"/>
                </a:cubicBezTo>
                <a:lnTo>
                  <a:pt x="458462" y="2741032"/>
                </a:lnTo>
                <a:lnTo>
                  <a:pt x="458399" y="2741056"/>
                </a:lnTo>
                <a:cubicBezTo>
                  <a:pt x="398957" y="2755725"/>
                  <a:pt x="337417" y="2730580"/>
                  <a:pt x="292663" y="2697046"/>
                </a:cubicBezTo>
                <a:cubicBezTo>
                  <a:pt x="232989" y="2667241"/>
                  <a:pt x="173311" y="2652339"/>
                  <a:pt x="113637" y="2637433"/>
                </a:cubicBezTo>
                <a:cubicBezTo>
                  <a:pt x="24125" y="2592724"/>
                  <a:pt x="-20629" y="2533113"/>
                  <a:pt x="9205" y="2428795"/>
                </a:cubicBezTo>
                <a:cubicBezTo>
                  <a:pt x="24125" y="2369180"/>
                  <a:pt x="39045" y="2309569"/>
                  <a:pt x="39045" y="2249954"/>
                </a:cubicBezTo>
                <a:cubicBezTo>
                  <a:pt x="39045" y="2220152"/>
                  <a:pt x="68884" y="2205246"/>
                  <a:pt x="83803" y="2190344"/>
                </a:cubicBezTo>
                <a:cubicBezTo>
                  <a:pt x="98717" y="2175443"/>
                  <a:pt x="128557" y="2175443"/>
                  <a:pt x="128557" y="2145636"/>
                </a:cubicBezTo>
                <a:cubicBezTo>
                  <a:pt x="128557" y="2130735"/>
                  <a:pt x="143477" y="2130735"/>
                  <a:pt x="143477" y="2130735"/>
                </a:cubicBezTo>
                <a:cubicBezTo>
                  <a:pt x="143477" y="2115829"/>
                  <a:pt x="158397" y="2115829"/>
                  <a:pt x="158397" y="2115829"/>
                </a:cubicBezTo>
                <a:cubicBezTo>
                  <a:pt x="173311" y="2190344"/>
                  <a:pt x="262824" y="2086025"/>
                  <a:pt x="277743" y="2160537"/>
                </a:cubicBezTo>
                <a:cubicBezTo>
                  <a:pt x="277743" y="2175443"/>
                  <a:pt x="307582" y="2190344"/>
                  <a:pt x="292663" y="2190344"/>
                </a:cubicBezTo>
                <a:cubicBezTo>
                  <a:pt x="277743" y="2205246"/>
                  <a:pt x="262824" y="2205246"/>
                  <a:pt x="247904" y="2205246"/>
                </a:cubicBezTo>
                <a:cubicBezTo>
                  <a:pt x="188231" y="2175443"/>
                  <a:pt x="188231" y="2220152"/>
                  <a:pt x="203150" y="2249954"/>
                </a:cubicBezTo>
                <a:cubicBezTo>
                  <a:pt x="203150" y="2309569"/>
                  <a:pt x="158397" y="2339377"/>
                  <a:pt x="113637" y="2354279"/>
                </a:cubicBezTo>
                <a:cubicBezTo>
                  <a:pt x="143477" y="2369180"/>
                  <a:pt x="203150" y="2354279"/>
                  <a:pt x="158397" y="2428795"/>
                </a:cubicBezTo>
                <a:cubicBezTo>
                  <a:pt x="158397" y="2428795"/>
                  <a:pt x="173311" y="2428795"/>
                  <a:pt x="173311" y="2443696"/>
                </a:cubicBezTo>
                <a:cubicBezTo>
                  <a:pt x="188231" y="2443696"/>
                  <a:pt x="203150" y="2428795"/>
                  <a:pt x="203150" y="2428795"/>
                </a:cubicBezTo>
                <a:cubicBezTo>
                  <a:pt x="218069" y="2398988"/>
                  <a:pt x="232989" y="2384087"/>
                  <a:pt x="247904" y="2369180"/>
                </a:cubicBezTo>
                <a:cubicBezTo>
                  <a:pt x="292663" y="2354279"/>
                  <a:pt x="307582" y="2339377"/>
                  <a:pt x="247904" y="2309569"/>
                </a:cubicBezTo>
                <a:cubicBezTo>
                  <a:pt x="247904" y="2309569"/>
                  <a:pt x="218069" y="2294664"/>
                  <a:pt x="232989" y="2279762"/>
                </a:cubicBezTo>
                <a:cubicBezTo>
                  <a:pt x="247904" y="2264861"/>
                  <a:pt x="262824" y="2279762"/>
                  <a:pt x="262824" y="2279762"/>
                </a:cubicBezTo>
                <a:cubicBezTo>
                  <a:pt x="322497" y="2264861"/>
                  <a:pt x="382175" y="2264861"/>
                  <a:pt x="441849" y="2264861"/>
                </a:cubicBezTo>
                <a:cubicBezTo>
                  <a:pt x="367256" y="2205246"/>
                  <a:pt x="367256" y="2205246"/>
                  <a:pt x="471683" y="2130735"/>
                </a:cubicBezTo>
                <a:cubicBezTo>
                  <a:pt x="441849" y="2100927"/>
                  <a:pt x="397090" y="2086025"/>
                  <a:pt x="456768" y="2041317"/>
                </a:cubicBezTo>
                <a:cubicBezTo>
                  <a:pt x="471683" y="2041317"/>
                  <a:pt x="546276" y="2056218"/>
                  <a:pt x="501522" y="1996608"/>
                </a:cubicBezTo>
                <a:cubicBezTo>
                  <a:pt x="486603" y="1936994"/>
                  <a:pt x="456768" y="1922092"/>
                  <a:pt x="397090" y="1936994"/>
                </a:cubicBezTo>
                <a:cubicBezTo>
                  <a:pt x="397090" y="1907191"/>
                  <a:pt x="426929" y="1892284"/>
                  <a:pt x="456768" y="1877383"/>
                </a:cubicBezTo>
                <a:cubicBezTo>
                  <a:pt x="412009" y="1877383"/>
                  <a:pt x="382175" y="1847576"/>
                  <a:pt x="337416" y="1877383"/>
                </a:cubicBezTo>
                <a:cubicBezTo>
                  <a:pt x="337416" y="1892284"/>
                  <a:pt x="322497" y="1892284"/>
                  <a:pt x="322497" y="1877383"/>
                </a:cubicBezTo>
                <a:cubicBezTo>
                  <a:pt x="322497" y="1862481"/>
                  <a:pt x="322497" y="1847576"/>
                  <a:pt x="322497" y="1847576"/>
                </a:cubicBezTo>
                <a:cubicBezTo>
                  <a:pt x="352336" y="1847576"/>
                  <a:pt x="367256" y="1773064"/>
                  <a:pt x="412009" y="1832674"/>
                </a:cubicBezTo>
                <a:cubicBezTo>
                  <a:pt x="426929" y="1847576"/>
                  <a:pt x="456768" y="1832674"/>
                  <a:pt x="486603" y="1817773"/>
                </a:cubicBezTo>
                <a:cubicBezTo>
                  <a:pt x="508982" y="1795416"/>
                  <a:pt x="523901" y="1791691"/>
                  <a:pt x="533223" y="1799141"/>
                </a:cubicBezTo>
                <a:lnTo>
                  <a:pt x="545634" y="1845189"/>
                </a:lnTo>
                <a:lnTo>
                  <a:pt x="546366" y="1844560"/>
                </a:lnTo>
                <a:cubicBezTo>
                  <a:pt x="546366" y="1859941"/>
                  <a:pt x="560720" y="1859941"/>
                  <a:pt x="560720" y="1859941"/>
                </a:cubicBezTo>
                <a:lnTo>
                  <a:pt x="561575" y="1862283"/>
                </a:lnTo>
                <a:lnTo>
                  <a:pt x="619006" y="1832674"/>
                </a:lnTo>
                <a:cubicBezTo>
                  <a:pt x="632058" y="1814043"/>
                  <a:pt x="643248" y="1780514"/>
                  <a:pt x="665628" y="1713450"/>
                </a:cubicBezTo>
                <a:cubicBezTo>
                  <a:pt x="635789" y="1728355"/>
                  <a:pt x="591034" y="1758158"/>
                  <a:pt x="546276" y="1728355"/>
                </a:cubicBezTo>
                <a:cubicBezTo>
                  <a:pt x="576115" y="1683646"/>
                  <a:pt x="650708" y="1683646"/>
                  <a:pt x="680547" y="1638933"/>
                </a:cubicBezTo>
                <a:cubicBezTo>
                  <a:pt x="680547" y="1638933"/>
                  <a:pt x="710381" y="1653838"/>
                  <a:pt x="710381" y="1624031"/>
                </a:cubicBezTo>
                <a:cubicBezTo>
                  <a:pt x="710381" y="1609130"/>
                  <a:pt x="695466" y="1609130"/>
                  <a:pt x="680547" y="1609130"/>
                </a:cubicBezTo>
                <a:cubicBezTo>
                  <a:pt x="665628" y="1609130"/>
                  <a:pt x="650708" y="1624031"/>
                  <a:pt x="635789" y="1624031"/>
                </a:cubicBezTo>
                <a:cubicBezTo>
                  <a:pt x="620869" y="1624031"/>
                  <a:pt x="605954" y="1609130"/>
                  <a:pt x="591034" y="1594224"/>
                </a:cubicBezTo>
                <a:cubicBezTo>
                  <a:pt x="591034" y="1594224"/>
                  <a:pt x="591034" y="1579323"/>
                  <a:pt x="605954" y="1579323"/>
                </a:cubicBezTo>
                <a:cubicBezTo>
                  <a:pt x="620869" y="1564421"/>
                  <a:pt x="650708" y="1549516"/>
                  <a:pt x="620869" y="1534614"/>
                </a:cubicBezTo>
                <a:cubicBezTo>
                  <a:pt x="605954" y="1504812"/>
                  <a:pt x="591034" y="1534614"/>
                  <a:pt x="576115" y="1549516"/>
                </a:cubicBezTo>
                <a:cubicBezTo>
                  <a:pt x="561195" y="1549516"/>
                  <a:pt x="561195" y="1549516"/>
                  <a:pt x="561195" y="1549516"/>
                </a:cubicBezTo>
                <a:cubicBezTo>
                  <a:pt x="591034" y="1340878"/>
                  <a:pt x="755139" y="1206751"/>
                  <a:pt x="859568" y="1042818"/>
                </a:cubicBezTo>
                <a:cubicBezTo>
                  <a:pt x="904326" y="968302"/>
                  <a:pt x="963999" y="908691"/>
                  <a:pt x="1008754" y="834175"/>
                </a:cubicBezTo>
                <a:cubicBezTo>
                  <a:pt x="1038592" y="774564"/>
                  <a:pt x="1098266" y="759663"/>
                  <a:pt x="1157939" y="774564"/>
                </a:cubicBezTo>
                <a:cubicBezTo>
                  <a:pt x="1225073" y="796920"/>
                  <a:pt x="1283818" y="827659"/>
                  <a:pt x="1346756" y="847917"/>
                </a:cubicBezTo>
                <a:lnTo>
                  <a:pt x="1360877" y="851418"/>
                </a:lnTo>
                <a:lnTo>
                  <a:pt x="1376476" y="800919"/>
                </a:lnTo>
                <a:cubicBezTo>
                  <a:pt x="1440115" y="667493"/>
                  <a:pt x="1552004" y="561308"/>
                  <a:pt x="1630325" y="438359"/>
                </a:cubicBezTo>
                <a:cubicBezTo>
                  <a:pt x="1675083" y="363844"/>
                  <a:pt x="1734758" y="304232"/>
                  <a:pt x="1779512" y="229717"/>
                </a:cubicBezTo>
                <a:cubicBezTo>
                  <a:pt x="1809350" y="170105"/>
                  <a:pt x="1869024" y="155205"/>
                  <a:pt x="1928697" y="170105"/>
                </a:cubicBezTo>
                <a:cubicBezTo>
                  <a:pt x="2018210" y="199913"/>
                  <a:pt x="2092808" y="244623"/>
                  <a:pt x="2182315" y="259525"/>
                </a:cubicBezTo>
                <a:cubicBezTo>
                  <a:pt x="2227074" y="274424"/>
                  <a:pt x="2227074" y="348942"/>
                  <a:pt x="2197235" y="393650"/>
                </a:cubicBezTo>
                <a:lnTo>
                  <a:pt x="2061211" y="604857"/>
                </a:lnTo>
                <a:lnTo>
                  <a:pt x="2063084" y="604578"/>
                </a:lnTo>
                <a:cubicBezTo>
                  <a:pt x="2068911" y="605043"/>
                  <a:pt x="2075439" y="606906"/>
                  <a:pt x="2082898" y="610631"/>
                </a:cubicBezTo>
                <a:cubicBezTo>
                  <a:pt x="2127653" y="632986"/>
                  <a:pt x="2180801" y="638576"/>
                  <a:pt x="2217166" y="671410"/>
                </a:cubicBezTo>
                <a:lnTo>
                  <a:pt x="2244257" y="710947"/>
                </a:lnTo>
                <a:lnTo>
                  <a:pt x="2247353" y="703118"/>
                </a:lnTo>
                <a:cubicBezTo>
                  <a:pt x="2250383" y="693570"/>
                  <a:pt x="2253179" y="684256"/>
                  <a:pt x="2256908" y="676804"/>
                </a:cubicBezTo>
                <a:cubicBezTo>
                  <a:pt x="2271827" y="617194"/>
                  <a:pt x="2316587" y="572485"/>
                  <a:pt x="2361340" y="542678"/>
                </a:cubicBezTo>
                <a:cubicBezTo>
                  <a:pt x="2406094" y="497969"/>
                  <a:pt x="2435934" y="438359"/>
                  <a:pt x="2480692" y="393650"/>
                </a:cubicBezTo>
                <a:cubicBezTo>
                  <a:pt x="2510526" y="363844"/>
                  <a:pt x="2525445" y="304232"/>
                  <a:pt x="2555285" y="274424"/>
                </a:cubicBezTo>
                <a:cubicBezTo>
                  <a:pt x="2629878" y="185007"/>
                  <a:pt x="2704471" y="110496"/>
                  <a:pt x="2793979" y="21079"/>
                </a:cubicBezTo>
                <a:cubicBezTo>
                  <a:pt x="2801438" y="13622"/>
                  <a:pt x="2808898" y="6173"/>
                  <a:pt x="2818225" y="2447"/>
                </a:cubicBezTo>
                <a:cubicBezTo>
                  <a:pt x="2822886" y="584"/>
                  <a:pt x="2828014" y="-347"/>
                  <a:pt x="2833842" y="119"/>
                </a:cubicBezTo>
                <a:close/>
              </a:path>
            </a:pathLst>
          </a:custGeom>
          <a:solidFill>
            <a:schemeClr val="bg1">
              <a:lumMod val="95000"/>
            </a:schemeClr>
          </a:solidFill>
        </p:spPr>
        <p:txBody>
          <a:bodyPr wrap="square" anchor="ctr">
            <a:noAutofit/>
          </a:bodyPr>
          <a:lstStyle>
            <a:lvl1pPr marL="0" indent="0" algn="ctr">
              <a:buFontTx/>
              <a:buNone/>
              <a:defRPr sz="1575">
                <a:solidFill>
                  <a:schemeClr val="tx1"/>
                </a:solidFill>
              </a:defRPr>
            </a:lvl1pPr>
          </a:lstStyle>
          <a:p>
            <a:r>
              <a:rPr lang="en-US"/>
              <a:t>Image</a:t>
            </a:r>
          </a:p>
        </p:txBody>
      </p:sp>
    </p:spTree>
    <p:extLst>
      <p:ext uri="{BB962C8B-B14F-4D97-AF65-F5344CB8AC3E}">
        <p14:creationId xmlns:p14="http://schemas.microsoft.com/office/powerpoint/2010/main" val="2755624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2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BF62209A-EDA3-46E8-8FBF-7F2AAFF38E58}"/>
              </a:ext>
            </a:extLst>
          </p:cNvPr>
          <p:cNvSpPr>
            <a:spLocks noGrp="1"/>
          </p:cNvSpPr>
          <p:nvPr>
            <p:ph type="pic" sz="quarter" idx="17"/>
          </p:nvPr>
        </p:nvSpPr>
        <p:spPr>
          <a:xfrm>
            <a:off x="256321" y="153082"/>
            <a:ext cx="15077797" cy="6147570"/>
          </a:xfrm>
          <a:custGeom>
            <a:avLst/>
            <a:gdLst>
              <a:gd name="connsiteX0" fmla="*/ 2086570 w 11346020"/>
              <a:gd name="connsiteY0" fmla="*/ 4621041 h 4683863"/>
              <a:gd name="connsiteX1" fmla="*/ 2140163 w 11346020"/>
              <a:gd name="connsiteY1" fmla="*/ 4640944 h 4683863"/>
              <a:gd name="connsiteX2" fmla="*/ 2140163 w 11346020"/>
              <a:gd name="connsiteY2" fmla="*/ 4665443 h 4683863"/>
              <a:gd name="connsiteX3" fmla="*/ 2103414 w 11346020"/>
              <a:gd name="connsiteY3" fmla="*/ 4665443 h 4683863"/>
              <a:gd name="connsiteX4" fmla="*/ 2042166 w 11346020"/>
              <a:gd name="connsiteY4" fmla="*/ 4665443 h 4683863"/>
              <a:gd name="connsiteX5" fmla="*/ 2086570 w 11346020"/>
              <a:gd name="connsiteY5" fmla="*/ 4621041 h 4683863"/>
              <a:gd name="connsiteX6" fmla="*/ 4419997 w 11346020"/>
              <a:gd name="connsiteY6" fmla="*/ 4566374 h 4683863"/>
              <a:gd name="connsiteX7" fmla="*/ 4448201 w 11346020"/>
              <a:gd name="connsiteY7" fmla="*/ 4588269 h 4683863"/>
              <a:gd name="connsiteX8" fmla="*/ 4448196 w 11346020"/>
              <a:gd name="connsiteY8" fmla="*/ 4588273 h 4683863"/>
              <a:gd name="connsiteX9" fmla="*/ 4448201 w 11346020"/>
              <a:gd name="connsiteY9" fmla="*/ 4588273 h 4683863"/>
              <a:gd name="connsiteX10" fmla="*/ 4434928 w 11346020"/>
              <a:gd name="connsiteY10" fmla="*/ 4615222 h 4683863"/>
              <a:gd name="connsiteX11" fmla="*/ 4381844 w 11346020"/>
              <a:gd name="connsiteY11" fmla="*/ 4574800 h 4683863"/>
              <a:gd name="connsiteX12" fmla="*/ 4381848 w 11346020"/>
              <a:gd name="connsiteY12" fmla="*/ 4574800 h 4683863"/>
              <a:gd name="connsiteX13" fmla="*/ 4381844 w 11346020"/>
              <a:gd name="connsiteY13" fmla="*/ 4574796 h 4683863"/>
              <a:gd name="connsiteX14" fmla="*/ 4419997 w 11346020"/>
              <a:gd name="connsiteY14" fmla="*/ 4566374 h 4683863"/>
              <a:gd name="connsiteX15" fmla="*/ 4865799 w 11346020"/>
              <a:gd name="connsiteY15" fmla="*/ 4562964 h 4683863"/>
              <a:gd name="connsiteX16" fmla="*/ 4913701 w 11346020"/>
              <a:gd name="connsiteY16" fmla="*/ 4564002 h 4683863"/>
              <a:gd name="connsiteX17" fmla="*/ 4982076 w 11346020"/>
              <a:gd name="connsiteY17" fmla="*/ 4602150 h 4683863"/>
              <a:gd name="connsiteX18" fmla="*/ 4982072 w 11346020"/>
              <a:gd name="connsiteY18" fmla="*/ 4602150 h 4683863"/>
              <a:gd name="connsiteX19" fmla="*/ 4982076 w 11346020"/>
              <a:gd name="connsiteY19" fmla="*/ 4602155 h 4683863"/>
              <a:gd name="connsiteX20" fmla="*/ 4816703 w 11346020"/>
              <a:gd name="connsiteY20" fmla="*/ 4575614 h 4683863"/>
              <a:gd name="connsiteX21" fmla="*/ 4816715 w 11346020"/>
              <a:gd name="connsiteY21" fmla="*/ 4575614 h 4683863"/>
              <a:gd name="connsiteX22" fmla="*/ 4816703 w 11346020"/>
              <a:gd name="connsiteY22" fmla="*/ 4575611 h 4683863"/>
              <a:gd name="connsiteX23" fmla="*/ 4865799 w 11346020"/>
              <a:gd name="connsiteY23" fmla="*/ 4562964 h 4683863"/>
              <a:gd name="connsiteX24" fmla="*/ 4602337 w 11346020"/>
              <a:gd name="connsiteY24" fmla="*/ 4524571 h 4683863"/>
              <a:gd name="connsiteX25" fmla="*/ 4791826 w 11346020"/>
              <a:gd name="connsiteY25" fmla="*/ 4551521 h 4683863"/>
              <a:gd name="connsiteX26" fmla="*/ 4804458 w 11346020"/>
              <a:gd name="connsiteY26" fmla="*/ 4578469 h 4683863"/>
              <a:gd name="connsiteX27" fmla="*/ 4804458 w 11346020"/>
              <a:gd name="connsiteY27" fmla="*/ 4578473 h 4683863"/>
              <a:gd name="connsiteX28" fmla="*/ 4779194 w 11346020"/>
              <a:gd name="connsiteY28" fmla="*/ 4591946 h 4683863"/>
              <a:gd name="connsiteX29" fmla="*/ 4602337 w 11346020"/>
              <a:gd name="connsiteY29" fmla="*/ 4524575 h 4683863"/>
              <a:gd name="connsiteX30" fmla="*/ 4602349 w 11346020"/>
              <a:gd name="connsiteY30" fmla="*/ 4524579 h 4683863"/>
              <a:gd name="connsiteX31" fmla="*/ 3760791 w 11346020"/>
              <a:gd name="connsiteY31" fmla="*/ 4169332 h 4683863"/>
              <a:gd name="connsiteX32" fmla="*/ 3774264 w 11346020"/>
              <a:gd name="connsiteY32" fmla="*/ 4193831 h 4683863"/>
              <a:gd name="connsiteX33" fmla="*/ 3774264 w 11346020"/>
              <a:gd name="connsiteY33" fmla="*/ 4193835 h 4683863"/>
              <a:gd name="connsiteX34" fmla="*/ 3733838 w 11346020"/>
              <a:gd name="connsiteY34" fmla="*/ 4218334 h 4683863"/>
              <a:gd name="connsiteX35" fmla="*/ 3720366 w 11346020"/>
              <a:gd name="connsiteY35" fmla="*/ 4206084 h 4683863"/>
              <a:gd name="connsiteX36" fmla="*/ 3720366 w 11346020"/>
              <a:gd name="connsiteY36" fmla="*/ 4206081 h 4683863"/>
              <a:gd name="connsiteX37" fmla="*/ 3760791 w 11346020"/>
              <a:gd name="connsiteY37" fmla="*/ 4169332 h 4683863"/>
              <a:gd name="connsiteX38" fmla="*/ 3567243 w 11346020"/>
              <a:gd name="connsiteY38" fmla="*/ 3887590 h 4683863"/>
              <a:gd name="connsiteX39" fmla="*/ 3579493 w 11346020"/>
              <a:gd name="connsiteY39" fmla="*/ 3887590 h 4683863"/>
              <a:gd name="connsiteX40" fmla="*/ 3579493 w 11346020"/>
              <a:gd name="connsiteY40" fmla="*/ 3887594 h 4683863"/>
              <a:gd name="connsiteX41" fmla="*/ 3579493 w 11346020"/>
              <a:gd name="connsiteY41" fmla="*/ 3899840 h 4683863"/>
              <a:gd name="connsiteX42" fmla="*/ 3579493 w 11346020"/>
              <a:gd name="connsiteY42" fmla="*/ 3899844 h 4683863"/>
              <a:gd name="connsiteX43" fmla="*/ 3567243 w 11346020"/>
              <a:gd name="connsiteY43" fmla="*/ 3887594 h 4683863"/>
              <a:gd name="connsiteX44" fmla="*/ 3567247 w 11346020"/>
              <a:gd name="connsiteY44" fmla="*/ 3887594 h 4683863"/>
              <a:gd name="connsiteX45" fmla="*/ 5899287 w 11346020"/>
              <a:gd name="connsiteY45" fmla="*/ 3789370 h 4683863"/>
              <a:gd name="connsiteX46" fmla="*/ 5952880 w 11346020"/>
              <a:gd name="connsiteY46" fmla="*/ 3809274 h 4683863"/>
              <a:gd name="connsiteX47" fmla="*/ 5952880 w 11346020"/>
              <a:gd name="connsiteY47" fmla="*/ 3833773 h 4683863"/>
              <a:gd name="connsiteX48" fmla="*/ 5916131 w 11346020"/>
              <a:gd name="connsiteY48" fmla="*/ 3833773 h 4683863"/>
              <a:gd name="connsiteX49" fmla="*/ 5854884 w 11346020"/>
              <a:gd name="connsiteY49" fmla="*/ 3833773 h 4683863"/>
              <a:gd name="connsiteX50" fmla="*/ 5899287 w 11346020"/>
              <a:gd name="connsiteY50" fmla="*/ 3789370 h 4683863"/>
              <a:gd name="connsiteX51" fmla="*/ 8232715 w 11346020"/>
              <a:gd name="connsiteY51" fmla="*/ 3734703 h 4683863"/>
              <a:gd name="connsiteX52" fmla="*/ 8260918 w 11346020"/>
              <a:gd name="connsiteY52" fmla="*/ 3756598 h 4683863"/>
              <a:gd name="connsiteX53" fmla="*/ 8260914 w 11346020"/>
              <a:gd name="connsiteY53" fmla="*/ 3756602 h 4683863"/>
              <a:gd name="connsiteX54" fmla="*/ 8260918 w 11346020"/>
              <a:gd name="connsiteY54" fmla="*/ 3756602 h 4683863"/>
              <a:gd name="connsiteX55" fmla="*/ 8247647 w 11346020"/>
              <a:gd name="connsiteY55" fmla="*/ 3783552 h 4683863"/>
              <a:gd name="connsiteX56" fmla="*/ 8194562 w 11346020"/>
              <a:gd name="connsiteY56" fmla="*/ 3743130 h 4683863"/>
              <a:gd name="connsiteX57" fmla="*/ 8194566 w 11346020"/>
              <a:gd name="connsiteY57" fmla="*/ 3743130 h 4683863"/>
              <a:gd name="connsiteX58" fmla="*/ 8194562 w 11346020"/>
              <a:gd name="connsiteY58" fmla="*/ 3743126 h 4683863"/>
              <a:gd name="connsiteX59" fmla="*/ 8232715 w 11346020"/>
              <a:gd name="connsiteY59" fmla="*/ 3734703 h 4683863"/>
              <a:gd name="connsiteX60" fmla="*/ 8678517 w 11346020"/>
              <a:gd name="connsiteY60" fmla="*/ 3731294 h 4683863"/>
              <a:gd name="connsiteX61" fmla="*/ 8726420 w 11346020"/>
              <a:gd name="connsiteY61" fmla="*/ 3732331 h 4683863"/>
              <a:gd name="connsiteX62" fmla="*/ 8794794 w 11346020"/>
              <a:gd name="connsiteY62" fmla="*/ 3770480 h 4683863"/>
              <a:gd name="connsiteX63" fmla="*/ 8794790 w 11346020"/>
              <a:gd name="connsiteY63" fmla="*/ 3770480 h 4683863"/>
              <a:gd name="connsiteX64" fmla="*/ 8794794 w 11346020"/>
              <a:gd name="connsiteY64" fmla="*/ 3770484 h 4683863"/>
              <a:gd name="connsiteX65" fmla="*/ 8629422 w 11346020"/>
              <a:gd name="connsiteY65" fmla="*/ 3743943 h 4683863"/>
              <a:gd name="connsiteX66" fmla="*/ 8629434 w 11346020"/>
              <a:gd name="connsiteY66" fmla="*/ 3743943 h 4683863"/>
              <a:gd name="connsiteX67" fmla="*/ 8629422 w 11346020"/>
              <a:gd name="connsiteY67" fmla="*/ 3743940 h 4683863"/>
              <a:gd name="connsiteX68" fmla="*/ 8678517 w 11346020"/>
              <a:gd name="connsiteY68" fmla="*/ 3731294 h 4683863"/>
              <a:gd name="connsiteX69" fmla="*/ 8415055 w 11346020"/>
              <a:gd name="connsiteY69" fmla="*/ 3692901 h 4683863"/>
              <a:gd name="connsiteX70" fmla="*/ 8604545 w 11346020"/>
              <a:gd name="connsiteY70" fmla="*/ 3719850 h 4683863"/>
              <a:gd name="connsiteX71" fmla="*/ 8617177 w 11346020"/>
              <a:gd name="connsiteY71" fmla="*/ 3746799 h 4683863"/>
              <a:gd name="connsiteX72" fmla="*/ 8617177 w 11346020"/>
              <a:gd name="connsiteY72" fmla="*/ 3746803 h 4683863"/>
              <a:gd name="connsiteX73" fmla="*/ 8591913 w 11346020"/>
              <a:gd name="connsiteY73" fmla="*/ 3760276 h 4683863"/>
              <a:gd name="connsiteX74" fmla="*/ 8415055 w 11346020"/>
              <a:gd name="connsiteY74" fmla="*/ 3692905 h 4683863"/>
              <a:gd name="connsiteX75" fmla="*/ 8415067 w 11346020"/>
              <a:gd name="connsiteY75" fmla="*/ 3692909 h 4683863"/>
              <a:gd name="connsiteX76" fmla="*/ 1210098 w 11346020"/>
              <a:gd name="connsiteY76" fmla="*/ 3649038 h 4683863"/>
              <a:gd name="connsiteX77" fmla="*/ 1263691 w 11346020"/>
              <a:gd name="connsiteY77" fmla="*/ 3668942 h 4683863"/>
              <a:gd name="connsiteX78" fmla="*/ 1263691 w 11346020"/>
              <a:gd name="connsiteY78" fmla="*/ 3693441 h 4683863"/>
              <a:gd name="connsiteX79" fmla="*/ 1226942 w 11346020"/>
              <a:gd name="connsiteY79" fmla="*/ 3693441 h 4683863"/>
              <a:gd name="connsiteX80" fmla="*/ 1165694 w 11346020"/>
              <a:gd name="connsiteY80" fmla="*/ 3693441 h 4683863"/>
              <a:gd name="connsiteX81" fmla="*/ 1210098 w 11346020"/>
              <a:gd name="connsiteY81" fmla="*/ 3649038 h 4683863"/>
              <a:gd name="connsiteX82" fmla="*/ 1428958 w 11346020"/>
              <a:gd name="connsiteY82" fmla="*/ 3585821 h 4683863"/>
              <a:gd name="connsiteX83" fmla="*/ 1394429 w 11346020"/>
              <a:gd name="connsiteY83" fmla="*/ 3607670 h 4683863"/>
              <a:gd name="connsiteX84" fmla="*/ 1403741 w 11346020"/>
              <a:gd name="connsiteY84" fmla="*/ 3665060 h 4683863"/>
              <a:gd name="connsiteX85" fmla="*/ 1428400 w 11346020"/>
              <a:gd name="connsiteY85" fmla="*/ 3655206 h 4683863"/>
              <a:gd name="connsiteX86" fmla="*/ 1439546 w 11346020"/>
              <a:gd name="connsiteY86" fmla="*/ 3620201 h 4683863"/>
              <a:gd name="connsiteX87" fmla="*/ 7176786 w 11346020"/>
              <a:gd name="connsiteY87" fmla="*/ 3582464 h 4683863"/>
              <a:gd name="connsiteX88" fmla="*/ 7160461 w 11346020"/>
              <a:gd name="connsiteY88" fmla="*/ 3585845 h 4683863"/>
              <a:gd name="connsiteX89" fmla="*/ 7158484 w 11346020"/>
              <a:gd name="connsiteY89" fmla="*/ 3589203 h 4683863"/>
              <a:gd name="connsiteX90" fmla="*/ 7204809 w 11346020"/>
              <a:gd name="connsiteY90" fmla="*/ 3589649 h 4683863"/>
              <a:gd name="connsiteX91" fmla="*/ 7195500 w 11346020"/>
              <a:gd name="connsiteY91" fmla="*/ 3587437 h 4683863"/>
              <a:gd name="connsiteX92" fmla="*/ 7176786 w 11346020"/>
              <a:gd name="connsiteY92" fmla="*/ 3582464 h 4683863"/>
              <a:gd name="connsiteX93" fmla="*/ 9564381 w 11346020"/>
              <a:gd name="connsiteY93" fmla="*/ 3553451 h 4683863"/>
              <a:gd name="connsiteX94" fmla="*/ 9592585 w 11346020"/>
              <a:gd name="connsiteY94" fmla="*/ 3575346 h 4683863"/>
              <a:gd name="connsiteX95" fmla="*/ 9592581 w 11346020"/>
              <a:gd name="connsiteY95" fmla="*/ 3575350 h 4683863"/>
              <a:gd name="connsiteX96" fmla="*/ 9592585 w 11346020"/>
              <a:gd name="connsiteY96" fmla="*/ 3575350 h 4683863"/>
              <a:gd name="connsiteX97" fmla="*/ 9579312 w 11346020"/>
              <a:gd name="connsiteY97" fmla="*/ 3602299 h 4683863"/>
              <a:gd name="connsiteX98" fmla="*/ 9526228 w 11346020"/>
              <a:gd name="connsiteY98" fmla="*/ 3561877 h 4683863"/>
              <a:gd name="connsiteX99" fmla="*/ 9526233 w 11346020"/>
              <a:gd name="connsiteY99" fmla="*/ 3561877 h 4683863"/>
              <a:gd name="connsiteX100" fmla="*/ 9526228 w 11346020"/>
              <a:gd name="connsiteY100" fmla="*/ 3561873 h 4683863"/>
              <a:gd name="connsiteX101" fmla="*/ 9564381 w 11346020"/>
              <a:gd name="connsiteY101" fmla="*/ 3553451 h 4683863"/>
              <a:gd name="connsiteX102" fmla="*/ 10010183 w 11346020"/>
              <a:gd name="connsiteY102" fmla="*/ 3550041 h 4683863"/>
              <a:gd name="connsiteX103" fmla="*/ 10058086 w 11346020"/>
              <a:gd name="connsiteY103" fmla="*/ 3551079 h 4683863"/>
              <a:gd name="connsiteX104" fmla="*/ 10126459 w 11346020"/>
              <a:gd name="connsiteY104" fmla="*/ 3589228 h 4683863"/>
              <a:gd name="connsiteX105" fmla="*/ 10126456 w 11346020"/>
              <a:gd name="connsiteY105" fmla="*/ 3589228 h 4683863"/>
              <a:gd name="connsiteX106" fmla="*/ 10126459 w 11346020"/>
              <a:gd name="connsiteY106" fmla="*/ 3589232 h 4683863"/>
              <a:gd name="connsiteX107" fmla="*/ 9961088 w 11346020"/>
              <a:gd name="connsiteY107" fmla="*/ 3562691 h 4683863"/>
              <a:gd name="connsiteX108" fmla="*/ 9961100 w 11346020"/>
              <a:gd name="connsiteY108" fmla="*/ 3562691 h 4683863"/>
              <a:gd name="connsiteX109" fmla="*/ 9961088 w 11346020"/>
              <a:gd name="connsiteY109" fmla="*/ 3562688 h 4683863"/>
              <a:gd name="connsiteX110" fmla="*/ 10010183 w 11346020"/>
              <a:gd name="connsiteY110" fmla="*/ 3550041 h 4683863"/>
              <a:gd name="connsiteX111" fmla="*/ 6873788 w 11346020"/>
              <a:gd name="connsiteY111" fmla="*/ 3541294 h 4683863"/>
              <a:gd name="connsiteX112" fmla="*/ 6876685 w 11346020"/>
              <a:gd name="connsiteY112" fmla="*/ 3560088 h 4683863"/>
              <a:gd name="connsiteX113" fmla="*/ 6899040 w 11346020"/>
              <a:gd name="connsiteY113" fmla="*/ 3561833 h 4683863"/>
              <a:gd name="connsiteX114" fmla="*/ 6959561 w 11346020"/>
              <a:gd name="connsiteY114" fmla="*/ 3577746 h 4683863"/>
              <a:gd name="connsiteX115" fmla="*/ 7095912 w 11346020"/>
              <a:gd name="connsiteY115" fmla="*/ 3586915 h 4683863"/>
              <a:gd name="connsiteX116" fmla="*/ 7080832 w 11346020"/>
              <a:gd name="connsiteY116" fmla="*/ 3549249 h 4683863"/>
              <a:gd name="connsiteX117" fmla="*/ 7084015 w 11346020"/>
              <a:gd name="connsiteY117" fmla="*/ 3576295 h 4683863"/>
              <a:gd name="connsiteX118" fmla="*/ 7084015 w 11346020"/>
              <a:gd name="connsiteY118" fmla="*/ 3576299 h 4683863"/>
              <a:gd name="connsiteX119" fmla="*/ 7068089 w 11346020"/>
              <a:gd name="connsiteY119" fmla="*/ 3574706 h 4683863"/>
              <a:gd name="connsiteX120" fmla="*/ 6915198 w 11346020"/>
              <a:gd name="connsiteY120" fmla="*/ 3561978 h 4683863"/>
              <a:gd name="connsiteX121" fmla="*/ 6889715 w 11346020"/>
              <a:gd name="connsiteY121" fmla="*/ 3549249 h 4683863"/>
              <a:gd name="connsiteX122" fmla="*/ 7463059 w 11346020"/>
              <a:gd name="connsiteY122" fmla="*/ 3536518 h 4683863"/>
              <a:gd name="connsiteX123" fmla="*/ 7415284 w 11346020"/>
              <a:gd name="connsiteY123" fmla="*/ 3566750 h 4683863"/>
              <a:gd name="connsiteX124" fmla="*/ 7421411 w 11346020"/>
              <a:gd name="connsiteY124" fmla="*/ 3604516 h 4683863"/>
              <a:gd name="connsiteX125" fmla="*/ 7440533 w 11346020"/>
              <a:gd name="connsiteY125" fmla="*/ 3605392 h 4683863"/>
              <a:gd name="connsiteX126" fmla="*/ 7488313 w 11346020"/>
              <a:gd name="connsiteY126" fmla="*/ 3601613 h 4683863"/>
              <a:gd name="connsiteX127" fmla="*/ 7505239 w 11346020"/>
              <a:gd name="connsiteY127" fmla="*/ 3602811 h 4683863"/>
              <a:gd name="connsiteX128" fmla="*/ 7475803 w 11346020"/>
              <a:gd name="connsiteY128" fmla="*/ 3589027 h 4683863"/>
              <a:gd name="connsiteX129" fmla="*/ 7463059 w 11346020"/>
              <a:gd name="connsiteY129" fmla="*/ 3536518 h 4683863"/>
              <a:gd name="connsiteX130" fmla="*/ 7320720 w 11346020"/>
              <a:gd name="connsiteY130" fmla="*/ 3531546 h 4683863"/>
              <a:gd name="connsiteX131" fmla="*/ 7297428 w 11346020"/>
              <a:gd name="connsiteY131" fmla="*/ 3561978 h 4683863"/>
              <a:gd name="connsiteX132" fmla="*/ 7276127 w 11346020"/>
              <a:gd name="connsiteY132" fmla="*/ 3583857 h 4683863"/>
              <a:gd name="connsiteX133" fmla="*/ 7260299 w 11346020"/>
              <a:gd name="connsiteY133" fmla="*/ 3590181 h 4683863"/>
              <a:gd name="connsiteX134" fmla="*/ 7290826 w 11346020"/>
              <a:gd name="connsiteY134" fmla="*/ 3590474 h 4683863"/>
              <a:gd name="connsiteX135" fmla="*/ 7346568 w 11346020"/>
              <a:gd name="connsiteY135" fmla="*/ 3596838 h 4683863"/>
              <a:gd name="connsiteX136" fmla="*/ 7348391 w 11346020"/>
              <a:gd name="connsiteY136" fmla="*/ 3597089 h 4683863"/>
              <a:gd name="connsiteX137" fmla="*/ 7348391 w 11346020"/>
              <a:gd name="connsiteY137" fmla="*/ 3587437 h 4683863"/>
              <a:gd name="connsiteX138" fmla="*/ 7335652 w 11346020"/>
              <a:gd name="connsiteY138" fmla="*/ 3536518 h 4683863"/>
              <a:gd name="connsiteX139" fmla="*/ 7320720 w 11346020"/>
              <a:gd name="connsiteY139" fmla="*/ 3531546 h 4683863"/>
              <a:gd name="connsiteX140" fmla="*/ 6609421 w 11346020"/>
              <a:gd name="connsiteY140" fmla="*/ 3523790 h 4683863"/>
              <a:gd name="connsiteX141" fmla="*/ 6658786 w 11346020"/>
              <a:gd name="connsiteY141" fmla="*/ 3546062 h 4683863"/>
              <a:gd name="connsiteX142" fmla="*/ 6668539 w 11346020"/>
              <a:gd name="connsiteY142" fmla="*/ 3559585 h 4683863"/>
              <a:gd name="connsiteX143" fmla="*/ 6668539 w 11346020"/>
              <a:gd name="connsiteY143" fmla="*/ 3559589 h 4683863"/>
              <a:gd name="connsiteX144" fmla="*/ 6654529 w 11346020"/>
              <a:gd name="connsiteY144" fmla="*/ 3571126 h 4683863"/>
              <a:gd name="connsiteX145" fmla="*/ 6638988 w 11346020"/>
              <a:gd name="connsiteY145" fmla="*/ 3578956 h 4683863"/>
              <a:gd name="connsiteX146" fmla="*/ 6647407 w 11346020"/>
              <a:gd name="connsiteY146" fmla="*/ 3582518 h 4683863"/>
              <a:gd name="connsiteX147" fmla="*/ 6704742 w 11346020"/>
              <a:gd name="connsiteY147" fmla="*/ 3565015 h 4683863"/>
              <a:gd name="connsiteX148" fmla="*/ 6793926 w 11346020"/>
              <a:gd name="connsiteY148" fmla="*/ 3577746 h 4683863"/>
              <a:gd name="connsiteX149" fmla="*/ 6848624 w 11346020"/>
              <a:gd name="connsiteY149" fmla="*/ 3580181 h 4683863"/>
              <a:gd name="connsiteX150" fmla="*/ 6855389 w 11346020"/>
              <a:gd name="connsiteY150" fmla="*/ 3568791 h 4683863"/>
              <a:gd name="connsiteX151" fmla="*/ 6838751 w 11346020"/>
              <a:gd name="connsiteY151" fmla="*/ 3554419 h 4683863"/>
              <a:gd name="connsiteX152" fmla="*/ 6724081 w 11346020"/>
              <a:gd name="connsiteY152" fmla="*/ 3536518 h 4683863"/>
              <a:gd name="connsiteX153" fmla="*/ 6666749 w 11346020"/>
              <a:gd name="connsiteY153" fmla="*/ 3525379 h 4683863"/>
              <a:gd name="connsiteX154" fmla="*/ 9746722 w 11346020"/>
              <a:gd name="connsiteY154" fmla="*/ 3511648 h 4683863"/>
              <a:gd name="connsiteX155" fmla="*/ 9936211 w 11346020"/>
              <a:gd name="connsiteY155" fmla="*/ 3538598 h 4683863"/>
              <a:gd name="connsiteX156" fmla="*/ 9948842 w 11346020"/>
              <a:gd name="connsiteY156" fmla="*/ 3565546 h 4683863"/>
              <a:gd name="connsiteX157" fmla="*/ 9948842 w 11346020"/>
              <a:gd name="connsiteY157" fmla="*/ 3565550 h 4683863"/>
              <a:gd name="connsiteX158" fmla="*/ 9923579 w 11346020"/>
              <a:gd name="connsiteY158" fmla="*/ 3579023 h 4683863"/>
              <a:gd name="connsiteX159" fmla="*/ 9746722 w 11346020"/>
              <a:gd name="connsiteY159" fmla="*/ 3511652 h 4683863"/>
              <a:gd name="connsiteX160" fmla="*/ 9746733 w 11346020"/>
              <a:gd name="connsiteY160" fmla="*/ 3511656 h 4683863"/>
              <a:gd name="connsiteX161" fmla="*/ 6033237 w 11346020"/>
              <a:gd name="connsiteY161" fmla="*/ 3414905 h 4683863"/>
              <a:gd name="connsiteX162" fmla="*/ 6031855 w 11346020"/>
              <a:gd name="connsiteY162" fmla="*/ 3416047 h 4683863"/>
              <a:gd name="connsiteX163" fmla="*/ 6016725 w 11346020"/>
              <a:gd name="connsiteY163" fmla="*/ 3437727 h 4683863"/>
              <a:gd name="connsiteX164" fmla="*/ 5953019 w 11346020"/>
              <a:gd name="connsiteY164" fmla="*/ 3475915 h 4683863"/>
              <a:gd name="connsiteX165" fmla="*/ 5863834 w 11346020"/>
              <a:gd name="connsiteY165" fmla="*/ 3463186 h 4683863"/>
              <a:gd name="connsiteX166" fmla="*/ 5851095 w 11346020"/>
              <a:gd name="connsiteY166" fmla="*/ 3475915 h 4683863"/>
              <a:gd name="connsiteX167" fmla="*/ 5863834 w 11346020"/>
              <a:gd name="connsiteY167" fmla="*/ 3488642 h 4683863"/>
              <a:gd name="connsiteX168" fmla="*/ 6029464 w 11346020"/>
              <a:gd name="connsiteY168" fmla="*/ 3501370 h 4683863"/>
              <a:gd name="connsiteX169" fmla="*/ 6035672 w 11346020"/>
              <a:gd name="connsiteY169" fmla="*/ 3499698 h 4683863"/>
              <a:gd name="connsiteX170" fmla="*/ 6034474 w 11346020"/>
              <a:gd name="connsiteY170" fmla="*/ 3426728 h 4683863"/>
              <a:gd name="connsiteX171" fmla="*/ 7800471 w 11346020"/>
              <a:gd name="connsiteY171" fmla="*/ 3361354 h 4683863"/>
              <a:gd name="connsiteX172" fmla="*/ 7810552 w 11346020"/>
              <a:gd name="connsiteY172" fmla="*/ 3376002 h 4683863"/>
              <a:gd name="connsiteX173" fmla="*/ 7825929 w 11346020"/>
              <a:gd name="connsiteY173" fmla="*/ 3372529 h 4683863"/>
              <a:gd name="connsiteX174" fmla="*/ 8479127 w 11346020"/>
              <a:gd name="connsiteY174" fmla="*/ 3332711 h 4683863"/>
              <a:gd name="connsiteX175" fmla="*/ 8470963 w 11346020"/>
              <a:gd name="connsiteY175" fmla="*/ 3339077 h 4683863"/>
              <a:gd name="connsiteX176" fmla="*/ 8463004 w 11346020"/>
              <a:gd name="connsiteY176" fmla="*/ 3361351 h 4683863"/>
              <a:gd name="connsiteX177" fmla="*/ 8488484 w 11346020"/>
              <a:gd name="connsiteY177" fmla="*/ 3386806 h 4683863"/>
              <a:gd name="connsiteX178" fmla="*/ 8539446 w 11346020"/>
              <a:gd name="connsiteY178" fmla="*/ 3399535 h 4683863"/>
              <a:gd name="connsiteX179" fmla="*/ 8539438 w 11346020"/>
              <a:gd name="connsiteY179" fmla="*/ 3399535 h 4683863"/>
              <a:gd name="connsiteX180" fmla="*/ 8539446 w 11346020"/>
              <a:gd name="connsiteY180" fmla="*/ 3399539 h 4683863"/>
              <a:gd name="connsiteX181" fmla="*/ 8463286 w 11346020"/>
              <a:gd name="connsiteY181" fmla="*/ 3407693 h 4683863"/>
              <a:gd name="connsiteX182" fmla="*/ 8569847 w 11346020"/>
              <a:gd name="connsiteY182" fmla="*/ 3408716 h 4683863"/>
              <a:gd name="connsiteX183" fmla="*/ 8560153 w 11346020"/>
              <a:gd name="connsiteY183" fmla="*/ 3404313 h 4683863"/>
              <a:gd name="connsiteX184" fmla="*/ 8552190 w 11346020"/>
              <a:gd name="connsiteY184" fmla="*/ 3386810 h 4683863"/>
              <a:gd name="connsiteX185" fmla="*/ 8488484 w 11346020"/>
              <a:gd name="connsiteY185" fmla="*/ 3335894 h 4683863"/>
              <a:gd name="connsiteX186" fmla="*/ 8479127 w 11346020"/>
              <a:gd name="connsiteY186" fmla="*/ 3332711 h 4683863"/>
              <a:gd name="connsiteX187" fmla="*/ 7691291 w 11346020"/>
              <a:gd name="connsiteY187" fmla="*/ 3326216 h 4683863"/>
              <a:gd name="connsiteX188" fmla="*/ 7680834 w 11346020"/>
              <a:gd name="connsiteY188" fmla="*/ 3328069 h 4683863"/>
              <a:gd name="connsiteX189" fmla="*/ 7674185 w 11346020"/>
              <a:gd name="connsiteY189" fmla="*/ 3333176 h 4683863"/>
              <a:gd name="connsiteX190" fmla="*/ 7703193 w 11346020"/>
              <a:gd name="connsiteY190" fmla="*/ 3343716 h 4683863"/>
              <a:gd name="connsiteX191" fmla="*/ 7698639 w 11346020"/>
              <a:gd name="connsiteY191" fmla="*/ 3331369 h 4683863"/>
              <a:gd name="connsiteX192" fmla="*/ 7691291 w 11346020"/>
              <a:gd name="connsiteY192" fmla="*/ 3326216 h 4683863"/>
              <a:gd name="connsiteX193" fmla="*/ 1174646 w 11346020"/>
              <a:gd name="connsiteY193" fmla="*/ 3322854 h 4683863"/>
              <a:gd name="connsiteX194" fmla="*/ 1161905 w 11346020"/>
              <a:gd name="connsiteY194" fmla="*/ 3335583 h 4683863"/>
              <a:gd name="connsiteX195" fmla="*/ 1174646 w 11346020"/>
              <a:gd name="connsiteY195" fmla="*/ 3348310 h 4683863"/>
              <a:gd name="connsiteX196" fmla="*/ 1252683 w 11346020"/>
              <a:gd name="connsiteY196" fmla="*/ 3359448 h 4683863"/>
              <a:gd name="connsiteX197" fmla="*/ 1277571 w 11346020"/>
              <a:gd name="connsiteY197" fmla="*/ 3362394 h 4683863"/>
              <a:gd name="connsiteX198" fmla="*/ 1274422 w 11346020"/>
              <a:gd name="connsiteY198" fmla="*/ 3332276 h 4683863"/>
              <a:gd name="connsiteX199" fmla="*/ 1271993 w 11346020"/>
              <a:gd name="connsiteY199" fmla="*/ 3333196 h 4683863"/>
              <a:gd name="connsiteX200" fmla="*/ 1263830 w 11346020"/>
              <a:gd name="connsiteY200" fmla="*/ 3335583 h 4683863"/>
              <a:gd name="connsiteX201" fmla="*/ 1174646 w 11346020"/>
              <a:gd name="connsiteY201" fmla="*/ 3322854 h 4683863"/>
              <a:gd name="connsiteX202" fmla="*/ 7254196 w 11346020"/>
              <a:gd name="connsiteY202" fmla="*/ 3296113 h 4683863"/>
              <a:gd name="connsiteX203" fmla="*/ 7227124 w 11346020"/>
              <a:gd name="connsiteY203" fmla="*/ 3310434 h 4683863"/>
              <a:gd name="connsiteX204" fmla="*/ 7227108 w 11346020"/>
              <a:gd name="connsiteY204" fmla="*/ 3310498 h 4683863"/>
              <a:gd name="connsiteX205" fmla="*/ 7233921 w 11346020"/>
              <a:gd name="connsiteY205" fmla="*/ 3311168 h 4683863"/>
              <a:gd name="connsiteX206" fmla="*/ 7273538 w 11346020"/>
              <a:gd name="connsiteY206" fmla="*/ 3318527 h 4683863"/>
              <a:gd name="connsiteX207" fmla="*/ 7283835 w 11346020"/>
              <a:gd name="connsiteY207" fmla="*/ 3319746 h 4683863"/>
              <a:gd name="connsiteX208" fmla="*/ 7289165 w 11346020"/>
              <a:gd name="connsiteY208" fmla="*/ 3312646 h 4683863"/>
              <a:gd name="connsiteX209" fmla="*/ 7283370 w 11346020"/>
              <a:gd name="connsiteY209" fmla="*/ 3312646 h 4683863"/>
              <a:gd name="connsiteX210" fmla="*/ 7270627 w 11346020"/>
              <a:gd name="connsiteY210" fmla="*/ 3312646 h 4683863"/>
              <a:gd name="connsiteX211" fmla="*/ 7257578 w 11346020"/>
              <a:gd name="connsiteY211" fmla="*/ 3297435 h 4683863"/>
              <a:gd name="connsiteX212" fmla="*/ 7630482 w 11346020"/>
              <a:gd name="connsiteY212" fmla="*/ 3290274 h 4683863"/>
              <a:gd name="connsiteX213" fmla="*/ 7616184 w 11346020"/>
              <a:gd name="connsiteY213" fmla="*/ 3294520 h 4683863"/>
              <a:gd name="connsiteX214" fmla="*/ 7597137 w 11346020"/>
              <a:gd name="connsiteY214" fmla="*/ 3296734 h 4683863"/>
              <a:gd name="connsiteX215" fmla="*/ 7598434 w 11346020"/>
              <a:gd name="connsiteY215" fmla="*/ 3297845 h 4683863"/>
              <a:gd name="connsiteX216" fmla="*/ 7603210 w 11346020"/>
              <a:gd name="connsiteY216" fmla="*/ 3345578 h 4683863"/>
              <a:gd name="connsiteX217" fmla="*/ 7603210 w 11346020"/>
              <a:gd name="connsiteY217" fmla="*/ 3345581 h 4683863"/>
              <a:gd name="connsiteX218" fmla="*/ 7639443 w 11346020"/>
              <a:gd name="connsiteY218" fmla="*/ 3336828 h 4683863"/>
              <a:gd name="connsiteX219" fmla="*/ 7647577 w 11346020"/>
              <a:gd name="connsiteY219" fmla="*/ 3335872 h 4683863"/>
              <a:gd name="connsiteX220" fmla="*/ 7647577 w 11346020"/>
              <a:gd name="connsiteY220" fmla="*/ 3323163 h 4683863"/>
              <a:gd name="connsiteX221" fmla="*/ 7648966 w 11346020"/>
              <a:gd name="connsiteY221" fmla="*/ 3309978 h 4683863"/>
              <a:gd name="connsiteX222" fmla="*/ 7644819 w 11346020"/>
              <a:gd name="connsiteY222" fmla="*/ 3310575 h 4683863"/>
              <a:gd name="connsiteX223" fmla="*/ 7633471 w 11346020"/>
              <a:gd name="connsiteY223" fmla="*/ 3304209 h 4683863"/>
              <a:gd name="connsiteX224" fmla="*/ 7305589 w 11346020"/>
              <a:gd name="connsiteY224" fmla="*/ 3287451 h 4683863"/>
              <a:gd name="connsiteX225" fmla="*/ 7304362 w 11346020"/>
              <a:gd name="connsiteY225" fmla="*/ 3287917 h 4683863"/>
              <a:gd name="connsiteX226" fmla="*/ 7313897 w 11346020"/>
              <a:gd name="connsiteY226" fmla="*/ 3323303 h 4683863"/>
              <a:gd name="connsiteX227" fmla="*/ 7315543 w 11346020"/>
              <a:gd name="connsiteY227" fmla="*/ 3323498 h 4683863"/>
              <a:gd name="connsiteX228" fmla="*/ 7361130 w 11346020"/>
              <a:gd name="connsiteY228" fmla="*/ 3320118 h 4683863"/>
              <a:gd name="connsiteX229" fmla="*/ 7384026 w 11346020"/>
              <a:gd name="connsiteY229" fmla="*/ 3313953 h 4683863"/>
              <a:gd name="connsiteX230" fmla="*/ 7385939 w 11346020"/>
              <a:gd name="connsiteY230" fmla="*/ 3313593 h 4683863"/>
              <a:gd name="connsiteX231" fmla="*/ 7354531 w 11346020"/>
              <a:gd name="connsiteY231" fmla="*/ 3297706 h 4683863"/>
              <a:gd name="connsiteX232" fmla="*/ 7350749 w 11346020"/>
              <a:gd name="connsiteY232" fmla="*/ 3291937 h 4683863"/>
              <a:gd name="connsiteX233" fmla="*/ 7343703 w 11346020"/>
              <a:gd name="connsiteY233" fmla="*/ 3289845 h 4683863"/>
              <a:gd name="connsiteX234" fmla="*/ 7343703 w 11346020"/>
              <a:gd name="connsiteY234" fmla="*/ 3291185 h 4683863"/>
              <a:gd name="connsiteX235" fmla="*/ 7306954 w 11346020"/>
              <a:gd name="connsiteY235" fmla="*/ 3291185 h 4683863"/>
              <a:gd name="connsiteX236" fmla="*/ 5878975 w 11346020"/>
              <a:gd name="connsiteY236" fmla="*/ 3273134 h 4683863"/>
              <a:gd name="connsiteX237" fmla="*/ 5876574 w 11346020"/>
              <a:gd name="connsiteY237" fmla="*/ 3284971 h 4683863"/>
              <a:gd name="connsiteX238" fmla="*/ 5873389 w 11346020"/>
              <a:gd name="connsiteY238" fmla="*/ 3302475 h 4683863"/>
              <a:gd name="connsiteX239" fmla="*/ 5879964 w 11346020"/>
              <a:gd name="connsiteY239" fmla="*/ 3305760 h 4683863"/>
              <a:gd name="connsiteX240" fmla="*/ 5894598 w 11346020"/>
              <a:gd name="connsiteY240" fmla="*/ 3299910 h 4683863"/>
              <a:gd name="connsiteX241" fmla="*/ 5900562 w 11346020"/>
              <a:gd name="connsiteY241" fmla="*/ 3301399 h 4683863"/>
              <a:gd name="connsiteX242" fmla="*/ 5902010 w 11346020"/>
              <a:gd name="connsiteY242" fmla="*/ 3285484 h 4683863"/>
              <a:gd name="connsiteX243" fmla="*/ 5881858 w 11346020"/>
              <a:gd name="connsiteY243" fmla="*/ 3276047 h 4683863"/>
              <a:gd name="connsiteX244" fmla="*/ 5582842 w 11346020"/>
              <a:gd name="connsiteY244" fmla="*/ 3269485 h 4683863"/>
              <a:gd name="connsiteX245" fmla="*/ 5566517 w 11346020"/>
              <a:gd name="connsiteY245" fmla="*/ 3272865 h 4683863"/>
              <a:gd name="connsiteX246" fmla="*/ 5558301 w 11346020"/>
              <a:gd name="connsiteY246" fmla="*/ 3286819 h 4683863"/>
              <a:gd name="connsiteX247" fmla="*/ 5626270 w 11346020"/>
              <a:gd name="connsiteY247" fmla="*/ 3280328 h 4683863"/>
              <a:gd name="connsiteX248" fmla="*/ 5601556 w 11346020"/>
              <a:gd name="connsiteY248" fmla="*/ 3274458 h 4683863"/>
              <a:gd name="connsiteX249" fmla="*/ 5582842 w 11346020"/>
              <a:gd name="connsiteY249" fmla="*/ 3269485 h 4683863"/>
              <a:gd name="connsiteX250" fmla="*/ 8318404 w 11346020"/>
              <a:gd name="connsiteY250" fmla="*/ 3266569 h 4683863"/>
              <a:gd name="connsiteX251" fmla="*/ 8302375 w 11346020"/>
              <a:gd name="connsiteY251" fmla="*/ 3275569 h 4683863"/>
              <a:gd name="connsiteX252" fmla="*/ 8284627 w 11346020"/>
              <a:gd name="connsiteY252" fmla="*/ 3278235 h 4683863"/>
              <a:gd name="connsiteX253" fmla="*/ 8284627 w 11346020"/>
              <a:gd name="connsiteY253" fmla="*/ 3297702 h 4683863"/>
              <a:gd name="connsiteX254" fmla="*/ 8284627 w 11346020"/>
              <a:gd name="connsiteY254" fmla="*/ 3332707 h 4683863"/>
              <a:gd name="connsiteX255" fmla="*/ 8284627 w 11346020"/>
              <a:gd name="connsiteY255" fmla="*/ 3332711 h 4683863"/>
              <a:gd name="connsiteX256" fmla="*/ 8246404 w 11346020"/>
              <a:gd name="connsiteY256" fmla="*/ 3348622 h 4683863"/>
              <a:gd name="connsiteX257" fmla="*/ 8220922 w 11346020"/>
              <a:gd name="connsiteY257" fmla="*/ 3374082 h 4683863"/>
              <a:gd name="connsiteX258" fmla="*/ 8218530 w 11346020"/>
              <a:gd name="connsiteY258" fmla="*/ 3379630 h 4683863"/>
              <a:gd name="connsiteX259" fmla="*/ 8230706 w 11346020"/>
              <a:gd name="connsiteY259" fmla="*/ 3380580 h 4683863"/>
              <a:gd name="connsiteX260" fmla="*/ 8291226 w 11346020"/>
              <a:gd name="connsiteY260" fmla="*/ 3396493 h 4683863"/>
              <a:gd name="connsiteX261" fmla="*/ 8402550 w 11346020"/>
              <a:gd name="connsiteY261" fmla="*/ 3403979 h 4683863"/>
              <a:gd name="connsiteX262" fmla="*/ 8361072 w 11346020"/>
              <a:gd name="connsiteY262" fmla="*/ 3399539 h 4683863"/>
              <a:gd name="connsiteX263" fmla="*/ 8361080 w 11346020"/>
              <a:gd name="connsiteY263" fmla="*/ 3399535 h 4683863"/>
              <a:gd name="connsiteX264" fmla="*/ 8361072 w 11346020"/>
              <a:gd name="connsiteY264" fmla="*/ 3399535 h 4683863"/>
              <a:gd name="connsiteX265" fmla="*/ 8437522 w 11346020"/>
              <a:gd name="connsiteY265" fmla="*/ 3354984 h 4683863"/>
              <a:gd name="connsiteX266" fmla="*/ 8437522 w 11346020"/>
              <a:gd name="connsiteY266" fmla="*/ 3272247 h 4683863"/>
              <a:gd name="connsiteX267" fmla="*/ 8421595 w 11346020"/>
              <a:gd name="connsiteY267" fmla="*/ 3326346 h 4683863"/>
              <a:gd name="connsiteX268" fmla="*/ 8386555 w 11346020"/>
              <a:gd name="connsiteY268" fmla="*/ 3361351 h 4683863"/>
              <a:gd name="connsiteX269" fmla="*/ 8386555 w 11346020"/>
              <a:gd name="connsiteY269" fmla="*/ 3361347 h 4683863"/>
              <a:gd name="connsiteX270" fmla="*/ 8386555 w 11346020"/>
              <a:gd name="connsiteY270" fmla="*/ 3272247 h 4683863"/>
              <a:gd name="connsiteX271" fmla="*/ 8330814 w 11346020"/>
              <a:gd name="connsiteY271" fmla="*/ 3273837 h 4683863"/>
              <a:gd name="connsiteX272" fmla="*/ 7349632 w 11346020"/>
              <a:gd name="connsiteY272" fmla="*/ 3254697 h 4683863"/>
              <a:gd name="connsiteX273" fmla="*/ 7348391 w 11346020"/>
              <a:gd name="connsiteY273" fmla="*/ 3256474 h 4683863"/>
              <a:gd name="connsiteX274" fmla="*/ 7339500 w 11346020"/>
              <a:gd name="connsiteY274" fmla="*/ 3263425 h 4683863"/>
              <a:gd name="connsiteX275" fmla="*/ 7343703 w 11346020"/>
              <a:gd name="connsiteY275" fmla="*/ 3266686 h 4683863"/>
              <a:gd name="connsiteX276" fmla="*/ 7343703 w 11346020"/>
              <a:gd name="connsiteY276" fmla="*/ 3268043 h 4683863"/>
              <a:gd name="connsiteX277" fmla="*/ 7349753 w 11346020"/>
              <a:gd name="connsiteY277" fmla="*/ 3254743 h 4683863"/>
              <a:gd name="connsiteX278" fmla="*/ 8080770 w 11346020"/>
              <a:gd name="connsiteY278" fmla="*/ 3235024 h 4683863"/>
              <a:gd name="connsiteX279" fmla="*/ 8080770 w 11346020"/>
              <a:gd name="connsiteY279" fmla="*/ 3335890 h 4683863"/>
              <a:gd name="connsiteX280" fmla="*/ 8088734 w 11346020"/>
              <a:gd name="connsiteY280" fmla="*/ 3359757 h 4683863"/>
              <a:gd name="connsiteX281" fmla="*/ 8088734 w 11346020"/>
              <a:gd name="connsiteY281" fmla="*/ 3359760 h 4683863"/>
              <a:gd name="connsiteX282" fmla="*/ 8070913 w 11346020"/>
              <a:gd name="connsiteY282" fmla="*/ 3372088 h 4683863"/>
              <a:gd name="connsiteX283" fmla="*/ 8072066 w 11346020"/>
              <a:gd name="connsiteY283" fmla="*/ 3378701 h 4683863"/>
              <a:gd name="connsiteX284" fmla="*/ 8066510 w 11346020"/>
              <a:gd name="connsiteY284" fmla="*/ 3378881 h 4683863"/>
              <a:gd name="connsiteX285" fmla="*/ 8065185 w 11346020"/>
              <a:gd name="connsiteY285" fmla="*/ 3383076 h 4683863"/>
              <a:gd name="connsiteX286" fmla="*/ 8076222 w 11346020"/>
              <a:gd name="connsiteY286" fmla="*/ 3385355 h 4683863"/>
              <a:gd name="connsiteX287" fmla="*/ 8125592 w 11346020"/>
              <a:gd name="connsiteY287" fmla="*/ 3396493 h 4683863"/>
              <a:gd name="connsiteX288" fmla="*/ 8172177 w 11346020"/>
              <a:gd name="connsiteY288" fmla="*/ 3407233 h 4683863"/>
              <a:gd name="connsiteX289" fmla="*/ 8172806 w 11346020"/>
              <a:gd name="connsiteY289" fmla="*/ 3406589 h 4683863"/>
              <a:gd name="connsiteX290" fmla="*/ 8157220 w 11346020"/>
              <a:gd name="connsiteY290" fmla="*/ 3399539 h 4683863"/>
              <a:gd name="connsiteX291" fmla="*/ 8126960 w 11346020"/>
              <a:gd name="connsiteY291" fmla="*/ 3361351 h 4683863"/>
              <a:gd name="connsiteX292" fmla="*/ 8126960 w 11346020"/>
              <a:gd name="connsiteY292" fmla="*/ 3361347 h 4683863"/>
              <a:gd name="connsiteX293" fmla="*/ 8144476 w 11346020"/>
              <a:gd name="connsiteY293" fmla="*/ 3323159 h 4683863"/>
              <a:gd name="connsiteX294" fmla="*/ 8158809 w 11346020"/>
              <a:gd name="connsiteY294" fmla="*/ 3310430 h 4683863"/>
              <a:gd name="connsiteX295" fmla="*/ 8144476 w 11346020"/>
              <a:gd name="connsiteY295" fmla="*/ 3297706 h 4683863"/>
              <a:gd name="connsiteX296" fmla="*/ 8107846 w 11346020"/>
              <a:gd name="connsiteY296" fmla="*/ 3275429 h 4683863"/>
              <a:gd name="connsiteX297" fmla="*/ 8081518 w 11346020"/>
              <a:gd name="connsiteY297" fmla="*/ 3235201 h 4683863"/>
              <a:gd name="connsiteX298" fmla="*/ 5869115 w 11346020"/>
              <a:gd name="connsiteY298" fmla="*/ 3223539 h 4683863"/>
              <a:gd name="connsiteX299" fmla="*/ 5821339 w 11346020"/>
              <a:gd name="connsiteY299" fmla="*/ 3253770 h 4683863"/>
              <a:gd name="connsiteX300" fmla="*/ 5821978 w 11346020"/>
              <a:gd name="connsiteY300" fmla="*/ 3257708 h 4683863"/>
              <a:gd name="connsiteX301" fmla="*/ 5838351 w 11346020"/>
              <a:gd name="connsiteY301" fmla="*/ 3259514 h 4683863"/>
              <a:gd name="connsiteX302" fmla="*/ 5868320 w 11346020"/>
              <a:gd name="connsiteY302" fmla="*/ 3262365 h 4683863"/>
              <a:gd name="connsiteX303" fmla="*/ 5864738 w 11346020"/>
              <a:gd name="connsiteY303" fmla="*/ 3258745 h 4683863"/>
              <a:gd name="connsiteX304" fmla="*/ 5869115 w 11346020"/>
              <a:gd name="connsiteY304" fmla="*/ 3223539 h 4683863"/>
              <a:gd name="connsiteX305" fmla="*/ 5726776 w 11346020"/>
              <a:gd name="connsiteY305" fmla="*/ 3218566 h 4683863"/>
              <a:gd name="connsiteX306" fmla="*/ 5703484 w 11346020"/>
              <a:gd name="connsiteY306" fmla="*/ 3248998 h 4683863"/>
              <a:gd name="connsiteX307" fmla="*/ 5682183 w 11346020"/>
              <a:gd name="connsiteY307" fmla="*/ 3270877 h 4683863"/>
              <a:gd name="connsiteX308" fmla="*/ 5668663 w 11346020"/>
              <a:gd name="connsiteY308" fmla="*/ 3276279 h 4683863"/>
              <a:gd name="connsiteX309" fmla="*/ 5710940 w 11346020"/>
              <a:gd name="connsiteY309" fmla="*/ 3272243 h 4683863"/>
              <a:gd name="connsiteX310" fmla="*/ 5741598 w 11346020"/>
              <a:gd name="connsiteY310" fmla="*/ 3268463 h 4683863"/>
              <a:gd name="connsiteX311" fmla="*/ 5749169 w 11346020"/>
              <a:gd name="connsiteY311" fmla="*/ 3266777 h 4683863"/>
              <a:gd name="connsiteX312" fmla="*/ 5745289 w 11346020"/>
              <a:gd name="connsiteY312" fmla="*/ 3261131 h 4683863"/>
              <a:gd name="connsiteX313" fmla="*/ 5741707 w 11346020"/>
              <a:gd name="connsiteY313" fmla="*/ 3223539 h 4683863"/>
              <a:gd name="connsiteX314" fmla="*/ 5726776 w 11346020"/>
              <a:gd name="connsiteY314" fmla="*/ 3218566 h 4683863"/>
              <a:gd name="connsiteX315" fmla="*/ 5015476 w 11346020"/>
              <a:gd name="connsiteY315" fmla="*/ 3210810 h 4683863"/>
              <a:gd name="connsiteX316" fmla="*/ 5064841 w 11346020"/>
              <a:gd name="connsiteY316" fmla="*/ 3233083 h 4683863"/>
              <a:gd name="connsiteX317" fmla="*/ 5074595 w 11346020"/>
              <a:gd name="connsiteY317" fmla="*/ 3246606 h 4683863"/>
              <a:gd name="connsiteX318" fmla="*/ 5074595 w 11346020"/>
              <a:gd name="connsiteY318" fmla="*/ 3246610 h 4683863"/>
              <a:gd name="connsiteX319" fmla="*/ 5028208 w 11346020"/>
              <a:gd name="connsiteY319" fmla="*/ 3274458 h 4683863"/>
              <a:gd name="connsiteX320" fmla="*/ 5028208 w 11346020"/>
              <a:gd name="connsiteY320" fmla="*/ 3295141 h 4683863"/>
              <a:gd name="connsiteX321" fmla="*/ 5028208 w 11346020"/>
              <a:gd name="connsiteY321" fmla="*/ 3325370 h 4683863"/>
              <a:gd name="connsiteX322" fmla="*/ 5028208 w 11346020"/>
              <a:gd name="connsiteY322" fmla="*/ 3325374 h 4683863"/>
              <a:gd name="connsiteX323" fmla="*/ 5002729 w 11346020"/>
              <a:gd name="connsiteY323" fmla="*/ 3299914 h 4683863"/>
              <a:gd name="connsiteX324" fmla="*/ 4986801 w 11346020"/>
              <a:gd name="connsiteY324" fmla="*/ 3271274 h 4683863"/>
              <a:gd name="connsiteX325" fmla="*/ 4956068 w 11346020"/>
              <a:gd name="connsiteY325" fmla="*/ 3262899 h 4683863"/>
              <a:gd name="connsiteX326" fmla="*/ 4956068 w 11346020"/>
              <a:gd name="connsiteY326" fmla="*/ 3352885 h 4683863"/>
              <a:gd name="connsiteX327" fmla="*/ 4956068 w 11346020"/>
              <a:gd name="connsiteY327" fmla="*/ 3352889 h 4683863"/>
              <a:gd name="connsiteX328" fmla="*/ 4957903 w 11346020"/>
              <a:gd name="connsiteY328" fmla="*/ 3373584 h 4683863"/>
              <a:gd name="connsiteX329" fmla="*/ 4959221 w 11346020"/>
              <a:gd name="connsiteY329" fmla="*/ 3374078 h 4683863"/>
              <a:gd name="connsiteX330" fmla="*/ 5010184 w 11346020"/>
              <a:gd name="connsiteY330" fmla="*/ 3374078 h 4683863"/>
              <a:gd name="connsiteX331" fmla="*/ 5073890 w 11346020"/>
              <a:gd name="connsiteY331" fmla="*/ 3437723 h 4683863"/>
              <a:gd name="connsiteX332" fmla="*/ 5175818 w 11346020"/>
              <a:gd name="connsiteY332" fmla="*/ 3348618 h 4683863"/>
              <a:gd name="connsiteX333" fmla="*/ 5226782 w 11346020"/>
              <a:gd name="connsiteY333" fmla="*/ 3340663 h 4683863"/>
              <a:gd name="connsiteX334" fmla="*/ 5234239 w 11346020"/>
              <a:gd name="connsiteY334" fmla="*/ 3338102 h 4683863"/>
              <a:gd name="connsiteX335" fmla="*/ 5104657 w 11346020"/>
              <a:gd name="connsiteY335" fmla="*/ 3338102 h 4683863"/>
              <a:gd name="connsiteX336" fmla="*/ 5079174 w 11346020"/>
              <a:gd name="connsiteY336" fmla="*/ 3325374 h 4683863"/>
              <a:gd name="connsiteX337" fmla="*/ 5079178 w 11346020"/>
              <a:gd name="connsiteY337" fmla="*/ 3325370 h 4683863"/>
              <a:gd name="connsiteX338" fmla="*/ 5079174 w 11346020"/>
              <a:gd name="connsiteY338" fmla="*/ 3325370 h 4683863"/>
              <a:gd name="connsiteX339" fmla="*/ 5117397 w 11346020"/>
              <a:gd name="connsiteY339" fmla="*/ 3287182 h 4683863"/>
              <a:gd name="connsiteX340" fmla="*/ 5270288 w 11346020"/>
              <a:gd name="connsiteY340" fmla="*/ 3287182 h 4683863"/>
              <a:gd name="connsiteX341" fmla="*/ 5428978 w 11346020"/>
              <a:gd name="connsiteY341" fmla="*/ 3297451 h 4683863"/>
              <a:gd name="connsiteX342" fmla="*/ 5434026 w 11346020"/>
              <a:gd name="connsiteY342" fmla="*/ 3301346 h 4683863"/>
              <a:gd name="connsiteX343" fmla="*/ 5494344 w 11346020"/>
              <a:gd name="connsiteY343" fmla="*/ 3292927 h 4683863"/>
              <a:gd name="connsiteX344" fmla="*/ 5509011 w 11346020"/>
              <a:gd name="connsiteY344" fmla="*/ 3291526 h 4683863"/>
              <a:gd name="connsiteX345" fmla="*/ 5486888 w 11346020"/>
              <a:gd name="connsiteY345" fmla="*/ 3236270 h 4683863"/>
              <a:gd name="connsiteX346" fmla="*/ 5490071 w 11346020"/>
              <a:gd name="connsiteY346" fmla="*/ 3263316 h 4683863"/>
              <a:gd name="connsiteX347" fmla="*/ 5490071 w 11346020"/>
              <a:gd name="connsiteY347" fmla="*/ 3263320 h 4683863"/>
              <a:gd name="connsiteX348" fmla="*/ 5474145 w 11346020"/>
              <a:gd name="connsiteY348" fmla="*/ 3261727 h 4683863"/>
              <a:gd name="connsiteX349" fmla="*/ 5321254 w 11346020"/>
              <a:gd name="connsiteY349" fmla="*/ 3248998 h 4683863"/>
              <a:gd name="connsiteX350" fmla="*/ 5295770 w 11346020"/>
              <a:gd name="connsiteY350" fmla="*/ 3236270 h 4683863"/>
              <a:gd name="connsiteX351" fmla="*/ 5279844 w 11346020"/>
              <a:gd name="connsiteY351" fmla="*/ 3228315 h 4683863"/>
              <a:gd name="connsiteX352" fmla="*/ 5283031 w 11346020"/>
              <a:gd name="connsiteY352" fmla="*/ 3248994 h 4683863"/>
              <a:gd name="connsiteX353" fmla="*/ 5283031 w 11346020"/>
              <a:gd name="connsiteY353" fmla="*/ 3248998 h 4683863"/>
              <a:gd name="connsiteX354" fmla="*/ 5283031 w 11346020"/>
              <a:gd name="connsiteY354" fmla="*/ 3274454 h 4683863"/>
              <a:gd name="connsiteX355" fmla="*/ 5283031 w 11346020"/>
              <a:gd name="connsiteY355" fmla="*/ 3274458 h 4683863"/>
              <a:gd name="connsiteX356" fmla="*/ 5130137 w 11346020"/>
              <a:gd name="connsiteY356" fmla="*/ 3223539 h 4683863"/>
              <a:gd name="connsiteX357" fmla="*/ 5072805 w 11346020"/>
              <a:gd name="connsiteY357" fmla="*/ 3212400 h 4683863"/>
              <a:gd name="connsiteX358" fmla="*/ 9623538 w 11346020"/>
              <a:gd name="connsiteY358" fmla="*/ 3192115 h 4683863"/>
              <a:gd name="connsiteX359" fmla="*/ 9651741 w 11346020"/>
              <a:gd name="connsiteY359" fmla="*/ 3214010 h 4683863"/>
              <a:gd name="connsiteX360" fmla="*/ 9651737 w 11346020"/>
              <a:gd name="connsiteY360" fmla="*/ 3214014 h 4683863"/>
              <a:gd name="connsiteX361" fmla="*/ 9651741 w 11346020"/>
              <a:gd name="connsiteY361" fmla="*/ 3214014 h 4683863"/>
              <a:gd name="connsiteX362" fmla="*/ 9638469 w 11346020"/>
              <a:gd name="connsiteY362" fmla="*/ 3240964 h 4683863"/>
              <a:gd name="connsiteX363" fmla="*/ 9585384 w 11346020"/>
              <a:gd name="connsiteY363" fmla="*/ 3200541 h 4683863"/>
              <a:gd name="connsiteX364" fmla="*/ 9585388 w 11346020"/>
              <a:gd name="connsiteY364" fmla="*/ 3200541 h 4683863"/>
              <a:gd name="connsiteX365" fmla="*/ 9585384 w 11346020"/>
              <a:gd name="connsiteY365" fmla="*/ 3200537 h 4683863"/>
              <a:gd name="connsiteX366" fmla="*/ 9623538 w 11346020"/>
              <a:gd name="connsiteY366" fmla="*/ 3192115 h 4683863"/>
              <a:gd name="connsiteX367" fmla="*/ 9975032 w 11346020"/>
              <a:gd name="connsiteY367" fmla="*/ 3149469 h 4683863"/>
              <a:gd name="connsiteX368" fmla="*/ 9973040 w 11346020"/>
              <a:gd name="connsiteY368" fmla="*/ 3154642 h 4683863"/>
              <a:gd name="connsiteX369" fmla="*/ 9938005 w 11346020"/>
              <a:gd name="connsiteY369" fmla="*/ 3170553 h 4683863"/>
              <a:gd name="connsiteX370" fmla="*/ 9936082 w 11346020"/>
              <a:gd name="connsiteY370" fmla="*/ 3171715 h 4683863"/>
              <a:gd name="connsiteX371" fmla="*/ 9984844 w 11346020"/>
              <a:gd name="connsiteY371" fmla="*/ 3176277 h 4683863"/>
              <a:gd name="connsiteX372" fmla="*/ 9985784 w 11346020"/>
              <a:gd name="connsiteY372" fmla="*/ 3167370 h 4683863"/>
              <a:gd name="connsiteX373" fmla="*/ 9979414 w 11346020"/>
              <a:gd name="connsiteY373" fmla="*/ 3151459 h 4683863"/>
              <a:gd name="connsiteX374" fmla="*/ 9975032 w 11346020"/>
              <a:gd name="connsiteY374" fmla="*/ 3149469 h 4683863"/>
              <a:gd name="connsiteX375" fmla="*/ 9769188 w 11346020"/>
              <a:gd name="connsiteY375" fmla="*/ 3090994 h 4683863"/>
              <a:gd name="connsiteX376" fmla="*/ 9753291 w 11346020"/>
              <a:gd name="connsiteY376" fmla="*/ 3144992 h 4683863"/>
              <a:gd name="connsiteX377" fmla="*/ 9763044 w 11346020"/>
              <a:gd name="connsiteY377" fmla="*/ 3146539 h 4683863"/>
              <a:gd name="connsiteX378" fmla="*/ 9769188 w 11346020"/>
              <a:gd name="connsiteY378" fmla="*/ 3153359 h 4683863"/>
              <a:gd name="connsiteX379" fmla="*/ 9616292 w 11346020"/>
              <a:gd name="connsiteY379" fmla="*/ 3065534 h 4683863"/>
              <a:gd name="connsiteX380" fmla="*/ 9616292 w 11346020"/>
              <a:gd name="connsiteY380" fmla="*/ 3116450 h 4683863"/>
              <a:gd name="connsiteX381" fmla="*/ 9616292 w 11346020"/>
              <a:gd name="connsiteY381" fmla="*/ 3135557 h 4683863"/>
              <a:gd name="connsiteX382" fmla="*/ 9688193 w 11346020"/>
              <a:gd name="connsiteY382" fmla="*/ 3149722 h 4683863"/>
              <a:gd name="connsiteX383" fmla="*/ 9708895 w 11346020"/>
              <a:gd name="connsiteY383" fmla="*/ 3149722 h 4683863"/>
              <a:gd name="connsiteX384" fmla="*/ 9718221 w 11346020"/>
              <a:gd name="connsiteY384" fmla="*/ 3149722 h 4683863"/>
              <a:gd name="connsiteX385" fmla="*/ 9718221 w 11346020"/>
              <a:gd name="connsiteY385" fmla="*/ 3090994 h 4683863"/>
              <a:gd name="connsiteX386" fmla="*/ 9616292 w 11346020"/>
              <a:gd name="connsiteY386" fmla="*/ 3065534 h 4683863"/>
              <a:gd name="connsiteX387" fmla="*/ 9412436 w 11346020"/>
              <a:gd name="connsiteY387" fmla="*/ 3052806 h 4683863"/>
              <a:gd name="connsiteX388" fmla="*/ 9412436 w 11346020"/>
              <a:gd name="connsiteY388" fmla="*/ 3119716 h 4683863"/>
              <a:gd name="connsiteX389" fmla="*/ 9471592 w 11346020"/>
              <a:gd name="connsiteY389" fmla="*/ 3124262 h 4683863"/>
              <a:gd name="connsiteX390" fmla="*/ 9484044 w 11346020"/>
              <a:gd name="connsiteY390" fmla="*/ 3123469 h 4683863"/>
              <a:gd name="connsiteX391" fmla="*/ 9476141 w 11346020"/>
              <a:gd name="connsiteY391" fmla="*/ 3116454 h 4683863"/>
              <a:gd name="connsiteX392" fmla="*/ 9412436 w 11346020"/>
              <a:gd name="connsiteY392" fmla="*/ 3052806 h 4683863"/>
              <a:gd name="connsiteX393" fmla="*/ 8691434 w 11346020"/>
              <a:gd name="connsiteY393" fmla="*/ 2963103 h 4683863"/>
              <a:gd name="connsiteX394" fmla="*/ 8666861 w 11346020"/>
              <a:gd name="connsiteY394" fmla="*/ 2979470 h 4683863"/>
              <a:gd name="connsiteX395" fmla="*/ 8689074 w 11346020"/>
              <a:gd name="connsiteY395" fmla="*/ 2983169 h 4683863"/>
              <a:gd name="connsiteX396" fmla="*/ 8698937 w 11346020"/>
              <a:gd name="connsiteY396" fmla="*/ 2976426 h 4683863"/>
              <a:gd name="connsiteX397" fmla="*/ 8924306 w 11346020"/>
              <a:gd name="connsiteY397" fmla="*/ 2834377 h 4683863"/>
              <a:gd name="connsiteX398" fmla="*/ 8880497 w 11346020"/>
              <a:gd name="connsiteY398" fmla="*/ 2841182 h 4683863"/>
              <a:gd name="connsiteX399" fmla="*/ 8870121 w 11346020"/>
              <a:gd name="connsiteY399" fmla="*/ 2845969 h 4683863"/>
              <a:gd name="connsiteX400" fmla="*/ 8860021 w 11346020"/>
              <a:gd name="connsiteY400" fmla="*/ 2869682 h 4683863"/>
              <a:gd name="connsiteX401" fmla="*/ 8821799 w 11346020"/>
              <a:gd name="connsiteY401" fmla="*/ 2882410 h 4683863"/>
              <a:gd name="connsiteX402" fmla="*/ 8805125 w 11346020"/>
              <a:gd name="connsiteY402" fmla="*/ 2885340 h 4683863"/>
              <a:gd name="connsiteX403" fmla="*/ 8788125 w 11346020"/>
              <a:gd name="connsiteY403" fmla="*/ 2900054 h 4683863"/>
              <a:gd name="connsiteX404" fmla="*/ 8777658 w 11346020"/>
              <a:gd name="connsiteY404" fmla="*/ 2892386 h 4683863"/>
              <a:gd name="connsiteX405" fmla="*/ 8776658 w 11346020"/>
              <a:gd name="connsiteY405" fmla="*/ 2892975 h 4683863"/>
              <a:gd name="connsiteX406" fmla="*/ 8772961 w 11346020"/>
              <a:gd name="connsiteY406" fmla="*/ 2892939 h 4683863"/>
              <a:gd name="connsiteX407" fmla="*/ 8773166 w 11346020"/>
              <a:gd name="connsiteY407" fmla="*/ 2894941 h 4683863"/>
              <a:gd name="connsiteX408" fmla="*/ 8762392 w 11346020"/>
              <a:gd name="connsiteY408" fmla="*/ 2923304 h 4683863"/>
              <a:gd name="connsiteX409" fmla="*/ 8799871 w 11346020"/>
              <a:gd name="connsiteY409" fmla="*/ 2931080 h 4683863"/>
              <a:gd name="connsiteX410" fmla="*/ 9081167 w 11346020"/>
              <a:gd name="connsiteY410" fmla="*/ 2938238 h 4683863"/>
              <a:gd name="connsiteX411" fmla="*/ 9109837 w 11346020"/>
              <a:gd name="connsiteY411" fmla="*/ 2915965 h 4683863"/>
              <a:gd name="connsiteX412" fmla="*/ 9118194 w 11346020"/>
              <a:gd name="connsiteY412" fmla="*/ 2879787 h 4683863"/>
              <a:gd name="connsiteX413" fmla="*/ 9072297 w 11346020"/>
              <a:gd name="connsiteY413" fmla="*/ 2873975 h 4683863"/>
              <a:gd name="connsiteX414" fmla="*/ 9061858 w 11346020"/>
              <a:gd name="connsiteY414" fmla="*/ 2885138 h 4683863"/>
              <a:gd name="connsiteX415" fmla="*/ 9068427 w 11346020"/>
              <a:gd name="connsiteY415" fmla="*/ 2912786 h 4683863"/>
              <a:gd name="connsiteX416" fmla="*/ 8953759 w 11346020"/>
              <a:gd name="connsiteY416" fmla="*/ 2849138 h 4683863"/>
              <a:gd name="connsiteX417" fmla="*/ 8942863 w 11346020"/>
              <a:gd name="connsiteY417" fmla="*/ 2842690 h 4683863"/>
              <a:gd name="connsiteX418" fmla="*/ 8937378 w 11346020"/>
              <a:gd name="connsiteY418" fmla="*/ 2844075 h 4683863"/>
              <a:gd name="connsiteX419" fmla="*/ 8925589 w 11346020"/>
              <a:gd name="connsiteY419" fmla="*/ 2842544 h 4683863"/>
              <a:gd name="connsiteX420" fmla="*/ 10034188 w 11346020"/>
              <a:gd name="connsiteY420" fmla="*/ 2788134 h 4683863"/>
              <a:gd name="connsiteX421" fmla="*/ 10032197 w 11346020"/>
              <a:gd name="connsiteY421" fmla="*/ 2793306 h 4683863"/>
              <a:gd name="connsiteX422" fmla="*/ 10020874 w 11346020"/>
              <a:gd name="connsiteY422" fmla="*/ 2801939 h 4683863"/>
              <a:gd name="connsiteX423" fmla="*/ 10044902 w 11346020"/>
              <a:gd name="connsiteY423" fmla="*/ 2805940 h 4683863"/>
              <a:gd name="connsiteX424" fmla="*/ 10038571 w 11346020"/>
              <a:gd name="connsiteY424" fmla="*/ 2790123 h 4683863"/>
              <a:gd name="connsiteX425" fmla="*/ 10034188 w 11346020"/>
              <a:gd name="connsiteY425" fmla="*/ 2788134 h 4683863"/>
              <a:gd name="connsiteX426" fmla="*/ 10908430 w 11346020"/>
              <a:gd name="connsiteY426" fmla="*/ 2591800 h 4683863"/>
              <a:gd name="connsiteX427" fmla="*/ 10956332 w 11346020"/>
              <a:gd name="connsiteY427" fmla="*/ 2592838 h 4683863"/>
              <a:gd name="connsiteX428" fmla="*/ 11024707 w 11346020"/>
              <a:gd name="connsiteY428" fmla="*/ 2630987 h 4683863"/>
              <a:gd name="connsiteX429" fmla="*/ 11024703 w 11346020"/>
              <a:gd name="connsiteY429" fmla="*/ 2630987 h 4683863"/>
              <a:gd name="connsiteX430" fmla="*/ 11024707 w 11346020"/>
              <a:gd name="connsiteY430" fmla="*/ 2630991 h 4683863"/>
              <a:gd name="connsiteX431" fmla="*/ 10859334 w 11346020"/>
              <a:gd name="connsiteY431" fmla="*/ 2604450 h 4683863"/>
              <a:gd name="connsiteX432" fmla="*/ 10859346 w 11346020"/>
              <a:gd name="connsiteY432" fmla="*/ 2604450 h 4683863"/>
              <a:gd name="connsiteX433" fmla="*/ 10859334 w 11346020"/>
              <a:gd name="connsiteY433" fmla="*/ 2604447 h 4683863"/>
              <a:gd name="connsiteX434" fmla="*/ 10908430 w 11346020"/>
              <a:gd name="connsiteY434" fmla="*/ 2591800 h 4683863"/>
              <a:gd name="connsiteX435" fmla="*/ 10644967 w 11346020"/>
              <a:gd name="connsiteY435" fmla="*/ 2553407 h 4683863"/>
              <a:gd name="connsiteX436" fmla="*/ 10834457 w 11346020"/>
              <a:gd name="connsiteY436" fmla="*/ 2580357 h 4683863"/>
              <a:gd name="connsiteX437" fmla="*/ 10847089 w 11346020"/>
              <a:gd name="connsiteY437" fmla="*/ 2607305 h 4683863"/>
              <a:gd name="connsiteX438" fmla="*/ 10847089 w 11346020"/>
              <a:gd name="connsiteY438" fmla="*/ 2607309 h 4683863"/>
              <a:gd name="connsiteX439" fmla="*/ 10821825 w 11346020"/>
              <a:gd name="connsiteY439" fmla="*/ 2620782 h 4683863"/>
              <a:gd name="connsiteX440" fmla="*/ 10644967 w 11346020"/>
              <a:gd name="connsiteY440" fmla="*/ 2553411 h 4683863"/>
              <a:gd name="connsiteX441" fmla="*/ 10644979 w 11346020"/>
              <a:gd name="connsiteY441" fmla="*/ 2553415 h 4683863"/>
              <a:gd name="connsiteX442" fmla="*/ 1975653 w 11346020"/>
              <a:gd name="connsiteY442" fmla="*/ 2012302 h 4683863"/>
              <a:gd name="connsiteX443" fmla="*/ 1917997 w 11346020"/>
              <a:gd name="connsiteY443" fmla="*/ 2017703 h 4683863"/>
              <a:gd name="connsiteX444" fmla="*/ 1822441 w 11346020"/>
              <a:gd name="connsiteY444" fmla="*/ 2032620 h 4683863"/>
              <a:gd name="connsiteX445" fmla="*/ 1763515 w 11346020"/>
              <a:gd name="connsiteY445" fmla="*/ 2045351 h 4683863"/>
              <a:gd name="connsiteX446" fmla="*/ 1755345 w 11346020"/>
              <a:gd name="connsiteY446" fmla="*/ 2047554 h 4683863"/>
              <a:gd name="connsiteX447" fmla="*/ 1824436 w 11346020"/>
              <a:gd name="connsiteY447" fmla="*/ 2037191 h 4683863"/>
              <a:gd name="connsiteX448" fmla="*/ 1939107 w 11346020"/>
              <a:gd name="connsiteY448" fmla="*/ 2024662 h 4683863"/>
              <a:gd name="connsiteX449" fmla="*/ 2094844 w 11346020"/>
              <a:gd name="connsiteY449" fmla="*/ 2002662 h 4683863"/>
              <a:gd name="connsiteX450" fmla="*/ 2013556 w 11346020"/>
              <a:gd name="connsiteY450" fmla="*/ 2008752 h 4683863"/>
              <a:gd name="connsiteX451" fmla="*/ 1980811 w 11346020"/>
              <a:gd name="connsiteY451" fmla="*/ 2011819 h 4683863"/>
              <a:gd name="connsiteX452" fmla="*/ 2002015 w 11346020"/>
              <a:gd name="connsiteY452" fmla="*/ 2012331 h 4683863"/>
              <a:gd name="connsiteX453" fmla="*/ 2066515 w 11346020"/>
              <a:gd name="connsiteY453" fmla="*/ 2049923 h 4683863"/>
              <a:gd name="connsiteX454" fmla="*/ 2082442 w 11346020"/>
              <a:gd name="connsiteY454" fmla="*/ 2041968 h 4683863"/>
              <a:gd name="connsiteX455" fmla="*/ 2079259 w 11346020"/>
              <a:gd name="connsiteY455" fmla="*/ 2024467 h 4683863"/>
              <a:gd name="connsiteX456" fmla="*/ 2079259 w 11346020"/>
              <a:gd name="connsiteY456" fmla="*/ 2024463 h 4683863"/>
              <a:gd name="connsiteX457" fmla="*/ 2317681 w 11346020"/>
              <a:gd name="connsiteY457" fmla="*/ 1983468 h 4683863"/>
              <a:gd name="connsiteX458" fmla="*/ 2204672 w 11346020"/>
              <a:gd name="connsiteY458" fmla="*/ 1994432 h 4683863"/>
              <a:gd name="connsiteX459" fmla="*/ 2131562 w 11346020"/>
              <a:gd name="connsiteY459" fmla="*/ 1999910 h 4683863"/>
              <a:gd name="connsiteX460" fmla="*/ 2149332 w 11346020"/>
              <a:gd name="connsiteY460" fmla="*/ 2011932 h 4683863"/>
              <a:gd name="connsiteX461" fmla="*/ 2206666 w 11346020"/>
              <a:gd name="connsiteY461" fmla="*/ 2024463 h 4683863"/>
              <a:gd name="connsiteX462" fmla="*/ 2257632 w 11346020"/>
              <a:gd name="connsiteY462" fmla="*/ 2011735 h 4683863"/>
              <a:gd name="connsiteX463" fmla="*/ 2296053 w 11346020"/>
              <a:gd name="connsiteY463" fmla="*/ 1989657 h 4683863"/>
              <a:gd name="connsiteX464" fmla="*/ 6632903 w 11346020"/>
              <a:gd name="connsiteY464" fmla="*/ 680241 h 4683863"/>
              <a:gd name="connsiteX465" fmla="*/ 6097790 w 11346020"/>
              <a:gd name="connsiteY465" fmla="*/ 692969 h 4683863"/>
              <a:gd name="connsiteX466" fmla="*/ 5792008 w 11346020"/>
              <a:gd name="connsiteY466" fmla="*/ 705697 h 4683863"/>
              <a:gd name="connsiteX467" fmla="*/ 5295104 w 11346020"/>
              <a:gd name="connsiteY467" fmla="*/ 743885 h 4683863"/>
              <a:gd name="connsiteX468" fmla="*/ 5281160 w 11346020"/>
              <a:gd name="connsiteY468" fmla="*/ 744660 h 4683863"/>
              <a:gd name="connsiteX469" fmla="*/ 5287997 w 11346020"/>
              <a:gd name="connsiteY469" fmla="*/ 759689 h 4683863"/>
              <a:gd name="connsiteX470" fmla="*/ 5294617 w 11346020"/>
              <a:gd name="connsiteY470" fmla="*/ 865517 h 4683863"/>
              <a:gd name="connsiteX471" fmla="*/ 5421322 w 11346020"/>
              <a:gd name="connsiteY471" fmla="*/ 846514 h 4683863"/>
              <a:gd name="connsiteX472" fmla="*/ 5919415 w 11346020"/>
              <a:gd name="connsiteY472" fmla="*/ 782069 h 4683863"/>
              <a:gd name="connsiteX473" fmla="*/ 6072310 w 11346020"/>
              <a:gd name="connsiteY473" fmla="*/ 756613 h 4683863"/>
              <a:gd name="connsiteX474" fmla="*/ 6161495 w 11346020"/>
              <a:gd name="connsiteY474" fmla="*/ 794802 h 4683863"/>
              <a:gd name="connsiteX475" fmla="*/ 6177422 w 11346020"/>
              <a:gd name="connsiteY475" fmla="*/ 786846 h 4683863"/>
              <a:gd name="connsiteX476" fmla="*/ 6174239 w 11346020"/>
              <a:gd name="connsiteY476" fmla="*/ 769345 h 4683863"/>
              <a:gd name="connsiteX477" fmla="*/ 6174239 w 11346020"/>
              <a:gd name="connsiteY477" fmla="*/ 769341 h 4683863"/>
              <a:gd name="connsiteX478" fmla="*/ 6225200 w 11346020"/>
              <a:gd name="connsiteY478" fmla="*/ 743881 h 4683863"/>
              <a:gd name="connsiteX479" fmla="*/ 6301646 w 11346020"/>
              <a:gd name="connsiteY479" fmla="*/ 769341 h 4683863"/>
              <a:gd name="connsiteX480" fmla="*/ 6352612 w 11346020"/>
              <a:gd name="connsiteY480" fmla="*/ 756613 h 4683863"/>
              <a:gd name="connsiteX481" fmla="*/ 6518243 w 11346020"/>
              <a:gd name="connsiteY481" fmla="*/ 718426 h 4683863"/>
              <a:gd name="connsiteX482" fmla="*/ 9010145 w 11346020"/>
              <a:gd name="connsiteY482" fmla="*/ 184 h 4683863"/>
              <a:gd name="connsiteX483" fmla="*/ 9101521 w 11346020"/>
              <a:gd name="connsiteY483" fmla="*/ 16296 h 4683863"/>
              <a:gd name="connsiteX484" fmla="*/ 9254411 w 11346020"/>
              <a:gd name="connsiteY484" fmla="*/ 16296 h 4683863"/>
              <a:gd name="connsiteX485" fmla="*/ 9356340 w 11346020"/>
              <a:gd name="connsiteY485" fmla="*/ 3565 h 4683863"/>
              <a:gd name="connsiteX486" fmla="*/ 9789536 w 11346020"/>
              <a:gd name="connsiteY486" fmla="*/ 3565 h 4683863"/>
              <a:gd name="connsiteX487" fmla="*/ 10311918 w 11346020"/>
              <a:gd name="connsiteY487" fmla="*/ 54481 h 4683863"/>
              <a:gd name="connsiteX488" fmla="*/ 10528515 w 11346020"/>
              <a:gd name="connsiteY488" fmla="*/ 79941 h 4683863"/>
              <a:gd name="connsiteX489" fmla="*/ 10553998 w 11346020"/>
              <a:gd name="connsiteY489" fmla="*/ 105400 h 4683863"/>
              <a:gd name="connsiteX490" fmla="*/ 10579481 w 11346020"/>
              <a:gd name="connsiteY490" fmla="*/ 359985 h 4683863"/>
              <a:gd name="connsiteX491" fmla="*/ 10579481 w 11346020"/>
              <a:gd name="connsiteY491" fmla="*/ 359989 h 4683863"/>
              <a:gd name="connsiteX492" fmla="*/ 10528515 w 11346020"/>
              <a:gd name="connsiteY492" fmla="*/ 410904 h 4683863"/>
              <a:gd name="connsiteX493" fmla="*/ 10388364 w 11346020"/>
              <a:gd name="connsiteY493" fmla="*/ 436364 h 4683863"/>
              <a:gd name="connsiteX494" fmla="*/ 10324662 w 11346020"/>
              <a:gd name="connsiteY494" fmla="*/ 461820 h 4683863"/>
              <a:gd name="connsiteX495" fmla="*/ 10375624 w 11346020"/>
              <a:gd name="connsiteY495" fmla="*/ 487277 h 4683863"/>
              <a:gd name="connsiteX496" fmla="*/ 10401107 w 11346020"/>
              <a:gd name="connsiteY496" fmla="*/ 474548 h 4683863"/>
              <a:gd name="connsiteX497" fmla="*/ 10562358 w 11346020"/>
              <a:gd name="connsiteY497" fmla="*/ 542571 h 4683863"/>
              <a:gd name="connsiteX498" fmla="*/ 10562358 w 11346020"/>
              <a:gd name="connsiteY498" fmla="*/ 542575 h 4683863"/>
              <a:gd name="connsiteX499" fmla="*/ 10553998 w 11346020"/>
              <a:gd name="connsiteY499" fmla="*/ 627304 h 4683863"/>
              <a:gd name="connsiteX500" fmla="*/ 10553998 w 11346020"/>
              <a:gd name="connsiteY500" fmla="*/ 661493 h 4683863"/>
              <a:gd name="connsiteX501" fmla="*/ 10756619 w 11346020"/>
              <a:gd name="connsiteY501" fmla="*/ 681610 h 4683863"/>
              <a:gd name="connsiteX502" fmla="*/ 10973215 w 11346020"/>
              <a:gd name="connsiteY502" fmla="*/ 707070 h 4683863"/>
              <a:gd name="connsiteX503" fmla="*/ 10998699 w 11346020"/>
              <a:gd name="connsiteY503" fmla="*/ 732529 h 4683863"/>
              <a:gd name="connsiteX504" fmla="*/ 11024181 w 11346020"/>
              <a:gd name="connsiteY504" fmla="*/ 987114 h 4683863"/>
              <a:gd name="connsiteX505" fmla="*/ 11024181 w 11346020"/>
              <a:gd name="connsiteY505" fmla="*/ 987118 h 4683863"/>
              <a:gd name="connsiteX506" fmla="*/ 10973215 w 11346020"/>
              <a:gd name="connsiteY506" fmla="*/ 1038033 h 4683863"/>
              <a:gd name="connsiteX507" fmla="*/ 10833064 w 11346020"/>
              <a:gd name="connsiteY507" fmla="*/ 1063494 h 4683863"/>
              <a:gd name="connsiteX508" fmla="*/ 10769362 w 11346020"/>
              <a:gd name="connsiteY508" fmla="*/ 1088949 h 4683863"/>
              <a:gd name="connsiteX509" fmla="*/ 10820324 w 11346020"/>
              <a:gd name="connsiteY509" fmla="*/ 1114406 h 4683863"/>
              <a:gd name="connsiteX510" fmla="*/ 10845807 w 11346020"/>
              <a:gd name="connsiteY510" fmla="*/ 1101678 h 4683863"/>
              <a:gd name="connsiteX511" fmla="*/ 11007059 w 11346020"/>
              <a:gd name="connsiteY511" fmla="*/ 1169700 h 4683863"/>
              <a:gd name="connsiteX512" fmla="*/ 11007059 w 11346020"/>
              <a:gd name="connsiteY512" fmla="*/ 1169705 h 4683863"/>
              <a:gd name="connsiteX513" fmla="*/ 10998699 w 11346020"/>
              <a:gd name="connsiteY513" fmla="*/ 1254433 h 4683863"/>
              <a:gd name="connsiteX514" fmla="*/ 10998699 w 11346020"/>
              <a:gd name="connsiteY514" fmla="*/ 1381721 h 4683863"/>
              <a:gd name="connsiteX515" fmla="*/ 10998699 w 11346020"/>
              <a:gd name="connsiteY515" fmla="*/ 1381725 h 4683863"/>
              <a:gd name="connsiteX516" fmla="*/ 10947736 w 11346020"/>
              <a:gd name="connsiteY516" fmla="*/ 1445373 h 4683863"/>
              <a:gd name="connsiteX517" fmla="*/ 10909514 w 11346020"/>
              <a:gd name="connsiteY517" fmla="*/ 1442190 h 4683863"/>
              <a:gd name="connsiteX518" fmla="*/ 10875053 w 11346020"/>
              <a:gd name="connsiteY518" fmla="*/ 1456535 h 4683863"/>
              <a:gd name="connsiteX519" fmla="*/ 10874879 w 11346020"/>
              <a:gd name="connsiteY519" fmla="*/ 1461684 h 4683863"/>
              <a:gd name="connsiteX520" fmla="*/ 10884030 w 11346020"/>
              <a:gd name="connsiteY520" fmla="*/ 1470826 h 4683863"/>
              <a:gd name="connsiteX521" fmla="*/ 10998699 w 11346020"/>
              <a:gd name="connsiteY521" fmla="*/ 1483557 h 4683863"/>
              <a:gd name="connsiteX522" fmla="*/ 11013031 w 11346020"/>
              <a:gd name="connsiteY522" fmla="*/ 1529701 h 4683863"/>
              <a:gd name="connsiteX523" fmla="*/ 11013031 w 11346020"/>
              <a:gd name="connsiteY523" fmla="*/ 1529705 h 4683863"/>
              <a:gd name="connsiteX524" fmla="*/ 10998699 w 11346020"/>
              <a:gd name="connsiteY524" fmla="*/ 1585394 h 4683863"/>
              <a:gd name="connsiteX525" fmla="*/ 10998699 w 11346020"/>
              <a:gd name="connsiteY525" fmla="*/ 1712682 h 4683863"/>
              <a:gd name="connsiteX526" fmla="*/ 10998699 w 11346020"/>
              <a:gd name="connsiteY526" fmla="*/ 1712686 h 4683863"/>
              <a:gd name="connsiteX527" fmla="*/ 10934993 w 11346020"/>
              <a:gd name="connsiteY527" fmla="*/ 1814521 h 4683863"/>
              <a:gd name="connsiteX528" fmla="*/ 10896774 w 11346020"/>
              <a:gd name="connsiteY528" fmla="*/ 1839978 h 4683863"/>
              <a:gd name="connsiteX529" fmla="*/ 10973215 w 11346020"/>
              <a:gd name="connsiteY529" fmla="*/ 1852705 h 4683863"/>
              <a:gd name="connsiteX530" fmla="*/ 11138850 w 11346020"/>
              <a:gd name="connsiteY530" fmla="*/ 1878162 h 4683863"/>
              <a:gd name="connsiteX531" fmla="*/ 11291741 w 11346020"/>
              <a:gd name="connsiteY531" fmla="*/ 1890893 h 4683863"/>
              <a:gd name="connsiteX532" fmla="*/ 11342707 w 11346020"/>
              <a:gd name="connsiteY532" fmla="*/ 1979997 h 4683863"/>
              <a:gd name="connsiteX533" fmla="*/ 11342707 w 11346020"/>
              <a:gd name="connsiteY533" fmla="*/ 1980001 h 4683863"/>
              <a:gd name="connsiteX534" fmla="*/ 11317224 w 11346020"/>
              <a:gd name="connsiteY534" fmla="*/ 2158213 h 4683863"/>
              <a:gd name="connsiteX535" fmla="*/ 11228038 w 11346020"/>
              <a:gd name="connsiteY535" fmla="*/ 2247317 h 4683863"/>
              <a:gd name="connsiteX536" fmla="*/ 10960476 w 11346020"/>
              <a:gd name="connsiteY536" fmla="*/ 2272776 h 4683863"/>
              <a:gd name="connsiteX537" fmla="*/ 10858548 w 11346020"/>
              <a:gd name="connsiteY537" fmla="*/ 2260045 h 4683863"/>
              <a:gd name="connsiteX538" fmla="*/ 10858551 w 11346020"/>
              <a:gd name="connsiteY538" fmla="*/ 2260041 h 4683863"/>
              <a:gd name="connsiteX539" fmla="*/ 10858548 w 11346020"/>
              <a:gd name="connsiteY539" fmla="*/ 2260041 h 4683863"/>
              <a:gd name="connsiteX540" fmla="*/ 10880843 w 11346020"/>
              <a:gd name="connsiteY540" fmla="*/ 2239358 h 4683863"/>
              <a:gd name="connsiteX541" fmla="*/ 10884030 w 11346020"/>
              <a:gd name="connsiteY541" fmla="*/ 2209129 h 4683863"/>
              <a:gd name="connsiteX542" fmla="*/ 10877661 w 11346020"/>
              <a:gd name="connsiteY542" fmla="*/ 2193218 h 4683863"/>
              <a:gd name="connsiteX543" fmla="*/ 10871287 w 11346020"/>
              <a:gd name="connsiteY543" fmla="*/ 2196401 h 4683863"/>
              <a:gd name="connsiteX544" fmla="*/ 10820324 w 11346020"/>
              <a:gd name="connsiteY544" fmla="*/ 2247317 h 4683863"/>
              <a:gd name="connsiteX545" fmla="*/ 10807585 w 11346020"/>
              <a:gd name="connsiteY545" fmla="*/ 2272776 h 4683863"/>
              <a:gd name="connsiteX546" fmla="*/ 10782102 w 11346020"/>
              <a:gd name="connsiteY546" fmla="*/ 2247317 h 4683863"/>
              <a:gd name="connsiteX547" fmla="*/ 10718397 w 11346020"/>
              <a:gd name="connsiteY547" fmla="*/ 2196401 h 4683863"/>
              <a:gd name="connsiteX548" fmla="*/ 10700876 w 11346020"/>
              <a:gd name="connsiteY548" fmla="*/ 2199583 h 4683863"/>
              <a:gd name="connsiteX549" fmla="*/ 10692917 w 11346020"/>
              <a:gd name="connsiteY549" fmla="*/ 2221857 h 4683863"/>
              <a:gd name="connsiteX550" fmla="*/ 10718397 w 11346020"/>
              <a:gd name="connsiteY550" fmla="*/ 2247313 h 4683863"/>
              <a:gd name="connsiteX551" fmla="*/ 10769359 w 11346020"/>
              <a:gd name="connsiteY551" fmla="*/ 2260041 h 4683863"/>
              <a:gd name="connsiteX552" fmla="*/ 10769351 w 11346020"/>
              <a:gd name="connsiteY552" fmla="*/ 2260041 h 4683863"/>
              <a:gd name="connsiteX553" fmla="*/ 10769359 w 11346020"/>
              <a:gd name="connsiteY553" fmla="*/ 2260045 h 4683863"/>
              <a:gd name="connsiteX554" fmla="*/ 10590985 w 11346020"/>
              <a:gd name="connsiteY554" fmla="*/ 2260045 h 4683863"/>
              <a:gd name="connsiteX555" fmla="*/ 10590992 w 11346020"/>
              <a:gd name="connsiteY555" fmla="*/ 2260041 h 4683863"/>
              <a:gd name="connsiteX556" fmla="*/ 10590985 w 11346020"/>
              <a:gd name="connsiteY556" fmla="*/ 2260041 h 4683863"/>
              <a:gd name="connsiteX557" fmla="*/ 10667434 w 11346020"/>
              <a:gd name="connsiteY557" fmla="*/ 2215490 h 4683863"/>
              <a:gd name="connsiteX558" fmla="*/ 10667434 w 11346020"/>
              <a:gd name="connsiteY558" fmla="*/ 2132753 h 4683863"/>
              <a:gd name="connsiteX559" fmla="*/ 10651508 w 11346020"/>
              <a:gd name="connsiteY559" fmla="*/ 2186852 h 4683863"/>
              <a:gd name="connsiteX560" fmla="*/ 10616468 w 11346020"/>
              <a:gd name="connsiteY560" fmla="*/ 2221857 h 4683863"/>
              <a:gd name="connsiteX561" fmla="*/ 10616468 w 11346020"/>
              <a:gd name="connsiteY561" fmla="*/ 2221853 h 4683863"/>
              <a:gd name="connsiteX562" fmla="*/ 10616468 w 11346020"/>
              <a:gd name="connsiteY562" fmla="*/ 2132753 h 4683863"/>
              <a:gd name="connsiteX563" fmla="*/ 10514540 w 11346020"/>
              <a:gd name="connsiteY563" fmla="*/ 2107293 h 4683863"/>
              <a:gd name="connsiteX564" fmla="*/ 10514540 w 11346020"/>
              <a:gd name="connsiteY564" fmla="*/ 2158209 h 4683863"/>
              <a:gd name="connsiteX565" fmla="*/ 10514540 w 11346020"/>
              <a:gd name="connsiteY565" fmla="*/ 2193214 h 4683863"/>
              <a:gd name="connsiteX566" fmla="*/ 10514540 w 11346020"/>
              <a:gd name="connsiteY566" fmla="*/ 2193218 h 4683863"/>
              <a:gd name="connsiteX567" fmla="*/ 10476317 w 11346020"/>
              <a:gd name="connsiteY567" fmla="*/ 2209129 h 4683863"/>
              <a:gd name="connsiteX568" fmla="*/ 10450833 w 11346020"/>
              <a:gd name="connsiteY568" fmla="*/ 2234588 h 4683863"/>
              <a:gd name="connsiteX569" fmla="*/ 10387132 w 11346020"/>
              <a:gd name="connsiteY569" fmla="*/ 2260045 h 4683863"/>
              <a:gd name="connsiteX570" fmla="*/ 10356872 w 11346020"/>
              <a:gd name="connsiteY570" fmla="*/ 2221857 h 4683863"/>
              <a:gd name="connsiteX571" fmla="*/ 10356872 w 11346020"/>
              <a:gd name="connsiteY571" fmla="*/ 2221853 h 4683863"/>
              <a:gd name="connsiteX572" fmla="*/ 10374389 w 11346020"/>
              <a:gd name="connsiteY572" fmla="*/ 2183665 h 4683863"/>
              <a:gd name="connsiteX573" fmla="*/ 10388721 w 11346020"/>
              <a:gd name="connsiteY573" fmla="*/ 2170937 h 4683863"/>
              <a:gd name="connsiteX574" fmla="*/ 10374389 w 11346020"/>
              <a:gd name="connsiteY574" fmla="*/ 2158213 h 4683863"/>
              <a:gd name="connsiteX575" fmla="*/ 10310682 w 11346020"/>
              <a:gd name="connsiteY575" fmla="*/ 2094565 h 4683863"/>
              <a:gd name="connsiteX576" fmla="*/ 10310682 w 11346020"/>
              <a:gd name="connsiteY576" fmla="*/ 2196396 h 4683863"/>
              <a:gd name="connsiteX577" fmla="*/ 10318645 w 11346020"/>
              <a:gd name="connsiteY577" fmla="*/ 2220264 h 4683863"/>
              <a:gd name="connsiteX578" fmla="*/ 10318645 w 11346020"/>
              <a:gd name="connsiteY578" fmla="*/ 2220267 h 4683863"/>
              <a:gd name="connsiteX579" fmla="*/ 10300825 w 11346020"/>
              <a:gd name="connsiteY579" fmla="*/ 2232594 h 4683863"/>
              <a:gd name="connsiteX580" fmla="*/ 10301978 w 11346020"/>
              <a:gd name="connsiteY580" fmla="*/ 2239207 h 4683863"/>
              <a:gd name="connsiteX581" fmla="*/ 10296422 w 11346020"/>
              <a:gd name="connsiteY581" fmla="*/ 2239388 h 4683863"/>
              <a:gd name="connsiteX582" fmla="*/ 10288386 w 11346020"/>
              <a:gd name="connsiteY582" fmla="*/ 2264821 h 4683863"/>
              <a:gd name="connsiteX583" fmla="*/ 10259716 w 11346020"/>
              <a:gd name="connsiteY583" fmla="*/ 2285505 h 4683863"/>
              <a:gd name="connsiteX584" fmla="*/ 10191633 w 11346020"/>
              <a:gd name="connsiteY584" fmla="*/ 2288090 h 4683863"/>
              <a:gd name="connsiteX585" fmla="*/ 10159609 w 11346020"/>
              <a:gd name="connsiteY585" fmla="*/ 2276630 h 4683863"/>
              <a:gd name="connsiteX586" fmla="*/ 10159609 w 11346020"/>
              <a:gd name="connsiteY586" fmla="*/ 2309587 h 4683863"/>
              <a:gd name="connsiteX587" fmla="*/ 10159609 w 11346020"/>
              <a:gd name="connsiteY587" fmla="*/ 2309590 h 4683863"/>
              <a:gd name="connsiteX588" fmla="*/ 10095903 w 11346020"/>
              <a:gd name="connsiteY588" fmla="*/ 2411426 h 4683863"/>
              <a:gd name="connsiteX589" fmla="*/ 10069754 w 11346020"/>
              <a:gd name="connsiteY589" fmla="*/ 2428843 h 4683863"/>
              <a:gd name="connsiteX590" fmla="*/ 10071785 w 11346020"/>
              <a:gd name="connsiteY590" fmla="*/ 2429068 h 4683863"/>
              <a:gd name="connsiteX591" fmla="*/ 10100452 w 11346020"/>
              <a:gd name="connsiteY591" fmla="*/ 2441798 h 4683863"/>
              <a:gd name="connsiteX592" fmla="*/ 10102365 w 11346020"/>
              <a:gd name="connsiteY592" fmla="*/ 2444322 h 4683863"/>
              <a:gd name="connsiteX593" fmla="*/ 10134125 w 11346020"/>
              <a:gd name="connsiteY593" fmla="*/ 2449610 h 4683863"/>
              <a:gd name="connsiteX594" fmla="*/ 10299760 w 11346020"/>
              <a:gd name="connsiteY594" fmla="*/ 2475066 h 4683863"/>
              <a:gd name="connsiteX595" fmla="*/ 10452651 w 11346020"/>
              <a:gd name="connsiteY595" fmla="*/ 2487798 h 4683863"/>
              <a:gd name="connsiteX596" fmla="*/ 10506403 w 11346020"/>
              <a:gd name="connsiteY596" fmla="*/ 2543290 h 4683863"/>
              <a:gd name="connsiteX597" fmla="*/ 10505962 w 11346020"/>
              <a:gd name="connsiteY597" fmla="*/ 2548616 h 4683863"/>
              <a:gd name="connsiteX598" fmla="*/ 10527283 w 11346020"/>
              <a:gd name="connsiteY598" fmla="*/ 2552816 h 4683863"/>
              <a:gd name="connsiteX599" fmla="*/ 10578244 w 11346020"/>
              <a:gd name="connsiteY599" fmla="*/ 2552816 h 4683863"/>
              <a:gd name="connsiteX600" fmla="*/ 10616468 w 11346020"/>
              <a:gd name="connsiteY600" fmla="*/ 2565545 h 4683863"/>
              <a:gd name="connsiteX601" fmla="*/ 10616468 w 11346020"/>
              <a:gd name="connsiteY601" fmla="*/ 2565549 h 4683863"/>
              <a:gd name="connsiteX602" fmla="*/ 10578244 w 11346020"/>
              <a:gd name="connsiteY602" fmla="*/ 2591008 h 4683863"/>
              <a:gd name="connsiteX603" fmla="*/ 10507372 w 11346020"/>
              <a:gd name="connsiteY603" fmla="*/ 2574301 h 4683863"/>
              <a:gd name="connsiteX604" fmla="*/ 10503842 w 11346020"/>
              <a:gd name="connsiteY604" fmla="*/ 2574190 h 4683863"/>
              <a:gd name="connsiteX605" fmla="*/ 10503617 w 11346020"/>
              <a:gd name="connsiteY605" fmla="*/ 2576902 h 4683863"/>
              <a:gd name="connsiteX606" fmla="*/ 10503617 w 11346020"/>
              <a:gd name="connsiteY606" fmla="*/ 2576907 h 4683863"/>
              <a:gd name="connsiteX607" fmla="*/ 10491701 w 11346020"/>
              <a:gd name="connsiteY607" fmla="*/ 2621972 h 4683863"/>
              <a:gd name="connsiteX608" fmla="*/ 10494148 w 11346020"/>
              <a:gd name="connsiteY608" fmla="*/ 2635636 h 4683863"/>
              <a:gd name="connsiteX609" fmla="*/ 10487149 w 11346020"/>
              <a:gd name="connsiteY609" fmla="*/ 2639189 h 4683863"/>
              <a:gd name="connsiteX610" fmla="*/ 10481320 w 11346020"/>
              <a:gd name="connsiteY610" fmla="*/ 2661238 h 4683863"/>
              <a:gd name="connsiteX611" fmla="*/ 10478134 w 11346020"/>
              <a:gd name="connsiteY611" fmla="*/ 2755118 h 4683863"/>
              <a:gd name="connsiteX612" fmla="*/ 10388948 w 11346020"/>
              <a:gd name="connsiteY612" fmla="*/ 2844222 h 4683863"/>
              <a:gd name="connsiteX613" fmla="*/ 10367409 w 11346020"/>
              <a:gd name="connsiteY613" fmla="*/ 2845503 h 4683863"/>
              <a:gd name="connsiteX614" fmla="*/ 10393494 w 11346020"/>
              <a:gd name="connsiteY614" fmla="*/ 2849134 h 4683863"/>
              <a:gd name="connsiteX615" fmla="*/ 10444460 w 11346020"/>
              <a:gd name="connsiteY615" fmla="*/ 2938238 h 4683863"/>
              <a:gd name="connsiteX616" fmla="*/ 10444460 w 11346020"/>
              <a:gd name="connsiteY616" fmla="*/ 2938242 h 4683863"/>
              <a:gd name="connsiteX617" fmla="*/ 10418977 w 11346020"/>
              <a:gd name="connsiteY617" fmla="*/ 3116454 h 4683863"/>
              <a:gd name="connsiteX618" fmla="*/ 10329793 w 11346020"/>
              <a:gd name="connsiteY618" fmla="*/ 3205558 h 4683863"/>
              <a:gd name="connsiteX619" fmla="*/ 10196009 w 11346020"/>
              <a:gd name="connsiteY619" fmla="*/ 3218287 h 4683863"/>
              <a:gd name="connsiteX620" fmla="*/ 10177564 w 11346020"/>
              <a:gd name="connsiteY620" fmla="*/ 3220700 h 4683863"/>
              <a:gd name="connsiteX621" fmla="*/ 10185617 w 11346020"/>
              <a:gd name="connsiteY621" fmla="*/ 3227892 h 4683863"/>
              <a:gd name="connsiteX622" fmla="*/ 10185613 w 11346020"/>
              <a:gd name="connsiteY622" fmla="*/ 3227892 h 4683863"/>
              <a:gd name="connsiteX623" fmla="*/ 10185617 w 11346020"/>
              <a:gd name="connsiteY623" fmla="*/ 3227896 h 4683863"/>
              <a:gd name="connsiteX624" fmla="*/ 10141888 w 11346020"/>
              <a:gd name="connsiteY624" fmla="*/ 3234946 h 4683863"/>
              <a:gd name="connsiteX625" fmla="*/ 10115273 w 11346020"/>
              <a:gd name="connsiteY625" fmla="*/ 3227863 h 4683863"/>
              <a:gd name="connsiteX626" fmla="*/ 10062229 w 11346020"/>
              <a:gd name="connsiteY626" fmla="*/ 3231017 h 4683863"/>
              <a:gd name="connsiteX627" fmla="*/ 9960301 w 11346020"/>
              <a:gd name="connsiteY627" fmla="*/ 3218286 h 4683863"/>
              <a:gd name="connsiteX628" fmla="*/ 9960305 w 11346020"/>
              <a:gd name="connsiteY628" fmla="*/ 3218282 h 4683863"/>
              <a:gd name="connsiteX629" fmla="*/ 9960301 w 11346020"/>
              <a:gd name="connsiteY629" fmla="*/ 3218282 h 4683863"/>
              <a:gd name="connsiteX630" fmla="*/ 9964365 w 11346020"/>
              <a:gd name="connsiteY630" fmla="*/ 3211124 h 4683863"/>
              <a:gd name="connsiteX631" fmla="*/ 9942666 w 11346020"/>
              <a:gd name="connsiteY631" fmla="*/ 3203371 h 4683863"/>
              <a:gd name="connsiteX632" fmla="*/ 9922279 w 11346020"/>
              <a:gd name="connsiteY632" fmla="*/ 3199041 h 4683863"/>
              <a:gd name="connsiteX633" fmla="*/ 9922078 w 11346020"/>
              <a:gd name="connsiteY633" fmla="*/ 3205558 h 4683863"/>
              <a:gd name="connsiteX634" fmla="*/ 9909339 w 11346020"/>
              <a:gd name="connsiteY634" fmla="*/ 3231017 h 4683863"/>
              <a:gd name="connsiteX635" fmla="*/ 9883855 w 11346020"/>
              <a:gd name="connsiteY635" fmla="*/ 3205558 h 4683863"/>
              <a:gd name="connsiteX636" fmla="*/ 9878191 w 11346020"/>
              <a:gd name="connsiteY636" fmla="*/ 3187616 h 4683863"/>
              <a:gd name="connsiteX637" fmla="*/ 9853052 w 11346020"/>
              <a:gd name="connsiteY637" fmla="*/ 3179792 h 4683863"/>
              <a:gd name="connsiteX638" fmla="*/ 9809421 w 11346020"/>
              <a:gd name="connsiteY638" fmla="*/ 3152530 h 4683863"/>
              <a:gd name="connsiteX639" fmla="*/ 9802630 w 11346020"/>
              <a:gd name="connsiteY639" fmla="*/ 3157824 h 4683863"/>
              <a:gd name="connsiteX640" fmla="*/ 9794670 w 11346020"/>
              <a:gd name="connsiteY640" fmla="*/ 3180098 h 4683863"/>
              <a:gd name="connsiteX641" fmla="*/ 9820150 w 11346020"/>
              <a:gd name="connsiteY641" fmla="*/ 3205554 h 4683863"/>
              <a:gd name="connsiteX642" fmla="*/ 9871112 w 11346020"/>
              <a:gd name="connsiteY642" fmla="*/ 3218282 h 4683863"/>
              <a:gd name="connsiteX643" fmla="*/ 9871104 w 11346020"/>
              <a:gd name="connsiteY643" fmla="*/ 3218282 h 4683863"/>
              <a:gd name="connsiteX644" fmla="*/ 9871112 w 11346020"/>
              <a:gd name="connsiteY644" fmla="*/ 3218286 h 4683863"/>
              <a:gd name="connsiteX645" fmla="*/ 9692738 w 11346020"/>
              <a:gd name="connsiteY645" fmla="*/ 3218286 h 4683863"/>
              <a:gd name="connsiteX646" fmla="*/ 9692746 w 11346020"/>
              <a:gd name="connsiteY646" fmla="*/ 3218282 h 4683863"/>
              <a:gd name="connsiteX647" fmla="*/ 9692738 w 11346020"/>
              <a:gd name="connsiteY647" fmla="*/ 3218282 h 4683863"/>
              <a:gd name="connsiteX648" fmla="*/ 9740517 w 11346020"/>
              <a:gd name="connsiteY648" fmla="*/ 3201975 h 4683863"/>
              <a:gd name="connsiteX649" fmla="*/ 9749977 w 11346020"/>
              <a:gd name="connsiteY649" fmla="*/ 3192656 h 4683863"/>
              <a:gd name="connsiteX650" fmla="*/ 9739155 w 11346020"/>
              <a:gd name="connsiteY650" fmla="*/ 3187914 h 4683863"/>
              <a:gd name="connsiteX651" fmla="*/ 9592632 w 11346020"/>
              <a:gd name="connsiteY651" fmla="*/ 3168820 h 4683863"/>
              <a:gd name="connsiteX652" fmla="*/ 9576763 w 11346020"/>
              <a:gd name="connsiteY652" fmla="*/ 3168319 h 4683863"/>
              <a:gd name="connsiteX653" fmla="*/ 9560551 w 11346020"/>
              <a:gd name="connsiteY653" fmla="*/ 3180098 h 4683863"/>
              <a:gd name="connsiteX654" fmla="*/ 9552587 w 11346020"/>
              <a:gd name="connsiteY654" fmla="*/ 3192829 h 4683863"/>
              <a:gd name="connsiteX655" fmla="*/ 9488884 w 11346020"/>
              <a:gd name="connsiteY655" fmla="*/ 3218286 h 4683863"/>
              <a:gd name="connsiteX656" fmla="*/ 9458625 w 11346020"/>
              <a:gd name="connsiteY656" fmla="*/ 3180098 h 4683863"/>
              <a:gd name="connsiteX657" fmla="*/ 9458625 w 11346020"/>
              <a:gd name="connsiteY657" fmla="*/ 3180094 h 4683863"/>
              <a:gd name="connsiteX658" fmla="*/ 9458425 w 11346020"/>
              <a:gd name="connsiteY658" fmla="*/ 3161001 h 4683863"/>
              <a:gd name="connsiteX659" fmla="*/ 9464798 w 11346020"/>
              <a:gd name="connsiteY659" fmla="*/ 3154131 h 4683863"/>
              <a:gd name="connsiteX660" fmla="*/ 9446109 w 11346020"/>
              <a:gd name="connsiteY660" fmla="*/ 3149726 h 4683863"/>
              <a:gd name="connsiteX661" fmla="*/ 9412436 w 11346020"/>
              <a:gd name="connsiteY661" fmla="*/ 3144032 h 4683863"/>
              <a:gd name="connsiteX662" fmla="*/ 9412436 w 11346020"/>
              <a:gd name="connsiteY662" fmla="*/ 3154638 h 4683863"/>
              <a:gd name="connsiteX663" fmla="*/ 9420399 w 11346020"/>
              <a:gd name="connsiteY663" fmla="*/ 3178505 h 4683863"/>
              <a:gd name="connsiteX664" fmla="*/ 9420399 w 11346020"/>
              <a:gd name="connsiteY664" fmla="*/ 3178508 h 4683863"/>
              <a:gd name="connsiteX665" fmla="*/ 9402578 w 11346020"/>
              <a:gd name="connsiteY665" fmla="*/ 3190835 h 4683863"/>
              <a:gd name="connsiteX666" fmla="*/ 9403732 w 11346020"/>
              <a:gd name="connsiteY666" fmla="*/ 3197448 h 4683863"/>
              <a:gd name="connsiteX667" fmla="*/ 9398176 w 11346020"/>
              <a:gd name="connsiteY667" fmla="*/ 3197629 h 4683863"/>
              <a:gd name="connsiteX668" fmla="*/ 9390139 w 11346020"/>
              <a:gd name="connsiteY668" fmla="*/ 3223062 h 4683863"/>
              <a:gd name="connsiteX669" fmla="*/ 9361470 w 11346020"/>
              <a:gd name="connsiteY669" fmla="*/ 3243746 h 4683863"/>
              <a:gd name="connsiteX670" fmla="*/ 9293387 w 11346020"/>
              <a:gd name="connsiteY670" fmla="*/ 3246331 h 4683863"/>
              <a:gd name="connsiteX671" fmla="*/ 9241357 w 11346020"/>
              <a:gd name="connsiteY671" fmla="*/ 3227713 h 4683863"/>
              <a:gd name="connsiteX672" fmla="*/ 9242252 w 11346020"/>
              <a:gd name="connsiteY672" fmla="*/ 3238830 h 4683863"/>
              <a:gd name="connsiteX673" fmla="*/ 9242252 w 11346020"/>
              <a:gd name="connsiteY673" fmla="*/ 3251554 h 4683863"/>
              <a:gd name="connsiteX674" fmla="*/ 9242252 w 11346020"/>
              <a:gd name="connsiteY674" fmla="*/ 3251558 h 4683863"/>
              <a:gd name="connsiteX675" fmla="*/ 9163171 w 11346020"/>
              <a:gd name="connsiteY675" fmla="*/ 3256084 h 4683863"/>
              <a:gd name="connsiteX676" fmla="*/ 9154555 w 11346020"/>
              <a:gd name="connsiteY676" fmla="*/ 3241370 h 4683863"/>
              <a:gd name="connsiteX677" fmla="*/ 9145870 w 11346020"/>
              <a:gd name="connsiteY677" fmla="*/ 3243547 h 4683863"/>
              <a:gd name="connsiteX678" fmla="*/ 9092318 w 11346020"/>
              <a:gd name="connsiteY678" fmla="*/ 3245336 h 4683863"/>
              <a:gd name="connsiteX679" fmla="*/ 9089103 w 11346020"/>
              <a:gd name="connsiteY679" fmla="*/ 3244929 h 4683863"/>
              <a:gd name="connsiteX680" fmla="*/ 9087311 w 11346020"/>
              <a:gd name="connsiteY680" fmla="*/ 3297706 h 4683863"/>
              <a:gd name="connsiteX681" fmla="*/ 8998126 w 11346020"/>
              <a:gd name="connsiteY681" fmla="*/ 3386810 h 4683863"/>
              <a:gd name="connsiteX682" fmla="*/ 8730563 w 11346020"/>
              <a:gd name="connsiteY682" fmla="*/ 3412270 h 4683863"/>
              <a:gd name="connsiteX683" fmla="*/ 8628635 w 11346020"/>
              <a:gd name="connsiteY683" fmla="*/ 3399539 h 4683863"/>
              <a:gd name="connsiteX684" fmla="*/ 8628638 w 11346020"/>
              <a:gd name="connsiteY684" fmla="*/ 3399535 h 4683863"/>
              <a:gd name="connsiteX685" fmla="*/ 8628635 w 11346020"/>
              <a:gd name="connsiteY685" fmla="*/ 3399535 h 4683863"/>
              <a:gd name="connsiteX686" fmla="*/ 8650931 w 11346020"/>
              <a:gd name="connsiteY686" fmla="*/ 3378851 h 4683863"/>
              <a:gd name="connsiteX687" fmla="*/ 8654118 w 11346020"/>
              <a:gd name="connsiteY687" fmla="*/ 3348622 h 4683863"/>
              <a:gd name="connsiteX688" fmla="*/ 8647748 w 11346020"/>
              <a:gd name="connsiteY688" fmla="*/ 3332711 h 4683863"/>
              <a:gd name="connsiteX689" fmla="*/ 8641374 w 11346020"/>
              <a:gd name="connsiteY689" fmla="*/ 3335894 h 4683863"/>
              <a:gd name="connsiteX690" fmla="*/ 8590412 w 11346020"/>
              <a:gd name="connsiteY690" fmla="*/ 3386810 h 4683863"/>
              <a:gd name="connsiteX691" fmla="*/ 8593597 w 11346020"/>
              <a:gd name="connsiteY691" fmla="*/ 3404313 h 4683863"/>
              <a:gd name="connsiteX692" fmla="*/ 8584503 w 11346020"/>
              <a:gd name="connsiteY692" fmla="*/ 3408857 h 4683863"/>
              <a:gd name="connsiteX693" fmla="*/ 8622491 w 11346020"/>
              <a:gd name="connsiteY693" fmla="*/ 3409222 h 4683863"/>
              <a:gd name="connsiteX694" fmla="*/ 8724419 w 11346020"/>
              <a:gd name="connsiteY694" fmla="*/ 3421950 h 4683863"/>
              <a:gd name="connsiteX695" fmla="*/ 8915537 w 11346020"/>
              <a:gd name="connsiteY695" fmla="*/ 3447410 h 4683863"/>
              <a:gd name="connsiteX696" fmla="*/ 9412436 w 11346020"/>
              <a:gd name="connsiteY696" fmla="*/ 3485598 h 4683863"/>
              <a:gd name="connsiteX697" fmla="*/ 9629037 w 11346020"/>
              <a:gd name="connsiteY697" fmla="*/ 3511057 h 4683863"/>
              <a:gd name="connsiteX698" fmla="*/ 9679999 w 11346020"/>
              <a:gd name="connsiteY698" fmla="*/ 3511057 h 4683863"/>
              <a:gd name="connsiteX699" fmla="*/ 9718221 w 11346020"/>
              <a:gd name="connsiteY699" fmla="*/ 3523786 h 4683863"/>
              <a:gd name="connsiteX700" fmla="*/ 9718221 w 11346020"/>
              <a:gd name="connsiteY700" fmla="*/ 3523790 h 4683863"/>
              <a:gd name="connsiteX701" fmla="*/ 9679999 w 11346020"/>
              <a:gd name="connsiteY701" fmla="*/ 3549249 h 4683863"/>
              <a:gd name="connsiteX702" fmla="*/ 9386953 w 11346020"/>
              <a:gd name="connsiteY702" fmla="*/ 3511061 h 4683863"/>
              <a:gd name="connsiteX703" fmla="*/ 9144874 w 11346020"/>
              <a:gd name="connsiteY703" fmla="*/ 3498330 h 4683863"/>
              <a:gd name="connsiteX704" fmla="*/ 9144874 w 11346020"/>
              <a:gd name="connsiteY704" fmla="*/ 3499402 h 4683863"/>
              <a:gd name="connsiteX705" fmla="*/ 9144874 w 11346020"/>
              <a:gd name="connsiteY705" fmla="*/ 3531742 h 4683863"/>
              <a:gd name="connsiteX706" fmla="*/ 9183096 w 11346020"/>
              <a:gd name="connsiteY706" fmla="*/ 3536514 h 4683863"/>
              <a:gd name="connsiteX707" fmla="*/ 9323247 w 11346020"/>
              <a:gd name="connsiteY707" fmla="*/ 3561974 h 4683863"/>
              <a:gd name="connsiteX708" fmla="*/ 9323243 w 11346020"/>
              <a:gd name="connsiteY708" fmla="*/ 3561974 h 4683863"/>
              <a:gd name="connsiteX709" fmla="*/ 9323247 w 11346020"/>
              <a:gd name="connsiteY709" fmla="*/ 3561978 h 4683863"/>
              <a:gd name="connsiteX710" fmla="*/ 9234062 w 11346020"/>
              <a:gd name="connsiteY710" fmla="*/ 3561978 h 4683863"/>
              <a:gd name="connsiteX711" fmla="*/ 9183096 w 11346020"/>
              <a:gd name="connsiteY711" fmla="*/ 3600166 h 4683863"/>
              <a:gd name="connsiteX712" fmla="*/ 9183096 w 11346020"/>
              <a:gd name="connsiteY712" fmla="*/ 3612890 h 4683863"/>
              <a:gd name="connsiteX713" fmla="*/ 9183096 w 11346020"/>
              <a:gd name="connsiteY713" fmla="*/ 3612894 h 4683863"/>
              <a:gd name="connsiteX714" fmla="*/ 9093910 w 11346020"/>
              <a:gd name="connsiteY714" fmla="*/ 3600166 h 4683863"/>
              <a:gd name="connsiteX715" fmla="*/ 9081167 w 11346020"/>
              <a:gd name="connsiteY715" fmla="*/ 3587437 h 4683863"/>
              <a:gd name="connsiteX716" fmla="*/ 8966499 w 11346020"/>
              <a:gd name="connsiteY716" fmla="*/ 3561978 h 4683863"/>
              <a:gd name="connsiteX717" fmla="*/ 8966502 w 11346020"/>
              <a:gd name="connsiteY717" fmla="*/ 3561974 h 4683863"/>
              <a:gd name="connsiteX718" fmla="*/ 8966499 w 11346020"/>
              <a:gd name="connsiteY718" fmla="*/ 3561974 h 4683863"/>
              <a:gd name="connsiteX719" fmla="*/ 8990389 w 11346020"/>
              <a:gd name="connsiteY719" fmla="*/ 3534925 h 4683863"/>
              <a:gd name="connsiteX720" fmla="*/ 9004721 w 11346020"/>
              <a:gd name="connsiteY720" fmla="*/ 3498330 h 4683863"/>
              <a:gd name="connsiteX721" fmla="*/ 8979243 w 11346020"/>
              <a:gd name="connsiteY721" fmla="*/ 3485602 h 4683863"/>
              <a:gd name="connsiteX722" fmla="*/ 8966499 w 11346020"/>
              <a:gd name="connsiteY722" fmla="*/ 3485602 h 4683863"/>
              <a:gd name="connsiteX723" fmla="*/ 8913943 w 11346020"/>
              <a:gd name="connsiteY723" fmla="*/ 3546066 h 4683863"/>
              <a:gd name="connsiteX724" fmla="*/ 8885872 w 11346020"/>
              <a:gd name="connsiteY724" fmla="*/ 3575103 h 4683863"/>
              <a:gd name="connsiteX725" fmla="*/ 8890054 w 11346020"/>
              <a:gd name="connsiteY725" fmla="*/ 3625622 h 4683863"/>
              <a:gd name="connsiteX726" fmla="*/ 8890054 w 11346020"/>
              <a:gd name="connsiteY726" fmla="*/ 3625625 h 4683863"/>
              <a:gd name="connsiteX727" fmla="*/ 8864570 w 11346020"/>
              <a:gd name="connsiteY727" fmla="*/ 3625625 h 4683863"/>
              <a:gd name="connsiteX728" fmla="*/ 8788125 w 11346020"/>
              <a:gd name="connsiteY728" fmla="*/ 3536518 h 4683863"/>
              <a:gd name="connsiteX729" fmla="*/ 8724419 w 11346020"/>
              <a:gd name="connsiteY729" fmla="*/ 3536518 h 4683863"/>
              <a:gd name="connsiteX730" fmla="*/ 8729200 w 11346020"/>
              <a:gd name="connsiteY730" fmla="*/ 3560380 h 4683863"/>
              <a:gd name="connsiteX731" fmla="*/ 8762642 w 11346020"/>
              <a:gd name="connsiteY731" fmla="*/ 3574702 h 4683863"/>
              <a:gd name="connsiteX732" fmla="*/ 8762642 w 11346020"/>
              <a:gd name="connsiteY732" fmla="*/ 3574706 h 4683863"/>
              <a:gd name="connsiteX733" fmla="*/ 8762642 w 11346020"/>
              <a:gd name="connsiteY733" fmla="*/ 3600161 h 4683863"/>
              <a:gd name="connsiteX734" fmla="*/ 8762642 w 11346020"/>
              <a:gd name="connsiteY734" fmla="*/ 3600166 h 4683863"/>
              <a:gd name="connsiteX735" fmla="*/ 8724419 w 11346020"/>
              <a:gd name="connsiteY735" fmla="*/ 3587437 h 4683863"/>
              <a:gd name="connsiteX736" fmla="*/ 8686196 w 11346020"/>
              <a:gd name="connsiteY736" fmla="*/ 3523790 h 4683863"/>
              <a:gd name="connsiteX737" fmla="*/ 8635235 w 11346020"/>
              <a:gd name="connsiteY737" fmla="*/ 3574706 h 4683863"/>
              <a:gd name="connsiteX738" fmla="*/ 8495084 w 11346020"/>
              <a:gd name="connsiteY738" fmla="*/ 3600166 h 4683863"/>
              <a:gd name="connsiteX739" fmla="*/ 8456861 w 11346020"/>
              <a:gd name="connsiteY739" fmla="*/ 3600166 h 4683863"/>
              <a:gd name="connsiteX740" fmla="*/ 8380412 w 11346020"/>
              <a:gd name="connsiteY740" fmla="*/ 3612894 h 4683863"/>
              <a:gd name="connsiteX741" fmla="*/ 8354932 w 11346020"/>
              <a:gd name="connsiteY741" fmla="*/ 3612894 h 4683863"/>
              <a:gd name="connsiteX742" fmla="*/ 8278486 w 11346020"/>
              <a:gd name="connsiteY742" fmla="*/ 3612894 h 4683863"/>
              <a:gd name="connsiteX743" fmla="*/ 8202038 w 11346020"/>
              <a:gd name="connsiteY743" fmla="*/ 3549249 h 4683863"/>
              <a:gd name="connsiteX744" fmla="*/ 8163815 w 11346020"/>
              <a:gd name="connsiteY744" fmla="*/ 3523790 h 4683863"/>
              <a:gd name="connsiteX745" fmla="*/ 8151075 w 11346020"/>
              <a:gd name="connsiteY745" fmla="*/ 3485602 h 4683863"/>
              <a:gd name="connsiteX746" fmla="*/ 8100114 w 11346020"/>
              <a:gd name="connsiteY746" fmla="*/ 3523790 h 4683863"/>
              <a:gd name="connsiteX747" fmla="*/ 8023664 w 11346020"/>
              <a:gd name="connsiteY747" fmla="*/ 3536518 h 4683863"/>
              <a:gd name="connsiteX748" fmla="*/ 7959962 w 11346020"/>
              <a:gd name="connsiteY748" fmla="*/ 3549249 h 4683863"/>
              <a:gd name="connsiteX749" fmla="*/ 7883512 w 11346020"/>
              <a:gd name="connsiteY749" fmla="*/ 3600166 h 4683863"/>
              <a:gd name="connsiteX750" fmla="*/ 7832551 w 11346020"/>
              <a:gd name="connsiteY750" fmla="*/ 3574706 h 4683863"/>
              <a:gd name="connsiteX751" fmla="*/ 7807067 w 11346020"/>
              <a:gd name="connsiteY751" fmla="*/ 3549249 h 4683863"/>
              <a:gd name="connsiteX752" fmla="*/ 7756105 w 11346020"/>
              <a:gd name="connsiteY752" fmla="*/ 3561978 h 4683863"/>
              <a:gd name="connsiteX753" fmla="*/ 7679659 w 11346020"/>
              <a:gd name="connsiteY753" fmla="*/ 3600166 h 4683863"/>
              <a:gd name="connsiteX754" fmla="*/ 7628693 w 11346020"/>
              <a:gd name="connsiteY754" fmla="*/ 3604938 h 4683863"/>
              <a:gd name="connsiteX755" fmla="*/ 7577743 w 11346020"/>
              <a:gd name="connsiteY755" fmla="*/ 3600166 h 4683863"/>
              <a:gd name="connsiteX756" fmla="*/ 7641935 w 11346020"/>
              <a:gd name="connsiteY756" fmla="*/ 3623363 h 4683863"/>
              <a:gd name="connsiteX757" fmla="*/ 7645983 w 11346020"/>
              <a:gd name="connsiteY757" fmla="*/ 3622994 h 4683863"/>
              <a:gd name="connsiteX758" fmla="*/ 7708095 w 11346020"/>
              <a:gd name="connsiteY758" fmla="*/ 3623888 h 4683863"/>
              <a:gd name="connsiteX759" fmla="*/ 7723131 w 11346020"/>
              <a:gd name="connsiteY759" fmla="*/ 3625622 h 4683863"/>
              <a:gd name="connsiteX760" fmla="*/ 7773624 w 11346020"/>
              <a:gd name="connsiteY760" fmla="*/ 3625622 h 4683863"/>
              <a:gd name="connsiteX761" fmla="*/ 7819810 w 11346020"/>
              <a:gd name="connsiteY761" fmla="*/ 3625622 h 4683863"/>
              <a:gd name="connsiteX762" fmla="*/ 7837328 w 11346020"/>
              <a:gd name="connsiteY762" fmla="*/ 3633576 h 4683863"/>
              <a:gd name="connsiteX763" fmla="*/ 7839970 w 11346020"/>
              <a:gd name="connsiteY763" fmla="*/ 3639385 h 4683863"/>
              <a:gd name="connsiteX764" fmla="*/ 7956545 w 11346020"/>
              <a:gd name="connsiteY764" fmla="*/ 3657303 h 4683863"/>
              <a:gd name="connsiteX765" fmla="*/ 8080770 w 11346020"/>
              <a:gd name="connsiteY765" fmla="*/ 3666850 h 4683863"/>
              <a:gd name="connsiteX766" fmla="*/ 8297370 w 11346020"/>
              <a:gd name="connsiteY766" fmla="*/ 3692310 h 4683863"/>
              <a:gd name="connsiteX767" fmla="*/ 8348332 w 11346020"/>
              <a:gd name="connsiteY767" fmla="*/ 3692310 h 4683863"/>
              <a:gd name="connsiteX768" fmla="*/ 8386555 w 11346020"/>
              <a:gd name="connsiteY768" fmla="*/ 3705038 h 4683863"/>
              <a:gd name="connsiteX769" fmla="*/ 8386555 w 11346020"/>
              <a:gd name="connsiteY769" fmla="*/ 3705042 h 4683863"/>
              <a:gd name="connsiteX770" fmla="*/ 8348332 w 11346020"/>
              <a:gd name="connsiteY770" fmla="*/ 3730502 h 4683863"/>
              <a:gd name="connsiteX771" fmla="*/ 8055287 w 11346020"/>
              <a:gd name="connsiteY771" fmla="*/ 3692314 h 4683863"/>
              <a:gd name="connsiteX772" fmla="*/ 7813208 w 11346020"/>
              <a:gd name="connsiteY772" fmla="*/ 3679583 h 4683863"/>
              <a:gd name="connsiteX773" fmla="*/ 7813208 w 11346020"/>
              <a:gd name="connsiteY773" fmla="*/ 3680655 h 4683863"/>
              <a:gd name="connsiteX774" fmla="*/ 7813208 w 11346020"/>
              <a:gd name="connsiteY774" fmla="*/ 3712994 h 4683863"/>
              <a:gd name="connsiteX775" fmla="*/ 7851430 w 11346020"/>
              <a:gd name="connsiteY775" fmla="*/ 3717766 h 4683863"/>
              <a:gd name="connsiteX776" fmla="*/ 7991581 w 11346020"/>
              <a:gd name="connsiteY776" fmla="*/ 3743226 h 4683863"/>
              <a:gd name="connsiteX777" fmla="*/ 7991577 w 11346020"/>
              <a:gd name="connsiteY777" fmla="*/ 3743226 h 4683863"/>
              <a:gd name="connsiteX778" fmla="*/ 7991581 w 11346020"/>
              <a:gd name="connsiteY778" fmla="*/ 3743230 h 4683863"/>
              <a:gd name="connsiteX779" fmla="*/ 7902396 w 11346020"/>
              <a:gd name="connsiteY779" fmla="*/ 3743230 h 4683863"/>
              <a:gd name="connsiteX780" fmla="*/ 7851430 w 11346020"/>
              <a:gd name="connsiteY780" fmla="*/ 3781418 h 4683863"/>
              <a:gd name="connsiteX781" fmla="*/ 7851430 w 11346020"/>
              <a:gd name="connsiteY781" fmla="*/ 3794142 h 4683863"/>
              <a:gd name="connsiteX782" fmla="*/ 7851430 w 11346020"/>
              <a:gd name="connsiteY782" fmla="*/ 3794146 h 4683863"/>
              <a:gd name="connsiteX783" fmla="*/ 7762245 w 11346020"/>
              <a:gd name="connsiteY783" fmla="*/ 3781418 h 4683863"/>
              <a:gd name="connsiteX784" fmla="*/ 7749502 w 11346020"/>
              <a:gd name="connsiteY784" fmla="*/ 3768690 h 4683863"/>
              <a:gd name="connsiteX785" fmla="*/ 7634834 w 11346020"/>
              <a:gd name="connsiteY785" fmla="*/ 3743230 h 4683863"/>
              <a:gd name="connsiteX786" fmla="*/ 7634838 w 11346020"/>
              <a:gd name="connsiteY786" fmla="*/ 3743226 h 4683863"/>
              <a:gd name="connsiteX787" fmla="*/ 7634834 w 11346020"/>
              <a:gd name="connsiteY787" fmla="*/ 3743226 h 4683863"/>
              <a:gd name="connsiteX788" fmla="*/ 7658723 w 11346020"/>
              <a:gd name="connsiteY788" fmla="*/ 3716177 h 4683863"/>
              <a:gd name="connsiteX789" fmla="*/ 7673056 w 11346020"/>
              <a:gd name="connsiteY789" fmla="*/ 3679583 h 4683863"/>
              <a:gd name="connsiteX790" fmla="*/ 7647577 w 11346020"/>
              <a:gd name="connsiteY790" fmla="*/ 3666854 h 4683863"/>
              <a:gd name="connsiteX791" fmla="*/ 7634834 w 11346020"/>
              <a:gd name="connsiteY791" fmla="*/ 3666854 h 4683863"/>
              <a:gd name="connsiteX792" fmla="*/ 7582278 w 11346020"/>
              <a:gd name="connsiteY792" fmla="*/ 3727319 h 4683863"/>
              <a:gd name="connsiteX793" fmla="*/ 7554206 w 11346020"/>
              <a:gd name="connsiteY793" fmla="*/ 3756355 h 4683863"/>
              <a:gd name="connsiteX794" fmla="*/ 7558388 w 11346020"/>
              <a:gd name="connsiteY794" fmla="*/ 3806875 h 4683863"/>
              <a:gd name="connsiteX795" fmla="*/ 7558388 w 11346020"/>
              <a:gd name="connsiteY795" fmla="*/ 3806878 h 4683863"/>
              <a:gd name="connsiteX796" fmla="*/ 7532905 w 11346020"/>
              <a:gd name="connsiteY796" fmla="*/ 3806878 h 4683863"/>
              <a:gd name="connsiteX797" fmla="*/ 7456459 w 11346020"/>
              <a:gd name="connsiteY797" fmla="*/ 3717771 h 4683863"/>
              <a:gd name="connsiteX798" fmla="*/ 7392754 w 11346020"/>
              <a:gd name="connsiteY798" fmla="*/ 3717771 h 4683863"/>
              <a:gd name="connsiteX799" fmla="*/ 7397534 w 11346020"/>
              <a:gd name="connsiteY799" fmla="*/ 3741633 h 4683863"/>
              <a:gd name="connsiteX800" fmla="*/ 7430977 w 11346020"/>
              <a:gd name="connsiteY800" fmla="*/ 3755954 h 4683863"/>
              <a:gd name="connsiteX801" fmla="*/ 7430977 w 11346020"/>
              <a:gd name="connsiteY801" fmla="*/ 3755958 h 4683863"/>
              <a:gd name="connsiteX802" fmla="*/ 7430977 w 11346020"/>
              <a:gd name="connsiteY802" fmla="*/ 3781414 h 4683863"/>
              <a:gd name="connsiteX803" fmla="*/ 7430977 w 11346020"/>
              <a:gd name="connsiteY803" fmla="*/ 3781418 h 4683863"/>
              <a:gd name="connsiteX804" fmla="*/ 7392754 w 11346020"/>
              <a:gd name="connsiteY804" fmla="*/ 3768690 h 4683863"/>
              <a:gd name="connsiteX805" fmla="*/ 7354531 w 11346020"/>
              <a:gd name="connsiteY805" fmla="*/ 3705042 h 4683863"/>
              <a:gd name="connsiteX806" fmla="*/ 7303569 w 11346020"/>
              <a:gd name="connsiteY806" fmla="*/ 3755958 h 4683863"/>
              <a:gd name="connsiteX807" fmla="*/ 7163418 w 11346020"/>
              <a:gd name="connsiteY807" fmla="*/ 3781418 h 4683863"/>
              <a:gd name="connsiteX808" fmla="*/ 7125195 w 11346020"/>
              <a:gd name="connsiteY808" fmla="*/ 3781418 h 4683863"/>
              <a:gd name="connsiteX809" fmla="*/ 7048746 w 11346020"/>
              <a:gd name="connsiteY809" fmla="*/ 3794146 h 4683863"/>
              <a:gd name="connsiteX810" fmla="*/ 7023266 w 11346020"/>
              <a:gd name="connsiteY810" fmla="*/ 3794146 h 4683863"/>
              <a:gd name="connsiteX811" fmla="*/ 6946821 w 11346020"/>
              <a:gd name="connsiteY811" fmla="*/ 3794146 h 4683863"/>
              <a:gd name="connsiteX812" fmla="*/ 6870371 w 11346020"/>
              <a:gd name="connsiteY812" fmla="*/ 3730502 h 4683863"/>
              <a:gd name="connsiteX813" fmla="*/ 6832149 w 11346020"/>
              <a:gd name="connsiteY813" fmla="*/ 3705042 h 4683863"/>
              <a:gd name="connsiteX814" fmla="*/ 6819409 w 11346020"/>
              <a:gd name="connsiteY814" fmla="*/ 3666854 h 4683863"/>
              <a:gd name="connsiteX815" fmla="*/ 6768448 w 11346020"/>
              <a:gd name="connsiteY815" fmla="*/ 3705042 h 4683863"/>
              <a:gd name="connsiteX816" fmla="*/ 6691998 w 11346020"/>
              <a:gd name="connsiteY816" fmla="*/ 3717771 h 4683863"/>
              <a:gd name="connsiteX817" fmla="*/ 6628296 w 11346020"/>
              <a:gd name="connsiteY817" fmla="*/ 3730502 h 4683863"/>
              <a:gd name="connsiteX818" fmla="*/ 6551846 w 11346020"/>
              <a:gd name="connsiteY818" fmla="*/ 3781418 h 4683863"/>
              <a:gd name="connsiteX819" fmla="*/ 6500885 w 11346020"/>
              <a:gd name="connsiteY819" fmla="*/ 3755958 h 4683863"/>
              <a:gd name="connsiteX820" fmla="*/ 6475401 w 11346020"/>
              <a:gd name="connsiteY820" fmla="*/ 3730502 h 4683863"/>
              <a:gd name="connsiteX821" fmla="*/ 6424439 w 11346020"/>
              <a:gd name="connsiteY821" fmla="*/ 3743230 h 4683863"/>
              <a:gd name="connsiteX822" fmla="*/ 6347993 w 11346020"/>
              <a:gd name="connsiteY822" fmla="*/ 3781418 h 4683863"/>
              <a:gd name="connsiteX823" fmla="*/ 6297027 w 11346020"/>
              <a:gd name="connsiteY823" fmla="*/ 3786190 h 4683863"/>
              <a:gd name="connsiteX824" fmla="*/ 6246077 w 11346020"/>
              <a:gd name="connsiteY824" fmla="*/ 3781418 h 4683863"/>
              <a:gd name="connsiteX825" fmla="*/ 6320917 w 11346020"/>
              <a:gd name="connsiteY825" fmla="*/ 3808464 h 4683863"/>
              <a:gd name="connsiteX826" fmla="*/ 6386217 w 11346020"/>
              <a:gd name="connsiteY826" fmla="*/ 3806875 h 4683863"/>
              <a:gd name="connsiteX827" fmla="*/ 6488144 w 11346020"/>
              <a:gd name="connsiteY827" fmla="*/ 3806875 h 4683863"/>
              <a:gd name="connsiteX828" fmla="*/ 6513624 w 11346020"/>
              <a:gd name="connsiteY828" fmla="*/ 3832330 h 4683863"/>
              <a:gd name="connsiteX829" fmla="*/ 6513624 w 11346020"/>
              <a:gd name="connsiteY829" fmla="*/ 3832334 h 4683863"/>
              <a:gd name="connsiteX830" fmla="*/ 6488144 w 11346020"/>
              <a:gd name="connsiteY830" fmla="*/ 3832334 h 4683863"/>
              <a:gd name="connsiteX831" fmla="*/ 6386217 w 11346020"/>
              <a:gd name="connsiteY831" fmla="*/ 3845066 h 4683863"/>
              <a:gd name="connsiteX832" fmla="*/ 6284288 w 11346020"/>
              <a:gd name="connsiteY832" fmla="*/ 3819606 h 4683863"/>
              <a:gd name="connsiteX833" fmla="*/ 6156876 w 11346020"/>
              <a:gd name="connsiteY833" fmla="*/ 3845066 h 4683863"/>
              <a:gd name="connsiteX834" fmla="*/ 6118654 w 11346020"/>
              <a:gd name="connsiteY834" fmla="*/ 3832334 h 4683863"/>
              <a:gd name="connsiteX835" fmla="*/ 6118654 w 11346020"/>
              <a:gd name="connsiteY835" fmla="*/ 3832330 h 4683863"/>
              <a:gd name="connsiteX836" fmla="*/ 6156876 w 11346020"/>
              <a:gd name="connsiteY836" fmla="*/ 3794142 h 4683863"/>
              <a:gd name="connsiteX837" fmla="*/ 6175990 w 11346020"/>
              <a:gd name="connsiteY837" fmla="*/ 3798915 h 4683863"/>
              <a:gd name="connsiteX838" fmla="*/ 6195095 w 11346020"/>
              <a:gd name="connsiteY838" fmla="*/ 3794142 h 4683863"/>
              <a:gd name="connsiteX839" fmla="*/ 6144137 w 11346020"/>
              <a:gd name="connsiteY839" fmla="*/ 3770279 h 4683863"/>
              <a:gd name="connsiteX840" fmla="*/ 6131393 w 11346020"/>
              <a:gd name="connsiteY840" fmla="*/ 3717771 h 4683863"/>
              <a:gd name="connsiteX841" fmla="*/ 6083618 w 11346020"/>
              <a:gd name="connsiteY841" fmla="*/ 3748002 h 4683863"/>
              <a:gd name="connsiteX842" fmla="*/ 6093170 w 11346020"/>
              <a:gd name="connsiteY842" fmla="*/ 3806875 h 4683863"/>
              <a:gd name="connsiteX843" fmla="*/ 6093170 w 11346020"/>
              <a:gd name="connsiteY843" fmla="*/ 3806878 h 4683863"/>
              <a:gd name="connsiteX844" fmla="*/ 6067691 w 11346020"/>
              <a:gd name="connsiteY844" fmla="*/ 3832334 h 4683863"/>
              <a:gd name="connsiteX845" fmla="*/ 5991242 w 11346020"/>
              <a:gd name="connsiteY845" fmla="*/ 3832334 h 4683863"/>
              <a:gd name="connsiteX846" fmla="*/ 5989653 w 11346020"/>
              <a:gd name="connsiteY846" fmla="*/ 3808468 h 4683863"/>
              <a:gd name="connsiteX847" fmla="*/ 5989653 w 11346020"/>
              <a:gd name="connsiteY847" fmla="*/ 3808464 h 4683863"/>
              <a:gd name="connsiteX848" fmla="*/ 6016725 w 11346020"/>
              <a:gd name="connsiteY848" fmla="*/ 3794142 h 4683863"/>
              <a:gd name="connsiteX849" fmla="*/ 6016725 w 11346020"/>
              <a:gd name="connsiteY849" fmla="*/ 3768690 h 4683863"/>
              <a:gd name="connsiteX850" fmla="*/ 6003985 w 11346020"/>
              <a:gd name="connsiteY850" fmla="*/ 3717771 h 4683863"/>
              <a:gd name="connsiteX851" fmla="*/ 5965762 w 11346020"/>
              <a:gd name="connsiteY851" fmla="*/ 3743230 h 4683863"/>
              <a:gd name="connsiteX852" fmla="*/ 5863834 w 11346020"/>
              <a:gd name="connsiteY852" fmla="*/ 3768690 h 4683863"/>
              <a:gd name="connsiteX853" fmla="*/ 5812868 w 11346020"/>
              <a:gd name="connsiteY853" fmla="*/ 3794146 h 4683863"/>
              <a:gd name="connsiteX854" fmla="*/ 5736423 w 11346020"/>
              <a:gd name="connsiteY854" fmla="*/ 3832334 h 4683863"/>
              <a:gd name="connsiteX855" fmla="*/ 5366935 w 11346020"/>
              <a:gd name="connsiteY855" fmla="*/ 3832334 h 4683863"/>
              <a:gd name="connsiteX856" fmla="*/ 5341452 w 11346020"/>
              <a:gd name="connsiteY856" fmla="*/ 3819606 h 4683863"/>
              <a:gd name="connsiteX857" fmla="*/ 5341456 w 11346020"/>
              <a:gd name="connsiteY857" fmla="*/ 3819602 h 4683863"/>
              <a:gd name="connsiteX858" fmla="*/ 5341452 w 11346020"/>
              <a:gd name="connsiteY858" fmla="*/ 3819602 h 4683863"/>
              <a:gd name="connsiteX859" fmla="*/ 5379675 w 11346020"/>
              <a:gd name="connsiteY859" fmla="*/ 3781414 h 4683863"/>
              <a:gd name="connsiteX860" fmla="*/ 5532566 w 11346020"/>
              <a:gd name="connsiteY860" fmla="*/ 3781414 h 4683863"/>
              <a:gd name="connsiteX861" fmla="*/ 5710940 w 11346020"/>
              <a:gd name="connsiteY861" fmla="*/ 3806875 h 4683863"/>
              <a:gd name="connsiteX862" fmla="*/ 5742792 w 11346020"/>
              <a:gd name="connsiteY862" fmla="*/ 3795736 h 4683863"/>
              <a:gd name="connsiteX863" fmla="*/ 5774646 w 11346020"/>
              <a:gd name="connsiteY863" fmla="*/ 3794142 h 4683863"/>
              <a:gd name="connsiteX864" fmla="*/ 5749166 w 11346020"/>
              <a:gd name="connsiteY864" fmla="*/ 3730502 h 4683863"/>
              <a:gd name="connsiteX865" fmla="*/ 5752349 w 11346020"/>
              <a:gd name="connsiteY865" fmla="*/ 3757548 h 4683863"/>
              <a:gd name="connsiteX866" fmla="*/ 5752349 w 11346020"/>
              <a:gd name="connsiteY866" fmla="*/ 3757552 h 4683863"/>
              <a:gd name="connsiteX867" fmla="*/ 5736423 w 11346020"/>
              <a:gd name="connsiteY867" fmla="*/ 3755958 h 4683863"/>
              <a:gd name="connsiteX868" fmla="*/ 5583532 w 11346020"/>
              <a:gd name="connsiteY868" fmla="*/ 3743230 h 4683863"/>
              <a:gd name="connsiteX869" fmla="*/ 5558049 w 11346020"/>
              <a:gd name="connsiteY869" fmla="*/ 3730502 h 4683863"/>
              <a:gd name="connsiteX870" fmla="*/ 5542122 w 11346020"/>
              <a:gd name="connsiteY870" fmla="*/ 3722547 h 4683863"/>
              <a:gd name="connsiteX871" fmla="*/ 5545309 w 11346020"/>
              <a:gd name="connsiteY871" fmla="*/ 3743226 h 4683863"/>
              <a:gd name="connsiteX872" fmla="*/ 5545309 w 11346020"/>
              <a:gd name="connsiteY872" fmla="*/ 3743230 h 4683863"/>
              <a:gd name="connsiteX873" fmla="*/ 5545309 w 11346020"/>
              <a:gd name="connsiteY873" fmla="*/ 3768686 h 4683863"/>
              <a:gd name="connsiteX874" fmla="*/ 5545309 w 11346020"/>
              <a:gd name="connsiteY874" fmla="*/ 3768690 h 4683863"/>
              <a:gd name="connsiteX875" fmla="*/ 5392415 w 11346020"/>
              <a:gd name="connsiteY875" fmla="*/ 3717771 h 4683863"/>
              <a:gd name="connsiteX876" fmla="*/ 5335083 w 11346020"/>
              <a:gd name="connsiteY876" fmla="*/ 3706632 h 4683863"/>
              <a:gd name="connsiteX877" fmla="*/ 5277755 w 11346020"/>
              <a:gd name="connsiteY877" fmla="*/ 3705042 h 4683863"/>
              <a:gd name="connsiteX878" fmla="*/ 5327120 w 11346020"/>
              <a:gd name="connsiteY878" fmla="*/ 3727315 h 4683863"/>
              <a:gd name="connsiteX879" fmla="*/ 5336873 w 11346020"/>
              <a:gd name="connsiteY879" fmla="*/ 3740838 h 4683863"/>
              <a:gd name="connsiteX880" fmla="*/ 5336873 w 11346020"/>
              <a:gd name="connsiteY880" fmla="*/ 3740842 h 4683863"/>
              <a:gd name="connsiteX881" fmla="*/ 5290486 w 11346020"/>
              <a:gd name="connsiteY881" fmla="*/ 3768690 h 4683863"/>
              <a:gd name="connsiteX882" fmla="*/ 5290486 w 11346020"/>
              <a:gd name="connsiteY882" fmla="*/ 3789373 h 4683863"/>
              <a:gd name="connsiteX883" fmla="*/ 5290486 w 11346020"/>
              <a:gd name="connsiteY883" fmla="*/ 3819602 h 4683863"/>
              <a:gd name="connsiteX884" fmla="*/ 5290486 w 11346020"/>
              <a:gd name="connsiteY884" fmla="*/ 3819606 h 4683863"/>
              <a:gd name="connsiteX885" fmla="*/ 5265007 w 11346020"/>
              <a:gd name="connsiteY885" fmla="*/ 3794146 h 4683863"/>
              <a:gd name="connsiteX886" fmla="*/ 5214041 w 11346020"/>
              <a:gd name="connsiteY886" fmla="*/ 3755958 h 4683863"/>
              <a:gd name="connsiteX887" fmla="*/ 5188558 w 11346020"/>
              <a:gd name="connsiteY887" fmla="*/ 3794146 h 4683863"/>
              <a:gd name="connsiteX888" fmla="*/ 5150335 w 11346020"/>
              <a:gd name="connsiteY888" fmla="*/ 3819606 h 4683863"/>
              <a:gd name="connsiteX889" fmla="*/ 4882776 w 11346020"/>
              <a:gd name="connsiteY889" fmla="*/ 3794146 h 4683863"/>
              <a:gd name="connsiteX890" fmla="*/ 4880281 w 11346020"/>
              <a:gd name="connsiteY890" fmla="*/ 3793730 h 4683863"/>
              <a:gd name="connsiteX891" fmla="*/ 4854143 w 11346020"/>
              <a:gd name="connsiteY891" fmla="*/ 3811141 h 4683863"/>
              <a:gd name="connsiteX892" fmla="*/ 4930585 w 11346020"/>
              <a:gd name="connsiteY892" fmla="*/ 3823869 h 4683863"/>
              <a:gd name="connsiteX893" fmla="*/ 5096219 w 11346020"/>
              <a:gd name="connsiteY893" fmla="*/ 3849324 h 4683863"/>
              <a:gd name="connsiteX894" fmla="*/ 5249110 w 11346020"/>
              <a:gd name="connsiteY894" fmla="*/ 3862057 h 4683863"/>
              <a:gd name="connsiteX895" fmla="*/ 5300076 w 11346020"/>
              <a:gd name="connsiteY895" fmla="*/ 3951161 h 4683863"/>
              <a:gd name="connsiteX896" fmla="*/ 5300076 w 11346020"/>
              <a:gd name="connsiteY896" fmla="*/ 3951165 h 4683863"/>
              <a:gd name="connsiteX897" fmla="*/ 5274593 w 11346020"/>
              <a:gd name="connsiteY897" fmla="*/ 4129376 h 4683863"/>
              <a:gd name="connsiteX898" fmla="*/ 5185408 w 11346020"/>
              <a:gd name="connsiteY898" fmla="*/ 4218481 h 4683863"/>
              <a:gd name="connsiteX899" fmla="*/ 4917844 w 11346020"/>
              <a:gd name="connsiteY899" fmla="*/ 4243940 h 4683863"/>
              <a:gd name="connsiteX900" fmla="*/ 4815917 w 11346020"/>
              <a:gd name="connsiteY900" fmla="*/ 4231209 h 4683863"/>
              <a:gd name="connsiteX901" fmla="*/ 4815921 w 11346020"/>
              <a:gd name="connsiteY901" fmla="*/ 4231205 h 4683863"/>
              <a:gd name="connsiteX902" fmla="*/ 4815917 w 11346020"/>
              <a:gd name="connsiteY902" fmla="*/ 4231205 h 4683863"/>
              <a:gd name="connsiteX903" fmla="*/ 4838212 w 11346020"/>
              <a:gd name="connsiteY903" fmla="*/ 4210522 h 4683863"/>
              <a:gd name="connsiteX904" fmla="*/ 4841399 w 11346020"/>
              <a:gd name="connsiteY904" fmla="*/ 4180293 h 4683863"/>
              <a:gd name="connsiteX905" fmla="*/ 4835031 w 11346020"/>
              <a:gd name="connsiteY905" fmla="*/ 4164382 h 4683863"/>
              <a:gd name="connsiteX906" fmla="*/ 4828656 w 11346020"/>
              <a:gd name="connsiteY906" fmla="*/ 4167564 h 4683863"/>
              <a:gd name="connsiteX907" fmla="*/ 4777693 w 11346020"/>
              <a:gd name="connsiteY907" fmla="*/ 4218481 h 4683863"/>
              <a:gd name="connsiteX908" fmla="*/ 4764954 w 11346020"/>
              <a:gd name="connsiteY908" fmla="*/ 4243940 h 4683863"/>
              <a:gd name="connsiteX909" fmla="*/ 4739471 w 11346020"/>
              <a:gd name="connsiteY909" fmla="*/ 4218481 h 4683863"/>
              <a:gd name="connsiteX910" fmla="*/ 4675765 w 11346020"/>
              <a:gd name="connsiteY910" fmla="*/ 4167564 h 4683863"/>
              <a:gd name="connsiteX911" fmla="*/ 4658246 w 11346020"/>
              <a:gd name="connsiteY911" fmla="*/ 4170747 h 4683863"/>
              <a:gd name="connsiteX912" fmla="*/ 4650286 w 11346020"/>
              <a:gd name="connsiteY912" fmla="*/ 4193021 h 4683863"/>
              <a:gd name="connsiteX913" fmla="*/ 4675765 w 11346020"/>
              <a:gd name="connsiteY913" fmla="*/ 4218477 h 4683863"/>
              <a:gd name="connsiteX914" fmla="*/ 4726728 w 11346020"/>
              <a:gd name="connsiteY914" fmla="*/ 4231205 h 4683863"/>
              <a:gd name="connsiteX915" fmla="*/ 4726720 w 11346020"/>
              <a:gd name="connsiteY915" fmla="*/ 4231205 h 4683863"/>
              <a:gd name="connsiteX916" fmla="*/ 4726728 w 11346020"/>
              <a:gd name="connsiteY916" fmla="*/ 4231209 h 4683863"/>
              <a:gd name="connsiteX917" fmla="*/ 4548354 w 11346020"/>
              <a:gd name="connsiteY917" fmla="*/ 4231209 h 4683863"/>
              <a:gd name="connsiteX918" fmla="*/ 4548362 w 11346020"/>
              <a:gd name="connsiteY918" fmla="*/ 4231205 h 4683863"/>
              <a:gd name="connsiteX919" fmla="*/ 4548354 w 11346020"/>
              <a:gd name="connsiteY919" fmla="*/ 4231205 h 4683863"/>
              <a:gd name="connsiteX920" fmla="*/ 4624803 w 11346020"/>
              <a:gd name="connsiteY920" fmla="*/ 4186654 h 4683863"/>
              <a:gd name="connsiteX921" fmla="*/ 4624803 w 11346020"/>
              <a:gd name="connsiteY921" fmla="*/ 4103917 h 4683863"/>
              <a:gd name="connsiteX922" fmla="*/ 4608877 w 11346020"/>
              <a:gd name="connsiteY922" fmla="*/ 4158016 h 4683863"/>
              <a:gd name="connsiteX923" fmla="*/ 4573837 w 11346020"/>
              <a:gd name="connsiteY923" fmla="*/ 4193021 h 4683863"/>
              <a:gd name="connsiteX924" fmla="*/ 4573837 w 11346020"/>
              <a:gd name="connsiteY924" fmla="*/ 4193017 h 4683863"/>
              <a:gd name="connsiteX925" fmla="*/ 4573837 w 11346020"/>
              <a:gd name="connsiteY925" fmla="*/ 4103917 h 4683863"/>
              <a:gd name="connsiteX926" fmla="*/ 4471909 w 11346020"/>
              <a:gd name="connsiteY926" fmla="*/ 4078457 h 4683863"/>
              <a:gd name="connsiteX927" fmla="*/ 4471909 w 11346020"/>
              <a:gd name="connsiteY927" fmla="*/ 4129372 h 4683863"/>
              <a:gd name="connsiteX928" fmla="*/ 4471909 w 11346020"/>
              <a:gd name="connsiteY928" fmla="*/ 4164378 h 4683863"/>
              <a:gd name="connsiteX929" fmla="*/ 4471909 w 11346020"/>
              <a:gd name="connsiteY929" fmla="*/ 4164382 h 4683863"/>
              <a:gd name="connsiteX930" fmla="*/ 4433685 w 11346020"/>
              <a:gd name="connsiteY930" fmla="*/ 4180293 h 4683863"/>
              <a:gd name="connsiteX931" fmla="*/ 4408203 w 11346020"/>
              <a:gd name="connsiteY931" fmla="*/ 4205752 h 4683863"/>
              <a:gd name="connsiteX932" fmla="*/ 4344501 w 11346020"/>
              <a:gd name="connsiteY932" fmla="*/ 4231209 h 4683863"/>
              <a:gd name="connsiteX933" fmla="*/ 4314241 w 11346020"/>
              <a:gd name="connsiteY933" fmla="*/ 4193021 h 4683863"/>
              <a:gd name="connsiteX934" fmla="*/ 4314241 w 11346020"/>
              <a:gd name="connsiteY934" fmla="*/ 4193017 h 4683863"/>
              <a:gd name="connsiteX935" fmla="*/ 4331758 w 11346020"/>
              <a:gd name="connsiteY935" fmla="*/ 4154829 h 4683863"/>
              <a:gd name="connsiteX936" fmla="*/ 4346090 w 11346020"/>
              <a:gd name="connsiteY936" fmla="*/ 4142101 h 4683863"/>
              <a:gd name="connsiteX937" fmla="*/ 4331758 w 11346020"/>
              <a:gd name="connsiteY937" fmla="*/ 4129376 h 4683863"/>
              <a:gd name="connsiteX938" fmla="*/ 4268052 w 11346020"/>
              <a:gd name="connsiteY938" fmla="*/ 4065729 h 4683863"/>
              <a:gd name="connsiteX939" fmla="*/ 4268052 w 11346020"/>
              <a:gd name="connsiteY939" fmla="*/ 4167560 h 4683863"/>
              <a:gd name="connsiteX940" fmla="*/ 4276015 w 11346020"/>
              <a:gd name="connsiteY940" fmla="*/ 4191428 h 4683863"/>
              <a:gd name="connsiteX941" fmla="*/ 4276015 w 11346020"/>
              <a:gd name="connsiteY941" fmla="*/ 4191431 h 4683863"/>
              <a:gd name="connsiteX942" fmla="*/ 4258194 w 11346020"/>
              <a:gd name="connsiteY942" fmla="*/ 4203758 h 4683863"/>
              <a:gd name="connsiteX943" fmla="*/ 4259347 w 11346020"/>
              <a:gd name="connsiteY943" fmla="*/ 4210371 h 4683863"/>
              <a:gd name="connsiteX944" fmla="*/ 4253791 w 11346020"/>
              <a:gd name="connsiteY944" fmla="*/ 4210552 h 4683863"/>
              <a:gd name="connsiteX945" fmla="*/ 4245755 w 11346020"/>
              <a:gd name="connsiteY945" fmla="*/ 4235985 h 4683863"/>
              <a:gd name="connsiteX946" fmla="*/ 4217085 w 11346020"/>
              <a:gd name="connsiteY946" fmla="*/ 4256669 h 4683863"/>
              <a:gd name="connsiteX947" fmla="*/ 4092860 w 11346020"/>
              <a:gd name="connsiteY947" fmla="*/ 4239164 h 4683863"/>
              <a:gd name="connsiteX948" fmla="*/ 3987755 w 11346020"/>
              <a:gd name="connsiteY948" fmla="*/ 4193024 h 4683863"/>
              <a:gd name="connsiteX949" fmla="*/ 4005270 w 11346020"/>
              <a:gd name="connsiteY949" fmla="*/ 4218477 h 4683863"/>
              <a:gd name="connsiteX950" fmla="*/ 4051454 w 11346020"/>
              <a:gd name="connsiteY950" fmla="*/ 4243936 h 4683863"/>
              <a:gd name="connsiteX951" fmla="*/ 4051447 w 11346020"/>
              <a:gd name="connsiteY951" fmla="*/ 4243936 h 4683863"/>
              <a:gd name="connsiteX952" fmla="*/ 4051454 w 11346020"/>
              <a:gd name="connsiteY952" fmla="*/ 4243940 h 4683863"/>
              <a:gd name="connsiteX953" fmla="*/ 3834860 w 11346020"/>
              <a:gd name="connsiteY953" fmla="*/ 4243940 h 4683863"/>
              <a:gd name="connsiteX954" fmla="*/ 3834867 w 11346020"/>
              <a:gd name="connsiteY954" fmla="*/ 4243936 h 4683863"/>
              <a:gd name="connsiteX955" fmla="*/ 3834860 w 11346020"/>
              <a:gd name="connsiteY955" fmla="*/ 4243936 h 4683863"/>
              <a:gd name="connsiteX956" fmla="*/ 3882636 w 11346020"/>
              <a:gd name="connsiteY956" fmla="*/ 4226433 h 4683863"/>
              <a:gd name="connsiteX957" fmla="*/ 3911302 w 11346020"/>
              <a:gd name="connsiteY957" fmla="*/ 4218477 h 4683863"/>
              <a:gd name="connsiteX958" fmla="*/ 3899361 w 11346020"/>
              <a:gd name="connsiteY958" fmla="*/ 4210923 h 4683863"/>
              <a:gd name="connsiteX959" fmla="*/ 3834860 w 11346020"/>
              <a:gd name="connsiteY959" fmla="*/ 4193021 h 4683863"/>
              <a:gd name="connsiteX960" fmla="*/ 3834860 w 11346020"/>
              <a:gd name="connsiteY960" fmla="*/ 4193017 h 4683863"/>
              <a:gd name="connsiteX961" fmla="*/ 3834860 w 11346020"/>
              <a:gd name="connsiteY961" fmla="*/ 4154833 h 4683863"/>
              <a:gd name="connsiteX962" fmla="*/ 3822117 w 11346020"/>
              <a:gd name="connsiteY962" fmla="*/ 4103917 h 4683863"/>
              <a:gd name="connsiteX963" fmla="*/ 3783894 w 11346020"/>
              <a:gd name="connsiteY963" fmla="*/ 4116645 h 4683863"/>
              <a:gd name="connsiteX964" fmla="*/ 3656482 w 11346020"/>
              <a:gd name="connsiteY964" fmla="*/ 4243940 h 4683863"/>
              <a:gd name="connsiteX965" fmla="*/ 3618260 w 11346020"/>
              <a:gd name="connsiteY965" fmla="*/ 4256669 h 4683863"/>
              <a:gd name="connsiteX966" fmla="*/ 3597557 w 11346020"/>
              <a:gd name="connsiteY966" fmla="*/ 4253486 h 4683863"/>
              <a:gd name="connsiteX967" fmla="*/ 3597557 w 11346020"/>
              <a:gd name="connsiteY967" fmla="*/ 4253482 h 4683863"/>
              <a:gd name="connsiteX968" fmla="*/ 3605520 w 11346020"/>
              <a:gd name="connsiteY968" fmla="*/ 4231209 h 4683863"/>
              <a:gd name="connsiteX969" fmla="*/ 3592780 w 11346020"/>
              <a:gd name="connsiteY969" fmla="*/ 4170747 h 4683863"/>
              <a:gd name="connsiteX970" fmla="*/ 3541814 w 11346020"/>
              <a:gd name="connsiteY970" fmla="*/ 4129376 h 4683863"/>
              <a:gd name="connsiteX971" fmla="*/ 3529074 w 11346020"/>
              <a:gd name="connsiteY971" fmla="*/ 4103917 h 4683863"/>
              <a:gd name="connsiteX972" fmla="*/ 3516331 w 11346020"/>
              <a:gd name="connsiteY972" fmla="*/ 4078457 h 4683863"/>
              <a:gd name="connsiteX973" fmla="*/ 3490851 w 11346020"/>
              <a:gd name="connsiteY973" fmla="*/ 4116645 h 4683863"/>
              <a:gd name="connsiteX974" fmla="*/ 3501998 w 11346020"/>
              <a:gd name="connsiteY974" fmla="*/ 4158012 h 4683863"/>
              <a:gd name="connsiteX975" fmla="*/ 3541814 w 11346020"/>
              <a:gd name="connsiteY975" fmla="*/ 4180289 h 4683863"/>
              <a:gd name="connsiteX976" fmla="*/ 3541810 w 11346020"/>
              <a:gd name="connsiteY976" fmla="*/ 4180289 h 4683863"/>
              <a:gd name="connsiteX977" fmla="*/ 3541814 w 11346020"/>
              <a:gd name="connsiteY977" fmla="*/ 4180293 h 4683863"/>
              <a:gd name="connsiteX978" fmla="*/ 3439886 w 11346020"/>
              <a:gd name="connsiteY978" fmla="*/ 4193021 h 4683863"/>
              <a:gd name="connsiteX979" fmla="*/ 3439889 w 11346020"/>
              <a:gd name="connsiteY979" fmla="*/ 4193017 h 4683863"/>
              <a:gd name="connsiteX980" fmla="*/ 3439886 w 11346020"/>
              <a:gd name="connsiteY980" fmla="*/ 4193017 h 4683863"/>
              <a:gd name="connsiteX981" fmla="*/ 3478108 w 11346020"/>
              <a:gd name="connsiteY981" fmla="*/ 4142105 h 4683863"/>
              <a:gd name="connsiteX982" fmla="*/ 3441479 w 11346020"/>
              <a:gd name="connsiteY982" fmla="*/ 4127783 h 4683863"/>
              <a:gd name="connsiteX983" fmla="*/ 3414406 w 11346020"/>
              <a:gd name="connsiteY983" fmla="*/ 4142105 h 4683863"/>
              <a:gd name="connsiteX984" fmla="*/ 3413800 w 11346020"/>
              <a:gd name="connsiteY984" fmla="*/ 4144516 h 4683863"/>
              <a:gd name="connsiteX985" fmla="*/ 3401663 w 11346020"/>
              <a:gd name="connsiteY985" fmla="*/ 4193021 h 4683863"/>
              <a:gd name="connsiteX986" fmla="*/ 3350700 w 11346020"/>
              <a:gd name="connsiteY986" fmla="*/ 4091188 h 4683863"/>
              <a:gd name="connsiteX987" fmla="*/ 3325218 w 11346020"/>
              <a:gd name="connsiteY987" fmla="*/ 4103917 h 4683863"/>
              <a:gd name="connsiteX988" fmla="*/ 3274255 w 11346020"/>
              <a:gd name="connsiteY988" fmla="*/ 4129376 h 4683863"/>
              <a:gd name="connsiteX989" fmla="*/ 3248772 w 11346020"/>
              <a:gd name="connsiteY989" fmla="*/ 4129376 h 4683863"/>
              <a:gd name="connsiteX990" fmla="*/ 3197806 w 11346020"/>
              <a:gd name="connsiteY990" fmla="*/ 4256669 h 4683863"/>
              <a:gd name="connsiteX991" fmla="*/ 3108621 w 11346020"/>
              <a:gd name="connsiteY991" fmla="*/ 4282128 h 4683863"/>
              <a:gd name="connsiteX992" fmla="*/ 3095881 w 11346020"/>
              <a:gd name="connsiteY992" fmla="*/ 4243940 h 4683863"/>
              <a:gd name="connsiteX993" fmla="*/ 3095881 w 11346020"/>
              <a:gd name="connsiteY993" fmla="*/ 4243936 h 4683863"/>
              <a:gd name="connsiteX994" fmla="*/ 3121361 w 11346020"/>
              <a:gd name="connsiteY994" fmla="*/ 4231205 h 4683863"/>
              <a:gd name="connsiteX995" fmla="*/ 3159583 w 11346020"/>
              <a:gd name="connsiteY995" fmla="*/ 4218477 h 4683863"/>
              <a:gd name="connsiteX996" fmla="*/ 3185063 w 11346020"/>
              <a:gd name="connsiteY996" fmla="*/ 4193021 h 4683863"/>
              <a:gd name="connsiteX997" fmla="*/ 3170733 w 11346020"/>
              <a:gd name="connsiteY997" fmla="*/ 4172337 h 4683863"/>
              <a:gd name="connsiteX998" fmla="*/ 3146843 w 11346020"/>
              <a:gd name="connsiteY998" fmla="*/ 4180293 h 4683863"/>
              <a:gd name="connsiteX999" fmla="*/ 3108621 w 11346020"/>
              <a:gd name="connsiteY999" fmla="*/ 4193021 h 4683863"/>
              <a:gd name="connsiteX1000" fmla="*/ 3057655 w 11346020"/>
              <a:gd name="connsiteY1000" fmla="*/ 4167564 h 4683863"/>
              <a:gd name="connsiteX1001" fmla="*/ 3006692 w 11346020"/>
              <a:gd name="connsiteY1001" fmla="*/ 4154833 h 4683863"/>
              <a:gd name="connsiteX1002" fmla="*/ 2942987 w 11346020"/>
              <a:gd name="connsiteY1002" fmla="*/ 4218481 h 4683863"/>
              <a:gd name="connsiteX1003" fmla="*/ 2904764 w 11346020"/>
              <a:gd name="connsiteY1003" fmla="*/ 4218481 h 4683863"/>
              <a:gd name="connsiteX1004" fmla="*/ 2892024 w 11346020"/>
              <a:gd name="connsiteY1004" fmla="*/ 4282128 h 4683863"/>
              <a:gd name="connsiteX1005" fmla="*/ 2892024 w 11346020"/>
              <a:gd name="connsiteY1005" fmla="*/ 4282124 h 4683863"/>
              <a:gd name="connsiteX1006" fmla="*/ 2892024 w 11346020"/>
              <a:gd name="connsiteY1006" fmla="*/ 4167564 h 4683863"/>
              <a:gd name="connsiteX1007" fmla="*/ 2879281 w 11346020"/>
              <a:gd name="connsiteY1007" fmla="*/ 4142105 h 4683863"/>
              <a:gd name="connsiteX1008" fmla="*/ 2866541 w 11346020"/>
              <a:gd name="connsiteY1008" fmla="*/ 4154833 h 4683863"/>
              <a:gd name="connsiteX1009" fmla="*/ 2802834 w 11346020"/>
              <a:gd name="connsiteY1009" fmla="*/ 4231209 h 4683863"/>
              <a:gd name="connsiteX1010" fmla="*/ 2802834 w 11346020"/>
              <a:gd name="connsiteY1010" fmla="*/ 4243936 h 4683863"/>
              <a:gd name="connsiteX1011" fmla="*/ 2821949 w 11346020"/>
              <a:gd name="connsiteY1011" fmla="*/ 4284112 h 4683863"/>
              <a:gd name="connsiteX1012" fmla="*/ 2821945 w 11346020"/>
              <a:gd name="connsiteY1012" fmla="*/ 4284116 h 4683863"/>
              <a:gd name="connsiteX1013" fmla="*/ 2821949 w 11346020"/>
              <a:gd name="connsiteY1013" fmla="*/ 4284116 h 4683863"/>
              <a:gd name="connsiteX1014" fmla="*/ 2764613 w 11346020"/>
              <a:gd name="connsiteY1014" fmla="*/ 4294857 h 4683863"/>
              <a:gd name="connsiteX1015" fmla="*/ 2700907 w 11346020"/>
              <a:gd name="connsiteY1015" fmla="*/ 4294857 h 4683863"/>
              <a:gd name="connsiteX1016" fmla="*/ 2700912 w 11346020"/>
              <a:gd name="connsiteY1016" fmla="*/ 4294853 h 4683863"/>
              <a:gd name="connsiteX1017" fmla="*/ 2700907 w 11346020"/>
              <a:gd name="connsiteY1017" fmla="*/ 4294853 h 4683863"/>
              <a:gd name="connsiteX1018" fmla="*/ 2718427 w 11346020"/>
              <a:gd name="connsiteY1018" fmla="*/ 4272576 h 4683863"/>
              <a:gd name="connsiteX1019" fmla="*/ 2764608 w 11346020"/>
              <a:gd name="connsiteY1019" fmla="*/ 4269393 h 4683863"/>
              <a:gd name="connsiteX1020" fmla="*/ 2708871 w 11346020"/>
              <a:gd name="connsiteY1020" fmla="*/ 4224846 h 4683863"/>
              <a:gd name="connsiteX1021" fmla="*/ 2662684 w 11346020"/>
              <a:gd name="connsiteY1021" fmla="*/ 4180293 h 4683863"/>
              <a:gd name="connsiteX1022" fmla="*/ 2637201 w 11346020"/>
              <a:gd name="connsiteY1022" fmla="*/ 4172337 h 4683863"/>
              <a:gd name="connsiteX1023" fmla="*/ 2611721 w 11346020"/>
              <a:gd name="connsiteY1023" fmla="*/ 4193021 h 4683863"/>
              <a:gd name="connsiteX1024" fmla="*/ 2637201 w 11346020"/>
              <a:gd name="connsiteY1024" fmla="*/ 4205748 h 4683863"/>
              <a:gd name="connsiteX1025" fmla="*/ 2662684 w 11346020"/>
              <a:gd name="connsiteY1025" fmla="*/ 4243936 h 4683863"/>
              <a:gd name="connsiteX1026" fmla="*/ 2662684 w 11346020"/>
              <a:gd name="connsiteY1026" fmla="*/ 4243940 h 4683863"/>
              <a:gd name="connsiteX1027" fmla="*/ 2624461 w 11346020"/>
              <a:gd name="connsiteY1027" fmla="*/ 4256669 h 4683863"/>
              <a:gd name="connsiteX1028" fmla="*/ 2598978 w 11346020"/>
              <a:gd name="connsiteY1028" fmla="*/ 4243940 h 4683863"/>
              <a:gd name="connsiteX1029" fmla="*/ 2535277 w 11346020"/>
              <a:gd name="connsiteY1029" fmla="*/ 4231209 h 4683863"/>
              <a:gd name="connsiteX1030" fmla="*/ 2505017 w 11346020"/>
              <a:gd name="connsiteY1030" fmla="*/ 4270986 h 4683863"/>
              <a:gd name="connsiteX1031" fmla="*/ 2522533 w 11346020"/>
              <a:gd name="connsiteY1031" fmla="*/ 4320312 h 4683863"/>
              <a:gd name="connsiteX1032" fmla="*/ 2522533 w 11346020"/>
              <a:gd name="connsiteY1032" fmla="*/ 4320316 h 4683863"/>
              <a:gd name="connsiteX1033" fmla="*/ 2484310 w 11346020"/>
              <a:gd name="connsiteY1033" fmla="*/ 4294857 h 4683863"/>
              <a:gd name="connsiteX1034" fmla="*/ 2458828 w 11346020"/>
              <a:gd name="connsiteY1034" fmla="*/ 4269397 h 4683863"/>
              <a:gd name="connsiteX1035" fmla="*/ 2280453 w 11346020"/>
              <a:gd name="connsiteY1035" fmla="*/ 4269397 h 4683863"/>
              <a:gd name="connsiteX1036" fmla="*/ 2254974 w 11346020"/>
              <a:gd name="connsiteY1036" fmla="*/ 4256669 h 4683863"/>
              <a:gd name="connsiteX1037" fmla="*/ 2204008 w 11346020"/>
              <a:gd name="connsiteY1037" fmla="*/ 4269397 h 4683863"/>
              <a:gd name="connsiteX1038" fmla="*/ 2140301 w 11346020"/>
              <a:gd name="connsiteY1038" fmla="*/ 4307585 h 4683863"/>
              <a:gd name="connsiteX1039" fmla="*/ 2051117 w 11346020"/>
              <a:gd name="connsiteY1039" fmla="*/ 4294857 h 4683863"/>
              <a:gd name="connsiteX1040" fmla="*/ 2038377 w 11346020"/>
              <a:gd name="connsiteY1040" fmla="*/ 4307585 h 4683863"/>
              <a:gd name="connsiteX1041" fmla="*/ 2051117 w 11346020"/>
              <a:gd name="connsiteY1041" fmla="*/ 4320312 h 4683863"/>
              <a:gd name="connsiteX1042" fmla="*/ 2216748 w 11346020"/>
              <a:gd name="connsiteY1042" fmla="*/ 4333041 h 4683863"/>
              <a:gd name="connsiteX1043" fmla="*/ 2305936 w 11346020"/>
              <a:gd name="connsiteY1043" fmla="*/ 4282124 h 4683863"/>
              <a:gd name="connsiteX1044" fmla="*/ 2420604 w 11346020"/>
              <a:gd name="connsiteY1044" fmla="*/ 4282124 h 4683863"/>
              <a:gd name="connsiteX1045" fmla="*/ 2420690 w 11346020"/>
              <a:gd name="connsiteY1045" fmla="*/ 4282198 h 4683863"/>
              <a:gd name="connsiteX1046" fmla="*/ 2454051 w 11346020"/>
              <a:gd name="connsiteY1046" fmla="*/ 4310768 h 4683863"/>
              <a:gd name="connsiteX1047" fmla="*/ 2458828 w 11346020"/>
              <a:gd name="connsiteY1047" fmla="*/ 4358501 h 4683863"/>
              <a:gd name="connsiteX1048" fmla="*/ 2458828 w 11346020"/>
              <a:gd name="connsiteY1048" fmla="*/ 4358504 h 4683863"/>
              <a:gd name="connsiteX1049" fmla="*/ 2528903 w 11346020"/>
              <a:gd name="connsiteY1049" fmla="*/ 4345773 h 4683863"/>
              <a:gd name="connsiteX1050" fmla="*/ 2598809 w 11346020"/>
              <a:gd name="connsiteY1050" fmla="*/ 4371171 h 4683863"/>
              <a:gd name="connsiteX1051" fmla="*/ 2598978 w 11346020"/>
              <a:gd name="connsiteY1051" fmla="*/ 4371228 h 4683863"/>
              <a:gd name="connsiteX1052" fmla="*/ 2688167 w 11346020"/>
              <a:gd name="connsiteY1052" fmla="*/ 4383957 h 4683863"/>
              <a:gd name="connsiteX1053" fmla="*/ 2777353 w 11346020"/>
              <a:gd name="connsiteY1053" fmla="*/ 4383957 h 4683863"/>
              <a:gd name="connsiteX1054" fmla="*/ 2892024 w 11346020"/>
              <a:gd name="connsiteY1054" fmla="*/ 4396685 h 4683863"/>
              <a:gd name="connsiteX1055" fmla="*/ 2981210 w 11346020"/>
              <a:gd name="connsiteY1055" fmla="*/ 4409416 h 4683863"/>
              <a:gd name="connsiteX1056" fmla="*/ 3044914 w 11346020"/>
              <a:gd name="connsiteY1056" fmla="*/ 4396685 h 4683863"/>
              <a:gd name="connsiteX1057" fmla="*/ 3146843 w 11346020"/>
              <a:gd name="connsiteY1057" fmla="*/ 4409416 h 4683863"/>
              <a:gd name="connsiteX1058" fmla="*/ 3478108 w 11346020"/>
              <a:gd name="connsiteY1058" fmla="*/ 4422145 h 4683863"/>
              <a:gd name="connsiteX1059" fmla="*/ 3580037 w 11346020"/>
              <a:gd name="connsiteY1059" fmla="*/ 4434873 h 4683863"/>
              <a:gd name="connsiteX1060" fmla="*/ 3771154 w 11346020"/>
              <a:gd name="connsiteY1060" fmla="*/ 4460333 h 4683863"/>
              <a:gd name="connsiteX1061" fmla="*/ 4268052 w 11346020"/>
              <a:gd name="connsiteY1061" fmla="*/ 4498521 h 4683863"/>
              <a:gd name="connsiteX1062" fmla="*/ 4484652 w 11346020"/>
              <a:gd name="connsiteY1062" fmla="*/ 4523980 h 4683863"/>
              <a:gd name="connsiteX1063" fmla="*/ 4535614 w 11346020"/>
              <a:gd name="connsiteY1063" fmla="*/ 4523980 h 4683863"/>
              <a:gd name="connsiteX1064" fmla="*/ 4573837 w 11346020"/>
              <a:gd name="connsiteY1064" fmla="*/ 4536709 h 4683863"/>
              <a:gd name="connsiteX1065" fmla="*/ 4573837 w 11346020"/>
              <a:gd name="connsiteY1065" fmla="*/ 4536713 h 4683863"/>
              <a:gd name="connsiteX1066" fmla="*/ 4535614 w 11346020"/>
              <a:gd name="connsiteY1066" fmla="*/ 4562172 h 4683863"/>
              <a:gd name="connsiteX1067" fmla="*/ 4242569 w 11346020"/>
              <a:gd name="connsiteY1067" fmla="*/ 4523984 h 4683863"/>
              <a:gd name="connsiteX1068" fmla="*/ 4000490 w 11346020"/>
              <a:gd name="connsiteY1068" fmla="*/ 4511253 h 4683863"/>
              <a:gd name="connsiteX1069" fmla="*/ 4000490 w 11346020"/>
              <a:gd name="connsiteY1069" fmla="*/ 4512325 h 4683863"/>
              <a:gd name="connsiteX1070" fmla="*/ 4000490 w 11346020"/>
              <a:gd name="connsiteY1070" fmla="*/ 4544665 h 4683863"/>
              <a:gd name="connsiteX1071" fmla="*/ 4038712 w 11346020"/>
              <a:gd name="connsiteY1071" fmla="*/ 4549437 h 4683863"/>
              <a:gd name="connsiteX1072" fmla="*/ 4178862 w 11346020"/>
              <a:gd name="connsiteY1072" fmla="*/ 4574897 h 4683863"/>
              <a:gd name="connsiteX1073" fmla="*/ 4178858 w 11346020"/>
              <a:gd name="connsiteY1073" fmla="*/ 4574897 h 4683863"/>
              <a:gd name="connsiteX1074" fmla="*/ 4178862 w 11346020"/>
              <a:gd name="connsiteY1074" fmla="*/ 4574901 h 4683863"/>
              <a:gd name="connsiteX1075" fmla="*/ 4089677 w 11346020"/>
              <a:gd name="connsiteY1075" fmla="*/ 4574901 h 4683863"/>
              <a:gd name="connsiteX1076" fmla="*/ 4038712 w 11346020"/>
              <a:gd name="connsiteY1076" fmla="*/ 4613088 h 4683863"/>
              <a:gd name="connsiteX1077" fmla="*/ 4038712 w 11346020"/>
              <a:gd name="connsiteY1077" fmla="*/ 4625813 h 4683863"/>
              <a:gd name="connsiteX1078" fmla="*/ 4038712 w 11346020"/>
              <a:gd name="connsiteY1078" fmla="*/ 4625817 h 4683863"/>
              <a:gd name="connsiteX1079" fmla="*/ 3949528 w 11346020"/>
              <a:gd name="connsiteY1079" fmla="*/ 4613088 h 4683863"/>
              <a:gd name="connsiteX1080" fmla="*/ 3936784 w 11346020"/>
              <a:gd name="connsiteY1080" fmla="*/ 4600360 h 4683863"/>
              <a:gd name="connsiteX1081" fmla="*/ 3822117 w 11346020"/>
              <a:gd name="connsiteY1081" fmla="*/ 4574901 h 4683863"/>
              <a:gd name="connsiteX1082" fmla="*/ 3822120 w 11346020"/>
              <a:gd name="connsiteY1082" fmla="*/ 4574897 h 4683863"/>
              <a:gd name="connsiteX1083" fmla="*/ 3822117 w 11346020"/>
              <a:gd name="connsiteY1083" fmla="*/ 4574897 h 4683863"/>
              <a:gd name="connsiteX1084" fmla="*/ 3846005 w 11346020"/>
              <a:gd name="connsiteY1084" fmla="*/ 4547847 h 4683863"/>
              <a:gd name="connsiteX1085" fmla="*/ 3860339 w 11346020"/>
              <a:gd name="connsiteY1085" fmla="*/ 4511253 h 4683863"/>
              <a:gd name="connsiteX1086" fmla="*/ 3834860 w 11346020"/>
              <a:gd name="connsiteY1086" fmla="*/ 4498525 h 4683863"/>
              <a:gd name="connsiteX1087" fmla="*/ 3822117 w 11346020"/>
              <a:gd name="connsiteY1087" fmla="*/ 4498525 h 4683863"/>
              <a:gd name="connsiteX1088" fmla="*/ 3769561 w 11346020"/>
              <a:gd name="connsiteY1088" fmla="*/ 4558989 h 4683863"/>
              <a:gd name="connsiteX1089" fmla="*/ 3741488 w 11346020"/>
              <a:gd name="connsiteY1089" fmla="*/ 4588026 h 4683863"/>
              <a:gd name="connsiteX1090" fmla="*/ 3745671 w 11346020"/>
              <a:gd name="connsiteY1090" fmla="*/ 4638545 h 4683863"/>
              <a:gd name="connsiteX1091" fmla="*/ 3745671 w 11346020"/>
              <a:gd name="connsiteY1091" fmla="*/ 4638548 h 4683863"/>
              <a:gd name="connsiteX1092" fmla="*/ 3720188 w 11346020"/>
              <a:gd name="connsiteY1092" fmla="*/ 4638548 h 4683863"/>
              <a:gd name="connsiteX1093" fmla="*/ 3643743 w 11346020"/>
              <a:gd name="connsiteY1093" fmla="*/ 4549441 h 4683863"/>
              <a:gd name="connsiteX1094" fmla="*/ 3580037 w 11346020"/>
              <a:gd name="connsiteY1094" fmla="*/ 4549441 h 4683863"/>
              <a:gd name="connsiteX1095" fmla="*/ 3584817 w 11346020"/>
              <a:gd name="connsiteY1095" fmla="*/ 4573303 h 4683863"/>
              <a:gd name="connsiteX1096" fmla="*/ 3618260 w 11346020"/>
              <a:gd name="connsiteY1096" fmla="*/ 4587625 h 4683863"/>
              <a:gd name="connsiteX1097" fmla="*/ 3618260 w 11346020"/>
              <a:gd name="connsiteY1097" fmla="*/ 4587629 h 4683863"/>
              <a:gd name="connsiteX1098" fmla="*/ 3618260 w 11346020"/>
              <a:gd name="connsiteY1098" fmla="*/ 4613084 h 4683863"/>
              <a:gd name="connsiteX1099" fmla="*/ 3618260 w 11346020"/>
              <a:gd name="connsiteY1099" fmla="*/ 4613088 h 4683863"/>
              <a:gd name="connsiteX1100" fmla="*/ 3580037 w 11346020"/>
              <a:gd name="connsiteY1100" fmla="*/ 4600360 h 4683863"/>
              <a:gd name="connsiteX1101" fmla="*/ 3541814 w 11346020"/>
              <a:gd name="connsiteY1101" fmla="*/ 4536713 h 4683863"/>
              <a:gd name="connsiteX1102" fmla="*/ 3490851 w 11346020"/>
              <a:gd name="connsiteY1102" fmla="*/ 4587629 h 4683863"/>
              <a:gd name="connsiteX1103" fmla="*/ 3350700 w 11346020"/>
              <a:gd name="connsiteY1103" fmla="*/ 4613088 h 4683863"/>
              <a:gd name="connsiteX1104" fmla="*/ 3312478 w 11346020"/>
              <a:gd name="connsiteY1104" fmla="*/ 4613088 h 4683863"/>
              <a:gd name="connsiteX1105" fmla="*/ 3236028 w 11346020"/>
              <a:gd name="connsiteY1105" fmla="*/ 4625817 h 4683863"/>
              <a:gd name="connsiteX1106" fmla="*/ 3210549 w 11346020"/>
              <a:gd name="connsiteY1106" fmla="*/ 4625817 h 4683863"/>
              <a:gd name="connsiteX1107" fmla="*/ 3134104 w 11346020"/>
              <a:gd name="connsiteY1107" fmla="*/ 4625817 h 4683863"/>
              <a:gd name="connsiteX1108" fmla="*/ 3057655 w 11346020"/>
              <a:gd name="connsiteY1108" fmla="*/ 4562172 h 4683863"/>
              <a:gd name="connsiteX1109" fmla="*/ 3019432 w 11346020"/>
              <a:gd name="connsiteY1109" fmla="*/ 4536713 h 4683863"/>
              <a:gd name="connsiteX1110" fmla="*/ 3006692 w 11346020"/>
              <a:gd name="connsiteY1110" fmla="*/ 4498525 h 4683863"/>
              <a:gd name="connsiteX1111" fmla="*/ 2955730 w 11346020"/>
              <a:gd name="connsiteY1111" fmla="*/ 4536713 h 4683863"/>
              <a:gd name="connsiteX1112" fmla="*/ 2879281 w 11346020"/>
              <a:gd name="connsiteY1112" fmla="*/ 4549441 h 4683863"/>
              <a:gd name="connsiteX1113" fmla="*/ 2815579 w 11346020"/>
              <a:gd name="connsiteY1113" fmla="*/ 4562172 h 4683863"/>
              <a:gd name="connsiteX1114" fmla="*/ 2739130 w 11346020"/>
              <a:gd name="connsiteY1114" fmla="*/ 4613088 h 4683863"/>
              <a:gd name="connsiteX1115" fmla="*/ 2688167 w 11346020"/>
              <a:gd name="connsiteY1115" fmla="*/ 4587629 h 4683863"/>
              <a:gd name="connsiteX1116" fmla="*/ 2662684 w 11346020"/>
              <a:gd name="connsiteY1116" fmla="*/ 4562172 h 4683863"/>
              <a:gd name="connsiteX1117" fmla="*/ 2611721 w 11346020"/>
              <a:gd name="connsiteY1117" fmla="*/ 4574901 h 4683863"/>
              <a:gd name="connsiteX1118" fmla="*/ 2535277 w 11346020"/>
              <a:gd name="connsiteY1118" fmla="*/ 4613088 h 4683863"/>
              <a:gd name="connsiteX1119" fmla="*/ 2484310 w 11346020"/>
              <a:gd name="connsiteY1119" fmla="*/ 4617861 h 4683863"/>
              <a:gd name="connsiteX1120" fmla="*/ 2433359 w 11346020"/>
              <a:gd name="connsiteY1120" fmla="*/ 4613088 h 4683863"/>
              <a:gd name="connsiteX1121" fmla="*/ 2508200 w 11346020"/>
              <a:gd name="connsiteY1121" fmla="*/ 4640134 h 4683863"/>
              <a:gd name="connsiteX1122" fmla="*/ 2573499 w 11346020"/>
              <a:gd name="connsiteY1122" fmla="*/ 4638545 h 4683863"/>
              <a:gd name="connsiteX1123" fmla="*/ 2675428 w 11346020"/>
              <a:gd name="connsiteY1123" fmla="*/ 4638545 h 4683863"/>
              <a:gd name="connsiteX1124" fmla="*/ 2700907 w 11346020"/>
              <a:gd name="connsiteY1124" fmla="*/ 4664001 h 4683863"/>
              <a:gd name="connsiteX1125" fmla="*/ 2700907 w 11346020"/>
              <a:gd name="connsiteY1125" fmla="*/ 4664005 h 4683863"/>
              <a:gd name="connsiteX1126" fmla="*/ 2675428 w 11346020"/>
              <a:gd name="connsiteY1126" fmla="*/ 4664005 h 4683863"/>
              <a:gd name="connsiteX1127" fmla="*/ 2573499 w 11346020"/>
              <a:gd name="connsiteY1127" fmla="*/ 4676736 h 4683863"/>
              <a:gd name="connsiteX1128" fmla="*/ 2471571 w 11346020"/>
              <a:gd name="connsiteY1128" fmla="*/ 4651276 h 4683863"/>
              <a:gd name="connsiteX1129" fmla="*/ 2344158 w 11346020"/>
              <a:gd name="connsiteY1129" fmla="*/ 4676736 h 4683863"/>
              <a:gd name="connsiteX1130" fmla="*/ 2305936 w 11346020"/>
              <a:gd name="connsiteY1130" fmla="*/ 4664005 h 4683863"/>
              <a:gd name="connsiteX1131" fmla="*/ 2305936 w 11346020"/>
              <a:gd name="connsiteY1131" fmla="*/ 4664001 h 4683863"/>
              <a:gd name="connsiteX1132" fmla="*/ 2344158 w 11346020"/>
              <a:gd name="connsiteY1132" fmla="*/ 4625813 h 4683863"/>
              <a:gd name="connsiteX1133" fmla="*/ 2363272 w 11346020"/>
              <a:gd name="connsiteY1133" fmla="*/ 4630585 h 4683863"/>
              <a:gd name="connsiteX1134" fmla="*/ 2382378 w 11346020"/>
              <a:gd name="connsiteY1134" fmla="*/ 4625813 h 4683863"/>
              <a:gd name="connsiteX1135" fmla="*/ 2331419 w 11346020"/>
              <a:gd name="connsiteY1135" fmla="*/ 4601950 h 4683863"/>
              <a:gd name="connsiteX1136" fmla="*/ 2318676 w 11346020"/>
              <a:gd name="connsiteY1136" fmla="*/ 4549441 h 4683863"/>
              <a:gd name="connsiteX1137" fmla="*/ 2270901 w 11346020"/>
              <a:gd name="connsiteY1137" fmla="*/ 4579673 h 4683863"/>
              <a:gd name="connsiteX1138" fmla="*/ 2280453 w 11346020"/>
              <a:gd name="connsiteY1138" fmla="*/ 4638545 h 4683863"/>
              <a:gd name="connsiteX1139" fmla="*/ 2280453 w 11346020"/>
              <a:gd name="connsiteY1139" fmla="*/ 4638548 h 4683863"/>
              <a:gd name="connsiteX1140" fmla="*/ 2254974 w 11346020"/>
              <a:gd name="connsiteY1140" fmla="*/ 4664005 h 4683863"/>
              <a:gd name="connsiteX1141" fmla="*/ 2178525 w 11346020"/>
              <a:gd name="connsiteY1141" fmla="*/ 4664005 h 4683863"/>
              <a:gd name="connsiteX1142" fmla="*/ 2176935 w 11346020"/>
              <a:gd name="connsiteY1142" fmla="*/ 4640139 h 4683863"/>
              <a:gd name="connsiteX1143" fmla="*/ 2176935 w 11346020"/>
              <a:gd name="connsiteY1143" fmla="*/ 4640134 h 4683863"/>
              <a:gd name="connsiteX1144" fmla="*/ 2204008 w 11346020"/>
              <a:gd name="connsiteY1144" fmla="*/ 4625813 h 4683863"/>
              <a:gd name="connsiteX1145" fmla="*/ 2204008 w 11346020"/>
              <a:gd name="connsiteY1145" fmla="*/ 4600360 h 4683863"/>
              <a:gd name="connsiteX1146" fmla="*/ 2191268 w 11346020"/>
              <a:gd name="connsiteY1146" fmla="*/ 4549441 h 4683863"/>
              <a:gd name="connsiteX1147" fmla="*/ 2153046 w 11346020"/>
              <a:gd name="connsiteY1147" fmla="*/ 4574901 h 4683863"/>
              <a:gd name="connsiteX1148" fmla="*/ 2051117 w 11346020"/>
              <a:gd name="connsiteY1148" fmla="*/ 4600360 h 4683863"/>
              <a:gd name="connsiteX1149" fmla="*/ 2000151 w 11346020"/>
              <a:gd name="connsiteY1149" fmla="*/ 4625817 h 4683863"/>
              <a:gd name="connsiteX1150" fmla="*/ 1923705 w 11346020"/>
              <a:gd name="connsiteY1150" fmla="*/ 4664005 h 4683863"/>
              <a:gd name="connsiteX1151" fmla="*/ 1554218 w 11346020"/>
              <a:gd name="connsiteY1151" fmla="*/ 4664005 h 4683863"/>
              <a:gd name="connsiteX1152" fmla="*/ 1528735 w 11346020"/>
              <a:gd name="connsiteY1152" fmla="*/ 4651276 h 4683863"/>
              <a:gd name="connsiteX1153" fmla="*/ 1528739 w 11346020"/>
              <a:gd name="connsiteY1153" fmla="*/ 4651272 h 4683863"/>
              <a:gd name="connsiteX1154" fmla="*/ 1528735 w 11346020"/>
              <a:gd name="connsiteY1154" fmla="*/ 4651272 h 4683863"/>
              <a:gd name="connsiteX1155" fmla="*/ 1566958 w 11346020"/>
              <a:gd name="connsiteY1155" fmla="*/ 4613084 h 4683863"/>
              <a:gd name="connsiteX1156" fmla="*/ 1719848 w 11346020"/>
              <a:gd name="connsiteY1156" fmla="*/ 4613084 h 4683863"/>
              <a:gd name="connsiteX1157" fmla="*/ 1898222 w 11346020"/>
              <a:gd name="connsiteY1157" fmla="*/ 4638545 h 4683863"/>
              <a:gd name="connsiteX1158" fmla="*/ 1930076 w 11346020"/>
              <a:gd name="connsiteY1158" fmla="*/ 4627406 h 4683863"/>
              <a:gd name="connsiteX1159" fmla="*/ 1961928 w 11346020"/>
              <a:gd name="connsiteY1159" fmla="*/ 4625813 h 4683863"/>
              <a:gd name="connsiteX1160" fmla="*/ 1936448 w 11346020"/>
              <a:gd name="connsiteY1160" fmla="*/ 4562172 h 4683863"/>
              <a:gd name="connsiteX1161" fmla="*/ 1939631 w 11346020"/>
              <a:gd name="connsiteY1161" fmla="*/ 4589218 h 4683863"/>
              <a:gd name="connsiteX1162" fmla="*/ 1939631 w 11346020"/>
              <a:gd name="connsiteY1162" fmla="*/ 4589222 h 4683863"/>
              <a:gd name="connsiteX1163" fmla="*/ 1923705 w 11346020"/>
              <a:gd name="connsiteY1163" fmla="*/ 4587629 h 4683863"/>
              <a:gd name="connsiteX1164" fmla="*/ 1770815 w 11346020"/>
              <a:gd name="connsiteY1164" fmla="*/ 4574901 h 4683863"/>
              <a:gd name="connsiteX1165" fmla="*/ 1745331 w 11346020"/>
              <a:gd name="connsiteY1165" fmla="*/ 4562172 h 4683863"/>
              <a:gd name="connsiteX1166" fmla="*/ 1729405 w 11346020"/>
              <a:gd name="connsiteY1166" fmla="*/ 4554217 h 4683863"/>
              <a:gd name="connsiteX1167" fmla="*/ 1732592 w 11346020"/>
              <a:gd name="connsiteY1167" fmla="*/ 4574897 h 4683863"/>
              <a:gd name="connsiteX1168" fmla="*/ 1732592 w 11346020"/>
              <a:gd name="connsiteY1168" fmla="*/ 4574901 h 4683863"/>
              <a:gd name="connsiteX1169" fmla="*/ 1732592 w 11346020"/>
              <a:gd name="connsiteY1169" fmla="*/ 4600356 h 4683863"/>
              <a:gd name="connsiteX1170" fmla="*/ 1732592 w 11346020"/>
              <a:gd name="connsiteY1170" fmla="*/ 4600360 h 4683863"/>
              <a:gd name="connsiteX1171" fmla="*/ 1579697 w 11346020"/>
              <a:gd name="connsiteY1171" fmla="*/ 4549441 h 4683863"/>
              <a:gd name="connsiteX1172" fmla="*/ 1522365 w 11346020"/>
              <a:gd name="connsiteY1172" fmla="*/ 4538302 h 4683863"/>
              <a:gd name="connsiteX1173" fmla="*/ 1465037 w 11346020"/>
              <a:gd name="connsiteY1173" fmla="*/ 4536713 h 4683863"/>
              <a:gd name="connsiteX1174" fmla="*/ 1514402 w 11346020"/>
              <a:gd name="connsiteY1174" fmla="*/ 4558985 h 4683863"/>
              <a:gd name="connsiteX1175" fmla="*/ 1524155 w 11346020"/>
              <a:gd name="connsiteY1175" fmla="*/ 4572508 h 4683863"/>
              <a:gd name="connsiteX1176" fmla="*/ 1524155 w 11346020"/>
              <a:gd name="connsiteY1176" fmla="*/ 4572512 h 4683863"/>
              <a:gd name="connsiteX1177" fmla="*/ 1477769 w 11346020"/>
              <a:gd name="connsiteY1177" fmla="*/ 4600360 h 4683863"/>
              <a:gd name="connsiteX1178" fmla="*/ 1477769 w 11346020"/>
              <a:gd name="connsiteY1178" fmla="*/ 4621044 h 4683863"/>
              <a:gd name="connsiteX1179" fmla="*/ 1477769 w 11346020"/>
              <a:gd name="connsiteY1179" fmla="*/ 4651272 h 4683863"/>
              <a:gd name="connsiteX1180" fmla="*/ 1477769 w 11346020"/>
              <a:gd name="connsiteY1180" fmla="*/ 4651276 h 4683863"/>
              <a:gd name="connsiteX1181" fmla="*/ 1452290 w 11346020"/>
              <a:gd name="connsiteY1181" fmla="*/ 4625817 h 4683863"/>
              <a:gd name="connsiteX1182" fmla="*/ 1401323 w 11346020"/>
              <a:gd name="connsiteY1182" fmla="*/ 4587629 h 4683863"/>
              <a:gd name="connsiteX1183" fmla="*/ 1375840 w 11346020"/>
              <a:gd name="connsiteY1183" fmla="*/ 4625817 h 4683863"/>
              <a:gd name="connsiteX1184" fmla="*/ 1337618 w 11346020"/>
              <a:gd name="connsiteY1184" fmla="*/ 4651276 h 4683863"/>
              <a:gd name="connsiteX1185" fmla="*/ 1070058 w 11346020"/>
              <a:gd name="connsiteY1185" fmla="*/ 4625817 h 4683863"/>
              <a:gd name="connsiteX1186" fmla="*/ 993613 w 11346020"/>
              <a:gd name="connsiteY1186" fmla="*/ 4613088 h 4683863"/>
              <a:gd name="connsiteX1187" fmla="*/ 891685 w 11346020"/>
              <a:gd name="connsiteY1187" fmla="*/ 4536713 h 4683863"/>
              <a:gd name="connsiteX1188" fmla="*/ 878941 w 11346020"/>
              <a:gd name="connsiteY1188" fmla="*/ 4333045 h 4683863"/>
              <a:gd name="connsiteX1189" fmla="*/ 878941 w 11346020"/>
              <a:gd name="connsiteY1189" fmla="*/ 4333041 h 4683863"/>
              <a:gd name="connsiteX1190" fmla="*/ 955386 w 11346020"/>
              <a:gd name="connsiteY1190" fmla="*/ 4231205 h 4683863"/>
              <a:gd name="connsiteX1191" fmla="*/ 1095538 w 11346020"/>
              <a:gd name="connsiteY1191" fmla="*/ 4205748 h 4683863"/>
              <a:gd name="connsiteX1192" fmla="*/ 1146504 w 11346020"/>
              <a:gd name="connsiteY1192" fmla="*/ 4205748 h 4683863"/>
              <a:gd name="connsiteX1193" fmla="*/ 1197466 w 11346020"/>
              <a:gd name="connsiteY1193" fmla="*/ 4205748 h 4683863"/>
              <a:gd name="connsiteX1194" fmla="*/ 1261172 w 11346020"/>
              <a:gd name="connsiteY1194" fmla="*/ 4269393 h 4683863"/>
              <a:gd name="connsiteX1195" fmla="*/ 1363101 w 11346020"/>
              <a:gd name="connsiteY1195" fmla="*/ 4180289 h 4683863"/>
              <a:gd name="connsiteX1196" fmla="*/ 1465029 w 11346020"/>
              <a:gd name="connsiteY1196" fmla="*/ 4154829 h 4683863"/>
              <a:gd name="connsiteX1197" fmla="*/ 1898222 w 11346020"/>
              <a:gd name="connsiteY1197" fmla="*/ 4103913 h 4683863"/>
              <a:gd name="connsiteX1198" fmla="*/ 2025634 w 11346020"/>
              <a:gd name="connsiteY1198" fmla="*/ 4091184 h 4683863"/>
              <a:gd name="connsiteX1199" fmla="*/ 2063856 w 11346020"/>
              <a:gd name="connsiteY1199" fmla="*/ 4116641 h 4683863"/>
              <a:gd name="connsiteX1200" fmla="*/ 2076595 w 11346020"/>
              <a:gd name="connsiteY1200" fmla="*/ 4142101 h 4683863"/>
              <a:gd name="connsiteX1201" fmla="*/ 2089340 w 11346020"/>
              <a:gd name="connsiteY1201" fmla="*/ 4116641 h 4683863"/>
              <a:gd name="connsiteX1202" fmla="*/ 2114824 w 11346020"/>
              <a:gd name="connsiteY1202" fmla="*/ 4078453 h 4683863"/>
              <a:gd name="connsiteX1203" fmla="*/ 2407865 w 11346020"/>
              <a:gd name="connsiteY1203" fmla="*/ 4052997 h 4683863"/>
              <a:gd name="connsiteX1204" fmla="*/ 2446088 w 11346020"/>
              <a:gd name="connsiteY1204" fmla="*/ 4052997 h 4683863"/>
              <a:gd name="connsiteX1205" fmla="*/ 2535277 w 11346020"/>
              <a:gd name="connsiteY1205" fmla="*/ 4091184 h 4683863"/>
              <a:gd name="connsiteX1206" fmla="*/ 2598978 w 11346020"/>
              <a:gd name="connsiteY1206" fmla="*/ 4142101 h 4683863"/>
              <a:gd name="connsiteX1207" fmla="*/ 2611721 w 11346020"/>
              <a:gd name="connsiteY1207" fmla="*/ 4040268 h 4683863"/>
              <a:gd name="connsiteX1208" fmla="*/ 2713650 w 11346020"/>
              <a:gd name="connsiteY1208" fmla="*/ 4052997 h 4683863"/>
              <a:gd name="connsiteX1209" fmla="*/ 2713650 w 11346020"/>
              <a:gd name="connsiteY1209" fmla="*/ 4053001 h 4683863"/>
              <a:gd name="connsiteX1210" fmla="*/ 2713650 w 11346020"/>
              <a:gd name="connsiteY1210" fmla="*/ 4078453 h 4683863"/>
              <a:gd name="connsiteX1211" fmla="*/ 2739130 w 11346020"/>
              <a:gd name="connsiteY1211" fmla="*/ 4052997 h 4683863"/>
              <a:gd name="connsiteX1212" fmla="*/ 2790096 w 11346020"/>
              <a:gd name="connsiteY1212" fmla="*/ 4027537 h 4683863"/>
              <a:gd name="connsiteX1213" fmla="*/ 2802834 w 11346020"/>
              <a:gd name="connsiteY1213" fmla="*/ 4065725 h 4683863"/>
              <a:gd name="connsiteX1214" fmla="*/ 2802834 w 11346020"/>
              <a:gd name="connsiteY1214" fmla="*/ 4065729 h 4683863"/>
              <a:gd name="connsiteX1215" fmla="*/ 2801242 w 11346020"/>
              <a:gd name="connsiteY1215" fmla="*/ 4100730 h 4683863"/>
              <a:gd name="connsiteX1216" fmla="*/ 2828318 w 11346020"/>
              <a:gd name="connsiteY1216" fmla="*/ 4116641 h 4683863"/>
              <a:gd name="connsiteX1217" fmla="*/ 2879281 w 11346020"/>
              <a:gd name="connsiteY1217" fmla="*/ 4078453 h 4683863"/>
              <a:gd name="connsiteX1218" fmla="*/ 2993953 w 11346020"/>
              <a:gd name="connsiteY1218" fmla="*/ 4002080 h 4683863"/>
              <a:gd name="connsiteX1219" fmla="*/ 3083138 w 11346020"/>
              <a:gd name="connsiteY1219" fmla="*/ 4014809 h 4683863"/>
              <a:gd name="connsiteX1220" fmla="*/ 3083138 w 11346020"/>
              <a:gd name="connsiteY1220" fmla="*/ 4014813 h 4683863"/>
              <a:gd name="connsiteX1221" fmla="*/ 3095877 w 11346020"/>
              <a:gd name="connsiteY1221" fmla="*/ 4014813 h 4683863"/>
              <a:gd name="connsiteX1222" fmla="*/ 3095881 w 11346020"/>
              <a:gd name="connsiteY1222" fmla="*/ 4014809 h 4683863"/>
              <a:gd name="connsiteX1223" fmla="*/ 3185067 w 11346020"/>
              <a:gd name="connsiteY1223" fmla="*/ 4002080 h 4683863"/>
              <a:gd name="connsiteX1224" fmla="*/ 3439886 w 11346020"/>
              <a:gd name="connsiteY1224" fmla="*/ 4002080 h 4683863"/>
              <a:gd name="connsiteX1225" fmla="*/ 3465369 w 11346020"/>
              <a:gd name="connsiteY1225" fmla="*/ 3989349 h 4683863"/>
              <a:gd name="connsiteX1226" fmla="*/ 3452629 w 11346020"/>
              <a:gd name="connsiteY1226" fmla="*/ 3938437 h 4683863"/>
              <a:gd name="connsiteX1227" fmla="*/ 3452629 w 11346020"/>
              <a:gd name="connsiteY1227" fmla="*/ 3938433 h 4683863"/>
              <a:gd name="connsiteX1228" fmla="*/ 3495629 w 11346020"/>
              <a:gd name="connsiteY1228" fmla="*/ 3928884 h 4683863"/>
              <a:gd name="connsiteX1229" fmla="*/ 3495629 w 11346020"/>
              <a:gd name="connsiteY1229" fmla="*/ 3928888 h 4683863"/>
              <a:gd name="connsiteX1230" fmla="*/ 3490851 w 11346020"/>
              <a:gd name="connsiteY1230" fmla="*/ 3976621 h 4683863"/>
              <a:gd name="connsiteX1231" fmla="*/ 3503591 w 11346020"/>
              <a:gd name="connsiteY1231" fmla="*/ 4040268 h 4683863"/>
              <a:gd name="connsiteX1232" fmla="*/ 3524294 w 11346020"/>
              <a:gd name="connsiteY1232" fmla="*/ 4010036 h 4683863"/>
              <a:gd name="connsiteX1233" fmla="*/ 3554554 w 11346020"/>
              <a:gd name="connsiteY1233" fmla="*/ 3989349 h 4683863"/>
              <a:gd name="connsiteX1234" fmla="*/ 3540220 w 11346020"/>
              <a:gd name="connsiteY1234" fmla="*/ 3963896 h 4683863"/>
              <a:gd name="connsiteX1235" fmla="*/ 3516331 w 11346020"/>
              <a:gd name="connsiteY1235" fmla="*/ 3938437 h 4683863"/>
              <a:gd name="connsiteX1236" fmla="*/ 3516334 w 11346020"/>
              <a:gd name="connsiteY1236" fmla="*/ 3938437 h 4683863"/>
              <a:gd name="connsiteX1237" fmla="*/ 3516331 w 11346020"/>
              <a:gd name="connsiteY1237" fmla="*/ 3938433 h 4683863"/>
              <a:gd name="connsiteX1238" fmla="*/ 3567298 w 11346020"/>
              <a:gd name="connsiteY1238" fmla="*/ 3925704 h 4683863"/>
              <a:gd name="connsiteX1239" fmla="*/ 3936784 w 11346020"/>
              <a:gd name="connsiteY1239" fmla="*/ 3951161 h 4683863"/>
              <a:gd name="connsiteX1240" fmla="*/ 3965454 w 11346020"/>
              <a:gd name="connsiteY1240" fmla="*/ 3928888 h 4683863"/>
              <a:gd name="connsiteX1241" fmla="*/ 3975011 w 11346020"/>
              <a:gd name="connsiteY1241" fmla="*/ 3887516 h 4683863"/>
              <a:gd name="connsiteX1242" fmla="*/ 3968638 w 11346020"/>
              <a:gd name="connsiteY1242" fmla="*/ 3876383 h 4683863"/>
              <a:gd name="connsiteX1243" fmla="*/ 3962268 w 11346020"/>
              <a:gd name="connsiteY1243" fmla="*/ 3874789 h 4683863"/>
              <a:gd name="connsiteX1244" fmla="*/ 3924044 w 11346020"/>
              <a:gd name="connsiteY1244" fmla="*/ 3925708 h 4683863"/>
              <a:gd name="connsiteX1245" fmla="*/ 3809377 w 11346020"/>
              <a:gd name="connsiteY1245" fmla="*/ 3862061 h 4683863"/>
              <a:gd name="connsiteX1246" fmla="*/ 3643743 w 11346020"/>
              <a:gd name="connsiteY1246" fmla="*/ 3912977 h 4683863"/>
              <a:gd name="connsiteX1247" fmla="*/ 3567298 w 11346020"/>
              <a:gd name="connsiteY1247" fmla="*/ 3849329 h 4683863"/>
              <a:gd name="connsiteX1248" fmla="*/ 3503591 w 11346020"/>
              <a:gd name="connsiteY1248" fmla="*/ 3900249 h 4683863"/>
              <a:gd name="connsiteX1249" fmla="*/ 3261512 w 11346020"/>
              <a:gd name="connsiteY1249" fmla="*/ 3887516 h 4683863"/>
              <a:gd name="connsiteX1250" fmla="*/ 3197806 w 11346020"/>
              <a:gd name="connsiteY1250" fmla="*/ 3874789 h 4683863"/>
              <a:gd name="connsiteX1251" fmla="*/ 3108621 w 11346020"/>
              <a:gd name="connsiteY1251" fmla="*/ 3874789 h 4683863"/>
              <a:gd name="connsiteX1252" fmla="*/ 3070397 w 11346020"/>
              <a:gd name="connsiteY1252" fmla="*/ 3887516 h 4683863"/>
              <a:gd name="connsiteX1253" fmla="*/ 3019432 w 11346020"/>
              <a:gd name="connsiteY1253" fmla="*/ 3873199 h 4683863"/>
              <a:gd name="connsiteX1254" fmla="*/ 3002313 w 11346020"/>
              <a:gd name="connsiteY1254" fmla="*/ 3882146 h 4683863"/>
              <a:gd name="connsiteX1255" fmla="*/ 3006692 w 11346020"/>
              <a:gd name="connsiteY1255" fmla="*/ 3925704 h 4683863"/>
              <a:gd name="connsiteX1256" fmla="*/ 3006692 w 11346020"/>
              <a:gd name="connsiteY1256" fmla="*/ 3925708 h 4683863"/>
              <a:gd name="connsiteX1257" fmla="*/ 2981210 w 11346020"/>
              <a:gd name="connsiteY1257" fmla="*/ 3925708 h 4683863"/>
              <a:gd name="connsiteX1258" fmla="*/ 2968469 w 11346020"/>
              <a:gd name="connsiteY1258" fmla="*/ 3912977 h 4683863"/>
              <a:gd name="connsiteX1259" fmla="*/ 2930247 w 11346020"/>
              <a:gd name="connsiteY1259" fmla="*/ 3874789 h 4683863"/>
              <a:gd name="connsiteX1260" fmla="*/ 2509793 w 11346020"/>
              <a:gd name="connsiteY1260" fmla="*/ 3887516 h 4683863"/>
              <a:gd name="connsiteX1261" fmla="*/ 2356899 w 11346020"/>
              <a:gd name="connsiteY1261" fmla="*/ 3900249 h 4683863"/>
              <a:gd name="connsiteX1262" fmla="*/ 1872743 w 11346020"/>
              <a:gd name="connsiteY1262" fmla="*/ 3938437 h 4683863"/>
              <a:gd name="connsiteX1263" fmla="*/ 1490513 w 11346020"/>
              <a:gd name="connsiteY1263" fmla="*/ 3976625 h 4683863"/>
              <a:gd name="connsiteX1264" fmla="*/ 1363101 w 11346020"/>
              <a:gd name="connsiteY1264" fmla="*/ 4002084 h 4683863"/>
              <a:gd name="connsiteX1265" fmla="*/ 1261172 w 11346020"/>
              <a:gd name="connsiteY1265" fmla="*/ 3912977 h 4683863"/>
              <a:gd name="connsiteX1266" fmla="*/ 1261172 w 11346020"/>
              <a:gd name="connsiteY1266" fmla="*/ 3912973 h 4683863"/>
              <a:gd name="connsiteX1267" fmla="*/ 1261172 w 11346020"/>
              <a:gd name="connsiteY1267" fmla="*/ 3747497 h 4683863"/>
              <a:gd name="connsiteX1268" fmla="*/ 1261172 w 11346020"/>
              <a:gd name="connsiteY1268" fmla="*/ 3747493 h 4683863"/>
              <a:gd name="connsiteX1269" fmla="*/ 1298799 w 11346020"/>
              <a:gd name="connsiteY1269" fmla="*/ 3670521 h 4683863"/>
              <a:gd name="connsiteX1270" fmla="*/ 1299557 w 11346020"/>
              <a:gd name="connsiteY1270" fmla="*/ 3670532 h 4683863"/>
              <a:gd name="connsiteX1271" fmla="*/ 1300463 w 11346020"/>
              <a:gd name="connsiteY1271" fmla="*/ 3668136 h 4683863"/>
              <a:gd name="connsiteX1272" fmla="*/ 1300463 w 11346020"/>
              <a:gd name="connsiteY1272" fmla="*/ 3668132 h 4683863"/>
              <a:gd name="connsiteX1273" fmla="*/ 1327536 w 11346020"/>
              <a:gd name="connsiteY1273" fmla="*/ 3653810 h 4683863"/>
              <a:gd name="connsiteX1274" fmla="*/ 1327536 w 11346020"/>
              <a:gd name="connsiteY1274" fmla="*/ 3628358 h 4683863"/>
              <a:gd name="connsiteX1275" fmla="*/ 1314797 w 11346020"/>
              <a:gd name="connsiteY1275" fmla="*/ 3577439 h 4683863"/>
              <a:gd name="connsiteX1276" fmla="*/ 1276574 w 11346020"/>
              <a:gd name="connsiteY1276" fmla="*/ 3602898 h 4683863"/>
              <a:gd name="connsiteX1277" fmla="*/ 1174646 w 11346020"/>
              <a:gd name="connsiteY1277" fmla="*/ 3628358 h 4683863"/>
              <a:gd name="connsiteX1278" fmla="*/ 1123679 w 11346020"/>
              <a:gd name="connsiteY1278" fmla="*/ 3653814 h 4683863"/>
              <a:gd name="connsiteX1279" fmla="*/ 1047234 w 11346020"/>
              <a:gd name="connsiteY1279" fmla="*/ 3692002 h 4683863"/>
              <a:gd name="connsiteX1280" fmla="*/ 677746 w 11346020"/>
              <a:gd name="connsiteY1280" fmla="*/ 3692002 h 4683863"/>
              <a:gd name="connsiteX1281" fmla="*/ 652264 w 11346020"/>
              <a:gd name="connsiteY1281" fmla="*/ 3679274 h 4683863"/>
              <a:gd name="connsiteX1282" fmla="*/ 652268 w 11346020"/>
              <a:gd name="connsiteY1282" fmla="*/ 3679270 h 4683863"/>
              <a:gd name="connsiteX1283" fmla="*/ 652264 w 11346020"/>
              <a:gd name="connsiteY1283" fmla="*/ 3679270 h 4683863"/>
              <a:gd name="connsiteX1284" fmla="*/ 690486 w 11346020"/>
              <a:gd name="connsiteY1284" fmla="*/ 3641082 h 4683863"/>
              <a:gd name="connsiteX1285" fmla="*/ 843377 w 11346020"/>
              <a:gd name="connsiteY1285" fmla="*/ 3641082 h 4683863"/>
              <a:gd name="connsiteX1286" fmla="*/ 1021751 w 11346020"/>
              <a:gd name="connsiteY1286" fmla="*/ 3666543 h 4683863"/>
              <a:gd name="connsiteX1287" fmla="*/ 1053604 w 11346020"/>
              <a:gd name="connsiteY1287" fmla="*/ 3655404 h 4683863"/>
              <a:gd name="connsiteX1288" fmla="*/ 1085456 w 11346020"/>
              <a:gd name="connsiteY1288" fmla="*/ 3653810 h 4683863"/>
              <a:gd name="connsiteX1289" fmla="*/ 1059977 w 11346020"/>
              <a:gd name="connsiteY1289" fmla="*/ 3590170 h 4683863"/>
              <a:gd name="connsiteX1290" fmla="*/ 1063160 w 11346020"/>
              <a:gd name="connsiteY1290" fmla="*/ 3617216 h 4683863"/>
              <a:gd name="connsiteX1291" fmla="*/ 1063160 w 11346020"/>
              <a:gd name="connsiteY1291" fmla="*/ 3617220 h 4683863"/>
              <a:gd name="connsiteX1292" fmla="*/ 1047234 w 11346020"/>
              <a:gd name="connsiteY1292" fmla="*/ 3615627 h 4683863"/>
              <a:gd name="connsiteX1293" fmla="*/ 894343 w 11346020"/>
              <a:gd name="connsiteY1293" fmla="*/ 3602898 h 4683863"/>
              <a:gd name="connsiteX1294" fmla="*/ 868860 w 11346020"/>
              <a:gd name="connsiteY1294" fmla="*/ 3590170 h 4683863"/>
              <a:gd name="connsiteX1295" fmla="*/ 852934 w 11346020"/>
              <a:gd name="connsiteY1295" fmla="*/ 3582215 h 4683863"/>
              <a:gd name="connsiteX1296" fmla="*/ 856121 w 11346020"/>
              <a:gd name="connsiteY1296" fmla="*/ 3602894 h 4683863"/>
              <a:gd name="connsiteX1297" fmla="*/ 856121 w 11346020"/>
              <a:gd name="connsiteY1297" fmla="*/ 3602898 h 4683863"/>
              <a:gd name="connsiteX1298" fmla="*/ 856121 w 11346020"/>
              <a:gd name="connsiteY1298" fmla="*/ 3628354 h 4683863"/>
              <a:gd name="connsiteX1299" fmla="*/ 856121 w 11346020"/>
              <a:gd name="connsiteY1299" fmla="*/ 3628358 h 4683863"/>
              <a:gd name="connsiteX1300" fmla="*/ 703225 w 11346020"/>
              <a:gd name="connsiteY1300" fmla="*/ 3577439 h 4683863"/>
              <a:gd name="connsiteX1301" fmla="*/ 645894 w 11346020"/>
              <a:gd name="connsiteY1301" fmla="*/ 3566300 h 4683863"/>
              <a:gd name="connsiteX1302" fmla="*/ 588565 w 11346020"/>
              <a:gd name="connsiteY1302" fmla="*/ 3564710 h 4683863"/>
              <a:gd name="connsiteX1303" fmla="*/ 637930 w 11346020"/>
              <a:gd name="connsiteY1303" fmla="*/ 3586983 h 4683863"/>
              <a:gd name="connsiteX1304" fmla="*/ 647683 w 11346020"/>
              <a:gd name="connsiteY1304" fmla="*/ 3600506 h 4683863"/>
              <a:gd name="connsiteX1305" fmla="*/ 647683 w 11346020"/>
              <a:gd name="connsiteY1305" fmla="*/ 3600510 h 4683863"/>
              <a:gd name="connsiteX1306" fmla="*/ 601297 w 11346020"/>
              <a:gd name="connsiteY1306" fmla="*/ 3628358 h 4683863"/>
              <a:gd name="connsiteX1307" fmla="*/ 601297 w 11346020"/>
              <a:gd name="connsiteY1307" fmla="*/ 3649041 h 4683863"/>
              <a:gd name="connsiteX1308" fmla="*/ 601297 w 11346020"/>
              <a:gd name="connsiteY1308" fmla="*/ 3679270 h 4683863"/>
              <a:gd name="connsiteX1309" fmla="*/ 601297 w 11346020"/>
              <a:gd name="connsiteY1309" fmla="*/ 3679274 h 4683863"/>
              <a:gd name="connsiteX1310" fmla="*/ 575818 w 11346020"/>
              <a:gd name="connsiteY1310" fmla="*/ 3653814 h 4683863"/>
              <a:gd name="connsiteX1311" fmla="*/ 524852 w 11346020"/>
              <a:gd name="connsiteY1311" fmla="*/ 3615627 h 4683863"/>
              <a:gd name="connsiteX1312" fmla="*/ 499369 w 11346020"/>
              <a:gd name="connsiteY1312" fmla="*/ 3653814 h 4683863"/>
              <a:gd name="connsiteX1313" fmla="*/ 461146 w 11346020"/>
              <a:gd name="connsiteY1313" fmla="*/ 3679274 h 4683863"/>
              <a:gd name="connsiteX1314" fmla="*/ 193587 w 11346020"/>
              <a:gd name="connsiteY1314" fmla="*/ 3653814 h 4683863"/>
              <a:gd name="connsiteX1315" fmla="*/ 117142 w 11346020"/>
              <a:gd name="connsiteY1315" fmla="*/ 3641086 h 4683863"/>
              <a:gd name="connsiteX1316" fmla="*/ 15213 w 11346020"/>
              <a:gd name="connsiteY1316" fmla="*/ 3564710 h 4683863"/>
              <a:gd name="connsiteX1317" fmla="*/ 2470 w 11346020"/>
              <a:gd name="connsiteY1317" fmla="*/ 3361042 h 4683863"/>
              <a:gd name="connsiteX1318" fmla="*/ 2470 w 11346020"/>
              <a:gd name="connsiteY1318" fmla="*/ 3361038 h 4683863"/>
              <a:gd name="connsiteX1319" fmla="*/ 78915 w 11346020"/>
              <a:gd name="connsiteY1319" fmla="*/ 3259203 h 4683863"/>
              <a:gd name="connsiteX1320" fmla="*/ 219066 w 11346020"/>
              <a:gd name="connsiteY1320" fmla="*/ 3233746 h 4683863"/>
              <a:gd name="connsiteX1321" fmla="*/ 270032 w 11346020"/>
              <a:gd name="connsiteY1321" fmla="*/ 3233746 h 4683863"/>
              <a:gd name="connsiteX1322" fmla="*/ 320995 w 11346020"/>
              <a:gd name="connsiteY1322" fmla="*/ 3233746 h 4683863"/>
              <a:gd name="connsiteX1323" fmla="*/ 384701 w 11346020"/>
              <a:gd name="connsiteY1323" fmla="*/ 3297391 h 4683863"/>
              <a:gd name="connsiteX1324" fmla="*/ 486629 w 11346020"/>
              <a:gd name="connsiteY1324" fmla="*/ 3208287 h 4683863"/>
              <a:gd name="connsiteX1325" fmla="*/ 588558 w 11346020"/>
              <a:gd name="connsiteY1325" fmla="*/ 3182827 h 4683863"/>
              <a:gd name="connsiteX1326" fmla="*/ 1021751 w 11346020"/>
              <a:gd name="connsiteY1326" fmla="*/ 3131911 h 4683863"/>
              <a:gd name="connsiteX1327" fmla="*/ 1149162 w 11346020"/>
              <a:gd name="connsiteY1327" fmla="*/ 3119182 h 4683863"/>
              <a:gd name="connsiteX1328" fmla="*/ 1187385 w 11346020"/>
              <a:gd name="connsiteY1328" fmla="*/ 3144639 h 4683863"/>
              <a:gd name="connsiteX1329" fmla="*/ 1200125 w 11346020"/>
              <a:gd name="connsiteY1329" fmla="*/ 3170099 h 4683863"/>
              <a:gd name="connsiteX1330" fmla="*/ 1212868 w 11346020"/>
              <a:gd name="connsiteY1330" fmla="*/ 3144639 h 4683863"/>
              <a:gd name="connsiteX1331" fmla="*/ 1238352 w 11346020"/>
              <a:gd name="connsiteY1331" fmla="*/ 3106451 h 4683863"/>
              <a:gd name="connsiteX1332" fmla="*/ 1531393 w 11346020"/>
              <a:gd name="connsiteY1332" fmla="*/ 3080994 h 4683863"/>
              <a:gd name="connsiteX1333" fmla="*/ 1569616 w 11346020"/>
              <a:gd name="connsiteY1333" fmla="*/ 3080994 h 4683863"/>
              <a:gd name="connsiteX1334" fmla="*/ 1658805 w 11346020"/>
              <a:gd name="connsiteY1334" fmla="*/ 3119182 h 4683863"/>
              <a:gd name="connsiteX1335" fmla="*/ 1665095 w 11346020"/>
              <a:gd name="connsiteY1335" fmla="*/ 3128324 h 4683863"/>
              <a:gd name="connsiteX1336" fmla="*/ 1716041 w 11346020"/>
              <a:gd name="connsiteY1336" fmla="*/ 3124877 h 4683863"/>
              <a:gd name="connsiteX1337" fmla="*/ 1714546 w 11346020"/>
              <a:gd name="connsiteY1337" fmla="*/ 3114408 h 4683863"/>
              <a:gd name="connsiteX1338" fmla="*/ 1735250 w 11346020"/>
              <a:gd name="connsiteY1338" fmla="*/ 3068266 h 4683863"/>
              <a:gd name="connsiteX1339" fmla="*/ 1837179 w 11346020"/>
              <a:gd name="connsiteY1339" fmla="*/ 3080994 h 4683863"/>
              <a:gd name="connsiteX1340" fmla="*/ 1837179 w 11346020"/>
              <a:gd name="connsiteY1340" fmla="*/ 3080998 h 4683863"/>
              <a:gd name="connsiteX1341" fmla="*/ 1837179 w 11346020"/>
              <a:gd name="connsiteY1341" fmla="*/ 3106451 h 4683863"/>
              <a:gd name="connsiteX1342" fmla="*/ 1862658 w 11346020"/>
              <a:gd name="connsiteY1342" fmla="*/ 3080994 h 4683863"/>
              <a:gd name="connsiteX1343" fmla="*/ 1913624 w 11346020"/>
              <a:gd name="connsiteY1343" fmla="*/ 3055535 h 4683863"/>
              <a:gd name="connsiteX1344" fmla="*/ 1926363 w 11346020"/>
              <a:gd name="connsiteY1344" fmla="*/ 3093723 h 4683863"/>
              <a:gd name="connsiteX1345" fmla="*/ 1926363 w 11346020"/>
              <a:gd name="connsiteY1345" fmla="*/ 3093727 h 4683863"/>
              <a:gd name="connsiteX1346" fmla="*/ 1925974 w 11346020"/>
              <a:gd name="connsiteY1346" fmla="*/ 3102297 h 4683863"/>
              <a:gd name="connsiteX1347" fmla="*/ 2009812 w 11346020"/>
              <a:gd name="connsiteY1347" fmla="*/ 3090595 h 4683863"/>
              <a:gd name="connsiteX1348" fmla="*/ 2020728 w 11346020"/>
              <a:gd name="connsiteY1348" fmla="*/ 3065877 h 4683863"/>
              <a:gd name="connsiteX1349" fmla="*/ 2117482 w 11346020"/>
              <a:gd name="connsiteY1349" fmla="*/ 3030078 h 4683863"/>
              <a:gd name="connsiteX1350" fmla="*/ 2206666 w 11346020"/>
              <a:gd name="connsiteY1350" fmla="*/ 3042806 h 4683863"/>
              <a:gd name="connsiteX1351" fmla="*/ 2206666 w 11346020"/>
              <a:gd name="connsiteY1351" fmla="*/ 3042810 h 4683863"/>
              <a:gd name="connsiteX1352" fmla="*/ 2219406 w 11346020"/>
              <a:gd name="connsiteY1352" fmla="*/ 3042810 h 4683863"/>
              <a:gd name="connsiteX1353" fmla="*/ 2219410 w 11346020"/>
              <a:gd name="connsiteY1353" fmla="*/ 3042806 h 4683863"/>
              <a:gd name="connsiteX1354" fmla="*/ 2308595 w 11346020"/>
              <a:gd name="connsiteY1354" fmla="*/ 3030078 h 4683863"/>
              <a:gd name="connsiteX1355" fmla="*/ 2498515 w 11346020"/>
              <a:gd name="connsiteY1355" fmla="*/ 3017547 h 4683863"/>
              <a:gd name="connsiteX1356" fmla="*/ 2554287 w 11346020"/>
              <a:gd name="connsiteY1356" fmla="*/ 3028316 h 4683863"/>
              <a:gd name="connsiteX1357" fmla="*/ 2572475 w 11346020"/>
              <a:gd name="connsiteY1357" fmla="*/ 3025551 h 4683863"/>
              <a:gd name="connsiteX1358" fmla="*/ 2588897 w 11346020"/>
              <a:gd name="connsiteY1358" fmla="*/ 3017347 h 4683863"/>
              <a:gd name="connsiteX1359" fmla="*/ 2576157 w 11346020"/>
              <a:gd name="connsiteY1359" fmla="*/ 2966435 h 4683863"/>
              <a:gd name="connsiteX1360" fmla="*/ 2576157 w 11346020"/>
              <a:gd name="connsiteY1360" fmla="*/ 2966431 h 4683863"/>
              <a:gd name="connsiteX1361" fmla="*/ 2619157 w 11346020"/>
              <a:gd name="connsiteY1361" fmla="*/ 2956882 h 4683863"/>
              <a:gd name="connsiteX1362" fmla="*/ 2619157 w 11346020"/>
              <a:gd name="connsiteY1362" fmla="*/ 2956886 h 4683863"/>
              <a:gd name="connsiteX1363" fmla="*/ 2614380 w 11346020"/>
              <a:gd name="connsiteY1363" fmla="*/ 3004618 h 4683863"/>
              <a:gd name="connsiteX1364" fmla="*/ 2617209 w 11346020"/>
              <a:gd name="connsiteY1364" fmla="*/ 3018751 h 4683863"/>
              <a:gd name="connsiteX1365" fmla="*/ 2652429 w 11346020"/>
              <a:gd name="connsiteY1365" fmla="*/ 3013396 h 4683863"/>
              <a:gd name="connsiteX1366" fmla="*/ 2674748 w 11346020"/>
              <a:gd name="connsiteY1366" fmla="*/ 3011426 h 4683863"/>
              <a:gd name="connsiteX1367" fmla="*/ 2663749 w 11346020"/>
              <a:gd name="connsiteY1367" fmla="*/ 2991894 h 4683863"/>
              <a:gd name="connsiteX1368" fmla="*/ 2639859 w 11346020"/>
              <a:gd name="connsiteY1368" fmla="*/ 2966435 h 4683863"/>
              <a:gd name="connsiteX1369" fmla="*/ 2639864 w 11346020"/>
              <a:gd name="connsiteY1369" fmla="*/ 2966435 h 4683863"/>
              <a:gd name="connsiteX1370" fmla="*/ 2639859 w 11346020"/>
              <a:gd name="connsiteY1370" fmla="*/ 2966431 h 4683863"/>
              <a:gd name="connsiteX1371" fmla="*/ 2690826 w 11346020"/>
              <a:gd name="connsiteY1371" fmla="*/ 2953702 h 4683863"/>
              <a:gd name="connsiteX1372" fmla="*/ 2964955 w 11346020"/>
              <a:gd name="connsiteY1372" fmla="*/ 2975181 h 4683863"/>
              <a:gd name="connsiteX1373" fmla="*/ 2970772 w 11346020"/>
              <a:gd name="connsiteY1373" fmla="*/ 2975424 h 4683863"/>
              <a:gd name="connsiteX1374" fmla="*/ 2971655 w 11346020"/>
              <a:gd name="connsiteY1374" fmla="*/ 2974189 h 4683863"/>
              <a:gd name="connsiteX1375" fmla="*/ 3006692 w 11346020"/>
              <a:gd name="connsiteY1375" fmla="*/ 2971005 h 4683863"/>
              <a:gd name="connsiteX1376" fmla="*/ 3016013 w 11346020"/>
              <a:gd name="connsiteY1376" fmla="*/ 2977311 h 4683863"/>
              <a:gd name="connsiteX1377" fmla="*/ 3060313 w 11346020"/>
              <a:gd name="connsiteY1377" fmla="*/ 2979159 h 4683863"/>
              <a:gd name="connsiteX1378" fmla="*/ 3088983 w 11346020"/>
              <a:gd name="connsiteY1378" fmla="*/ 2956886 h 4683863"/>
              <a:gd name="connsiteX1379" fmla="*/ 3098540 w 11346020"/>
              <a:gd name="connsiteY1379" fmla="*/ 2915514 h 4683863"/>
              <a:gd name="connsiteX1380" fmla="*/ 3098181 w 11346020"/>
              <a:gd name="connsiteY1380" fmla="*/ 2914886 h 4683863"/>
              <a:gd name="connsiteX1381" fmla="*/ 3050389 w 11346020"/>
              <a:gd name="connsiteY1381" fmla="*/ 2916023 h 4683863"/>
              <a:gd name="connsiteX1382" fmla="*/ 3041003 w 11346020"/>
              <a:gd name="connsiteY1382" fmla="*/ 2926058 h 4683863"/>
              <a:gd name="connsiteX1383" fmla="*/ 3047573 w 11346020"/>
              <a:gd name="connsiteY1383" fmla="*/ 2953706 h 4683863"/>
              <a:gd name="connsiteX1384" fmla="*/ 2954407 w 11346020"/>
              <a:gd name="connsiteY1384" fmla="*/ 2919694 h 4683863"/>
              <a:gd name="connsiteX1385" fmla="*/ 2953417 w 11346020"/>
              <a:gd name="connsiteY1385" fmla="*/ 2918329 h 4683863"/>
              <a:gd name="connsiteX1386" fmla="*/ 2879281 w 11346020"/>
              <a:gd name="connsiteY1386" fmla="*/ 2920093 h 4683863"/>
              <a:gd name="connsiteX1387" fmla="*/ 2786956 w 11346020"/>
              <a:gd name="connsiteY1387" fmla="*/ 2923936 h 4683863"/>
              <a:gd name="connsiteX1388" fmla="*/ 2767271 w 11346020"/>
              <a:gd name="connsiteY1388" fmla="*/ 2940975 h 4683863"/>
              <a:gd name="connsiteX1389" fmla="*/ 2746368 w 11346020"/>
              <a:gd name="connsiteY1389" fmla="*/ 2925660 h 4683863"/>
              <a:gd name="connsiteX1390" fmla="*/ 2746348 w 11346020"/>
              <a:gd name="connsiteY1390" fmla="*/ 2925626 h 4683863"/>
              <a:gd name="connsiteX1391" fmla="*/ 2726390 w 11346020"/>
              <a:gd name="connsiteY1391" fmla="*/ 2926457 h 4683863"/>
              <a:gd name="connsiteX1392" fmla="*/ 2703020 w 11346020"/>
              <a:gd name="connsiteY1392" fmla="*/ 2927430 h 4683863"/>
              <a:gd name="connsiteX1393" fmla="*/ 2703020 w 11346020"/>
              <a:gd name="connsiteY1393" fmla="*/ 2927838 h 4683863"/>
              <a:gd name="connsiteX1394" fmla="*/ 2703020 w 11346020"/>
              <a:gd name="connsiteY1394" fmla="*/ 2927842 h 4683863"/>
              <a:gd name="connsiteX1395" fmla="*/ 2701610 w 11346020"/>
              <a:gd name="connsiteY1395" fmla="*/ 2927488 h 4683863"/>
              <a:gd name="connsiteX1396" fmla="*/ 2573499 w 11346020"/>
              <a:gd name="connsiteY1396" fmla="*/ 2932821 h 4683863"/>
              <a:gd name="connsiteX1397" fmla="*/ 2076595 w 11346020"/>
              <a:gd name="connsiteY1397" fmla="*/ 2971009 h 4683863"/>
              <a:gd name="connsiteX1398" fmla="*/ 1976263 w 11346020"/>
              <a:gd name="connsiteY1398" fmla="*/ 2935210 h 4683863"/>
              <a:gd name="connsiteX1399" fmla="*/ 1970857 w 11346020"/>
              <a:gd name="connsiteY1399" fmla="*/ 2919908 h 4683863"/>
              <a:gd name="connsiteX1400" fmla="*/ 1881599 w 11346020"/>
              <a:gd name="connsiteY1400" fmla="*/ 2933843 h 4683863"/>
              <a:gd name="connsiteX1401" fmla="*/ 1754187 w 11346020"/>
              <a:gd name="connsiteY1401" fmla="*/ 2959302 h 4683863"/>
              <a:gd name="connsiteX1402" fmla="*/ 1688891 w 11346020"/>
              <a:gd name="connsiteY1402" fmla="*/ 2933842 h 4683863"/>
              <a:gd name="connsiteX1403" fmla="*/ 1671129 w 11346020"/>
              <a:gd name="connsiteY1403" fmla="*/ 2914370 h 4683863"/>
              <a:gd name="connsiteX1404" fmla="*/ 1633322 w 11346020"/>
              <a:gd name="connsiteY1404" fmla="*/ 2915514 h 4683863"/>
              <a:gd name="connsiteX1405" fmla="*/ 1480428 w 11346020"/>
              <a:gd name="connsiteY1405" fmla="*/ 2928247 h 4683863"/>
              <a:gd name="connsiteX1406" fmla="*/ 996271 w 11346020"/>
              <a:gd name="connsiteY1406" fmla="*/ 2966435 h 4683863"/>
              <a:gd name="connsiteX1407" fmla="*/ 614040 w 11346020"/>
              <a:gd name="connsiteY1407" fmla="*/ 3004623 h 4683863"/>
              <a:gd name="connsiteX1408" fmla="*/ 486629 w 11346020"/>
              <a:gd name="connsiteY1408" fmla="*/ 3030082 h 4683863"/>
              <a:gd name="connsiteX1409" fmla="*/ 384701 w 11346020"/>
              <a:gd name="connsiteY1409" fmla="*/ 2940975 h 4683863"/>
              <a:gd name="connsiteX1410" fmla="*/ 384701 w 11346020"/>
              <a:gd name="connsiteY1410" fmla="*/ 2940971 h 4683863"/>
              <a:gd name="connsiteX1411" fmla="*/ 384701 w 11346020"/>
              <a:gd name="connsiteY1411" fmla="*/ 2775495 h 4683863"/>
              <a:gd name="connsiteX1412" fmla="*/ 384701 w 11346020"/>
              <a:gd name="connsiteY1412" fmla="*/ 2775491 h 4683863"/>
              <a:gd name="connsiteX1413" fmla="*/ 461146 w 11346020"/>
              <a:gd name="connsiteY1413" fmla="*/ 2699115 h 4683863"/>
              <a:gd name="connsiteX1414" fmla="*/ 512112 w 11346020"/>
              <a:gd name="connsiteY1414" fmla="*/ 2699115 h 4683863"/>
              <a:gd name="connsiteX1415" fmla="*/ 551928 w 11346020"/>
              <a:gd name="connsiteY1415" fmla="*/ 2683204 h 4683863"/>
              <a:gd name="connsiteX1416" fmla="*/ 563074 w 11346020"/>
              <a:gd name="connsiteY1416" fmla="*/ 2648199 h 4683863"/>
              <a:gd name="connsiteX1417" fmla="*/ 512112 w 11346020"/>
              <a:gd name="connsiteY1417" fmla="*/ 2482723 h 4683863"/>
              <a:gd name="connsiteX1418" fmla="*/ 486629 w 11346020"/>
              <a:gd name="connsiteY1418" fmla="*/ 2342699 h 4683863"/>
              <a:gd name="connsiteX1419" fmla="*/ 486629 w 11346020"/>
              <a:gd name="connsiteY1419" fmla="*/ 2342695 h 4683863"/>
              <a:gd name="connsiteX1420" fmla="*/ 499369 w 11346020"/>
              <a:gd name="connsiteY1420" fmla="*/ 2202675 h 4683863"/>
              <a:gd name="connsiteX1421" fmla="*/ 550335 w 11346020"/>
              <a:gd name="connsiteY1421" fmla="*/ 2177215 h 4683863"/>
              <a:gd name="connsiteX1422" fmla="*/ 1161902 w 11346020"/>
              <a:gd name="connsiteY1422" fmla="*/ 2126299 h 4683863"/>
              <a:gd name="connsiteX1423" fmla="*/ 1659997 w 11346020"/>
              <a:gd name="connsiteY1423" fmla="*/ 2061855 h 4683863"/>
              <a:gd name="connsiteX1424" fmla="*/ 1691668 w 11346020"/>
              <a:gd name="connsiteY1424" fmla="*/ 2057104 h 4683863"/>
              <a:gd name="connsiteX1425" fmla="*/ 1659396 w 11346020"/>
              <a:gd name="connsiteY1425" fmla="*/ 2047737 h 4683863"/>
              <a:gd name="connsiteX1426" fmla="*/ 1593101 w 11346020"/>
              <a:gd name="connsiteY1426" fmla="*/ 1968973 h 4683863"/>
              <a:gd name="connsiteX1427" fmla="*/ 1593101 w 11346020"/>
              <a:gd name="connsiteY1427" fmla="*/ 1968969 h 4683863"/>
              <a:gd name="connsiteX1428" fmla="*/ 1593101 w 11346020"/>
              <a:gd name="connsiteY1428" fmla="*/ 1964812 h 4683863"/>
              <a:gd name="connsiteX1429" fmla="*/ 1448576 w 11346020"/>
              <a:gd name="connsiteY1429" fmla="*/ 1970367 h 4683863"/>
              <a:gd name="connsiteX1430" fmla="*/ 1200125 w 11346020"/>
              <a:gd name="connsiteY1430" fmla="*/ 1999007 h 4683863"/>
              <a:gd name="connsiteX1431" fmla="*/ 1085456 w 11346020"/>
              <a:gd name="connsiteY1431" fmla="*/ 1922635 h 4683863"/>
              <a:gd name="connsiteX1432" fmla="*/ 1072717 w 11346020"/>
              <a:gd name="connsiteY1432" fmla="*/ 1884447 h 4683863"/>
              <a:gd name="connsiteX1433" fmla="*/ 1063557 w 11346020"/>
              <a:gd name="connsiteY1433" fmla="*/ 1813840 h 4683863"/>
              <a:gd name="connsiteX1434" fmla="*/ 1063557 w 11346020"/>
              <a:gd name="connsiteY1434" fmla="*/ 1813836 h 4683863"/>
              <a:gd name="connsiteX1435" fmla="*/ 1174646 w 11346020"/>
              <a:gd name="connsiteY1435" fmla="*/ 1718960 h 4683863"/>
              <a:gd name="connsiteX1436" fmla="*/ 1454948 w 11346020"/>
              <a:gd name="connsiteY1436" fmla="*/ 1693503 h 4683863"/>
              <a:gd name="connsiteX1437" fmla="*/ 1671544 w 11346020"/>
              <a:gd name="connsiteY1437" fmla="*/ 1655315 h 4683863"/>
              <a:gd name="connsiteX1438" fmla="*/ 1762629 w 11346020"/>
              <a:gd name="connsiteY1438" fmla="*/ 1647471 h 4683863"/>
              <a:gd name="connsiteX1439" fmla="*/ 1720513 w 11346020"/>
              <a:gd name="connsiteY1439" fmla="*/ 1510721 h 4683863"/>
              <a:gd name="connsiteX1440" fmla="*/ 1695029 w 11346020"/>
              <a:gd name="connsiteY1440" fmla="*/ 1370697 h 4683863"/>
              <a:gd name="connsiteX1441" fmla="*/ 1695029 w 11346020"/>
              <a:gd name="connsiteY1441" fmla="*/ 1370693 h 4683863"/>
              <a:gd name="connsiteX1442" fmla="*/ 1707769 w 11346020"/>
              <a:gd name="connsiteY1442" fmla="*/ 1230673 h 4683863"/>
              <a:gd name="connsiteX1443" fmla="*/ 1758735 w 11346020"/>
              <a:gd name="connsiteY1443" fmla="*/ 1205213 h 4683863"/>
              <a:gd name="connsiteX1444" fmla="*/ 2370303 w 11346020"/>
              <a:gd name="connsiteY1444" fmla="*/ 1154298 h 4683863"/>
              <a:gd name="connsiteX1445" fmla="*/ 3032835 w 11346020"/>
              <a:gd name="connsiteY1445" fmla="*/ 1065190 h 4683863"/>
              <a:gd name="connsiteX1446" fmla="*/ 3185732 w 11346020"/>
              <a:gd name="connsiteY1446" fmla="*/ 1039734 h 4683863"/>
              <a:gd name="connsiteX1447" fmla="*/ 3274916 w 11346020"/>
              <a:gd name="connsiteY1447" fmla="*/ 1077922 h 4683863"/>
              <a:gd name="connsiteX1448" fmla="*/ 3290842 w 11346020"/>
              <a:gd name="connsiteY1448" fmla="*/ 1069966 h 4683863"/>
              <a:gd name="connsiteX1449" fmla="*/ 3287660 w 11346020"/>
              <a:gd name="connsiteY1449" fmla="*/ 1052465 h 4683863"/>
              <a:gd name="connsiteX1450" fmla="*/ 3287660 w 11346020"/>
              <a:gd name="connsiteY1450" fmla="*/ 1052461 h 4683863"/>
              <a:gd name="connsiteX1451" fmla="*/ 3338622 w 11346020"/>
              <a:gd name="connsiteY1451" fmla="*/ 1027002 h 4683863"/>
              <a:gd name="connsiteX1452" fmla="*/ 3415067 w 11346020"/>
              <a:gd name="connsiteY1452" fmla="*/ 1052461 h 4683863"/>
              <a:gd name="connsiteX1453" fmla="*/ 3466034 w 11346020"/>
              <a:gd name="connsiteY1453" fmla="*/ 1039734 h 4683863"/>
              <a:gd name="connsiteX1454" fmla="*/ 3631665 w 11346020"/>
              <a:gd name="connsiteY1454" fmla="*/ 1001546 h 4683863"/>
              <a:gd name="connsiteX1455" fmla="*/ 3746325 w 11346020"/>
              <a:gd name="connsiteY1455" fmla="*/ 963361 h 4683863"/>
              <a:gd name="connsiteX1456" fmla="*/ 3211210 w 11346020"/>
              <a:gd name="connsiteY1456" fmla="*/ 976089 h 4683863"/>
              <a:gd name="connsiteX1457" fmla="*/ 2905429 w 11346020"/>
              <a:gd name="connsiteY1457" fmla="*/ 988818 h 4683863"/>
              <a:gd name="connsiteX1458" fmla="*/ 2408526 w 11346020"/>
              <a:gd name="connsiteY1458" fmla="*/ 1027006 h 4683863"/>
              <a:gd name="connsiteX1459" fmla="*/ 2293858 w 11346020"/>
              <a:gd name="connsiteY1459" fmla="*/ 950634 h 4683863"/>
              <a:gd name="connsiteX1460" fmla="*/ 2281117 w 11346020"/>
              <a:gd name="connsiteY1460" fmla="*/ 912445 h 4683863"/>
              <a:gd name="connsiteX1461" fmla="*/ 2271959 w 11346020"/>
              <a:gd name="connsiteY1461" fmla="*/ 841837 h 4683863"/>
              <a:gd name="connsiteX1462" fmla="*/ 2271959 w 11346020"/>
              <a:gd name="connsiteY1462" fmla="*/ 841833 h 4683863"/>
              <a:gd name="connsiteX1463" fmla="*/ 2383046 w 11346020"/>
              <a:gd name="connsiteY1463" fmla="*/ 746958 h 4683863"/>
              <a:gd name="connsiteX1464" fmla="*/ 2663349 w 11346020"/>
              <a:gd name="connsiteY1464" fmla="*/ 721502 h 4683863"/>
              <a:gd name="connsiteX1465" fmla="*/ 2879946 w 11346020"/>
              <a:gd name="connsiteY1465" fmla="*/ 683313 h 4683863"/>
              <a:gd name="connsiteX1466" fmla="*/ 3249432 w 11346020"/>
              <a:gd name="connsiteY1466" fmla="*/ 670586 h 4683863"/>
              <a:gd name="connsiteX1467" fmla="*/ 3466034 w 11346020"/>
              <a:gd name="connsiteY1467" fmla="*/ 657853 h 4683863"/>
              <a:gd name="connsiteX1468" fmla="*/ 3618924 w 11346020"/>
              <a:gd name="connsiteY1468" fmla="*/ 670586 h 4683863"/>
              <a:gd name="connsiteX1469" fmla="*/ 3720852 w 11346020"/>
              <a:gd name="connsiteY1469" fmla="*/ 657853 h 4683863"/>
              <a:gd name="connsiteX1470" fmla="*/ 3835520 w 11346020"/>
              <a:gd name="connsiteY1470" fmla="*/ 670586 h 4683863"/>
              <a:gd name="connsiteX1471" fmla="*/ 3988412 w 11346020"/>
              <a:gd name="connsiteY1471" fmla="*/ 670586 h 4683863"/>
              <a:gd name="connsiteX1472" fmla="*/ 4090338 w 11346020"/>
              <a:gd name="connsiteY1472" fmla="*/ 657853 h 4683863"/>
              <a:gd name="connsiteX1473" fmla="*/ 4523535 w 11346020"/>
              <a:gd name="connsiteY1473" fmla="*/ 657853 h 4683863"/>
              <a:gd name="connsiteX1474" fmla="*/ 5045917 w 11346020"/>
              <a:gd name="connsiteY1474" fmla="*/ 708770 h 4683863"/>
              <a:gd name="connsiteX1475" fmla="*/ 5154216 w 11346020"/>
              <a:gd name="connsiteY1475" fmla="*/ 716727 h 4683863"/>
              <a:gd name="connsiteX1476" fmla="*/ 5210982 w 11346020"/>
              <a:gd name="connsiteY1476" fmla="*/ 725901 h 4683863"/>
              <a:gd name="connsiteX1477" fmla="*/ 5194772 w 11346020"/>
              <a:gd name="connsiteY1477" fmla="*/ 708087 h 4683863"/>
              <a:gd name="connsiteX1478" fmla="*/ 5180437 w 11346020"/>
              <a:gd name="connsiteY1478" fmla="*/ 667514 h 4683863"/>
              <a:gd name="connsiteX1479" fmla="*/ 5167697 w 11346020"/>
              <a:gd name="connsiteY1479" fmla="*/ 629325 h 4683863"/>
              <a:gd name="connsiteX1480" fmla="*/ 5158538 w 11346020"/>
              <a:gd name="connsiteY1480" fmla="*/ 558718 h 4683863"/>
              <a:gd name="connsiteX1481" fmla="*/ 5158538 w 11346020"/>
              <a:gd name="connsiteY1481" fmla="*/ 558714 h 4683863"/>
              <a:gd name="connsiteX1482" fmla="*/ 5269626 w 11346020"/>
              <a:gd name="connsiteY1482" fmla="*/ 463837 h 4683863"/>
              <a:gd name="connsiteX1483" fmla="*/ 5549928 w 11346020"/>
              <a:gd name="connsiteY1483" fmla="*/ 438381 h 4683863"/>
              <a:gd name="connsiteX1484" fmla="*/ 5766524 w 11346020"/>
              <a:gd name="connsiteY1484" fmla="*/ 400193 h 4683863"/>
              <a:gd name="connsiteX1485" fmla="*/ 6136012 w 11346020"/>
              <a:gd name="connsiteY1485" fmla="*/ 387466 h 4683863"/>
              <a:gd name="connsiteX1486" fmla="*/ 6352612 w 11346020"/>
              <a:gd name="connsiteY1486" fmla="*/ 374733 h 4683863"/>
              <a:gd name="connsiteX1487" fmla="*/ 6505503 w 11346020"/>
              <a:gd name="connsiteY1487" fmla="*/ 387466 h 4683863"/>
              <a:gd name="connsiteX1488" fmla="*/ 6607431 w 11346020"/>
              <a:gd name="connsiteY1488" fmla="*/ 374733 h 4683863"/>
              <a:gd name="connsiteX1489" fmla="*/ 6630724 w 11346020"/>
              <a:gd name="connsiteY1489" fmla="*/ 371352 h 4683863"/>
              <a:gd name="connsiteX1490" fmla="*/ 6722100 w 11346020"/>
              <a:gd name="connsiteY1490" fmla="*/ 387466 h 4683863"/>
              <a:gd name="connsiteX1491" fmla="*/ 6874990 w 11346020"/>
              <a:gd name="connsiteY1491" fmla="*/ 387466 h 4683863"/>
              <a:gd name="connsiteX1492" fmla="*/ 6976919 w 11346020"/>
              <a:gd name="connsiteY1492" fmla="*/ 374733 h 4683863"/>
              <a:gd name="connsiteX1493" fmla="*/ 7410115 w 11346020"/>
              <a:gd name="connsiteY1493" fmla="*/ 374733 h 4683863"/>
              <a:gd name="connsiteX1494" fmla="*/ 7932498 w 11346020"/>
              <a:gd name="connsiteY1494" fmla="*/ 425650 h 4683863"/>
              <a:gd name="connsiteX1495" fmla="*/ 8040796 w 11346020"/>
              <a:gd name="connsiteY1495" fmla="*/ 433607 h 4683863"/>
              <a:gd name="connsiteX1496" fmla="*/ 8087504 w 11346020"/>
              <a:gd name="connsiteY1496" fmla="*/ 441155 h 4683863"/>
              <a:gd name="connsiteX1497" fmla="*/ 8134398 w 11346020"/>
              <a:gd name="connsiteY1497" fmla="*/ 435564 h 4683863"/>
              <a:gd name="connsiteX1498" fmla="*/ 8298836 w 11346020"/>
              <a:gd name="connsiteY1498" fmla="*/ 410901 h 4683863"/>
              <a:gd name="connsiteX1499" fmla="*/ 8451731 w 11346020"/>
              <a:gd name="connsiteY1499" fmla="*/ 385444 h 4683863"/>
              <a:gd name="connsiteX1500" fmla="*/ 8540915 w 11346020"/>
              <a:gd name="connsiteY1500" fmla="*/ 423632 h 4683863"/>
              <a:gd name="connsiteX1501" fmla="*/ 8556842 w 11346020"/>
              <a:gd name="connsiteY1501" fmla="*/ 415677 h 4683863"/>
              <a:gd name="connsiteX1502" fmla="*/ 8553659 w 11346020"/>
              <a:gd name="connsiteY1502" fmla="*/ 398176 h 4683863"/>
              <a:gd name="connsiteX1503" fmla="*/ 8553659 w 11346020"/>
              <a:gd name="connsiteY1503" fmla="*/ 398172 h 4683863"/>
              <a:gd name="connsiteX1504" fmla="*/ 8604621 w 11346020"/>
              <a:gd name="connsiteY1504" fmla="*/ 372713 h 4683863"/>
              <a:gd name="connsiteX1505" fmla="*/ 8681066 w 11346020"/>
              <a:gd name="connsiteY1505" fmla="*/ 398172 h 4683863"/>
              <a:gd name="connsiteX1506" fmla="*/ 8732033 w 11346020"/>
              <a:gd name="connsiteY1506" fmla="*/ 385444 h 4683863"/>
              <a:gd name="connsiteX1507" fmla="*/ 8897664 w 11346020"/>
              <a:gd name="connsiteY1507" fmla="*/ 347256 h 4683863"/>
              <a:gd name="connsiteX1508" fmla="*/ 9012324 w 11346020"/>
              <a:gd name="connsiteY1508" fmla="*/ 309072 h 4683863"/>
              <a:gd name="connsiteX1509" fmla="*/ 8477209 w 11346020"/>
              <a:gd name="connsiteY1509" fmla="*/ 321801 h 4683863"/>
              <a:gd name="connsiteX1510" fmla="*/ 8171429 w 11346020"/>
              <a:gd name="connsiteY1510" fmla="*/ 334528 h 4683863"/>
              <a:gd name="connsiteX1511" fmla="*/ 7674526 w 11346020"/>
              <a:gd name="connsiteY1511" fmla="*/ 372716 h 4683863"/>
              <a:gd name="connsiteX1512" fmla="*/ 7559858 w 11346020"/>
              <a:gd name="connsiteY1512" fmla="*/ 296344 h 4683863"/>
              <a:gd name="connsiteX1513" fmla="*/ 7547118 w 11346020"/>
              <a:gd name="connsiteY1513" fmla="*/ 258156 h 4683863"/>
              <a:gd name="connsiteX1514" fmla="*/ 7537959 w 11346020"/>
              <a:gd name="connsiteY1514" fmla="*/ 187548 h 4683863"/>
              <a:gd name="connsiteX1515" fmla="*/ 7537959 w 11346020"/>
              <a:gd name="connsiteY1515" fmla="*/ 187544 h 4683863"/>
              <a:gd name="connsiteX1516" fmla="*/ 7649047 w 11346020"/>
              <a:gd name="connsiteY1516" fmla="*/ 92669 h 4683863"/>
              <a:gd name="connsiteX1517" fmla="*/ 7929349 w 11346020"/>
              <a:gd name="connsiteY1517" fmla="*/ 67212 h 4683863"/>
              <a:gd name="connsiteX1518" fmla="*/ 8145945 w 11346020"/>
              <a:gd name="connsiteY1518" fmla="*/ 29024 h 4683863"/>
              <a:gd name="connsiteX1519" fmla="*/ 8515433 w 11346020"/>
              <a:gd name="connsiteY1519" fmla="*/ 16296 h 4683863"/>
              <a:gd name="connsiteX1520" fmla="*/ 8732033 w 11346020"/>
              <a:gd name="connsiteY1520" fmla="*/ 3565 h 4683863"/>
              <a:gd name="connsiteX1521" fmla="*/ 8884924 w 11346020"/>
              <a:gd name="connsiteY1521" fmla="*/ 16296 h 4683863"/>
              <a:gd name="connsiteX1522" fmla="*/ 8986852 w 11346020"/>
              <a:gd name="connsiteY1522" fmla="*/ 3565 h 4683863"/>
              <a:gd name="connsiteX1523" fmla="*/ 9010145 w 11346020"/>
              <a:gd name="connsiteY1523" fmla="*/ 184 h 468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Lst>
            <a:rect l="l" t="t" r="r" b="b"/>
            <a:pathLst>
              <a:path w="11346020" h="4683863">
                <a:moveTo>
                  <a:pt x="2086570" y="4621041"/>
                </a:moveTo>
                <a:cubicBezTo>
                  <a:pt x="2106478" y="4616445"/>
                  <a:pt x="2127914" y="4622572"/>
                  <a:pt x="2140163" y="4640944"/>
                </a:cubicBezTo>
                <a:cubicBezTo>
                  <a:pt x="2140163" y="4640944"/>
                  <a:pt x="2140163" y="4653194"/>
                  <a:pt x="2140163" y="4665443"/>
                </a:cubicBezTo>
                <a:cubicBezTo>
                  <a:pt x="2127914" y="4665443"/>
                  <a:pt x="2103414" y="4665443"/>
                  <a:pt x="2103414" y="4665443"/>
                </a:cubicBezTo>
                <a:cubicBezTo>
                  <a:pt x="2091164" y="4616445"/>
                  <a:pt x="2066665" y="4665443"/>
                  <a:pt x="2042166" y="4665443"/>
                </a:cubicBezTo>
                <a:cubicBezTo>
                  <a:pt x="2048290" y="4640944"/>
                  <a:pt x="2066665" y="4625631"/>
                  <a:pt x="2086570" y="4621041"/>
                </a:cubicBezTo>
                <a:close/>
                <a:moveTo>
                  <a:pt x="4419997" y="4566374"/>
                </a:moveTo>
                <a:cubicBezTo>
                  <a:pt x="4431610" y="4568057"/>
                  <a:pt x="4441564" y="4574796"/>
                  <a:pt x="4448201" y="4588269"/>
                </a:cubicBezTo>
                <a:lnTo>
                  <a:pt x="4448196" y="4588273"/>
                </a:lnTo>
                <a:lnTo>
                  <a:pt x="4448201" y="4588273"/>
                </a:lnTo>
                <a:cubicBezTo>
                  <a:pt x="4461468" y="4601746"/>
                  <a:pt x="4448201" y="4615222"/>
                  <a:pt x="4434928" y="4615222"/>
                </a:cubicBezTo>
                <a:cubicBezTo>
                  <a:pt x="4408388" y="4628695"/>
                  <a:pt x="4395116" y="4601746"/>
                  <a:pt x="4381844" y="4574800"/>
                </a:cubicBezTo>
                <a:lnTo>
                  <a:pt x="4381848" y="4574800"/>
                </a:lnTo>
                <a:lnTo>
                  <a:pt x="4381844" y="4574796"/>
                </a:lnTo>
                <a:cubicBezTo>
                  <a:pt x="4395116" y="4568057"/>
                  <a:pt x="4408388" y="4564688"/>
                  <a:pt x="4419997" y="4566374"/>
                </a:cubicBezTo>
                <a:close/>
                <a:moveTo>
                  <a:pt x="4865799" y="4562964"/>
                </a:moveTo>
                <a:cubicBezTo>
                  <a:pt x="4882296" y="4561098"/>
                  <a:pt x="4898595" y="4561513"/>
                  <a:pt x="4913701" y="4564002"/>
                </a:cubicBezTo>
                <a:cubicBezTo>
                  <a:pt x="4943914" y="4568975"/>
                  <a:pt x="4969355" y="4582247"/>
                  <a:pt x="4982076" y="4602150"/>
                </a:cubicBezTo>
                <a:lnTo>
                  <a:pt x="4982072" y="4602150"/>
                </a:lnTo>
                <a:lnTo>
                  <a:pt x="4982076" y="4602155"/>
                </a:lnTo>
                <a:cubicBezTo>
                  <a:pt x="4918470" y="4628695"/>
                  <a:pt x="4880309" y="4575614"/>
                  <a:pt x="4816703" y="4575614"/>
                </a:cubicBezTo>
                <a:lnTo>
                  <a:pt x="4816715" y="4575614"/>
                </a:lnTo>
                <a:lnTo>
                  <a:pt x="4816703" y="4575611"/>
                </a:lnTo>
                <a:cubicBezTo>
                  <a:pt x="4832605" y="4568977"/>
                  <a:pt x="4849301" y="4564830"/>
                  <a:pt x="4865799" y="4562964"/>
                </a:cubicBezTo>
                <a:close/>
                <a:moveTo>
                  <a:pt x="4602337" y="4524571"/>
                </a:moveTo>
                <a:cubicBezTo>
                  <a:pt x="4678135" y="4538048"/>
                  <a:pt x="4728665" y="4551521"/>
                  <a:pt x="4791826" y="4551521"/>
                </a:cubicBezTo>
                <a:cubicBezTo>
                  <a:pt x="4791826" y="4551521"/>
                  <a:pt x="4804458" y="4564992"/>
                  <a:pt x="4804458" y="4578469"/>
                </a:cubicBezTo>
                <a:lnTo>
                  <a:pt x="4804458" y="4578473"/>
                </a:lnTo>
                <a:cubicBezTo>
                  <a:pt x="4804458" y="4591946"/>
                  <a:pt x="4791826" y="4591946"/>
                  <a:pt x="4779194" y="4591946"/>
                </a:cubicBezTo>
                <a:cubicBezTo>
                  <a:pt x="4728665" y="4564996"/>
                  <a:pt x="4665499" y="4578473"/>
                  <a:pt x="4602337" y="4524575"/>
                </a:cubicBezTo>
                <a:lnTo>
                  <a:pt x="4602349" y="4524579"/>
                </a:lnTo>
                <a:close/>
                <a:moveTo>
                  <a:pt x="3760791" y="4169332"/>
                </a:moveTo>
                <a:cubicBezTo>
                  <a:pt x="3774264" y="4169332"/>
                  <a:pt x="3787741" y="4181582"/>
                  <a:pt x="3774264" y="4193831"/>
                </a:cubicBezTo>
                <a:lnTo>
                  <a:pt x="3774264" y="4193835"/>
                </a:lnTo>
                <a:cubicBezTo>
                  <a:pt x="3774264" y="4206084"/>
                  <a:pt x="3760791" y="4218334"/>
                  <a:pt x="3733838" y="4218334"/>
                </a:cubicBezTo>
                <a:cubicBezTo>
                  <a:pt x="3720366" y="4218334"/>
                  <a:pt x="3720366" y="4218334"/>
                  <a:pt x="3720366" y="4206084"/>
                </a:cubicBezTo>
                <a:lnTo>
                  <a:pt x="3720366" y="4206081"/>
                </a:lnTo>
                <a:cubicBezTo>
                  <a:pt x="3720366" y="4181582"/>
                  <a:pt x="3747314" y="4181582"/>
                  <a:pt x="3760791" y="4169332"/>
                </a:cubicBezTo>
                <a:close/>
                <a:moveTo>
                  <a:pt x="3567243" y="3887590"/>
                </a:moveTo>
                <a:cubicBezTo>
                  <a:pt x="3579493" y="3887590"/>
                  <a:pt x="3579493" y="3887590"/>
                  <a:pt x="3579493" y="3887590"/>
                </a:cubicBezTo>
                <a:lnTo>
                  <a:pt x="3579493" y="3887594"/>
                </a:lnTo>
                <a:lnTo>
                  <a:pt x="3579493" y="3899840"/>
                </a:lnTo>
                <a:lnTo>
                  <a:pt x="3579493" y="3899844"/>
                </a:lnTo>
                <a:cubicBezTo>
                  <a:pt x="3579493" y="3899844"/>
                  <a:pt x="3567243" y="3899844"/>
                  <a:pt x="3567243" y="3887594"/>
                </a:cubicBezTo>
                <a:lnTo>
                  <a:pt x="3567247" y="3887594"/>
                </a:lnTo>
                <a:close/>
                <a:moveTo>
                  <a:pt x="5899287" y="3789370"/>
                </a:moveTo>
                <a:cubicBezTo>
                  <a:pt x="5919194" y="3784775"/>
                  <a:pt x="5940630" y="3790901"/>
                  <a:pt x="5952880" y="3809274"/>
                </a:cubicBezTo>
                <a:cubicBezTo>
                  <a:pt x="5952880" y="3809274"/>
                  <a:pt x="5952880" y="3821524"/>
                  <a:pt x="5952880" y="3833773"/>
                </a:cubicBezTo>
                <a:cubicBezTo>
                  <a:pt x="5940630" y="3833773"/>
                  <a:pt x="5916131" y="3833773"/>
                  <a:pt x="5916131" y="3833773"/>
                </a:cubicBezTo>
                <a:cubicBezTo>
                  <a:pt x="5903882" y="3784775"/>
                  <a:pt x="5879383" y="3833773"/>
                  <a:pt x="5854884" y="3833773"/>
                </a:cubicBezTo>
                <a:cubicBezTo>
                  <a:pt x="5861006" y="3809274"/>
                  <a:pt x="5879383" y="3793961"/>
                  <a:pt x="5899287" y="3789370"/>
                </a:cubicBezTo>
                <a:close/>
                <a:moveTo>
                  <a:pt x="8232715" y="3734703"/>
                </a:moveTo>
                <a:cubicBezTo>
                  <a:pt x="8244328" y="3736386"/>
                  <a:pt x="8254282" y="3743126"/>
                  <a:pt x="8260918" y="3756598"/>
                </a:cubicBezTo>
                <a:lnTo>
                  <a:pt x="8260914" y="3756602"/>
                </a:lnTo>
                <a:lnTo>
                  <a:pt x="8260918" y="3756602"/>
                </a:lnTo>
                <a:cubicBezTo>
                  <a:pt x="8274186" y="3770075"/>
                  <a:pt x="8260918" y="3783552"/>
                  <a:pt x="8247647" y="3783552"/>
                </a:cubicBezTo>
                <a:cubicBezTo>
                  <a:pt x="8221106" y="3797025"/>
                  <a:pt x="8207834" y="3770075"/>
                  <a:pt x="8194562" y="3743130"/>
                </a:cubicBezTo>
                <a:lnTo>
                  <a:pt x="8194566" y="3743130"/>
                </a:lnTo>
                <a:lnTo>
                  <a:pt x="8194562" y="3743126"/>
                </a:lnTo>
                <a:cubicBezTo>
                  <a:pt x="8207834" y="3736386"/>
                  <a:pt x="8221106" y="3733018"/>
                  <a:pt x="8232715" y="3734703"/>
                </a:cubicBezTo>
                <a:close/>
                <a:moveTo>
                  <a:pt x="8678517" y="3731294"/>
                </a:moveTo>
                <a:cubicBezTo>
                  <a:pt x="8695014" y="3729428"/>
                  <a:pt x="8711313" y="3729843"/>
                  <a:pt x="8726420" y="3732331"/>
                </a:cubicBezTo>
                <a:cubicBezTo>
                  <a:pt x="8756632" y="3737305"/>
                  <a:pt x="8782073" y="3750576"/>
                  <a:pt x="8794794" y="3770480"/>
                </a:cubicBezTo>
                <a:lnTo>
                  <a:pt x="8794790" y="3770480"/>
                </a:lnTo>
                <a:lnTo>
                  <a:pt x="8794794" y="3770484"/>
                </a:lnTo>
                <a:cubicBezTo>
                  <a:pt x="8731188" y="3797025"/>
                  <a:pt x="8693027" y="3743943"/>
                  <a:pt x="8629422" y="3743943"/>
                </a:cubicBezTo>
                <a:lnTo>
                  <a:pt x="8629434" y="3743943"/>
                </a:lnTo>
                <a:lnTo>
                  <a:pt x="8629422" y="3743940"/>
                </a:lnTo>
                <a:cubicBezTo>
                  <a:pt x="8645324" y="3737306"/>
                  <a:pt x="8662020" y="3733159"/>
                  <a:pt x="8678517" y="3731294"/>
                </a:cubicBezTo>
                <a:close/>
                <a:moveTo>
                  <a:pt x="8415055" y="3692901"/>
                </a:moveTo>
                <a:cubicBezTo>
                  <a:pt x="8490852" y="3706377"/>
                  <a:pt x="8541382" y="3719850"/>
                  <a:pt x="8604545" y="3719850"/>
                </a:cubicBezTo>
                <a:cubicBezTo>
                  <a:pt x="8604545" y="3719850"/>
                  <a:pt x="8617177" y="3733322"/>
                  <a:pt x="8617177" y="3746799"/>
                </a:cubicBezTo>
                <a:lnTo>
                  <a:pt x="8617177" y="3746803"/>
                </a:lnTo>
                <a:cubicBezTo>
                  <a:pt x="8617177" y="3760276"/>
                  <a:pt x="8604545" y="3760276"/>
                  <a:pt x="8591913" y="3760276"/>
                </a:cubicBezTo>
                <a:cubicBezTo>
                  <a:pt x="8541382" y="3733326"/>
                  <a:pt x="8478217" y="3746803"/>
                  <a:pt x="8415055" y="3692905"/>
                </a:cubicBezTo>
                <a:lnTo>
                  <a:pt x="8415067" y="3692909"/>
                </a:lnTo>
                <a:close/>
                <a:moveTo>
                  <a:pt x="1210098" y="3649038"/>
                </a:moveTo>
                <a:cubicBezTo>
                  <a:pt x="1230006" y="3644443"/>
                  <a:pt x="1251442" y="3650569"/>
                  <a:pt x="1263691" y="3668942"/>
                </a:cubicBezTo>
                <a:cubicBezTo>
                  <a:pt x="1263691" y="3668942"/>
                  <a:pt x="1263691" y="3681192"/>
                  <a:pt x="1263691" y="3693441"/>
                </a:cubicBezTo>
                <a:cubicBezTo>
                  <a:pt x="1251442" y="3693441"/>
                  <a:pt x="1226942" y="3693441"/>
                  <a:pt x="1226942" y="3693441"/>
                </a:cubicBezTo>
                <a:cubicBezTo>
                  <a:pt x="1214693" y="3644443"/>
                  <a:pt x="1190193" y="3693441"/>
                  <a:pt x="1165694" y="3693441"/>
                </a:cubicBezTo>
                <a:cubicBezTo>
                  <a:pt x="1171818" y="3668942"/>
                  <a:pt x="1190193" y="3653629"/>
                  <a:pt x="1210098" y="3649038"/>
                </a:cubicBezTo>
                <a:close/>
                <a:moveTo>
                  <a:pt x="1428958" y="3585821"/>
                </a:moveTo>
                <a:lnTo>
                  <a:pt x="1394429" y="3607670"/>
                </a:lnTo>
                <a:lnTo>
                  <a:pt x="1403741" y="3665060"/>
                </a:lnTo>
                <a:lnTo>
                  <a:pt x="1428400" y="3655206"/>
                </a:lnTo>
                <a:lnTo>
                  <a:pt x="1439546" y="3620201"/>
                </a:lnTo>
                <a:close/>
                <a:moveTo>
                  <a:pt x="7176786" y="3582464"/>
                </a:moveTo>
                <a:cubicBezTo>
                  <a:pt x="7170813" y="3582265"/>
                  <a:pt x="7165239" y="3583458"/>
                  <a:pt x="7160461" y="3585845"/>
                </a:cubicBezTo>
                <a:lnTo>
                  <a:pt x="7158484" y="3589203"/>
                </a:lnTo>
                <a:lnTo>
                  <a:pt x="7204809" y="3589649"/>
                </a:lnTo>
                <a:lnTo>
                  <a:pt x="7195500" y="3587437"/>
                </a:lnTo>
                <a:cubicBezTo>
                  <a:pt x="7189130" y="3584254"/>
                  <a:pt x="7182759" y="3582663"/>
                  <a:pt x="7176786" y="3582464"/>
                </a:cubicBezTo>
                <a:close/>
                <a:moveTo>
                  <a:pt x="9564381" y="3553451"/>
                </a:moveTo>
                <a:cubicBezTo>
                  <a:pt x="9575994" y="3555134"/>
                  <a:pt x="9585949" y="3561873"/>
                  <a:pt x="9592585" y="3575346"/>
                </a:cubicBezTo>
                <a:lnTo>
                  <a:pt x="9592581" y="3575350"/>
                </a:lnTo>
                <a:lnTo>
                  <a:pt x="9592585" y="3575350"/>
                </a:lnTo>
                <a:cubicBezTo>
                  <a:pt x="9605853" y="3588823"/>
                  <a:pt x="9592585" y="3602299"/>
                  <a:pt x="9579312" y="3602299"/>
                </a:cubicBezTo>
                <a:cubicBezTo>
                  <a:pt x="9552772" y="3615772"/>
                  <a:pt x="9539500" y="3588823"/>
                  <a:pt x="9526228" y="3561877"/>
                </a:cubicBezTo>
                <a:lnTo>
                  <a:pt x="9526233" y="3561877"/>
                </a:lnTo>
                <a:lnTo>
                  <a:pt x="9526228" y="3561873"/>
                </a:lnTo>
                <a:cubicBezTo>
                  <a:pt x="9539500" y="3555134"/>
                  <a:pt x="9552772" y="3551765"/>
                  <a:pt x="9564381" y="3553451"/>
                </a:cubicBezTo>
                <a:close/>
                <a:moveTo>
                  <a:pt x="10010183" y="3550041"/>
                </a:moveTo>
                <a:cubicBezTo>
                  <a:pt x="10026680" y="3548175"/>
                  <a:pt x="10042978" y="3548590"/>
                  <a:pt x="10058086" y="3551079"/>
                </a:cubicBezTo>
                <a:cubicBezTo>
                  <a:pt x="10088299" y="3556052"/>
                  <a:pt x="10113740" y="3569324"/>
                  <a:pt x="10126459" y="3589228"/>
                </a:cubicBezTo>
                <a:lnTo>
                  <a:pt x="10126456" y="3589228"/>
                </a:lnTo>
                <a:lnTo>
                  <a:pt x="10126459" y="3589232"/>
                </a:lnTo>
                <a:cubicBezTo>
                  <a:pt x="10062855" y="3615772"/>
                  <a:pt x="10024693" y="3562691"/>
                  <a:pt x="9961088" y="3562691"/>
                </a:cubicBezTo>
                <a:lnTo>
                  <a:pt x="9961100" y="3562691"/>
                </a:lnTo>
                <a:lnTo>
                  <a:pt x="9961088" y="3562688"/>
                </a:lnTo>
                <a:cubicBezTo>
                  <a:pt x="9976989" y="3556053"/>
                  <a:pt x="9993686" y="3551907"/>
                  <a:pt x="10010183" y="3550041"/>
                </a:cubicBezTo>
                <a:close/>
                <a:moveTo>
                  <a:pt x="6873788" y="3541294"/>
                </a:moveTo>
                <a:lnTo>
                  <a:pt x="6876685" y="3560088"/>
                </a:lnTo>
                <a:lnTo>
                  <a:pt x="6899040" y="3561833"/>
                </a:lnTo>
                <a:cubicBezTo>
                  <a:pt x="6918152" y="3565016"/>
                  <a:pt x="6940449" y="3571380"/>
                  <a:pt x="6959561" y="3577746"/>
                </a:cubicBezTo>
                <a:lnTo>
                  <a:pt x="7095912" y="3586915"/>
                </a:lnTo>
                <a:lnTo>
                  <a:pt x="7080832" y="3549249"/>
                </a:lnTo>
                <a:lnTo>
                  <a:pt x="7084015" y="3576295"/>
                </a:lnTo>
                <a:lnTo>
                  <a:pt x="7084015" y="3576299"/>
                </a:lnTo>
                <a:cubicBezTo>
                  <a:pt x="7084015" y="3584254"/>
                  <a:pt x="7080832" y="3587433"/>
                  <a:pt x="7068089" y="3574706"/>
                </a:cubicBezTo>
                <a:cubicBezTo>
                  <a:pt x="7017126" y="3549249"/>
                  <a:pt x="6966160" y="3561978"/>
                  <a:pt x="6915198" y="3561978"/>
                </a:cubicBezTo>
                <a:cubicBezTo>
                  <a:pt x="6902455" y="3561978"/>
                  <a:pt x="6902455" y="3561978"/>
                  <a:pt x="6889715" y="3549249"/>
                </a:cubicBezTo>
                <a:close/>
                <a:moveTo>
                  <a:pt x="7463059" y="3536518"/>
                </a:moveTo>
                <a:lnTo>
                  <a:pt x="7415284" y="3566750"/>
                </a:lnTo>
                <a:lnTo>
                  <a:pt x="7421411" y="3604516"/>
                </a:lnTo>
                <a:lnTo>
                  <a:pt x="7440533" y="3605392"/>
                </a:lnTo>
                <a:cubicBezTo>
                  <a:pt x="7456459" y="3604397"/>
                  <a:pt x="7472387" y="3602409"/>
                  <a:pt x="7488313" y="3601613"/>
                </a:cubicBezTo>
                <a:lnTo>
                  <a:pt x="7505239" y="3602811"/>
                </a:lnTo>
                <a:lnTo>
                  <a:pt x="7475803" y="3589027"/>
                </a:lnTo>
                <a:cubicBezTo>
                  <a:pt x="7459876" y="3581072"/>
                  <a:pt x="7450320" y="3568343"/>
                  <a:pt x="7463059" y="3536518"/>
                </a:cubicBezTo>
                <a:close/>
                <a:moveTo>
                  <a:pt x="7320720" y="3531546"/>
                </a:moveTo>
                <a:cubicBezTo>
                  <a:pt x="7309372" y="3530949"/>
                  <a:pt x="7306984" y="3542883"/>
                  <a:pt x="7297428" y="3561978"/>
                </a:cubicBezTo>
                <a:cubicBezTo>
                  <a:pt x="7291058" y="3571525"/>
                  <a:pt x="7283891" y="3578684"/>
                  <a:pt x="7276127" y="3583857"/>
                </a:cubicBezTo>
                <a:lnTo>
                  <a:pt x="7260299" y="3590181"/>
                </a:lnTo>
                <a:lnTo>
                  <a:pt x="7290826" y="3590474"/>
                </a:lnTo>
                <a:cubicBezTo>
                  <a:pt x="7309937" y="3590474"/>
                  <a:pt x="7329049" y="3593656"/>
                  <a:pt x="7346568" y="3596838"/>
                </a:cubicBezTo>
                <a:lnTo>
                  <a:pt x="7348391" y="3597089"/>
                </a:lnTo>
                <a:lnTo>
                  <a:pt x="7348391" y="3587437"/>
                </a:lnTo>
                <a:cubicBezTo>
                  <a:pt x="7322908" y="3574706"/>
                  <a:pt x="7361130" y="3536518"/>
                  <a:pt x="7335652" y="3536518"/>
                </a:cubicBezTo>
                <a:cubicBezTo>
                  <a:pt x="7329281" y="3533335"/>
                  <a:pt x="7324503" y="3531745"/>
                  <a:pt x="7320720" y="3531546"/>
                </a:cubicBezTo>
                <a:close/>
                <a:moveTo>
                  <a:pt x="6609421" y="3523790"/>
                </a:moveTo>
                <a:lnTo>
                  <a:pt x="6658786" y="3546062"/>
                </a:lnTo>
                <a:cubicBezTo>
                  <a:pt x="6667543" y="3549245"/>
                  <a:pt x="6672721" y="3553224"/>
                  <a:pt x="6668539" y="3559585"/>
                </a:cubicBezTo>
                <a:lnTo>
                  <a:pt x="6668539" y="3559589"/>
                </a:lnTo>
                <a:cubicBezTo>
                  <a:pt x="6666447" y="3562772"/>
                  <a:pt x="6662019" y="3566551"/>
                  <a:pt x="6654529" y="3571126"/>
                </a:cubicBezTo>
                <a:lnTo>
                  <a:pt x="6638988" y="3578956"/>
                </a:lnTo>
                <a:lnTo>
                  <a:pt x="6647407" y="3582518"/>
                </a:lnTo>
                <a:cubicBezTo>
                  <a:pt x="6666519" y="3587292"/>
                  <a:pt x="6685631" y="3584109"/>
                  <a:pt x="6704742" y="3565015"/>
                </a:cubicBezTo>
                <a:cubicBezTo>
                  <a:pt x="6717481" y="3552286"/>
                  <a:pt x="6768448" y="3577746"/>
                  <a:pt x="6793926" y="3577746"/>
                </a:cubicBezTo>
                <a:cubicBezTo>
                  <a:pt x="6816224" y="3577746"/>
                  <a:pt x="6828765" y="3606984"/>
                  <a:pt x="6848624" y="3580181"/>
                </a:cubicBezTo>
                <a:lnTo>
                  <a:pt x="6855389" y="3568791"/>
                </a:lnTo>
                <a:lnTo>
                  <a:pt x="6838751" y="3554419"/>
                </a:lnTo>
                <a:cubicBezTo>
                  <a:pt x="6800528" y="3526971"/>
                  <a:pt x="6762305" y="3517425"/>
                  <a:pt x="6724081" y="3536518"/>
                </a:cubicBezTo>
                <a:cubicBezTo>
                  <a:pt x="6704971" y="3542884"/>
                  <a:pt x="6685858" y="3533335"/>
                  <a:pt x="6666749" y="3525379"/>
                </a:cubicBezTo>
                <a:close/>
                <a:moveTo>
                  <a:pt x="9746722" y="3511648"/>
                </a:moveTo>
                <a:cubicBezTo>
                  <a:pt x="9822519" y="3525125"/>
                  <a:pt x="9873049" y="3538598"/>
                  <a:pt x="9936211" y="3538598"/>
                </a:cubicBezTo>
                <a:cubicBezTo>
                  <a:pt x="9936211" y="3538598"/>
                  <a:pt x="9948842" y="3552069"/>
                  <a:pt x="9948842" y="3565546"/>
                </a:cubicBezTo>
                <a:lnTo>
                  <a:pt x="9948842" y="3565550"/>
                </a:lnTo>
                <a:cubicBezTo>
                  <a:pt x="9948842" y="3579023"/>
                  <a:pt x="9936211" y="3579023"/>
                  <a:pt x="9923579" y="3579023"/>
                </a:cubicBezTo>
                <a:cubicBezTo>
                  <a:pt x="9873049" y="3552073"/>
                  <a:pt x="9809883" y="3565550"/>
                  <a:pt x="9746722" y="3511652"/>
                </a:cubicBezTo>
                <a:lnTo>
                  <a:pt x="9746733" y="3511656"/>
                </a:lnTo>
                <a:close/>
                <a:moveTo>
                  <a:pt x="6033237" y="3414905"/>
                </a:moveTo>
                <a:lnTo>
                  <a:pt x="6031855" y="3416047"/>
                </a:lnTo>
                <a:cubicBezTo>
                  <a:pt x="6027874" y="3421019"/>
                  <a:pt x="6023096" y="3428179"/>
                  <a:pt x="6016725" y="3437727"/>
                </a:cubicBezTo>
                <a:cubicBezTo>
                  <a:pt x="6003985" y="3463186"/>
                  <a:pt x="5953019" y="3475915"/>
                  <a:pt x="5953019" y="3475915"/>
                </a:cubicBezTo>
                <a:cubicBezTo>
                  <a:pt x="5914797" y="3450458"/>
                  <a:pt x="5889313" y="3488646"/>
                  <a:pt x="5863834" y="3463186"/>
                </a:cubicBezTo>
                <a:lnTo>
                  <a:pt x="5851095" y="3475915"/>
                </a:lnTo>
                <a:lnTo>
                  <a:pt x="5863834" y="3488642"/>
                </a:lnTo>
                <a:cubicBezTo>
                  <a:pt x="5914797" y="3488642"/>
                  <a:pt x="5965762" y="3514098"/>
                  <a:pt x="6029464" y="3501370"/>
                </a:cubicBezTo>
                <a:lnTo>
                  <a:pt x="6035672" y="3499698"/>
                </a:lnTo>
                <a:lnTo>
                  <a:pt x="6034474" y="3426728"/>
                </a:lnTo>
                <a:close/>
                <a:moveTo>
                  <a:pt x="7800471" y="3361354"/>
                </a:moveTo>
                <a:lnTo>
                  <a:pt x="7810552" y="3376002"/>
                </a:lnTo>
                <a:lnTo>
                  <a:pt x="7825929" y="3372529"/>
                </a:lnTo>
                <a:close/>
                <a:moveTo>
                  <a:pt x="8479127" y="3332711"/>
                </a:moveTo>
                <a:cubicBezTo>
                  <a:pt x="8476141" y="3333507"/>
                  <a:pt x="8473354" y="3335894"/>
                  <a:pt x="8470963" y="3339077"/>
                </a:cubicBezTo>
                <a:lnTo>
                  <a:pt x="8463004" y="3361351"/>
                </a:lnTo>
                <a:lnTo>
                  <a:pt x="8488484" y="3386806"/>
                </a:lnTo>
                <a:cubicBezTo>
                  <a:pt x="8501223" y="3386806"/>
                  <a:pt x="8513967" y="3374078"/>
                  <a:pt x="8539446" y="3399535"/>
                </a:cubicBezTo>
                <a:lnTo>
                  <a:pt x="8539438" y="3399535"/>
                </a:lnTo>
                <a:lnTo>
                  <a:pt x="8539446" y="3399539"/>
                </a:lnTo>
                <a:lnTo>
                  <a:pt x="8463286" y="3407693"/>
                </a:lnTo>
                <a:lnTo>
                  <a:pt x="8569847" y="3408716"/>
                </a:lnTo>
                <a:lnTo>
                  <a:pt x="8560153" y="3404313"/>
                </a:lnTo>
                <a:cubicBezTo>
                  <a:pt x="8555375" y="3399540"/>
                  <a:pt x="8552190" y="3393174"/>
                  <a:pt x="8552190" y="3386810"/>
                </a:cubicBezTo>
                <a:cubicBezTo>
                  <a:pt x="8552190" y="3335894"/>
                  <a:pt x="8501223" y="3361351"/>
                  <a:pt x="8488484" y="3335894"/>
                </a:cubicBezTo>
                <a:cubicBezTo>
                  <a:pt x="8485299" y="3332711"/>
                  <a:pt x="8482113" y="3331916"/>
                  <a:pt x="8479127" y="3332711"/>
                </a:cubicBezTo>
                <a:close/>
                <a:moveTo>
                  <a:pt x="7691291" y="3326216"/>
                </a:moveTo>
                <a:cubicBezTo>
                  <a:pt x="7688365" y="3325547"/>
                  <a:pt x="7684922" y="3326045"/>
                  <a:pt x="7680834" y="3328069"/>
                </a:cubicBezTo>
                <a:lnTo>
                  <a:pt x="7674185" y="3333176"/>
                </a:lnTo>
                <a:lnTo>
                  <a:pt x="7703193" y="3343716"/>
                </a:lnTo>
                <a:lnTo>
                  <a:pt x="7698639" y="3331369"/>
                </a:lnTo>
                <a:cubicBezTo>
                  <a:pt x="7696623" y="3328722"/>
                  <a:pt x="7694215" y="3326885"/>
                  <a:pt x="7691291" y="3326216"/>
                </a:cubicBezTo>
                <a:close/>
                <a:moveTo>
                  <a:pt x="1174646" y="3322854"/>
                </a:moveTo>
                <a:lnTo>
                  <a:pt x="1161905" y="3335583"/>
                </a:lnTo>
                <a:lnTo>
                  <a:pt x="1174646" y="3348310"/>
                </a:lnTo>
                <a:cubicBezTo>
                  <a:pt x="1200127" y="3348310"/>
                  <a:pt x="1225608" y="3354675"/>
                  <a:pt x="1252683" y="3359448"/>
                </a:cubicBezTo>
                <a:lnTo>
                  <a:pt x="1277571" y="3362394"/>
                </a:lnTo>
                <a:lnTo>
                  <a:pt x="1274422" y="3332276"/>
                </a:lnTo>
                <a:lnTo>
                  <a:pt x="1271993" y="3333196"/>
                </a:lnTo>
                <a:cubicBezTo>
                  <a:pt x="1267016" y="3334787"/>
                  <a:pt x="1263830" y="3335583"/>
                  <a:pt x="1263830" y="3335583"/>
                </a:cubicBezTo>
                <a:cubicBezTo>
                  <a:pt x="1225607" y="3310126"/>
                  <a:pt x="1200125" y="3348314"/>
                  <a:pt x="1174646" y="3322854"/>
                </a:cubicBezTo>
                <a:close/>
                <a:moveTo>
                  <a:pt x="7254196" y="3296113"/>
                </a:moveTo>
                <a:cubicBezTo>
                  <a:pt x="7243046" y="3300889"/>
                  <a:pt x="7233493" y="3310434"/>
                  <a:pt x="7227124" y="3310434"/>
                </a:cubicBezTo>
                <a:lnTo>
                  <a:pt x="7227108" y="3310498"/>
                </a:lnTo>
                <a:lnTo>
                  <a:pt x="7233921" y="3311168"/>
                </a:lnTo>
                <a:cubicBezTo>
                  <a:pt x="7246862" y="3313356"/>
                  <a:pt x="7260001" y="3316140"/>
                  <a:pt x="7273538" y="3318527"/>
                </a:cubicBezTo>
                <a:lnTo>
                  <a:pt x="7283835" y="3319746"/>
                </a:lnTo>
                <a:lnTo>
                  <a:pt x="7289165" y="3312646"/>
                </a:lnTo>
                <a:lnTo>
                  <a:pt x="7283370" y="3312646"/>
                </a:lnTo>
                <a:cubicBezTo>
                  <a:pt x="7280184" y="3312646"/>
                  <a:pt x="7276998" y="3312646"/>
                  <a:pt x="7270627" y="3312646"/>
                </a:cubicBezTo>
                <a:lnTo>
                  <a:pt x="7257578" y="3297435"/>
                </a:lnTo>
                <a:close/>
                <a:moveTo>
                  <a:pt x="7630482" y="3290274"/>
                </a:moveTo>
                <a:lnTo>
                  <a:pt x="7616184" y="3294520"/>
                </a:lnTo>
                <a:lnTo>
                  <a:pt x="7597137" y="3296734"/>
                </a:lnTo>
                <a:lnTo>
                  <a:pt x="7598434" y="3297845"/>
                </a:lnTo>
                <a:lnTo>
                  <a:pt x="7603210" y="3345578"/>
                </a:lnTo>
                <a:lnTo>
                  <a:pt x="7603210" y="3345581"/>
                </a:lnTo>
                <a:cubicBezTo>
                  <a:pt x="7615952" y="3342398"/>
                  <a:pt x="7627896" y="3339216"/>
                  <a:pt x="7639443" y="3336828"/>
                </a:cubicBezTo>
                <a:lnTo>
                  <a:pt x="7647577" y="3335872"/>
                </a:lnTo>
                <a:lnTo>
                  <a:pt x="7647577" y="3323163"/>
                </a:lnTo>
                <a:lnTo>
                  <a:pt x="7648966" y="3309978"/>
                </a:lnTo>
                <a:lnTo>
                  <a:pt x="7644819" y="3310575"/>
                </a:lnTo>
                <a:cubicBezTo>
                  <a:pt x="7639443" y="3309779"/>
                  <a:pt x="7635860" y="3307392"/>
                  <a:pt x="7633471" y="3304209"/>
                </a:cubicBezTo>
                <a:close/>
                <a:moveTo>
                  <a:pt x="7305589" y="3287451"/>
                </a:moveTo>
                <a:lnTo>
                  <a:pt x="7304362" y="3287917"/>
                </a:lnTo>
                <a:lnTo>
                  <a:pt x="7313897" y="3323303"/>
                </a:lnTo>
                <a:lnTo>
                  <a:pt x="7315543" y="3323498"/>
                </a:lnTo>
                <a:cubicBezTo>
                  <a:pt x="7330076" y="3324095"/>
                  <a:pt x="7345205" y="3323299"/>
                  <a:pt x="7361130" y="3320118"/>
                </a:cubicBezTo>
                <a:cubicBezTo>
                  <a:pt x="7367501" y="3316936"/>
                  <a:pt x="7375465" y="3315344"/>
                  <a:pt x="7384026" y="3313953"/>
                </a:cubicBezTo>
                <a:lnTo>
                  <a:pt x="7385939" y="3313593"/>
                </a:lnTo>
                <a:lnTo>
                  <a:pt x="7354531" y="3297706"/>
                </a:lnTo>
                <a:cubicBezTo>
                  <a:pt x="7354531" y="3294523"/>
                  <a:pt x="7352939" y="3292932"/>
                  <a:pt x="7350749" y="3291937"/>
                </a:cubicBezTo>
                <a:lnTo>
                  <a:pt x="7343703" y="3289845"/>
                </a:lnTo>
                <a:lnTo>
                  <a:pt x="7343703" y="3291185"/>
                </a:lnTo>
                <a:cubicBezTo>
                  <a:pt x="7331453" y="3291185"/>
                  <a:pt x="7306954" y="3291185"/>
                  <a:pt x="7306954" y="3291185"/>
                </a:cubicBezTo>
                <a:close/>
                <a:moveTo>
                  <a:pt x="5878975" y="3273134"/>
                </a:moveTo>
                <a:lnTo>
                  <a:pt x="5876574" y="3284971"/>
                </a:lnTo>
                <a:cubicBezTo>
                  <a:pt x="5870204" y="3291336"/>
                  <a:pt x="5870204" y="3297701"/>
                  <a:pt x="5873389" y="3302475"/>
                </a:cubicBezTo>
                <a:lnTo>
                  <a:pt x="5879964" y="3305760"/>
                </a:lnTo>
                <a:lnTo>
                  <a:pt x="5894598" y="3299910"/>
                </a:lnTo>
                <a:lnTo>
                  <a:pt x="5900562" y="3301399"/>
                </a:lnTo>
                <a:lnTo>
                  <a:pt x="5902010" y="3285484"/>
                </a:lnTo>
                <a:lnTo>
                  <a:pt x="5881858" y="3276047"/>
                </a:lnTo>
                <a:close/>
                <a:moveTo>
                  <a:pt x="5582842" y="3269485"/>
                </a:moveTo>
                <a:cubicBezTo>
                  <a:pt x="5576869" y="3269286"/>
                  <a:pt x="5571295" y="3270478"/>
                  <a:pt x="5566517" y="3272865"/>
                </a:cubicBezTo>
                <a:lnTo>
                  <a:pt x="5558301" y="3286819"/>
                </a:lnTo>
                <a:lnTo>
                  <a:pt x="5626270" y="3280328"/>
                </a:lnTo>
                <a:lnTo>
                  <a:pt x="5601556" y="3274458"/>
                </a:lnTo>
                <a:cubicBezTo>
                  <a:pt x="5595186" y="3271275"/>
                  <a:pt x="5588815" y="3269684"/>
                  <a:pt x="5582842" y="3269485"/>
                </a:cubicBezTo>
                <a:close/>
                <a:moveTo>
                  <a:pt x="8318404" y="3266569"/>
                </a:moveTo>
                <a:lnTo>
                  <a:pt x="8302375" y="3275569"/>
                </a:lnTo>
                <a:lnTo>
                  <a:pt x="8284627" y="3278235"/>
                </a:lnTo>
                <a:lnTo>
                  <a:pt x="8284627" y="3297702"/>
                </a:lnTo>
                <a:cubicBezTo>
                  <a:pt x="8291001" y="3310430"/>
                  <a:pt x="8291001" y="3323159"/>
                  <a:pt x="8284627" y="3332707"/>
                </a:cubicBezTo>
                <a:lnTo>
                  <a:pt x="8284627" y="3332711"/>
                </a:lnTo>
                <a:cubicBezTo>
                  <a:pt x="8278258" y="3342257"/>
                  <a:pt x="8265517" y="3348622"/>
                  <a:pt x="8246404" y="3348622"/>
                </a:cubicBezTo>
                <a:cubicBezTo>
                  <a:pt x="8233664" y="3361351"/>
                  <a:pt x="8220922" y="3361351"/>
                  <a:pt x="8220922" y="3374082"/>
                </a:cubicBezTo>
                <a:lnTo>
                  <a:pt x="8218530" y="3379630"/>
                </a:lnTo>
                <a:lnTo>
                  <a:pt x="8230706" y="3380580"/>
                </a:lnTo>
                <a:cubicBezTo>
                  <a:pt x="8249818" y="3383763"/>
                  <a:pt x="8272115" y="3390128"/>
                  <a:pt x="8291226" y="3396493"/>
                </a:cubicBezTo>
                <a:lnTo>
                  <a:pt x="8402550" y="3403979"/>
                </a:lnTo>
                <a:lnTo>
                  <a:pt x="8361072" y="3399539"/>
                </a:lnTo>
                <a:lnTo>
                  <a:pt x="8361080" y="3399535"/>
                </a:lnTo>
                <a:lnTo>
                  <a:pt x="8361072" y="3399535"/>
                </a:lnTo>
                <a:cubicBezTo>
                  <a:pt x="8399294" y="3393172"/>
                  <a:pt x="8424778" y="3377262"/>
                  <a:pt x="8437522" y="3354984"/>
                </a:cubicBezTo>
                <a:lnTo>
                  <a:pt x="8437522" y="3272247"/>
                </a:lnTo>
                <a:lnTo>
                  <a:pt x="8421595" y="3326346"/>
                </a:lnTo>
                <a:cubicBezTo>
                  <a:pt x="8415226" y="3342257"/>
                  <a:pt x="8405668" y="3354988"/>
                  <a:pt x="8386555" y="3361351"/>
                </a:cubicBezTo>
                <a:lnTo>
                  <a:pt x="8386555" y="3361347"/>
                </a:lnTo>
                <a:lnTo>
                  <a:pt x="8386555" y="3272247"/>
                </a:lnTo>
                <a:cubicBezTo>
                  <a:pt x="8367443" y="3278610"/>
                  <a:pt x="8348332" y="3278610"/>
                  <a:pt x="8330814" y="3273837"/>
                </a:cubicBezTo>
                <a:close/>
                <a:moveTo>
                  <a:pt x="7349632" y="3254697"/>
                </a:moveTo>
                <a:lnTo>
                  <a:pt x="7348391" y="3256474"/>
                </a:lnTo>
                <a:lnTo>
                  <a:pt x="7339500" y="3263425"/>
                </a:lnTo>
                <a:lnTo>
                  <a:pt x="7343703" y="3266686"/>
                </a:lnTo>
                <a:lnTo>
                  <a:pt x="7343703" y="3268043"/>
                </a:lnTo>
                <a:lnTo>
                  <a:pt x="7349753" y="3254743"/>
                </a:lnTo>
                <a:close/>
                <a:moveTo>
                  <a:pt x="8080770" y="3235024"/>
                </a:moveTo>
                <a:lnTo>
                  <a:pt x="8080770" y="3335890"/>
                </a:lnTo>
                <a:cubicBezTo>
                  <a:pt x="8087140" y="3342253"/>
                  <a:pt x="8090327" y="3351801"/>
                  <a:pt x="8088734" y="3359757"/>
                </a:cubicBezTo>
                <a:lnTo>
                  <a:pt x="8088734" y="3359760"/>
                </a:lnTo>
                <a:lnTo>
                  <a:pt x="8070913" y="3372088"/>
                </a:lnTo>
                <a:lnTo>
                  <a:pt x="8072066" y="3378701"/>
                </a:lnTo>
                <a:lnTo>
                  <a:pt x="8066510" y="3378881"/>
                </a:lnTo>
                <a:lnTo>
                  <a:pt x="8065185" y="3383076"/>
                </a:lnTo>
                <a:lnTo>
                  <a:pt x="8076222" y="3385355"/>
                </a:lnTo>
                <a:cubicBezTo>
                  <a:pt x="8093742" y="3390129"/>
                  <a:pt x="8112853" y="3396493"/>
                  <a:pt x="8125592" y="3396493"/>
                </a:cubicBezTo>
                <a:cubicBezTo>
                  <a:pt x="8144704" y="3396493"/>
                  <a:pt x="8156649" y="3417975"/>
                  <a:pt x="8172177" y="3407233"/>
                </a:cubicBezTo>
                <a:lnTo>
                  <a:pt x="8172806" y="3406589"/>
                </a:lnTo>
                <a:lnTo>
                  <a:pt x="8157220" y="3399539"/>
                </a:lnTo>
                <a:cubicBezTo>
                  <a:pt x="8144476" y="3386810"/>
                  <a:pt x="8131736" y="3374082"/>
                  <a:pt x="8126960" y="3361351"/>
                </a:cubicBezTo>
                <a:lnTo>
                  <a:pt x="8126960" y="3361347"/>
                </a:lnTo>
                <a:cubicBezTo>
                  <a:pt x="8122179" y="3348618"/>
                  <a:pt x="8125366" y="3335890"/>
                  <a:pt x="8144476" y="3323159"/>
                </a:cubicBezTo>
                <a:lnTo>
                  <a:pt x="8158809" y="3310430"/>
                </a:lnTo>
                <a:lnTo>
                  <a:pt x="8144476" y="3297706"/>
                </a:lnTo>
                <a:cubicBezTo>
                  <a:pt x="8125365" y="3297706"/>
                  <a:pt x="8115809" y="3288160"/>
                  <a:pt x="8107846" y="3275429"/>
                </a:cubicBezTo>
                <a:lnTo>
                  <a:pt x="8081518" y="3235201"/>
                </a:lnTo>
                <a:close/>
                <a:moveTo>
                  <a:pt x="5869115" y="3223539"/>
                </a:moveTo>
                <a:lnTo>
                  <a:pt x="5821339" y="3253770"/>
                </a:lnTo>
                <a:lnTo>
                  <a:pt x="5821978" y="3257708"/>
                </a:lnTo>
                <a:lnTo>
                  <a:pt x="5838351" y="3259514"/>
                </a:lnTo>
                <a:lnTo>
                  <a:pt x="5868320" y="3262365"/>
                </a:lnTo>
                <a:lnTo>
                  <a:pt x="5864738" y="3258745"/>
                </a:lnTo>
                <a:cubicBezTo>
                  <a:pt x="5861950" y="3250590"/>
                  <a:pt x="5862745" y="3239451"/>
                  <a:pt x="5869115" y="3223539"/>
                </a:cubicBezTo>
                <a:close/>
                <a:moveTo>
                  <a:pt x="5726776" y="3218566"/>
                </a:moveTo>
                <a:cubicBezTo>
                  <a:pt x="5715428" y="3217970"/>
                  <a:pt x="5713040" y="3229903"/>
                  <a:pt x="5703484" y="3248998"/>
                </a:cubicBezTo>
                <a:cubicBezTo>
                  <a:pt x="5697114" y="3258546"/>
                  <a:pt x="5689947" y="3265705"/>
                  <a:pt x="5682183" y="3270877"/>
                </a:cubicBezTo>
                <a:lnTo>
                  <a:pt x="5668663" y="3276279"/>
                </a:lnTo>
                <a:lnTo>
                  <a:pt x="5710940" y="3272243"/>
                </a:lnTo>
                <a:cubicBezTo>
                  <a:pt x="5720496" y="3272243"/>
                  <a:pt x="5730848" y="3270651"/>
                  <a:pt x="5741598" y="3268463"/>
                </a:cubicBezTo>
                <a:lnTo>
                  <a:pt x="5749169" y="3266777"/>
                </a:lnTo>
                <a:lnTo>
                  <a:pt x="5745289" y="3261131"/>
                </a:lnTo>
                <a:cubicBezTo>
                  <a:pt x="5744093" y="3245019"/>
                  <a:pt x="5760816" y="3223539"/>
                  <a:pt x="5741707" y="3223539"/>
                </a:cubicBezTo>
                <a:cubicBezTo>
                  <a:pt x="5735337" y="3220356"/>
                  <a:pt x="5730558" y="3218765"/>
                  <a:pt x="5726776" y="3218566"/>
                </a:cubicBezTo>
                <a:close/>
                <a:moveTo>
                  <a:pt x="5015476" y="3210810"/>
                </a:moveTo>
                <a:lnTo>
                  <a:pt x="5064841" y="3233083"/>
                </a:lnTo>
                <a:cubicBezTo>
                  <a:pt x="5073599" y="3236266"/>
                  <a:pt x="5078776" y="3240244"/>
                  <a:pt x="5074595" y="3246606"/>
                </a:cubicBezTo>
                <a:lnTo>
                  <a:pt x="5074595" y="3246610"/>
                </a:lnTo>
                <a:cubicBezTo>
                  <a:pt x="5070412" y="3252976"/>
                  <a:pt x="5056878" y="3261727"/>
                  <a:pt x="5028208" y="3274458"/>
                </a:cubicBezTo>
                <a:lnTo>
                  <a:pt x="5028208" y="3295141"/>
                </a:lnTo>
                <a:lnTo>
                  <a:pt x="5028208" y="3325370"/>
                </a:lnTo>
                <a:lnTo>
                  <a:pt x="5028208" y="3325374"/>
                </a:lnTo>
                <a:cubicBezTo>
                  <a:pt x="5002729" y="3325374"/>
                  <a:pt x="5002729" y="3312646"/>
                  <a:pt x="5002729" y="3299914"/>
                </a:cubicBezTo>
                <a:cubicBezTo>
                  <a:pt x="4996357" y="3287186"/>
                  <a:pt x="4993171" y="3277639"/>
                  <a:pt x="4986801" y="3271274"/>
                </a:cubicBezTo>
                <a:lnTo>
                  <a:pt x="4956068" y="3262899"/>
                </a:lnTo>
                <a:lnTo>
                  <a:pt x="4956068" y="3352885"/>
                </a:lnTo>
                <a:lnTo>
                  <a:pt x="4956068" y="3352889"/>
                </a:lnTo>
                <a:lnTo>
                  <a:pt x="4957903" y="3373584"/>
                </a:lnTo>
                <a:lnTo>
                  <a:pt x="4959221" y="3374078"/>
                </a:lnTo>
                <a:cubicBezTo>
                  <a:pt x="4984704" y="3399535"/>
                  <a:pt x="4984704" y="3399535"/>
                  <a:pt x="5010184" y="3374078"/>
                </a:cubicBezTo>
                <a:cubicBezTo>
                  <a:pt x="5061150" y="3335890"/>
                  <a:pt x="5061150" y="3399535"/>
                  <a:pt x="5073890" y="3437723"/>
                </a:cubicBezTo>
                <a:cubicBezTo>
                  <a:pt x="5086633" y="3361347"/>
                  <a:pt x="5124856" y="3335890"/>
                  <a:pt x="5175818" y="3348618"/>
                </a:cubicBezTo>
                <a:cubicBezTo>
                  <a:pt x="5194930" y="3348618"/>
                  <a:pt x="5210856" y="3345437"/>
                  <a:pt x="5226782" y="3340663"/>
                </a:cubicBezTo>
                <a:lnTo>
                  <a:pt x="5234239" y="3338102"/>
                </a:lnTo>
                <a:lnTo>
                  <a:pt x="5104657" y="3338102"/>
                </a:lnTo>
                <a:cubicBezTo>
                  <a:pt x="5091914" y="3338102"/>
                  <a:pt x="5079174" y="3338102"/>
                  <a:pt x="5079174" y="3325374"/>
                </a:cubicBezTo>
                <a:lnTo>
                  <a:pt x="5079178" y="3325370"/>
                </a:lnTo>
                <a:lnTo>
                  <a:pt x="5079174" y="3325370"/>
                </a:lnTo>
                <a:cubicBezTo>
                  <a:pt x="5079174" y="3299910"/>
                  <a:pt x="5091914" y="3287182"/>
                  <a:pt x="5117397" y="3287182"/>
                </a:cubicBezTo>
                <a:cubicBezTo>
                  <a:pt x="5168359" y="3287182"/>
                  <a:pt x="5219325" y="3287182"/>
                  <a:pt x="5270288" y="3287182"/>
                </a:cubicBezTo>
                <a:cubicBezTo>
                  <a:pt x="5326030" y="3298319"/>
                  <a:pt x="5381773" y="3270474"/>
                  <a:pt x="5428978" y="3297451"/>
                </a:cubicBezTo>
                <a:lnTo>
                  <a:pt x="5434026" y="3301346"/>
                </a:lnTo>
                <a:lnTo>
                  <a:pt x="5494344" y="3292927"/>
                </a:lnTo>
                <a:lnTo>
                  <a:pt x="5509011" y="3291526"/>
                </a:lnTo>
                <a:lnTo>
                  <a:pt x="5486888" y="3236270"/>
                </a:lnTo>
                <a:lnTo>
                  <a:pt x="5490071" y="3263316"/>
                </a:lnTo>
                <a:lnTo>
                  <a:pt x="5490071" y="3263320"/>
                </a:lnTo>
                <a:cubicBezTo>
                  <a:pt x="5490071" y="3271275"/>
                  <a:pt x="5486888" y="3274454"/>
                  <a:pt x="5474145" y="3261727"/>
                </a:cubicBezTo>
                <a:cubicBezTo>
                  <a:pt x="5423183" y="3236270"/>
                  <a:pt x="5372216" y="3248998"/>
                  <a:pt x="5321254" y="3248998"/>
                </a:cubicBezTo>
                <a:cubicBezTo>
                  <a:pt x="5308511" y="3248998"/>
                  <a:pt x="5308511" y="3248998"/>
                  <a:pt x="5295770" y="3236270"/>
                </a:cubicBezTo>
                <a:lnTo>
                  <a:pt x="5279844" y="3228315"/>
                </a:lnTo>
                <a:lnTo>
                  <a:pt x="5283031" y="3248994"/>
                </a:lnTo>
                <a:lnTo>
                  <a:pt x="5283031" y="3248998"/>
                </a:lnTo>
                <a:lnTo>
                  <a:pt x="5283031" y="3274454"/>
                </a:lnTo>
                <a:lnTo>
                  <a:pt x="5283031" y="3274458"/>
                </a:lnTo>
                <a:cubicBezTo>
                  <a:pt x="5232065" y="3223539"/>
                  <a:pt x="5181102" y="3198082"/>
                  <a:pt x="5130137" y="3223539"/>
                </a:cubicBezTo>
                <a:cubicBezTo>
                  <a:pt x="5111027" y="3229904"/>
                  <a:pt x="5091914" y="3220356"/>
                  <a:pt x="5072805" y="3212400"/>
                </a:cubicBezTo>
                <a:close/>
                <a:moveTo>
                  <a:pt x="9623538" y="3192115"/>
                </a:moveTo>
                <a:cubicBezTo>
                  <a:pt x="9635151" y="3193798"/>
                  <a:pt x="9645104" y="3200537"/>
                  <a:pt x="9651741" y="3214010"/>
                </a:cubicBezTo>
                <a:lnTo>
                  <a:pt x="9651737" y="3214014"/>
                </a:lnTo>
                <a:lnTo>
                  <a:pt x="9651741" y="3214014"/>
                </a:lnTo>
                <a:cubicBezTo>
                  <a:pt x="9665009" y="3227487"/>
                  <a:pt x="9651741" y="3240964"/>
                  <a:pt x="9638469" y="3240964"/>
                </a:cubicBezTo>
                <a:cubicBezTo>
                  <a:pt x="9611929" y="3254437"/>
                  <a:pt x="9598657" y="3227487"/>
                  <a:pt x="9585384" y="3200541"/>
                </a:cubicBezTo>
                <a:lnTo>
                  <a:pt x="9585388" y="3200541"/>
                </a:lnTo>
                <a:lnTo>
                  <a:pt x="9585384" y="3200537"/>
                </a:lnTo>
                <a:cubicBezTo>
                  <a:pt x="9598657" y="3193798"/>
                  <a:pt x="9611929" y="3190429"/>
                  <a:pt x="9623538" y="3192115"/>
                </a:cubicBezTo>
                <a:close/>
                <a:moveTo>
                  <a:pt x="9975032" y="3149469"/>
                </a:moveTo>
                <a:cubicBezTo>
                  <a:pt x="9973837" y="3149867"/>
                  <a:pt x="9973040" y="3151459"/>
                  <a:pt x="9973040" y="3154642"/>
                </a:cubicBezTo>
                <a:cubicBezTo>
                  <a:pt x="9966671" y="3167370"/>
                  <a:pt x="9950746" y="3167370"/>
                  <a:pt x="9938005" y="3170553"/>
                </a:cubicBezTo>
                <a:lnTo>
                  <a:pt x="9936082" y="3171715"/>
                </a:lnTo>
                <a:lnTo>
                  <a:pt x="9984844" y="3176277"/>
                </a:lnTo>
                <a:lnTo>
                  <a:pt x="9985784" y="3167370"/>
                </a:lnTo>
                <a:lnTo>
                  <a:pt x="9979414" y="3151459"/>
                </a:lnTo>
                <a:cubicBezTo>
                  <a:pt x="9977821" y="3149867"/>
                  <a:pt x="9976227" y="3149072"/>
                  <a:pt x="9975032" y="3149469"/>
                </a:cubicBezTo>
                <a:close/>
                <a:moveTo>
                  <a:pt x="9769188" y="3090994"/>
                </a:moveTo>
                <a:lnTo>
                  <a:pt x="9753291" y="3144992"/>
                </a:lnTo>
                <a:lnTo>
                  <a:pt x="9763044" y="3146539"/>
                </a:lnTo>
                <a:lnTo>
                  <a:pt x="9769188" y="3153359"/>
                </a:lnTo>
                <a:close/>
                <a:moveTo>
                  <a:pt x="9616292" y="3065534"/>
                </a:moveTo>
                <a:lnTo>
                  <a:pt x="9616292" y="3116450"/>
                </a:lnTo>
                <a:lnTo>
                  <a:pt x="9616292" y="3135557"/>
                </a:lnTo>
                <a:lnTo>
                  <a:pt x="9688193" y="3149722"/>
                </a:lnTo>
                <a:cubicBezTo>
                  <a:pt x="9694563" y="3149722"/>
                  <a:pt x="9700933" y="3149722"/>
                  <a:pt x="9708895" y="3149722"/>
                </a:cubicBezTo>
                <a:lnTo>
                  <a:pt x="9718221" y="3149722"/>
                </a:lnTo>
                <a:lnTo>
                  <a:pt x="9718221" y="3090994"/>
                </a:lnTo>
                <a:cubicBezTo>
                  <a:pt x="9679999" y="3103722"/>
                  <a:pt x="9641776" y="3090994"/>
                  <a:pt x="9616292" y="3065534"/>
                </a:cubicBezTo>
                <a:close/>
                <a:moveTo>
                  <a:pt x="9412436" y="3052806"/>
                </a:moveTo>
                <a:lnTo>
                  <a:pt x="9412436" y="3119716"/>
                </a:lnTo>
                <a:lnTo>
                  <a:pt x="9471592" y="3124262"/>
                </a:lnTo>
                <a:lnTo>
                  <a:pt x="9484044" y="3123469"/>
                </a:lnTo>
                <a:lnTo>
                  <a:pt x="9476141" y="3116454"/>
                </a:lnTo>
                <a:cubicBezTo>
                  <a:pt x="9437919" y="3116454"/>
                  <a:pt x="9437919" y="3078266"/>
                  <a:pt x="9412436" y="3052806"/>
                </a:cubicBezTo>
                <a:close/>
                <a:moveTo>
                  <a:pt x="8691434" y="2963103"/>
                </a:moveTo>
                <a:lnTo>
                  <a:pt x="8666861" y="2979470"/>
                </a:lnTo>
                <a:lnTo>
                  <a:pt x="8689074" y="2983169"/>
                </a:lnTo>
                <a:lnTo>
                  <a:pt x="8698937" y="2976426"/>
                </a:lnTo>
                <a:close/>
                <a:moveTo>
                  <a:pt x="8924306" y="2834377"/>
                </a:moveTo>
                <a:lnTo>
                  <a:pt x="8880497" y="2841182"/>
                </a:lnTo>
                <a:lnTo>
                  <a:pt x="8870121" y="2845969"/>
                </a:lnTo>
                <a:lnTo>
                  <a:pt x="8860021" y="2869682"/>
                </a:lnTo>
                <a:cubicBezTo>
                  <a:pt x="8860021" y="2895138"/>
                  <a:pt x="8834542" y="2882410"/>
                  <a:pt x="8821799" y="2882410"/>
                </a:cubicBezTo>
                <a:lnTo>
                  <a:pt x="8805125" y="2885340"/>
                </a:lnTo>
                <a:lnTo>
                  <a:pt x="8788125" y="2900054"/>
                </a:lnTo>
                <a:lnTo>
                  <a:pt x="8777658" y="2892386"/>
                </a:lnTo>
                <a:lnTo>
                  <a:pt x="8776658" y="2892975"/>
                </a:lnTo>
                <a:lnTo>
                  <a:pt x="8772961" y="2892939"/>
                </a:lnTo>
                <a:lnTo>
                  <a:pt x="8773166" y="2894941"/>
                </a:lnTo>
                <a:lnTo>
                  <a:pt x="8762392" y="2923304"/>
                </a:lnTo>
                <a:lnTo>
                  <a:pt x="8799871" y="2931080"/>
                </a:lnTo>
                <a:cubicBezTo>
                  <a:pt x="8890053" y="2940626"/>
                  <a:pt x="8985611" y="2928692"/>
                  <a:pt x="9081167" y="2938238"/>
                </a:cubicBezTo>
                <a:cubicBezTo>
                  <a:pt x="9106650" y="2944604"/>
                  <a:pt x="9109837" y="2931876"/>
                  <a:pt x="9109837" y="2915965"/>
                </a:cubicBezTo>
                <a:lnTo>
                  <a:pt x="9118194" y="2879787"/>
                </a:lnTo>
                <a:lnTo>
                  <a:pt x="9072297" y="2873975"/>
                </a:lnTo>
                <a:lnTo>
                  <a:pt x="9061858" y="2885138"/>
                </a:lnTo>
                <a:cubicBezTo>
                  <a:pt x="9060464" y="2891303"/>
                  <a:pt x="9062057" y="2900056"/>
                  <a:pt x="9068427" y="2912786"/>
                </a:cubicBezTo>
                <a:cubicBezTo>
                  <a:pt x="9017466" y="2900054"/>
                  <a:pt x="8979243" y="2900054"/>
                  <a:pt x="8953759" y="2849138"/>
                </a:cubicBezTo>
                <a:lnTo>
                  <a:pt x="8942863" y="2842690"/>
                </a:lnTo>
                <a:lnTo>
                  <a:pt x="8937378" y="2844075"/>
                </a:lnTo>
                <a:cubicBezTo>
                  <a:pt x="8930641" y="2844075"/>
                  <a:pt x="8927273" y="2844075"/>
                  <a:pt x="8925589" y="2842544"/>
                </a:cubicBezTo>
                <a:close/>
                <a:moveTo>
                  <a:pt x="10034188" y="2788134"/>
                </a:moveTo>
                <a:cubicBezTo>
                  <a:pt x="10032994" y="2788532"/>
                  <a:pt x="10032197" y="2790123"/>
                  <a:pt x="10032197" y="2793306"/>
                </a:cubicBezTo>
                <a:lnTo>
                  <a:pt x="10020874" y="2801939"/>
                </a:lnTo>
                <a:lnTo>
                  <a:pt x="10044902" y="2805940"/>
                </a:lnTo>
                <a:lnTo>
                  <a:pt x="10038571" y="2790123"/>
                </a:lnTo>
                <a:cubicBezTo>
                  <a:pt x="10036977" y="2788532"/>
                  <a:pt x="10035384" y="2787736"/>
                  <a:pt x="10034188" y="2788134"/>
                </a:cubicBezTo>
                <a:close/>
                <a:moveTo>
                  <a:pt x="10908430" y="2591800"/>
                </a:moveTo>
                <a:cubicBezTo>
                  <a:pt x="10924927" y="2589934"/>
                  <a:pt x="10941226" y="2590349"/>
                  <a:pt x="10956332" y="2592838"/>
                </a:cubicBezTo>
                <a:cubicBezTo>
                  <a:pt x="10986545" y="2597811"/>
                  <a:pt x="11011986" y="2611083"/>
                  <a:pt x="11024707" y="2630987"/>
                </a:cubicBezTo>
                <a:lnTo>
                  <a:pt x="11024703" y="2630987"/>
                </a:lnTo>
                <a:lnTo>
                  <a:pt x="11024707" y="2630991"/>
                </a:lnTo>
                <a:cubicBezTo>
                  <a:pt x="10961100" y="2657531"/>
                  <a:pt x="10922940" y="2604450"/>
                  <a:pt x="10859334" y="2604450"/>
                </a:cubicBezTo>
                <a:lnTo>
                  <a:pt x="10859346" y="2604450"/>
                </a:lnTo>
                <a:lnTo>
                  <a:pt x="10859334" y="2604447"/>
                </a:lnTo>
                <a:cubicBezTo>
                  <a:pt x="10875236" y="2597812"/>
                  <a:pt x="10891932" y="2593666"/>
                  <a:pt x="10908430" y="2591800"/>
                </a:cubicBezTo>
                <a:close/>
                <a:moveTo>
                  <a:pt x="10644967" y="2553407"/>
                </a:moveTo>
                <a:cubicBezTo>
                  <a:pt x="10720765" y="2566884"/>
                  <a:pt x="10771295" y="2580357"/>
                  <a:pt x="10834457" y="2580357"/>
                </a:cubicBezTo>
                <a:cubicBezTo>
                  <a:pt x="10834457" y="2580357"/>
                  <a:pt x="10847089" y="2593828"/>
                  <a:pt x="10847089" y="2607305"/>
                </a:cubicBezTo>
                <a:lnTo>
                  <a:pt x="10847089" y="2607309"/>
                </a:lnTo>
                <a:cubicBezTo>
                  <a:pt x="10847089" y="2620782"/>
                  <a:pt x="10834457" y="2620782"/>
                  <a:pt x="10821825" y="2620782"/>
                </a:cubicBezTo>
                <a:cubicBezTo>
                  <a:pt x="10771295" y="2593832"/>
                  <a:pt x="10708130" y="2607309"/>
                  <a:pt x="10644967" y="2553411"/>
                </a:cubicBezTo>
                <a:lnTo>
                  <a:pt x="10644979" y="2553415"/>
                </a:lnTo>
                <a:close/>
                <a:moveTo>
                  <a:pt x="1975653" y="2012302"/>
                </a:moveTo>
                <a:lnTo>
                  <a:pt x="1917997" y="2017703"/>
                </a:lnTo>
                <a:cubicBezTo>
                  <a:pt x="1886146" y="2021482"/>
                  <a:pt x="1854294" y="2026256"/>
                  <a:pt x="1822441" y="2032620"/>
                </a:cubicBezTo>
                <a:cubicBezTo>
                  <a:pt x="1803330" y="2032620"/>
                  <a:pt x="1784219" y="2038985"/>
                  <a:pt x="1763515" y="2045351"/>
                </a:cubicBezTo>
                <a:lnTo>
                  <a:pt x="1755345" y="2047554"/>
                </a:lnTo>
                <a:lnTo>
                  <a:pt x="1824436" y="2037191"/>
                </a:lnTo>
                <a:cubicBezTo>
                  <a:pt x="1862660" y="2027645"/>
                  <a:pt x="1900882" y="2032419"/>
                  <a:pt x="1939107" y="2024662"/>
                </a:cubicBezTo>
                <a:close/>
                <a:moveTo>
                  <a:pt x="2094844" y="2002662"/>
                </a:moveTo>
                <a:lnTo>
                  <a:pt x="2013556" y="2008752"/>
                </a:lnTo>
                <a:lnTo>
                  <a:pt x="1980811" y="2011819"/>
                </a:lnTo>
                <a:lnTo>
                  <a:pt x="2002015" y="2012331"/>
                </a:lnTo>
                <a:cubicBezTo>
                  <a:pt x="2023515" y="2021281"/>
                  <a:pt x="2037848" y="2049923"/>
                  <a:pt x="2066515" y="2049923"/>
                </a:cubicBezTo>
                <a:lnTo>
                  <a:pt x="2082442" y="2041968"/>
                </a:lnTo>
                <a:lnTo>
                  <a:pt x="2079259" y="2024467"/>
                </a:lnTo>
                <a:lnTo>
                  <a:pt x="2079259" y="2024463"/>
                </a:lnTo>
                <a:close/>
                <a:moveTo>
                  <a:pt x="2317681" y="1983468"/>
                </a:moveTo>
                <a:lnTo>
                  <a:pt x="2204672" y="1994432"/>
                </a:lnTo>
                <a:lnTo>
                  <a:pt x="2131562" y="1999910"/>
                </a:lnTo>
                <a:lnTo>
                  <a:pt x="2149332" y="2011932"/>
                </a:lnTo>
                <a:cubicBezTo>
                  <a:pt x="2168443" y="2019690"/>
                  <a:pt x="2187554" y="2014917"/>
                  <a:pt x="2206666" y="2024463"/>
                </a:cubicBezTo>
                <a:cubicBezTo>
                  <a:pt x="2219410" y="2024463"/>
                  <a:pt x="2244889" y="2024463"/>
                  <a:pt x="2257632" y="2011735"/>
                </a:cubicBezTo>
                <a:cubicBezTo>
                  <a:pt x="2270373" y="2002188"/>
                  <a:pt x="2283114" y="1995028"/>
                  <a:pt x="2296053" y="1989657"/>
                </a:cubicBezTo>
                <a:close/>
                <a:moveTo>
                  <a:pt x="6632903" y="680241"/>
                </a:moveTo>
                <a:lnTo>
                  <a:pt x="6097790" y="692969"/>
                </a:lnTo>
                <a:cubicBezTo>
                  <a:pt x="5995861" y="692969"/>
                  <a:pt x="5893936" y="705697"/>
                  <a:pt x="5792008" y="705697"/>
                </a:cubicBezTo>
                <a:cubicBezTo>
                  <a:pt x="5626373" y="705697"/>
                  <a:pt x="5460739" y="718429"/>
                  <a:pt x="5295104" y="743885"/>
                </a:cubicBezTo>
                <a:lnTo>
                  <a:pt x="5281160" y="744660"/>
                </a:lnTo>
                <a:lnTo>
                  <a:pt x="5287997" y="759689"/>
                </a:lnTo>
                <a:lnTo>
                  <a:pt x="5294617" y="865517"/>
                </a:lnTo>
                <a:lnTo>
                  <a:pt x="5421322" y="846514"/>
                </a:lnTo>
                <a:cubicBezTo>
                  <a:pt x="5587354" y="825032"/>
                  <a:pt x="5756967" y="810711"/>
                  <a:pt x="5919415" y="782069"/>
                </a:cubicBezTo>
                <a:cubicBezTo>
                  <a:pt x="5970382" y="769341"/>
                  <a:pt x="6021343" y="782069"/>
                  <a:pt x="6072310" y="756613"/>
                </a:cubicBezTo>
                <a:cubicBezTo>
                  <a:pt x="6110533" y="743881"/>
                  <a:pt x="6123272" y="794802"/>
                  <a:pt x="6161495" y="794802"/>
                </a:cubicBezTo>
                <a:lnTo>
                  <a:pt x="6177422" y="786846"/>
                </a:lnTo>
                <a:lnTo>
                  <a:pt x="6174239" y="769345"/>
                </a:lnTo>
                <a:lnTo>
                  <a:pt x="6174239" y="769341"/>
                </a:lnTo>
                <a:cubicBezTo>
                  <a:pt x="6174239" y="756613"/>
                  <a:pt x="6199717" y="731153"/>
                  <a:pt x="6225200" y="743881"/>
                </a:cubicBezTo>
                <a:cubicBezTo>
                  <a:pt x="6250684" y="769341"/>
                  <a:pt x="6276163" y="756613"/>
                  <a:pt x="6301646" y="769341"/>
                </a:cubicBezTo>
                <a:cubicBezTo>
                  <a:pt x="6314390" y="769341"/>
                  <a:pt x="6339869" y="769341"/>
                  <a:pt x="6352612" y="756613"/>
                </a:cubicBezTo>
                <a:cubicBezTo>
                  <a:pt x="6403574" y="718426"/>
                  <a:pt x="6454537" y="718426"/>
                  <a:pt x="6518243" y="718426"/>
                </a:cubicBezTo>
                <a:close/>
                <a:moveTo>
                  <a:pt x="9010145" y="184"/>
                </a:moveTo>
                <a:cubicBezTo>
                  <a:pt x="9037021" y="1975"/>
                  <a:pt x="9072853" y="16296"/>
                  <a:pt x="9101521" y="16296"/>
                </a:cubicBezTo>
                <a:cubicBezTo>
                  <a:pt x="9152487" y="29024"/>
                  <a:pt x="9203448" y="54481"/>
                  <a:pt x="9254411" y="16296"/>
                </a:cubicBezTo>
                <a:cubicBezTo>
                  <a:pt x="9267154" y="3565"/>
                  <a:pt x="9318117" y="3565"/>
                  <a:pt x="9356340" y="3565"/>
                </a:cubicBezTo>
                <a:cubicBezTo>
                  <a:pt x="9496491" y="3565"/>
                  <a:pt x="9649385" y="3565"/>
                  <a:pt x="9789536" y="3565"/>
                </a:cubicBezTo>
                <a:cubicBezTo>
                  <a:pt x="9967911" y="16296"/>
                  <a:pt x="10146285" y="41753"/>
                  <a:pt x="10311918" y="54481"/>
                </a:cubicBezTo>
                <a:cubicBezTo>
                  <a:pt x="10388364" y="54481"/>
                  <a:pt x="10452071" y="67212"/>
                  <a:pt x="10528515" y="79941"/>
                </a:cubicBezTo>
                <a:cubicBezTo>
                  <a:pt x="10541259" y="79941"/>
                  <a:pt x="10553998" y="92669"/>
                  <a:pt x="10553998" y="105400"/>
                </a:cubicBezTo>
                <a:cubicBezTo>
                  <a:pt x="10566738" y="194504"/>
                  <a:pt x="10553998" y="270880"/>
                  <a:pt x="10579481" y="359985"/>
                </a:cubicBezTo>
                <a:lnTo>
                  <a:pt x="10579481" y="359989"/>
                </a:lnTo>
                <a:cubicBezTo>
                  <a:pt x="10579481" y="385448"/>
                  <a:pt x="10553998" y="398176"/>
                  <a:pt x="10528515" y="410904"/>
                </a:cubicBezTo>
                <a:cubicBezTo>
                  <a:pt x="10477553" y="423636"/>
                  <a:pt x="10439330" y="449092"/>
                  <a:pt x="10388364" y="436364"/>
                </a:cubicBezTo>
                <a:lnTo>
                  <a:pt x="10324662" y="461820"/>
                </a:lnTo>
                <a:lnTo>
                  <a:pt x="10375624" y="487277"/>
                </a:lnTo>
                <a:cubicBezTo>
                  <a:pt x="10388364" y="474548"/>
                  <a:pt x="10401107" y="474548"/>
                  <a:pt x="10401107" y="474548"/>
                </a:cubicBezTo>
                <a:cubicBezTo>
                  <a:pt x="10515775" y="465003"/>
                  <a:pt x="10558775" y="476937"/>
                  <a:pt x="10562358" y="542571"/>
                </a:cubicBezTo>
                <a:lnTo>
                  <a:pt x="10562358" y="542575"/>
                </a:lnTo>
                <a:cubicBezTo>
                  <a:pt x="10563555" y="564451"/>
                  <a:pt x="10560368" y="592299"/>
                  <a:pt x="10553998" y="627304"/>
                </a:cubicBezTo>
                <a:lnTo>
                  <a:pt x="10553998" y="661493"/>
                </a:lnTo>
                <a:lnTo>
                  <a:pt x="10756619" y="681610"/>
                </a:lnTo>
                <a:cubicBezTo>
                  <a:pt x="10833064" y="681610"/>
                  <a:pt x="10896771" y="694341"/>
                  <a:pt x="10973215" y="707070"/>
                </a:cubicBezTo>
                <a:cubicBezTo>
                  <a:pt x="10985959" y="707070"/>
                  <a:pt x="10998699" y="719798"/>
                  <a:pt x="10998699" y="732529"/>
                </a:cubicBezTo>
                <a:cubicBezTo>
                  <a:pt x="11011438" y="821634"/>
                  <a:pt x="10998699" y="898010"/>
                  <a:pt x="11024181" y="987114"/>
                </a:cubicBezTo>
                <a:lnTo>
                  <a:pt x="11024181" y="987118"/>
                </a:lnTo>
                <a:cubicBezTo>
                  <a:pt x="11024181" y="1012577"/>
                  <a:pt x="10998699" y="1025306"/>
                  <a:pt x="10973215" y="1038033"/>
                </a:cubicBezTo>
                <a:cubicBezTo>
                  <a:pt x="10922253" y="1050765"/>
                  <a:pt x="10884030" y="1076222"/>
                  <a:pt x="10833064" y="1063494"/>
                </a:cubicBezTo>
                <a:lnTo>
                  <a:pt x="10769362" y="1088949"/>
                </a:lnTo>
                <a:lnTo>
                  <a:pt x="10820324" y="1114406"/>
                </a:lnTo>
                <a:cubicBezTo>
                  <a:pt x="10833064" y="1101678"/>
                  <a:pt x="10845807" y="1101678"/>
                  <a:pt x="10845807" y="1101678"/>
                </a:cubicBezTo>
                <a:cubicBezTo>
                  <a:pt x="10960476" y="1092132"/>
                  <a:pt x="11003475" y="1104066"/>
                  <a:pt x="11007059" y="1169700"/>
                </a:cubicBezTo>
                <a:lnTo>
                  <a:pt x="11007059" y="1169705"/>
                </a:lnTo>
                <a:cubicBezTo>
                  <a:pt x="11008255" y="1191580"/>
                  <a:pt x="11005068" y="1219428"/>
                  <a:pt x="10998699" y="1254433"/>
                </a:cubicBezTo>
                <a:lnTo>
                  <a:pt x="10998699" y="1381721"/>
                </a:lnTo>
                <a:lnTo>
                  <a:pt x="10998699" y="1381725"/>
                </a:lnTo>
                <a:cubicBezTo>
                  <a:pt x="11011438" y="1432642"/>
                  <a:pt x="10985959" y="1445373"/>
                  <a:pt x="10947736" y="1445373"/>
                </a:cubicBezTo>
                <a:cubicBezTo>
                  <a:pt x="10934993" y="1445373"/>
                  <a:pt x="10922253" y="1442190"/>
                  <a:pt x="10909514" y="1442190"/>
                </a:cubicBezTo>
                <a:lnTo>
                  <a:pt x="10875053" y="1456535"/>
                </a:lnTo>
                <a:lnTo>
                  <a:pt x="10874879" y="1461684"/>
                </a:lnTo>
                <a:lnTo>
                  <a:pt x="10884030" y="1470826"/>
                </a:lnTo>
                <a:cubicBezTo>
                  <a:pt x="10922253" y="1470826"/>
                  <a:pt x="10960476" y="1458097"/>
                  <a:pt x="10998699" y="1483557"/>
                </a:cubicBezTo>
                <a:cubicBezTo>
                  <a:pt x="11017812" y="1496285"/>
                  <a:pt x="11017812" y="1512196"/>
                  <a:pt x="11013031" y="1529701"/>
                </a:cubicBezTo>
                <a:lnTo>
                  <a:pt x="11013031" y="1529705"/>
                </a:lnTo>
                <a:cubicBezTo>
                  <a:pt x="11008255" y="1547206"/>
                  <a:pt x="10998699" y="1566300"/>
                  <a:pt x="10998699" y="1585394"/>
                </a:cubicBezTo>
                <a:lnTo>
                  <a:pt x="10998699" y="1712682"/>
                </a:lnTo>
                <a:lnTo>
                  <a:pt x="10998699" y="1712686"/>
                </a:lnTo>
                <a:cubicBezTo>
                  <a:pt x="11011438" y="1776333"/>
                  <a:pt x="10998699" y="1814521"/>
                  <a:pt x="10934993" y="1814521"/>
                </a:cubicBezTo>
                <a:lnTo>
                  <a:pt x="10896774" y="1839978"/>
                </a:lnTo>
                <a:lnTo>
                  <a:pt x="10973215" y="1852705"/>
                </a:lnTo>
                <a:cubicBezTo>
                  <a:pt x="11024181" y="1878162"/>
                  <a:pt x="11075144" y="1852705"/>
                  <a:pt x="11138850" y="1878162"/>
                </a:cubicBezTo>
                <a:cubicBezTo>
                  <a:pt x="11177073" y="1890893"/>
                  <a:pt x="11240778" y="1878162"/>
                  <a:pt x="11291741" y="1890893"/>
                </a:cubicBezTo>
                <a:cubicBezTo>
                  <a:pt x="11329963" y="1903621"/>
                  <a:pt x="11355446" y="1929081"/>
                  <a:pt x="11342707" y="1979997"/>
                </a:cubicBezTo>
                <a:lnTo>
                  <a:pt x="11342707" y="1980001"/>
                </a:lnTo>
                <a:cubicBezTo>
                  <a:pt x="11317224" y="2030920"/>
                  <a:pt x="11317224" y="2094565"/>
                  <a:pt x="11317224" y="2158213"/>
                </a:cubicBezTo>
                <a:cubicBezTo>
                  <a:pt x="11317224" y="2221857"/>
                  <a:pt x="11291741" y="2260045"/>
                  <a:pt x="11228038" y="2247317"/>
                </a:cubicBezTo>
                <a:cubicBezTo>
                  <a:pt x="11138850" y="2247317"/>
                  <a:pt x="11049661" y="2272776"/>
                  <a:pt x="10960476" y="2272776"/>
                </a:cubicBezTo>
                <a:cubicBezTo>
                  <a:pt x="10934993" y="2272776"/>
                  <a:pt x="10896771" y="2260045"/>
                  <a:pt x="10858548" y="2260045"/>
                </a:cubicBezTo>
                <a:lnTo>
                  <a:pt x="10858551" y="2260041"/>
                </a:lnTo>
                <a:lnTo>
                  <a:pt x="10858548" y="2260041"/>
                </a:lnTo>
                <a:cubicBezTo>
                  <a:pt x="10858548" y="2247313"/>
                  <a:pt x="10871287" y="2244130"/>
                  <a:pt x="10880843" y="2239358"/>
                </a:cubicBezTo>
                <a:lnTo>
                  <a:pt x="10884030" y="2209129"/>
                </a:lnTo>
                <a:lnTo>
                  <a:pt x="10877661" y="2193218"/>
                </a:lnTo>
                <a:cubicBezTo>
                  <a:pt x="10874474" y="2190035"/>
                  <a:pt x="10871287" y="2190035"/>
                  <a:pt x="10871287" y="2196401"/>
                </a:cubicBezTo>
                <a:cubicBezTo>
                  <a:pt x="10858548" y="2221857"/>
                  <a:pt x="10807585" y="2196401"/>
                  <a:pt x="10820324" y="2247317"/>
                </a:cubicBezTo>
                <a:cubicBezTo>
                  <a:pt x="10820324" y="2260045"/>
                  <a:pt x="10833064" y="2272776"/>
                  <a:pt x="10807585" y="2272776"/>
                </a:cubicBezTo>
                <a:cubicBezTo>
                  <a:pt x="10794842" y="2272776"/>
                  <a:pt x="10782102" y="2260045"/>
                  <a:pt x="10782102" y="2247317"/>
                </a:cubicBezTo>
                <a:cubicBezTo>
                  <a:pt x="10782102" y="2196401"/>
                  <a:pt x="10731136" y="2221857"/>
                  <a:pt x="10718397" y="2196401"/>
                </a:cubicBezTo>
                <a:cubicBezTo>
                  <a:pt x="10712026" y="2190035"/>
                  <a:pt x="10705656" y="2193218"/>
                  <a:pt x="10700876" y="2199583"/>
                </a:cubicBezTo>
                <a:lnTo>
                  <a:pt x="10692917" y="2221857"/>
                </a:lnTo>
                <a:lnTo>
                  <a:pt x="10718397" y="2247313"/>
                </a:lnTo>
                <a:cubicBezTo>
                  <a:pt x="10731136" y="2247313"/>
                  <a:pt x="10743879" y="2234584"/>
                  <a:pt x="10769359" y="2260041"/>
                </a:cubicBezTo>
                <a:lnTo>
                  <a:pt x="10769351" y="2260041"/>
                </a:lnTo>
                <a:lnTo>
                  <a:pt x="10769359" y="2260045"/>
                </a:lnTo>
                <a:cubicBezTo>
                  <a:pt x="10705656" y="2272776"/>
                  <a:pt x="10654691" y="2272776"/>
                  <a:pt x="10590985" y="2260045"/>
                </a:cubicBezTo>
                <a:lnTo>
                  <a:pt x="10590992" y="2260041"/>
                </a:lnTo>
                <a:lnTo>
                  <a:pt x="10590985" y="2260041"/>
                </a:lnTo>
                <a:cubicBezTo>
                  <a:pt x="10629207" y="2253678"/>
                  <a:pt x="10654691" y="2237768"/>
                  <a:pt x="10667434" y="2215490"/>
                </a:cubicBezTo>
                <a:lnTo>
                  <a:pt x="10667434" y="2132753"/>
                </a:lnTo>
                <a:lnTo>
                  <a:pt x="10651508" y="2186852"/>
                </a:lnTo>
                <a:cubicBezTo>
                  <a:pt x="10645138" y="2202763"/>
                  <a:pt x="10635581" y="2215494"/>
                  <a:pt x="10616468" y="2221857"/>
                </a:cubicBezTo>
                <a:lnTo>
                  <a:pt x="10616468" y="2221853"/>
                </a:lnTo>
                <a:lnTo>
                  <a:pt x="10616468" y="2132753"/>
                </a:lnTo>
                <a:cubicBezTo>
                  <a:pt x="10578244" y="2145481"/>
                  <a:pt x="10540022" y="2132753"/>
                  <a:pt x="10514540" y="2107293"/>
                </a:cubicBezTo>
                <a:lnTo>
                  <a:pt x="10514540" y="2158209"/>
                </a:lnTo>
                <a:cubicBezTo>
                  <a:pt x="10520913" y="2170937"/>
                  <a:pt x="10520913" y="2183665"/>
                  <a:pt x="10514540" y="2193214"/>
                </a:cubicBezTo>
                <a:lnTo>
                  <a:pt x="10514540" y="2193218"/>
                </a:lnTo>
                <a:cubicBezTo>
                  <a:pt x="10508170" y="2202763"/>
                  <a:pt x="10495430" y="2209129"/>
                  <a:pt x="10476317" y="2209129"/>
                </a:cubicBezTo>
                <a:cubicBezTo>
                  <a:pt x="10463577" y="2221857"/>
                  <a:pt x="10450833" y="2221857"/>
                  <a:pt x="10450833" y="2234588"/>
                </a:cubicBezTo>
                <a:cubicBezTo>
                  <a:pt x="10438093" y="2285505"/>
                  <a:pt x="10412611" y="2272776"/>
                  <a:pt x="10387132" y="2260045"/>
                </a:cubicBezTo>
                <a:cubicBezTo>
                  <a:pt x="10374389" y="2247317"/>
                  <a:pt x="10361648" y="2234588"/>
                  <a:pt x="10356872" y="2221857"/>
                </a:cubicBezTo>
                <a:lnTo>
                  <a:pt x="10356872" y="2221853"/>
                </a:lnTo>
                <a:cubicBezTo>
                  <a:pt x="10352092" y="2209125"/>
                  <a:pt x="10355279" y="2196396"/>
                  <a:pt x="10374389" y="2183665"/>
                </a:cubicBezTo>
                <a:lnTo>
                  <a:pt x="10388721" y="2170937"/>
                </a:lnTo>
                <a:lnTo>
                  <a:pt x="10374389" y="2158213"/>
                </a:lnTo>
                <a:cubicBezTo>
                  <a:pt x="10336165" y="2158213"/>
                  <a:pt x="10336165" y="2120025"/>
                  <a:pt x="10310682" y="2094565"/>
                </a:cubicBezTo>
                <a:lnTo>
                  <a:pt x="10310682" y="2196396"/>
                </a:lnTo>
                <a:cubicBezTo>
                  <a:pt x="10317051" y="2202759"/>
                  <a:pt x="10320238" y="2212308"/>
                  <a:pt x="10318645" y="2220264"/>
                </a:cubicBezTo>
                <a:lnTo>
                  <a:pt x="10318645" y="2220267"/>
                </a:lnTo>
                <a:lnTo>
                  <a:pt x="10300825" y="2232594"/>
                </a:lnTo>
                <a:lnTo>
                  <a:pt x="10301978" y="2239207"/>
                </a:lnTo>
                <a:lnTo>
                  <a:pt x="10296422" y="2239388"/>
                </a:lnTo>
                <a:lnTo>
                  <a:pt x="10288386" y="2264821"/>
                </a:lnTo>
                <a:cubicBezTo>
                  <a:pt x="10285199" y="2272776"/>
                  <a:pt x="10278829" y="2279139"/>
                  <a:pt x="10259716" y="2285505"/>
                </a:cubicBezTo>
                <a:cubicBezTo>
                  <a:pt x="10234235" y="2291868"/>
                  <a:pt x="10211939" y="2291868"/>
                  <a:pt x="10191633" y="2288090"/>
                </a:cubicBezTo>
                <a:lnTo>
                  <a:pt x="10159609" y="2276630"/>
                </a:lnTo>
                <a:lnTo>
                  <a:pt x="10159609" y="2309587"/>
                </a:lnTo>
                <a:lnTo>
                  <a:pt x="10159609" y="2309590"/>
                </a:lnTo>
                <a:cubicBezTo>
                  <a:pt x="10172348" y="2373239"/>
                  <a:pt x="10159609" y="2411426"/>
                  <a:pt x="10095903" y="2411426"/>
                </a:cubicBezTo>
                <a:lnTo>
                  <a:pt x="10069754" y="2428843"/>
                </a:lnTo>
                <a:lnTo>
                  <a:pt x="10071785" y="2429068"/>
                </a:lnTo>
                <a:cubicBezTo>
                  <a:pt x="10081341" y="2431455"/>
                  <a:pt x="10090897" y="2435433"/>
                  <a:pt x="10100452" y="2441798"/>
                </a:cubicBezTo>
                <a:lnTo>
                  <a:pt x="10102365" y="2444322"/>
                </a:lnTo>
                <a:lnTo>
                  <a:pt x="10134125" y="2449610"/>
                </a:lnTo>
                <a:cubicBezTo>
                  <a:pt x="10185092" y="2475066"/>
                  <a:pt x="10236054" y="2449610"/>
                  <a:pt x="10299760" y="2475066"/>
                </a:cubicBezTo>
                <a:cubicBezTo>
                  <a:pt x="10337983" y="2487798"/>
                  <a:pt x="10401688" y="2475066"/>
                  <a:pt x="10452651" y="2487798"/>
                </a:cubicBezTo>
                <a:cubicBezTo>
                  <a:pt x="10481318" y="2497344"/>
                  <a:pt x="10502819" y="2514052"/>
                  <a:pt x="10506403" y="2543290"/>
                </a:cubicBezTo>
                <a:lnTo>
                  <a:pt x="10505962" y="2548616"/>
                </a:lnTo>
                <a:lnTo>
                  <a:pt x="10527283" y="2552816"/>
                </a:lnTo>
                <a:cubicBezTo>
                  <a:pt x="10540022" y="2552816"/>
                  <a:pt x="10552762" y="2552816"/>
                  <a:pt x="10578244" y="2552816"/>
                </a:cubicBezTo>
                <a:cubicBezTo>
                  <a:pt x="10590985" y="2540085"/>
                  <a:pt x="10616468" y="2552816"/>
                  <a:pt x="10616468" y="2565545"/>
                </a:cubicBezTo>
                <a:lnTo>
                  <a:pt x="10616468" y="2565549"/>
                </a:lnTo>
                <a:cubicBezTo>
                  <a:pt x="10616468" y="2591008"/>
                  <a:pt x="10590985" y="2603737"/>
                  <a:pt x="10578244" y="2591008"/>
                </a:cubicBezTo>
                <a:cubicBezTo>
                  <a:pt x="10555948" y="2581462"/>
                  <a:pt x="10532058" y="2576687"/>
                  <a:pt x="10507372" y="2574301"/>
                </a:cubicBezTo>
                <a:lnTo>
                  <a:pt x="10503842" y="2574190"/>
                </a:lnTo>
                <a:lnTo>
                  <a:pt x="10503617" y="2576902"/>
                </a:lnTo>
                <a:lnTo>
                  <a:pt x="10503617" y="2576907"/>
                </a:lnTo>
                <a:lnTo>
                  <a:pt x="10491701" y="2621972"/>
                </a:lnTo>
                <a:lnTo>
                  <a:pt x="10494148" y="2635636"/>
                </a:lnTo>
                <a:lnTo>
                  <a:pt x="10487149" y="2639189"/>
                </a:lnTo>
                <a:lnTo>
                  <a:pt x="10481320" y="2661238"/>
                </a:lnTo>
                <a:cubicBezTo>
                  <a:pt x="10478134" y="2691471"/>
                  <a:pt x="10478134" y="2723294"/>
                  <a:pt x="10478134" y="2755118"/>
                </a:cubicBezTo>
                <a:cubicBezTo>
                  <a:pt x="10478134" y="2818762"/>
                  <a:pt x="10452651" y="2856950"/>
                  <a:pt x="10388948" y="2844222"/>
                </a:cubicBezTo>
                <a:lnTo>
                  <a:pt x="10367409" y="2845503"/>
                </a:lnTo>
                <a:lnTo>
                  <a:pt x="10393494" y="2849134"/>
                </a:lnTo>
                <a:cubicBezTo>
                  <a:pt x="10431717" y="2861862"/>
                  <a:pt x="10457200" y="2887322"/>
                  <a:pt x="10444460" y="2938238"/>
                </a:cubicBezTo>
                <a:lnTo>
                  <a:pt x="10444460" y="2938242"/>
                </a:lnTo>
                <a:cubicBezTo>
                  <a:pt x="10418977" y="2989161"/>
                  <a:pt x="10418977" y="3052806"/>
                  <a:pt x="10418977" y="3116454"/>
                </a:cubicBezTo>
                <a:cubicBezTo>
                  <a:pt x="10418977" y="3180098"/>
                  <a:pt x="10393494" y="3218286"/>
                  <a:pt x="10329793" y="3205558"/>
                </a:cubicBezTo>
                <a:cubicBezTo>
                  <a:pt x="10285198" y="3205558"/>
                  <a:pt x="10240603" y="3211922"/>
                  <a:pt x="10196009" y="3218287"/>
                </a:cubicBezTo>
                <a:lnTo>
                  <a:pt x="10177564" y="3220700"/>
                </a:lnTo>
                <a:lnTo>
                  <a:pt x="10185617" y="3227892"/>
                </a:lnTo>
                <a:lnTo>
                  <a:pt x="10185613" y="3227892"/>
                </a:lnTo>
                <a:lnTo>
                  <a:pt x="10185617" y="3227896"/>
                </a:lnTo>
                <a:cubicBezTo>
                  <a:pt x="10169715" y="3234531"/>
                  <a:pt x="10155404" y="3236190"/>
                  <a:pt x="10141888" y="3234946"/>
                </a:cubicBezTo>
                <a:lnTo>
                  <a:pt x="10115273" y="3227863"/>
                </a:lnTo>
                <a:lnTo>
                  <a:pt x="10062229" y="3231017"/>
                </a:lnTo>
                <a:cubicBezTo>
                  <a:pt x="10036746" y="3231017"/>
                  <a:pt x="9998523" y="3218286"/>
                  <a:pt x="9960301" y="3218286"/>
                </a:cubicBezTo>
                <a:lnTo>
                  <a:pt x="9960305" y="3218282"/>
                </a:lnTo>
                <a:lnTo>
                  <a:pt x="9960301" y="3218282"/>
                </a:lnTo>
                <a:lnTo>
                  <a:pt x="9964365" y="3211124"/>
                </a:lnTo>
                <a:lnTo>
                  <a:pt x="9942666" y="3203371"/>
                </a:lnTo>
                <a:lnTo>
                  <a:pt x="9922279" y="3199041"/>
                </a:lnTo>
                <a:lnTo>
                  <a:pt x="9922078" y="3205558"/>
                </a:lnTo>
                <a:cubicBezTo>
                  <a:pt x="9922078" y="3218286"/>
                  <a:pt x="9934818" y="3231017"/>
                  <a:pt x="9909339" y="3231017"/>
                </a:cubicBezTo>
                <a:cubicBezTo>
                  <a:pt x="9896595" y="3231017"/>
                  <a:pt x="9883855" y="3218286"/>
                  <a:pt x="9883855" y="3205558"/>
                </a:cubicBezTo>
                <a:lnTo>
                  <a:pt x="9878191" y="3187616"/>
                </a:lnTo>
                <a:lnTo>
                  <a:pt x="9853052" y="3179792"/>
                </a:lnTo>
                <a:lnTo>
                  <a:pt x="9809421" y="3152530"/>
                </a:lnTo>
                <a:lnTo>
                  <a:pt x="9802630" y="3157824"/>
                </a:lnTo>
                <a:lnTo>
                  <a:pt x="9794670" y="3180098"/>
                </a:lnTo>
                <a:lnTo>
                  <a:pt x="9820150" y="3205554"/>
                </a:lnTo>
                <a:cubicBezTo>
                  <a:pt x="9832889" y="3205554"/>
                  <a:pt x="9845633" y="3192825"/>
                  <a:pt x="9871112" y="3218282"/>
                </a:cubicBezTo>
                <a:lnTo>
                  <a:pt x="9871104" y="3218282"/>
                </a:lnTo>
                <a:lnTo>
                  <a:pt x="9871112" y="3218286"/>
                </a:lnTo>
                <a:cubicBezTo>
                  <a:pt x="9807411" y="3231017"/>
                  <a:pt x="9756444" y="3231017"/>
                  <a:pt x="9692738" y="3218286"/>
                </a:cubicBezTo>
                <a:lnTo>
                  <a:pt x="9692746" y="3218282"/>
                </a:lnTo>
                <a:lnTo>
                  <a:pt x="9692738" y="3218282"/>
                </a:lnTo>
                <a:cubicBezTo>
                  <a:pt x="9711849" y="3215101"/>
                  <a:pt x="9727776" y="3209532"/>
                  <a:pt x="9740517" y="3201975"/>
                </a:cubicBezTo>
                <a:lnTo>
                  <a:pt x="9749977" y="3192656"/>
                </a:lnTo>
                <a:lnTo>
                  <a:pt x="9739155" y="3187914"/>
                </a:lnTo>
                <a:cubicBezTo>
                  <a:pt x="9694560" y="3168820"/>
                  <a:pt x="9643596" y="3168820"/>
                  <a:pt x="9592632" y="3168820"/>
                </a:cubicBezTo>
                <a:lnTo>
                  <a:pt x="9576763" y="3168319"/>
                </a:lnTo>
                <a:lnTo>
                  <a:pt x="9560551" y="3180098"/>
                </a:lnTo>
                <a:cubicBezTo>
                  <a:pt x="9555773" y="3183281"/>
                  <a:pt x="9552587" y="3186464"/>
                  <a:pt x="9552587" y="3192829"/>
                </a:cubicBezTo>
                <a:cubicBezTo>
                  <a:pt x="9539847" y="3243746"/>
                  <a:pt x="9514364" y="3231017"/>
                  <a:pt x="9488884" y="3218286"/>
                </a:cubicBezTo>
                <a:cubicBezTo>
                  <a:pt x="9476141" y="3205558"/>
                  <a:pt x="9463402" y="3192829"/>
                  <a:pt x="9458625" y="3180098"/>
                </a:cubicBezTo>
                <a:lnTo>
                  <a:pt x="9458625" y="3180094"/>
                </a:lnTo>
                <a:cubicBezTo>
                  <a:pt x="9456235" y="3173729"/>
                  <a:pt x="9455837" y="3167366"/>
                  <a:pt x="9458425" y="3161001"/>
                </a:cubicBezTo>
                <a:lnTo>
                  <a:pt x="9464798" y="3154131"/>
                </a:lnTo>
                <a:lnTo>
                  <a:pt x="9446109" y="3149726"/>
                </a:lnTo>
                <a:lnTo>
                  <a:pt x="9412436" y="3144032"/>
                </a:lnTo>
                <a:lnTo>
                  <a:pt x="9412436" y="3154638"/>
                </a:lnTo>
                <a:cubicBezTo>
                  <a:pt x="9418806" y="3161000"/>
                  <a:pt x="9421993" y="3170549"/>
                  <a:pt x="9420399" y="3178505"/>
                </a:cubicBezTo>
                <a:lnTo>
                  <a:pt x="9420399" y="3178508"/>
                </a:lnTo>
                <a:lnTo>
                  <a:pt x="9402578" y="3190835"/>
                </a:lnTo>
                <a:lnTo>
                  <a:pt x="9403732" y="3197448"/>
                </a:lnTo>
                <a:lnTo>
                  <a:pt x="9398176" y="3197629"/>
                </a:lnTo>
                <a:lnTo>
                  <a:pt x="9390139" y="3223062"/>
                </a:lnTo>
                <a:cubicBezTo>
                  <a:pt x="9386953" y="3231017"/>
                  <a:pt x="9380583" y="3237380"/>
                  <a:pt x="9361470" y="3243746"/>
                </a:cubicBezTo>
                <a:cubicBezTo>
                  <a:pt x="9335988" y="3250109"/>
                  <a:pt x="9313692" y="3250109"/>
                  <a:pt x="9293387" y="3246331"/>
                </a:cubicBezTo>
                <a:lnTo>
                  <a:pt x="9241357" y="3227713"/>
                </a:lnTo>
                <a:lnTo>
                  <a:pt x="9242252" y="3238830"/>
                </a:lnTo>
                <a:lnTo>
                  <a:pt x="9242252" y="3251554"/>
                </a:lnTo>
                <a:lnTo>
                  <a:pt x="9242252" y="3251558"/>
                </a:lnTo>
                <a:cubicBezTo>
                  <a:pt x="9219957" y="3218143"/>
                  <a:pt x="9187907" y="3282190"/>
                  <a:pt x="9163171" y="3256084"/>
                </a:cubicBezTo>
                <a:lnTo>
                  <a:pt x="9154555" y="3241370"/>
                </a:lnTo>
                <a:lnTo>
                  <a:pt x="9145870" y="3243547"/>
                </a:lnTo>
                <a:cubicBezTo>
                  <a:pt x="9128550" y="3245734"/>
                  <a:pt x="9110633" y="3246132"/>
                  <a:pt x="9092318" y="3245336"/>
                </a:cubicBezTo>
                <a:lnTo>
                  <a:pt x="9089103" y="3244929"/>
                </a:lnTo>
                <a:lnTo>
                  <a:pt x="9087311" y="3297706"/>
                </a:lnTo>
                <a:cubicBezTo>
                  <a:pt x="9087311" y="3361351"/>
                  <a:pt x="9061829" y="3399539"/>
                  <a:pt x="8998126" y="3386810"/>
                </a:cubicBezTo>
                <a:cubicBezTo>
                  <a:pt x="8908937" y="3386810"/>
                  <a:pt x="8819749" y="3412270"/>
                  <a:pt x="8730563" y="3412270"/>
                </a:cubicBezTo>
                <a:cubicBezTo>
                  <a:pt x="8705080" y="3412270"/>
                  <a:pt x="8666858" y="3399539"/>
                  <a:pt x="8628635" y="3399539"/>
                </a:cubicBezTo>
                <a:lnTo>
                  <a:pt x="8628638" y="3399535"/>
                </a:lnTo>
                <a:lnTo>
                  <a:pt x="8628635" y="3399535"/>
                </a:lnTo>
                <a:cubicBezTo>
                  <a:pt x="8628635" y="3386806"/>
                  <a:pt x="8641374" y="3383624"/>
                  <a:pt x="8650931" y="3378851"/>
                </a:cubicBezTo>
                <a:lnTo>
                  <a:pt x="8654118" y="3348622"/>
                </a:lnTo>
                <a:lnTo>
                  <a:pt x="8647748" y="3332711"/>
                </a:lnTo>
                <a:cubicBezTo>
                  <a:pt x="8644561" y="3329528"/>
                  <a:pt x="8641374" y="3329528"/>
                  <a:pt x="8641374" y="3335894"/>
                </a:cubicBezTo>
                <a:cubicBezTo>
                  <a:pt x="8628635" y="3361351"/>
                  <a:pt x="8577673" y="3335894"/>
                  <a:pt x="8590412" y="3386810"/>
                </a:cubicBezTo>
                <a:cubicBezTo>
                  <a:pt x="8590412" y="3393174"/>
                  <a:pt x="8593597" y="3399540"/>
                  <a:pt x="8593597" y="3404313"/>
                </a:cubicBezTo>
                <a:lnTo>
                  <a:pt x="8584503" y="3408857"/>
                </a:lnTo>
                <a:lnTo>
                  <a:pt x="8622491" y="3409222"/>
                </a:lnTo>
                <a:cubicBezTo>
                  <a:pt x="8660714" y="3409222"/>
                  <a:pt x="8698940" y="3421950"/>
                  <a:pt x="8724419" y="3421950"/>
                </a:cubicBezTo>
                <a:cubicBezTo>
                  <a:pt x="8788125" y="3434681"/>
                  <a:pt x="8851831" y="3396493"/>
                  <a:pt x="8915537" y="3447410"/>
                </a:cubicBezTo>
                <a:cubicBezTo>
                  <a:pt x="9081167" y="3421950"/>
                  <a:pt x="9246801" y="3485598"/>
                  <a:pt x="9412436" y="3485598"/>
                </a:cubicBezTo>
                <a:cubicBezTo>
                  <a:pt x="9476141" y="3472869"/>
                  <a:pt x="9552587" y="3498326"/>
                  <a:pt x="9629037" y="3511057"/>
                </a:cubicBezTo>
                <a:cubicBezTo>
                  <a:pt x="9641776" y="3511057"/>
                  <a:pt x="9654515" y="3511057"/>
                  <a:pt x="9679999" y="3511057"/>
                </a:cubicBezTo>
                <a:cubicBezTo>
                  <a:pt x="9692738" y="3498326"/>
                  <a:pt x="9718221" y="3511057"/>
                  <a:pt x="9718221" y="3523786"/>
                </a:cubicBezTo>
                <a:lnTo>
                  <a:pt x="9718221" y="3523790"/>
                </a:lnTo>
                <a:cubicBezTo>
                  <a:pt x="9718221" y="3549249"/>
                  <a:pt x="9692738" y="3561978"/>
                  <a:pt x="9679999" y="3549249"/>
                </a:cubicBezTo>
                <a:cubicBezTo>
                  <a:pt x="9590809" y="3511061"/>
                  <a:pt x="9476141" y="3549249"/>
                  <a:pt x="9386953" y="3511061"/>
                </a:cubicBezTo>
                <a:cubicBezTo>
                  <a:pt x="9297768" y="3485602"/>
                  <a:pt x="9221319" y="3511061"/>
                  <a:pt x="9144874" y="3498330"/>
                </a:cubicBezTo>
                <a:lnTo>
                  <a:pt x="9144874" y="3499402"/>
                </a:lnTo>
                <a:lnTo>
                  <a:pt x="9144874" y="3531742"/>
                </a:lnTo>
                <a:lnTo>
                  <a:pt x="9183096" y="3536514"/>
                </a:lnTo>
                <a:cubicBezTo>
                  <a:pt x="9221319" y="3511057"/>
                  <a:pt x="9272284" y="3523786"/>
                  <a:pt x="9323247" y="3561974"/>
                </a:cubicBezTo>
                <a:lnTo>
                  <a:pt x="9323243" y="3561974"/>
                </a:lnTo>
                <a:lnTo>
                  <a:pt x="9323247" y="3561978"/>
                </a:lnTo>
                <a:cubicBezTo>
                  <a:pt x="9285025" y="3561978"/>
                  <a:pt x="9259545" y="3574706"/>
                  <a:pt x="9234062" y="3561978"/>
                </a:cubicBezTo>
                <a:cubicBezTo>
                  <a:pt x="9195839" y="3549249"/>
                  <a:pt x="9170356" y="3536518"/>
                  <a:pt x="9183096" y="3600166"/>
                </a:cubicBezTo>
                <a:lnTo>
                  <a:pt x="9183096" y="3612890"/>
                </a:lnTo>
                <a:lnTo>
                  <a:pt x="9183096" y="3612894"/>
                </a:lnTo>
                <a:cubicBezTo>
                  <a:pt x="9157617" y="3574706"/>
                  <a:pt x="9119394" y="3663813"/>
                  <a:pt x="9093910" y="3600166"/>
                </a:cubicBezTo>
                <a:cubicBezTo>
                  <a:pt x="9093910" y="3600166"/>
                  <a:pt x="9081167" y="3587437"/>
                  <a:pt x="9081167" y="3587437"/>
                </a:cubicBezTo>
                <a:cubicBezTo>
                  <a:pt x="9030205" y="3625625"/>
                  <a:pt x="9004721" y="3561978"/>
                  <a:pt x="8966499" y="3561978"/>
                </a:cubicBezTo>
                <a:lnTo>
                  <a:pt x="8966502" y="3561974"/>
                </a:lnTo>
                <a:lnTo>
                  <a:pt x="8966499" y="3561974"/>
                </a:lnTo>
                <a:cubicBezTo>
                  <a:pt x="8972873" y="3549245"/>
                  <a:pt x="8982426" y="3542880"/>
                  <a:pt x="8990389" y="3534925"/>
                </a:cubicBezTo>
                <a:lnTo>
                  <a:pt x="9004721" y="3498330"/>
                </a:lnTo>
                <a:lnTo>
                  <a:pt x="8979243" y="3485602"/>
                </a:lnTo>
                <a:cubicBezTo>
                  <a:pt x="8979243" y="3485602"/>
                  <a:pt x="8966499" y="3485602"/>
                  <a:pt x="8966499" y="3485602"/>
                </a:cubicBezTo>
                <a:cubicBezTo>
                  <a:pt x="8966499" y="3517424"/>
                  <a:pt x="8937833" y="3530155"/>
                  <a:pt x="8913943" y="3546066"/>
                </a:cubicBezTo>
                <a:lnTo>
                  <a:pt x="8885872" y="3575103"/>
                </a:lnTo>
                <a:lnTo>
                  <a:pt x="8890054" y="3625622"/>
                </a:lnTo>
                <a:lnTo>
                  <a:pt x="8890054" y="3625625"/>
                </a:lnTo>
                <a:cubicBezTo>
                  <a:pt x="8877314" y="3625625"/>
                  <a:pt x="8877314" y="3625625"/>
                  <a:pt x="8864570" y="3625625"/>
                </a:cubicBezTo>
                <a:cubicBezTo>
                  <a:pt x="8839092" y="3600166"/>
                  <a:pt x="8813608" y="3561978"/>
                  <a:pt x="8788125" y="3536518"/>
                </a:cubicBezTo>
                <a:lnTo>
                  <a:pt x="8724419" y="3536518"/>
                </a:lnTo>
                <a:lnTo>
                  <a:pt x="8729200" y="3560380"/>
                </a:lnTo>
                <a:cubicBezTo>
                  <a:pt x="8737163" y="3565156"/>
                  <a:pt x="8749903" y="3568339"/>
                  <a:pt x="8762642" y="3574702"/>
                </a:cubicBezTo>
                <a:lnTo>
                  <a:pt x="8762642" y="3574706"/>
                </a:lnTo>
                <a:lnTo>
                  <a:pt x="8762642" y="3600161"/>
                </a:lnTo>
                <a:lnTo>
                  <a:pt x="8762642" y="3600166"/>
                </a:lnTo>
                <a:cubicBezTo>
                  <a:pt x="8749903" y="3600166"/>
                  <a:pt x="8737163" y="3600166"/>
                  <a:pt x="8724419" y="3587437"/>
                </a:cubicBezTo>
                <a:cubicBezTo>
                  <a:pt x="8698940" y="3587437"/>
                  <a:pt x="8724419" y="3536518"/>
                  <a:pt x="8686196" y="3523790"/>
                </a:cubicBezTo>
                <a:cubicBezTo>
                  <a:pt x="8698940" y="3574706"/>
                  <a:pt x="8660714" y="3574706"/>
                  <a:pt x="8635235" y="3574706"/>
                </a:cubicBezTo>
                <a:cubicBezTo>
                  <a:pt x="8584268" y="3587437"/>
                  <a:pt x="8546045" y="3587437"/>
                  <a:pt x="8495084" y="3600166"/>
                </a:cubicBezTo>
                <a:cubicBezTo>
                  <a:pt x="8482340" y="3600166"/>
                  <a:pt x="8469600" y="3600166"/>
                  <a:pt x="8456861" y="3600166"/>
                </a:cubicBezTo>
                <a:cubicBezTo>
                  <a:pt x="8418638" y="3561978"/>
                  <a:pt x="8393155" y="3536518"/>
                  <a:pt x="8380412" y="3612894"/>
                </a:cubicBezTo>
                <a:cubicBezTo>
                  <a:pt x="8380412" y="3625625"/>
                  <a:pt x="8367672" y="3625625"/>
                  <a:pt x="8354932" y="3612894"/>
                </a:cubicBezTo>
                <a:cubicBezTo>
                  <a:pt x="8329449" y="3523790"/>
                  <a:pt x="8303966" y="3638353"/>
                  <a:pt x="8278486" y="3612894"/>
                </a:cubicBezTo>
                <a:cubicBezTo>
                  <a:pt x="8291226" y="3561978"/>
                  <a:pt x="8214780" y="3587437"/>
                  <a:pt x="8202038" y="3549249"/>
                </a:cubicBezTo>
                <a:cubicBezTo>
                  <a:pt x="8163815" y="3574706"/>
                  <a:pt x="8163815" y="3561978"/>
                  <a:pt x="8163815" y="3523790"/>
                </a:cubicBezTo>
                <a:cubicBezTo>
                  <a:pt x="8176559" y="3511061"/>
                  <a:pt x="8176559" y="3498330"/>
                  <a:pt x="8151075" y="3485602"/>
                </a:cubicBezTo>
                <a:cubicBezTo>
                  <a:pt x="8138336" y="3511061"/>
                  <a:pt x="8112853" y="3498330"/>
                  <a:pt x="8100114" y="3523790"/>
                </a:cubicBezTo>
                <a:cubicBezTo>
                  <a:pt x="8087370" y="3561978"/>
                  <a:pt x="8061886" y="3574706"/>
                  <a:pt x="8023664" y="3536518"/>
                </a:cubicBezTo>
                <a:cubicBezTo>
                  <a:pt x="7985441" y="3498330"/>
                  <a:pt x="7959962" y="3511061"/>
                  <a:pt x="7959962" y="3549249"/>
                </a:cubicBezTo>
                <a:cubicBezTo>
                  <a:pt x="7959962" y="3612894"/>
                  <a:pt x="7896257" y="3574706"/>
                  <a:pt x="7883512" y="3600166"/>
                </a:cubicBezTo>
                <a:cubicBezTo>
                  <a:pt x="7870773" y="3600166"/>
                  <a:pt x="7896257" y="3498330"/>
                  <a:pt x="7832551" y="3574706"/>
                </a:cubicBezTo>
                <a:cubicBezTo>
                  <a:pt x="7832551" y="3561978"/>
                  <a:pt x="7819810" y="3561978"/>
                  <a:pt x="7807067" y="3549249"/>
                </a:cubicBezTo>
                <a:cubicBezTo>
                  <a:pt x="7794328" y="3536518"/>
                  <a:pt x="7756105" y="3549249"/>
                  <a:pt x="7756105" y="3561978"/>
                </a:cubicBezTo>
                <a:cubicBezTo>
                  <a:pt x="7756105" y="3625625"/>
                  <a:pt x="7705139" y="3600166"/>
                  <a:pt x="7679659" y="3600166"/>
                </a:cubicBezTo>
                <a:cubicBezTo>
                  <a:pt x="7660546" y="3606531"/>
                  <a:pt x="7644620" y="3606531"/>
                  <a:pt x="7628693" y="3604938"/>
                </a:cubicBezTo>
                <a:lnTo>
                  <a:pt x="7577743" y="3600166"/>
                </a:lnTo>
                <a:lnTo>
                  <a:pt x="7641935" y="3623363"/>
                </a:lnTo>
                <a:lnTo>
                  <a:pt x="7645983" y="3622994"/>
                </a:lnTo>
                <a:cubicBezTo>
                  <a:pt x="7666687" y="3622298"/>
                  <a:pt x="7687390" y="3622694"/>
                  <a:pt x="7708095" y="3623888"/>
                </a:cubicBezTo>
                <a:lnTo>
                  <a:pt x="7723131" y="3625622"/>
                </a:lnTo>
                <a:lnTo>
                  <a:pt x="7773624" y="3625622"/>
                </a:lnTo>
                <a:cubicBezTo>
                  <a:pt x="7791143" y="3625622"/>
                  <a:pt x="7807069" y="3625622"/>
                  <a:pt x="7819810" y="3625622"/>
                </a:cubicBezTo>
                <a:cubicBezTo>
                  <a:pt x="7826180" y="3625622"/>
                  <a:pt x="7832551" y="3628804"/>
                  <a:pt x="7837328" y="3633576"/>
                </a:cubicBezTo>
                <a:lnTo>
                  <a:pt x="7839970" y="3639385"/>
                </a:lnTo>
                <a:lnTo>
                  <a:pt x="7956545" y="3657303"/>
                </a:lnTo>
                <a:cubicBezTo>
                  <a:pt x="7997953" y="3662873"/>
                  <a:pt x="8039362" y="3666850"/>
                  <a:pt x="8080770" y="3666850"/>
                </a:cubicBezTo>
                <a:cubicBezTo>
                  <a:pt x="8144476" y="3654122"/>
                  <a:pt x="8220922" y="3679579"/>
                  <a:pt x="8297370" y="3692310"/>
                </a:cubicBezTo>
                <a:cubicBezTo>
                  <a:pt x="8310110" y="3692310"/>
                  <a:pt x="8322849" y="3692310"/>
                  <a:pt x="8348332" y="3692310"/>
                </a:cubicBezTo>
                <a:cubicBezTo>
                  <a:pt x="8361072" y="3679579"/>
                  <a:pt x="8386555" y="3692310"/>
                  <a:pt x="8386555" y="3705038"/>
                </a:cubicBezTo>
                <a:lnTo>
                  <a:pt x="8386555" y="3705042"/>
                </a:lnTo>
                <a:cubicBezTo>
                  <a:pt x="8386555" y="3730502"/>
                  <a:pt x="8361072" y="3743230"/>
                  <a:pt x="8348332" y="3730502"/>
                </a:cubicBezTo>
                <a:cubicBezTo>
                  <a:pt x="8259144" y="3692314"/>
                  <a:pt x="8144476" y="3730502"/>
                  <a:pt x="8055287" y="3692314"/>
                </a:cubicBezTo>
                <a:cubicBezTo>
                  <a:pt x="7966102" y="3666854"/>
                  <a:pt x="7889653" y="3692314"/>
                  <a:pt x="7813208" y="3679583"/>
                </a:cubicBezTo>
                <a:lnTo>
                  <a:pt x="7813208" y="3680655"/>
                </a:lnTo>
                <a:lnTo>
                  <a:pt x="7813208" y="3712994"/>
                </a:lnTo>
                <a:lnTo>
                  <a:pt x="7851430" y="3717766"/>
                </a:lnTo>
                <a:cubicBezTo>
                  <a:pt x="7889653" y="3692310"/>
                  <a:pt x="7940618" y="3705038"/>
                  <a:pt x="7991581" y="3743226"/>
                </a:cubicBezTo>
                <a:lnTo>
                  <a:pt x="7991577" y="3743226"/>
                </a:lnTo>
                <a:lnTo>
                  <a:pt x="7991581" y="3743230"/>
                </a:lnTo>
                <a:cubicBezTo>
                  <a:pt x="7953359" y="3743230"/>
                  <a:pt x="7927879" y="3755958"/>
                  <a:pt x="7902396" y="3743230"/>
                </a:cubicBezTo>
                <a:cubicBezTo>
                  <a:pt x="7864173" y="3730502"/>
                  <a:pt x="7838690" y="3717771"/>
                  <a:pt x="7851430" y="3781418"/>
                </a:cubicBezTo>
                <a:lnTo>
                  <a:pt x="7851430" y="3794142"/>
                </a:lnTo>
                <a:lnTo>
                  <a:pt x="7851430" y="3794146"/>
                </a:lnTo>
                <a:cubicBezTo>
                  <a:pt x="7825951" y="3755958"/>
                  <a:pt x="7787728" y="3845066"/>
                  <a:pt x="7762245" y="3781418"/>
                </a:cubicBezTo>
                <a:cubicBezTo>
                  <a:pt x="7762245" y="3781418"/>
                  <a:pt x="7749502" y="3768690"/>
                  <a:pt x="7749502" y="3768690"/>
                </a:cubicBezTo>
                <a:cubicBezTo>
                  <a:pt x="7698539" y="3806878"/>
                  <a:pt x="7673056" y="3743230"/>
                  <a:pt x="7634834" y="3743230"/>
                </a:cubicBezTo>
                <a:lnTo>
                  <a:pt x="7634838" y="3743226"/>
                </a:lnTo>
                <a:lnTo>
                  <a:pt x="7634834" y="3743226"/>
                </a:lnTo>
                <a:cubicBezTo>
                  <a:pt x="7641207" y="3730498"/>
                  <a:pt x="7650760" y="3724132"/>
                  <a:pt x="7658723" y="3716177"/>
                </a:cubicBezTo>
                <a:lnTo>
                  <a:pt x="7673056" y="3679583"/>
                </a:lnTo>
                <a:lnTo>
                  <a:pt x="7647577" y="3666854"/>
                </a:lnTo>
                <a:cubicBezTo>
                  <a:pt x="7647577" y="3666854"/>
                  <a:pt x="7634834" y="3666854"/>
                  <a:pt x="7634834" y="3666854"/>
                </a:cubicBezTo>
                <a:cubicBezTo>
                  <a:pt x="7634834" y="3698677"/>
                  <a:pt x="7606167" y="3711408"/>
                  <a:pt x="7582278" y="3727319"/>
                </a:cubicBezTo>
                <a:lnTo>
                  <a:pt x="7554206" y="3756355"/>
                </a:lnTo>
                <a:lnTo>
                  <a:pt x="7558388" y="3806875"/>
                </a:lnTo>
                <a:lnTo>
                  <a:pt x="7558388" y="3806878"/>
                </a:lnTo>
                <a:cubicBezTo>
                  <a:pt x="7545648" y="3806878"/>
                  <a:pt x="7545648" y="3806878"/>
                  <a:pt x="7532905" y="3806878"/>
                </a:cubicBezTo>
                <a:cubicBezTo>
                  <a:pt x="7507426" y="3781418"/>
                  <a:pt x="7481942" y="3743230"/>
                  <a:pt x="7456459" y="3717771"/>
                </a:cubicBezTo>
                <a:lnTo>
                  <a:pt x="7392754" y="3717771"/>
                </a:lnTo>
                <a:lnTo>
                  <a:pt x="7397534" y="3741633"/>
                </a:lnTo>
                <a:cubicBezTo>
                  <a:pt x="7405497" y="3746409"/>
                  <a:pt x="7418237" y="3749592"/>
                  <a:pt x="7430977" y="3755954"/>
                </a:cubicBezTo>
                <a:lnTo>
                  <a:pt x="7430977" y="3755958"/>
                </a:lnTo>
                <a:lnTo>
                  <a:pt x="7430977" y="3781414"/>
                </a:lnTo>
                <a:lnTo>
                  <a:pt x="7430977" y="3781418"/>
                </a:lnTo>
                <a:cubicBezTo>
                  <a:pt x="7418237" y="3781418"/>
                  <a:pt x="7405497" y="3781418"/>
                  <a:pt x="7392754" y="3768690"/>
                </a:cubicBezTo>
                <a:cubicBezTo>
                  <a:pt x="7367275" y="3768690"/>
                  <a:pt x="7392754" y="3717771"/>
                  <a:pt x="7354531" y="3705042"/>
                </a:cubicBezTo>
                <a:cubicBezTo>
                  <a:pt x="7367275" y="3755958"/>
                  <a:pt x="7329048" y="3755958"/>
                  <a:pt x="7303569" y="3755958"/>
                </a:cubicBezTo>
                <a:cubicBezTo>
                  <a:pt x="7252603" y="3768690"/>
                  <a:pt x="7214379" y="3768690"/>
                  <a:pt x="7163418" y="3781418"/>
                </a:cubicBezTo>
                <a:cubicBezTo>
                  <a:pt x="7150675" y="3781418"/>
                  <a:pt x="7137934" y="3781418"/>
                  <a:pt x="7125195" y="3781418"/>
                </a:cubicBezTo>
                <a:cubicBezTo>
                  <a:pt x="7086972" y="3743230"/>
                  <a:pt x="7061489" y="3717771"/>
                  <a:pt x="7048746" y="3794146"/>
                </a:cubicBezTo>
                <a:cubicBezTo>
                  <a:pt x="7048746" y="3806878"/>
                  <a:pt x="7036006" y="3806878"/>
                  <a:pt x="7023266" y="3794146"/>
                </a:cubicBezTo>
                <a:cubicBezTo>
                  <a:pt x="6997783" y="3705042"/>
                  <a:pt x="6972300" y="3819606"/>
                  <a:pt x="6946821" y="3794146"/>
                </a:cubicBezTo>
                <a:cubicBezTo>
                  <a:pt x="6959561" y="3743230"/>
                  <a:pt x="6883115" y="3768690"/>
                  <a:pt x="6870371" y="3730502"/>
                </a:cubicBezTo>
                <a:cubicBezTo>
                  <a:pt x="6832149" y="3755958"/>
                  <a:pt x="6832149" y="3743230"/>
                  <a:pt x="6832149" y="3705042"/>
                </a:cubicBezTo>
                <a:cubicBezTo>
                  <a:pt x="6844893" y="3692314"/>
                  <a:pt x="6844893" y="3679583"/>
                  <a:pt x="6819409" y="3666854"/>
                </a:cubicBezTo>
                <a:cubicBezTo>
                  <a:pt x="6806670" y="3692314"/>
                  <a:pt x="6781187" y="3679583"/>
                  <a:pt x="6768448" y="3705042"/>
                </a:cubicBezTo>
                <a:cubicBezTo>
                  <a:pt x="6755704" y="3743230"/>
                  <a:pt x="6730220" y="3755958"/>
                  <a:pt x="6691998" y="3717771"/>
                </a:cubicBezTo>
                <a:cubicBezTo>
                  <a:pt x="6653775" y="3679583"/>
                  <a:pt x="6628296" y="3692314"/>
                  <a:pt x="6628296" y="3730502"/>
                </a:cubicBezTo>
                <a:cubicBezTo>
                  <a:pt x="6628296" y="3794146"/>
                  <a:pt x="6564591" y="3755958"/>
                  <a:pt x="6551846" y="3781418"/>
                </a:cubicBezTo>
                <a:cubicBezTo>
                  <a:pt x="6539107" y="3781418"/>
                  <a:pt x="6564591" y="3679583"/>
                  <a:pt x="6500885" y="3755958"/>
                </a:cubicBezTo>
                <a:cubicBezTo>
                  <a:pt x="6500885" y="3743230"/>
                  <a:pt x="6488144" y="3743230"/>
                  <a:pt x="6475401" y="3730502"/>
                </a:cubicBezTo>
                <a:cubicBezTo>
                  <a:pt x="6462662" y="3717771"/>
                  <a:pt x="6424439" y="3730502"/>
                  <a:pt x="6424439" y="3743230"/>
                </a:cubicBezTo>
                <a:cubicBezTo>
                  <a:pt x="6424439" y="3806878"/>
                  <a:pt x="6373473" y="3781418"/>
                  <a:pt x="6347993" y="3781418"/>
                </a:cubicBezTo>
                <a:cubicBezTo>
                  <a:pt x="6328880" y="3787784"/>
                  <a:pt x="6312954" y="3787784"/>
                  <a:pt x="6297027" y="3786190"/>
                </a:cubicBezTo>
                <a:lnTo>
                  <a:pt x="6246077" y="3781418"/>
                </a:lnTo>
                <a:lnTo>
                  <a:pt x="6320917" y="3808464"/>
                </a:lnTo>
                <a:cubicBezTo>
                  <a:pt x="6344807" y="3810054"/>
                  <a:pt x="6367103" y="3806875"/>
                  <a:pt x="6386217" y="3806875"/>
                </a:cubicBezTo>
                <a:cubicBezTo>
                  <a:pt x="6424439" y="3806875"/>
                  <a:pt x="6462662" y="3806875"/>
                  <a:pt x="6488144" y="3806875"/>
                </a:cubicBezTo>
                <a:cubicBezTo>
                  <a:pt x="6500885" y="3806875"/>
                  <a:pt x="6513624" y="3819602"/>
                  <a:pt x="6513624" y="3832330"/>
                </a:cubicBezTo>
                <a:lnTo>
                  <a:pt x="6513624" y="3832334"/>
                </a:lnTo>
                <a:cubicBezTo>
                  <a:pt x="6513624" y="3845066"/>
                  <a:pt x="6500885" y="3832334"/>
                  <a:pt x="6488144" y="3832334"/>
                </a:cubicBezTo>
                <a:cubicBezTo>
                  <a:pt x="6449918" y="3832334"/>
                  <a:pt x="6411695" y="3832334"/>
                  <a:pt x="6386217" y="3845066"/>
                </a:cubicBezTo>
                <a:cubicBezTo>
                  <a:pt x="6347993" y="3870522"/>
                  <a:pt x="6322511" y="3819606"/>
                  <a:pt x="6284288" y="3819606"/>
                </a:cubicBezTo>
                <a:cubicBezTo>
                  <a:pt x="6246065" y="3832334"/>
                  <a:pt x="6207842" y="3845066"/>
                  <a:pt x="6156876" y="3845066"/>
                </a:cubicBezTo>
                <a:cubicBezTo>
                  <a:pt x="6144137" y="3845066"/>
                  <a:pt x="6118654" y="3857794"/>
                  <a:pt x="6118654" y="3832334"/>
                </a:cubicBezTo>
                <a:lnTo>
                  <a:pt x="6118654" y="3832330"/>
                </a:lnTo>
                <a:cubicBezTo>
                  <a:pt x="6118654" y="3806875"/>
                  <a:pt x="6144137" y="3794142"/>
                  <a:pt x="6156876" y="3794142"/>
                </a:cubicBezTo>
                <a:cubicBezTo>
                  <a:pt x="6163246" y="3794142"/>
                  <a:pt x="6169616" y="3797325"/>
                  <a:pt x="6175990" y="3798915"/>
                </a:cubicBezTo>
                <a:lnTo>
                  <a:pt x="6195095" y="3794142"/>
                </a:lnTo>
                <a:lnTo>
                  <a:pt x="6144137" y="3770279"/>
                </a:lnTo>
                <a:cubicBezTo>
                  <a:pt x="6128210" y="3762324"/>
                  <a:pt x="6118654" y="3749596"/>
                  <a:pt x="6131393" y="3717771"/>
                </a:cubicBezTo>
                <a:lnTo>
                  <a:pt x="6083618" y="3748002"/>
                </a:lnTo>
                <a:lnTo>
                  <a:pt x="6093170" y="3806875"/>
                </a:lnTo>
                <a:lnTo>
                  <a:pt x="6093170" y="3806878"/>
                </a:lnTo>
                <a:cubicBezTo>
                  <a:pt x="6105914" y="3819606"/>
                  <a:pt x="6093170" y="3832334"/>
                  <a:pt x="6067691" y="3832334"/>
                </a:cubicBezTo>
                <a:cubicBezTo>
                  <a:pt x="6042209" y="3845066"/>
                  <a:pt x="6016725" y="3857794"/>
                  <a:pt x="5991242" y="3832334"/>
                </a:cubicBezTo>
                <a:cubicBezTo>
                  <a:pt x="5984872" y="3819606"/>
                  <a:pt x="5984872" y="3813240"/>
                  <a:pt x="5989653" y="3808468"/>
                </a:cubicBezTo>
                <a:lnTo>
                  <a:pt x="5989653" y="3808464"/>
                </a:lnTo>
                <a:cubicBezTo>
                  <a:pt x="5994429" y="3803691"/>
                  <a:pt x="6003985" y="3800508"/>
                  <a:pt x="6016725" y="3794142"/>
                </a:cubicBezTo>
                <a:lnTo>
                  <a:pt x="6016725" y="3768690"/>
                </a:lnTo>
                <a:cubicBezTo>
                  <a:pt x="5991242" y="3755958"/>
                  <a:pt x="6029464" y="3717771"/>
                  <a:pt x="6003985" y="3717771"/>
                </a:cubicBezTo>
                <a:cubicBezTo>
                  <a:pt x="5978503" y="3705042"/>
                  <a:pt x="5978503" y="3717771"/>
                  <a:pt x="5965762" y="3743230"/>
                </a:cubicBezTo>
                <a:cubicBezTo>
                  <a:pt x="5940280" y="3781418"/>
                  <a:pt x="5902057" y="3781418"/>
                  <a:pt x="5863834" y="3768690"/>
                </a:cubicBezTo>
                <a:cubicBezTo>
                  <a:pt x="5838351" y="3755958"/>
                  <a:pt x="5812868" y="3768690"/>
                  <a:pt x="5812868" y="3794146"/>
                </a:cubicBezTo>
                <a:cubicBezTo>
                  <a:pt x="5800129" y="3845066"/>
                  <a:pt x="5774646" y="3832334"/>
                  <a:pt x="5736423" y="3832334"/>
                </a:cubicBezTo>
                <a:cubicBezTo>
                  <a:pt x="5621754" y="3832334"/>
                  <a:pt x="5494344" y="3832334"/>
                  <a:pt x="5366935" y="3832334"/>
                </a:cubicBezTo>
                <a:cubicBezTo>
                  <a:pt x="5354192" y="3832334"/>
                  <a:pt x="5341452" y="3832334"/>
                  <a:pt x="5341452" y="3819606"/>
                </a:cubicBezTo>
                <a:lnTo>
                  <a:pt x="5341456" y="3819602"/>
                </a:lnTo>
                <a:lnTo>
                  <a:pt x="5341452" y="3819602"/>
                </a:lnTo>
                <a:cubicBezTo>
                  <a:pt x="5341452" y="3794142"/>
                  <a:pt x="5354192" y="3781414"/>
                  <a:pt x="5379675" y="3781414"/>
                </a:cubicBezTo>
                <a:cubicBezTo>
                  <a:pt x="5430637" y="3781414"/>
                  <a:pt x="5481603" y="3781414"/>
                  <a:pt x="5532566" y="3781414"/>
                </a:cubicBezTo>
                <a:cubicBezTo>
                  <a:pt x="5596272" y="3794142"/>
                  <a:pt x="5659978" y="3755954"/>
                  <a:pt x="5710940" y="3806875"/>
                </a:cubicBezTo>
                <a:cubicBezTo>
                  <a:pt x="5717314" y="3794142"/>
                  <a:pt x="5730053" y="3794142"/>
                  <a:pt x="5742792" y="3795736"/>
                </a:cubicBezTo>
                <a:lnTo>
                  <a:pt x="5774646" y="3794142"/>
                </a:lnTo>
                <a:lnTo>
                  <a:pt x="5749166" y="3730502"/>
                </a:lnTo>
                <a:lnTo>
                  <a:pt x="5752349" y="3757548"/>
                </a:lnTo>
                <a:lnTo>
                  <a:pt x="5752349" y="3757552"/>
                </a:lnTo>
                <a:cubicBezTo>
                  <a:pt x="5752349" y="3765507"/>
                  <a:pt x="5749166" y="3768686"/>
                  <a:pt x="5736423" y="3755958"/>
                </a:cubicBezTo>
                <a:cubicBezTo>
                  <a:pt x="5685460" y="3730502"/>
                  <a:pt x="5634494" y="3743230"/>
                  <a:pt x="5583532" y="3743230"/>
                </a:cubicBezTo>
                <a:cubicBezTo>
                  <a:pt x="5570789" y="3743230"/>
                  <a:pt x="5570789" y="3743230"/>
                  <a:pt x="5558049" y="3730502"/>
                </a:cubicBezTo>
                <a:lnTo>
                  <a:pt x="5542122" y="3722547"/>
                </a:lnTo>
                <a:lnTo>
                  <a:pt x="5545309" y="3743226"/>
                </a:lnTo>
                <a:lnTo>
                  <a:pt x="5545309" y="3743230"/>
                </a:lnTo>
                <a:lnTo>
                  <a:pt x="5545309" y="3768686"/>
                </a:lnTo>
                <a:lnTo>
                  <a:pt x="5545309" y="3768690"/>
                </a:lnTo>
                <a:cubicBezTo>
                  <a:pt x="5494344" y="3717771"/>
                  <a:pt x="5443380" y="3692314"/>
                  <a:pt x="5392415" y="3717771"/>
                </a:cubicBezTo>
                <a:cubicBezTo>
                  <a:pt x="5373305" y="3724136"/>
                  <a:pt x="5354192" y="3714588"/>
                  <a:pt x="5335083" y="3706632"/>
                </a:cubicBezTo>
                <a:lnTo>
                  <a:pt x="5277755" y="3705042"/>
                </a:lnTo>
                <a:lnTo>
                  <a:pt x="5327120" y="3727315"/>
                </a:lnTo>
                <a:cubicBezTo>
                  <a:pt x="5335877" y="3730498"/>
                  <a:pt x="5341054" y="3734476"/>
                  <a:pt x="5336873" y="3740838"/>
                </a:cubicBezTo>
                <a:lnTo>
                  <a:pt x="5336873" y="3740842"/>
                </a:lnTo>
                <a:cubicBezTo>
                  <a:pt x="5332690" y="3747208"/>
                  <a:pt x="5319156" y="3755958"/>
                  <a:pt x="5290486" y="3768690"/>
                </a:cubicBezTo>
                <a:lnTo>
                  <a:pt x="5290486" y="3789373"/>
                </a:lnTo>
                <a:lnTo>
                  <a:pt x="5290486" y="3819602"/>
                </a:lnTo>
                <a:lnTo>
                  <a:pt x="5290486" y="3819606"/>
                </a:lnTo>
                <a:cubicBezTo>
                  <a:pt x="5265007" y="3819606"/>
                  <a:pt x="5265007" y="3806878"/>
                  <a:pt x="5265007" y="3794146"/>
                </a:cubicBezTo>
                <a:cubicBezTo>
                  <a:pt x="5252264" y="3768690"/>
                  <a:pt x="5252264" y="3755958"/>
                  <a:pt x="5214041" y="3755958"/>
                </a:cubicBezTo>
                <a:cubicBezTo>
                  <a:pt x="5188558" y="3755958"/>
                  <a:pt x="5201301" y="3781418"/>
                  <a:pt x="5188558" y="3794146"/>
                </a:cubicBezTo>
                <a:cubicBezTo>
                  <a:pt x="5188558" y="3819606"/>
                  <a:pt x="5175818" y="3819606"/>
                  <a:pt x="5150335" y="3819606"/>
                </a:cubicBezTo>
                <a:cubicBezTo>
                  <a:pt x="5061150" y="3819606"/>
                  <a:pt x="4971961" y="3806878"/>
                  <a:pt x="4882776" y="3794146"/>
                </a:cubicBezTo>
                <a:lnTo>
                  <a:pt x="4880281" y="3793730"/>
                </a:lnTo>
                <a:lnTo>
                  <a:pt x="4854143" y="3811141"/>
                </a:lnTo>
                <a:lnTo>
                  <a:pt x="4930585" y="3823869"/>
                </a:lnTo>
                <a:cubicBezTo>
                  <a:pt x="4981550" y="3849324"/>
                  <a:pt x="5032513" y="3823869"/>
                  <a:pt x="5096219" y="3849324"/>
                </a:cubicBezTo>
                <a:cubicBezTo>
                  <a:pt x="5134442" y="3862057"/>
                  <a:pt x="5198148" y="3849324"/>
                  <a:pt x="5249110" y="3862057"/>
                </a:cubicBezTo>
                <a:cubicBezTo>
                  <a:pt x="5287332" y="3874785"/>
                  <a:pt x="5312816" y="3900245"/>
                  <a:pt x="5300076" y="3951161"/>
                </a:cubicBezTo>
                <a:lnTo>
                  <a:pt x="5300076" y="3951165"/>
                </a:lnTo>
                <a:cubicBezTo>
                  <a:pt x="5274593" y="4002084"/>
                  <a:pt x="5274593" y="4065729"/>
                  <a:pt x="5274593" y="4129376"/>
                </a:cubicBezTo>
                <a:cubicBezTo>
                  <a:pt x="5274593" y="4193021"/>
                  <a:pt x="5249110" y="4231209"/>
                  <a:pt x="5185408" y="4218481"/>
                </a:cubicBezTo>
                <a:cubicBezTo>
                  <a:pt x="5096219" y="4218481"/>
                  <a:pt x="5007030" y="4243940"/>
                  <a:pt x="4917844" y="4243940"/>
                </a:cubicBezTo>
                <a:cubicBezTo>
                  <a:pt x="4892362" y="4243940"/>
                  <a:pt x="4854140" y="4231209"/>
                  <a:pt x="4815917" y="4231209"/>
                </a:cubicBezTo>
                <a:lnTo>
                  <a:pt x="4815921" y="4231205"/>
                </a:lnTo>
                <a:lnTo>
                  <a:pt x="4815917" y="4231205"/>
                </a:lnTo>
                <a:cubicBezTo>
                  <a:pt x="4815917" y="4218477"/>
                  <a:pt x="4828656" y="4215294"/>
                  <a:pt x="4838212" y="4210522"/>
                </a:cubicBezTo>
                <a:lnTo>
                  <a:pt x="4841399" y="4180293"/>
                </a:lnTo>
                <a:lnTo>
                  <a:pt x="4835031" y="4164382"/>
                </a:lnTo>
                <a:cubicBezTo>
                  <a:pt x="4831843" y="4161199"/>
                  <a:pt x="4828656" y="4161199"/>
                  <a:pt x="4828656" y="4167564"/>
                </a:cubicBezTo>
                <a:cubicBezTo>
                  <a:pt x="4815917" y="4193021"/>
                  <a:pt x="4764954" y="4167564"/>
                  <a:pt x="4777693" y="4218481"/>
                </a:cubicBezTo>
                <a:cubicBezTo>
                  <a:pt x="4777693" y="4231209"/>
                  <a:pt x="4790434" y="4243940"/>
                  <a:pt x="4764954" y="4243940"/>
                </a:cubicBezTo>
                <a:cubicBezTo>
                  <a:pt x="4752211" y="4243940"/>
                  <a:pt x="4739471" y="4231209"/>
                  <a:pt x="4739471" y="4218481"/>
                </a:cubicBezTo>
                <a:cubicBezTo>
                  <a:pt x="4739471" y="4167564"/>
                  <a:pt x="4688505" y="4193021"/>
                  <a:pt x="4675765" y="4167564"/>
                </a:cubicBezTo>
                <a:cubicBezTo>
                  <a:pt x="4669396" y="4161199"/>
                  <a:pt x="4663026" y="4164382"/>
                  <a:pt x="4658246" y="4170747"/>
                </a:cubicBezTo>
                <a:lnTo>
                  <a:pt x="4650286" y="4193021"/>
                </a:lnTo>
                <a:lnTo>
                  <a:pt x="4675765" y="4218477"/>
                </a:lnTo>
                <a:cubicBezTo>
                  <a:pt x="4688505" y="4218477"/>
                  <a:pt x="4701248" y="4205748"/>
                  <a:pt x="4726728" y="4231205"/>
                </a:cubicBezTo>
                <a:lnTo>
                  <a:pt x="4726720" y="4231205"/>
                </a:lnTo>
                <a:lnTo>
                  <a:pt x="4726728" y="4231209"/>
                </a:lnTo>
                <a:cubicBezTo>
                  <a:pt x="4663026" y="4243940"/>
                  <a:pt x="4612060" y="4243940"/>
                  <a:pt x="4548354" y="4231209"/>
                </a:cubicBezTo>
                <a:lnTo>
                  <a:pt x="4548362" y="4231205"/>
                </a:lnTo>
                <a:lnTo>
                  <a:pt x="4548354" y="4231205"/>
                </a:lnTo>
                <a:cubicBezTo>
                  <a:pt x="4586576" y="4224842"/>
                  <a:pt x="4612060" y="4208932"/>
                  <a:pt x="4624803" y="4186654"/>
                </a:cubicBezTo>
                <a:lnTo>
                  <a:pt x="4624803" y="4103917"/>
                </a:lnTo>
                <a:lnTo>
                  <a:pt x="4608877" y="4158016"/>
                </a:lnTo>
                <a:cubicBezTo>
                  <a:pt x="4602507" y="4173927"/>
                  <a:pt x="4592950" y="4186658"/>
                  <a:pt x="4573837" y="4193021"/>
                </a:cubicBezTo>
                <a:lnTo>
                  <a:pt x="4573837" y="4193017"/>
                </a:lnTo>
                <a:lnTo>
                  <a:pt x="4573837" y="4103917"/>
                </a:lnTo>
                <a:cubicBezTo>
                  <a:pt x="4535614" y="4116645"/>
                  <a:pt x="4497391" y="4103917"/>
                  <a:pt x="4471909" y="4078457"/>
                </a:cubicBezTo>
                <a:lnTo>
                  <a:pt x="4471909" y="4129372"/>
                </a:lnTo>
                <a:cubicBezTo>
                  <a:pt x="4478282" y="4142101"/>
                  <a:pt x="4478282" y="4154829"/>
                  <a:pt x="4471909" y="4164378"/>
                </a:cubicBezTo>
                <a:lnTo>
                  <a:pt x="4471909" y="4164382"/>
                </a:lnTo>
                <a:cubicBezTo>
                  <a:pt x="4465539" y="4173927"/>
                  <a:pt x="4452799" y="4180293"/>
                  <a:pt x="4433685" y="4180293"/>
                </a:cubicBezTo>
                <a:cubicBezTo>
                  <a:pt x="4420946" y="4193021"/>
                  <a:pt x="4408203" y="4193021"/>
                  <a:pt x="4408203" y="4205752"/>
                </a:cubicBezTo>
                <a:cubicBezTo>
                  <a:pt x="4395462" y="4256669"/>
                  <a:pt x="4369980" y="4243940"/>
                  <a:pt x="4344501" y="4231209"/>
                </a:cubicBezTo>
                <a:cubicBezTo>
                  <a:pt x="4331758" y="4218481"/>
                  <a:pt x="4319017" y="4205752"/>
                  <a:pt x="4314241" y="4193021"/>
                </a:cubicBezTo>
                <a:lnTo>
                  <a:pt x="4314241" y="4193017"/>
                </a:lnTo>
                <a:cubicBezTo>
                  <a:pt x="4309461" y="4180289"/>
                  <a:pt x="4312647" y="4167560"/>
                  <a:pt x="4331758" y="4154829"/>
                </a:cubicBezTo>
                <a:lnTo>
                  <a:pt x="4346090" y="4142101"/>
                </a:lnTo>
                <a:lnTo>
                  <a:pt x="4331758" y="4129376"/>
                </a:lnTo>
                <a:cubicBezTo>
                  <a:pt x="4293534" y="4129376"/>
                  <a:pt x="4293534" y="4091188"/>
                  <a:pt x="4268052" y="4065729"/>
                </a:cubicBezTo>
                <a:lnTo>
                  <a:pt x="4268052" y="4167560"/>
                </a:lnTo>
                <a:cubicBezTo>
                  <a:pt x="4274421" y="4173923"/>
                  <a:pt x="4277608" y="4183471"/>
                  <a:pt x="4276015" y="4191428"/>
                </a:cubicBezTo>
                <a:lnTo>
                  <a:pt x="4276015" y="4191431"/>
                </a:lnTo>
                <a:lnTo>
                  <a:pt x="4258194" y="4203758"/>
                </a:lnTo>
                <a:lnTo>
                  <a:pt x="4259347" y="4210371"/>
                </a:lnTo>
                <a:lnTo>
                  <a:pt x="4253791" y="4210552"/>
                </a:lnTo>
                <a:lnTo>
                  <a:pt x="4245755" y="4235985"/>
                </a:lnTo>
                <a:cubicBezTo>
                  <a:pt x="4242569" y="4243940"/>
                  <a:pt x="4236198" y="4250303"/>
                  <a:pt x="4217085" y="4256669"/>
                </a:cubicBezTo>
                <a:cubicBezTo>
                  <a:pt x="4166123" y="4269397"/>
                  <a:pt x="4127900" y="4256669"/>
                  <a:pt x="4092860" y="4239164"/>
                </a:cubicBezTo>
                <a:lnTo>
                  <a:pt x="3987755" y="4193024"/>
                </a:lnTo>
                <a:lnTo>
                  <a:pt x="4005270" y="4218477"/>
                </a:lnTo>
                <a:cubicBezTo>
                  <a:pt x="4013233" y="4224842"/>
                  <a:pt x="4025974" y="4231205"/>
                  <a:pt x="4051454" y="4243936"/>
                </a:cubicBezTo>
                <a:lnTo>
                  <a:pt x="4051447" y="4243936"/>
                </a:lnTo>
                <a:lnTo>
                  <a:pt x="4051454" y="4243940"/>
                </a:lnTo>
                <a:cubicBezTo>
                  <a:pt x="3987751" y="4269397"/>
                  <a:pt x="3911306" y="4256669"/>
                  <a:pt x="3834860" y="4243940"/>
                </a:cubicBezTo>
                <a:lnTo>
                  <a:pt x="3834867" y="4243936"/>
                </a:lnTo>
                <a:lnTo>
                  <a:pt x="3834860" y="4243936"/>
                </a:lnTo>
                <a:cubicBezTo>
                  <a:pt x="3853969" y="4231205"/>
                  <a:pt x="3869896" y="4228026"/>
                  <a:pt x="3882636" y="4226433"/>
                </a:cubicBezTo>
                <a:lnTo>
                  <a:pt x="3911302" y="4218477"/>
                </a:lnTo>
                <a:lnTo>
                  <a:pt x="3899361" y="4210923"/>
                </a:lnTo>
                <a:cubicBezTo>
                  <a:pt x="3892191" y="4183476"/>
                  <a:pt x="3892191" y="4116648"/>
                  <a:pt x="3834860" y="4193021"/>
                </a:cubicBezTo>
                <a:lnTo>
                  <a:pt x="3834860" y="4193017"/>
                </a:lnTo>
                <a:lnTo>
                  <a:pt x="3834860" y="4154833"/>
                </a:lnTo>
                <a:cubicBezTo>
                  <a:pt x="3847599" y="4129376"/>
                  <a:pt x="3834860" y="4116645"/>
                  <a:pt x="3822117" y="4103917"/>
                </a:cubicBezTo>
                <a:cubicBezTo>
                  <a:pt x="3809377" y="4091188"/>
                  <a:pt x="3796633" y="4103917"/>
                  <a:pt x="3783894" y="4116645"/>
                </a:cubicBezTo>
                <a:cubicBezTo>
                  <a:pt x="3707448" y="4154833"/>
                  <a:pt x="3681965" y="4167564"/>
                  <a:pt x="3656482" y="4243940"/>
                </a:cubicBezTo>
                <a:cubicBezTo>
                  <a:pt x="3656482" y="4269397"/>
                  <a:pt x="3631002" y="4256669"/>
                  <a:pt x="3618260" y="4256669"/>
                </a:cubicBezTo>
                <a:cubicBezTo>
                  <a:pt x="3599150" y="4263034"/>
                  <a:pt x="3595963" y="4259852"/>
                  <a:pt x="3597557" y="4253486"/>
                </a:cubicBezTo>
                <a:lnTo>
                  <a:pt x="3597557" y="4253482"/>
                </a:lnTo>
                <a:lnTo>
                  <a:pt x="3605520" y="4231209"/>
                </a:lnTo>
                <a:lnTo>
                  <a:pt x="3592780" y="4170747"/>
                </a:lnTo>
                <a:cubicBezTo>
                  <a:pt x="3583224" y="4151653"/>
                  <a:pt x="3567298" y="4135739"/>
                  <a:pt x="3541814" y="4129376"/>
                </a:cubicBezTo>
                <a:cubicBezTo>
                  <a:pt x="3541814" y="4116645"/>
                  <a:pt x="3516331" y="4129376"/>
                  <a:pt x="3529074" y="4103917"/>
                </a:cubicBezTo>
                <a:cubicBezTo>
                  <a:pt x="3541814" y="4091188"/>
                  <a:pt x="3541814" y="4078457"/>
                  <a:pt x="3516331" y="4078457"/>
                </a:cubicBezTo>
                <a:lnTo>
                  <a:pt x="3490851" y="4116645"/>
                </a:lnTo>
                <a:lnTo>
                  <a:pt x="3501998" y="4158012"/>
                </a:lnTo>
                <a:cubicBezTo>
                  <a:pt x="3506778" y="4170743"/>
                  <a:pt x="3516331" y="4180289"/>
                  <a:pt x="3541814" y="4180289"/>
                </a:cubicBezTo>
                <a:lnTo>
                  <a:pt x="3541810" y="4180289"/>
                </a:lnTo>
                <a:lnTo>
                  <a:pt x="3541814" y="4180293"/>
                </a:lnTo>
                <a:cubicBezTo>
                  <a:pt x="3503591" y="4205752"/>
                  <a:pt x="3478108" y="4193021"/>
                  <a:pt x="3439886" y="4193021"/>
                </a:cubicBezTo>
                <a:lnTo>
                  <a:pt x="3439889" y="4193017"/>
                </a:lnTo>
                <a:lnTo>
                  <a:pt x="3439886" y="4193017"/>
                </a:lnTo>
                <a:lnTo>
                  <a:pt x="3478108" y="4142105"/>
                </a:lnTo>
                <a:lnTo>
                  <a:pt x="3441479" y="4127783"/>
                </a:lnTo>
                <a:cubicBezTo>
                  <a:pt x="3430329" y="4132559"/>
                  <a:pt x="3420776" y="4142105"/>
                  <a:pt x="3414406" y="4142105"/>
                </a:cubicBezTo>
                <a:lnTo>
                  <a:pt x="3413800" y="4144516"/>
                </a:lnTo>
                <a:lnTo>
                  <a:pt x="3401663" y="4193021"/>
                </a:lnTo>
                <a:cubicBezTo>
                  <a:pt x="3414406" y="4142105"/>
                  <a:pt x="3312478" y="4142105"/>
                  <a:pt x="3350700" y="4091188"/>
                </a:cubicBezTo>
                <a:cubicBezTo>
                  <a:pt x="3337957" y="4091188"/>
                  <a:pt x="3325218" y="4091188"/>
                  <a:pt x="3325218" y="4103917"/>
                </a:cubicBezTo>
                <a:cubicBezTo>
                  <a:pt x="3312478" y="4142105"/>
                  <a:pt x="3312478" y="4167564"/>
                  <a:pt x="3274255" y="4129376"/>
                </a:cubicBezTo>
                <a:cubicBezTo>
                  <a:pt x="3261512" y="4103917"/>
                  <a:pt x="3261512" y="4116645"/>
                  <a:pt x="3248772" y="4129376"/>
                </a:cubicBezTo>
                <a:cubicBezTo>
                  <a:pt x="3223289" y="4167564"/>
                  <a:pt x="3197806" y="4205752"/>
                  <a:pt x="3197806" y="4256669"/>
                </a:cubicBezTo>
                <a:cubicBezTo>
                  <a:pt x="3185067" y="4282128"/>
                  <a:pt x="3134104" y="4307585"/>
                  <a:pt x="3108621" y="4282128"/>
                </a:cubicBezTo>
                <a:cubicBezTo>
                  <a:pt x="3095881" y="4269397"/>
                  <a:pt x="3095881" y="4256669"/>
                  <a:pt x="3095881" y="4243940"/>
                </a:cubicBezTo>
                <a:lnTo>
                  <a:pt x="3095881" y="4243936"/>
                </a:lnTo>
                <a:cubicBezTo>
                  <a:pt x="3095881" y="4231205"/>
                  <a:pt x="3108621" y="4231205"/>
                  <a:pt x="3121361" y="4231205"/>
                </a:cubicBezTo>
                <a:cubicBezTo>
                  <a:pt x="3134104" y="4218477"/>
                  <a:pt x="3146843" y="4231205"/>
                  <a:pt x="3159583" y="4218477"/>
                </a:cubicBezTo>
                <a:lnTo>
                  <a:pt x="3185063" y="4193021"/>
                </a:lnTo>
                <a:lnTo>
                  <a:pt x="3170733" y="4172337"/>
                </a:lnTo>
                <a:cubicBezTo>
                  <a:pt x="3162770" y="4170743"/>
                  <a:pt x="3153214" y="4173927"/>
                  <a:pt x="3146843" y="4180293"/>
                </a:cubicBezTo>
                <a:cubicBezTo>
                  <a:pt x="3134104" y="4180293"/>
                  <a:pt x="3121361" y="4180293"/>
                  <a:pt x="3108621" y="4193021"/>
                </a:cubicBezTo>
                <a:cubicBezTo>
                  <a:pt x="3083138" y="4205752"/>
                  <a:pt x="3057655" y="4180293"/>
                  <a:pt x="3057655" y="4167564"/>
                </a:cubicBezTo>
                <a:cubicBezTo>
                  <a:pt x="3057655" y="4129376"/>
                  <a:pt x="3032175" y="4154833"/>
                  <a:pt x="3006692" y="4154833"/>
                </a:cubicBezTo>
                <a:cubicBezTo>
                  <a:pt x="2955730" y="4142105"/>
                  <a:pt x="2930247" y="4154833"/>
                  <a:pt x="2942987" y="4218481"/>
                </a:cubicBezTo>
                <a:cubicBezTo>
                  <a:pt x="2942987" y="4269397"/>
                  <a:pt x="2917504" y="4205752"/>
                  <a:pt x="2904764" y="4218481"/>
                </a:cubicBezTo>
                <a:cubicBezTo>
                  <a:pt x="2892024" y="4243940"/>
                  <a:pt x="2892024" y="4256669"/>
                  <a:pt x="2892024" y="4282128"/>
                </a:cubicBezTo>
                <a:lnTo>
                  <a:pt x="2892024" y="4282124"/>
                </a:lnTo>
                <a:lnTo>
                  <a:pt x="2892024" y="4167564"/>
                </a:lnTo>
                <a:cubicBezTo>
                  <a:pt x="2892024" y="4154833"/>
                  <a:pt x="2892024" y="4142105"/>
                  <a:pt x="2879281" y="4142105"/>
                </a:cubicBezTo>
                <a:cubicBezTo>
                  <a:pt x="2879281" y="4142105"/>
                  <a:pt x="2866541" y="4142105"/>
                  <a:pt x="2866541" y="4154833"/>
                </a:cubicBezTo>
                <a:cubicBezTo>
                  <a:pt x="2853801" y="4180293"/>
                  <a:pt x="2853801" y="4218481"/>
                  <a:pt x="2802834" y="4231209"/>
                </a:cubicBezTo>
                <a:lnTo>
                  <a:pt x="2802834" y="4243936"/>
                </a:lnTo>
                <a:cubicBezTo>
                  <a:pt x="2815579" y="4263030"/>
                  <a:pt x="2821150" y="4275759"/>
                  <a:pt x="2821949" y="4284112"/>
                </a:cubicBezTo>
                <a:lnTo>
                  <a:pt x="2821945" y="4284116"/>
                </a:lnTo>
                <a:lnTo>
                  <a:pt x="2821949" y="4284116"/>
                </a:lnTo>
                <a:cubicBezTo>
                  <a:pt x="2824337" y="4309178"/>
                  <a:pt x="2783726" y="4294857"/>
                  <a:pt x="2764613" y="4294857"/>
                </a:cubicBezTo>
                <a:cubicBezTo>
                  <a:pt x="2739130" y="4307585"/>
                  <a:pt x="2700907" y="4333045"/>
                  <a:pt x="2700907" y="4294857"/>
                </a:cubicBezTo>
                <a:lnTo>
                  <a:pt x="2700912" y="4294853"/>
                </a:lnTo>
                <a:lnTo>
                  <a:pt x="2700907" y="4294853"/>
                </a:lnTo>
                <a:cubicBezTo>
                  <a:pt x="2694537" y="4275759"/>
                  <a:pt x="2704093" y="4272576"/>
                  <a:pt x="2718427" y="4272576"/>
                </a:cubicBezTo>
                <a:lnTo>
                  <a:pt x="2764608" y="4269393"/>
                </a:lnTo>
                <a:lnTo>
                  <a:pt x="2708871" y="4224846"/>
                </a:lnTo>
                <a:cubicBezTo>
                  <a:pt x="2688167" y="4212115"/>
                  <a:pt x="2669053" y="4199387"/>
                  <a:pt x="2662684" y="4180293"/>
                </a:cubicBezTo>
                <a:cubicBezTo>
                  <a:pt x="2656315" y="4173927"/>
                  <a:pt x="2646758" y="4170743"/>
                  <a:pt x="2637201" y="4172337"/>
                </a:cubicBezTo>
                <a:lnTo>
                  <a:pt x="2611721" y="4193021"/>
                </a:lnTo>
                <a:lnTo>
                  <a:pt x="2637201" y="4205748"/>
                </a:lnTo>
                <a:cubicBezTo>
                  <a:pt x="2649944" y="4218477"/>
                  <a:pt x="2662684" y="4218477"/>
                  <a:pt x="2662684" y="4243936"/>
                </a:cubicBezTo>
                <a:lnTo>
                  <a:pt x="2662684" y="4243940"/>
                </a:lnTo>
                <a:cubicBezTo>
                  <a:pt x="2649944" y="4256669"/>
                  <a:pt x="2637201" y="4269397"/>
                  <a:pt x="2624461" y="4256669"/>
                </a:cubicBezTo>
                <a:cubicBezTo>
                  <a:pt x="2611721" y="4243940"/>
                  <a:pt x="2598978" y="4243940"/>
                  <a:pt x="2598978" y="4243940"/>
                </a:cubicBezTo>
                <a:cubicBezTo>
                  <a:pt x="2573499" y="4243940"/>
                  <a:pt x="2548016" y="4218481"/>
                  <a:pt x="2535277" y="4231209"/>
                </a:cubicBezTo>
                <a:lnTo>
                  <a:pt x="2505017" y="4270986"/>
                </a:lnTo>
                <a:lnTo>
                  <a:pt x="2522533" y="4320312"/>
                </a:lnTo>
                <a:lnTo>
                  <a:pt x="2522533" y="4320316"/>
                </a:lnTo>
                <a:cubicBezTo>
                  <a:pt x="2484310" y="4333045"/>
                  <a:pt x="2484310" y="4307585"/>
                  <a:pt x="2484310" y="4294857"/>
                </a:cubicBezTo>
                <a:cubicBezTo>
                  <a:pt x="2471571" y="4282128"/>
                  <a:pt x="2471571" y="4256669"/>
                  <a:pt x="2458828" y="4269397"/>
                </a:cubicBezTo>
                <a:cubicBezTo>
                  <a:pt x="2395126" y="4282128"/>
                  <a:pt x="2344158" y="4218481"/>
                  <a:pt x="2280453" y="4269397"/>
                </a:cubicBezTo>
                <a:cubicBezTo>
                  <a:pt x="2280453" y="4269397"/>
                  <a:pt x="2267713" y="4269397"/>
                  <a:pt x="2254974" y="4256669"/>
                </a:cubicBezTo>
                <a:cubicBezTo>
                  <a:pt x="2229491" y="4231209"/>
                  <a:pt x="2229491" y="4231209"/>
                  <a:pt x="2204008" y="4269397"/>
                </a:cubicBezTo>
                <a:cubicBezTo>
                  <a:pt x="2191268" y="4294857"/>
                  <a:pt x="2140301" y="4307585"/>
                  <a:pt x="2140301" y="4307585"/>
                </a:cubicBezTo>
                <a:cubicBezTo>
                  <a:pt x="2102079" y="4282128"/>
                  <a:pt x="2076595" y="4320316"/>
                  <a:pt x="2051117" y="4294857"/>
                </a:cubicBezTo>
                <a:lnTo>
                  <a:pt x="2038377" y="4307585"/>
                </a:lnTo>
                <a:lnTo>
                  <a:pt x="2051117" y="4320312"/>
                </a:lnTo>
                <a:cubicBezTo>
                  <a:pt x="2102079" y="4320312"/>
                  <a:pt x="2153046" y="4345769"/>
                  <a:pt x="2216748" y="4333041"/>
                </a:cubicBezTo>
                <a:cubicBezTo>
                  <a:pt x="2242230" y="4320312"/>
                  <a:pt x="2293197" y="4333041"/>
                  <a:pt x="2305936" y="4282124"/>
                </a:cubicBezTo>
                <a:cubicBezTo>
                  <a:pt x="2344158" y="4320312"/>
                  <a:pt x="2382381" y="4282124"/>
                  <a:pt x="2420604" y="4282124"/>
                </a:cubicBezTo>
                <a:lnTo>
                  <a:pt x="2420690" y="4282198"/>
                </a:lnTo>
                <a:lnTo>
                  <a:pt x="2454051" y="4310768"/>
                </a:lnTo>
                <a:lnTo>
                  <a:pt x="2458828" y="4358501"/>
                </a:lnTo>
                <a:lnTo>
                  <a:pt x="2458828" y="4358504"/>
                </a:lnTo>
                <a:cubicBezTo>
                  <a:pt x="2484310" y="4352139"/>
                  <a:pt x="2506606" y="4345773"/>
                  <a:pt x="2528903" y="4345773"/>
                </a:cubicBezTo>
                <a:lnTo>
                  <a:pt x="2598809" y="4371171"/>
                </a:lnTo>
                <a:lnTo>
                  <a:pt x="2598978" y="4371228"/>
                </a:lnTo>
                <a:cubicBezTo>
                  <a:pt x="2611721" y="4383957"/>
                  <a:pt x="2662684" y="4396685"/>
                  <a:pt x="2688167" y="4383957"/>
                </a:cubicBezTo>
                <a:cubicBezTo>
                  <a:pt x="2726390" y="4371228"/>
                  <a:pt x="2751873" y="4371228"/>
                  <a:pt x="2777353" y="4383957"/>
                </a:cubicBezTo>
                <a:cubicBezTo>
                  <a:pt x="2815579" y="4409416"/>
                  <a:pt x="2853801" y="4434873"/>
                  <a:pt x="2892024" y="4396685"/>
                </a:cubicBezTo>
                <a:cubicBezTo>
                  <a:pt x="2904764" y="4383957"/>
                  <a:pt x="2955730" y="4409416"/>
                  <a:pt x="2981210" y="4409416"/>
                </a:cubicBezTo>
                <a:cubicBezTo>
                  <a:pt x="3006692" y="4409416"/>
                  <a:pt x="3019432" y="4447604"/>
                  <a:pt x="3044914" y="4396685"/>
                </a:cubicBezTo>
                <a:cubicBezTo>
                  <a:pt x="3057655" y="4383957"/>
                  <a:pt x="3108621" y="4396685"/>
                  <a:pt x="3146843" y="4409416"/>
                </a:cubicBezTo>
                <a:cubicBezTo>
                  <a:pt x="3261512" y="4422145"/>
                  <a:pt x="3363440" y="4422145"/>
                  <a:pt x="3478108" y="4422145"/>
                </a:cubicBezTo>
                <a:cubicBezTo>
                  <a:pt x="3516331" y="4422145"/>
                  <a:pt x="3554557" y="4434873"/>
                  <a:pt x="3580037" y="4434873"/>
                </a:cubicBezTo>
                <a:cubicBezTo>
                  <a:pt x="3643743" y="4447604"/>
                  <a:pt x="3707448" y="4409416"/>
                  <a:pt x="3771154" y="4460333"/>
                </a:cubicBezTo>
                <a:cubicBezTo>
                  <a:pt x="3936784" y="4434873"/>
                  <a:pt x="4102417" y="4498521"/>
                  <a:pt x="4268052" y="4498521"/>
                </a:cubicBezTo>
                <a:cubicBezTo>
                  <a:pt x="4331758" y="4485792"/>
                  <a:pt x="4408203" y="4511249"/>
                  <a:pt x="4484652" y="4523980"/>
                </a:cubicBezTo>
                <a:cubicBezTo>
                  <a:pt x="4497391" y="4523980"/>
                  <a:pt x="4510131" y="4523980"/>
                  <a:pt x="4535614" y="4523980"/>
                </a:cubicBezTo>
                <a:cubicBezTo>
                  <a:pt x="4548354" y="4511249"/>
                  <a:pt x="4573837" y="4523980"/>
                  <a:pt x="4573837" y="4536709"/>
                </a:cubicBezTo>
                <a:lnTo>
                  <a:pt x="4573837" y="4536713"/>
                </a:lnTo>
                <a:cubicBezTo>
                  <a:pt x="4573837" y="4562172"/>
                  <a:pt x="4548354" y="4574901"/>
                  <a:pt x="4535614" y="4562172"/>
                </a:cubicBezTo>
                <a:cubicBezTo>
                  <a:pt x="4446425" y="4523984"/>
                  <a:pt x="4331758" y="4562172"/>
                  <a:pt x="4242569" y="4523984"/>
                </a:cubicBezTo>
                <a:cubicBezTo>
                  <a:pt x="4153383" y="4498525"/>
                  <a:pt x="4076934" y="4523984"/>
                  <a:pt x="4000490" y="4511253"/>
                </a:cubicBezTo>
                <a:lnTo>
                  <a:pt x="4000490" y="4512325"/>
                </a:lnTo>
                <a:lnTo>
                  <a:pt x="4000490" y="4544665"/>
                </a:lnTo>
                <a:lnTo>
                  <a:pt x="4038712" y="4549437"/>
                </a:lnTo>
                <a:cubicBezTo>
                  <a:pt x="4076934" y="4523980"/>
                  <a:pt x="4127900" y="4536709"/>
                  <a:pt x="4178862" y="4574897"/>
                </a:cubicBezTo>
                <a:lnTo>
                  <a:pt x="4178858" y="4574897"/>
                </a:lnTo>
                <a:lnTo>
                  <a:pt x="4178862" y="4574901"/>
                </a:lnTo>
                <a:cubicBezTo>
                  <a:pt x="4140640" y="4574901"/>
                  <a:pt x="4115160" y="4587629"/>
                  <a:pt x="4089677" y="4574901"/>
                </a:cubicBezTo>
                <a:cubicBezTo>
                  <a:pt x="4051454" y="4562172"/>
                  <a:pt x="4025974" y="4549441"/>
                  <a:pt x="4038712" y="4613088"/>
                </a:cubicBezTo>
                <a:lnTo>
                  <a:pt x="4038712" y="4625813"/>
                </a:lnTo>
                <a:lnTo>
                  <a:pt x="4038712" y="4625817"/>
                </a:lnTo>
                <a:cubicBezTo>
                  <a:pt x="4013233" y="4587629"/>
                  <a:pt x="3975011" y="4676736"/>
                  <a:pt x="3949528" y="4613088"/>
                </a:cubicBezTo>
                <a:cubicBezTo>
                  <a:pt x="3949528" y="4613088"/>
                  <a:pt x="3936784" y="4600360"/>
                  <a:pt x="3936784" y="4600360"/>
                </a:cubicBezTo>
                <a:cubicBezTo>
                  <a:pt x="3885822" y="4638548"/>
                  <a:pt x="3860339" y="4574901"/>
                  <a:pt x="3822117" y="4574901"/>
                </a:cubicBezTo>
                <a:lnTo>
                  <a:pt x="3822120" y="4574897"/>
                </a:lnTo>
                <a:lnTo>
                  <a:pt x="3822117" y="4574897"/>
                </a:lnTo>
                <a:cubicBezTo>
                  <a:pt x="3828491" y="4562168"/>
                  <a:pt x="3838043" y="4555803"/>
                  <a:pt x="3846005" y="4547847"/>
                </a:cubicBezTo>
                <a:lnTo>
                  <a:pt x="3860339" y="4511253"/>
                </a:lnTo>
                <a:lnTo>
                  <a:pt x="3834860" y="4498525"/>
                </a:lnTo>
                <a:cubicBezTo>
                  <a:pt x="3834860" y="4498525"/>
                  <a:pt x="3822117" y="4498525"/>
                  <a:pt x="3822117" y="4498525"/>
                </a:cubicBezTo>
                <a:cubicBezTo>
                  <a:pt x="3822117" y="4530347"/>
                  <a:pt x="3793450" y="4543078"/>
                  <a:pt x="3769561" y="4558989"/>
                </a:cubicBezTo>
                <a:lnTo>
                  <a:pt x="3741488" y="4588026"/>
                </a:lnTo>
                <a:lnTo>
                  <a:pt x="3745671" y="4638545"/>
                </a:lnTo>
                <a:lnTo>
                  <a:pt x="3745671" y="4638548"/>
                </a:lnTo>
                <a:cubicBezTo>
                  <a:pt x="3732931" y="4638548"/>
                  <a:pt x="3732931" y="4638548"/>
                  <a:pt x="3720188" y="4638548"/>
                </a:cubicBezTo>
                <a:cubicBezTo>
                  <a:pt x="3694709" y="4613088"/>
                  <a:pt x="3669226" y="4574901"/>
                  <a:pt x="3643743" y="4549441"/>
                </a:cubicBezTo>
                <a:lnTo>
                  <a:pt x="3580037" y="4549441"/>
                </a:lnTo>
                <a:lnTo>
                  <a:pt x="3584817" y="4573303"/>
                </a:lnTo>
                <a:cubicBezTo>
                  <a:pt x="3592780" y="4578079"/>
                  <a:pt x="3605520" y="4581262"/>
                  <a:pt x="3618260" y="4587625"/>
                </a:cubicBezTo>
                <a:lnTo>
                  <a:pt x="3618260" y="4587629"/>
                </a:lnTo>
                <a:lnTo>
                  <a:pt x="3618260" y="4613084"/>
                </a:lnTo>
                <a:lnTo>
                  <a:pt x="3618260" y="4613088"/>
                </a:lnTo>
                <a:cubicBezTo>
                  <a:pt x="3605520" y="4613088"/>
                  <a:pt x="3592780" y="4613088"/>
                  <a:pt x="3580037" y="4600360"/>
                </a:cubicBezTo>
                <a:cubicBezTo>
                  <a:pt x="3554557" y="4600360"/>
                  <a:pt x="3580037" y="4549441"/>
                  <a:pt x="3541814" y="4536713"/>
                </a:cubicBezTo>
                <a:cubicBezTo>
                  <a:pt x="3554557" y="4587629"/>
                  <a:pt x="3516331" y="4587629"/>
                  <a:pt x="3490851" y="4587629"/>
                </a:cubicBezTo>
                <a:cubicBezTo>
                  <a:pt x="3439886" y="4600360"/>
                  <a:pt x="3401663" y="4600360"/>
                  <a:pt x="3350700" y="4613088"/>
                </a:cubicBezTo>
                <a:cubicBezTo>
                  <a:pt x="3337957" y="4613088"/>
                  <a:pt x="3325218" y="4613088"/>
                  <a:pt x="3312478" y="4613088"/>
                </a:cubicBezTo>
                <a:cubicBezTo>
                  <a:pt x="3274255" y="4574901"/>
                  <a:pt x="3248772" y="4549441"/>
                  <a:pt x="3236028" y="4625817"/>
                </a:cubicBezTo>
                <a:cubicBezTo>
                  <a:pt x="3236028" y="4638548"/>
                  <a:pt x="3223289" y="4638548"/>
                  <a:pt x="3210549" y="4625817"/>
                </a:cubicBezTo>
                <a:cubicBezTo>
                  <a:pt x="3185067" y="4536713"/>
                  <a:pt x="3159583" y="4651276"/>
                  <a:pt x="3134104" y="4625817"/>
                </a:cubicBezTo>
                <a:cubicBezTo>
                  <a:pt x="3146843" y="4574901"/>
                  <a:pt x="3070397" y="4600360"/>
                  <a:pt x="3057655" y="4562172"/>
                </a:cubicBezTo>
                <a:cubicBezTo>
                  <a:pt x="3019432" y="4587629"/>
                  <a:pt x="3019432" y="4574901"/>
                  <a:pt x="3019432" y="4536713"/>
                </a:cubicBezTo>
                <a:cubicBezTo>
                  <a:pt x="3032175" y="4523984"/>
                  <a:pt x="3032175" y="4511253"/>
                  <a:pt x="3006692" y="4498525"/>
                </a:cubicBezTo>
                <a:cubicBezTo>
                  <a:pt x="2993953" y="4523984"/>
                  <a:pt x="2968469" y="4511253"/>
                  <a:pt x="2955730" y="4536713"/>
                </a:cubicBezTo>
                <a:cubicBezTo>
                  <a:pt x="2942987" y="4574901"/>
                  <a:pt x="2917504" y="4587629"/>
                  <a:pt x="2879281" y="4549441"/>
                </a:cubicBezTo>
                <a:cubicBezTo>
                  <a:pt x="2841059" y="4511253"/>
                  <a:pt x="2815579" y="4523984"/>
                  <a:pt x="2815579" y="4562172"/>
                </a:cubicBezTo>
                <a:cubicBezTo>
                  <a:pt x="2815579" y="4625817"/>
                  <a:pt x="2751873" y="4587629"/>
                  <a:pt x="2739130" y="4613088"/>
                </a:cubicBezTo>
                <a:cubicBezTo>
                  <a:pt x="2726390" y="4613088"/>
                  <a:pt x="2751873" y="4511253"/>
                  <a:pt x="2688167" y="4587629"/>
                </a:cubicBezTo>
                <a:cubicBezTo>
                  <a:pt x="2688167" y="4574901"/>
                  <a:pt x="2675428" y="4574901"/>
                  <a:pt x="2662684" y="4562172"/>
                </a:cubicBezTo>
                <a:cubicBezTo>
                  <a:pt x="2649944" y="4549441"/>
                  <a:pt x="2611721" y="4562172"/>
                  <a:pt x="2611721" y="4574901"/>
                </a:cubicBezTo>
                <a:cubicBezTo>
                  <a:pt x="2611721" y="4638548"/>
                  <a:pt x="2560755" y="4613088"/>
                  <a:pt x="2535277" y="4613088"/>
                </a:cubicBezTo>
                <a:cubicBezTo>
                  <a:pt x="2516164" y="4619454"/>
                  <a:pt x="2500236" y="4619454"/>
                  <a:pt x="2484310" y="4617861"/>
                </a:cubicBezTo>
                <a:lnTo>
                  <a:pt x="2433359" y="4613088"/>
                </a:lnTo>
                <a:lnTo>
                  <a:pt x="2508200" y="4640134"/>
                </a:lnTo>
                <a:cubicBezTo>
                  <a:pt x="2532090" y="4641724"/>
                  <a:pt x="2554386" y="4638545"/>
                  <a:pt x="2573499" y="4638545"/>
                </a:cubicBezTo>
                <a:cubicBezTo>
                  <a:pt x="2611721" y="4638545"/>
                  <a:pt x="2649944" y="4638545"/>
                  <a:pt x="2675428" y="4638545"/>
                </a:cubicBezTo>
                <a:cubicBezTo>
                  <a:pt x="2688167" y="4638545"/>
                  <a:pt x="2700907" y="4651272"/>
                  <a:pt x="2700907" y="4664001"/>
                </a:cubicBezTo>
                <a:lnTo>
                  <a:pt x="2700907" y="4664005"/>
                </a:lnTo>
                <a:cubicBezTo>
                  <a:pt x="2700907" y="4676736"/>
                  <a:pt x="2688167" y="4664005"/>
                  <a:pt x="2675428" y="4664005"/>
                </a:cubicBezTo>
                <a:cubicBezTo>
                  <a:pt x="2637201" y="4664005"/>
                  <a:pt x="2598978" y="4664005"/>
                  <a:pt x="2573499" y="4676736"/>
                </a:cubicBezTo>
                <a:cubicBezTo>
                  <a:pt x="2535277" y="4702193"/>
                  <a:pt x="2509793" y="4651276"/>
                  <a:pt x="2471571" y="4651276"/>
                </a:cubicBezTo>
                <a:cubicBezTo>
                  <a:pt x="2433348" y="4664005"/>
                  <a:pt x="2395126" y="4676736"/>
                  <a:pt x="2344158" y="4676736"/>
                </a:cubicBezTo>
                <a:cubicBezTo>
                  <a:pt x="2331419" y="4676736"/>
                  <a:pt x="2305936" y="4689464"/>
                  <a:pt x="2305936" y="4664005"/>
                </a:cubicBezTo>
                <a:lnTo>
                  <a:pt x="2305936" y="4664001"/>
                </a:lnTo>
                <a:cubicBezTo>
                  <a:pt x="2305936" y="4638545"/>
                  <a:pt x="2331419" y="4625813"/>
                  <a:pt x="2344158" y="4625813"/>
                </a:cubicBezTo>
                <a:cubicBezTo>
                  <a:pt x="2350529" y="4625813"/>
                  <a:pt x="2356899" y="4628996"/>
                  <a:pt x="2363272" y="4630585"/>
                </a:cubicBezTo>
                <a:lnTo>
                  <a:pt x="2382378" y="4625813"/>
                </a:lnTo>
                <a:lnTo>
                  <a:pt x="2331419" y="4601950"/>
                </a:lnTo>
                <a:cubicBezTo>
                  <a:pt x="2315494" y="4593994"/>
                  <a:pt x="2305936" y="4581266"/>
                  <a:pt x="2318676" y="4549441"/>
                </a:cubicBezTo>
                <a:lnTo>
                  <a:pt x="2270901" y="4579673"/>
                </a:lnTo>
                <a:lnTo>
                  <a:pt x="2280453" y="4638545"/>
                </a:lnTo>
                <a:lnTo>
                  <a:pt x="2280453" y="4638548"/>
                </a:lnTo>
                <a:cubicBezTo>
                  <a:pt x="2293197" y="4651276"/>
                  <a:pt x="2280453" y="4664005"/>
                  <a:pt x="2254974" y="4664005"/>
                </a:cubicBezTo>
                <a:cubicBezTo>
                  <a:pt x="2229491" y="4676736"/>
                  <a:pt x="2204008" y="4689464"/>
                  <a:pt x="2178525" y="4664005"/>
                </a:cubicBezTo>
                <a:cubicBezTo>
                  <a:pt x="2172155" y="4651276"/>
                  <a:pt x="2172155" y="4644911"/>
                  <a:pt x="2176935" y="4640139"/>
                </a:cubicBezTo>
                <a:lnTo>
                  <a:pt x="2176935" y="4640134"/>
                </a:lnTo>
                <a:cubicBezTo>
                  <a:pt x="2181711" y="4635361"/>
                  <a:pt x="2191268" y="4632178"/>
                  <a:pt x="2204008" y="4625813"/>
                </a:cubicBezTo>
                <a:lnTo>
                  <a:pt x="2204008" y="4600360"/>
                </a:lnTo>
                <a:cubicBezTo>
                  <a:pt x="2178525" y="4587629"/>
                  <a:pt x="2216748" y="4549441"/>
                  <a:pt x="2191268" y="4549441"/>
                </a:cubicBezTo>
                <a:cubicBezTo>
                  <a:pt x="2165785" y="4536713"/>
                  <a:pt x="2165785" y="4549441"/>
                  <a:pt x="2153046" y="4574901"/>
                </a:cubicBezTo>
                <a:cubicBezTo>
                  <a:pt x="2127563" y="4613088"/>
                  <a:pt x="2089340" y="4613088"/>
                  <a:pt x="2051117" y="4600360"/>
                </a:cubicBezTo>
                <a:cubicBezTo>
                  <a:pt x="2025634" y="4587629"/>
                  <a:pt x="2000151" y="4600360"/>
                  <a:pt x="2000151" y="4625817"/>
                </a:cubicBezTo>
                <a:cubicBezTo>
                  <a:pt x="1987412" y="4676736"/>
                  <a:pt x="1961928" y="4664005"/>
                  <a:pt x="1923705" y="4664005"/>
                </a:cubicBezTo>
                <a:cubicBezTo>
                  <a:pt x="1809037" y="4664005"/>
                  <a:pt x="1681625" y="4664005"/>
                  <a:pt x="1554218" y="4664005"/>
                </a:cubicBezTo>
                <a:cubicBezTo>
                  <a:pt x="1541475" y="4664005"/>
                  <a:pt x="1528735" y="4664005"/>
                  <a:pt x="1528735" y="4651276"/>
                </a:cubicBezTo>
                <a:lnTo>
                  <a:pt x="1528739" y="4651272"/>
                </a:lnTo>
                <a:lnTo>
                  <a:pt x="1528735" y="4651272"/>
                </a:lnTo>
                <a:cubicBezTo>
                  <a:pt x="1528735" y="4625813"/>
                  <a:pt x="1541475" y="4613084"/>
                  <a:pt x="1566958" y="4613084"/>
                </a:cubicBezTo>
                <a:cubicBezTo>
                  <a:pt x="1617920" y="4613084"/>
                  <a:pt x="1668886" y="4613084"/>
                  <a:pt x="1719848" y="4613084"/>
                </a:cubicBezTo>
                <a:cubicBezTo>
                  <a:pt x="1783554" y="4625813"/>
                  <a:pt x="1847260" y="4587625"/>
                  <a:pt x="1898222" y="4638545"/>
                </a:cubicBezTo>
                <a:cubicBezTo>
                  <a:pt x="1904596" y="4625813"/>
                  <a:pt x="1917335" y="4625813"/>
                  <a:pt x="1930076" y="4627406"/>
                </a:cubicBezTo>
                <a:lnTo>
                  <a:pt x="1961928" y="4625813"/>
                </a:lnTo>
                <a:lnTo>
                  <a:pt x="1936448" y="4562172"/>
                </a:lnTo>
                <a:lnTo>
                  <a:pt x="1939631" y="4589218"/>
                </a:lnTo>
                <a:lnTo>
                  <a:pt x="1939631" y="4589222"/>
                </a:lnTo>
                <a:cubicBezTo>
                  <a:pt x="1939631" y="4597177"/>
                  <a:pt x="1936448" y="4600356"/>
                  <a:pt x="1923705" y="4587629"/>
                </a:cubicBezTo>
                <a:cubicBezTo>
                  <a:pt x="1872743" y="4562172"/>
                  <a:pt x="1821777" y="4574901"/>
                  <a:pt x="1770815" y="4574901"/>
                </a:cubicBezTo>
                <a:cubicBezTo>
                  <a:pt x="1758071" y="4574901"/>
                  <a:pt x="1758071" y="4574901"/>
                  <a:pt x="1745331" y="4562172"/>
                </a:cubicBezTo>
                <a:lnTo>
                  <a:pt x="1729405" y="4554217"/>
                </a:lnTo>
                <a:lnTo>
                  <a:pt x="1732592" y="4574897"/>
                </a:lnTo>
                <a:lnTo>
                  <a:pt x="1732592" y="4574901"/>
                </a:lnTo>
                <a:lnTo>
                  <a:pt x="1732592" y="4600356"/>
                </a:lnTo>
                <a:lnTo>
                  <a:pt x="1732592" y="4600360"/>
                </a:lnTo>
                <a:cubicBezTo>
                  <a:pt x="1681625" y="4549441"/>
                  <a:pt x="1630663" y="4523984"/>
                  <a:pt x="1579697" y="4549441"/>
                </a:cubicBezTo>
                <a:cubicBezTo>
                  <a:pt x="1560588" y="4555807"/>
                  <a:pt x="1541475" y="4546258"/>
                  <a:pt x="1522365" y="4538302"/>
                </a:cubicBezTo>
                <a:lnTo>
                  <a:pt x="1465037" y="4536713"/>
                </a:lnTo>
                <a:lnTo>
                  <a:pt x="1514402" y="4558985"/>
                </a:lnTo>
                <a:cubicBezTo>
                  <a:pt x="1523160" y="4562168"/>
                  <a:pt x="1528338" y="4566147"/>
                  <a:pt x="1524155" y="4572508"/>
                </a:cubicBezTo>
                <a:lnTo>
                  <a:pt x="1524155" y="4572512"/>
                </a:lnTo>
                <a:cubicBezTo>
                  <a:pt x="1519973" y="4578878"/>
                  <a:pt x="1506439" y="4587629"/>
                  <a:pt x="1477769" y="4600360"/>
                </a:cubicBezTo>
                <a:lnTo>
                  <a:pt x="1477769" y="4621044"/>
                </a:lnTo>
                <a:lnTo>
                  <a:pt x="1477769" y="4651272"/>
                </a:lnTo>
                <a:lnTo>
                  <a:pt x="1477769" y="4651276"/>
                </a:lnTo>
                <a:cubicBezTo>
                  <a:pt x="1452290" y="4651276"/>
                  <a:pt x="1452290" y="4638548"/>
                  <a:pt x="1452290" y="4625817"/>
                </a:cubicBezTo>
                <a:cubicBezTo>
                  <a:pt x="1439546" y="4600360"/>
                  <a:pt x="1439546" y="4587629"/>
                  <a:pt x="1401323" y="4587629"/>
                </a:cubicBezTo>
                <a:cubicBezTo>
                  <a:pt x="1375840" y="4587629"/>
                  <a:pt x="1388584" y="4613088"/>
                  <a:pt x="1375840" y="4625817"/>
                </a:cubicBezTo>
                <a:cubicBezTo>
                  <a:pt x="1375840" y="4651276"/>
                  <a:pt x="1363101" y="4651276"/>
                  <a:pt x="1337618" y="4651276"/>
                </a:cubicBezTo>
                <a:cubicBezTo>
                  <a:pt x="1248432" y="4651276"/>
                  <a:pt x="1159243" y="4638548"/>
                  <a:pt x="1070058" y="4625817"/>
                </a:cubicBezTo>
                <a:cubicBezTo>
                  <a:pt x="1044576" y="4625817"/>
                  <a:pt x="1019092" y="4613088"/>
                  <a:pt x="993613" y="4613088"/>
                </a:cubicBezTo>
                <a:cubicBezTo>
                  <a:pt x="929907" y="4613088"/>
                  <a:pt x="891685" y="4600360"/>
                  <a:pt x="891685" y="4536713"/>
                </a:cubicBezTo>
                <a:cubicBezTo>
                  <a:pt x="904425" y="4473065"/>
                  <a:pt x="878941" y="4409420"/>
                  <a:pt x="878941" y="4333045"/>
                </a:cubicBezTo>
                <a:lnTo>
                  <a:pt x="878941" y="4333041"/>
                </a:lnTo>
                <a:cubicBezTo>
                  <a:pt x="866201" y="4269393"/>
                  <a:pt x="904425" y="4231205"/>
                  <a:pt x="955386" y="4231205"/>
                </a:cubicBezTo>
                <a:cubicBezTo>
                  <a:pt x="1006352" y="4218477"/>
                  <a:pt x="1044576" y="4218477"/>
                  <a:pt x="1095538" y="4205748"/>
                </a:cubicBezTo>
                <a:cubicBezTo>
                  <a:pt x="1108281" y="4193017"/>
                  <a:pt x="1133764" y="4193017"/>
                  <a:pt x="1146504" y="4205748"/>
                </a:cubicBezTo>
                <a:cubicBezTo>
                  <a:pt x="1171987" y="4231205"/>
                  <a:pt x="1171987" y="4231205"/>
                  <a:pt x="1197466" y="4205748"/>
                </a:cubicBezTo>
                <a:cubicBezTo>
                  <a:pt x="1248432" y="4167560"/>
                  <a:pt x="1248432" y="4231205"/>
                  <a:pt x="1261172" y="4269393"/>
                </a:cubicBezTo>
                <a:cubicBezTo>
                  <a:pt x="1273915" y="4193017"/>
                  <a:pt x="1312138" y="4167560"/>
                  <a:pt x="1363101" y="4180289"/>
                </a:cubicBezTo>
                <a:cubicBezTo>
                  <a:pt x="1401323" y="4180289"/>
                  <a:pt x="1426807" y="4167560"/>
                  <a:pt x="1465029" y="4154829"/>
                </a:cubicBezTo>
                <a:cubicBezTo>
                  <a:pt x="1605180" y="4129372"/>
                  <a:pt x="1758071" y="4116641"/>
                  <a:pt x="1898222" y="4103913"/>
                </a:cubicBezTo>
                <a:cubicBezTo>
                  <a:pt x="1936445" y="4103913"/>
                  <a:pt x="1987412" y="4078453"/>
                  <a:pt x="2025634" y="4091184"/>
                </a:cubicBezTo>
                <a:cubicBezTo>
                  <a:pt x="2051117" y="4091184"/>
                  <a:pt x="2076595" y="4091184"/>
                  <a:pt x="2063856" y="4116641"/>
                </a:cubicBezTo>
                <a:cubicBezTo>
                  <a:pt x="2051117" y="4129372"/>
                  <a:pt x="2063856" y="4142101"/>
                  <a:pt x="2076595" y="4142101"/>
                </a:cubicBezTo>
                <a:cubicBezTo>
                  <a:pt x="2089340" y="4142101"/>
                  <a:pt x="2089340" y="4129372"/>
                  <a:pt x="2089340" y="4116641"/>
                </a:cubicBezTo>
                <a:cubicBezTo>
                  <a:pt x="2076595" y="4091184"/>
                  <a:pt x="2089340" y="4078453"/>
                  <a:pt x="2114824" y="4078453"/>
                </a:cubicBezTo>
                <a:cubicBezTo>
                  <a:pt x="2216748" y="4065725"/>
                  <a:pt x="2305936" y="4040268"/>
                  <a:pt x="2407865" y="4052997"/>
                </a:cubicBezTo>
                <a:cubicBezTo>
                  <a:pt x="2420604" y="4052997"/>
                  <a:pt x="2433348" y="4052997"/>
                  <a:pt x="2446088" y="4052997"/>
                </a:cubicBezTo>
                <a:cubicBezTo>
                  <a:pt x="2484310" y="4052997"/>
                  <a:pt x="2509793" y="4027537"/>
                  <a:pt x="2535277" y="4091184"/>
                </a:cubicBezTo>
                <a:cubicBezTo>
                  <a:pt x="2535277" y="4103913"/>
                  <a:pt x="2560755" y="4129372"/>
                  <a:pt x="2598978" y="4142101"/>
                </a:cubicBezTo>
                <a:cubicBezTo>
                  <a:pt x="2586238" y="4103913"/>
                  <a:pt x="2586238" y="4065725"/>
                  <a:pt x="2611721" y="4040268"/>
                </a:cubicBezTo>
                <a:cubicBezTo>
                  <a:pt x="2649944" y="4014809"/>
                  <a:pt x="2675428" y="4052997"/>
                  <a:pt x="2713650" y="4052997"/>
                </a:cubicBezTo>
                <a:lnTo>
                  <a:pt x="2713650" y="4053001"/>
                </a:lnTo>
                <a:lnTo>
                  <a:pt x="2713650" y="4078453"/>
                </a:lnTo>
                <a:cubicBezTo>
                  <a:pt x="2726390" y="4065725"/>
                  <a:pt x="2739130" y="4052997"/>
                  <a:pt x="2739130" y="4052997"/>
                </a:cubicBezTo>
                <a:cubicBezTo>
                  <a:pt x="2751873" y="4040268"/>
                  <a:pt x="2764613" y="4014809"/>
                  <a:pt x="2790096" y="4027537"/>
                </a:cubicBezTo>
                <a:cubicBezTo>
                  <a:pt x="2802834" y="4040268"/>
                  <a:pt x="2802834" y="4052997"/>
                  <a:pt x="2802834" y="4065725"/>
                </a:cubicBezTo>
                <a:lnTo>
                  <a:pt x="2802834" y="4065729"/>
                </a:lnTo>
                <a:lnTo>
                  <a:pt x="2801242" y="4100730"/>
                </a:lnTo>
                <a:lnTo>
                  <a:pt x="2828318" y="4116641"/>
                </a:lnTo>
                <a:cubicBezTo>
                  <a:pt x="2853801" y="4116641"/>
                  <a:pt x="2879281" y="4116641"/>
                  <a:pt x="2879281" y="4078453"/>
                </a:cubicBezTo>
                <a:cubicBezTo>
                  <a:pt x="2892024" y="4014809"/>
                  <a:pt x="2955730" y="3989349"/>
                  <a:pt x="2993953" y="4002080"/>
                </a:cubicBezTo>
                <a:cubicBezTo>
                  <a:pt x="3032175" y="4027537"/>
                  <a:pt x="3057655" y="4002080"/>
                  <a:pt x="3083138" y="4014809"/>
                </a:cubicBezTo>
                <a:lnTo>
                  <a:pt x="3083138" y="4014813"/>
                </a:lnTo>
                <a:lnTo>
                  <a:pt x="3095877" y="4014813"/>
                </a:lnTo>
                <a:lnTo>
                  <a:pt x="3095881" y="4014809"/>
                </a:lnTo>
                <a:cubicBezTo>
                  <a:pt x="3121361" y="3976621"/>
                  <a:pt x="3159583" y="4002080"/>
                  <a:pt x="3185067" y="4002080"/>
                </a:cubicBezTo>
                <a:cubicBezTo>
                  <a:pt x="3274255" y="3989349"/>
                  <a:pt x="3350700" y="3976621"/>
                  <a:pt x="3439886" y="4002080"/>
                </a:cubicBezTo>
                <a:lnTo>
                  <a:pt x="3465369" y="3989349"/>
                </a:lnTo>
                <a:lnTo>
                  <a:pt x="3452629" y="3938437"/>
                </a:lnTo>
                <a:lnTo>
                  <a:pt x="3452629" y="3938433"/>
                </a:lnTo>
                <a:cubicBezTo>
                  <a:pt x="3471738" y="3932067"/>
                  <a:pt x="3487665" y="3925704"/>
                  <a:pt x="3495629" y="3928884"/>
                </a:cubicBezTo>
                <a:lnTo>
                  <a:pt x="3495629" y="3928888"/>
                </a:lnTo>
                <a:lnTo>
                  <a:pt x="3490851" y="3976621"/>
                </a:lnTo>
                <a:lnTo>
                  <a:pt x="3503591" y="4040268"/>
                </a:lnTo>
                <a:cubicBezTo>
                  <a:pt x="3516334" y="4033903"/>
                  <a:pt x="3519518" y="4021171"/>
                  <a:pt x="3524294" y="4010036"/>
                </a:cubicBezTo>
                <a:lnTo>
                  <a:pt x="3554554" y="3989349"/>
                </a:lnTo>
                <a:lnTo>
                  <a:pt x="3540220" y="3963896"/>
                </a:lnTo>
                <a:cubicBezTo>
                  <a:pt x="3532257" y="3957531"/>
                  <a:pt x="3522704" y="3951165"/>
                  <a:pt x="3516331" y="3938437"/>
                </a:cubicBezTo>
                <a:lnTo>
                  <a:pt x="3516334" y="3938437"/>
                </a:lnTo>
                <a:lnTo>
                  <a:pt x="3516331" y="3938433"/>
                </a:lnTo>
                <a:cubicBezTo>
                  <a:pt x="3529074" y="3925704"/>
                  <a:pt x="3541814" y="3925704"/>
                  <a:pt x="3567298" y="3925704"/>
                </a:cubicBezTo>
                <a:cubicBezTo>
                  <a:pt x="3681965" y="3963892"/>
                  <a:pt x="3809377" y="3938433"/>
                  <a:pt x="3936784" y="3951161"/>
                </a:cubicBezTo>
                <a:cubicBezTo>
                  <a:pt x="3962268" y="3957527"/>
                  <a:pt x="3965454" y="3944798"/>
                  <a:pt x="3965454" y="3928888"/>
                </a:cubicBezTo>
                <a:lnTo>
                  <a:pt x="3975011" y="3887516"/>
                </a:lnTo>
                <a:lnTo>
                  <a:pt x="3968638" y="3876383"/>
                </a:lnTo>
                <a:cubicBezTo>
                  <a:pt x="3965454" y="3871605"/>
                  <a:pt x="3962268" y="3868427"/>
                  <a:pt x="3962268" y="3874789"/>
                </a:cubicBezTo>
                <a:cubicBezTo>
                  <a:pt x="3949528" y="3887516"/>
                  <a:pt x="3898562" y="3874789"/>
                  <a:pt x="3924044" y="3925708"/>
                </a:cubicBezTo>
                <a:cubicBezTo>
                  <a:pt x="3873082" y="3912977"/>
                  <a:pt x="3834860" y="3912977"/>
                  <a:pt x="3809377" y="3862061"/>
                </a:cubicBezTo>
                <a:cubicBezTo>
                  <a:pt x="3796633" y="3823873"/>
                  <a:pt x="3681965" y="3862061"/>
                  <a:pt x="3643743" y="3912977"/>
                </a:cubicBezTo>
                <a:cubicBezTo>
                  <a:pt x="3605520" y="3900249"/>
                  <a:pt x="3618260" y="3849329"/>
                  <a:pt x="3567298" y="3849329"/>
                </a:cubicBezTo>
                <a:cubicBezTo>
                  <a:pt x="3516331" y="3849329"/>
                  <a:pt x="3516331" y="3874789"/>
                  <a:pt x="3503591" y="3900249"/>
                </a:cubicBezTo>
                <a:cubicBezTo>
                  <a:pt x="3427146" y="3849329"/>
                  <a:pt x="3350700" y="3849329"/>
                  <a:pt x="3261512" y="3887516"/>
                </a:cubicBezTo>
                <a:cubicBezTo>
                  <a:pt x="3248772" y="3887516"/>
                  <a:pt x="3223289" y="3887516"/>
                  <a:pt x="3197806" y="3874789"/>
                </a:cubicBezTo>
                <a:cubicBezTo>
                  <a:pt x="3172326" y="3862061"/>
                  <a:pt x="3146843" y="3849329"/>
                  <a:pt x="3108621" y="3874789"/>
                </a:cubicBezTo>
                <a:cubicBezTo>
                  <a:pt x="3095881" y="3887516"/>
                  <a:pt x="3083138" y="3887516"/>
                  <a:pt x="3070397" y="3887516"/>
                </a:cubicBezTo>
                <a:cubicBezTo>
                  <a:pt x="3057658" y="3887516"/>
                  <a:pt x="3035358" y="3874789"/>
                  <a:pt x="3019432" y="3873199"/>
                </a:cubicBezTo>
                <a:lnTo>
                  <a:pt x="3002313" y="3882146"/>
                </a:lnTo>
                <a:lnTo>
                  <a:pt x="3006692" y="3925704"/>
                </a:lnTo>
                <a:lnTo>
                  <a:pt x="3006692" y="3925708"/>
                </a:lnTo>
                <a:cubicBezTo>
                  <a:pt x="3006692" y="3925708"/>
                  <a:pt x="2993953" y="3925708"/>
                  <a:pt x="2981210" y="3925708"/>
                </a:cubicBezTo>
                <a:cubicBezTo>
                  <a:pt x="2968469" y="3925708"/>
                  <a:pt x="2968469" y="3925708"/>
                  <a:pt x="2968469" y="3912977"/>
                </a:cubicBezTo>
                <a:cubicBezTo>
                  <a:pt x="2981210" y="3874789"/>
                  <a:pt x="2955730" y="3874789"/>
                  <a:pt x="2930247" y="3874789"/>
                </a:cubicBezTo>
                <a:cubicBezTo>
                  <a:pt x="2790096" y="3874789"/>
                  <a:pt x="2649944" y="3887516"/>
                  <a:pt x="2509793" y="3887516"/>
                </a:cubicBezTo>
                <a:cubicBezTo>
                  <a:pt x="2458828" y="3887516"/>
                  <a:pt x="2395126" y="3900249"/>
                  <a:pt x="2356899" y="3900249"/>
                </a:cubicBezTo>
                <a:cubicBezTo>
                  <a:pt x="2191268" y="3938437"/>
                  <a:pt x="2025634" y="3912977"/>
                  <a:pt x="1872743" y="3938437"/>
                </a:cubicBezTo>
                <a:cubicBezTo>
                  <a:pt x="1745331" y="3951165"/>
                  <a:pt x="1617920" y="3951165"/>
                  <a:pt x="1490513" y="3976625"/>
                </a:cubicBezTo>
                <a:cubicBezTo>
                  <a:pt x="1452290" y="3976625"/>
                  <a:pt x="1414067" y="4002084"/>
                  <a:pt x="1363101" y="4002084"/>
                </a:cubicBezTo>
                <a:cubicBezTo>
                  <a:pt x="1312138" y="3989353"/>
                  <a:pt x="1273915" y="3976625"/>
                  <a:pt x="1261172" y="3912977"/>
                </a:cubicBezTo>
                <a:lnTo>
                  <a:pt x="1261172" y="3912973"/>
                </a:lnTo>
                <a:lnTo>
                  <a:pt x="1261172" y="3747497"/>
                </a:lnTo>
                <a:lnTo>
                  <a:pt x="1261172" y="3747493"/>
                </a:lnTo>
                <a:cubicBezTo>
                  <a:pt x="1261172" y="3709306"/>
                  <a:pt x="1268340" y="3678278"/>
                  <a:pt x="1298799" y="3670521"/>
                </a:cubicBezTo>
                <a:lnTo>
                  <a:pt x="1299557" y="3670532"/>
                </a:lnTo>
                <a:lnTo>
                  <a:pt x="1300463" y="3668136"/>
                </a:lnTo>
                <a:lnTo>
                  <a:pt x="1300463" y="3668132"/>
                </a:lnTo>
                <a:cubicBezTo>
                  <a:pt x="1305240" y="3663359"/>
                  <a:pt x="1314797" y="3660176"/>
                  <a:pt x="1327536" y="3653810"/>
                </a:cubicBezTo>
                <a:lnTo>
                  <a:pt x="1327536" y="3628358"/>
                </a:lnTo>
                <a:cubicBezTo>
                  <a:pt x="1302053" y="3615627"/>
                  <a:pt x="1340275" y="3577439"/>
                  <a:pt x="1314797" y="3577439"/>
                </a:cubicBezTo>
                <a:cubicBezTo>
                  <a:pt x="1289314" y="3564710"/>
                  <a:pt x="1289314" y="3577439"/>
                  <a:pt x="1276574" y="3602898"/>
                </a:cubicBezTo>
                <a:cubicBezTo>
                  <a:pt x="1251091" y="3641086"/>
                  <a:pt x="1212868" y="3641086"/>
                  <a:pt x="1174646" y="3628358"/>
                </a:cubicBezTo>
                <a:cubicBezTo>
                  <a:pt x="1149162" y="3615627"/>
                  <a:pt x="1123679" y="3628358"/>
                  <a:pt x="1123679" y="3653814"/>
                </a:cubicBezTo>
                <a:cubicBezTo>
                  <a:pt x="1110940" y="3704734"/>
                  <a:pt x="1085456" y="3692002"/>
                  <a:pt x="1047234" y="3692002"/>
                </a:cubicBezTo>
                <a:cubicBezTo>
                  <a:pt x="932566" y="3692002"/>
                  <a:pt x="805154" y="3692002"/>
                  <a:pt x="677746" y="3692002"/>
                </a:cubicBezTo>
                <a:cubicBezTo>
                  <a:pt x="665003" y="3692002"/>
                  <a:pt x="652264" y="3692002"/>
                  <a:pt x="652264" y="3679274"/>
                </a:cubicBezTo>
                <a:lnTo>
                  <a:pt x="652268" y="3679270"/>
                </a:lnTo>
                <a:lnTo>
                  <a:pt x="652264" y="3679270"/>
                </a:lnTo>
                <a:cubicBezTo>
                  <a:pt x="652264" y="3653810"/>
                  <a:pt x="665003" y="3641082"/>
                  <a:pt x="690486" y="3641082"/>
                </a:cubicBezTo>
                <a:cubicBezTo>
                  <a:pt x="741448" y="3641082"/>
                  <a:pt x="792415" y="3641082"/>
                  <a:pt x="843377" y="3641082"/>
                </a:cubicBezTo>
                <a:cubicBezTo>
                  <a:pt x="907083" y="3653810"/>
                  <a:pt x="970788" y="3615623"/>
                  <a:pt x="1021751" y="3666543"/>
                </a:cubicBezTo>
                <a:cubicBezTo>
                  <a:pt x="1028124" y="3653810"/>
                  <a:pt x="1040864" y="3653810"/>
                  <a:pt x="1053604" y="3655404"/>
                </a:cubicBezTo>
                <a:lnTo>
                  <a:pt x="1085456" y="3653810"/>
                </a:lnTo>
                <a:lnTo>
                  <a:pt x="1059977" y="3590170"/>
                </a:lnTo>
                <a:lnTo>
                  <a:pt x="1063160" y="3617216"/>
                </a:lnTo>
                <a:lnTo>
                  <a:pt x="1063160" y="3617220"/>
                </a:lnTo>
                <a:cubicBezTo>
                  <a:pt x="1063160" y="3625175"/>
                  <a:pt x="1059977" y="3628354"/>
                  <a:pt x="1047234" y="3615627"/>
                </a:cubicBezTo>
                <a:cubicBezTo>
                  <a:pt x="996271" y="3590170"/>
                  <a:pt x="945305" y="3602898"/>
                  <a:pt x="894343" y="3602898"/>
                </a:cubicBezTo>
                <a:cubicBezTo>
                  <a:pt x="881599" y="3602898"/>
                  <a:pt x="881599" y="3602898"/>
                  <a:pt x="868860" y="3590170"/>
                </a:cubicBezTo>
                <a:lnTo>
                  <a:pt x="852934" y="3582215"/>
                </a:lnTo>
                <a:lnTo>
                  <a:pt x="856121" y="3602894"/>
                </a:lnTo>
                <a:lnTo>
                  <a:pt x="856121" y="3602898"/>
                </a:lnTo>
                <a:lnTo>
                  <a:pt x="856121" y="3628354"/>
                </a:lnTo>
                <a:lnTo>
                  <a:pt x="856121" y="3628358"/>
                </a:lnTo>
                <a:cubicBezTo>
                  <a:pt x="805154" y="3577439"/>
                  <a:pt x="754191" y="3551982"/>
                  <a:pt x="703225" y="3577439"/>
                </a:cubicBezTo>
                <a:cubicBezTo>
                  <a:pt x="684116" y="3583804"/>
                  <a:pt x="665003" y="3574256"/>
                  <a:pt x="645894" y="3566300"/>
                </a:cubicBezTo>
                <a:lnTo>
                  <a:pt x="588565" y="3564710"/>
                </a:lnTo>
                <a:lnTo>
                  <a:pt x="637930" y="3586983"/>
                </a:lnTo>
                <a:cubicBezTo>
                  <a:pt x="646689" y="3590166"/>
                  <a:pt x="651866" y="3594144"/>
                  <a:pt x="647683" y="3600506"/>
                </a:cubicBezTo>
                <a:lnTo>
                  <a:pt x="647683" y="3600510"/>
                </a:lnTo>
                <a:cubicBezTo>
                  <a:pt x="643502" y="3606876"/>
                  <a:pt x="629967" y="3615627"/>
                  <a:pt x="601297" y="3628358"/>
                </a:cubicBezTo>
                <a:lnTo>
                  <a:pt x="601297" y="3649041"/>
                </a:lnTo>
                <a:lnTo>
                  <a:pt x="601297" y="3679270"/>
                </a:lnTo>
                <a:lnTo>
                  <a:pt x="601297" y="3679274"/>
                </a:lnTo>
                <a:cubicBezTo>
                  <a:pt x="575818" y="3679274"/>
                  <a:pt x="575818" y="3666546"/>
                  <a:pt x="575818" y="3653814"/>
                </a:cubicBezTo>
                <a:cubicBezTo>
                  <a:pt x="563074" y="3628358"/>
                  <a:pt x="563074" y="3615627"/>
                  <a:pt x="524852" y="3615627"/>
                </a:cubicBezTo>
                <a:cubicBezTo>
                  <a:pt x="499369" y="3615627"/>
                  <a:pt x="512112" y="3641086"/>
                  <a:pt x="499369" y="3653814"/>
                </a:cubicBezTo>
                <a:cubicBezTo>
                  <a:pt x="499369" y="3679274"/>
                  <a:pt x="486629" y="3679274"/>
                  <a:pt x="461146" y="3679274"/>
                </a:cubicBezTo>
                <a:cubicBezTo>
                  <a:pt x="371960" y="3679274"/>
                  <a:pt x="282772" y="3666546"/>
                  <a:pt x="193587" y="3653814"/>
                </a:cubicBezTo>
                <a:cubicBezTo>
                  <a:pt x="168104" y="3653814"/>
                  <a:pt x="142621" y="3641086"/>
                  <a:pt x="117142" y="3641086"/>
                </a:cubicBezTo>
                <a:cubicBezTo>
                  <a:pt x="53436" y="3641086"/>
                  <a:pt x="15213" y="3628358"/>
                  <a:pt x="15213" y="3564710"/>
                </a:cubicBezTo>
                <a:cubicBezTo>
                  <a:pt x="27952" y="3501063"/>
                  <a:pt x="2470" y="3437418"/>
                  <a:pt x="2470" y="3361042"/>
                </a:cubicBezTo>
                <a:lnTo>
                  <a:pt x="2470" y="3361038"/>
                </a:lnTo>
                <a:cubicBezTo>
                  <a:pt x="-10270" y="3297391"/>
                  <a:pt x="27952" y="3259203"/>
                  <a:pt x="78915" y="3259203"/>
                </a:cubicBezTo>
                <a:cubicBezTo>
                  <a:pt x="129881" y="3246474"/>
                  <a:pt x="168104" y="3246474"/>
                  <a:pt x="219066" y="3233746"/>
                </a:cubicBezTo>
                <a:cubicBezTo>
                  <a:pt x="231809" y="3221015"/>
                  <a:pt x="257293" y="3221015"/>
                  <a:pt x="270032" y="3233746"/>
                </a:cubicBezTo>
                <a:cubicBezTo>
                  <a:pt x="295515" y="3259203"/>
                  <a:pt x="295515" y="3259203"/>
                  <a:pt x="320995" y="3233746"/>
                </a:cubicBezTo>
                <a:cubicBezTo>
                  <a:pt x="371960" y="3195558"/>
                  <a:pt x="371960" y="3259203"/>
                  <a:pt x="384701" y="3297391"/>
                </a:cubicBezTo>
                <a:cubicBezTo>
                  <a:pt x="397444" y="3221015"/>
                  <a:pt x="435666" y="3195558"/>
                  <a:pt x="486629" y="3208287"/>
                </a:cubicBezTo>
                <a:cubicBezTo>
                  <a:pt x="524852" y="3208287"/>
                  <a:pt x="550335" y="3195558"/>
                  <a:pt x="588558" y="3182827"/>
                </a:cubicBezTo>
                <a:cubicBezTo>
                  <a:pt x="728709" y="3157370"/>
                  <a:pt x="881599" y="3144639"/>
                  <a:pt x="1021751" y="3131911"/>
                </a:cubicBezTo>
                <a:cubicBezTo>
                  <a:pt x="1059973" y="3131911"/>
                  <a:pt x="1110940" y="3106451"/>
                  <a:pt x="1149162" y="3119182"/>
                </a:cubicBezTo>
                <a:cubicBezTo>
                  <a:pt x="1174646" y="3119182"/>
                  <a:pt x="1200125" y="3119182"/>
                  <a:pt x="1187385" y="3144639"/>
                </a:cubicBezTo>
                <a:cubicBezTo>
                  <a:pt x="1174646" y="3157370"/>
                  <a:pt x="1187385" y="3170099"/>
                  <a:pt x="1200125" y="3170099"/>
                </a:cubicBezTo>
                <a:cubicBezTo>
                  <a:pt x="1212868" y="3170099"/>
                  <a:pt x="1212868" y="3157370"/>
                  <a:pt x="1212868" y="3144639"/>
                </a:cubicBezTo>
                <a:cubicBezTo>
                  <a:pt x="1200125" y="3119182"/>
                  <a:pt x="1212868" y="3106451"/>
                  <a:pt x="1238352" y="3106451"/>
                </a:cubicBezTo>
                <a:cubicBezTo>
                  <a:pt x="1340275" y="3093723"/>
                  <a:pt x="1429465" y="3068266"/>
                  <a:pt x="1531393" y="3080994"/>
                </a:cubicBezTo>
                <a:cubicBezTo>
                  <a:pt x="1544133" y="3080994"/>
                  <a:pt x="1556877" y="3080994"/>
                  <a:pt x="1569616" y="3080994"/>
                </a:cubicBezTo>
                <a:cubicBezTo>
                  <a:pt x="1607839" y="3080994"/>
                  <a:pt x="1633322" y="3055535"/>
                  <a:pt x="1658805" y="3119182"/>
                </a:cubicBezTo>
                <a:lnTo>
                  <a:pt x="1665095" y="3128324"/>
                </a:lnTo>
                <a:lnTo>
                  <a:pt x="1716041" y="3124877"/>
                </a:lnTo>
                <a:lnTo>
                  <a:pt x="1714546" y="3114408"/>
                </a:lnTo>
                <a:cubicBezTo>
                  <a:pt x="1716138" y="3096906"/>
                  <a:pt x="1722509" y="3080994"/>
                  <a:pt x="1735250" y="3068266"/>
                </a:cubicBezTo>
                <a:cubicBezTo>
                  <a:pt x="1773473" y="3042806"/>
                  <a:pt x="1798956" y="3080994"/>
                  <a:pt x="1837179" y="3080994"/>
                </a:cubicBezTo>
                <a:lnTo>
                  <a:pt x="1837179" y="3080998"/>
                </a:lnTo>
                <a:lnTo>
                  <a:pt x="1837179" y="3106451"/>
                </a:lnTo>
                <a:cubicBezTo>
                  <a:pt x="1849918" y="3093723"/>
                  <a:pt x="1862658" y="3080994"/>
                  <a:pt x="1862658" y="3080994"/>
                </a:cubicBezTo>
                <a:cubicBezTo>
                  <a:pt x="1875401" y="3068266"/>
                  <a:pt x="1888141" y="3042806"/>
                  <a:pt x="1913624" y="3055535"/>
                </a:cubicBezTo>
                <a:cubicBezTo>
                  <a:pt x="1926363" y="3068266"/>
                  <a:pt x="1926363" y="3080994"/>
                  <a:pt x="1926363" y="3093723"/>
                </a:cubicBezTo>
                <a:lnTo>
                  <a:pt x="1926363" y="3093727"/>
                </a:lnTo>
                <a:lnTo>
                  <a:pt x="1925974" y="3102297"/>
                </a:lnTo>
                <a:lnTo>
                  <a:pt x="2009812" y="3090595"/>
                </a:lnTo>
                <a:lnTo>
                  <a:pt x="2020728" y="3065877"/>
                </a:lnTo>
                <a:cubicBezTo>
                  <a:pt x="2045813" y="3032463"/>
                  <a:pt x="2088813" y="3020530"/>
                  <a:pt x="2117482" y="3030078"/>
                </a:cubicBezTo>
                <a:cubicBezTo>
                  <a:pt x="2155704" y="3055535"/>
                  <a:pt x="2181183" y="3030078"/>
                  <a:pt x="2206666" y="3042806"/>
                </a:cubicBezTo>
                <a:lnTo>
                  <a:pt x="2206666" y="3042810"/>
                </a:lnTo>
                <a:lnTo>
                  <a:pt x="2219406" y="3042810"/>
                </a:lnTo>
                <a:lnTo>
                  <a:pt x="2219410" y="3042806"/>
                </a:lnTo>
                <a:cubicBezTo>
                  <a:pt x="2244889" y="3004618"/>
                  <a:pt x="2283112" y="3030078"/>
                  <a:pt x="2308595" y="3030078"/>
                </a:cubicBezTo>
                <a:cubicBezTo>
                  <a:pt x="2375486" y="3020530"/>
                  <a:pt x="2435209" y="3010983"/>
                  <a:pt x="2498515" y="3017547"/>
                </a:cubicBezTo>
                <a:lnTo>
                  <a:pt x="2554287" y="3028316"/>
                </a:lnTo>
                <a:lnTo>
                  <a:pt x="2572475" y="3025551"/>
                </a:lnTo>
                <a:lnTo>
                  <a:pt x="2588897" y="3017347"/>
                </a:lnTo>
                <a:lnTo>
                  <a:pt x="2576157" y="2966435"/>
                </a:lnTo>
                <a:lnTo>
                  <a:pt x="2576157" y="2966431"/>
                </a:lnTo>
                <a:cubicBezTo>
                  <a:pt x="2595267" y="2960065"/>
                  <a:pt x="2611194" y="2953702"/>
                  <a:pt x="2619157" y="2956882"/>
                </a:cubicBezTo>
                <a:lnTo>
                  <a:pt x="2619157" y="2956886"/>
                </a:lnTo>
                <a:lnTo>
                  <a:pt x="2614380" y="3004618"/>
                </a:lnTo>
                <a:lnTo>
                  <a:pt x="2617209" y="3018751"/>
                </a:lnTo>
                <a:lnTo>
                  <a:pt x="2652429" y="3013396"/>
                </a:lnTo>
                <a:lnTo>
                  <a:pt x="2674748" y="3011426"/>
                </a:lnTo>
                <a:lnTo>
                  <a:pt x="2663749" y="2991894"/>
                </a:lnTo>
                <a:cubicBezTo>
                  <a:pt x="2655785" y="2985529"/>
                  <a:pt x="2646234" y="2979163"/>
                  <a:pt x="2639859" y="2966435"/>
                </a:cubicBezTo>
                <a:lnTo>
                  <a:pt x="2639864" y="2966435"/>
                </a:lnTo>
                <a:lnTo>
                  <a:pt x="2639859" y="2966431"/>
                </a:lnTo>
                <a:cubicBezTo>
                  <a:pt x="2652603" y="2953702"/>
                  <a:pt x="2665342" y="2953702"/>
                  <a:pt x="2690826" y="2953702"/>
                </a:cubicBezTo>
                <a:cubicBezTo>
                  <a:pt x="2776827" y="2982344"/>
                  <a:pt x="2869996" y="2975182"/>
                  <a:pt x="2964955" y="2975181"/>
                </a:cubicBezTo>
                <a:lnTo>
                  <a:pt x="2970772" y="2975424"/>
                </a:lnTo>
                <a:lnTo>
                  <a:pt x="2971655" y="2974189"/>
                </a:lnTo>
                <a:cubicBezTo>
                  <a:pt x="2981211" y="2967824"/>
                  <a:pt x="2993951" y="2964641"/>
                  <a:pt x="3006692" y="2971005"/>
                </a:cubicBezTo>
                <a:lnTo>
                  <a:pt x="3016013" y="2977311"/>
                </a:lnTo>
                <a:lnTo>
                  <a:pt x="3060313" y="2979159"/>
                </a:lnTo>
                <a:cubicBezTo>
                  <a:pt x="3085796" y="2985525"/>
                  <a:pt x="3088983" y="2972796"/>
                  <a:pt x="3088983" y="2956886"/>
                </a:cubicBezTo>
                <a:lnTo>
                  <a:pt x="3098540" y="2915514"/>
                </a:lnTo>
                <a:lnTo>
                  <a:pt x="3098181" y="2914886"/>
                </a:lnTo>
                <a:lnTo>
                  <a:pt x="3050389" y="2916023"/>
                </a:lnTo>
                <a:lnTo>
                  <a:pt x="3041003" y="2926058"/>
                </a:lnTo>
                <a:cubicBezTo>
                  <a:pt x="3039610" y="2932224"/>
                  <a:pt x="3041202" y="2940976"/>
                  <a:pt x="3047573" y="2953706"/>
                </a:cubicBezTo>
                <a:cubicBezTo>
                  <a:pt x="3009352" y="2944158"/>
                  <a:pt x="2978296" y="2941771"/>
                  <a:pt x="2954407" y="2919694"/>
                </a:cubicBezTo>
                <a:lnTo>
                  <a:pt x="2953417" y="2918329"/>
                </a:lnTo>
                <a:lnTo>
                  <a:pt x="2879281" y="2920093"/>
                </a:lnTo>
                <a:lnTo>
                  <a:pt x="2786956" y="2923936"/>
                </a:lnTo>
                <a:lnTo>
                  <a:pt x="2767271" y="2940975"/>
                </a:lnTo>
                <a:cubicBezTo>
                  <a:pt x="2757715" y="2937792"/>
                  <a:pt x="2751346" y="2932223"/>
                  <a:pt x="2746368" y="2925660"/>
                </a:cubicBezTo>
                <a:lnTo>
                  <a:pt x="2746348" y="2925626"/>
                </a:lnTo>
                <a:lnTo>
                  <a:pt x="2726390" y="2926457"/>
                </a:lnTo>
                <a:lnTo>
                  <a:pt x="2703020" y="2927430"/>
                </a:lnTo>
                <a:lnTo>
                  <a:pt x="2703020" y="2927838"/>
                </a:lnTo>
                <a:lnTo>
                  <a:pt x="2703020" y="2927842"/>
                </a:lnTo>
                <a:lnTo>
                  <a:pt x="2701610" y="2927488"/>
                </a:lnTo>
                <a:lnTo>
                  <a:pt x="2573499" y="2932821"/>
                </a:lnTo>
                <a:cubicBezTo>
                  <a:pt x="2407865" y="2932821"/>
                  <a:pt x="2242230" y="2945553"/>
                  <a:pt x="2076595" y="2971009"/>
                </a:cubicBezTo>
                <a:cubicBezTo>
                  <a:pt x="2028820" y="2980558"/>
                  <a:pt x="1995376" y="2968624"/>
                  <a:pt x="1976263" y="2935210"/>
                </a:cubicBezTo>
                <a:lnTo>
                  <a:pt x="1970857" y="2919908"/>
                </a:lnTo>
                <a:lnTo>
                  <a:pt x="1881599" y="2933843"/>
                </a:lnTo>
                <a:cubicBezTo>
                  <a:pt x="1843376" y="2933843"/>
                  <a:pt x="1805154" y="2959302"/>
                  <a:pt x="1754187" y="2959302"/>
                </a:cubicBezTo>
                <a:cubicBezTo>
                  <a:pt x="1728705" y="2952937"/>
                  <a:pt x="1706409" y="2946572"/>
                  <a:pt x="1688891" y="2933842"/>
                </a:cubicBezTo>
                <a:lnTo>
                  <a:pt x="1671129" y="2914370"/>
                </a:lnTo>
                <a:lnTo>
                  <a:pt x="1633322" y="2915514"/>
                </a:lnTo>
                <a:cubicBezTo>
                  <a:pt x="1582356" y="2915514"/>
                  <a:pt x="1518654" y="2928247"/>
                  <a:pt x="1480428" y="2928247"/>
                </a:cubicBezTo>
                <a:cubicBezTo>
                  <a:pt x="1314797" y="2966435"/>
                  <a:pt x="1149162" y="2940975"/>
                  <a:pt x="996271" y="2966435"/>
                </a:cubicBezTo>
                <a:cubicBezTo>
                  <a:pt x="868860" y="2979163"/>
                  <a:pt x="741448" y="2979163"/>
                  <a:pt x="614040" y="3004623"/>
                </a:cubicBezTo>
                <a:cubicBezTo>
                  <a:pt x="575818" y="3004623"/>
                  <a:pt x="537595" y="3030082"/>
                  <a:pt x="486629" y="3030082"/>
                </a:cubicBezTo>
                <a:cubicBezTo>
                  <a:pt x="435666" y="3017351"/>
                  <a:pt x="397444" y="3004623"/>
                  <a:pt x="384701" y="2940975"/>
                </a:cubicBezTo>
                <a:lnTo>
                  <a:pt x="384701" y="2940971"/>
                </a:lnTo>
                <a:lnTo>
                  <a:pt x="384701" y="2775495"/>
                </a:lnTo>
                <a:lnTo>
                  <a:pt x="384701" y="2775491"/>
                </a:lnTo>
                <a:cubicBezTo>
                  <a:pt x="384701" y="2724575"/>
                  <a:pt x="397444" y="2686387"/>
                  <a:pt x="461146" y="2699115"/>
                </a:cubicBezTo>
                <a:cubicBezTo>
                  <a:pt x="486629" y="2699115"/>
                  <a:pt x="499369" y="2699115"/>
                  <a:pt x="512112" y="2699115"/>
                </a:cubicBezTo>
                <a:cubicBezTo>
                  <a:pt x="531221" y="2692749"/>
                  <a:pt x="543965" y="2689565"/>
                  <a:pt x="551928" y="2683204"/>
                </a:cubicBezTo>
                <a:lnTo>
                  <a:pt x="563074" y="2648199"/>
                </a:lnTo>
                <a:lnTo>
                  <a:pt x="512112" y="2482723"/>
                </a:lnTo>
                <a:cubicBezTo>
                  <a:pt x="486629" y="2438169"/>
                  <a:pt x="483446" y="2390436"/>
                  <a:pt x="486629" y="2342699"/>
                </a:cubicBezTo>
                <a:lnTo>
                  <a:pt x="486629" y="2342695"/>
                </a:lnTo>
                <a:cubicBezTo>
                  <a:pt x="489816" y="2294962"/>
                  <a:pt x="499369" y="2247225"/>
                  <a:pt x="499369" y="2202675"/>
                </a:cubicBezTo>
                <a:cubicBezTo>
                  <a:pt x="499369" y="2177215"/>
                  <a:pt x="524852" y="2177215"/>
                  <a:pt x="550335" y="2177215"/>
                </a:cubicBezTo>
                <a:cubicBezTo>
                  <a:pt x="754191" y="2151755"/>
                  <a:pt x="958049" y="2151755"/>
                  <a:pt x="1161902" y="2126299"/>
                </a:cubicBezTo>
                <a:cubicBezTo>
                  <a:pt x="1324352" y="2097658"/>
                  <a:pt x="1493967" y="2083336"/>
                  <a:pt x="1659997" y="2061855"/>
                </a:cubicBezTo>
                <a:lnTo>
                  <a:pt x="1691668" y="2057104"/>
                </a:lnTo>
                <a:lnTo>
                  <a:pt x="1659396" y="2047737"/>
                </a:lnTo>
                <a:cubicBezTo>
                  <a:pt x="1626548" y="2035802"/>
                  <a:pt x="1602659" y="2016708"/>
                  <a:pt x="1593101" y="1968973"/>
                </a:cubicBezTo>
                <a:lnTo>
                  <a:pt x="1593101" y="1968969"/>
                </a:lnTo>
                <a:lnTo>
                  <a:pt x="1593101" y="1964812"/>
                </a:lnTo>
                <a:lnTo>
                  <a:pt x="1448576" y="1970367"/>
                </a:lnTo>
                <a:cubicBezTo>
                  <a:pt x="1365759" y="1976732"/>
                  <a:pt x="1282941" y="1986280"/>
                  <a:pt x="1200125" y="1999007"/>
                </a:cubicBezTo>
                <a:cubicBezTo>
                  <a:pt x="1136423" y="2011739"/>
                  <a:pt x="1098199" y="1986280"/>
                  <a:pt x="1085456" y="1922635"/>
                </a:cubicBezTo>
                <a:cubicBezTo>
                  <a:pt x="1085456" y="1909903"/>
                  <a:pt x="1072717" y="1897175"/>
                  <a:pt x="1072717" y="1884447"/>
                </a:cubicBezTo>
                <a:cubicBezTo>
                  <a:pt x="1069530" y="1855805"/>
                  <a:pt x="1065548" y="1832733"/>
                  <a:pt x="1063557" y="1813840"/>
                </a:cubicBezTo>
                <a:lnTo>
                  <a:pt x="1063557" y="1813836"/>
                </a:lnTo>
                <a:cubicBezTo>
                  <a:pt x="1057585" y="1757148"/>
                  <a:pt x="1069530" y="1738054"/>
                  <a:pt x="1174646" y="1718960"/>
                </a:cubicBezTo>
                <a:cubicBezTo>
                  <a:pt x="1263830" y="1706232"/>
                  <a:pt x="1353020" y="1693503"/>
                  <a:pt x="1454948" y="1693503"/>
                </a:cubicBezTo>
                <a:cubicBezTo>
                  <a:pt x="1531393" y="1693503"/>
                  <a:pt x="1595099" y="1668044"/>
                  <a:pt x="1671544" y="1655315"/>
                </a:cubicBezTo>
                <a:lnTo>
                  <a:pt x="1762629" y="1647471"/>
                </a:lnTo>
                <a:lnTo>
                  <a:pt x="1720513" y="1510721"/>
                </a:lnTo>
                <a:cubicBezTo>
                  <a:pt x="1695029" y="1466167"/>
                  <a:pt x="1691848" y="1418434"/>
                  <a:pt x="1695029" y="1370697"/>
                </a:cubicBezTo>
                <a:lnTo>
                  <a:pt x="1695029" y="1370693"/>
                </a:lnTo>
                <a:cubicBezTo>
                  <a:pt x="1698216" y="1322961"/>
                  <a:pt x="1707769" y="1275223"/>
                  <a:pt x="1707769" y="1230673"/>
                </a:cubicBezTo>
                <a:cubicBezTo>
                  <a:pt x="1707769" y="1205213"/>
                  <a:pt x="1733253" y="1205213"/>
                  <a:pt x="1758735" y="1205213"/>
                </a:cubicBezTo>
                <a:cubicBezTo>
                  <a:pt x="1962593" y="1179753"/>
                  <a:pt x="2166449" y="1179753"/>
                  <a:pt x="2370303" y="1154298"/>
                </a:cubicBezTo>
                <a:cubicBezTo>
                  <a:pt x="2586903" y="1116110"/>
                  <a:pt x="2816240" y="1103377"/>
                  <a:pt x="3032835" y="1065190"/>
                </a:cubicBezTo>
                <a:cubicBezTo>
                  <a:pt x="3083803" y="1052461"/>
                  <a:pt x="3134765" y="1065190"/>
                  <a:pt x="3185732" y="1039734"/>
                </a:cubicBezTo>
                <a:cubicBezTo>
                  <a:pt x="3223954" y="1027002"/>
                  <a:pt x="3236693" y="1077922"/>
                  <a:pt x="3274916" y="1077922"/>
                </a:cubicBezTo>
                <a:lnTo>
                  <a:pt x="3290842" y="1069966"/>
                </a:lnTo>
                <a:lnTo>
                  <a:pt x="3287660" y="1052465"/>
                </a:lnTo>
                <a:lnTo>
                  <a:pt x="3287660" y="1052461"/>
                </a:lnTo>
                <a:cubicBezTo>
                  <a:pt x="3287660" y="1039734"/>
                  <a:pt x="3313138" y="1014273"/>
                  <a:pt x="3338622" y="1027002"/>
                </a:cubicBezTo>
                <a:cubicBezTo>
                  <a:pt x="3364105" y="1052461"/>
                  <a:pt x="3389583" y="1039734"/>
                  <a:pt x="3415067" y="1052461"/>
                </a:cubicBezTo>
                <a:cubicBezTo>
                  <a:pt x="3427811" y="1052461"/>
                  <a:pt x="3453289" y="1052461"/>
                  <a:pt x="3466034" y="1039734"/>
                </a:cubicBezTo>
                <a:cubicBezTo>
                  <a:pt x="3516995" y="1001546"/>
                  <a:pt x="3567959" y="1001546"/>
                  <a:pt x="3631665" y="1001546"/>
                </a:cubicBezTo>
                <a:lnTo>
                  <a:pt x="3746325" y="963361"/>
                </a:lnTo>
                <a:lnTo>
                  <a:pt x="3211210" y="976089"/>
                </a:lnTo>
                <a:cubicBezTo>
                  <a:pt x="3109282" y="976089"/>
                  <a:pt x="3007356" y="988818"/>
                  <a:pt x="2905429" y="988818"/>
                </a:cubicBezTo>
                <a:cubicBezTo>
                  <a:pt x="2739795" y="988818"/>
                  <a:pt x="2574159" y="1001549"/>
                  <a:pt x="2408526" y="1027006"/>
                </a:cubicBezTo>
                <a:cubicBezTo>
                  <a:pt x="2344824" y="1039737"/>
                  <a:pt x="2306601" y="1014277"/>
                  <a:pt x="2293858" y="950634"/>
                </a:cubicBezTo>
                <a:cubicBezTo>
                  <a:pt x="2293858" y="937901"/>
                  <a:pt x="2281117" y="925173"/>
                  <a:pt x="2281117" y="912445"/>
                </a:cubicBezTo>
                <a:cubicBezTo>
                  <a:pt x="2277931" y="883802"/>
                  <a:pt x="2273949" y="860731"/>
                  <a:pt x="2271959" y="841837"/>
                </a:cubicBezTo>
                <a:lnTo>
                  <a:pt x="2271959" y="841833"/>
                </a:lnTo>
                <a:cubicBezTo>
                  <a:pt x="2265987" y="785146"/>
                  <a:pt x="2277931" y="766052"/>
                  <a:pt x="2383046" y="746958"/>
                </a:cubicBezTo>
                <a:cubicBezTo>
                  <a:pt x="2472232" y="734229"/>
                  <a:pt x="2561421" y="721502"/>
                  <a:pt x="2663349" y="721502"/>
                </a:cubicBezTo>
                <a:cubicBezTo>
                  <a:pt x="2739795" y="721502"/>
                  <a:pt x="2803501" y="696041"/>
                  <a:pt x="2879946" y="683313"/>
                </a:cubicBezTo>
                <a:cubicBezTo>
                  <a:pt x="3007356" y="670586"/>
                  <a:pt x="3122025" y="657853"/>
                  <a:pt x="3249432" y="670586"/>
                </a:cubicBezTo>
                <a:cubicBezTo>
                  <a:pt x="3313138" y="670586"/>
                  <a:pt x="3389583" y="657853"/>
                  <a:pt x="3466034" y="657853"/>
                </a:cubicBezTo>
                <a:cubicBezTo>
                  <a:pt x="3516995" y="657853"/>
                  <a:pt x="3567959" y="657853"/>
                  <a:pt x="3618924" y="670586"/>
                </a:cubicBezTo>
                <a:cubicBezTo>
                  <a:pt x="3657147" y="670586"/>
                  <a:pt x="3682630" y="670586"/>
                  <a:pt x="3720852" y="657853"/>
                </a:cubicBezTo>
                <a:cubicBezTo>
                  <a:pt x="3746336" y="645125"/>
                  <a:pt x="3797298" y="670586"/>
                  <a:pt x="3835520" y="670586"/>
                </a:cubicBezTo>
                <a:cubicBezTo>
                  <a:pt x="3886487" y="683313"/>
                  <a:pt x="3937449" y="708770"/>
                  <a:pt x="3988412" y="670586"/>
                </a:cubicBezTo>
                <a:cubicBezTo>
                  <a:pt x="4001156" y="657853"/>
                  <a:pt x="4052116" y="657853"/>
                  <a:pt x="4090338" y="657853"/>
                </a:cubicBezTo>
                <a:cubicBezTo>
                  <a:pt x="4230490" y="657853"/>
                  <a:pt x="4383384" y="657853"/>
                  <a:pt x="4523535" y="657853"/>
                </a:cubicBezTo>
                <a:cubicBezTo>
                  <a:pt x="4701909" y="670586"/>
                  <a:pt x="4880283" y="696041"/>
                  <a:pt x="5045917" y="708770"/>
                </a:cubicBezTo>
                <a:cubicBezTo>
                  <a:pt x="5084140" y="708770"/>
                  <a:pt x="5119179" y="711953"/>
                  <a:pt x="5154216" y="716727"/>
                </a:cubicBezTo>
                <a:lnTo>
                  <a:pt x="5210982" y="725901"/>
                </a:lnTo>
                <a:lnTo>
                  <a:pt x="5194772" y="708087"/>
                </a:lnTo>
                <a:cubicBezTo>
                  <a:pt x="5188401" y="696949"/>
                  <a:pt x="5183623" y="683424"/>
                  <a:pt x="5180437" y="667514"/>
                </a:cubicBezTo>
                <a:cubicBezTo>
                  <a:pt x="5180437" y="654781"/>
                  <a:pt x="5167697" y="642053"/>
                  <a:pt x="5167697" y="629325"/>
                </a:cubicBezTo>
                <a:cubicBezTo>
                  <a:pt x="5164510" y="600682"/>
                  <a:pt x="5160528" y="577611"/>
                  <a:pt x="5158538" y="558718"/>
                </a:cubicBezTo>
                <a:lnTo>
                  <a:pt x="5158538" y="558714"/>
                </a:lnTo>
                <a:cubicBezTo>
                  <a:pt x="5152565" y="502025"/>
                  <a:pt x="5164510" y="482931"/>
                  <a:pt x="5269626" y="463837"/>
                </a:cubicBezTo>
                <a:cubicBezTo>
                  <a:pt x="5358810" y="451109"/>
                  <a:pt x="5448000" y="438381"/>
                  <a:pt x="5549928" y="438381"/>
                </a:cubicBezTo>
                <a:cubicBezTo>
                  <a:pt x="5626373" y="438381"/>
                  <a:pt x="5690079" y="412921"/>
                  <a:pt x="5766524" y="400193"/>
                </a:cubicBezTo>
                <a:cubicBezTo>
                  <a:pt x="5893936" y="387466"/>
                  <a:pt x="6008604" y="374733"/>
                  <a:pt x="6136012" y="387466"/>
                </a:cubicBezTo>
                <a:cubicBezTo>
                  <a:pt x="6199717" y="387466"/>
                  <a:pt x="6276163" y="374733"/>
                  <a:pt x="6352612" y="374733"/>
                </a:cubicBezTo>
                <a:cubicBezTo>
                  <a:pt x="6403574" y="374733"/>
                  <a:pt x="6454537" y="374733"/>
                  <a:pt x="6505503" y="387466"/>
                </a:cubicBezTo>
                <a:cubicBezTo>
                  <a:pt x="6543725" y="387466"/>
                  <a:pt x="6569209" y="387466"/>
                  <a:pt x="6607431" y="374733"/>
                </a:cubicBezTo>
                <a:cubicBezTo>
                  <a:pt x="6613802" y="371551"/>
                  <a:pt x="6621765" y="370756"/>
                  <a:pt x="6630724" y="371352"/>
                </a:cubicBezTo>
                <a:cubicBezTo>
                  <a:pt x="6657600" y="373144"/>
                  <a:pt x="6693432" y="387466"/>
                  <a:pt x="6722100" y="387466"/>
                </a:cubicBezTo>
                <a:cubicBezTo>
                  <a:pt x="6773066" y="400193"/>
                  <a:pt x="6824029" y="425650"/>
                  <a:pt x="6874990" y="387466"/>
                </a:cubicBezTo>
                <a:cubicBezTo>
                  <a:pt x="6887733" y="374733"/>
                  <a:pt x="6938696" y="374733"/>
                  <a:pt x="6976919" y="374733"/>
                </a:cubicBezTo>
                <a:cubicBezTo>
                  <a:pt x="7117070" y="374733"/>
                  <a:pt x="7269964" y="374733"/>
                  <a:pt x="7410115" y="374733"/>
                </a:cubicBezTo>
                <a:cubicBezTo>
                  <a:pt x="7588490" y="387466"/>
                  <a:pt x="7766864" y="412921"/>
                  <a:pt x="7932498" y="425650"/>
                </a:cubicBezTo>
                <a:cubicBezTo>
                  <a:pt x="7970721" y="425650"/>
                  <a:pt x="8005759" y="428832"/>
                  <a:pt x="8040796" y="433607"/>
                </a:cubicBezTo>
                <a:lnTo>
                  <a:pt x="8087504" y="441155"/>
                </a:lnTo>
                <a:lnTo>
                  <a:pt x="8134398" y="435564"/>
                </a:lnTo>
                <a:cubicBezTo>
                  <a:pt x="8189742" y="428403"/>
                  <a:pt x="8244687" y="420447"/>
                  <a:pt x="8298836" y="410901"/>
                </a:cubicBezTo>
                <a:cubicBezTo>
                  <a:pt x="8349802" y="398172"/>
                  <a:pt x="8400764" y="410901"/>
                  <a:pt x="8451731" y="385444"/>
                </a:cubicBezTo>
                <a:cubicBezTo>
                  <a:pt x="8489954" y="372713"/>
                  <a:pt x="8502693" y="423632"/>
                  <a:pt x="8540915" y="423632"/>
                </a:cubicBezTo>
                <a:lnTo>
                  <a:pt x="8556842" y="415677"/>
                </a:lnTo>
                <a:lnTo>
                  <a:pt x="8553659" y="398176"/>
                </a:lnTo>
                <a:lnTo>
                  <a:pt x="8553659" y="398172"/>
                </a:lnTo>
                <a:cubicBezTo>
                  <a:pt x="8553659" y="385444"/>
                  <a:pt x="8579138" y="359985"/>
                  <a:pt x="8604621" y="372713"/>
                </a:cubicBezTo>
                <a:cubicBezTo>
                  <a:pt x="8630105" y="398172"/>
                  <a:pt x="8655584" y="385444"/>
                  <a:pt x="8681066" y="398172"/>
                </a:cubicBezTo>
                <a:cubicBezTo>
                  <a:pt x="8693810" y="398172"/>
                  <a:pt x="8719289" y="398172"/>
                  <a:pt x="8732033" y="385444"/>
                </a:cubicBezTo>
                <a:cubicBezTo>
                  <a:pt x="8782995" y="347256"/>
                  <a:pt x="8833958" y="347256"/>
                  <a:pt x="8897664" y="347256"/>
                </a:cubicBezTo>
                <a:lnTo>
                  <a:pt x="9012324" y="309072"/>
                </a:lnTo>
                <a:lnTo>
                  <a:pt x="8477209" y="321801"/>
                </a:lnTo>
                <a:cubicBezTo>
                  <a:pt x="8375282" y="321801"/>
                  <a:pt x="8273356" y="334528"/>
                  <a:pt x="8171429" y="334528"/>
                </a:cubicBezTo>
                <a:cubicBezTo>
                  <a:pt x="8005794" y="334528"/>
                  <a:pt x="7840160" y="347260"/>
                  <a:pt x="7674526" y="372716"/>
                </a:cubicBezTo>
                <a:cubicBezTo>
                  <a:pt x="7610824" y="385448"/>
                  <a:pt x="7572602" y="359989"/>
                  <a:pt x="7559858" y="296344"/>
                </a:cubicBezTo>
                <a:cubicBezTo>
                  <a:pt x="7559858" y="283613"/>
                  <a:pt x="7547118" y="270884"/>
                  <a:pt x="7547118" y="258156"/>
                </a:cubicBezTo>
                <a:cubicBezTo>
                  <a:pt x="7543931" y="229514"/>
                  <a:pt x="7539949" y="206441"/>
                  <a:pt x="7537959" y="187548"/>
                </a:cubicBezTo>
                <a:lnTo>
                  <a:pt x="7537959" y="187544"/>
                </a:lnTo>
                <a:cubicBezTo>
                  <a:pt x="7531986" y="130857"/>
                  <a:pt x="7543931" y="111763"/>
                  <a:pt x="7649047" y="92669"/>
                </a:cubicBezTo>
                <a:cubicBezTo>
                  <a:pt x="7738231" y="79941"/>
                  <a:pt x="7827421" y="67212"/>
                  <a:pt x="7929349" y="67212"/>
                </a:cubicBezTo>
                <a:cubicBezTo>
                  <a:pt x="8005794" y="67212"/>
                  <a:pt x="8069500" y="41753"/>
                  <a:pt x="8145945" y="29024"/>
                </a:cubicBezTo>
                <a:cubicBezTo>
                  <a:pt x="8273356" y="16296"/>
                  <a:pt x="8388025" y="3565"/>
                  <a:pt x="8515433" y="16296"/>
                </a:cubicBezTo>
                <a:cubicBezTo>
                  <a:pt x="8579138" y="16296"/>
                  <a:pt x="8655584" y="3565"/>
                  <a:pt x="8732033" y="3565"/>
                </a:cubicBezTo>
                <a:cubicBezTo>
                  <a:pt x="8782995" y="3565"/>
                  <a:pt x="8833958" y="3565"/>
                  <a:pt x="8884924" y="16296"/>
                </a:cubicBezTo>
                <a:cubicBezTo>
                  <a:pt x="8923146" y="16296"/>
                  <a:pt x="8948629" y="16296"/>
                  <a:pt x="8986852" y="3565"/>
                </a:cubicBezTo>
                <a:cubicBezTo>
                  <a:pt x="8993223" y="383"/>
                  <a:pt x="9001186" y="-413"/>
                  <a:pt x="9010145" y="184"/>
                </a:cubicBez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24435019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9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9BF45C02-0F30-457F-B588-DAFDAFDC0F1E}"/>
              </a:ext>
            </a:extLst>
          </p:cNvPr>
          <p:cNvSpPr>
            <a:spLocks noGrp="1"/>
          </p:cNvSpPr>
          <p:nvPr>
            <p:ph type="pic" sz="quarter" idx="20"/>
          </p:nvPr>
        </p:nvSpPr>
        <p:spPr>
          <a:xfrm>
            <a:off x="-1370018" y="-34640"/>
            <a:ext cx="17737372" cy="4441553"/>
          </a:xfrm>
          <a:custGeom>
            <a:avLst/>
            <a:gdLst>
              <a:gd name="connsiteX0" fmla="*/ 538509 w 13347346"/>
              <a:gd name="connsiteY0" fmla="*/ 459 h 3384040"/>
              <a:gd name="connsiteX1" fmla="*/ 682540 w 13347346"/>
              <a:gd name="connsiteY1" fmla="*/ 10664 h 3384040"/>
              <a:gd name="connsiteX2" fmla="*/ 1049497 w 13347346"/>
              <a:gd name="connsiteY2" fmla="*/ 18828 h 3384040"/>
              <a:gd name="connsiteX3" fmla="*/ 12381127 w 13347346"/>
              <a:gd name="connsiteY3" fmla="*/ 10664 h 3384040"/>
              <a:gd name="connsiteX4" fmla="*/ 12894866 w 13347346"/>
              <a:gd name="connsiteY4" fmla="*/ 35157 h 3384040"/>
              <a:gd name="connsiteX5" fmla="*/ 13342554 w 13347346"/>
              <a:gd name="connsiteY5" fmla="*/ 2500 h 3384040"/>
              <a:gd name="connsiteX6" fmla="*/ 13335215 w 13347346"/>
              <a:gd name="connsiteY6" fmla="*/ 263757 h 3384040"/>
              <a:gd name="connsiteX7" fmla="*/ 13188432 w 13347346"/>
              <a:gd name="connsiteY7" fmla="*/ 500521 h 3384040"/>
              <a:gd name="connsiteX8" fmla="*/ 13078345 w 13347346"/>
              <a:gd name="connsiteY8" fmla="*/ 516850 h 3384040"/>
              <a:gd name="connsiteX9" fmla="*/ 13048988 w 13347346"/>
              <a:gd name="connsiteY9" fmla="*/ 590329 h 3384040"/>
              <a:gd name="connsiteX10" fmla="*/ 13173754 w 13347346"/>
              <a:gd name="connsiteY10" fmla="*/ 565836 h 3384040"/>
              <a:gd name="connsiteX11" fmla="*/ 12938901 w 13347346"/>
              <a:gd name="connsiteY11" fmla="*/ 957721 h 3384040"/>
              <a:gd name="connsiteX12" fmla="*/ 12902205 w 13347346"/>
              <a:gd name="connsiteY12" fmla="*/ 941393 h 3384040"/>
              <a:gd name="connsiteX13" fmla="*/ 12946240 w 13347346"/>
              <a:gd name="connsiteY13" fmla="*/ 753614 h 3384040"/>
              <a:gd name="connsiteX14" fmla="*/ 12924223 w 13347346"/>
              <a:gd name="connsiteY14" fmla="*/ 745450 h 3384040"/>
              <a:gd name="connsiteX15" fmla="*/ 12770101 w 13347346"/>
              <a:gd name="connsiteY15" fmla="*/ 990379 h 3384040"/>
              <a:gd name="connsiteX16" fmla="*/ 12872849 w 13347346"/>
              <a:gd name="connsiteY16" fmla="*/ 1006707 h 3384040"/>
              <a:gd name="connsiteX17" fmla="*/ 12726066 w 13347346"/>
              <a:gd name="connsiteY17" fmla="*/ 1210814 h 3384040"/>
              <a:gd name="connsiteX18" fmla="*/ 12704049 w 13347346"/>
              <a:gd name="connsiteY18" fmla="*/ 1194486 h 3384040"/>
              <a:gd name="connsiteX19" fmla="*/ 12755423 w 13347346"/>
              <a:gd name="connsiteY19" fmla="*/ 1072021 h 3384040"/>
              <a:gd name="connsiteX20" fmla="*/ 12748084 w 13347346"/>
              <a:gd name="connsiteY20" fmla="*/ 1072021 h 3384040"/>
              <a:gd name="connsiteX21" fmla="*/ 11808674 w 13347346"/>
              <a:gd name="connsiteY21" fmla="*/ 2149707 h 3384040"/>
              <a:gd name="connsiteX22" fmla="*/ 11779317 w 13347346"/>
              <a:gd name="connsiteY22" fmla="*/ 2117050 h 3384040"/>
              <a:gd name="connsiteX23" fmla="*/ 11948117 w 13347346"/>
              <a:gd name="connsiteY23" fmla="*/ 1888450 h 3384040"/>
              <a:gd name="connsiteX24" fmla="*/ 11911422 w 13347346"/>
              <a:gd name="connsiteY24" fmla="*/ 1847628 h 3384040"/>
              <a:gd name="connsiteX25" fmla="*/ 11816013 w 13347346"/>
              <a:gd name="connsiteY25" fmla="*/ 1986421 h 3384040"/>
              <a:gd name="connsiteX26" fmla="*/ 11287595 w 13347346"/>
              <a:gd name="connsiteY26" fmla="*/ 2508936 h 3384040"/>
              <a:gd name="connsiteX27" fmla="*/ 10788534 w 13347346"/>
              <a:gd name="connsiteY27" fmla="*/ 2933479 h 3384040"/>
              <a:gd name="connsiteX28" fmla="*/ 10729820 w 13347346"/>
              <a:gd name="connsiteY28" fmla="*/ 2974300 h 3384040"/>
              <a:gd name="connsiteX29" fmla="*/ 10355524 w 13347346"/>
              <a:gd name="connsiteY29" fmla="*/ 3162079 h 3384040"/>
              <a:gd name="connsiteX30" fmla="*/ 9929854 w 13347346"/>
              <a:gd name="connsiteY30" fmla="*/ 3333529 h 3384040"/>
              <a:gd name="connsiteX31" fmla="*/ 9783072 w 13347346"/>
              <a:gd name="connsiteY31" fmla="*/ 3300871 h 3384040"/>
              <a:gd name="connsiteX32" fmla="*/ 9849124 w 13347346"/>
              <a:gd name="connsiteY32" fmla="*/ 3243721 h 3384040"/>
              <a:gd name="connsiteX33" fmla="*/ 9328045 w 13347346"/>
              <a:gd name="connsiteY33" fmla="*/ 3096764 h 3384040"/>
              <a:gd name="connsiteX34" fmla="*/ 9467489 w 13347346"/>
              <a:gd name="connsiteY34" fmla="*/ 2990629 h 3384040"/>
              <a:gd name="connsiteX35" fmla="*/ 9460149 w 13347346"/>
              <a:gd name="connsiteY35" fmla="*/ 2966136 h 3384040"/>
              <a:gd name="connsiteX36" fmla="*/ 9269332 w 13347346"/>
              <a:gd name="connsiteY36" fmla="*/ 3055943 h 3384040"/>
              <a:gd name="connsiteX37" fmla="*/ 9269332 w 13347346"/>
              <a:gd name="connsiteY37" fmla="*/ 3047779 h 3384040"/>
              <a:gd name="connsiteX38" fmla="*/ 9695002 w 13347346"/>
              <a:gd name="connsiteY38" fmla="*/ 2655893 h 3384040"/>
              <a:gd name="connsiteX39" fmla="*/ 9672984 w 13347346"/>
              <a:gd name="connsiteY39" fmla="*/ 2631400 h 3384040"/>
              <a:gd name="connsiteX40" fmla="*/ 8821644 w 13347346"/>
              <a:gd name="connsiteY40" fmla="*/ 3088600 h 3384040"/>
              <a:gd name="connsiteX41" fmla="*/ 8858340 w 13347346"/>
              <a:gd name="connsiteY41" fmla="*/ 2998793 h 3384040"/>
              <a:gd name="connsiteX42" fmla="*/ 8234514 w 13347346"/>
              <a:gd name="connsiteY42" fmla="*/ 3227393 h 3384040"/>
              <a:gd name="connsiteX43" fmla="*/ 7618026 w 13347346"/>
              <a:gd name="connsiteY43" fmla="*/ 3023286 h 3384040"/>
              <a:gd name="connsiteX44" fmla="*/ 7632704 w 13347346"/>
              <a:gd name="connsiteY44" fmla="*/ 2998793 h 3384040"/>
              <a:gd name="connsiteX45" fmla="*/ 6898790 w 13347346"/>
              <a:gd name="connsiteY45" fmla="*/ 3268214 h 3384040"/>
              <a:gd name="connsiteX46" fmla="*/ 7265747 w 13347346"/>
              <a:gd name="connsiteY46" fmla="*/ 3015121 h 3384040"/>
              <a:gd name="connsiteX47" fmla="*/ 7251069 w 13347346"/>
              <a:gd name="connsiteY47" fmla="*/ 2974300 h 3384040"/>
              <a:gd name="connsiteX48" fmla="*/ 6729990 w 13347346"/>
              <a:gd name="connsiteY48" fmla="*/ 3235557 h 3384040"/>
              <a:gd name="connsiteX49" fmla="*/ 6722652 w 13347346"/>
              <a:gd name="connsiteY49" fmla="*/ 3202900 h 3384040"/>
              <a:gd name="connsiteX50" fmla="*/ 6876773 w 13347346"/>
              <a:gd name="connsiteY50" fmla="*/ 3080436 h 3384040"/>
              <a:gd name="connsiteX51" fmla="*/ 6862095 w 13347346"/>
              <a:gd name="connsiteY51" fmla="*/ 3055943 h 3384040"/>
              <a:gd name="connsiteX52" fmla="*/ 6788704 w 13347346"/>
              <a:gd name="connsiteY52" fmla="*/ 3088600 h 3384040"/>
              <a:gd name="connsiteX53" fmla="*/ 6135521 w 13347346"/>
              <a:gd name="connsiteY53" fmla="*/ 3366186 h 3384040"/>
              <a:gd name="connsiteX54" fmla="*/ 5702511 w 13347346"/>
              <a:gd name="connsiteY54" fmla="*/ 3358021 h 3384040"/>
              <a:gd name="connsiteX55" fmla="*/ 5702511 w 13347346"/>
              <a:gd name="connsiteY55" fmla="*/ 3309036 h 3384040"/>
              <a:gd name="connsiteX56" fmla="*/ 6230929 w 13347346"/>
              <a:gd name="connsiteY56" fmla="*/ 3137586 h 3384040"/>
              <a:gd name="connsiteX57" fmla="*/ 6223590 w 13347346"/>
              <a:gd name="connsiteY57" fmla="*/ 3104929 h 3384040"/>
              <a:gd name="connsiteX58" fmla="*/ 5915346 w 13347346"/>
              <a:gd name="connsiteY58" fmla="*/ 3211064 h 3384040"/>
              <a:gd name="connsiteX59" fmla="*/ 5908007 w 13347346"/>
              <a:gd name="connsiteY59" fmla="*/ 3186571 h 3384040"/>
              <a:gd name="connsiteX60" fmla="*/ 6142860 w 13347346"/>
              <a:gd name="connsiteY60" fmla="*/ 3031450 h 3384040"/>
              <a:gd name="connsiteX61" fmla="*/ 6142860 w 13347346"/>
              <a:gd name="connsiteY61" fmla="*/ 3006957 h 3384040"/>
              <a:gd name="connsiteX62" fmla="*/ 6047450 w 13347346"/>
              <a:gd name="connsiteY62" fmla="*/ 3023286 h 3384040"/>
              <a:gd name="connsiteX63" fmla="*/ 5746546 w 13347346"/>
              <a:gd name="connsiteY63" fmla="*/ 3162079 h 3384040"/>
              <a:gd name="connsiteX64" fmla="*/ 5482337 w 13347346"/>
              <a:gd name="connsiteY64" fmla="*/ 3202900 h 3384040"/>
              <a:gd name="connsiteX65" fmla="*/ 6341016 w 13347346"/>
              <a:gd name="connsiteY65" fmla="*/ 2770193 h 3384040"/>
              <a:gd name="connsiteX66" fmla="*/ 6318999 w 13347346"/>
              <a:gd name="connsiteY66" fmla="*/ 2721207 h 3384040"/>
              <a:gd name="connsiteX67" fmla="*/ 6003416 w 13347346"/>
              <a:gd name="connsiteY67" fmla="*/ 2876329 h 3384040"/>
              <a:gd name="connsiteX68" fmla="*/ 5988737 w 13347346"/>
              <a:gd name="connsiteY68" fmla="*/ 2851836 h 3384040"/>
              <a:gd name="connsiteX69" fmla="*/ 6076807 w 13347346"/>
              <a:gd name="connsiteY69" fmla="*/ 2753864 h 3384040"/>
              <a:gd name="connsiteX70" fmla="*/ 6062129 w 13347346"/>
              <a:gd name="connsiteY70" fmla="*/ 2721207 h 3384040"/>
              <a:gd name="connsiteX71" fmla="*/ 5863972 w 13347346"/>
              <a:gd name="connsiteY71" fmla="*/ 2851836 h 3384040"/>
              <a:gd name="connsiteX72" fmla="*/ 5665815 w 13347346"/>
              <a:gd name="connsiteY72" fmla="*/ 3006957 h 3384040"/>
              <a:gd name="connsiteX73" fmla="*/ 5643798 w 13347346"/>
              <a:gd name="connsiteY73" fmla="*/ 2974300 h 3384040"/>
              <a:gd name="connsiteX74" fmla="*/ 5974059 w 13347346"/>
              <a:gd name="connsiteY74" fmla="*/ 2680386 h 3384040"/>
              <a:gd name="connsiteX75" fmla="*/ 5959381 w 13347346"/>
              <a:gd name="connsiteY75" fmla="*/ 2655893 h 3384040"/>
              <a:gd name="connsiteX76" fmla="*/ 5871311 w 13347346"/>
              <a:gd name="connsiteY76" fmla="*/ 2696714 h 3384040"/>
              <a:gd name="connsiteX77" fmla="*/ 5856633 w 13347346"/>
              <a:gd name="connsiteY77" fmla="*/ 2680386 h 3384040"/>
              <a:gd name="connsiteX78" fmla="*/ 6018094 w 13347346"/>
              <a:gd name="connsiteY78" fmla="*/ 2525264 h 3384040"/>
              <a:gd name="connsiteX79" fmla="*/ 5753885 w 13347346"/>
              <a:gd name="connsiteY79" fmla="*/ 2672221 h 3384040"/>
              <a:gd name="connsiteX80" fmla="*/ 5651137 w 13347346"/>
              <a:gd name="connsiteY80" fmla="*/ 2664057 h 3384040"/>
              <a:gd name="connsiteX81" fmla="*/ 4638336 w 13347346"/>
              <a:gd name="connsiteY81" fmla="*/ 3178407 h 3384040"/>
              <a:gd name="connsiteX82" fmla="*/ 4513570 w 13347346"/>
              <a:gd name="connsiteY82" fmla="*/ 3219229 h 3384040"/>
              <a:gd name="connsiteX83" fmla="*/ 5115380 w 13347346"/>
              <a:gd name="connsiteY83" fmla="*/ 2827343 h 3384040"/>
              <a:gd name="connsiteX84" fmla="*/ 5108041 w 13347346"/>
              <a:gd name="connsiteY84" fmla="*/ 2802850 h 3384040"/>
              <a:gd name="connsiteX85" fmla="*/ 5019971 w 13347346"/>
              <a:gd name="connsiteY85" fmla="*/ 2802850 h 3384040"/>
              <a:gd name="connsiteX86" fmla="*/ 5181432 w 13347346"/>
              <a:gd name="connsiteY86" fmla="*/ 2647729 h 3384040"/>
              <a:gd name="connsiteX87" fmla="*/ 4858510 w 13347346"/>
              <a:gd name="connsiteY87" fmla="*/ 2721207 h 3384040"/>
              <a:gd name="connsiteX88" fmla="*/ 5218128 w 13347346"/>
              <a:gd name="connsiteY88" fmla="*/ 2410964 h 3384040"/>
              <a:gd name="connsiteX89" fmla="*/ 5188771 w 13347346"/>
              <a:gd name="connsiteY89" fmla="*/ 2361979 h 3384040"/>
              <a:gd name="connsiteX90" fmla="*/ 4792458 w 13347346"/>
              <a:gd name="connsiteY90" fmla="*/ 2557921 h 3384040"/>
              <a:gd name="connsiteX91" fmla="*/ 4785119 w 13347346"/>
              <a:gd name="connsiteY91" fmla="*/ 2549757 h 3384040"/>
              <a:gd name="connsiteX92" fmla="*/ 5144736 w 13347346"/>
              <a:gd name="connsiteY92" fmla="*/ 2239514 h 3384040"/>
              <a:gd name="connsiteX93" fmla="*/ 5137397 w 13347346"/>
              <a:gd name="connsiteY93" fmla="*/ 2215021 h 3384040"/>
              <a:gd name="connsiteX94" fmla="*/ 5019971 w 13347346"/>
              <a:gd name="connsiteY94" fmla="*/ 2264007 h 3384040"/>
              <a:gd name="connsiteX95" fmla="*/ 5005293 w 13347346"/>
              <a:gd name="connsiteY95" fmla="*/ 2239514 h 3384040"/>
              <a:gd name="connsiteX96" fmla="*/ 5159415 w 13347346"/>
              <a:gd name="connsiteY96" fmla="*/ 2084393 h 3384040"/>
              <a:gd name="connsiteX97" fmla="*/ 5159415 w 13347346"/>
              <a:gd name="connsiteY97" fmla="*/ 2068064 h 3384040"/>
              <a:gd name="connsiteX98" fmla="*/ 4829153 w 13347346"/>
              <a:gd name="connsiteY98" fmla="*/ 2231350 h 3384040"/>
              <a:gd name="connsiteX99" fmla="*/ 4814475 w 13347346"/>
              <a:gd name="connsiteY99" fmla="*/ 2198693 h 3384040"/>
              <a:gd name="connsiteX100" fmla="*/ 5064006 w 13347346"/>
              <a:gd name="connsiteY100" fmla="*/ 1978257 h 3384040"/>
              <a:gd name="connsiteX101" fmla="*/ 4447518 w 13347346"/>
              <a:gd name="connsiteY101" fmla="*/ 2394636 h 3384040"/>
              <a:gd name="connsiteX102" fmla="*/ 4425501 w 13347346"/>
              <a:gd name="connsiteY102" fmla="*/ 2370143 h 3384040"/>
              <a:gd name="connsiteX103" fmla="*/ 5012632 w 13347346"/>
              <a:gd name="connsiteY103" fmla="*/ 1814971 h 3384040"/>
              <a:gd name="connsiteX104" fmla="*/ 4997954 w 13347346"/>
              <a:gd name="connsiteY104" fmla="*/ 1782314 h 3384040"/>
              <a:gd name="connsiteX105" fmla="*/ 4623657 w 13347346"/>
              <a:gd name="connsiteY105" fmla="*/ 2068064 h 3384040"/>
              <a:gd name="connsiteX106" fmla="*/ 4630997 w 13347346"/>
              <a:gd name="connsiteY106" fmla="*/ 1970093 h 3384040"/>
              <a:gd name="connsiteX107" fmla="*/ 4542927 w 13347346"/>
              <a:gd name="connsiteY107" fmla="*/ 2051736 h 3384040"/>
              <a:gd name="connsiteX108" fmla="*/ 4212666 w 13347346"/>
              <a:gd name="connsiteY108" fmla="*/ 2296664 h 3384040"/>
              <a:gd name="connsiteX109" fmla="*/ 3823691 w 13347346"/>
              <a:gd name="connsiteY109" fmla="*/ 2582414 h 3384040"/>
              <a:gd name="connsiteX110" fmla="*/ 3647552 w 13347346"/>
              <a:gd name="connsiteY110" fmla="*/ 2680386 h 3384040"/>
              <a:gd name="connsiteX111" fmla="*/ 4220005 w 13347346"/>
              <a:gd name="connsiteY111" fmla="*/ 2174200 h 3384040"/>
              <a:gd name="connsiteX112" fmla="*/ 4205327 w 13347346"/>
              <a:gd name="connsiteY112" fmla="*/ 2149707 h 3384040"/>
              <a:gd name="connsiteX113" fmla="*/ 4175970 w 13347346"/>
              <a:gd name="connsiteY113" fmla="*/ 2157871 h 3384040"/>
              <a:gd name="connsiteX114" fmla="*/ 3376004 w 13347346"/>
              <a:gd name="connsiteY114" fmla="*/ 2655893 h 3384040"/>
              <a:gd name="connsiteX115" fmla="*/ 2634751 w 13347346"/>
              <a:gd name="connsiteY115" fmla="*/ 3015121 h 3384040"/>
              <a:gd name="connsiteX116" fmla="*/ 2473290 w 13347346"/>
              <a:gd name="connsiteY116" fmla="*/ 3006957 h 3384040"/>
              <a:gd name="connsiteX117" fmla="*/ 3456735 w 13347346"/>
              <a:gd name="connsiteY117" fmla="*/ 2443621 h 3384040"/>
              <a:gd name="connsiteX118" fmla="*/ 3434717 w 13347346"/>
              <a:gd name="connsiteY118" fmla="*/ 2410964 h 3384040"/>
              <a:gd name="connsiteX119" fmla="*/ 2898960 w 13347346"/>
              <a:gd name="connsiteY119" fmla="*/ 2721207 h 3384040"/>
              <a:gd name="connsiteX120" fmla="*/ 2884282 w 13347346"/>
              <a:gd name="connsiteY120" fmla="*/ 2696714 h 3384040"/>
              <a:gd name="connsiteX121" fmla="*/ 3185186 w 13347346"/>
              <a:gd name="connsiteY121" fmla="*/ 2451786 h 3384040"/>
              <a:gd name="connsiteX122" fmla="*/ 3420039 w 13347346"/>
              <a:gd name="connsiteY122" fmla="*/ 2223186 h 3384040"/>
              <a:gd name="connsiteX123" fmla="*/ 3603517 w 13347346"/>
              <a:gd name="connsiteY123" fmla="*/ 2068064 h 3384040"/>
              <a:gd name="connsiteX124" fmla="*/ 3882405 w 13347346"/>
              <a:gd name="connsiteY124" fmla="*/ 1855793 h 3384040"/>
              <a:gd name="connsiteX125" fmla="*/ 3911761 w 13347346"/>
              <a:gd name="connsiteY125" fmla="*/ 1839464 h 3384040"/>
              <a:gd name="connsiteX126" fmla="*/ 3963135 w 13347346"/>
              <a:gd name="connsiteY126" fmla="*/ 1651686 h 3384040"/>
              <a:gd name="connsiteX127" fmla="*/ 4220005 w 13347346"/>
              <a:gd name="connsiteY127" fmla="*/ 1431250 h 3384040"/>
              <a:gd name="connsiteX128" fmla="*/ 4330092 w 13347346"/>
              <a:gd name="connsiteY128" fmla="*/ 1333279 h 3384040"/>
              <a:gd name="connsiteX129" fmla="*/ 4315414 w 13347346"/>
              <a:gd name="connsiteY129" fmla="*/ 1308786 h 3384040"/>
              <a:gd name="connsiteX130" fmla="*/ 4161292 w 13347346"/>
              <a:gd name="connsiteY130" fmla="*/ 1414921 h 3384040"/>
              <a:gd name="connsiteX131" fmla="*/ 4021848 w 13347346"/>
              <a:gd name="connsiteY131" fmla="*/ 1496564 h 3384040"/>
              <a:gd name="connsiteX132" fmla="*/ 3911761 w 13347346"/>
              <a:gd name="connsiteY132" fmla="*/ 1610864 h 3384040"/>
              <a:gd name="connsiteX133" fmla="*/ 3831031 w 13347346"/>
              <a:gd name="connsiteY133" fmla="*/ 1619028 h 3384040"/>
              <a:gd name="connsiteX134" fmla="*/ 3581500 w 13347346"/>
              <a:gd name="connsiteY134" fmla="*/ 1741493 h 3384040"/>
              <a:gd name="connsiteX135" fmla="*/ 3471413 w 13347346"/>
              <a:gd name="connsiteY135" fmla="*/ 1708836 h 3384040"/>
              <a:gd name="connsiteX136" fmla="*/ 3706265 w 13347346"/>
              <a:gd name="connsiteY136" fmla="*/ 1463907 h 3384040"/>
              <a:gd name="connsiteX137" fmla="*/ 3603517 w 13347346"/>
              <a:gd name="connsiteY137" fmla="*/ 1414921 h 3384040"/>
              <a:gd name="connsiteX138" fmla="*/ 3574161 w 13347346"/>
              <a:gd name="connsiteY138" fmla="*/ 1341443 h 3384040"/>
              <a:gd name="connsiteX139" fmla="*/ 3434717 w 13347346"/>
              <a:gd name="connsiteY139" fmla="*/ 1374100 h 3384040"/>
              <a:gd name="connsiteX140" fmla="*/ 3427378 w 13347346"/>
              <a:gd name="connsiteY140" fmla="*/ 1333279 h 3384040"/>
              <a:gd name="connsiteX141" fmla="*/ 3177847 w 13347346"/>
              <a:gd name="connsiteY141" fmla="*/ 1414921 h 3384040"/>
              <a:gd name="connsiteX142" fmla="*/ 2972351 w 13347346"/>
              <a:gd name="connsiteY142" fmla="*/ 1545550 h 3384040"/>
              <a:gd name="connsiteX143" fmla="*/ 2803551 w 13347346"/>
              <a:gd name="connsiteY143" fmla="*/ 1708836 h 3384040"/>
              <a:gd name="connsiteX144" fmla="*/ 2678786 w 13347346"/>
              <a:gd name="connsiteY144" fmla="*/ 1757821 h 3384040"/>
              <a:gd name="connsiteX145" fmla="*/ 3302613 w 13347346"/>
              <a:gd name="connsiteY145" fmla="*/ 1129171 h 3384040"/>
              <a:gd name="connsiteX146" fmla="*/ 3280595 w 13347346"/>
              <a:gd name="connsiteY146" fmla="*/ 1096514 h 3384040"/>
              <a:gd name="connsiteX147" fmla="*/ 2774194 w 13347346"/>
              <a:gd name="connsiteY147" fmla="*/ 1537386 h 3384040"/>
              <a:gd name="connsiteX148" fmla="*/ 2759516 w 13347346"/>
              <a:gd name="connsiteY148" fmla="*/ 1521057 h 3384040"/>
              <a:gd name="connsiteX149" fmla="*/ 2810890 w 13347346"/>
              <a:gd name="connsiteY149" fmla="*/ 1439414 h 3384040"/>
              <a:gd name="connsiteX150" fmla="*/ 2803551 w 13347346"/>
              <a:gd name="connsiteY150" fmla="*/ 1423086 h 3384040"/>
              <a:gd name="connsiteX151" fmla="*/ 2546681 w 13347346"/>
              <a:gd name="connsiteY151" fmla="*/ 1594536 h 3384040"/>
              <a:gd name="connsiteX152" fmla="*/ 2524664 w 13347346"/>
              <a:gd name="connsiteY152" fmla="*/ 1570043 h 3384040"/>
              <a:gd name="connsiteX153" fmla="*/ 2744838 w 13347346"/>
              <a:gd name="connsiteY153" fmla="*/ 1382264 h 3384040"/>
              <a:gd name="connsiteX154" fmla="*/ 2942995 w 13347346"/>
              <a:gd name="connsiteY154" fmla="*/ 1169993 h 3384040"/>
              <a:gd name="connsiteX155" fmla="*/ 3155830 w 13347346"/>
              <a:gd name="connsiteY155" fmla="*/ 908736 h 3384040"/>
              <a:gd name="connsiteX156" fmla="*/ 3031065 w 13347346"/>
              <a:gd name="connsiteY156" fmla="*/ 974050 h 3384040"/>
              <a:gd name="connsiteX157" fmla="*/ 2957673 w 13347346"/>
              <a:gd name="connsiteY157" fmla="*/ 900571 h 3384040"/>
              <a:gd name="connsiteX158" fmla="*/ 3067760 w 13347346"/>
              <a:gd name="connsiteY158" fmla="*/ 753614 h 3384040"/>
              <a:gd name="connsiteX159" fmla="*/ 3053082 w 13347346"/>
              <a:gd name="connsiteY159" fmla="*/ 737286 h 3384040"/>
              <a:gd name="connsiteX160" fmla="*/ 2854925 w 13347346"/>
              <a:gd name="connsiteY160" fmla="*/ 900571 h 3384040"/>
              <a:gd name="connsiteX161" fmla="*/ 2906299 w 13347346"/>
              <a:gd name="connsiteY161" fmla="*/ 1096514 h 3384040"/>
              <a:gd name="connsiteX162" fmla="*/ 2825569 w 13347346"/>
              <a:gd name="connsiteY162" fmla="*/ 1227143 h 3384040"/>
              <a:gd name="connsiteX163" fmla="*/ 2774194 w 13347346"/>
              <a:gd name="connsiteY163" fmla="*/ 1186321 h 3384040"/>
              <a:gd name="connsiteX164" fmla="*/ 2876942 w 13347346"/>
              <a:gd name="connsiteY164" fmla="*/ 957721 h 3384040"/>
              <a:gd name="connsiteX165" fmla="*/ 2869603 w 13347346"/>
              <a:gd name="connsiteY165" fmla="*/ 933229 h 3384040"/>
              <a:gd name="connsiteX166" fmla="*/ 2465951 w 13347346"/>
              <a:gd name="connsiteY166" fmla="*/ 1161829 h 3384040"/>
              <a:gd name="connsiteX167" fmla="*/ 2451273 w 13347346"/>
              <a:gd name="connsiteY167" fmla="*/ 1153664 h 3384040"/>
              <a:gd name="connsiteX168" fmla="*/ 2781534 w 13347346"/>
              <a:gd name="connsiteY168" fmla="*/ 818929 h 3384040"/>
              <a:gd name="connsiteX169" fmla="*/ 3009047 w 13347346"/>
              <a:gd name="connsiteY169" fmla="*/ 443371 h 3384040"/>
              <a:gd name="connsiteX170" fmla="*/ 2854925 w 13347346"/>
              <a:gd name="connsiteY170" fmla="*/ 565836 h 3384040"/>
              <a:gd name="connsiteX171" fmla="*/ 2634751 w 13347346"/>
              <a:gd name="connsiteY171" fmla="*/ 778107 h 3384040"/>
              <a:gd name="connsiteX172" fmla="*/ 2546681 w 13347346"/>
              <a:gd name="connsiteY172" fmla="*/ 753614 h 3384040"/>
              <a:gd name="connsiteX173" fmla="*/ 2348525 w 13347346"/>
              <a:gd name="connsiteY173" fmla="*/ 720957 h 3384040"/>
              <a:gd name="connsiteX174" fmla="*/ 2385220 w 13347346"/>
              <a:gd name="connsiteY174" fmla="*/ 778107 h 3384040"/>
              <a:gd name="connsiteX175" fmla="*/ 2201742 w 13347346"/>
              <a:gd name="connsiteY175" fmla="*/ 900571 h 3384040"/>
              <a:gd name="connsiteX176" fmla="*/ 1658646 w 13347346"/>
              <a:gd name="connsiteY176" fmla="*/ 1357771 h 3384040"/>
              <a:gd name="connsiteX177" fmla="*/ 1643967 w 13347346"/>
              <a:gd name="connsiteY177" fmla="*/ 1341443 h 3384040"/>
              <a:gd name="connsiteX178" fmla="*/ 2157707 w 13347346"/>
              <a:gd name="connsiteY178" fmla="*/ 614821 h 3384040"/>
              <a:gd name="connsiteX179" fmla="*/ 1137567 w 13347346"/>
              <a:gd name="connsiteY179" fmla="*/ 1374100 h 3384040"/>
              <a:gd name="connsiteX180" fmla="*/ 1108210 w 13347346"/>
              <a:gd name="connsiteY180" fmla="*/ 1112843 h 3384040"/>
              <a:gd name="connsiteX181" fmla="*/ 799966 w 13347346"/>
              <a:gd name="connsiteY181" fmla="*/ 1284293 h 3384040"/>
              <a:gd name="connsiteX182" fmla="*/ 1093532 w 13347346"/>
              <a:gd name="connsiteY182" fmla="*/ 990379 h 3384040"/>
              <a:gd name="connsiteX183" fmla="*/ 1100871 w 13347346"/>
              <a:gd name="connsiteY183" fmla="*/ 843421 h 3384040"/>
              <a:gd name="connsiteX184" fmla="*/ 1064175 w 13347346"/>
              <a:gd name="connsiteY184" fmla="*/ 786271 h 3384040"/>
              <a:gd name="connsiteX185" fmla="*/ 733914 w 13347346"/>
              <a:gd name="connsiteY185" fmla="*/ 982214 h 3384040"/>
              <a:gd name="connsiteX186" fmla="*/ 1122888 w 13347346"/>
              <a:gd name="connsiteY186" fmla="*/ 704629 h 3384040"/>
              <a:gd name="connsiteX187" fmla="*/ 1034819 w 13347346"/>
              <a:gd name="connsiteY187" fmla="*/ 720957 h 3384040"/>
              <a:gd name="connsiteX188" fmla="*/ 1012801 w 13347346"/>
              <a:gd name="connsiteY188" fmla="*/ 688300 h 3384040"/>
              <a:gd name="connsiteX189" fmla="*/ 1100871 w 13347346"/>
              <a:gd name="connsiteY189" fmla="*/ 655643 h 3384040"/>
              <a:gd name="connsiteX190" fmla="*/ 1071515 w 13347346"/>
              <a:gd name="connsiteY190" fmla="*/ 614821 h 3384040"/>
              <a:gd name="connsiteX191" fmla="*/ 924732 w 13347346"/>
              <a:gd name="connsiteY191" fmla="*/ 745450 h 3384040"/>
              <a:gd name="connsiteX192" fmla="*/ 866019 w 13347346"/>
              <a:gd name="connsiteY192" fmla="*/ 622986 h 3384040"/>
              <a:gd name="connsiteX193" fmla="*/ 792627 w 13347346"/>
              <a:gd name="connsiteY193" fmla="*/ 631150 h 3384040"/>
              <a:gd name="connsiteX194" fmla="*/ 557775 w 13347346"/>
              <a:gd name="connsiteY194" fmla="*/ 900571 h 3384040"/>
              <a:gd name="connsiteX195" fmla="*/ 513740 w 13347346"/>
              <a:gd name="connsiteY195" fmla="*/ 786271 h 3384040"/>
              <a:gd name="connsiteX196" fmla="*/ 579792 w 13347346"/>
              <a:gd name="connsiteY196" fmla="*/ 745450 h 3384040"/>
              <a:gd name="connsiteX197" fmla="*/ 675201 w 13347346"/>
              <a:gd name="connsiteY197" fmla="*/ 663807 h 3384040"/>
              <a:gd name="connsiteX198" fmla="*/ 733914 w 13347346"/>
              <a:gd name="connsiteY198" fmla="*/ 639314 h 3384040"/>
              <a:gd name="connsiteX199" fmla="*/ 785288 w 13347346"/>
              <a:gd name="connsiteY199" fmla="*/ 549507 h 3384040"/>
              <a:gd name="connsiteX200" fmla="*/ 755931 w 13347346"/>
              <a:gd name="connsiteY200" fmla="*/ 525014 h 3384040"/>
              <a:gd name="connsiteX201" fmla="*/ 535757 w 13347346"/>
              <a:gd name="connsiteY201" fmla="*/ 696464 h 3384040"/>
              <a:gd name="connsiteX202" fmla="*/ 521079 w 13347346"/>
              <a:gd name="connsiteY202" fmla="*/ 680136 h 3384040"/>
              <a:gd name="connsiteX203" fmla="*/ 976106 w 13347346"/>
              <a:gd name="connsiteY203" fmla="*/ 133129 h 3384040"/>
              <a:gd name="connsiteX204" fmla="*/ 763271 w 13347346"/>
              <a:gd name="connsiteY204" fmla="*/ 100471 h 3384040"/>
              <a:gd name="connsiteX205" fmla="*/ 102748 w 13347346"/>
              <a:gd name="connsiteY205" fmla="*/ 590329 h 3384040"/>
              <a:gd name="connsiteX206" fmla="*/ 80731 w 13347346"/>
              <a:gd name="connsiteY206" fmla="*/ 557671 h 3384040"/>
              <a:gd name="connsiteX207" fmla="*/ 403653 w 13347346"/>
              <a:gd name="connsiteY207" fmla="*/ 255593 h 3384040"/>
              <a:gd name="connsiteX208" fmla="*/ 0 w 13347346"/>
              <a:gd name="connsiteY208" fmla="*/ 394386 h 3384040"/>
              <a:gd name="connsiteX209" fmla="*/ 410992 w 13347346"/>
              <a:gd name="connsiteY209" fmla="*/ 26993 h 3384040"/>
              <a:gd name="connsiteX210" fmla="*/ 538509 w 13347346"/>
              <a:gd name="connsiteY210" fmla="*/ 459 h 3384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3347346" h="3384040">
                <a:moveTo>
                  <a:pt x="538509" y="459"/>
                </a:moveTo>
                <a:cubicBezTo>
                  <a:pt x="587131" y="2500"/>
                  <a:pt x="638505" y="10664"/>
                  <a:pt x="682540" y="10664"/>
                </a:cubicBezTo>
                <a:cubicBezTo>
                  <a:pt x="807306" y="2500"/>
                  <a:pt x="924732" y="18828"/>
                  <a:pt x="1049497" y="18828"/>
                </a:cubicBezTo>
                <a:cubicBezTo>
                  <a:pt x="4829153" y="10664"/>
                  <a:pt x="8601470" y="10664"/>
                  <a:pt x="12381127" y="10664"/>
                </a:cubicBezTo>
                <a:cubicBezTo>
                  <a:pt x="12549927" y="10664"/>
                  <a:pt x="12726066" y="35157"/>
                  <a:pt x="12894866" y="35157"/>
                </a:cubicBezTo>
                <a:cubicBezTo>
                  <a:pt x="13034310" y="35157"/>
                  <a:pt x="13173754" y="10664"/>
                  <a:pt x="13342554" y="2500"/>
                </a:cubicBezTo>
                <a:cubicBezTo>
                  <a:pt x="13342554" y="100471"/>
                  <a:pt x="13357232" y="190278"/>
                  <a:pt x="13335215" y="263757"/>
                </a:cubicBezTo>
                <a:cubicBezTo>
                  <a:pt x="13305858" y="353564"/>
                  <a:pt x="13247145" y="427043"/>
                  <a:pt x="13188432" y="500521"/>
                </a:cubicBezTo>
                <a:cubicBezTo>
                  <a:pt x="13166414" y="525014"/>
                  <a:pt x="13115040" y="508686"/>
                  <a:pt x="13078345" y="516850"/>
                </a:cubicBezTo>
                <a:cubicBezTo>
                  <a:pt x="13071006" y="525014"/>
                  <a:pt x="13063666" y="557671"/>
                  <a:pt x="13048988" y="590329"/>
                </a:cubicBezTo>
                <a:cubicBezTo>
                  <a:pt x="13093023" y="582164"/>
                  <a:pt x="13115040" y="574000"/>
                  <a:pt x="13173754" y="565836"/>
                </a:cubicBezTo>
                <a:cubicBezTo>
                  <a:pt x="13071006" y="704629"/>
                  <a:pt x="12982936" y="810764"/>
                  <a:pt x="12938901" y="957721"/>
                </a:cubicBezTo>
                <a:cubicBezTo>
                  <a:pt x="12924223" y="949557"/>
                  <a:pt x="12916884" y="941393"/>
                  <a:pt x="12902205" y="941393"/>
                </a:cubicBezTo>
                <a:cubicBezTo>
                  <a:pt x="12916884" y="876079"/>
                  <a:pt x="12931562" y="818929"/>
                  <a:pt x="12946240" y="753614"/>
                </a:cubicBezTo>
                <a:cubicBezTo>
                  <a:pt x="12938901" y="753614"/>
                  <a:pt x="12931562" y="745450"/>
                  <a:pt x="12924223" y="745450"/>
                </a:cubicBezTo>
                <a:cubicBezTo>
                  <a:pt x="12872849" y="827093"/>
                  <a:pt x="12821475" y="900571"/>
                  <a:pt x="12770101" y="990379"/>
                </a:cubicBezTo>
                <a:cubicBezTo>
                  <a:pt x="12799457" y="998543"/>
                  <a:pt x="12828814" y="998543"/>
                  <a:pt x="12872849" y="1006707"/>
                </a:cubicBezTo>
                <a:cubicBezTo>
                  <a:pt x="12821475" y="1080186"/>
                  <a:pt x="12770101" y="1145500"/>
                  <a:pt x="12726066" y="1210814"/>
                </a:cubicBezTo>
                <a:cubicBezTo>
                  <a:pt x="12718727" y="1202650"/>
                  <a:pt x="12711388" y="1202650"/>
                  <a:pt x="12704049" y="1194486"/>
                </a:cubicBezTo>
                <a:cubicBezTo>
                  <a:pt x="12726066" y="1153664"/>
                  <a:pt x="12740744" y="1112843"/>
                  <a:pt x="12755423" y="1072021"/>
                </a:cubicBezTo>
                <a:cubicBezTo>
                  <a:pt x="12755423" y="1072021"/>
                  <a:pt x="12748084" y="1072021"/>
                  <a:pt x="12748084" y="1072021"/>
                </a:cubicBezTo>
                <a:cubicBezTo>
                  <a:pt x="12432501" y="1431250"/>
                  <a:pt x="12124257" y="1790479"/>
                  <a:pt x="11808674" y="2149707"/>
                </a:cubicBezTo>
                <a:cubicBezTo>
                  <a:pt x="11801335" y="2141543"/>
                  <a:pt x="11786656" y="2125214"/>
                  <a:pt x="11779317" y="2117050"/>
                </a:cubicBezTo>
                <a:cubicBezTo>
                  <a:pt x="11838030" y="2043571"/>
                  <a:pt x="11889404" y="1961928"/>
                  <a:pt x="11948117" y="1888450"/>
                </a:cubicBezTo>
                <a:cubicBezTo>
                  <a:pt x="11933439" y="1872121"/>
                  <a:pt x="11926100" y="1863957"/>
                  <a:pt x="11911422" y="1847628"/>
                </a:cubicBezTo>
                <a:cubicBezTo>
                  <a:pt x="11882065" y="1896614"/>
                  <a:pt x="11852709" y="1945600"/>
                  <a:pt x="11816013" y="1986421"/>
                </a:cubicBezTo>
                <a:cubicBezTo>
                  <a:pt x="11639874" y="2166036"/>
                  <a:pt x="11485752" y="2378307"/>
                  <a:pt x="11287595" y="2508936"/>
                </a:cubicBezTo>
                <a:cubicBezTo>
                  <a:pt x="11104116" y="2631400"/>
                  <a:pt x="10964673" y="2802850"/>
                  <a:pt x="10788534" y="2933479"/>
                </a:cubicBezTo>
                <a:cubicBezTo>
                  <a:pt x="10766516" y="2949807"/>
                  <a:pt x="10744499" y="2974300"/>
                  <a:pt x="10729820" y="2974300"/>
                </a:cubicBezTo>
                <a:cubicBezTo>
                  <a:pt x="10568359" y="2941643"/>
                  <a:pt x="10472951" y="3080436"/>
                  <a:pt x="10355524" y="3162079"/>
                </a:cubicBezTo>
                <a:cubicBezTo>
                  <a:pt x="10223420" y="3243721"/>
                  <a:pt x="10083976" y="3325364"/>
                  <a:pt x="9929854" y="3333529"/>
                </a:cubicBezTo>
                <a:cubicBezTo>
                  <a:pt x="9885820" y="3333529"/>
                  <a:pt x="9841785" y="3317200"/>
                  <a:pt x="9783072" y="3300871"/>
                </a:cubicBezTo>
                <a:cubicBezTo>
                  <a:pt x="9812428" y="3276379"/>
                  <a:pt x="9834446" y="3260050"/>
                  <a:pt x="9849124" y="3243721"/>
                </a:cubicBezTo>
                <a:cubicBezTo>
                  <a:pt x="9650967" y="3317200"/>
                  <a:pt x="9496845" y="3170243"/>
                  <a:pt x="9328045" y="3096764"/>
                </a:cubicBezTo>
                <a:cubicBezTo>
                  <a:pt x="9379419" y="3055943"/>
                  <a:pt x="9423454" y="3023286"/>
                  <a:pt x="9467489" y="2990629"/>
                </a:cubicBezTo>
                <a:cubicBezTo>
                  <a:pt x="9467489" y="2982464"/>
                  <a:pt x="9460149" y="2974300"/>
                  <a:pt x="9460149" y="2966136"/>
                </a:cubicBezTo>
                <a:cubicBezTo>
                  <a:pt x="9394097" y="2998793"/>
                  <a:pt x="9335384" y="3031450"/>
                  <a:pt x="9269332" y="3055943"/>
                </a:cubicBezTo>
                <a:cubicBezTo>
                  <a:pt x="9269332" y="3055943"/>
                  <a:pt x="9269332" y="3047779"/>
                  <a:pt x="9269332" y="3047779"/>
                </a:cubicBezTo>
                <a:cubicBezTo>
                  <a:pt x="9408776" y="2917150"/>
                  <a:pt x="9548219" y="2786521"/>
                  <a:pt x="9695002" y="2655893"/>
                </a:cubicBezTo>
                <a:cubicBezTo>
                  <a:pt x="9687663" y="2647729"/>
                  <a:pt x="9680324" y="2639564"/>
                  <a:pt x="9672984" y="2631400"/>
                </a:cubicBezTo>
                <a:cubicBezTo>
                  <a:pt x="9394097" y="2778357"/>
                  <a:pt x="9115210" y="2925314"/>
                  <a:pt x="8821644" y="3088600"/>
                </a:cubicBezTo>
                <a:cubicBezTo>
                  <a:pt x="8836323" y="3047779"/>
                  <a:pt x="8843662" y="3031450"/>
                  <a:pt x="8858340" y="2998793"/>
                </a:cubicBezTo>
                <a:cubicBezTo>
                  <a:pt x="8638166" y="3047779"/>
                  <a:pt x="8491383" y="3260050"/>
                  <a:pt x="8234514" y="3227393"/>
                </a:cubicBezTo>
                <a:cubicBezTo>
                  <a:pt x="8014339" y="3194736"/>
                  <a:pt x="7816183" y="3145750"/>
                  <a:pt x="7618026" y="3023286"/>
                </a:cubicBezTo>
                <a:cubicBezTo>
                  <a:pt x="7618026" y="3023286"/>
                  <a:pt x="7625365" y="3006957"/>
                  <a:pt x="7632704" y="2998793"/>
                </a:cubicBezTo>
                <a:cubicBezTo>
                  <a:pt x="7346478" y="2925314"/>
                  <a:pt x="7155660" y="3202900"/>
                  <a:pt x="6898790" y="3268214"/>
                </a:cubicBezTo>
                <a:cubicBezTo>
                  <a:pt x="7023556" y="3186571"/>
                  <a:pt x="7140982" y="3096764"/>
                  <a:pt x="7265747" y="3015121"/>
                </a:cubicBezTo>
                <a:cubicBezTo>
                  <a:pt x="7265747" y="2998793"/>
                  <a:pt x="7258408" y="2990629"/>
                  <a:pt x="7251069" y="2974300"/>
                </a:cubicBezTo>
                <a:cubicBezTo>
                  <a:pt x="7082269" y="3064107"/>
                  <a:pt x="6906130" y="3153914"/>
                  <a:pt x="6729990" y="3235557"/>
                </a:cubicBezTo>
                <a:cubicBezTo>
                  <a:pt x="6729990" y="3227393"/>
                  <a:pt x="6722652" y="3219229"/>
                  <a:pt x="6722652" y="3202900"/>
                </a:cubicBezTo>
                <a:cubicBezTo>
                  <a:pt x="6774025" y="3162079"/>
                  <a:pt x="6825400" y="3121257"/>
                  <a:pt x="6876773" y="3080436"/>
                </a:cubicBezTo>
                <a:cubicBezTo>
                  <a:pt x="6869434" y="3072271"/>
                  <a:pt x="6869434" y="3064107"/>
                  <a:pt x="6862095" y="3055943"/>
                </a:cubicBezTo>
                <a:cubicBezTo>
                  <a:pt x="6840077" y="3064107"/>
                  <a:pt x="6810721" y="3080436"/>
                  <a:pt x="6788704" y="3088600"/>
                </a:cubicBezTo>
                <a:cubicBezTo>
                  <a:pt x="6568529" y="3186571"/>
                  <a:pt x="6355694" y="3309036"/>
                  <a:pt x="6135521" y="3366186"/>
                </a:cubicBezTo>
                <a:cubicBezTo>
                  <a:pt x="5996076" y="3407007"/>
                  <a:pt x="5849294" y="3366186"/>
                  <a:pt x="5702511" y="3358021"/>
                </a:cubicBezTo>
                <a:cubicBezTo>
                  <a:pt x="5702511" y="3341693"/>
                  <a:pt x="5702511" y="3325364"/>
                  <a:pt x="5702511" y="3309036"/>
                </a:cubicBezTo>
                <a:cubicBezTo>
                  <a:pt x="5878650" y="3251886"/>
                  <a:pt x="6054789" y="3194736"/>
                  <a:pt x="6230929" y="3137586"/>
                </a:cubicBezTo>
                <a:cubicBezTo>
                  <a:pt x="6230929" y="3129421"/>
                  <a:pt x="6223590" y="3113093"/>
                  <a:pt x="6223590" y="3104929"/>
                </a:cubicBezTo>
                <a:cubicBezTo>
                  <a:pt x="6120842" y="3137586"/>
                  <a:pt x="6018094" y="3170243"/>
                  <a:pt x="5915346" y="3211064"/>
                </a:cubicBezTo>
                <a:cubicBezTo>
                  <a:pt x="5908007" y="3202900"/>
                  <a:pt x="5908007" y="3194736"/>
                  <a:pt x="5908007" y="3186571"/>
                </a:cubicBezTo>
                <a:cubicBezTo>
                  <a:pt x="5988737" y="3137586"/>
                  <a:pt x="6062129" y="3080436"/>
                  <a:pt x="6142860" y="3031450"/>
                </a:cubicBezTo>
                <a:cubicBezTo>
                  <a:pt x="6142860" y="3023286"/>
                  <a:pt x="6142860" y="3015121"/>
                  <a:pt x="6142860" y="3006957"/>
                </a:cubicBezTo>
                <a:cubicBezTo>
                  <a:pt x="6113503" y="3015121"/>
                  <a:pt x="6076807" y="3015121"/>
                  <a:pt x="6047450" y="3023286"/>
                </a:cubicBezTo>
                <a:cubicBezTo>
                  <a:pt x="5944702" y="3064107"/>
                  <a:pt x="5849294" y="3121257"/>
                  <a:pt x="5746546" y="3162079"/>
                </a:cubicBezTo>
                <a:cubicBezTo>
                  <a:pt x="5658477" y="3186571"/>
                  <a:pt x="5570406" y="3202900"/>
                  <a:pt x="5482337" y="3202900"/>
                </a:cubicBezTo>
                <a:cubicBezTo>
                  <a:pt x="5768563" y="3055943"/>
                  <a:pt x="6054789" y="2917150"/>
                  <a:pt x="6341016" y="2770193"/>
                </a:cubicBezTo>
                <a:cubicBezTo>
                  <a:pt x="6333677" y="2753864"/>
                  <a:pt x="6326338" y="2737536"/>
                  <a:pt x="6318999" y="2721207"/>
                </a:cubicBezTo>
                <a:cubicBezTo>
                  <a:pt x="6216251" y="2770193"/>
                  <a:pt x="6113503" y="2827343"/>
                  <a:pt x="6003416" y="2876329"/>
                </a:cubicBezTo>
                <a:cubicBezTo>
                  <a:pt x="5996076" y="2868164"/>
                  <a:pt x="5996076" y="2860000"/>
                  <a:pt x="5988737" y="2851836"/>
                </a:cubicBezTo>
                <a:cubicBezTo>
                  <a:pt x="6018094" y="2819179"/>
                  <a:pt x="6047450" y="2786521"/>
                  <a:pt x="6076807" y="2753864"/>
                </a:cubicBezTo>
                <a:cubicBezTo>
                  <a:pt x="6076807" y="2745700"/>
                  <a:pt x="6069468" y="2737536"/>
                  <a:pt x="6062129" y="2721207"/>
                </a:cubicBezTo>
                <a:cubicBezTo>
                  <a:pt x="5996076" y="2762029"/>
                  <a:pt x="5922685" y="2802850"/>
                  <a:pt x="5863972" y="2851836"/>
                </a:cubicBezTo>
                <a:cubicBezTo>
                  <a:pt x="5790580" y="2892657"/>
                  <a:pt x="5731868" y="2949807"/>
                  <a:pt x="5665815" y="3006957"/>
                </a:cubicBezTo>
                <a:cubicBezTo>
                  <a:pt x="5658477" y="2990629"/>
                  <a:pt x="5651137" y="2982464"/>
                  <a:pt x="5643798" y="2974300"/>
                </a:cubicBezTo>
                <a:cubicBezTo>
                  <a:pt x="5753885" y="2876329"/>
                  <a:pt x="5863972" y="2778357"/>
                  <a:pt x="5974059" y="2680386"/>
                </a:cubicBezTo>
                <a:cubicBezTo>
                  <a:pt x="5966720" y="2672221"/>
                  <a:pt x="5966720" y="2664057"/>
                  <a:pt x="5959381" y="2655893"/>
                </a:cubicBezTo>
                <a:cubicBezTo>
                  <a:pt x="5930025" y="2672221"/>
                  <a:pt x="5900668" y="2680386"/>
                  <a:pt x="5871311" y="2696714"/>
                </a:cubicBezTo>
                <a:cubicBezTo>
                  <a:pt x="5863972" y="2688550"/>
                  <a:pt x="5863972" y="2688550"/>
                  <a:pt x="5856633" y="2680386"/>
                </a:cubicBezTo>
                <a:cubicBezTo>
                  <a:pt x="5908007" y="2631400"/>
                  <a:pt x="5959381" y="2582414"/>
                  <a:pt x="6018094" y="2525264"/>
                </a:cubicBezTo>
                <a:cubicBezTo>
                  <a:pt x="5863972" y="2468114"/>
                  <a:pt x="5834616" y="2664057"/>
                  <a:pt x="5753885" y="2672221"/>
                </a:cubicBezTo>
                <a:cubicBezTo>
                  <a:pt x="5702511" y="2664057"/>
                  <a:pt x="5673154" y="2647729"/>
                  <a:pt x="5651137" y="2664057"/>
                </a:cubicBezTo>
                <a:cubicBezTo>
                  <a:pt x="5313536" y="2835507"/>
                  <a:pt x="4975936" y="3006957"/>
                  <a:pt x="4638336" y="3178407"/>
                </a:cubicBezTo>
                <a:cubicBezTo>
                  <a:pt x="4601640" y="3202900"/>
                  <a:pt x="4557605" y="3211064"/>
                  <a:pt x="4513570" y="3219229"/>
                </a:cubicBezTo>
                <a:cubicBezTo>
                  <a:pt x="4719066" y="3088600"/>
                  <a:pt x="4917223" y="2957971"/>
                  <a:pt x="5115380" y="2827343"/>
                </a:cubicBezTo>
                <a:cubicBezTo>
                  <a:pt x="5115380" y="2819179"/>
                  <a:pt x="5115380" y="2811014"/>
                  <a:pt x="5108041" y="2802850"/>
                </a:cubicBezTo>
                <a:cubicBezTo>
                  <a:pt x="5086023" y="2802850"/>
                  <a:pt x="5064006" y="2802850"/>
                  <a:pt x="5019971" y="2802850"/>
                </a:cubicBezTo>
                <a:cubicBezTo>
                  <a:pt x="5078684" y="2753864"/>
                  <a:pt x="5122719" y="2704879"/>
                  <a:pt x="5181432" y="2647729"/>
                </a:cubicBezTo>
                <a:cubicBezTo>
                  <a:pt x="5064006" y="2672221"/>
                  <a:pt x="4968597" y="2696714"/>
                  <a:pt x="4858510" y="2721207"/>
                </a:cubicBezTo>
                <a:cubicBezTo>
                  <a:pt x="4983275" y="2615071"/>
                  <a:pt x="5100701" y="2517100"/>
                  <a:pt x="5218128" y="2410964"/>
                </a:cubicBezTo>
                <a:cubicBezTo>
                  <a:pt x="5203449" y="2394636"/>
                  <a:pt x="5196110" y="2378307"/>
                  <a:pt x="5188771" y="2361979"/>
                </a:cubicBezTo>
                <a:cubicBezTo>
                  <a:pt x="5056667" y="2427293"/>
                  <a:pt x="4924562" y="2492607"/>
                  <a:pt x="4792458" y="2557921"/>
                </a:cubicBezTo>
                <a:cubicBezTo>
                  <a:pt x="4785119" y="2557921"/>
                  <a:pt x="4785119" y="2557921"/>
                  <a:pt x="4785119" y="2549757"/>
                </a:cubicBezTo>
                <a:cubicBezTo>
                  <a:pt x="4902545" y="2443621"/>
                  <a:pt x="5027310" y="2337486"/>
                  <a:pt x="5144736" y="2239514"/>
                </a:cubicBezTo>
                <a:cubicBezTo>
                  <a:pt x="5144736" y="2231350"/>
                  <a:pt x="5137397" y="2223186"/>
                  <a:pt x="5137397" y="2215021"/>
                </a:cubicBezTo>
                <a:cubicBezTo>
                  <a:pt x="5093362" y="2231350"/>
                  <a:pt x="5056667" y="2247679"/>
                  <a:pt x="5019971" y="2264007"/>
                </a:cubicBezTo>
                <a:cubicBezTo>
                  <a:pt x="5012632" y="2255843"/>
                  <a:pt x="5012632" y="2247679"/>
                  <a:pt x="5005293" y="2239514"/>
                </a:cubicBezTo>
                <a:cubicBezTo>
                  <a:pt x="5056667" y="2190529"/>
                  <a:pt x="5108041" y="2133379"/>
                  <a:pt x="5159415" y="2084393"/>
                </a:cubicBezTo>
                <a:cubicBezTo>
                  <a:pt x="5159415" y="2076229"/>
                  <a:pt x="5159415" y="2076229"/>
                  <a:pt x="5159415" y="2068064"/>
                </a:cubicBezTo>
                <a:cubicBezTo>
                  <a:pt x="5049328" y="2125214"/>
                  <a:pt x="4939240" y="2174200"/>
                  <a:pt x="4829153" y="2231350"/>
                </a:cubicBezTo>
                <a:cubicBezTo>
                  <a:pt x="4821814" y="2223186"/>
                  <a:pt x="4821814" y="2215021"/>
                  <a:pt x="4814475" y="2198693"/>
                </a:cubicBezTo>
                <a:cubicBezTo>
                  <a:pt x="4895206" y="2125214"/>
                  <a:pt x="4983275" y="2051736"/>
                  <a:pt x="5064006" y="1978257"/>
                </a:cubicBezTo>
                <a:cubicBezTo>
                  <a:pt x="4821814" y="2051736"/>
                  <a:pt x="4645675" y="2247679"/>
                  <a:pt x="4447518" y="2394636"/>
                </a:cubicBezTo>
                <a:cubicBezTo>
                  <a:pt x="4440179" y="2386471"/>
                  <a:pt x="4432840" y="2378307"/>
                  <a:pt x="4425501" y="2370143"/>
                </a:cubicBezTo>
                <a:cubicBezTo>
                  <a:pt x="4623657" y="2182364"/>
                  <a:pt x="4821814" y="1994586"/>
                  <a:pt x="5012632" y="1814971"/>
                </a:cubicBezTo>
                <a:cubicBezTo>
                  <a:pt x="5005293" y="1798643"/>
                  <a:pt x="4997954" y="1790479"/>
                  <a:pt x="4997954" y="1782314"/>
                </a:cubicBezTo>
                <a:cubicBezTo>
                  <a:pt x="4873188" y="1872121"/>
                  <a:pt x="4755762" y="1970093"/>
                  <a:pt x="4623657" y="2068064"/>
                </a:cubicBezTo>
                <a:cubicBezTo>
                  <a:pt x="4630997" y="2027243"/>
                  <a:pt x="4630997" y="2010914"/>
                  <a:pt x="4630997" y="1970093"/>
                </a:cubicBezTo>
                <a:cubicBezTo>
                  <a:pt x="4608979" y="2019078"/>
                  <a:pt x="4520910" y="1921107"/>
                  <a:pt x="4542927" y="2051736"/>
                </a:cubicBezTo>
                <a:cubicBezTo>
                  <a:pt x="4388805" y="2051736"/>
                  <a:pt x="4374127" y="2264007"/>
                  <a:pt x="4212666" y="2296664"/>
                </a:cubicBezTo>
                <a:cubicBezTo>
                  <a:pt x="4073222" y="2329321"/>
                  <a:pt x="3955796" y="2484443"/>
                  <a:pt x="3823691" y="2582414"/>
                </a:cubicBezTo>
                <a:cubicBezTo>
                  <a:pt x="3772318" y="2623236"/>
                  <a:pt x="3713604" y="2664057"/>
                  <a:pt x="3647552" y="2680386"/>
                </a:cubicBezTo>
                <a:cubicBezTo>
                  <a:pt x="3838370" y="2508936"/>
                  <a:pt x="4029187" y="2345650"/>
                  <a:pt x="4220005" y="2174200"/>
                </a:cubicBezTo>
                <a:cubicBezTo>
                  <a:pt x="4212666" y="2166036"/>
                  <a:pt x="4205327" y="2157871"/>
                  <a:pt x="4205327" y="2149707"/>
                </a:cubicBezTo>
                <a:cubicBezTo>
                  <a:pt x="4197987" y="2149707"/>
                  <a:pt x="4183309" y="2157871"/>
                  <a:pt x="4175970" y="2157871"/>
                </a:cubicBezTo>
                <a:cubicBezTo>
                  <a:pt x="3911761" y="2329321"/>
                  <a:pt x="3654891" y="2517100"/>
                  <a:pt x="3376004" y="2655893"/>
                </a:cubicBezTo>
                <a:cubicBezTo>
                  <a:pt x="3133812" y="2778357"/>
                  <a:pt x="2913638" y="2974300"/>
                  <a:pt x="2634751" y="3015121"/>
                </a:cubicBezTo>
                <a:cubicBezTo>
                  <a:pt x="2583377" y="3023286"/>
                  <a:pt x="2532003" y="3015121"/>
                  <a:pt x="2473290" y="3006957"/>
                </a:cubicBezTo>
                <a:cubicBezTo>
                  <a:pt x="2869603" y="2957971"/>
                  <a:pt x="3126473" y="2623236"/>
                  <a:pt x="3456735" y="2443621"/>
                </a:cubicBezTo>
                <a:cubicBezTo>
                  <a:pt x="3449395" y="2435457"/>
                  <a:pt x="3442056" y="2419129"/>
                  <a:pt x="3434717" y="2410964"/>
                </a:cubicBezTo>
                <a:cubicBezTo>
                  <a:pt x="3258578" y="2517100"/>
                  <a:pt x="3075099" y="2615071"/>
                  <a:pt x="2898960" y="2721207"/>
                </a:cubicBezTo>
                <a:cubicBezTo>
                  <a:pt x="2891621" y="2713043"/>
                  <a:pt x="2891621" y="2704879"/>
                  <a:pt x="2884282" y="2696714"/>
                </a:cubicBezTo>
                <a:cubicBezTo>
                  <a:pt x="2987030" y="2615071"/>
                  <a:pt x="3089778" y="2541593"/>
                  <a:pt x="3185186" y="2451786"/>
                </a:cubicBezTo>
                <a:cubicBezTo>
                  <a:pt x="3265917" y="2378307"/>
                  <a:pt x="3339308" y="2296664"/>
                  <a:pt x="3420039" y="2223186"/>
                </a:cubicBezTo>
                <a:cubicBezTo>
                  <a:pt x="3478752" y="2166036"/>
                  <a:pt x="3544804" y="2117050"/>
                  <a:pt x="3603517" y="2068064"/>
                </a:cubicBezTo>
                <a:cubicBezTo>
                  <a:pt x="3698926" y="1994586"/>
                  <a:pt x="3786996" y="1929271"/>
                  <a:pt x="3882405" y="1855793"/>
                </a:cubicBezTo>
                <a:cubicBezTo>
                  <a:pt x="3889744" y="1855793"/>
                  <a:pt x="3897083" y="1839464"/>
                  <a:pt x="3911761" y="1839464"/>
                </a:cubicBezTo>
                <a:cubicBezTo>
                  <a:pt x="4021848" y="1798643"/>
                  <a:pt x="4029187" y="1782314"/>
                  <a:pt x="3963135" y="1651686"/>
                </a:cubicBezTo>
                <a:cubicBezTo>
                  <a:pt x="4109918" y="1659850"/>
                  <a:pt x="4117257" y="1480236"/>
                  <a:pt x="4220005" y="1431250"/>
                </a:cubicBezTo>
                <a:cubicBezTo>
                  <a:pt x="4264040" y="1406757"/>
                  <a:pt x="4293396" y="1365936"/>
                  <a:pt x="4330092" y="1333279"/>
                </a:cubicBezTo>
                <a:cubicBezTo>
                  <a:pt x="4322753" y="1325114"/>
                  <a:pt x="4315414" y="1316950"/>
                  <a:pt x="4315414" y="1308786"/>
                </a:cubicBezTo>
                <a:cubicBezTo>
                  <a:pt x="4264040" y="1341443"/>
                  <a:pt x="4212666" y="1382264"/>
                  <a:pt x="4161292" y="1414921"/>
                </a:cubicBezTo>
                <a:cubicBezTo>
                  <a:pt x="4117257" y="1447579"/>
                  <a:pt x="4065883" y="1463907"/>
                  <a:pt x="4021848" y="1496564"/>
                </a:cubicBezTo>
                <a:cubicBezTo>
                  <a:pt x="3985153" y="1529221"/>
                  <a:pt x="3948457" y="1578207"/>
                  <a:pt x="3911761" y="1610864"/>
                </a:cubicBezTo>
                <a:cubicBezTo>
                  <a:pt x="3889744" y="1627193"/>
                  <a:pt x="3845709" y="1635357"/>
                  <a:pt x="3831031" y="1619028"/>
                </a:cubicBezTo>
                <a:cubicBezTo>
                  <a:pt x="3728283" y="1529221"/>
                  <a:pt x="3610856" y="1578207"/>
                  <a:pt x="3581500" y="1741493"/>
                </a:cubicBezTo>
                <a:cubicBezTo>
                  <a:pt x="3544804" y="1725164"/>
                  <a:pt x="3508109" y="1717000"/>
                  <a:pt x="3471413" y="1708836"/>
                </a:cubicBezTo>
                <a:cubicBezTo>
                  <a:pt x="3552143" y="1627193"/>
                  <a:pt x="3625535" y="1553714"/>
                  <a:pt x="3706265" y="1463907"/>
                </a:cubicBezTo>
                <a:cubicBezTo>
                  <a:pt x="3662230" y="1447579"/>
                  <a:pt x="3625535" y="1439414"/>
                  <a:pt x="3603517" y="1414921"/>
                </a:cubicBezTo>
                <a:cubicBezTo>
                  <a:pt x="3581500" y="1398593"/>
                  <a:pt x="3581500" y="1365936"/>
                  <a:pt x="3574161" y="1341443"/>
                </a:cubicBezTo>
                <a:cubicBezTo>
                  <a:pt x="3530126" y="1357771"/>
                  <a:pt x="3478752" y="1365936"/>
                  <a:pt x="3434717" y="1374100"/>
                </a:cubicBezTo>
                <a:cubicBezTo>
                  <a:pt x="3434717" y="1357771"/>
                  <a:pt x="3427378" y="1349607"/>
                  <a:pt x="3427378" y="1333279"/>
                </a:cubicBezTo>
                <a:cubicBezTo>
                  <a:pt x="3353987" y="1390428"/>
                  <a:pt x="3295274" y="1463907"/>
                  <a:pt x="3177847" y="1414921"/>
                </a:cubicBezTo>
                <a:cubicBezTo>
                  <a:pt x="3126473" y="1398593"/>
                  <a:pt x="3038403" y="1496564"/>
                  <a:pt x="2972351" y="1545550"/>
                </a:cubicBezTo>
                <a:cubicBezTo>
                  <a:pt x="2913638" y="1602700"/>
                  <a:pt x="2862264" y="1659850"/>
                  <a:pt x="2803551" y="1708836"/>
                </a:cubicBezTo>
                <a:cubicBezTo>
                  <a:pt x="2766855" y="1741493"/>
                  <a:pt x="2722821" y="1749657"/>
                  <a:pt x="2678786" y="1757821"/>
                </a:cubicBezTo>
                <a:cubicBezTo>
                  <a:pt x="2884282" y="1545550"/>
                  <a:pt x="3097117" y="1333279"/>
                  <a:pt x="3302613" y="1129171"/>
                </a:cubicBezTo>
                <a:cubicBezTo>
                  <a:pt x="3295274" y="1112843"/>
                  <a:pt x="3287934" y="1104679"/>
                  <a:pt x="3280595" y="1096514"/>
                </a:cubicBezTo>
                <a:cubicBezTo>
                  <a:pt x="3111795" y="1243471"/>
                  <a:pt x="2942995" y="1390428"/>
                  <a:pt x="2774194" y="1537386"/>
                </a:cubicBezTo>
                <a:cubicBezTo>
                  <a:pt x="2766855" y="1529221"/>
                  <a:pt x="2766855" y="1529221"/>
                  <a:pt x="2759516" y="1521057"/>
                </a:cubicBezTo>
                <a:cubicBezTo>
                  <a:pt x="2774194" y="1496564"/>
                  <a:pt x="2796212" y="1463907"/>
                  <a:pt x="2810890" y="1439414"/>
                </a:cubicBezTo>
                <a:cubicBezTo>
                  <a:pt x="2810890" y="1431250"/>
                  <a:pt x="2803551" y="1431250"/>
                  <a:pt x="2803551" y="1423086"/>
                </a:cubicBezTo>
                <a:cubicBezTo>
                  <a:pt x="2715482" y="1480236"/>
                  <a:pt x="2634751" y="1537386"/>
                  <a:pt x="2546681" y="1594536"/>
                </a:cubicBezTo>
                <a:cubicBezTo>
                  <a:pt x="2539342" y="1586371"/>
                  <a:pt x="2532003" y="1578207"/>
                  <a:pt x="2524664" y="1570043"/>
                </a:cubicBezTo>
                <a:cubicBezTo>
                  <a:pt x="2598055" y="1504728"/>
                  <a:pt x="2678786" y="1447579"/>
                  <a:pt x="2744838" y="1382264"/>
                </a:cubicBezTo>
                <a:cubicBezTo>
                  <a:pt x="2818230" y="1316950"/>
                  <a:pt x="2876942" y="1243471"/>
                  <a:pt x="2942995" y="1169993"/>
                </a:cubicBezTo>
                <a:cubicBezTo>
                  <a:pt x="3009047" y="1096514"/>
                  <a:pt x="3075099" y="1006707"/>
                  <a:pt x="3155830" y="908736"/>
                </a:cubicBezTo>
                <a:cubicBezTo>
                  <a:pt x="3104456" y="933229"/>
                  <a:pt x="3067760" y="957721"/>
                  <a:pt x="3031065" y="974050"/>
                </a:cubicBezTo>
                <a:cubicBezTo>
                  <a:pt x="3001708" y="957721"/>
                  <a:pt x="3060421" y="835257"/>
                  <a:pt x="2957673" y="900571"/>
                </a:cubicBezTo>
                <a:cubicBezTo>
                  <a:pt x="2994369" y="851586"/>
                  <a:pt x="3031065" y="802600"/>
                  <a:pt x="3067760" y="753614"/>
                </a:cubicBezTo>
                <a:cubicBezTo>
                  <a:pt x="3060421" y="753614"/>
                  <a:pt x="3053082" y="745450"/>
                  <a:pt x="3053082" y="737286"/>
                </a:cubicBezTo>
                <a:cubicBezTo>
                  <a:pt x="2987030" y="794436"/>
                  <a:pt x="2928317" y="843421"/>
                  <a:pt x="2854925" y="900571"/>
                </a:cubicBezTo>
                <a:cubicBezTo>
                  <a:pt x="2972351" y="965886"/>
                  <a:pt x="2979690" y="1023036"/>
                  <a:pt x="2906299" y="1096514"/>
                </a:cubicBezTo>
                <a:cubicBezTo>
                  <a:pt x="2869603" y="1129171"/>
                  <a:pt x="2847586" y="1186321"/>
                  <a:pt x="2825569" y="1227143"/>
                </a:cubicBezTo>
                <a:cubicBezTo>
                  <a:pt x="2810890" y="1218979"/>
                  <a:pt x="2788873" y="1202650"/>
                  <a:pt x="2774194" y="1186321"/>
                </a:cubicBezTo>
                <a:cubicBezTo>
                  <a:pt x="2810890" y="1112843"/>
                  <a:pt x="2847586" y="1031200"/>
                  <a:pt x="2876942" y="957721"/>
                </a:cubicBezTo>
                <a:cubicBezTo>
                  <a:pt x="2876942" y="949557"/>
                  <a:pt x="2869603" y="941393"/>
                  <a:pt x="2869603" y="933229"/>
                </a:cubicBezTo>
                <a:cubicBezTo>
                  <a:pt x="2730160" y="1006707"/>
                  <a:pt x="2598055" y="1088350"/>
                  <a:pt x="2465951" y="1161829"/>
                </a:cubicBezTo>
                <a:cubicBezTo>
                  <a:pt x="2458612" y="1161829"/>
                  <a:pt x="2458612" y="1161829"/>
                  <a:pt x="2451273" y="1153664"/>
                </a:cubicBezTo>
                <a:cubicBezTo>
                  <a:pt x="2561359" y="1039364"/>
                  <a:pt x="2678786" y="941393"/>
                  <a:pt x="2781534" y="818929"/>
                </a:cubicBezTo>
                <a:cubicBezTo>
                  <a:pt x="2869603" y="712793"/>
                  <a:pt x="2942995" y="590329"/>
                  <a:pt x="3009047" y="443371"/>
                </a:cubicBezTo>
                <a:cubicBezTo>
                  <a:pt x="2957673" y="484193"/>
                  <a:pt x="2906299" y="525014"/>
                  <a:pt x="2854925" y="565836"/>
                </a:cubicBezTo>
                <a:cubicBezTo>
                  <a:pt x="2781534" y="639314"/>
                  <a:pt x="2708142" y="712793"/>
                  <a:pt x="2634751" y="778107"/>
                </a:cubicBezTo>
                <a:cubicBezTo>
                  <a:pt x="2620073" y="786271"/>
                  <a:pt x="2576038" y="769943"/>
                  <a:pt x="2546681" y="753614"/>
                </a:cubicBezTo>
                <a:cubicBezTo>
                  <a:pt x="2487968" y="704629"/>
                  <a:pt x="2436594" y="631150"/>
                  <a:pt x="2348525" y="720957"/>
                </a:cubicBezTo>
                <a:cubicBezTo>
                  <a:pt x="2363203" y="737286"/>
                  <a:pt x="2370542" y="753614"/>
                  <a:pt x="2385220" y="778107"/>
                </a:cubicBezTo>
                <a:cubicBezTo>
                  <a:pt x="2333846" y="835257"/>
                  <a:pt x="2201742" y="794436"/>
                  <a:pt x="2201742" y="900571"/>
                </a:cubicBezTo>
                <a:cubicBezTo>
                  <a:pt x="2010924" y="1055693"/>
                  <a:pt x="1834785" y="1210814"/>
                  <a:pt x="1658646" y="1357771"/>
                </a:cubicBezTo>
                <a:cubicBezTo>
                  <a:pt x="1651306" y="1349607"/>
                  <a:pt x="1643967" y="1349607"/>
                  <a:pt x="1643967" y="1341443"/>
                </a:cubicBezTo>
                <a:cubicBezTo>
                  <a:pt x="1805428" y="1104679"/>
                  <a:pt x="1974229" y="867914"/>
                  <a:pt x="2157707" y="614821"/>
                </a:cubicBezTo>
                <a:cubicBezTo>
                  <a:pt x="1798089" y="876079"/>
                  <a:pt x="1467828" y="1129171"/>
                  <a:pt x="1137567" y="1374100"/>
                </a:cubicBezTo>
                <a:cubicBezTo>
                  <a:pt x="1130228" y="1276128"/>
                  <a:pt x="1122888" y="1202650"/>
                  <a:pt x="1108210" y="1112843"/>
                </a:cubicBezTo>
                <a:cubicBezTo>
                  <a:pt x="1020140" y="1161829"/>
                  <a:pt x="924732" y="1210814"/>
                  <a:pt x="799966" y="1284293"/>
                </a:cubicBezTo>
                <a:cubicBezTo>
                  <a:pt x="910053" y="1169993"/>
                  <a:pt x="990784" y="1055693"/>
                  <a:pt x="1093532" y="990379"/>
                </a:cubicBezTo>
                <a:cubicBezTo>
                  <a:pt x="1188941" y="925064"/>
                  <a:pt x="1196280" y="900571"/>
                  <a:pt x="1100871" y="843421"/>
                </a:cubicBezTo>
                <a:cubicBezTo>
                  <a:pt x="1086193" y="835257"/>
                  <a:pt x="1078854" y="810764"/>
                  <a:pt x="1064175" y="786271"/>
                </a:cubicBezTo>
                <a:cubicBezTo>
                  <a:pt x="961427" y="867914"/>
                  <a:pt x="902714" y="1023036"/>
                  <a:pt x="733914" y="982214"/>
                </a:cubicBezTo>
                <a:cubicBezTo>
                  <a:pt x="858679" y="867914"/>
                  <a:pt x="976106" y="753614"/>
                  <a:pt x="1122888" y="704629"/>
                </a:cubicBezTo>
                <a:cubicBezTo>
                  <a:pt x="1093532" y="712793"/>
                  <a:pt x="1064175" y="712793"/>
                  <a:pt x="1034819" y="720957"/>
                </a:cubicBezTo>
                <a:cubicBezTo>
                  <a:pt x="1027480" y="712793"/>
                  <a:pt x="1020140" y="696464"/>
                  <a:pt x="1012801" y="688300"/>
                </a:cubicBezTo>
                <a:cubicBezTo>
                  <a:pt x="1042158" y="680136"/>
                  <a:pt x="1071515" y="663807"/>
                  <a:pt x="1100871" y="655643"/>
                </a:cubicBezTo>
                <a:cubicBezTo>
                  <a:pt x="1093532" y="639314"/>
                  <a:pt x="1078854" y="631150"/>
                  <a:pt x="1071515" y="614821"/>
                </a:cubicBezTo>
                <a:cubicBezTo>
                  <a:pt x="1020140" y="655643"/>
                  <a:pt x="976106" y="704629"/>
                  <a:pt x="924732" y="745450"/>
                </a:cubicBezTo>
                <a:cubicBezTo>
                  <a:pt x="902714" y="704629"/>
                  <a:pt x="895375" y="655643"/>
                  <a:pt x="866019" y="622986"/>
                </a:cubicBezTo>
                <a:cubicBezTo>
                  <a:pt x="858679" y="614821"/>
                  <a:pt x="807306" y="614821"/>
                  <a:pt x="792627" y="631150"/>
                </a:cubicBezTo>
                <a:cubicBezTo>
                  <a:pt x="719236" y="704629"/>
                  <a:pt x="645844" y="794436"/>
                  <a:pt x="557775" y="900571"/>
                </a:cubicBezTo>
                <a:cubicBezTo>
                  <a:pt x="535757" y="843421"/>
                  <a:pt x="513740" y="810764"/>
                  <a:pt x="513740" y="786271"/>
                </a:cubicBezTo>
                <a:cubicBezTo>
                  <a:pt x="521079" y="769943"/>
                  <a:pt x="557775" y="761779"/>
                  <a:pt x="579792" y="745450"/>
                </a:cubicBezTo>
                <a:cubicBezTo>
                  <a:pt x="616488" y="720957"/>
                  <a:pt x="645844" y="688300"/>
                  <a:pt x="675201" y="663807"/>
                </a:cubicBezTo>
                <a:cubicBezTo>
                  <a:pt x="697218" y="655643"/>
                  <a:pt x="719236" y="655643"/>
                  <a:pt x="733914" y="639314"/>
                </a:cubicBezTo>
                <a:cubicBezTo>
                  <a:pt x="755931" y="606657"/>
                  <a:pt x="770610" y="574000"/>
                  <a:pt x="785288" y="549507"/>
                </a:cubicBezTo>
                <a:cubicBezTo>
                  <a:pt x="777949" y="541343"/>
                  <a:pt x="770610" y="533179"/>
                  <a:pt x="755931" y="525014"/>
                </a:cubicBezTo>
                <a:cubicBezTo>
                  <a:pt x="682540" y="582164"/>
                  <a:pt x="609149" y="639314"/>
                  <a:pt x="535757" y="696464"/>
                </a:cubicBezTo>
                <a:cubicBezTo>
                  <a:pt x="528418" y="696464"/>
                  <a:pt x="528418" y="688300"/>
                  <a:pt x="521079" y="680136"/>
                </a:cubicBezTo>
                <a:cubicBezTo>
                  <a:pt x="667862" y="508686"/>
                  <a:pt x="814645" y="337236"/>
                  <a:pt x="976106" y="133129"/>
                </a:cubicBezTo>
                <a:cubicBezTo>
                  <a:pt x="873358" y="141293"/>
                  <a:pt x="785288" y="255593"/>
                  <a:pt x="763271" y="100471"/>
                </a:cubicBezTo>
                <a:cubicBezTo>
                  <a:pt x="535757" y="263757"/>
                  <a:pt x="315583" y="427043"/>
                  <a:pt x="102748" y="590329"/>
                </a:cubicBezTo>
                <a:cubicBezTo>
                  <a:pt x="95409" y="582164"/>
                  <a:pt x="88070" y="574000"/>
                  <a:pt x="80731" y="557671"/>
                </a:cubicBezTo>
                <a:cubicBezTo>
                  <a:pt x="183479" y="459700"/>
                  <a:pt x="293566" y="361729"/>
                  <a:pt x="403653" y="255593"/>
                </a:cubicBezTo>
                <a:cubicBezTo>
                  <a:pt x="220174" y="149457"/>
                  <a:pt x="146783" y="369893"/>
                  <a:pt x="0" y="394386"/>
                </a:cubicBezTo>
                <a:cubicBezTo>
                  <a:pt x="132105" y="271921"/>
                  <a:pt x="264209" y="124964"/>
                  <a:pt x="410992" y="26993"/>
                </a:cubicBezTo>
                <a:cubicBezTo>
                  <a:pt x="444018" y="2500"/>
                  <a:pt x="489888" y="-1582"/>
                  <a:pt x="538509" y="459"/>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970457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CL"/>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p:txBody>
          <a:bodyPr/>
          <a:lstStyle/>
          <a:p>
            <a:fld id="{BF1F7606-8703-4774-82E4-4A2AAF776758}" type="datetimeFigureOut">
              <a:rPr lang="es-CL" smtClean="0"/>
              <a:t>23-01-2025</a:t>
            </a:fld>
            <a:endParaRPr lang="es-CL"/>
          </a:p>
        </p:txBody>
      </p:sp>
      <p:sp>
        <p:nvSpPr>
          <p:cNvPr id="5" name="Footer Placeholder 4"/>
          <p:cNvSpPr>
            <a:spLocks noGrp="1"/>
          </p:cNvSpPr>
          <p:nvPr>
            <p:ph type="ftr" sz="quarter" idx="11"/>
          </p:nvPr>
        </p:nvSpPr>
        <p:spPr/>
        <p:txBody>
          <a:bodyPr/>
          <a:lstStyle/>
          <a:p>
            <a:endParaRPr lang="es-CL"/>
          </a:p>
        </p:txBody>
      </p:sp>
      <p:sp>
        <p:nvSpPr>
          <p:cNvPr id="6" name="Slide Number Placeholder 5"/>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6082643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5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1518A3E9-C520-49BB-91C1-C5A008BC73F4}"/>
              </a:ext>
            </a:extLst>
          </p:cNvPr>
          <p:cNvSpPr>
            <a:spLocks noGrp="1"/>
          </p:cNvSpPr>
          <p:nvPr>
            <p:ph type="pic" sz="quarter" idx="20"/>
          </p:nvPr>
        </p:nvSpPr>
        <p:spPr>
          <a:xfrm>
            <a:off x="1117323" y="1931299"/>
            <a:ext cx="5962066" cy="5877132"/>
          </a:xfrm>
          <a:custGeom>
            <a:avLst/>
            <a:gdLst>
              <a:gd name="connsiteX0" fmla="*/ 2883960 w 4486446"/>
              <a:gd name="connsiteY0" fmla="*/ 3688835 h 4477815"/>
              <a:gd name="connsiteX1" fmla="*/ 2877286 w 4486446"/>
              <a:gd name="connsiteY1" fmla="*/ 3692584 h 4477815"/>
              <a:gd name="connsiteX2" fmla="*/ 2874921 w 4486446"/>
              <a:gd name="connsiteY2" fmla="*/ 3690222 h 4477815"/>
              <a:gd name="connsiteX3" fmla="*/ 791972 w 4486446"/>
              <a:gd name="connsiteY3" fmla="*/ 2871434 h 4477815"/>
              <a:gd name="connsiteX4" fmla="*/ 969302 w 4486446"/>
              <a:gd name="connsiteY4" fmla="*/ 3173695 h 4477815"/>
              <a:gd name="connsiteX5" fmla="*/ 1483558 w 4486446"/>
              <a:gd name="connsiteY5" fmla="*/ 3648339 h 4477815"/>
              <a:gd name="connsiteX6" fmla="*/ 1555672 w 4486446"/>
              <a:gd name="connsiteY6" fmla="*/ 3701471 h 4477815"/>
              <a:gd name="connsiteX7" fmla="*/ 1644337 w 4486446"/>
              <a:gd name="connsiteY7" fmla="*/ 3746338 h 4477815"/>
              <a:gd name="connsiteX8" fmla="*/ 2377301 w 4486446"/>
              <a:gd name="connsiteY8" fmla="*/ 3995467 h 4477815"/>
              <a:gd name="connsiteX9" fmla="*/ 3078344 w 4486446"/>
              <a:gd name="connsiteY9" fmla="*/ 3997829 h 4477815"/>
              <a:gd name="connsiteX10" fmla="*/ 3925982 w 4486446"/>
              <a:gd name="connsiteY10" fmla="*/ 3692025 h 4477815"/>
              <a:gd name="connsiteX11" fmla="*/ 3948443 w 4486446"/>
              <a:gd name="connsiteY11" fmla="*/ 3677857 h 4477815"/>
              <a:gd name="connsiteX12" fmla="*/ 3968540 w 4486446"/>
              <a:gd name="connsiteY12" fmla="*/ 3666050 h 4477815"/>
              <a:gd name="connsiteX13" fmla="*/ 3974452 w 4486446"/>
              <a:gd name="connsiteY13" fmla="*/ 3671954 h 4477815"/>
              <a:gd name="connsiteX14" fmla="*/ 3766384 w 4486446"/>
              <a:gd name="connsiteY14" fmla="*/ 3884480 h 4477815"/>
              <a:gd name="connsiteX15" fmla="*/ 3393992 w 4486446"/>
              <a:gd name="connsiteY15" fmla="*/ 4163127 h 4477815"/>
              <a:gd name="connsiteX16" fmla="*/ 2603101 w 4486446"/>
              <a:gd name="connsiteY16" fmla="*/ 4450039 h 4477815"/>
              <a:gd name="connsiteX17" fmla="*/ 2536898 w 4486446"/>
              <a:gd name="connsiteY17" fmla="*/ 4444136 h 4477815"/>
              <a:gd name="connsiteX18" fmla="*/ 2164504 w 4486446"/>
              <a:gd name="connsiteY18" fmla="*/ 4341415 h 4477815"/>
              <a:gd name="connsiteX19" fmla="*/ 1212835 w 4486446"/>
              <a:gd name="connsiteY19" fmla="*/ 3666050 h 4477815"/>
              <a:gd name="connsiteX20" fmla="*/ 1083975 w 4486446"/>
              <a:gd name="connsiteY20" fmla="*/ 3492486 h 4477815"/>
              <a:gd name="connsiteX21" fmla="*/ 968119 w 4486446"/>
              <a:gd name="connsiteY21" fmla="*/ 3301211 h 4477815"/>
              <a:gd name="connsiteX22" fmla="*/ 872361 w 4486446"/>
              <a:gd name="connsiteY22" fmla="*/ 3100491 h 4477815"/>
              <a:gd name="connsiteX23" fmla="*/ 796701 w 4486446"/>
              <a:gd name="connsiteY23" fmla="*/ 2891506 h 4477815"/>
              <a:gd name="connsiteX24" fmla="*/ 791972 w 4486446"/>
              <a:gd name="connsiteY24" fmla="*/ 2871434 h 4477815"/>
              <a:gd name="connsiteX25" fmla="*/ 4479352 w 4486446"/>
              <a:gd name="connsiteY25" fmla="*/ 2023705 h 4477815"/>
              <a:gd name="connsiteX26" fmla="*/ 4486446 w 4486446"/>
              <a:gd name="connsiteY26" fmla="*/ 2259841 h 4477815"/>
              <a:gd name="connsiteX27" fmla="*/ 4239302 w 4486446"/>
              <a:gd name="connsiteY27" fmla="*/ 3261056 h 4477815"/>
              <a:gd name="connsiteX28" fmla="*/ 4072570 w 4486446"/>
              <a:gd name="connsiteY28" fmla="*/ 3537336 h 4477815"/>
              <a:gd name="connsiteX29" fmla="*/ 4015810 w 4486446"/>
              <a:gd name="connsiteY29" fmla="*/ 3586924 h 4477815"/>
              <a:gd name="connsiteX30" fmla="*/ 3623220 w 4486446"/>
              <a:gd name="connsiteY30" fmla="*/ 3802988 h 4477815"/>
              <a:gd name="connsiteX31" fmla="*/ 3441114 w 4486446"/>
              <a:gd name="connsiteY31" fmla="*/ 3871467 h 4477815"/>
              <a:gd name="connsiteX32" fmla="*/ 3248366 w 4486446"/>
              <a:gd name="connsiteY32" fmla="*/ 3925778 h 4477815"/>
              <a:gd name="connsiteX33" fmla="*/ 3048523 w 4486446"/>
              <a:gd name="connsiteY33" fmla="*/ 3962380 h 4477815"/>
              <a:gd name="connsiteX34" fmla="*/ 1960621 w 4486446"/>
              <a:gd name="connsiteY34" fmla="*/ 3844312 h 4477815"/>
              <a:gd name="connsiteX35" fmla="*/ 1682734 w 4486446"/>
              <a:gd name="connsiteY35" fmla="*/ 3721522 h 4477815"/>
              <a:gd name="connsiteX36" fmla="*/ 1673274 w 4486446"/>
              <a:gd name="connsiteY36" fmla="*/ 3713257 h 4477815"/>
              <a:gd name="connsiteX37" fmla="*/ 1751319 w 4486446"/>
              <a:gd name="connsiteY37" fmla="*/ 3740412 h 4477815"/>
              <a:gd name="connsiteX38" fmla="*/ 2349665 w 4486446"/>
              <a:gd name="connsiteY38" fmla="*/ 3815976 h 4477815"/>
              <a:gd name="connsiteX39" fmla="*/ 3037881 w 4486446"/>
              <a:gd name="connsiteY39" fmla="*/ 3675475 h 4477815"/>
              <a:gd name="connsiteX40" fmla="*/ 3875093 w 4486446"/>
              <a:gd name="connsiteY40" fmla="*/ 3132363 h 4477815"/>
              <a:gd name="connsiteX41" fmla="*/ 3896378 w 4486446"/>
              <a:gd name="connsiteY41" fmla="*/ 3118194 h 4477815"/>
              <a:gd name="connsiteX42" fmla="*/ 3903472 w 4486446"/>
              <a:gd name="connsiteY42" fmla="*/ 3101665 h 4477815"/>
              <a:gd name="connsiteX43" fmla="*/ 4400124 w 4486446"/>
              <a:gd name="connsiteY43" fmla="*/ 2279913 h 4477815"/>
              <a:gd name="connsiteX44" fmla="*/ 4475804 w 4486446"/>
              <a:gd name="connsiteY44" fmla="*/ 2024886 h 4477815"/>
              <a:gd name="connsiteX45" fmla="*/ 4479352 w 4486446"/>
              <a:gd name="connsiteY45" fmla="*/ 2023705 h 4477815"/>
              <a:gd name="connsiteX46" fmla="*/ 772423 w 4486446"/>
              <a:gd name="connsiteY46" fmla="*/ 1655797 h 4477815"/>
              <a:gd name="connsiteX47" fmla="*/ 734596 w 4486446"/>
              <a:gd name="connsiteY47" fmla="*/ 1767960 h 4477815"/>
              <a:gd name="connsiteX48" fmla="*/ 679040 w 4486446"/>
              <a:gd name="connsiteY48" fmla="*/ 2013538 h 4477815"/>
              <a:gd name="connsiteX49" fmla="*/ 992288 w 4486446"/>
              <a:gd name="connsiteY49" fmla="*/ 3419707 h 4477815"/>
              <a:gd name="connsiteX50" fmla="*/ 1362275 w 4486446"/>
              <a:gd name="connsiteY50" fmla="*/ 3880166 h 4477815"/>
              <a:gd name="connsiteX51" fmla="*/ 2344573 w 4486446"/>
              <a:gd name="connsiteY51" fmla="*/ 4437438 h 4477815"/>
              <a:gd name="connsiteX52" fmla="*/ 2458052 w 4486446"/>
              <a:gd name="connsiteY52" fmla="*/ 4465775 h 4477815"/>
              <a:gd name="connsiteX53" fmla="*/ 2456870 w 4486446"/>
              <a:gd name="connsiteY53" fmla="*/ 4472859 h 4477815"/>
              <a:gd name="connsiteX54" fmla="*/ 2197997 w 4486446"/>
              <a:gd name="connsiteY54" fmla="*/ 4477581 h 4477815"/>
              <a:gd name="connsiteX55" fmla="*/ 1436745 w 4486446"/>
              <a:gd name="connsiteY55" fmla="*/ 4329998 h 4477815"/>
              <a:gd name="connsiteX56" fmla="*/ 1409558 w 4486446"/>
              <a:gd name="connsiteY56" fmla="*/ 4317011 h 4477815"/>
              <a:gd name="connsiteX57" fmla="*/ 1407193 w 4486446"/>
              <a:gd name="connsiteY57" fmla="*/ 4308746 h 4477815"/>
              <a:gd name="connsiteX58" fmla="*/ 1371731 w 4486446"/>
              <a:gd name="connsiteY58" fmla="*/ 4302843 h 4477815"/>
              <a:gd name="connsiteX59" fmla="*/ 943823 w 4486446"/>
              <a:gd name="connsiteY59" fmla="*/ 4065530 h 4477815"/>
              <a:gd name="connsiteX60" fmla="*/ 901268 w 4486446"/>
              <a:gd name="connsiteY60" fmla="*/ 4019484 h 4477815"/>
              <a:gd name="connsiteX61" fmla="*/ 612844 w 4486446"/>
              <a:gd name="connsiteY61" fmla="*/ 3450404 h 4477815"/>
              <a:gd name="connsiteX62" fmla="*/ 498183 w 4486446"/>
              <a:gd name="connsiteY62" fmla="*/ 2619218 h 4477815"/>
              <a:gd name="connsiteX63" fmla="*/ 761785 w 4486446"/>
              <a:gd name="connsiteY63" fmla="*/ 1671146 h 4477815"/>
              <a:gd name="connsiteX64" fmla="*/ 772423 w 4486446"/>
              <a:gd name="connsiteY64" fmla="*/ 1655797 h 4477815"/>
              <a:gd name="connsiteX65" fmla="*/ 1597326 w 4486446"/>
              <a:gd name="connsiteY65" fmla="*/ 789665 h 4477815"/>
              <a:gd name="connsiteX66" fmla="*/ 1610324 w 4486446"/>
              <a:gd name="connsiteY66" fmla="*/ 789665 h 4477815"/>
              <a:gd name="connsiteX67" fmla="*/ 1610322 w 4486446"/>
              <a:gd name="connsiteY67" fmla="*/ 789666 h 4477815"/>
              <a:gd name="connsiteX68" fmla="*/ 1610324 w 4486446"/>
              <a:gd name="connsiteY68" fmla="*/ 789666 h 4477815"/>
              <a:gd name="connsiteX69" fmla="*/ 1121146 w 4486446"/>
              <a:gd name="connsiteY69" fmla="*/ 1126226 h 4477815"/>
              <a:gd name="connsiteX70" fmla="*/ 758398 w 4486446"/>
              <a:gd name="connsiteY70" fmla="*/ 1600955 h 4477815"/>
              <a:gd name="connsiteX71" fmla="*/ 741856 w 4486446"/>
              <a:gd name="connsiteY71" fmla="*/ 1586784 h 4477815"/>
              <a:gd name="connsiteX72" fmla="*/ 739493 w 4486446"/>
              <a:gd name="connsiteY72" fmla="*/ 1635201 h 4477815"/>
              <a:gd name="connsiteX73" fmla="*/ 490177 w 4486446"/>
              <a:gd name="connsiteY73" fmla="*/ 2347294 h 4477815"/>
              <a:gd name="connsiteX74" fmla="*/ 466546 w 4486446"/>
              <a:gd name="connsiteY74" fmla="*/ 2942476 h 4477815"/>
              <a:gd name="connsiteX75" fmla="*/ 803299 w 4486446"/>
              <a:gd name="connsiteY75" fmla="*/ 3940351 h 4477815"/>
              <a:gd name="connsiteX76" fmla="*/ 815115 w 4486446"/>
              <a:gd name="connsiteY76" fmla="*/ 3960427 h 4477815"/>
              <a:gd name="connsiteX77" fmla="*/ 811570 w 4486446"/>
              <a:gd name="connsiteY77" fmla="*/ 3963969 h 4477815"/>
              <a:gd name="connsiteX78" fmla="*/ 730041 w 4486446"/>
              <a:gd name="connsiteY78" fmla="*/ 3893114 h 4477815"/>
              <a:gd name="connsiteX79" fmla="*/ 226683 w 4486446"/>
              <a:gd name="connsiteY79" fmla="*/ 3221173 h 4477815"/>
              <a:gd name="connsiteX80" fmla="*/ 42356 w 4486446"/>
              <a:gd name="connsiteY80" fmla="*/ 2670865 h 4477815"/>
              <a:gd name="connsiteX81" fmla="*/ 28176 w 4486446"/>
              <a:gd name="connsiteY81" fmla="*/ 2588201 h 4477815"/>
              <a:gd name="connsiteX82" fmla="*/ 41174 w 4486446"/>
              <a:gd name="connsiteY82" fmla="*/ 2505537 h 4477815"/>
              <a:gd name="connsiteX83" fmla="*/ 374382 w 4486446"/>
              <a:gd name="connsiteY83" fmla="*/ 1698971 h 4477815"/>
              <a:gd name="connsiteX84" fmla="*/ 719406 w 4486446"/>
              <a:gd name="connsiteY84" fmla="*/ 1293916 h 4477815"/>
              <a:gd name="connsiteX85" fmla="*/ 826931 w 4486446"/>
              <a:gd name="connsiteY85" fmla="*/ 1199443 h 4477815"/>
              <a:gd name="connsiteX86" fmla="*/ 1597326 w 4486446"/>
              <a:gd name="connsiteY86" fmla="*/ 789665 h 4477815"/>
              <a:gd name="connsiteX87" fmla="*/ 2243223 w 4486446"/>
              <a:gd name="connsiteY87" fmla="*/ 763473 h 4477815"/>
              <a:gd name="connsiteX88" fmla="*/ 3718658 w 4486446"/>
              <a:gd name="connsiteY88" fmla="*/ 2238908 h 4477815"/>
              <a:gd name="connsiteX89" fmla="*/ 2243223 w 4486446"/>
              <a:gd name="connsiteY89" fmla="*/ 3714343 h 4477815"/>
              <a:gd name="connsiteX90" fmla="*/ 767788 w 4486446"/>
              <a:gd name="connsiteY90" fmla="*/ 2238908 h 4477815"/>
              <a:gd name="connsiteX91" fmla="*/ 2243223 w 4486446"/>
              <a:gd name="connsiteY91" fmla="*/ 763473 h 4477815"/>
              <a:gd name="connsiteX92" fmla="*/ 3675296 w 4486446"/>
              <a:gd name="connsiteY92" fmla="*/ 514301 h 4477815"/>
              <a:gd name="connsiteX93" fmla="*/ 3767510 w 4486446"/>
              <a:gd name="connsiteY93" fmla="*/ 595765 h 4477815"/>
              <a:gd name="connsiteX94" fmla="*/ 4363356 w 4486446"/>
              <a:gd name="connsiteY94" fmla="*/ 1506038 h 4477815"/>
              <a:gd name="connsiteX95" fmla="*/ 4459118 w 4486446"/>
              <a:gd name="connsiteY95" fmla="*/ 1889746 h 4477815"/>
              <a:gd name="connsiteX96" fmla="*/ 4444930 w 4486446"/>
              <a:gd name="connsiteY96" fmla="*/ 1972392 h 4477815"/>
              <a:gd name="connsiteX97" fmla="*/ 3992134 w 4486446"/>
              <a:gd name="connsiteY97" fmla="*/ 2941697 h 4477815"/>
              <a:gd name="connsiteX98" fmla="*/ 3785244 w 4486446"/>
              <a:gd name="connsiteY98" fmla="*/ 3164838 h 4477815"/>
              <a:gd name="connsiteX99" fmla="*/ 3255602 w 4486446"/>
              <a:gd name="connsiteY99" fmla="*/ 3541462 h 4477815"/>
              <a:gd name="connsiteX100" fmla="*/ 2890290 w 4486446"/>
              <a:gd name="connsiteY100" fmla="*/ 3687862 h 4477815"/>
              <a:gd name="connsiteX101" fmla="*/ 2883960 w 4486446"/>
              <a:gd name="connsiteY101" fmla="*/ 3688835 h 4477815"/>
              <a:gd name="connsiteX102" fmla="*/ 3002307 w 4486446"/>
              <a:gd name="connsiteY102" fmla="*/ 3622336 h 4477815"/>
              <a:gd name="connsiteX103" fmla="*/ 3125555 w 4486446"/>
              <a:gd name="connsiteY103" fmla="*/ 3548546 h 4477815"/>
              <a:gd name="connsiteX104" fmla="*/ 3575988 w 4486446"/>
              <a:gd name="connsiteY104" fmla="*/ 3109348 h 4477815"/>
              <a:gd name="connsiteX105" fmla="*/ 3990953 w 4486446"/>
              <a:gd name="connsiteY105" fmla="*/ 2163655 h 4477815"/>
              <a:gd name="connsiteX106" fmla="*/ 4022873 w 4486446"/>
              <a:gd name="connsiteY106" fmla="*/ 1572154 h 4477815"/>
              <a:gd name="connsiteX107" fmla="*/ 3931840 w 4486446"/>
              <a:gd name="connsiteY107" fmla="*/ 1082189 h 4477815"/>
              <a:gd name="connsiteX108" fmla="*/ 3682388 w 4486446"/>
              <a:gd name="connsiteY108" fmla="*/ 535554 h 4477815"/>
              <a:gd name="connsiteX109" fmla="*/ 3675296 w 4486446"/>
              <a:gd name="connsiteY109" fmla="*/ 514302 h 4477815"/>
              <a:gd name="connsiteX110" fmla="*/ 1789291 w 4486446"/>
              <a:gd name="connsiteY110" fmla="*/ 492663 h 4477815"/>
              <a:gd name="connsiteX111" fmla="*/ 2361648 w 4486446"/>
              <a:gd name="connsiteY111" fmla="*/ 577665 h 4477815"/>
              <a:gd name="connsiteX112" fmla="*/ 2391212 w 4486446"/>
              <a:gd name="connsiteY112" fmla="*/ 589470 h 4477815"/>
              <a:gd name="connsiteX113" fmla="*/ 2391212 w 4486446"/>
              <a:gd name="connsiteY113" fmla="*/ 589471 h 4477815"/>
              <a:gd name="connsiteX114" fmla="*/ 2391212 w 4486446"/>
              <a:gd name="connsiteY114" fmla="*/ 594192 h 4477815"/>
              <a:gd name="connsiteX115" fmla="*/ 2413681 w 4486446"/>
              <a:gd name="connsiteY115" fmla="*/ 593012 h 4477815"/>
              <a:gd name="connsiteX116" fmla="*/ 2828758 w 4486446"/>
              <a:gd name="connsiteY116" fmla="*/ 767738 h 4477815"/>
              <a:gd name="connsiteX117" fmla="*/ 2828756 w 4486446"/>
              <a:gd name="connsiteY117" fmla="*/ 767738 h 4477815"/>
              <a:gd name="connsiteX118" fmla="*/ 2818115 w 4486446"/>
              <a:gd name="connsiteY118" fmla="*/ 767738 h 4477815"/>
              <a:gd name="connsiteX119" fmla="*/ 2173622 w 4486446"/>
              <a:gd name="connsiteY119" fmla="*/ 660306 h 4477815"/>
              <a:gd name="connsiteX120" fmla="*/ 1565788 w 4486446"/>
              <a:gd name="connsiteY120" fmla="*/ 761836 h 4477815"/>
              <a:gd name="connsiteX121" fmla="*/ 390327 w 4486446"/>
              <a:gd name="connsiteY121" fmla="*/ 1608309 h 4477815"/>
              <a:gd name="connsiteX122" fmla="*/ 86410 w 4486446"/>
              <a:gd name="connsiteY122" fmla="*/ 2190333 h 4477815"/>
              <a:gd name="connsiteX123" fmla="*/ 9544 w 4486446"/>
              <a:gd name="connsiteY123" fmla="*/ 2455963 h 4477815"/>
              <a:gd name="connsiteX124" fmla="*/ 2448 w 4486446"/>
              <a:gd name="connsiteY124" fmla="*/ 2353253 h 4477815"/>
              <a:gd name="connsiteX125" fmla="*/ 81680 w 4486446"/>
              <a:gd name="connsiteY125" fmla="*/ 1634282 h 4477815"/>
              <a:gd name="connsiteX126" fmla="*/ 97053 w 4486446"/>
              <a:gd name="connsiteY126" fmla="*/ 1605948 h 4477815"/>
              <a:gd name="connsiteX127" fmla="*/ 106514 w 4486446"/>
              <a:gd name="connsiteY127" fmla="*/ 1555183 h 4477815"/>
              <a:gd name="connsiteX128" fmla="*/ 424621 w 4486446"/>
              <a:gd name="connsiteY128" fmla="*/ 927116 h 4477815"/>
              <a:gd name="connsiteX129" fmla="*/ 461280 w 4486446"/>
              <a:gd name="connsiteY129" fmla="*/ 897601 h 4477815"/>
              <a:gd name="connsiteX130" fmla="*/ 1162537 w 4486446"/>
              <a:gd name="connsiteY130" fmla="*/ 570581 h 4477815"/>
              <a:gd name="connsiteX131" fmla="*/ 1789291 w 4486446"/>
              <a:gd name="connsiteY131" fmla="*/ 492663 h 4477815"/>
              <a:gd name="connsiteX132" fmla="*/ 1891488 w 4486446"/>
              <a:gd name="connsiteY132" fmla="*/ 28013 h 4477815"/>
              <a:gd name="connsiteX133" fmla="*/ 1971902 w 4486446"/>
              <a:gd name="connsiteY133" fmla="*/ 39822 h 4477815"/>
              <a:gd name="connsiteX134" fmla="*/ 3187572 w 4486446"/>
              <a:gd name="connsiteY134" fmla="*/ 714099 h 4477815"/>
              <a:gd name="connsiteX135" fmla="*/ 3694889 w 4486446"/>
              <a:gd name="connsiteY135" fmla="*/ 1597389 h 4477815"/>
              <a:gd name="connsiteX136" fmla="*/ 3696072 w 4486446"/>
              <a:gd name="connsiteY136" fmla="*/ 1606835 h 4477815"/>
              <a:gd name="connsiteX137" fmla="*/ 3503314 w 4486446"/>
              <a:gd name="connsiteY137" fmla="*/ 1284458 h 4477815"/>
              <a:gd name="connsiteX138" fmla="*/ 2998362 w 4486446"/>
              <a:gd name="connsiteY138" fmla="*/ 827462 h 4477815"/>
              <a:gd name="connsiteX139" fmla="*/ 2266359 w 4486446"/>
              <a:gd name="connsiteY139" fmla="*/ 514533 h 4477815"/>
              <a:gd name="connsiteX140" fmla="*/ 2178850 w 4486446"/>
              <a:gd name="connsiteY140" fmla="*/ 496819 h 4477815"/>
              <a:gd name="connsiteX141" fmla="*/ 1729478 w 4486446"/>
              <a:gd name="connsiteY141" fmla="*/ 455489 h 4477815"/>
              <a:gd name="connsiteX142" fmla="*/ 1229256 w 4486446"/>
              <a:gd name="connsiteY142" fmla="*/ 514533 h 4477815"/>
              <a:gd name="connsiteX143" fmla="*/ 1202796 w 4486446"/>
              <a:gd name="connsiteY143" fmla="*/ 515713 h 4477815"/>
              <a:gd name="connsiteX144" fmla="*/ 1173677 w 4486446"/>
              <a:gd name="connsiteY144" fmla="*/ 509809 h 4477815"/>
              <a:gd name="connsiteX145" fmla="*/ 1186684 w 4486446"/>
              <a:gd name="connsiteY145" fmla="*/ 525160 h 4477815"/>
              <a:gd name="connsiteX146" fmla="*/ 1186684 w 4486446"/>
              <a:gd name="connsiteY146" fmla="*/ 525161 h 4477815"/>
              <a:gd name="connsiteX147" fmla="*/ 514991 w 4486446"/>
              <a:gd name="connsiteY147" fmla="*/ 810930 h 4477815"/>
              <a:gd name="connsiteX148" fmla="*/ 588310 w 4486446"/>
              <a:gd name="connsiteY148" fmla="*/ 727088 h 4477815"/>
              <a:gd name="connsiteX149" fmla="*/ 1291932 w 4486446"/>
              <a:gd name="connsiteY149" fmla="*/ 211048 h 4477815"/>
              <a:gd name="connsiteX150" fmla="*/ 1891488 w 4486446"/>
              <a:gd name="connsiteY150" fmla="*/ 28013 h 4477815"/>
              <a:gd name="connsiteX151" fmla="*/ 2182411 w 4486446"/>
              <a:gd name="connsiteY151" fmla="*/ 996 h 4477815"/>
              <a:gd name="connsiteX152" fmla="*/ 2893068 w 4486446"/>
              <a:gd name="connsiteY152" fmla="*/ 94251 h 4477815"/>
              <a:gd name="connsiteX153" fmla="*/ 3555244 w 4486446"/>
              <a:gd name="connsiteY153" fmla="*/ 422415 h 4477815"/>
              <a:gd name="connsiteX154" fmla="*/ 3600178 w 4486446"/>
              <a:gd name="connsiteY154" fmla="*/ 477895 h 4477815"/>
              <a:gd name="connsiteX155" fmla="*/ 3956096 w 4486446"/>
              <a:gd name="connsiteY155" fmla="*/ 1343160 h 4477815"/>
              <a:gd name="connsiteX156" fmla="*/ 3988023 w 4486446"/>
              <a:gd name="connsiteY156" fmla="*/ 1892066 h 4477815"/>
              <a:gd name="connsiteX157" fmla="*/ 3796465 w 4486446"/>
              <a:gd name="connsiteY157" fmla="*/ 2662895 h 4477815"/>
              <a:gd name="connsiteX158" fmla="*/ 3720788 w 4486446"/>
              <a:gd name="connsiteY158" fmla="*/ 2821075 h 4477815"/>
              <a:gd name="connsiteX159" fmla="*/ 3790553 w 4486446"/>
              <a:gd name="connsiteY159" fmla="*/ 2568460 h 4477815"/>
              <a:gd name="connsiteX160" fmla="*/ 3820114 w 4486446"/>
              <a:gd name="connsiteY160" fmla="*/ 2084478 h 4477815"/>
              <a:gd name="connsiteX161" fmla="*/ 3698321 w 4486446"/>
              <a:gd name="connsiteY161" fmla="*/ 1488355 h 4477815"/>
              <a:gd name="connsiteX162" fmla="*/ 3349496 w 4486446"/>
              <a:gd name="connsiteY162" fmla="*/ 847375 h 4477815"/>
              <a:gd name="connsiteX163" fmla="*/ 2908440 w 4486446"/>
              <a:gd name="connsiteY163" fmla="*/ 414153 h 4477815"/>
              <a:gd name="connsiteX164" fmla="*/ 2629380 w 4486446"/>
              <a:gd name="connsiteY164" fmla="*/ 237085 h 4477815"/>
              <a:gd name="connsiteX165" fmla="*/ 2031057 w 4486446"/>
              <a:gd name="connsiteY165" fmla="*/ 13981 h 4477815"/>
              <a:gd name="connsiteX166" fmla="*/ 2021597 w 4486446"/>
              <a:gd name="connsiteY166" fmla="*/ 8079 h 4477815"/>
              <a:gd name="connsiteX167" fmla="*/ 2182411 w 4486446"/>
              <a:gd name="connsiteY167" fmla="*/ 996 h 447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486446" h="4477815">
                <a:moveTo>
                  <a:pt x="2883960" y="3688835"/>
                </a:moveTo>
                <a:lnTo>
                  <a:pt x="2877286" y="3692584"/>
                </a:lnTo>
                <a:cubicBezTo>
                  <a:pt x="2877286" y="3692584"/>
                  <a:pt x="2876104" y="3691403"/>
                  <a:pt x="2874921" y="3690222"/>
                </a:cubicBezTo>
                <a:close/>
                <a:moveTo>
                  <a:pt x="791972" y="2871434"/>
                </a:moveTo>
                <a:cubicBezTo>
                  <a:pt x="840442" y="2978879"/>
                  <a:pt x="898369" y="3079238"/>
                  <a:pt x="969302" y="3173695"/>
                </a:cubicBezTo>
                <a:cubicBezTo>
                  <a:pt x="1109983" y="3364969"/>
                  <a:pt x="1287313" y="3516100"/>
                  <a:pt x="1483558" y="3648339"/>
                </a:cubicBezTo>
                <a:cubicBezTo>
                  <a:pt x="1508384" y="3664870"/>
                  <a:pt x="1528481" y="3695568"/>
                  <a:pt x="1555672" y="3701471"/>
                </a:cubicBezTo>
                <a:cubicBezTo>
                  <a:pt x="1589956" y="3709736"/>
                  <a:pt x="1615964" y="3729808"/>
                  <a:pt x="1644337" y="3746338"/>
                </a:cubicBezTo>
                <a:cubicBezTo>
                  <a:pt x="1874867" y="3870313"/>
                  <a:pt x="2119581" y="3954142"/>
                  <a:pt x="2377301" y="3995467"/>
                </a:cubicBezTo>
                <a:cubicBezTo>
                  <a:pt x="2611376" y="4032069"/>
                  <a:pt x="2844269" y="4033250"/>
                  <a:pt x="3078344" y="3997829"/>
                </a:cubicBezTo>
                <a:cubicBezTo>
                  <a:pt x="3382170" y="3952962"/>
                  <a:pt x="3663534" y="3849060"/>
                  <a:pt x="3925982" y="3692025"/>
                </a:cubicBezTo>
                <a:cubicBezTo>
                  <a:pt x="3934257" y="3687303"/>
                  <a:pt x="3940168" y="3681399"/>
                  <a:pt x="3948443" y="3677857"/>
                </a:cubicBezTo>
                <a:cubicBezTo>
                  <a:pt x="3954354" y="3673134"/>
                  <a:pt x="3961447" y="3669592"/>
                  <a:pt x="3968540" y="3666050"/>
                </a:cubicBezTo>
                <a:cubicBezTo>
                  <a:pt x="3969723" y="3668411"/>
                  <a:pt x="3972087" y="3669592"/>
                  <a:pt x="3974452" y="3671954"/>
                </a:cubicBezTo>
                <a:cubicBezTo>
                  <a:pt x="3905884" y="3742796"/>
                  <a:pt x="3838498" y="3815999"/>
                  <a:pt x="3766384" y="3884480"/>
                </a:cubicBezTo>
                <a:cubicBezTo>
                  <a:pt x="3654076" y="3991925"/>
                  <a:pt x="3527580" y="4084020"/>
                  <a:pt x="3393992" y="4163127"/>
                </a:cubicBezTo>
                <a:cubicBezTo>
                  <a:pt x="3148094" y="4309536"/>
                  <a:pt x="2885646" y="4406353"/>
                  <a:pt x="2603101" y="4450039"/>
                </a:cubicBezTo>
                <a:cubicBezTo>
                  <a:pt x="2581821" y="4453582"/>
                  <a:pt x="2559360" y="4447678"/>
                  <a:pt x="2536898" y="4444136"/>
                </a:cubicBezTo>
                <a:cubicBezTo>
                  <a:pt x="2410402" y="4420522"/>
                  <a:pt x="2286271" y="4386281"/>
                  <a:pt x="2164504" y="4341415"/>
                </a:cubicBezTo>
                <a:cubicBezTo>
                  <a:pt x="1787384" y="4200910"/>
                  <a:pt x="1470554" y="3975396"/>
                  <a:pt x="1212835" y="3666050"/>
                </a:cubicBezTo>
                <a:cubicBezTo>
                  <a:pt x="1166729" y="3610557"/>
                  <a:pt x="1124169" y="3551521"/>
                  <a:pt x="1083975" y="3492486"/>
                </a:cubicBezTo>
                <a:cubicBezTo>
                  <a:pt x="1042598" y="3429909"/>
                  <a:pt x="1003585" y="3366150"/>
                  <a:pt x="968119" y="3301211"/>
                </a:cubicBezTo>
                <a:cubicBezTo>
                  <a:pt x="932654" y="3236273"/>
                  <a:pt x="900734" y="3168972"/>
                  <a:pt x="872361" y="3100491"/>
                </a:cubicBezTo>
                <a:cubicBezTo>
                  <a:pt x="843988" y="3032010"/>
                  <a:pt x="821527" y="2961167"/>
                  <a:pt x="796701" y="2891506"/>
                </a:cubicBezTo>
                <a:cubicBezTo>
                  <a:pt x="794336" y="2884422"/>
                  <a:pt x="793154" y="2878519"/>
                  <a:pt x="791972" y="2871434"/>
                </a:cubicBezTo>
                <a:close/>
                <a:moveTo>
                  <a:pt x="4479352" y="2023705"/>
                </a:moveTo>
                <a:cubicBezTo>
                  <a:pt x="4481716" y="2102811"/>
                  <a:pt x="4486446" y="2180735"/>
                  <a:pt x="4486446" y="2259841"/>
                </a:cubicBezTo>
                <a:cubicBezTo>
                  <a:pt x="4484081" y="2612864"/>
                  <a:pt x="4402488" y="2946996"/>
                  <a:pt x="4239302" y="3261056"/>
                </a:cubicBezTo>
                <a:cubicBezTo>
                  <a:pt x="4189638" y="3355511"/>
                  <a:pt x="4126966" y="3445242"/>
                  <a:pt x="4072570" y="3537336"/>
                </a:cubicBezTo>
                <a:cubicBezTo>
                  <a:pt x="4058380" y="3560949"/>
                  <a:pt x="4035913" y="3572756"/>
                  <a:pt x="4015810" y="3586924"/>
                </a:cubicBezTo>
                <a:cubicBezTo>
                  <a:pt x="3891648" y="3671932"/>
                  <a:pt x="3761572" y="3745135"/>
                  <a:pt x="3623220" y="3802988"/>
                </a:cubicBezTo>
                <a:cubicBezTo>
                  <a:pt x="3564094" y="3827782"/>
                  <a:pt x="3502604" y="3851396"/>
                  <a:pt x="3441114" y="3871467"/>
                </a:cubicBezTo>
                <a:cubicBezTo>
                  <a:pt x="3377259" y="3892720"/>
                  <a:pt x="3313404" y="3910430"/>
                  <a:pt x="3248366" y="3925778"/>
                </a:cubicBezTo>
                <a:cubicBezTo>
                  <a:pt x="3182146" y="3939947"/>
                  <a:pt x="3115926" y="3952934"/>
                  <a:pt x="3048523" y="3962380"/>
                </a:cubicBezTo>
                <a:cubicBezTo>
                  <a:pt x="2676036" y="4014329"/>
                  <a:pt x="2313007" y="3977728"/>
                  <a:pt x="1960621" y="3844312"/>
                </a:cubicBezTo>
                <a:cubicBezTo>
                  <a:pt x="1866022" y="3808892"/>
                  <a:pt x="1774969" y="3762845"/>
                  <a:pt x="1682734" y="3721522"/>
                </a:cubicBezTo>
                <a:cubicBezTo>
                  <a:pt x="1679186" y="3720341"/>
                  <a:pt x="1675639" y="3717979"/>
                  <a:pt x="1673274" y="3713257"/>
                </a:cubicBezTo>
                <a:cubicBezTo>
                  <a:pt x="1699289" y="3721522"/>
                  <a:pt x="1725304" y="3730967"/>
                  <a:pt x="1751319" y="3740412"/>
                </a:cubicBezTo>
                <a:cubicBezTo>
                  <a:pt x="1946432" y="3804169"/>
                  <a:pt x="2146274" y="3825421"/>
                  <a:pt x="2349665" y="3815976"/>
                </a:cubicBezTo>
                <a:cubicBezTo>
                  <a:pt x="2586165" y="3804169"/>
                  <a:pt x="2815570" y="3758122"/>
                  <a:pt x="3037881" y="3675475"/>
                </a:cubicBezTo>
                <a:cubicBezTo>
                  <a:pt x="3357156" y="3556226"/>
                  <a:pt x="3635044" y="3374402"/>
                  <a:pt x="3875093" y="3132363"/>
                </a:cubicBezTo>
                <a:cubicBezTo>
                  <a:pt x="3879822" y="3126459"/>
                  <a:pt x="3886918" y="3124098"/>
                  <a:pt x="3896378" y="3118194"/>
                </a:cubicBezTo>
                <a:cubicBezTo>
                  <a:pt x="3897560" y="3115833"/>
                  <a:pt x="3898743" y="3107569"/>
                  <a:pt x="3903472" y="3101665"/>
                </a:cubicBezTo>
                <a:cubicBezTo>
                  <a:pt x="4128148" y="2863167"/>
                  <a:pt x="4294881" y="2589251"/>
                  <a:pt x="4400124" y="2279913"/>
                </a:cubicBezTo>
                <a:cubicBezTo>
                  <a:pt x="4429686" y="2196084"/>
                  <a:pt x="4450971" y="2109895"/>
                  <a:pt x="4475804" y="2024886"/>
                </a:cubicBezTo>
                <a:cubicBezTo>
                  <a:pt x="4476986" y="2024886"/>
                  <a:pt x="4478169" y="2024886"/>
                  <a:pt x="4479352" y="2023705"/>
                </a:cubicBezTo>
                <a:close/>
                <a:moveTo>
                  <a:pt x="772423" y="1655797"/>
                </a:moveTo>
                <a:cubicBezTo>
                  <a:pt x="758238" y="1697121"/>
                  <a:pt x="742872" y="1731359"/>
                  <a:pt x="734596" y="1767960"/>
                </a:cubicBezTo>
                <a:cubicBezTo>
                  <a:pt x="714502" y="1849426"/>
                  <a:pt x="688496" y="1929711"/>
                  <a:pt x="679040" y="2013538"/>
                </a:cubicBezTo>
                <a:cubicBezTo>
                  <a:pt x="619936" y="2517681"/>
                  <a:pt x="733415" y="2985223"/>
                  <a:pt x="992288" y="3419707"/>
                </a:cubicBezTo>
                <a:cubicBezTo>
                  <a:pt x="1093945" y="3590903"/>
                  <a:pt x="1218062" y="3743209"/>
                  <a:pt x="1362275" y="3880166"/>
                </a:cubicBezTo>
                <a:cubicBezTo>
                  <a:pt x="1642425" y="4149357"/>
                  <a:pt x="1969858" y="4334721"/>
                  <a:pt x="2344573" y="4437438"/>
                </a:cubicBezTo>
                <a:cubicBezTo>
                  <a:pt x="2382400" y="4448064"/>
                  <a:pt x="2420226" y="4456329"/>
                  <a:pt x="2458052" y="4465775"/>
                </a:cubicBezTo>
                <a:cubicBezTo>
                  <a:pt x="2458052" y="4468135"/>
                  <a:pt x="2456870" y="4470497"/>
                  <a:pt x="2456870" y="4472859"/>
                </a:cubicBezTo>
                <a:cubicBezTo>
                  <a:pt x="2370578" y="4475220"/>
                  <a:pt x="2284288" y="4478762"/>
                  <a:pt x="2197997" y="4477581"/>
                </a:cubicBezTo>
                <a:cubicBezTo>
                  <a:pt x="1935578" y="4475220"/>
                  <a:pt x="1681433" y="4424451"/>
                  <a:pt x="1436745" y="4329998"/>
                </a:cubicBezTo>
                <a:cubicBezTo>
                  <a:pt x="1427289" y="4326456"/>
                  <a:pt x="1417832" y="4321733"/>
                  <a:pt x="1409558" y="4317011"/>
                </a:cubicBezTo>
                <a:cubicBezTo>
                  <a:pt x="1407193" y="4314649"/>
                  <a:pt x="1407193" y="4308746"/>
                  <a:pt x="1407193" y="4308746"/>
                </a:cubicBezTo>
                <a:cubicBezTo>
                  <a:pt x="1396555" y="4307565"/>
                  <a:pt x="1382370" y="4307565"/>
                  <a:pt x="1371731" y="4302843"/>
                </a:cubicBezTo>
                <a:cubicBezTo>
                  <a:pt x="1219245" y="4240268"/>
                  <a:pt x="1077397" y="4159982"/>
                  <a:pt x="943823" y="4065530"/>
                </a:cubicBezTo>
                <a:cubicBezTo>
                  <a:pt x="927274" y="4053723"/>
                  <a:pt x="913089" y="4036013"/>
                  <a:pt x="901268" y="4019484"/>
                </a:cubicBezTo>
                <a:cubicBezTo>
                  <a:pt x="777151" y="3844746"/>
                  <a:pt x="680221" y="3654659"/>
                  <a:pt x="612844" y="3450404"/>
                </a:cubicBezTo>
                <a:cubicBezTo>
                  <a:pt x="521825" y="3181213"/>
                  <a:pt x="482816" y="2903758"/>
                  <a:pt x="498183" y="2619218"/>
                </a:cubicBezTo>
                <a:cubicBezTo>
                  <a:pt x="514732" y="2283910"/>
                  <a:pt x="603387" y="1967492"/>
                  <a:pt x="761785" y="1671146"/>
                </a:cubicBezTo>
                <a:cubicBezTo>
                  <a:pt x="762966" y="1667604"/>
                  <a:pt x="766512" y="1664062"/>
                  <a:pt x="772423" y="1655797"/>
                </a:cubicBezTo>
                <a:close/>
                <a:moveTo>
                  <a:pt x="1597326" y="789665"/>
                </a:moveTo>
                <a:cubicBezTo>
                  <a:pt x="1602053" y="788485"/>
                  <a:pt x="1605598" y="788485"/>
                  <a:pt x="1610324" y="789665"/>
                </a:cubicBezTo>
                <a:lnTo>
                  <a:pt x="1610322" y="789666"/>
                </a:lnTo>
                <a:lnTo>
                  <a:pt x="1610324" y="789666"/>
                </a:lnTo>
                <a:cubicBezTo>
                  <a:pt x="1425996" y="871149"/>
                  <a:pt x="1262937" y="983336"/>
                  <a:pt x="1121146" y="1126226"/>
                </a:cubicBezTo>
                <a:cubicBezTo>
                  <a:pt x="979355" y="1267936"/>
                  <a:pt x="858834" y="1426179"/>
                  <a:pt x="758398" y="1600955"/>
                </a:cubicBezTo>
                <a:cubicBezTo>
                  <a:pt x="751309" y="1596231"/>
                  <a:pt x="746582" y="1591507"/>
                  <a:pt x="741856" y="1586784"/>
                </a:cubicBezTo>
                <a:cubicBezTo>
                  <a:pt x="757217" y="1604498"/>
                  <a:pt x="748946" y="1618669"/>
                  <a:pt x="739493" y="1635201"/>
                </a:cubicBezTo>
                <a:cubicBezTo>
                  <a:pt x="615427" y="1858395"/>
                  <a:pt x="533897" y="2096940"/>
                  <a:pt x="490177" y="2347294"/>
                </a:cubicBezTo>
                <a:cubicBezTo>
                  <a:pt x="455911" y="2544507"/>
                  <a:pt x="447641" y="2742901"/>
                  <a:pt x="466546" y="2942476"/>
                </a:cubicBezTo>
                <a:cubicBezTo>
                  <a:pt x="501993" y="3300294"/>
                  <a:pt x="611881" y="3634493"/>
                  <a:pt x="803299" y="3940351"/>
                </a:cubicBezTo>
                <a:cubicBezTo>
                  <a:pt x="808025" y="3946255"/>
                  <a:pt x="811570" y="3953341"/>
                  <a:pt x="815115" y="3960427"/>
                </a:cubicBezTo>
                <a:cubicBezTo>
                  <a:pt x="813934" y="3961608"/>
                  <a:pt x="812752" y="3962788"/>
                  <a:pt x="811570" y="3963969"/>
                </a:cubicBezTo>
                <a:cubicBezTo>
                  <a:pt x="784393" y="3940351"/>
                  <a:pt x="757217" y="3917914"/>
                  <a:pt x="730041" y="3893114"/>
                </a:cubicBezTo>
                <a:cubicBezTo>
                  <a:pt x="520899" y="3700625"/>
                  <a:pt x="351932" y="3477431"/>
                  <a:pt x="226683" y="3221173"/>
                </a:cubicBezTo>
                <a:cubicBezTo>
                  <a:pt x="141609" y="3046397"/>
                  <a:pt x="78985" y="2862173"/>
                  <a:pt x="42356" y="2670865"/>
                </a:cubicBezTo>
                <a:cubicBezTo>
                  <a:pt x="36447" y="2643704"/>
                  <a:pt x="28176" y="2616543"/>
                  <a:pt x="28176" y="2588201"/>
                </a:cubicBezTo>
                <a:cubicBezTo>
                  <a:pt x="28176" y="2561040"/>
                  <a:pt x="36447" y="2533879"/>
                  <a:pt x="41174" y="2505537"/>
                </a:cubicBezTo>
                <a:cubicBezTo>
                  <a:pt x="99072" y="2215031"/>
                  <a:pt x="210141" y="1945782"/>
                  <a:pt x="374382" y="1698971"/>
                </a:cubicBezTo>
                <a:cubicBezTo>
                  <a:pt x="472454" y="1550176"/>
                  <a:pt x="587068" y="1414370"/>
                  <a:pt x="719406" y="1293916"/>
                </a:cubicBezTo>
                <a:cubicBezTo>
                  <a:pt x="753672" y="1260850"/>
                  <a:pt x="790302" y="1230147"/>
                  <a:pt x="826931" y="1199443"/>
                </a:cubicBezTo>
                <a:cubicBezTo>
                  <a:pt x="1056159" y="1012858"/>
                  <a:pt x="1313746" y="877053"/>
                  <a:pt x="1597326" y="789665"/>
                </a:cubicBezTo>
                <a:close/>
                <a:moveTo>
                  <a:pt x="2243223" y="763473"/>
                </a:moveTo>
                <a:cubicBezTo>
                  <a:pt x="3058083" y="763473"/>
                  <a:pt x="3718658" y="1424048"/>
                  <a:pt x="3718658" y="2238908"/>
                </a:cubicBezTo>
                <a:cubicBezTo>
                  <a:pt x="3718658" y="3053768"/>
                  <a:pt x="3058083" y="3714343"/>
                  <a:pt x="2243223" y="3714343"/>
                </a:cubicBezTo>
                <a:cubicBezTo>
                  <a:pt x="1428363" y="3714343"/>
                  <a:pt x="767788" y="3053768"/>
                  <a:pt x="767788" y="2238908"/>
                </a:cubicBezTo>
                <a:cubicBezTo>
                  <a:pt x="767788" y="1424048"/>
                  <a:pt x="1428363" y="763473"/>
                  <a:pt x="2243223" y="763473"/>
                </a:cubicBezTo>
                <a:close/>
                <a:moveTo>
                  <a:pt x="3675296" y="514301"/>
                </a:moveTo>
                <a:cubicBezTo>
                  <a:pt x="3706033" y="541456"/>
                  <a:pt x="3737954" y="567430"/>
                  <a:pt x="3767510" y="595765"/>
                </a:cubicBezTo>
                <a:cubicBezTo>
                  <a:pt x="4040606" y="850784"/>
                  <a:pt x="4240404" y="1153028"/>
                  <a:pt x="4363356" y="1506038"/>
                </a:cubicBezTo>
                <a:cubicBezTo>
                  <a:pt x="4407099" y="1631187"/>
                  <a:pt x="4440202" y="1758696"/>
                  <a:pt x="4459118" y="1889746"/>
                </a:cubicBezTo>
                <a:cubicBezTo>
                  <a:pt x="4462664" y="1915721"/>
                  <a:pt x="4450842" y="1944056"/>
                  <a:pt x="4444930" y="1972392"/>
                </a:cubicBezTo>
                <a:cubicBezTo>
                  <a:pt x="4373996" y="2332487"/>
                  <a:pt x="4223852" y="2657162"/>
                  <a:pt x="3992134" y="2941697"/>
                </a:cubicBezTo>
                <a:cubicBezTo>
                  <a:pt x="3929476" y="3020800"/>
                  <a:pt x="3857360" y="3092819"/>
                  <a:pt x="3785244" y="3164838"/>
                </a:cubicBezTo>
                <a:cubicBezTo>
                  <a:pt x="3630371" y="3319501"/>
                  <a:pt x="3449488" y="3441108"/>
                  <a:pt x="3255602" y="3541462"/>
                </a:cubicBezTo>
                <a:cubicBezTo>
                  <a:pt x="3138560" y="3600494"/>
                  <a:pt x="3015608" y="3647720"/>
                  <a:pt x="2890290" y="3687862"/>
                </a:cubicBezTo>
                <a:lnTo>
                  <a:pt x="2883960" y="3688835"/>
                </a:lnTo>
                <a:lnTo>
                  <a:pt x="3002307" y="3622336"/>
                </a:lnTo>
                <a:cubicBezTo>
                  <a:pt x="3043982" y="3598724"/>
                  <a:pt x="3085360" y="3574520"/>
                  <a:pt x="3125555" y="3548546"/>
                </a:cubicBezTo>
                <a:cubicBezTo>
                  <a:pt x="3304073" y="3431663"/>
                  <a:pt x="3448306" y="3278180"/>
                  <a:pt x="3575988" y="3109348"/>
                </a:cubicBezTo>
                <a:cubicBezTo>
                  <a:pt x="3788790" y="2827175"/>
                  <a:pt x="3925930" y="2510764"/>
                  <a:pt x="3990953" y="2163655"/>
                </a:cubicBezTo>
                <a:cubicBezTo>
                  <a:pt x="4028784" y="1968850"/>
                  <a:pt x="4038242" y="1771683"/>
                  <a:pt x="4022873" y="1572154"/>
                </a:cubicBezTo>
                <a:cubicBezTo>
                  <a:pt x="4011050" y="1405685"/>
                  <a:pt x="3980312" y="1241575"/>
                  <a:pt x="3931840" y="1082189"/>
                </a:cubicBezTo>
                <a:cubicBezTo>
                  <a:pt x="3873911" y="889746"/>
                  <a:pt x="3791155" y="706746"/>
                  <a:pt x="3682388" y="535554"/>
                </a:cubicBezTo>
                <a:cubicBezTo>
                  <a:pt x="3678842" y="529650"/>
                  <a:pt x="3675296" y="523747"/>
                  <a:pt x="3675296" y="514302"/>
                </a:cubicBezTo>
                <a:close/>
                <a:moveTo>
                  <a:pt x="1789291" y="492663"/>
                </a:moveTo>
                <a:cubicBezTo>
                  <a:pt x="1983231" y="496205"/>
                  <a:pt x="2174805" y="524539"/>
                  <a:pt x="2361648" y="577665"/>
                </a:cubicBezTo>
                <a:cubicBezTo>
                  <a:pt x="2372291" y="580026"/>
                  <a:pt x="2381752" y="585929"/>
                  <a:pt x="2391212" y="589470"/>
                </a:cubicBezTo>
                <a:lnTo>
                  <a:pt x="2391212" y="589471"/>
                </a:lnTo>
                <a:lnTo>
                  <a:pt x="2391212" y="594192"/>
                </a:lnTo>
                <a:cubicBezTo>
                  <a:pt x="2398308" y="593012"/>
                  <a:pt x="2406586" y="590651"/>
                  <a:pt x="2413681" y="593012"/>
                </a:cubicBezTo>
                <a:cubicBezTo>
                  <a:pt x="2556770" y="636693"/>
                  <a:pt x="2693948" y="694542"/>
                  <a:pt x="2828758" y="767738"/>
                </a:cubicBezTo>
                <a:lnTo>
                  <a:pt x="2828756" y="767738"/>
                </a:lnTo>
                <a:lnTo>
                  <a:pt x="2818115" y="767738"/>
                </a:lnTo>
                <a:cubicBezTo>
                  <a:pt x="2611168" y="685098"/>
                  <a:pt x="2395942" y="653223"/>
                  <a:pt x="2173622" y="660306"/>
                </a:cubicBezTo>
                <a:cubicBezTo>
                  <a:pt x="1966675" y="667389"/>
                  <a:pt x="1763275" y="699265"/>
                  <a:pt x="1565788" y="761836"/>
                </a:cubicBezTo>
                <a:cubicBezTo>
                  <a:pt x="1082122" y="915310"/>
                  <a:pt x="690696" y="1198648"/>
                  <a:pt x="390327" y="1608309"/>
                </a:cubicBezTo>
                <a:cubicBezTo>
                  <a:pt x="260245" y="1786576"/>
                  <a:pt x="160910" y="1982552"/>
                  <a:pt x="86410" y="2190333"/>
                </a:cubicBezTo>
                <a:cubicBezTo>
                  <a:pt x="55663" y="2276516"/>
                  <a:pt x="35560" y="2366239"/>
                  <a:pt x="9544" y="2455963"/>
                </a:cubicBezTo>
                <a:cubicBezTo>
                  <a:pt x="7179" y="2420546"/>
                  <a:pt x="3631" y="2387490"/>
                  <a:pt x="2448" y="2353253"/>
                </a:cubicBezTo>
                <a:cubicBezTo>
                  <a:pt x="-8195" y="2108873"/>
                  <a:pt x="15456" y="1869216"/>
                  <a:pt x="81680" y="1634282"/>
                </a:cubicBezTo>
                <a:cubicBezTo>
                  <a:pt x="85227" y="1623656"/>
                  <a:pt x="100601" y="1611850"/>
                  <a:pt x="97053" y="1605948"/>
                </a:cubicBezTo>
                <a:cubicBezTo>
                  <a:pt x="89958" y="1585878"/>
                  <a:pt x="101783" y="1571711"/>
                  <a:pt x="106514" y="1555183"/>
                </a:cubicBezTo>
                <a:cubicBezTo>
                  <a:pt x="177466" y="1328512"/>
                  <a:pt x="285079" y="1119549"/>
                  <a:pt x="424621" y="927116"/>
                </a:cubicBezTo>
                <a:cubicBezTo>
                  <a:pt x="434082" y="915309"/>
                  <a:pt x="448271" y="907046"/>
                  <a:pt x="461280" y="897601"/>
                </a:cubicBezTo>
                <a:cubicBezTo>
                  <a:pt x="676505" y="747668"/>
                  <a:pt x="909470" y="637874"/>
                  <a:pt x="1162537" y="570581"/>
                </a:cubicBezTo>
                <a:cubicBezTo>
                  <a:pt x="1368301" y="515094"/>
                  <a:pt x="1576431" y="489121"/>
                  <a:pt x="1789291" y="492663"/>
                </a:cubicBezTo>
                <a:close/>
                <a:moveTo>
                  <a:pt x="1891488" y="28013"/>
                </a:moveTo>
                <a:cubicBezTo>
                  <a:pt x="1917505" y="23290"/>
                  <a:pt x="1945886" y="33917"/>
                  <a:pt x="1971902" y="39822"/>
                </a:cubicBezTo>
                <a:cubicBezTo>
                  <a:pt x="2449656" y="135472"/>
                  <a:pt x="2855272" y="359838"/>
                  <a:pt x="3187572" y="714099"/>
                </a:cubicBezTo>
                <a:cubicBezTo>
                  <a:pt x="3426449" y="967985"/>
                  <a:pt x="3593189" y="1264383"/>
                  <a:pt x="3694889" y="1597389"/>
                </a:cubicBezTo>
                <a:cubicBezTo>
                  <a:pt x="3696072" y="1599751"/>
                  <a:pt x="3696072" y="1603293"/>
                  <a:pt x="3696072" y="1606835"/>
                </a:cubicBezTo>
                <a:cubicBezTo>
                  <a:pt x="3642856" y="1492291"/>
                  <a:pt x="3580181" y="1384832"/>
                  <a:pt x="3503314" y="1284458"/>
                </a:cubicBezTo>
                <a:cubicBezTo>
                  <a:pt x="3362590" y="1101423"/>
                  <a:pt x="3189937" y="953816"/>
                  <a:pt x="2998362" y="827462"/>
                </a:cubicBezTo>
                <a:cubicBezTo>
                  <a:pt x="2773677" y="678673"/>
                  <a:pt x="2528887" y="575938"/>
                  <a:pt x="2266359" y="514533"/>
                </a:cubicBezTo>
                <a:cubicBezTo>
                  <a:pt x="2237977" y="507447"/>
                  <a:pt x="2208414" y="502724"/>
                  <a:pt x="2178850" y="496819"/>
                </a:cubicBezTo>
                <a:cubicBezTo>
                  <a:pt x="2036943" y="468478"/>
                  <a:pt x="1876115" y="454308"/>
                  <a:pt x="1729478" y="455489"/>
                </a:cubicBezTo>
                <a:cubicBezTo>
                  <a:pt x="1560373" y="456670"/>
                  <a:pt x="1394814" y="476744"/>
                  <a:pt x="1229256" y="514533"/>
                </a:cubicBezTo>
                <a:cubicBezTo>
                  <a:pt x="1220978" y="516304"/>
                  <a:pt x="1212109" y="516599"/>
                  <a:pt x="1202796" y="515713"/>
                </a:cubicBezTo>
                <a:lnTo>
                  <a:pt x="1173677" y="509809"/>
                </a:lnTo>
                <a:lnTo>
                  <a:pt x="1186684" y="525160"/>
                </a:lnTo>
                <a:lnTo>
                  <a:pt x="1186684" y="525161"/>
                </a:lnTo>
                <a:cubicBezTo>
                  <a:pt x="947808" y="586566"/>
                  <a:pt x="725487" y="682216"/>
                  <a:pt x="514991" y="810930"/>
                </a:cubicBezTo>
                <a:cubicBezTo>
                  <a:pt x="539825" y="782590"/>
                  <a:pt x="563476" y="754249"/>
                  <a:pt x="588310" y="727088"/>
                </a:cubicBezTo>
                <a:cubicBezTo>
                  <a:pt x="789345" y="509809"/>
                  <a:pt x="1023491" y="336221"/>
                  <a:pt x="1291932" y="211048"/>
                </a:cubicBezTo>
                <a:cubicBezTo>
                  <a:pt x="1483506" y="121302"/>
                  <a:pt x="1683358" y="58716"/>
                  <a:pt x="1891488" y="28013"/>
                </a:cubicBezTo>
                <a:close/>
                <a:moveTo>
                  <a:pt x="2182411" y="996"/>
                </a:moveTo>
                <a:cubicBezTo>
                  <a:pt x="2423633" y="-6087"/>
                  <a:pt x="2661306" y="24605"/>
                  <a:pt x="2893068" y="94251"/>
                </a:cubicBezTo>
                <a:cubicBezTo>
                  <a:pt x="3131924" y="166258"/>
                  <a:pt x="3353044" y="276040"/>
                  <a:pt x="3555244" y="422415"/>
                </a:cubicBezTo>
                <a:cubicBezTo>
                  <a:pt x="3574163" y="436580"/>
                  <a:pt x="3587170" y="459008"/>
                  <a:pt x="3600178" y="477895"/>
                </a:cubicBezTo>
                <a:cubicBezTo>
                  <a:pt x="3779911" y="741134"/>
                  <a:pt x="3899339" y="1029162"/>
                  <a:pt x="3956096" y="1343160"/>
                </a:cubicBezTo>
                <a:cubicBezTo>
                  <a:pt x="3990388" y="1524948"/>
                  <a:pt x="4001030" y="1707917"/>
                  <a:pt x="3988023" y="1892066"/>
                </a:cubicBezTo>
                <a:cubicBezTo>
                  <a:pt x="3970286" y="2160026"/>
                  <a:pt x="3907616" y="2418544"/>
                  <a:pt x="3796465" y="2662895"/>
                </a:cubicBezTo>
                <a:cubicBezTo>
                  <a:pt x="3772816" y="2714835"/>
                  <a:pt x="3746802" y="2765594"/>
                  <a:pt x="3720788" y="2821075"/>
                </a:cubicBezTo>
                <a:cubicBezTo>
                  <a:pt x="3744436" y="2733722"/>
                  <a:pt x="3770451" y="2652272"/>
                  <a:pt x="3790553" y="2568460"/>
                </a:cubicBezTo>
                <a:cubicBezTo>
                  <a:pt x="3827209" y="2409100"/>
                  <a:pt x="3830756" y="2247379"/>
                  <a:pt x="3820114" y="2084478"/>
                </a:cubicBezTo>
                <a:cubicBezTo>
                  <a:pt x="3805924" y="1880261"/>
                  <a:pt x="3765721" y="1681947"/>
                  <a:pt x="3698321" y="1488355"/>
                </a:cubicBezTo>
                <a:cubicBezTo>
                  <a:pt x="3616732" y="1255807"/>
                  <a:pt x="3500850" y="1043328"/>
                  <a:pt x="3349496" y="847375"/>
                </a:cubicBezTo>
                <a:cubicBezTo>
                  <a:pt x="3222974" y="682112"/>
                  <a:pt x="3076348" y="536918"/>
                  <a:pt x="2908440" y="414153"/>
                </a:cubicBezTo>
                <a:cubicBezTo>
                  <a:pt x="2819756" y="349228"/>
                  <a:pt x="2725159" y="291386"/>
                  <a:pt x="2629380" y="237085"/>
                </a:cubicBezTo>
                <a:cubicBezTo>
                  <a:pt x="2442552" y="132026"/>
                  <a:pt x="2241535" y="60018"/>
                  <a:pt x="2031057" y="13981"/>
                </a:cubicBezTo>
                <a:cubicBezTo>
                  <a:pt x="2029874" y="13981"/>
                  <a:pt x="2028692" y="12801"/>
                  <a:pt x="2021597" y="8079"/>
                </a:cubicBezTo>
                <a:cubicBezTo>
                  <a:pt x="2079538" y="5717"/>
                  <a:pt x="2130384" y="2177"/>
                  <a:pt x="2182411" y="996"/>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26143418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3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1518A3E9-C520-49BB-91C1-C5A008BC73F4}"/>
              </a:ext>
            </a:extLst>
          </p:cNvPr>
          <p:cNvSpPr>
            <a:spLocks noGrp="1"/>
          </p:cNvSpPr>
          <p:nvPr>
            <p:ph type="pic" sz="quarter" idx="20"/>
          </p:nvPr>
        </p:nvSpPr>
        <p:spPr>
          <a:xfrm>
            <a:off x="8770680" y="1931299"/>
            <a:ext cx="5962066" cy="5877132"/>
          </a:xfrm>
          <a:custGeom>
            <a:avLst/>
            <a:gdLst>
              <a:gd name="connsiteX0" fmla="*/ 2883960 w 4486446"/>
              <a:gd name="connsiteY0" fmla="*/ 3688835 h 4477815"/>
              <a:gd name="connsiteX1" fmla="*/ 2877286 w 4486446"/>
              <a:gd name="connsiteY1" fmla="*/ 3692584 h 4477815"/>
              <a:gd name="connsiteX2" fmla="*/ 2874921 w 4486446"/>
              <a:gd name="connsiteY2" fmla="*/ 3690222 h 4477815"/>
              <a:gd name="connsiteX3" fmla="*/ 791972 w 4486446"/>
              <a:gd name="connsiteY3" fmla="*/ 2871434 h 4477815"/>
              <a:gd name="connsiteX4" fmla="*/ 969302 w 4486446"/>
              <a:gd name="connsiteY4" fmla="*/ 3173695 h 4477815"/>
              <a:gd name="connsiteX5" fmla="*/ 1483558 w 4486446"/>
              <a:gd name="connsiteY5" fmla="*/ 3648339 h 4477815"/>
              <a:gd name="connsiteX6" fmla="*/ 1555672 w 4486446"/>
              <a:gd name="connsiteY6" fmla="*/ 3701471 h 4477815"/>
              <a:gd name="connsiteX7" fmla="*/ 1644337 w 4486446"/>
              <a:gd name="connsiteY7" fmla="*/ 3746338 h 4477815"/>
              <a:gd name="connsiteX8" fmla="*/ 2377301 w 4486446"/>
              <a:gd name="connsiteY8" fmla="*/ 3995467 h 4477815"/>
              <a:gd name="connsiteX9" fmla="*/ 3078344 w 4486446"/>
              <a:gd name="connsiteY9" fmla="*/ 3997829 h 4477815"/>
              <a:gd name="connsiteX10" fmla="*/ 3925982 w 4486446"/>
              <a:gd name="connsiteY10" fmla="*/ 3692025 h 4477815"/>
              <a:gd name="connsiteX11" fmla="*/ 3948443 w 4486446"/>
              <a:gd name="connsiteY11" fmla="*/ 3677857 h 4477815"/>
              <a:gd name="connsiteX12" fmla="*/ 3968540 w 4486446"/>
              <a:gd name="connsiteY12" fmla="*/ 3666050 h 4477815"/>
              <a:gd name="connsiteX13" fmla="*/ 3974452 w 4486446"/>
              <a:gd name="connsiteY13" fmla="*/ 3671954 h 4477815"/>
              <a:gd name="connsiteX14" fmla="*/ 3766384 w 4486446"/>
              <a:gd name="connsiteY14" fmla="*/ 3884480 h 4477815"/>
              <a:gd name="connsiteX15" fmla="*/ 3393992 w 4486446"/>
              <a:gd name="connsiteY15" fmla="*/ 4163127 h 4477815"/>
              <a:gd name="connsiteX16" fmla="*/ 2603101 w 4486446"/>
              <a:gd name="connsiteY16" fmla="*/ 4450039 h 4477815"/>
              <a:gd name="connsiteX17" fmla="*/ 2536898 w 4486446"/>
              <a:gd name="connsiteY17" fmla="*/ 4444136 h 4477815"/>
              <a:gd name="connsiteX18" fmla="*/ 2164504 w 4486446"/>
              <a:gd name="connsiteY18" fmla="*/ 4341415 h 4477815"/>
              <a:gd name="connsiteX19" fmla="*/ 1212835 w 4486446"/>
              <a:gd name="connsiteY19" fmla="*/ 3666050 h 4477815"/>
              <a:gd name="connsiteX20" fmla="*/ 1083975 w 4486446"/>
              <a:gd name="connsiteY20" fmla="*/ 3492486 h 4477815"/>
              <a:gd name="connsiteX21" fmla="*/ 968119 w 4486446"/>
              <a:gd name="connsiteY21" fmla="*/ 3301211 h 4477815"/>
              <a:gd name="connsiteX22" fmla="*/ 872361 w 4486446"/>
              <a:gd name="connsiteY22" fmla="*/ 3100491 h 4477815"/>
              <a:gd name="connsiteX23" fmla="*/ 796701 w 4486446"/>
              <a:gd name="connsiteY23" fmla="*/ 2891506 h 4477815"/>
              <a:gd name="connsiteX24" fmla="*/ 791972 w 4486446"/>
              <a:gd name="connsiteY24" fmla="*/ 2871434 h 4477815"/>
              <a:gd name="connsiteX25" fmla="*/ 4479352 w 4486446"/>
              <a:gd name="connsiteY25" fmla="*/ 2023705 h 4477815"/>
              <a:gd name="connsiteX26" fmla="*/ 4486446 w 4486446"/>
              <a:gd name="connsiteY26" fmla="*/ 2259841 h 4477815"/>
              <a:gd name="connsiteX27" fmla="*/ 4239302 w 4486446"/>
              <a:gd name="connsiteY27" fmla="*/ 3261056 h 4477815"/>
              <a:gd name="connsiteX28" fmla="*/ 4072570 w 4486446"/>
              <a:gd name="connsiteY28" fmla="*/ 3537336 h 4477815"/>
              <a:gd name="connsiteX29" fmla="*/ 4015810 w 4486446"/>
              <a:gd name="connsiteY29" fmla="*/ 3586924 h 4477815"/>
              <a:gd name="connsiteX30" fmla="*/ 3623220 w 4486446"/>
              <a:gd name="connsiteY30" fmla="*/ 3802988 h 4477815"/>
              <a:gd name="connsiteX31" fmla="*/ 3441114 w 4486446"/>
              <a:gd name="connsiteY31" fmla="*/ 3871467 h 4477815"/>
              <a:gd name="connsiteX32" fmla="*/ 3248366 w 4486446"/>
              <a:gd name="connsiteY32" fmla="*/ 3925778 h 4477815"/>
              <a:gd name="connsiteX33" fmla="*/ 3048523 w 4486446"/>
              <a:gd name="connsiteY33" fmla="*/ 3962380 h 4477815"/>
              <a:gd name="connsiteX34" fmla="*/ 1960621 w 4486446"/>
              <a:gd name="connsiteY34" fmla="*/ 3844312 h 4477815"/>
              <a:gd name="connsiteX35" fmla="*/ 1682734 w 4486446"/>
              <a:gd name="connsiteY35" fmla="*/ 3721522 h 4477815"/>
              <a:gd name="connsiteX36" fmla="*/ 1673274 w 4486446"/>
              <a:gd name="connsiteY36" fmla="*/ 3713257 h 4477815"/>
              <a:gd name="connsiteX37" fmla="*/ 1751319 w 4486446"/>
              <a:gd name="connsiteY37" fmla="*/ 3740412 h 4477815"/>
              <a:gd name="connsiteX38" fmla="*/ 2349665 w 4486446"/>
              <a:gd name="connsiteY38" fmla="*/ 3815976 h 4477815"/>
              <a:gd name="connsiteX39" fmla="*/ 3037881 w 4486446"/>
              <a:gd name="connsiteY39" fmla="*/ 3675475 h 4477815"/>
              <a:gd name="connsiteX40" fmla="*/ 3875093 w 4486446"/>
              <a:gd name="connsiteY40" fmla="*/ 3132363 h 4477815"/>
              <a:gd name="connsiteX41" fmla="*/ 3896378 w 4486446"/>
              <a:gd name="connsiteY41" fmla="*/ 3118194 h 4477815"/>
              <a:gd name="connsiteX42" fmla="*/ 3903472 w 4486446"/>
              <a:gd name="connsiteY42" fmla="*/ 3101665 h 4477815"/>
              <a:gd name="connsiteX43" fmla="*/ 4400124 w 4486446"/>
              <a:gd name="connsiteY43" fmla="*/ 2279913 h 4477815"/>
              <a:gd name="connsiteX44" fmla="*/ 4475804 w 4486446"/>
              <a:gd name="connsiteY44" fmla="*/ 2024886 h 4477815"/>
              <a:gd name="connsiteX45" fmla="*/ 4479352 w 4486446"/>
              <a:gd name="connsiteY45" fmla="*/ 2023705 h 4477815"/>
              <a:gd name="connsiteX46" fmla="*/ 772423 w 4486446"/>
              <a:gd name="connsiteY46" fmla="*/ 1655797 h 4477815"/>
              <a:gd name="connsiteX47" fmla="*/ 734596 w 4486446"/>
              <a:gd name="connsiteY47" fmla="*/ 1767960 h 4477815"/>
              <a:gd name="connsiteX48" fmla="*/ 679040 w 4486446"/>
              <a:gd name="connsiteY48" fmla="*/ 2013538 h 4477815"/>
              <a:gd name="connsiteX49" fmla="*/ 992288 w 4486446"/>
              <a:gd name="connsiteY49" fmla="*/ 3419707 h 4477815"/>
              <a:gd name="connsiteX50" fmla="*/ 1362275 w 4486446"/>
              <a:gd name="connsiteY50" fmla="*/ 3880166 h 4477815"/>
              <a:gd name="connsiteX51" fmla="*/ 2344573 w 4486446"/>
              <a:gd name="connsiteY51" fmla="*/ 4437438 h 4477815"/>
              <a:gd name="connsiteX52" fmla="*/ 2458052 w 4486446"/>
              <a:gd name="connsiteY52" fmla="*/ 4465775 h 4477815"/>
              <a:gd name="connsiteX53" fmla="*/ 2456870 w 4486446"/>
              <a:gd name="connsiteY53" fmla="*/ 4472859 h 4477815"/>
              <a:gd name="connsiteX54" fmla="*/ 2197997 w 4486446"/>
              <a:gd name="connsiteY54" fmla="*/ 4477581 h 4477815"/>
              <a:gd name="connsiteX55" fmla="*/ 1436745 w 4486446"/>
              <a:gd name="connsiteY55" fmla="*/ 4329998 h 4477815"/>
              <a:gd name="connsiteX56" fmla="*/ 1409558 w 4486446"/>
              <a:gd name="connsiteY56" fmla="*/ 4317011 h 4477815"/>
              <a:gd name="connsiteX57" fmla="*/ 1407193 w 4486446"/>
              <a:gd name="connsiteY57" fmla="*/ 4308746 h 4477815"/>
              <a:gd name="connsiteX58" fmla="*/ 1371731 w 4486446"/>
              <a:gd name="connsiteY58" fmla="*/ 4302843 h 4477815"/>
              <a:gd name="connsiteX59" fmla="*/ 943823 w 4486446"/>
              <a:gd name="connsiteY59" fmla="*/ 4065530 h 4477815"/>
              <a:gd name="connsiteX60" fmla="*/ 901268 w 4486446"/>
              <a:gd name="connsiteY60" fmla="*/ 4019484 h 4477815"/>
              <a:gd name="connsiteX61" fmla="*/ 612844 w 4486446"/>
              <a:gd name="connsiteY61" fmla="*/ 3450404 h 4477815"/>
              <a:gd name="connsiteX62" fmla="*/ 498183 w 4486446"/>
              <a:gd name="connsiteY62" fmla="*/ 2619218 h 4477815"/>
              <a:gd name="connsiteX63" fmla="*/ 761785 w 4486446"/>
              <a:gd name="connsiteY63" fmla="*/ 1671146 h 4477815"/>
              <a:gd name="connsiteX64" fmla="*/ 772423 w 4486446"/>
              <a:gd name="connsiteY64" fmla="*/ 1655797 h 4477815"/>
              <a:gd name="connsiteX65" fmla="*/ 1597326 w 4486446"/>
              <a:gd name="connsiteY65" fmla="*/ 789665 h 4477815"/>
              <a:gd name="connsiteX66" fmla="*/ 1610324 w 4486446"/>
              <a:gd name="connsiteY66" fmla="*/ 789665 h 4477815"/>
              <a:gd name="connsiteX67" fmla="*/ 1610322 w 4486446"/>
              <a:gd name="connsiteY67" fmla="*/ 789666 h 4477815"/>
              <a:gd name="connsiteX68" fmla="*/ 1610324 w 4486446"/>
              <a:gd name="connsiteY68" fmla="*/ 789666 h 4477815"/>
              <a:gd name="connsiteX69" fmla="*/ 1121146 w 4486446"/>
              <a:gd name="connsiteY69" fmla="*/ 1126226 h 4477815"/>
              <a:gd name="connsiteX70" fmla="*/ 758398 w 4486446"/>
              <a:gd name="connsiteY70" fmla="*/ 1600955 h 4477815"/>
              <a:gd name="connsiteX71" fmla="*/ 741856 w 4486446"/>
              <a:gd name="connsiteY71" fmla="*/ 1586784 h 4477815"/>
              <a:gd name="connsiteX72" fmla="*/ 739493 w 4486446"/>
              <a:gd name="connsiteY72" fmla="*/ 1635201 h 4477815"/>
              <a:gd name="connsiteX73" fmla="*/ 490177 w 4486446"/>
              <a:gd name="connsiteY73" fmla="*/ 2347294 h 4477815"/>
              <a:gd name="connsiteX74" fmla="*/ 466546 w 4486446"/>
              <a:gd name="connsiteY74" fmla="*/ 2942476 h 4477815"/>
              <a:gd name="connsiteX75" fmla="*/ 803299 w 4486446"/>
              <a:gd name="connsiteY75" fmla="*/ 3940351 h 4477815"/>
              <a:gd name="connsiteX76" fmla="*/ 815115 w 4486446"/>
              <a:gd name="connsiteY76" fmla="*/ 3960427 h 4477815"/>
              <a:gd name="connsiteX77" fmla="*/ 811570 w 4486446"/>
              <a:gd name="connsiteY77" fmla="*/ 3963969 h 4477815"/>
              <a:gd name="connsiteX78" fmla="*/ 730041 w 4486446"/>
              <a:gd name="connsiteY78" fmla="*/ 3893114 h 4477815"/>
              <a:gd name="connsiteX79" fmla="*/ 226683 w 4486446"/>
              <a:gd name="connsiteY79" fmla="*/ 3221173 h 4477815"/>
              <a:gd name="connsiteX80" fmla="*/ 42356 w 4486446"/>
              <a:gd name="connsiteY80" fmla="*/ 2670865 h 4477815"/>
              <a:gd name="connsiteX81" fmla="*/ 28176 w 4486446"/>
              <a:gd name="connsiteY81" fmla="*/ 2588201 h 4477815"/>
              <a:gd name="connsiteX82" fmla="*/ 41174 w 4486446"/>
              <a:gd name="connsiteY82" fmla="*/ 2505537 h 4477815"/>
              <a:gd name="connsiteX83" fmla="*/ 374382 w 4486446"/>
              <a:gd name="connsiteY83" fmla="*/ 1698971 h 4477815"/>
              <a:gd name="connsiteX84" fmla="*/ 719406 w 4486446"/>
              <a:gd name="connsiteY84" fmla="*/ 1293916 h 4477815"/>
              <a:gd name="connsiteX85" fmla="*/ 826931 w 4486446"/>
              <a:gd name="connsiteY85" fmla="*/ 1199443 h 4477815"/>
              <a:gd name="connsiteX86" fmla="*/ 1597326 w 4486446"/>
              <a:gd name="connsiteY86" fmla="*/ 789665 h 4477815"/>
              <a:gd name="connsiteX87" fmla="*/ 2243223 w 4486446"/>
              <a:gd name="connsiteY87" fmla="*/ 763473 h 4477815"/>
              <a:gd name="connsiteX88" fmla="*/ 3718658 w 4486446"/>
              <a:gd name="connsiteY88" fmla="*/ 2238908 h 4477815"/>
              <a:gd name="connsiteX89" fmla="*/ 2243223 w 4486446"/>
              <a:gd name="connsiteY89" fmla="*/ 3714343 h 4477815"/>
              <a:gd name="connsiteX90" fmla="*/ 767788 w 4486446"/>
              <a:gd name="connsiteY90" fmla="*/ 2238908 h 4477815"/>
              <a:gd name="connsiteX91" fmla="*/ 2243223 w 4486446"/>
              <a:gd name="connsiteY91" fmla="*/ 763473 h 4477815"/>
              <a:gd name="connsiteX92" fmla="*/ 3675296 w 4486446"/>
              <a:gd name="connsiteY92" fmla="*/ 514301 h 4477815"/>
              <a:gd name="connsiteX93" fmla="*/ 3767510 w 4486446"/>
              <a:gd name="connsiteY93" fmla="*/ 595765 h 4477815"/>
              <a:gd name="connsiteX94" fmla="*/ 4363356 w 4486446"/>
              <a:gd name="connsiteY94" fmla="*/ 1506038 h 4477815"/>
              <a:gd name="connsiteX95" fmla="*/ 4459118 w 4486446"/>
              <a:gd name="connsiteY95" fmla="*/ 1889746 h 4477815"/>
              <a:gd name="connsiteX96" fmla="*/ 4444930 w 4486446"/>
              <a:gd name="connsiteY96" fmla="*/ 1972392 h 4477815"/>
              <a:gd name="connsiteX97" fmla="*/ 3992134 w 4486446"/>
              <a:gd name="connsiteY97" fmla="*/ 2941697 h 4477815"/>
              <a:gd name="connsiteX98" fmla="*/ 3785244 w 4486446"/>
              <a:gd name="connsiteY98" fmla="*/ 3164838 h 4477815"/>
              <a:gd name="connsiteX99" fmla="*/ 3255602 w 4486446"/>
              <a:gd name="connsiteY99" fmla="*/ 3541462 h 4477815"/>
              <a:gd name="connsiteX100" fmla="*/ 2890290 w 4486446"/>
              <a:gd name="connsiteY100" fmla="*/ 3687862 h 4477815"/>
              <a:gd name="connsiteX101" fmla="*/ 2883960 w 4486446"/>
              <a:gd name="connsiteY101" fmla="*/ 3688835 h 4477815"/>
              <a:gd name="connsiteX102" fmla="*/ 3002307 w 4486446"/>
              <a:gd name="connsiteY102" fmla="*/ 3622336 h 4477815"/>
              <a:gd name="connsiteX103" fmla="*/ 3125555 w 4486446"/>
              <a:gd name="connsiteY103" fmla="*/ 3548546 h 4477815"/>
              <a:gd name="connsiteX104" fmla="*/ 3575988 w 4486446"/>
              <a:gd name="connsiteY104" fmla="*/ 3109348 h 4477815"/>
              <a:gd name="connsiteX105" fmla="*/ 3990953 w 4486446"/>
              <a:gd name="connsiteY105" fmla="*/ 2163655 h 4477815"/>
              <a:gd name="connsiteX106" fmla="*/ 4022873 w 4486446"/>
              <a:gd name="connsiteY106" fmla="*/ 1572154 h 4477815"/>
              <a:gd name="connsiteX107" fmla="*/ 3931840 w 4486446"/>
              <a:gd name="connsiteY107" fmla="*/ 1082189 h 4477815"/>
              <a:gd name="connsiteX108" fmla="*/ 3682388 w 4486446"/>
              <a:gd name="connsiteY108" fmla="*/ 535554 h 4477815"/>
              <a:gd name="connsiteX109" fmla="*/ 3675296 w 4486446"/>
              <a:gd name="connsiteY109" fmla="*/ 514302 h 4477815"/>
              <a:gd name="connsiteX110" fmla="*/ 1789291 w 4486446"/>
              <a:gd name="connsiteY110" fmla="*/ 492663 h 4477815"/>
              <a:gd name="connsiteX111" fmla="*/ 2361648 w 4486446"/>
              <a:gd name="connsiteY111" fmla="*/ 577665 h 4477815"/>
              <a:gd name="connsiteX112" fmla="*/ 2391212 w 4486446"/>
              <a:gd name="connsiteY112" fmla="*/ 589470 h 4477815"/>
              <a:gd name="connsiteX113" fmla="*/ 2391212 w 4486446"/>
              <a:gd name="connsiteY113" fmla="*/ 589471 h 4477815"/>
              <a:gd name="connsiteX114" fmla="*/ 2391212 w 4486446"/>
              <a:gd name="connsiteY114" fmla="*/ 594192 h 4477815"/>
              <a:gd name="connsiteX115" fmla="*/ 2413681 w 4486446"/>
              <a:gd name="connsiteY115" fmla="*/ 593012 h 4477815"/>
              <a:gd name="connsiteX116" fmla="*/ 2828758 w 4486446"/>
              <a:gd name="connsiteY116" fmla="*/ 767738 h 4477815"/>
              <a:gd name="connsiteX117" fmla="*/ 2828756 w 4486446"/>
              <a:gd name="connsiteY117" fmla="*/ 767738 h 4477815"/>
              <a:gd name="connsiteX118" fmla="*/ 2818115 w 4486446"/>
              <a:gd name="connsiteY118" fmla="*/ 767738 h 4477815"/>
              <a:gd name="connsiteX119" fmla="*/ 2173622 w 4486446"/>
              <a:gd name="connsiteY119" fmla="*/ 660306 h 4477815"/>
              <a:gd name="connsiteX120" fmla="*/ 1565788 w 4486446"/>
              <a:gd name="connsiteY120" fmla="*/ 761836 h 4477815"/>
              <a:gd name="connsiteX121" fmla="*/ 390327 w 4486446"/>
              <a:gd name="connsiteY121" fmla="*/ 1608309 h 4477815"/>
              <a:gd name="connsiteX122" fmla="*/ 86410 w 4486446"/>
              <a:gd name="connsiteY122" fmla="*/ 2190333 h 4477815"/>
              <a:gd name="connsiteX123" fmla="*/ 9544 w 4486446"/>
              <a:gd name="connsiteY123" fmla="*/ 2455963 h 4477815"/>
              <a:gd name="connsiteX124" fmla="*/ 2448 w 4486446"/>
              <a:gd name="connsiteY124" fmla="*/ 2353253 h 4477815"/>
              <a:gd name="connsiteX125" fmla="*/ 81680 w 4486446"/>
              <a:gd name="connsiteY125" fmla="*/ 1634282 h 4477815"/>
              <a:gd name="connsiteX126" fmla="*/ 97053 w 4486446"/>
              <a:gd name="connsiteY126" fmla="*/ 1605948 h 4477815"/>
              <a:gd name="connsiteX127" fmla="*/ 106514 w 4486446"/>
              <a:gd name="connsiteY127" fmla="*/ 1555183 h 4477815"/>
              <a:gd name="connsiteX128" fmla="*/ 424621 w 4486446"/>
              <a:gd name="connsiteY128" fmla="*/ 927116 h 4477815"/>
              <a:gd name="connsiteX129" fmla="*/ 461280 w 4486446"/>
              <a:gd name="connsiteY129" fmla="*/ 897601 h 4477815"/>
              <a:gd name="connsiteX130" fmla="*/ 1162537 w 4486446"/>
              <a:gd name="connsiteY130" fmla="*/ 570581 h 4477815"/>
              <a:gd name="connsiteX131" fmla="*/ 1789291 w 4486446"/>
              <a:gd name="connsiteY131" fmla="*/ 492663 h 4477815"/>
              <a:gd name="connsiteX132" fmla="*/ 1891488 w 4486446"/>
              <a:gd name="connsiteY132" fmla="*/ 28013 h 4477815"/>
              <a:gd name="connsiteX133" fmla="*/ 1971902 w 4486446"/>
              <a:gd name="connsiteY133" fmla="*/ 39822 h 4477815"/>
              <a:gd name="connsiteX134" fmla="*/ 3187572 w 4486446"/>
              <a:gd name="connsiteY134" fmla="*/ 714099 h 4477815"/>
              <a:gd name="connsiteX135" fmla="*/ 3694889 w 4486446"/>
              <a:gd name="connsiteY135" fmla="*/ 1597389 h 4477815"/>
              <a:gd name="connsiteX136" fmla="*/ 3696072 w 4486446"/>
              <a:gd name="connsiteY136" fmla="*/ 1606835 h 4477815"/>
              <a:gd name="connsiteX137" fmla="*/ 3503314 w 4486446"/>
              <a:gd name="connsiteY137" fmla="*/ 1284458 h 4477815"/>
              <a:gd name="connsiteX138" fmla="*/ 2998362 w 4486446"/>
              <a:gd name="connsiteY138" fmla="*/ 827462 h 4477815"/>
              <a:gd name="connsiteX139" fmla="*/ 2266359 w 4486446"/>
              <a:gd name="connsiteY139" fmla="*/ 514533 h 4477815"/>
              <a:gd name="connsiteX140" fmla="*/ 2178850 w 4486446"/>
              <a:gd name="connsiteY140" fmla="*/ 496819 h 4477815"/>
              <a:gd name="connsiteX141" fmla="*/ 1729478 w 4486446"/>
              <a:gd name="connsiteY141" fmla="*/ 455489 h 4477815"/>
              <a:gd name="connsiteX142" fmla="*/ 1229256 w 4486446"/>
              <a:gd name="connsiteY142" fmla="*/ 514533 h 4477815"/>
              <a:gd name="connsiteX143" fmla="*/ 1202796 w 4486446"/>
              <a:gd name="connsiteY143" fmla="*/ 515713 h 4477815"/>
              <a:gd name="connsiteX144" fmla="*/ 1173677 w 4486446"/>
              <a:gd name="connsiteY144" fmla="*/ 509809 h 4477815"/>
              <a:gd name="connsiteX145" fmla="*/ 1186684 w 4486446"/>
              <a:gd name="connsiteY145" fmla="*/ 525160 h 4477815"/>
              <a:gd name="connsiteX146" fmla="*/ 1186684 w 4486446"/>
              <a:gd name="connsiteY146" fmla="*/ 525161 h 4477815"/>
              <a:gd name="connsiteX147" fmla="*/ 514991 w 4486446"/>
              <a:gd name="connsiteY147" fmla="*/ 810930 h 4477815"/>
              <a:gd name="connsiteX148" fmla="*/ 588310 w 4486446"/>
              <a:gd name="connsiteY148" fmla="*/ 727088 h 4477815"/>
              <a:gd name="connsiteX149" fmla="*/ 1291932 w 4486446"/>
              <a:gd name="connsiteY149" fmla="*/ 211048 h 4477815"/>
              <a:gd name="connsiteX150" fmla="*/ 1891488 w 4486446"/>
              <a:gd name="connsiteY150" fmla="*/ 28013 h 4477815"/>
              <a:gd name="connsiteX151" fmla="*/ 2182411 w 4486446"/>
              <a:gd name="connsiteY151" fmla="*/ 996 h 4477815"/>
              <a:gd name="connsiteX152" fmla="*/ 2893068 w 4486446"/>
              <a:gd name="connsiteY152" fmla="*/ 94251 h 4477815"/>
              <a:gd name="connsiteX153" fmla="*/ 3555244 w 4486446"/>
              <a:gd name="connsiteY153" fmla="*/ 422415 h 4477815"/>
              <a:gd name="connsiteX154" fmla="*/ 3600178 w 4486446"/>
              <a:gd name="connsiteY154" fmla="*/ 477895 h 4477815"/>
              <a:gd name="connsiteX155" fmla="*/ 3956096 w 4486446"/>
              <a:gd name="connsiteY155" fmla="*/ 1343160 h 4477815"/>
              <a:gd name="connsiteX156" fmla="*/ 3988023 w 4486446"/>
              <a:gd name="connsiteY156" fmla="*/ 1892066 h 4477815"/>
              <a:gd name="connsiteX157" fmla="*/ 3796465 w 4486446"/>
              <a:gd name="connsiteY157" fmla="*/ 2662895 h 4477815"/>
              <a:gd name="connsiteX158" fmla="*/ 3720788 w 4486446"/>
              <a:gd name="connsiteY158" fmla="*/ 2821075 h 4477815"/>
              <a:gd name="connsiteX159" fmla="*/ 3790553 w 4486446"/>
              <a:gd name="connsiteY159" fmla="*/ 2568460 h 4477815"/>
              <a:gd name="connsiteX160" fmla="*/ 3820114 w 4486446"/>
              <a:gd name="connsiteY160" fmla="*/ 2084478 h 4477815"/>
              <a:gd name="connsiteX161" fmla="*/ 3698321 w 4486446"/>
              <a:gd name="connsiteY161" fmla="*/ 1488355 h 4477815"/>
              <a:gd name="connsiteX162" fmla="*/ 3349496 w 4486446"/>
              <a:gd name="connsiteY162" fmla="*/ 847375 h 4477815"/>
              <a:gd name="connsiteX163" fmla="*/ 2908440 w 4486446"/>
              <a:gd name="connsiteY163" fmla="*/ 414153 h 4477815"/>
              <a:gd name="connsiteX164" fmla="*/ 2629380 w 4486446"/>
              <a:gd name="connsiteY164" fmla="*/ 237085 h 4477815"/>
              <a:gd name="connsiteX165" fmla="*/ 2031057 w 4486446"/>
              <a:gd name="connsiteY165" fmla="*/ 13981 h 4477815"/>
              <a:gd name="connsiteX166" fmla="*/ 2021597 w 4486446"/>
              <a:gd name="connsiteY166" fmla="*/ 8079 h 4477815"/>
              <a:gd name="connsiteX167" fmla="*/ 2182411 w 4486446"/>
              <a:gd name="connsiteY167" fmla="*/ 996 h 447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486446" h="4477815">
                <a:moveTo>
                  <a:pt x="2883960" y="3688835"/>
                </a:moveTo>
                <a:lnTo>
                  <a:pt x="2877286" y="3692584"/>
                </a:lnTo>
                <a:cubicBezTo>
                  <a:pt x="2877286" y="3692584"/>
                  <a:pt x="2876104" y="3691403"/>
                  <a:pt x="2874921" y="3690222"/>
                </a:cubicBezTo>
                <a:close/>
                <a:moveTo>
                  <a:pt x="791972" y="2871434"/>
                </a:moveTo>
                <a:cubicBezTo>
                  <a:pt x="840442" y="2978879"/>
                  <a:pt x="898369" y="3079238"/>
                  <a:pt x="969302" y="3173695"/>
                </a:cubicBezTo>
                <a:cubicBezTo>
                  <a:pt x="1109983" y="3364969"/>
                  <a:pt x="1287313" y="3516100"/>
                  <a:pt x="1483558" y="3648339"/>
                </a:cubicBezTo>
                <a:cubicBezTo>
                  <a:pt x="1508384" y="3664870"/>
                  <a:pt x="1528481" y="3695568"/>
                  <a:pt x="1555672" y="3701471"/>
                </a:cubicBezTo>
                <a:cubicBezTo>
                  <a:pt x="1589956" y="3709736"/>
                  <a:pt x="1615964" y="3729808"/>
                  <a:pt x="1644337" y="3746338"/>
                </a:cubicBezTo>
                <a:cubicBezTo>
                  <a:pt x="1874867" y="3870313"/>
                  <a:pt x="2119581" y="3954142"/>
                  <a:pt x="2377301" y="3995467"/>
                </a:cubicBezTo>
                <a:cubicBezTo>
                  <a:pt x="2611376" y="4032069"/>
                  <a:pt x="2844269" y="4033250"/>
                  <a:pt x="3078344" y="3997829"/>
                </a:cubicBezTo>
                <a:cubicBezTo>
                  <a:pt x="3382170" y="3952962"/>
                  <a:pt x="3663534" y="3849060"/>
                  <a:pt x="3925982" y="3692025"/>
                </a:cubicBezTo>
                <a:cubicBezTo>
                  <a:pt x="3934257" y="3687303"/>
                  <a:pt x="3940168" y="3681399"/>
                  <a:pt x="3948443" y="3677857"/>
                </a:cubicBezTo>
                <a:cubicBezTo>
                  <a:pt x="3954354" y="3673134"/>
                  <a:pt x="3961447" y="3669592"/>
                  <a:pt x="3968540" y="3666050"/>
                </a:cubicBezTo>
                <a:cubicBezTo>
                  <a:pt x="3969723" y="3668411"/>
                  <a:pt x="3972087" y="3669592"/>
                  <a:pt x="3974452" y="3671954"/>
                </a:cubicBezTo>
                <a:cubicBezTo>
                  <a:pt x="3905884" y="3742796"/>
                  <a:pt x="3838498" y="3815999"/>
                  <a:pt x="3766384" y="3884480"/>
                </a:cubicBezTo>
                <a:cubicBezTo>
                  <a:pt x="3654076" y="3991925"/>
                  <a:pt x="3527580" y="4084020"/>
                  <a:pt x="3393992" y="4163127"/>
                </a:cubicBezTo>
                <a:cubicBezTo>
                  <a:pt x="3148094" y="4309536"/>
                  <a:pt x="2885646" y="4406353"/>
                  <a:pt x="2603101" y="4450039"/>
                </a:cubicBezTo>
                <a:cubicBezTo>
                  <a:pt x="2581821" y="4453582"/>
                  <a:pt x="2559360" y="4447678"/>
                  <a:pt x="2536898" y="4444136"/>
                </a:cubicBezTo>
                <a:cubicBezTo>
                  <a:pt x="2410402" y="4420522"/>
                  <a:pt x="2286271" y="4386281"/>
                  <a:pt x="2164504" y="4341415"/>
                </a:cubicBezTo>
                <a:cubicBezTo>
                  <a:pt x="1787384" y="4200910"/>
                  <a:pt x="1470554" y="3975396"/>
                  <a:pt x="1212835" y="3666050"/>
                </a:cubicBezTo>
                <a:cubicBezTo>
                  <a:pt x="1166729" y="3610557"/>
                  <a:pt x="1124169" y="3551521"/>
                  <a:pt x="1083975" y="3492486"/>
                </a:cubicBezTo>
                <a:cubicBezTo>
                  <a:pt x="1042598" y="3429909"/>
                  <a:pt x="1003585" y="3366150"/>
                  <a:pt x="968119" y="3301211"/>
                </a:cubicBezTo>
                <a:cubicBezTo>
                  <a:pt x="932654" y="3236273"/>
                  <a:pt x="900734" y="3168972"/>
                  <a:pt x="872361" y="3100491"/>
                </a:cubicBezTo>
                <a:cubicBezTo>
                  <a:pt x="843988" y="3032010"/>
                  <a:pt x="821527" y="2961167"/>
                  <a:pt x="796701" y="2891506"/>
                </a:cubicBezTo>
                <a:cubicBezTo>
                  <a:pt x="794336" y="2884422"/>
                  <a:pt x="793154" y="2878519"/>
                  <a:pt x="791972" y="2871434"/>
                </a:cubicBezTo>
                <a:close/>
                <a:moveTo>
                  <a:pt x="4479352" y="2023705"/>
                </a:moveTo>
                <a:cubicBezTo>
                  <a:pt x="4481716" y="2102811"/>
                  <a:pt x="4486446" y="2180735"/>
                  <a:pt x="4486446" y="2259841"/>
                </a:cubicBezTo>
                <a:cubicBezTo>
                  <a:pt x="4484081" y="2612864"/>
                  <a:pt x="4402488" y="2946996"/>
                  <a:pt x="4239302" y="3261056"/>
                </a:cubicBezTo>
                <a:cubicBezTo>
                  <a:pt x="4189638" y="3355511"/>
                  <a:pt x="4126966" y="3445242"/>
                  <a:pt x="4072570" y="3537336"/>
                </a:cubicBezTo>
                <a:cubicBezTo>
                  <a:pt x="4058380" y="3560949"/>
                  <a:pt x="4035913" y="3572756"/>
                  <a:pt x="4015810" y="3586924"/>
                </a:cubicBezTo>
                <a:cubicBezTo>
                  <a:pt x="3891648" y="3671932"/>
                  <a:pt x="3761572" y="3745135"/>
                  <a:pt x="3623220" y="3802988"/>
                </a:cubicBezTo>
                <a:cubicBezTo>
                  <a:pt x="3564094" y="3827782"/>
                  <a:pt x="3502604" y="3851396"/>
                  <a:pt x="3441114" y="3871467"/>
                </a:cubicBezTo>
                <a:cubicBezTo>
                  <a:pt x="3377259" y="3892720"/>
                  <a:pt x="3313404" y="3910430"/>
                  <a:pt x="3248366" y="3925778"/>
                </a:cubicBezTo>
                <a:cubicBezTo>
                  <a:pt x="3182146" y="3939947"/>
                  <a:pt x="3115926" y="3952934"/>
                  <a:pt x="3048523" y="3962380"/>
                </a:cubicBezTo>
                <a:cubicBezTo>
                  <a:pt x="2676036" y="4014329"/>
                  <a:pt x="2313007" y="3977728"/>
                  <a:pt x="1960621" y="3844312"/>
                </a:cubicBezTo>
                <a:cubicBezTo>
                  <a:pt x="1866022" y="3808892"/>
                  <a:pt x="1774969" y="3762845"/>
                  <a:pt x="1682734" y="3721522"/>
                </a:cubicBezTo>
                <a:cubicBezTo>
                  <a:pt x="1679186" y="3720341"/>
                  <a:pt x="1675639" y="3717979"/>
                  <a:pt x="1673274" y="3713257"/>
                </a:cubicBezTo>
                <a:cubicBezTo>
                  <a:pt x="1699289" y="3721522"/>
                  <a:pt x="1725304" y="3730967"/>
                  <a:pt x="1751319" y="3740412"/>
                </a:cubicBezTo>
                <a:cubicBezTo>
                  <a:pt x="1946432" y="3804169"/>
                  <a:pt x="2146274" y="3825421"/>
                  <a:pt x="2349665" y="3815976"/>
                </a:cubicBezTo>
                <a:cubicBezTo>
                  <a:pt x="2586165" y="3804169"/>
                  <a:pt x="2815570" y="3758122"/>
                  <a:pt x="3037881" y="3675475"/>
                </a:cubicBezTo>
                <a:cubicBezTo>
                  <a:pt x="3357156" y="3556226"/>
                  <a:pt x="3635044" y="3374402"/>
                  <a:pt x="3875093" y="3132363"/>
                </a:cubicBezTo>
                <a:cubicBezTo>
                  <a:pt x="3879822" y="3126459"/>
                  <a:pt x="3886918" y="3124098"/>
                  <a:pt x="3896378" y="3118194"/>
                </a:cubicBezTo>
                <a:cubicBezTo>
                  <a:pt x="3897560" y="3115833"/>
                  <a:pt x="3898743" y="3107569"/>
                  <a:pt x="3903472" y="3101665"/>
                </a:cubicBezTo>
                <a:cubicBezTo>
                  <a:pt x="4128148" y="2863167"/>
                  <a:pt x="4294881" y="2589251"/>
                  <a:pt x="4400124" y="2279913"/>
                </a:cubicBezTo>
                <a:cubicBezTo>
                  <a:pt x="4429686" y="2196084"/>
                  <a:pt x="4450971" y="2109895"/>
                  <a:pt x="4475804" y="2024886"/>
                </a:cubicBezTo>
                <a:cubicBezTo>
                  <a:pt x="4476986" y="2024886"/>
                  <a:pt x="4478169" y="2024886"/>
                  <a:pt x="4479352" y="2023705"/>
                </a:cubicBezTo>
                <a:close/>
                <a:moveTo>
                  <a:pt x="772423" y="1655797"/>
                </a:moveTo>
                <a:cubicBezTo>
                  <a:pt x="758238" y="1697121"/>
                  <a:pt x="742872" y="1731359"/>
                  <a:pt x="734596" y="1767960"/>
                </a:cubicBezTo>
                <a:cubicBezTo>
                  <a:pt x="714502" y="1849426"/>
                  <a:pt x="688496" y="1929711"/>
                  <a:pt x="679040" y="2013538"/>
                </a:cubicBezTo>
                <a:cubicBezTo>
                  <a:pt x="619936" y="2517681"/>
                  <a:pt x="733415" y="2985223"/>
                  <a:pt x="992288" y="3419707"/>
                </a:cubicBezTo>
                <a:cubicBezTo>
                  <a:pt x="1093945" y="3590903"/>
                  <a:pt x="1218062" y="3743209"/>
                  <a:pt x="1362275" y="3880166"/>
                </a:cubicBezTo>
                <a:cubicBezTo>
                  <a:pt x="1642425" y="4149357"/>
                  <a:pt x="1969858" y="4334721"/>
                  <a:pt x="2344573" y="4437438"/>
                </a:cubicBezTo>
                <a:cubicBezTo>
                  <a:pt x="2382400" y="4448064"/>
                  <a:pt x="2420226" y="4456329"/>
                  <a:pt x="2458052" y="4465775"/>
                </a:cubicBezTo>
                <a:cubicBezTo>
                  <a:pt x="2458052" y="4468135"/>
                  <a:pt x="2456870" y="4470497"/>
                  <a:pt x="2456870" y="4472859"/>
                </a:cubicBezTo>
                <a:cubicBezTo>
                  <a:pt x="2370578" y="4475220"/>
                  <a:pt x="2284288" y="4478762"/>
                  <a:pt x="2197997" y="4477581"/>
                </a:cubicBezTo>
                <a:cubicBezTo>
                  <a:pt x="1935578" y="4475220"/>
                  <a:pt x="1681433" y="4424451"/>
                  <a:pt x="1436745" y="4329998"/>
                </a:cubicBezTo>
                <a:cubicBezTo>
                  <a:pt x="1427289" y="4326456"/>
                  <a:pt x="1417832" y="4321733"/>
                  <a:pt x="1409558" y="4317011"/>
                </a:cubicBezTo>
                <a:cubicBezTo>
                  <a:pt x="1407193" y="4314649"/>
                  <a:pt x="1407193" y="4308746"/>
                  <a:pt x="1407193" y="4308746"/>
                </a:cubicBezTo>
                <a:cubicBezTo>
                  <a:pt x="1396555" y="4307565"/>
                  <a:pt x="1382370" y="4307565"/>
                  <a:pt x="1371731" y="4302843"/>
                </a:cubicBezTo>
                <a:cubicBezTo>
                  <a:pt x="1219245" y="4240268"/>
                  <a:pt x="1077397" y="4159982"/>
                  <a:pt x="943823" y="4065530"/>
                </a:cubicBezTo>
                <a:cubicBezTo>
                  <a:pt x="927274" y="4053723"/>
                  <a:pt x="913089" y="4036013"/>
                  <a:pt x="901268" y="4019484"/>
                </a:cubicBezTo>
                <a:cubicBezTo>
                  <a:pt x="777151" y="3844746"/>
                  <a:pt x="680221" y="3654659"/>
                  <a:pt x="612844" y="3450404"/>
                </a:cubicBezTo>
                <a:cubicBezTo>
                  <a:pt x="521825" y="3181213"/>
                  <a:pt x="482816" y="2903758"/>
                  <a:pt x="498183" y="2619218"/>
                </a:cubicBezTo>
                <a:cubicBezTo>
                  <a:pt x="514732" y="2283910"/>
                  <a:pt x="603387" y="1967492"/>
                  <a:pt x="761785" y="1671146"/>
                </a:cubicBezTo>
                <a:cubicBezTo>
                  <a:pt x="762966" y="1667604"/>
                  <a:pt x="766512" y="1664062"/>
                  <a:pt x="772423" y="1655797"/>
                </a:cubicBezTo>
                <a:close/>
                <a:moveTo>
                  <a:pt x="1597326" y="789665"/>
                </a:moveTo>
                <a:cubicBezTo>
                  <a:pt x="1602053" y="788485"/>
                  <a:pt x="1605598" y="788485"/>
                  <a:pt x="1610324" y="789665"/>
                </a:cubicBezTo>
                <a:lnTo>
                  <a:pt x="1610322" y="789666"/>
                </a:lnTo>
                <a:lnTo>
                  <a:pt x="1610324" y="789666"/>
                </a:lnTo>
                <a:cubicBezTo>
                  <a:pt x="1425996" y="871149"/>
                  <a:pt x="1262937" y="983336"/>
                  <a:pt x="1121146" y="1126226"/>
                </a:cubicBezTo>
                <a:cubicBezTo>
                  <a:pt x="979355" y="1267936"/>
                  <a:pt x="858834" y="1426179"/>
                  <a:pt x="758398" y="1600955"/>
                </a:cubicBezTo>
                <a:cubicBezTo>
                  <a:pt x="751309" y="1596231"/>
                  <a:pt x="746582" y="1591507"/>
                  <a:pt x="741856" y="1586784"/>
                </a:cubicBezTo>
                <a:cubicBezTo>
                  <a:pt x="757217" y="1604498"/>
                  <a:pt x="748946" y="1618669"/>
                  <a:pt x="739493" y="1635201"/>
                </a:cubicBezTo>
                <a:cubicBezTo>
                  <a:pt x="615427" y="1858395"/>
                  <a:pt x="533897" y="2096940"/>
                  <a:pt x="490177" y="2347294"/>
                </a:cubicBezTo>
                <a:cubicBezTo>
                  <a:pt x="455911" y="2544507"/>
                  <a:pt x="447641" y="2742901"/>
                  <a:pt x="466546" y="2942476"/>
                </a:cubicBezTo>
                <a:cubicBezTo>
                  <a:pt x="501993" y="3300294"/>
                  <a:pt x="611881" y="3634493"/>
                  <a:pt x="803299" y="3940351"/>
                </a:cubicBezTo>
                <a:cubicBezTo>
                  <a:pt x="808025" y="3946255"/>
                  <a:pt x="811570" y="3953341"/>
                  <a:pt x="815115" y="3960427"/>
                </a:cubicBezTo>
                <a:cubicBezTo>
                  <a:pt x="813934" y="3961608"/>
                  <a:pt x="812752" y="3962788"/>
                  <a:pt x="811570" y="3963969"/>
                </a:cubicBezTo>
                <a:cubicBezTo>
                  <a:pt x="784393" y="3940351"/>
                  <a:pt x="757217" y="3917914"/>
                  <a:pt x="730041" y="3893114"/>
                </a:cubicBezTo>
                <a:cubicBezTo>
                  <a:pt x="520899" y="3700625"/>
                  <a:pt x="351932" y="3477431"/>
                  <a:pt x="226683" y="3221173"/>
                </a:cubicBezTo>
                <a:cubicBezTo>
                  <a:pt x="141609" y="3046397"/>
                  <a:pt x="78985" y="2862173"/>
                  <a:pt x="42356" y="2670865"/>
                </a:cubicBezTo>
                <a:cubicBezTo>
                  <a:pt x="36447" y="2643704"/>
                  <a:pt x="28176" y="2616543"/>
                  <a:pt x="28176" y="2588201"/>
                </a:cubicBezTo>
                <a:cubicBezTo>
                  <a:pt x="28176" y="2561040"/>
                  <a:pt x="36447" y="2533879"/>
                  <a:pt x="41174" y="2505537"/>
                </a:cubicBezTo>
                <a:cubicBezTo>
                  <a:pt x="99072" y="2215031"/>
                  <a:pt x="210141" y="1945782"/>
                  <a:pt x="374382" y="1698971"/>
                </a:cubicBezTo>
                <a:cubicBezTo>
                  <a:pt x="472454" y="1550176"/>
                  <a:pt x="587068" y="1414370"/>
                  <a:pt x="719406" y="1293916"/>
                </a:cubicBezTo>
                <a:cubicBezTo>
                  <a:pt x="753672" y="1260850"/>
                  <a:pt x="790302" y="1230147"/>
                  <a:pt x="826931" y="1199443"/>
                </a:cubicBezTo>
                <a:cubicBezTo>
                  <a:pt x="1056159" y="1012858"/>
                  <a:pt x="1313746" y="877053"/>
                  <a:pt x="1597326" y="789665"/>
                </a:cubicBezTo>
                <a:close/>
                <a:moveTo>
                  <a:pt x="2243223" y="763473"/>
                </a:moveTo>
                <a:cubicBezTo>
                  <a:pt x="3058083" y="763473"/>
                  <a:pt x="3718658" y="1424048"/>
                  <a:pt x="3718658" y="2238908"/>
                </a:cubicBezTo>
                <a:cubicBezTo>
                  <a:pt x="3718658" y="3053768"/>
                  <a:pt x="3058083" y="3714343"/>
                  <a:pt x="2243223" y="3714343"/>
                </a:cubicBezTo>
                <a:cubicBezTo>
                  <a:pt x="1428363" y="3714343"/>
                  <a:pt x="767788" y="3053768"/>
                  <a:pt x="767788" y="2238908"/>
                </a:cubicBezTo>
                <a:cubicBezTo>
                  <a:pt x="767788" y="1424048"/>
                  <a:pt x="1428363" y="763473"/>
                  <a:pt x="2243223" y="763473"/>
                </a:cubicBezTo>
                <a:close/>
                <a:moveTo>
                  <a:pt x="3675296" y="514301"/>
                </a:moveTo>
                <a:cubicBezTo>
                  <a:pt x="3706033" y="541456"/>
                  <a:pt x="3737954" y="567430"/>
                  <a:pt x="3767510" y="595765"/>
                </a:cubicBezTo>
                <a:cubicBezTo>
                  <a:pt x="4040606" y="850784"/>
                  <a:pt x="4240404" y="1153028"/>
                  <a:pt x="4363356" y="1506038"/>
                </a:cubicBezTo>
                <a:cubicBezTo>
                  <a:pt x="4407099" y="1631187"/>
                  <a:pt x="4440202" y="1758696"/>
                  <a:pt x="4459118" y="1889746"/>
                </a:cubicBezTo>
                <a:cubicBezTo>
                  <a:pt x="4462664" y="1915721"/>
                  <a:pt x="4450842" y="1944056"/>
                  <a:pt x="4444930" y="1972392"/>
                </a:cubicBezTo>
                <a:cubicBezTo>
                  <a:pt x="4373996" y="2332487"/>
                  <a:pt x="4223852" y="2657162"/>
                  <a:pt x="3992134" y="2941697"/>
                </a:cubicBezTo>
                <a:cubicBezTo>
                  <a:pt x="3929476" y="3020800"/>
                  <a:pt x="3857360" y="3092819"/>
                  <a:pt x="3785244" y="3164838"/>
                </a:cubicBezTo>
                <a:cubicBezTo>
                  <a:pt x="3630371" y="3319501"/>
                  <a:pt x="3449488" y="3441108"/>
                  <a:pt x="3255602" y="3541462"/>
                </a:cubicBezTo>
                <a:cubicBezTo>
                  <a:pt x="3138560" y="3600494"/>
                  <a:pt x="3015608" y="3647720"/>
                  <a:pt x="2890290" y="3687862"/>
                </a:cubicBezTo>
                <a:lnTo>
                  <a:pt x="2883960" y="3688835"/>
                </a:lnTo>
                <a:lnTo>
                  <a:pt x="3002307" y="3622336"/>
                </a:lnTo>
                <a:cubicBezTo>
                  <a:pt x="3043982" y="3598724"/>
                  <a:pt x="3085360" y="3574520"/>
                  <a:pt x="3125555" y="3548546"/>
                </a:cubicBezTo>
                <a:cubicBezTo>
                  <a:pt x="3304073" y="3431663"/>
                  <a:pt x="3448306" y="3278180"/>
                  <a:pt x="3575988" y="3109348"/>
                </a:cubicBezTo>
                <a:cubicBezTo>
                  <a:pt x="3788790" y="2827175"/>
                  <a:pt x="3925930" y="2510764"/>
                  <a:pt x="3990953" y="2163655"/>
                </a:cubicBezTo>
                <a:cubicBezTo>
                  <a:pt x="4028784" y="1968850"/>
                  <a:pt x="4038242" y="1771683"/>
                  <a:pt x="4022873" y="1572154"/>
                </a:cubicBezTo>
                <a:cubicBezTo>
                  <a:pt x="4011050" y="1405685"/>
                  <a:pt x="3980312" y="1241575"/>
                  <a:pt x="3931840" y="1082189"/>
                </a:cubicBezTo>
                <a:cubicBezTo>
                  <a:pt x="3873911" y="889746"/>
                  <a:pt x="3791155" y="706746"/>
                  <a:pt x="3682388" y="535554"/>
                </a:cubicBezTo>
                <a:cubicBezTo>
                  <a:pt x="3678842" y="529650"/>
                  <a:pt x="3675296" y="523747"/>
                  <a:pt x="3675296" y="514302"/>
                </a:cubicBezTo>
                <a:close/>
                <a:moveTo>
                  <a:pt x="1789291" y="492663"/>
                </a:moveTo>
                <a:cubicBezTo>
                  <a:pt x="1983231" y="496205"/>
                  <a:pt x="2174805" y="524539"/>
                  <a:pt x="2361648" y="577665"/>
                </a:cubicBezTo>
                <a:cubicBezTo>
                  <a:pt x="2372291" y="580026"/>
                  <a:pt x="2381752" y="585929"/>
                  <a:pt x="2391212" y="589470"/>
                </a:cubicBezTo>
                <a:lnTo>
                  <a:pt x="2391212" y="589471"/>
                </a:lnTo>
                <a:lnTo>
                  <a:pt x="2391212" y="594192"/>
                </a:lnTo>
                <a:cubicBezTo>
                  <a:pt x="2398308" y="593012"/>
                  <a:pt x="2406586" y="590651"/>
                  <a:pt x="2413681" y="593012"/>
                </a:cubicBezTo>
                <a:cubicBezTo>
                  <a:pt x="2556770" y="636693"/>
                  <a:pt x="2693948" y="694542"/>
                  <a:pt x="2828758" y="767738"/>
                </a:cubicBezTo>
                <a:lnTo>
                  <a:pt x="2828756" y="767738"/>
                </a:lnTo>
                <a:lnTo>
                  <a:pt x="2818115" y="767738"/>
                </a:lnTo>
                <a:cubicBezTo>
                  <a:pt x="2611168" y="685098"/>
                  <a:pt x="2395942" y="653223"/>
                  <a:pt x="2173622" y="660306"/>
                </a:cubicBezTo>
                <a:cubicBezTo>
                  <a:pt x="1966675" y="667389"/>
                  <a:pt x="1763275" y="699265"/>
                  <a:pt x="1565788" y="761836"/>
                </a:cubicBezTo>
                <a:cubicBezTo>
                  <a:pt x="1082122" y="915310"/>
                  <a:pt x="690696" y="1198648"/>
                  <a:pt x="390327" y="1608309"/>
                </a:cubicBezTo>
                <a:cubicBezTo>
                  <a:pt x="260245" y="1786576"/>
                  <a:pt x="160910" y="1982552"/>
                  <a:pt x="86410" y="2190333"/>
                </a:cubicBezTo>
                <a:cubicBezTo>
                  <a:pt x="55663" y="2276516"/>
                  <a:pt x="35560" y="2366239"/>
                  <a:pt x="9544" y="2455963"/>
                </a:cubicBezTo>
                <a:cubicBezTo>
                  <a:pt x="7179" y="2420546"/>
                  <a:pt x="3631" y="2387490"/>
                  <a:pt x="2448" y="2353253"/>
                </a:cubicBezTo>
                <a:cubicBezTo>
                  <a:pt x="-8195" y="2108873"/>
                  <a:pt x="15456" y="1869216"/>
                  <a:pt x="81680" y="1634282"/>
                </a:cubicBezTo>
                <a:cubicBezTo>
                  <a:pt x="85227" y="1623656"/>
                  <a:pt x="100601" y="1611850"/>
                  <a:pt x="97053" y="1605948"/>
                </a:cubicBezTo>
                <a:cubicBezTo>
                  <a:pt x="89958" y="1585878"/>
                  <a:pt x="101783" y="1571711"/>
                  <a:pt x="106514" y="1555183"/>
                </a:cubicBezTo>
                <a:cubicBezTo>
                  <a:pt x="177466" y="1328512"/>
                  <a:pt x="285079" y="1119549"/>
                  <a:pt x="424621" y="927116"/>
                </a:cubicBezTo>
                <a:cubicBezTo>
                  <a:pt x="434082" y="915309"/>
                  <a:pt x="448271" y="907046"/>
                  <a:pt x="461280" y="897601"/>
                </a:cubicBezTo>
                <a:cubicBezTo>
                  <a:pt x="676505" y="747668"/>
                  <a:pt x="909470" y="637874"/>
                  <a:pt x="1162537" y="570581"/>
                </a:cubicBezTo>
                <a:cubicBezTo>
                  <a:pt x="1368301" y="515094"/>
                  <a:pt x="1576431" y="489121"/>
                  <a:pt x="1789291" y="492663"/>
                </a:cubicBezTo>
                <a:close/>
                <a:moveTo>
                  <a:pt x="1891488" y="28013"/>
                </a:moveTo>
                <a:cubicBezTo>
                  <a:pt x="1917505" y="23290"/>
                  <a:pt x="1945886" y="33917"/>
                  <a:pt x="1971902" y="39822"/>
                </a:cubicBezTo>
                <a:cubicBezTo>
                  <a:pt x="2449656" y="135472"/>
                  <a:pt x="2855272" y="359838"/>
                  <a:pt x="3187572" y="714099"/>
                </a:cubicBezTo>
                <a:cubicBezTo>
                  <a:pt x="3426449" y="967985"/>
                  <a:pt x="3593189" y="1264383"/>
                  <a:pt x="3694889" y="1597389"/>
                </a:cubicBezTo>
                <a:cubicBezTo>
                  <a:pt x="3696072" y="1599751"/>
                  <a:pt x="3696072" y="1603293"/>
                  <a:pt x="3696072" y="1606835"/>
                </a:cubicBezTo>
                <a:cubicBezTo>
                  <a:pt x="3642856" y="1492291"/>
                  <a:pt x="3580181" y="1384832"/>
                  <a:pt x="3503314" y="1284458"/>
                </a:cubicBezTo>
                <a:cubicBezTo>
                  <a:pt x="3362590" y="1101423"/>
                  <a:pt x="3189937" y="953816"/>
                  <a:pt x="2998362" y="827462"/>
                </a:cubicBezTo>
                <a:cubicBezTo>
                  <a:pt x="2773677" y="678673"/>
                  <a:pt x="2528887" y="575938"/>
                  <a:pt x="2266359" y="514533"/>
                </a:cubicBezTo>
                <a:cubicBezTo>
                  <a:pt x="2237977" y="507447"/>
                  <a:pt x="2208414" y="502724"/>
                  <a:pt x="2178850" y="496819"/>
                </a:cubicBezTo>
                <a:cubicBezTo>
                  <a:pt x="2036943" y="468478"/>
                  <a:pt x="1876115" y="454308"/>
                  <a:pt x="1729478" y="455489"/>
                </a:cubicBezTo>
                <a:cubicBezTo>
                  <a:pt x="1560373" y="456670"/>
                  <a:pt x="1394814" y="476744"/>
                  <a:pt x="1229256" y="514533"/>
                </a:cubicBezTo>
                <a:cubicBezTo>
                  <a:pt x="1220978" y="516304"/>
                  <a:pt x="1212109" y="516599"/>
                  <a:pt x="1202796" y="515713"/>
                </a:cubicBezTo>
                <a:lnTo>
                  <a:pt x="1173677" y="509809"/>
                </a:lnTo>
                <a:lnTo>
                  <a:pt x="1186684" y="525160"/>
                </a:lnTo>
                <a:lnTo>
                  <a:pt x="1186684" y="525161"/>
                </a:lnTo>
                <a:cubicBezTo>
                  <a:pt x="947808" y="586566"/>
                  <a:pt x="725487" y="682216"/>
                  <a:pt x="514991" y="810930"/>
                </a:cubicBezTo>
                <a:cubicBezTo>
                  <a:pt x="539825" y="782590"/>
                  <a:pt x="563476" y="754249"/>
                  <a:pt x="588310" y="727088"/>
                </a:cubicBezTo>
                <a:cubicBezTo>
                  <a:pt x="789345" y="509809"/>
                  <a:pt x="1023491" y="336221"/>
                  <a:pt x="1291932" y="211048"/>
                </a:cubicBezTo>
                <a:cubicBezTo>
                  <a:pt x="1483506" y="121302"/>
                  <a:pt x="1683358" y="58716"/>
                  <a:pt x="1891488" y="28013"/>
                </a:cubicBezTo>
                <a:close/>
                <a:moveTo>
                  <a:pt x="2182411" y="996"/>
                </a:moveTo>
                <a:cubicBezTo>
                  <a:pt x="2423633" y="-6087"/>
                  <a:pt x="2661306" y="24605"/>
                  <a:pt x="2893068" y="94251"/>
                </a:cubicBezTo>
                <a:cubicBezTo>
                  <a:pt x="3131924" y="166258"/>
                  <a:pt x="3353044" y="276040"/>
                  <a:pt x="3555244" y="422415"/>
                </a:cubicBezTo>
                <a:cubicBezTo>
                  <a:pt x="3574163" y="436580"/>
                  <a:pt x="3587170" y="459008"/>
                  <a:pt x="3600178" y="477895"/>
                </a:cubicBezTo>
                <a:cubicBezTo>
                  <a:pt x="3779911" y="741134"/>
                  <a:pt x="3899339" y="1029162"/>
                  <a:pt x="3956096" y="1343160"/>
                </a:cubicBezTo>
                <a:cubicBezTo>
                  <a:pt x="3990388" y="1524948"/>
                  <a:pt x="4001030" y="1707917"/>
                  <a:pt x="3988023" y="1892066"/>
                </a:cubicBezTo>
                <a:cubicBezTo>
                  <a:pt x="3970286" y="2160026"/>
                  <a:pt x="3907616" y="2418544"/>
                  <a:pt x="3796465" y="2662895"/>
                </a:cubicBezTo>
                <a:cubicBezTo>
                  <a:pt x="3772816" y="2714835"/>
                  <a:pt x="3746802" y="2765594"/>
                  <a:pt x="3720788" y="2821075"/>
                </a:cubicBezTo>
                <a:cubicBezTo>
                  <a:pt x="3744436" y="2733722"/>
                  <a:pt x="3770451" y="2652272"/>
                  <a:pt x="3790553" y="2568460"/>
                </a:cubicBezTo>
                <a:cubicBezTo>
                  <a:pt x="3827209" y="2409100"/>
                  <a:pt x="3830756" y="2247379"/>
                  <a:pt x="3820114" y="2084478"/>
                </a:cubicBezTo>
                <a:cubicBezTo>
                  <a:pt x="3805924" y="1880261"/>
                  <a:pt x="3765721" y="1681947"/>
                  <a:pt x="3698321" y="1488355"/>
                </a:cubicBezTo>
                <a:cubicBezTo>
                  <a:pt x="3616732" y="1255807"/>
                  <a:pt x="3500850" y="1043328"/>
                  <a:pt x="3349496" y="847375"/>
                </a:cubicBezTo>
                <a:cubicBezTo>
                  <a:pt x="3222974" y="682112"/>
                  <a:pt x="3076348" y="536918"/>
                  <a:pt x="2908440" y="414153"/>
                </a:cubicBezTo>
                <a:cubicBezTo>
                  <a:pt x="2819756" y="349228"/>
                  <a:pt x="2725159" y="291386"/>
                  <a:pt x="2629380" y="237085"/>
                </a:cubicBezTo>
                <a:cubicBezTo>
                  <a:pt x="2442552" y="132026"/>
                  <a:pt x="2241535" y="60018"/>
                  <a:pt x="2031057" y="13981"/>
                </a:cubicBezTo>
                <a:cubicBezTo>
                  <a:pt x="2029874" y="13981"/>
                  <a:pt x="2028692" y="12801"/>
                  <a:pt x="2021597" y="8079"/>
                </a:cubicBezTo>
                <a:cubicBezTo>
                  <a:pt x="2079538" y="5717"/>
                  <a:pt x="2130384" y="2177"/>
                  <a:pt x="2182411" y="996"/>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8734551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8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35A53120-8E6A-40AD-917F-7CCD4E65ED84}"/>
              </a:ext>
            </a:extLst>
          </p:cNvPr>
          <p:cNvSpPr>
            <a:spLocks noGrp="1"/>
          </p:cNvSpPr>
          <p:nvPr>
            <p:ph type="pic" sz="quarter" idx="22"/>
          </p:nvPr>
        </p:nvSpPr>
        <p:spPr>
          <a:xfrm>
            <a:off x="8268594" y="762136"/>
            <a:ext cx="7245662" cy="7434452"/>
          </a:xfrm>
          <a:custGeom>
            <a:avLst/>
            <a:gdLst>
              <a:gd name="connsiteX0" fmla="*/ 5448247 w 5452350"/>
              <a:gd name="connsiteY0" fmla="*/ 3505266 h 5664344"/>
              <a:gd name="connsiteX1" fmla="*/ 5452350 w 5452350"/>
              <a:gd name="connsiteY1" fmla="*/ 3505266 h 5664344"/>
              <a:gd name="connsiteX2" fmla="*/ 5452350 w 5452350"/>
              <a:gd name="connsiteY2" fmla="*/ 3852344 h 5664344"/>
              <a:gd name="connsiteX3" fmla="*/ 5448247 w 5452350"/>
              <a:gd name="connsiteY3" fmla="*/ 3852344 h 5664344"/>
              <a:gd name="connsiteX4" fmla="*/ 5448247 w 5452350"/>
              <a:gd name="connsiteY4" fmla="*/ 3505266 h 5664344"/>
              <a:gd name="connsiteX5" fmla="*/ 5397455 w 5452350"/>
              <a:gd name="connsiteY5" fmla="*/ 1105195 h 5664344"/>
              <a:gd name="connsiteX6" fmla="*/ 5421391 w 5452350"/>
              <a:gd name="connsiteY6" fmla="*/ 1105195 h 5664344"/>
              <a:gd name="connsiteX7" fmla="*/ 5434447 w 5452350"/>
              <a:gd name="connsiteY7" fmla="*/ 2277169 h 5664344"/>
              <a:gd name="connsiteX8" fmla="*/ 5438799 w 5452350"/>
              <a:gd name="connsiteY8" fmla="*/ 3456152 h 5664344"/>
              <a:gd name="connsiteX9" fmla="*/ 5397455 w 5452350"/>
              <a:gd name="connsiteY9" fmla="*/ 1105195 h 5664344"/>
              <a:gd name="connsiteX10" fmla="*/ 4208633 w 5452350"/>
              <a:gd name="connsiteY10" fmla="*/ 0 h 5664344"/>
              <a:gd name="connsiteX11" fmla="*/ 4213021 w 5452350"/>
              <a:gd name="connsiteY11" fmla="*/ 0 h 5664344"/>
              <a:gd name="connsiteX12" fmla="*/ 4241550 w 5452350"/>
              <a:gd name="connsiteY12" fmla="*/ 199659 h 5664344"/>
              <a:gd name="connsiteX13" fmla="*/ 4252523 w 5452350"/>
              <a:gd name="connsiteY13" fmla="*/ 197907 h 5664344"/>
              <a:gd name="connsiteX14" fmla="*/ 4241550 w 5452350"/>
              <a:gd name="connsiteY14" fmla="*/ 108587 h 5664344"/>
              <a:gd name="connsiteX15" fmla="*/ 4254717 w 5452350"/>
              <a:gd name="connsiteY15" fmla="*/ 29774 h 5664344"/>
              <a:gd name="connsiteX16" fmla="*/ 4289829 w 5452350"/>
              <a:gd name="connsiteY16" fmla="*/ 339770 h 5664344"/>
              <a:gd name="connsiteX17" fmla="*/ 4302995 w 5452350"/>
              <a:gd name="connsiteY17" fmla="*/ 339770 h 5664344"/>
              <a:gd name="connsiteX18" fmla="*/ 4313969 w 5452350"/>
              <a:gd name="connsiteY18" fmla="*/ 274968 h 5664344"/>
              <a:gd name="connsiteX19" fmla="*/ 4316163 w 5452350"/>
              <a:gd name="connsiteY19" fmla="*/ 117343 h 5664344"/>
              <a:gd name="connsiteX20" fmla="*/ 4333719 w 5452350"/>
              <a:gd name="connsiteY20" fmla="*/ 63049 h 5664344"/>
              <a:gd name="connsiteX21" fmla="*/ 4362246 w 5452350"/>
              <a:gd name="connsiteY21" fmla="*/ 185647 h 5664344"/>
              <a:gd name="connsiteX22" fmla="*/ 4388581 w 5452350"/>
              <a:gd name="connsiteY22" fmla="*/ 150620 h 5664344"/>
              <a:gd name="connsiteX23" fmla="*/ 4410525 w 5452350"/>
              <a:gd name="connsiteY23" fmla="*/ 201410 h 5664344"/>
              <a:gd name="connsiteX24" fmla="*/ 4430277 w 5452350"/>
              <a:gd name="connsiteY24" fmla="*/ 345024 h 5664344"/>
              <a:gd name="connsiteX25" fmla="*/ 4443443 w 5452350"/>
              <a:gd name="connsiteY25" fmla="*/ 346775 h 5664344"/>
              <a:gd name="connsiteX26" fmla="*/ 4456610 w 5452350"/>
              <a:gd name="connsiteY26" fmla="*/ 187400 h 5664344"/>
              <a:gd name="connsiteX27" fmla="*/ 4465388 w 5452350"/>
              <a:gd name="connsiteY27" fmla="*/ 185647 h 5664344"/>
              <a:gd name="connsiteX28" fmla="*/ 4465388 w 5452350"/>
              <a:gd name="connsiteY28" fmla="*/ 302992 h 5664344"/>
              <a:gd name="connsiteX29" fmla="*/ 4511472 w 5452350"/>
              <a:gd name="connsiteY29" fmla="*/ 220676 h 5664344"/>
              <a:gd name="connsiteX30" fmla="*/ 4509278 w 5452350"/>
              <a:gd name="connsiteY30" fmla="*/ 157625 h 5664344"/>
              <a:gd name="connsiteX31" fmla="*/ 4509278 w 5452350"/>
              <a:gd name="connsiteY31" fmla="*/ 94575 h 5664344"/>
              <a:gd name="connsiteX32" fmla="*/ 4526834 w 5452350"/>
              <a:gd name="connsiteY32" fmla="*/ 31525 h 5664344"/>
              <a:gd name="connsiteX33" fmla="*/ 4566335 w 5452350"/>
              <a:gd name="connsiteY33" fmla="*/ 89322 h 5664344"/>
              <a:gd name="connsiteX34" fmla="*/ 4572917 w 5452350"/>
              <a:gd name="connsiteY34" fmla="*/ 50791 h 5664344"/>
              <a:gd name="connsiteX35" fmla="*/ 4581697 w 5452350"/>
              <a:gd name="connsiteY35" fmla="*/ 50791 h 5664344"/>
              <a:gd name="connsiteX36" fmla="*/ 4594863 w 5452350"/>
              <a:gd name="connsiteY36" fmla="*/ 187400 h 5664344"/>
              <a:gd name="connsiteX37" fmla="*/ 4619003 w 5452350"/>
              <a:gd name="connsiteY37" fmla="*/ 429091 h 5664344"/>
              <a:gd name="connsiteX38" fmla="*/ 4629151 w 5452350"/>
              <a:gd name="connsiteY38" fmla="*/ 497833 h 5664344"/>
              <a:gd name="connsiteX39" fmla="*/ 4629870 w 5452350"/>
              <a:gd name="connsiteY39" fmla="*/ 499736 h 5664344"/>
              <a:gd name="connsiteX40" fmla="*/ 4638237 w 5452350"/>
              <a:gd name="connsiteY40" fmla="*/ 481214 h 5664344"/>
              <a:gd name="connsiteX41" fmla="*/ 4657987 w 5452350"/>
              <a:gd name="connsiteY41" fmla="*/ 457680 h 5664344"/>
              <a:gd name="connsiteX42" fmla="*/ 4715043 w 5452350"/>
              <a:gd name="connsiteY42" fmla="*/ 443669 h 5664344"/>
              <a:gd name="connsiteX43" fmla="*/ 4719433 w 5452350"/>
              <a:gd name="connsiteY43" fmla="*/ 443669 h 5664344"/>
              <a:gd name="connsiteX44" fmla="*/ 4862075 w 5452350"/>
              <a:gd name="connsiteY44" fmla="*/ 382371 h 5664344"/>
              <a:gd name="connsiteX45" fmla="*/ 4894993 w 5452350"/>
              <a:gd name="connsiteY45" fmla="*/ 613554 h 5664344"/>
              <a:gd name="connsiteX46" fmla="*/ 4908159 w 5452350"/>
              <a:gd name="connsiteY46" fmla="*/ 611803 h 5664344"/>
              <a:gd name="connsiteX47" fmla="*/ 4908159 w 5452350"/>
              <a:gd name="connsiteY47" fmla="*/ 370111 h 5664344"/>
              <a:gd name="connsiteX48" fmla="*/ 4912547 w 5452350"/>
              <a:gd name="connsiteY48" fmla="*/ 370111 h 5664344"/>
              <a:gd name="connsiteX49" fmla="*/ 4941076 w 5452350"/>
              <a:gd name="connsiteY49" fmla="*/ 569770 h 5664344"/>
              <a:gd name="connsiteX50" fmla="*/ 4952049 w 5452350"/>
              <a:gd name="connsiteY50" fmla="*/ 568018 h 5664344"/>
              <a:gd name="connsiteX51" fmla="*/ 4941076 w 5452350"/>
              <a:gd name="connsiteY51" fmla="*/ 478697 h 5664344"/>
              <a:gd name="connsiteX52" fmla="*/ 4954243 w 5452350"/>
              <a:gd name="connsiteY52" fmla="*/ 399884 h 5664344"/>
              <a:gd name="connsiteX53" fmla="*/ 4989355 w 5452350"/>
              <a:gd name="connsiteY53" fmla="*/ 709881 h 5664344"/>
              <a:gd name="connsiteX54" fmla="*/ 5002521 w 5452350"/>
              <a:gd name="connsiteY54" fmla="*/ 709881 h 5664344"/>
              <a:gd name="connsiteX55" fmla="*/ 5013495 w 5452350"/>
              <a:gd name="connsiteY55" fmla="*/ 645079 h 5664344"/>
              <a:gd name="connsiteX56" fmla="*/ 5015689 w 5452350"/>
              <a:gd name="connsiteY56" fmla="*/ 487454 h 5664344"/>
              <a:gd name="connsiteX57" fmla="*/ 5033244 w 5452350"/>
              <a:gd name="connsiteY57" fmla="*/ 433160 h 5664344"/>
              <a:gd name="connsiteX58" fmla="*/ 5061773 w 5452350"/>
              <a:gd name="connsiteY58" fmla="*/ 555758 h 5664344"/>
              <a:gd name="connsiteX59" fmla="*/ 5088107 w 5452350"/>
              <a:gd name="connsiteY59" fmla="*/ 520730 h 5664344"/>
              <a:gd name="connsiteX60" fmla="*/ 5110051 w 5452350"/>
              <a:gd name="connsiteY60" fmla="*/ 571521 h 5664344"/>
              <a:gd name="connsiteX61" fmla="*/ 5129803 w 5452350"/>
              <a:gd name="connsiteY61" fmla="*/ 715135 h 5664344"/>
              <a:gd name="connsiteX62" fmla="*/ 5142969 w 5452350"/>
              <a:gd name="connsiteY62" fmla="*/ 716886 h 5664344"/>
              <a:gd name="connsiteX63" fmla="*/ 5156135 w 5452350"/>
              <a:gd name="connsiteY63" fmla="*/ 557510 h 5664344"/>
              <a:gd name="connsiteX64" fmla="*/ 5164915 w 5452350"/>
              <a:gd name="connsiteY64" fmla="*/ 555758 h 5664344"/>
              <a:gd name="connsiteX65" fmla="*/ 5164915 w 5452350"/>
              <a:gd name="connsiteY65" fmla="*/ 673102 h 5664344"/>
              <a:gd name="connsiteX66" fmla="*/ 5210998 w 5452350"/>
              <a:gd name="connsiteY66" fmla="*/ 590787 h 5664344"/>
              <a:gd name="connsiteX67" fmla="*/ 5208803 w 5452350"/>
              <a:gd name="connsiteY67" fmla="*/ 527736 h 5664344"/>
              <a:gd name="connsiteX68" fmla="*/ 5208803 w 5452350"/>
              <a:gd name="connsiteY68" fmla="*/ 464685 h 5664344"/>
              <a:gd name="connsiteX69" fmla="*/ 5226360 w 5452350"/>
              <a:gd name="connsiteY69" fmla="*/ 401636 h 5664344"/>
              <a:gd name="connsiteX70" fmla="*/ 5265861 w 5452350"/>
              <a:gd name="connsiteY70" fmla="*/ 459432 h 5664344"/>
              <a:gd name="connsiteX71" fmla="*/ 5272443 w 5452350"/>
              <a:gd name="connsiteY71" fmla="*/ 420901 h 5664344"/>
              <a:gd name="connsiteX72" fmla="*/ 5281222 w 5452350"/>
              <a:gd name="connsiteY72" fmla="*/ 420901 h 5664344"/>
              <a:gd name="connsiteX73" fmla="*/ 5294389 w 5452350"/>
              <a:gd name="connsiteY73" fmla="*/ 557510 h 5664344"/>
              <a:gd name="connsiteX74" fmla="*/ 5318529 w 5452350"/>
              <a:gd name="connsiteY74" fmla="*/ 799201 h 5664344"/>
              <a:gd name="connsiteX75" fmla="*/ 5353640 w 5452350"/>
              <a:gd name="connsiteY75" fmla="*/ 934059 h 5664344"/>
              <a:gd name="connsiteX76" fmla="*/ 5355835 w 5452350"/>
              <a:gd name="connsiteY76" fmla="*/ 974341 h 5664344"/>
              <a:gd name="connsiteX77" fmla="*/ 5362417 w 5452350"/>
              <a:gd name="connsiteY77" fmla="*/ 1422697 h 5664344"/>
              <a:gd name="connsiteX78" fmla="*/ 5347057 w 5452350"/>
              <a:gd name="connsiteY78" fmla="*/ 1776479 h 5664344"/>
              <a:gd name="connsiteX79" fmla="*/ 5358029 w 5452350"/>
              <a:gd name="connsiteY79" fmla="*/ 2310653 h 5664344"/>
              <a:gd name="connsiteX80" fmla="*/ 5375585 w 5452350"/>
              <a:gd name="connsiteY80" fmla="*/ 2862341 h 5664344"/>
              <a:gd name="connsiteX81" fmla="*/ 5388751 w 5452350"/>
              <a:gd name="connsiteY81" fmla="*/ 3550639 h 5664344"/>
              <a:gd name="connsiteX82" fmla="*/ 5366806 w 5452350"/>
              <a:gd name="connsiteY82" fmla="*/ 4177638 h 5664344"/>
              <a:gd name="connsiteX83" fmla="*/ 5353640 w 5452350"/>
              <a:gd name="connsiteY83" fmla="*/ 4484131 h 5664344"/>
              <a:gd name="connsiteX84" fmla="*/ 5329501 w 5452350"/>
              <a:gd name="connsiteY84" fmla="*/ 4590966 h 5664344"/>
              <a:gd name="connsiteX85" fmla="*/ 5320723 w 5452350"/>
              <a:gd name="connsiteY85" fmla="*/ 4844918 h 5664344"/>
              <a:gd name="connsiteX86" fmla="*/ 5318529 w 5452350"/>
              <a:gd name="connsiteY86" fmla="*/ 4314246 h 5664344"/>
              <a:gd name="connsiteX87" fmla="*/ 5292195 w 5452350"/>
              <a:gd name="connsiteY87" fmla="*/ 4314246 h 5664344"/>
              <a:gd name="connsiteX88" fmla="*/ 5268055 w 5452350"/>
              <a:gd name="connsiteY88" fmla="*/ 4708309 h 5664344"/>
              <a:gd name="connsiteX89" fmla="*/ 5265861 w 5452350"/>
              <a:gd name="connsiteY89" fmla="*/ 4708309 h 5664344"/>
              <a:gd name="connsiteX90" fmla="*/ 5265861 w 5452350"/>
              <a:gd name="connsiteY90" fmla="*/ 4554187 h 5664344"/>
              <a:gd name="connsiteX91" fmla="*/ 5263666 w 5452350"/>
              <a:gd name="connsiteY91" fmla="*/ 4315997 h 5664344"/>
              <a:gd name="connsiteX92" fmla="*/ 5257083 w 5452350"/>
              <a:gd name="connsiteY92" fmla="*/ 4028768 h 5664344"/>
              <a:gd name="connsiteX93" fmla="*/ 5261471 w 5452350"/>
              <a:gd name="connsiteY93" fmla="*/ 3790579 h 5664344"/>
              <a:gd name="connsiteX94" fmla="*/ 5259277 w 5452350"/>
              <a:gd name="connsiteY94" fmla="*/ 3554141 h 5664344"/>
              <a:gd name="connsiteX95" fmla="*/ 5252693 w 5452350"/>
              <a:gd name="connsiteY95" fmla="*/ 3534876 h 5664344"/>
              <a:gd name="connsiteX96" fmla="*/ 5129803 w 5452350"/>
              <a:gd name="connsiteY96" fmla="*/ 4893956 h 5664344"/>
              <a:gd name="connsiteX97" fmla="*/ 5092495 w 5452350"/>
              <a:gd name="connsiteY97" fmla="*/ 4853674 h 5664344"/>
              <a:gd name="connsiteX98" fmla="*/ 5092495 w 5452350"/>
              <a:gd name="connsiteY98" fmla="*/ 4913222 h 5664344"/>
              <a:gd name="connsiteX99" fmla="*/ 5085912 w 5452350"/>
              <a:gd name="connsiteY99" fmla="*/ 4913222 h 5664344"/>
              <a:gd name="connsiteX100" fmla="*/ 5072745 w 5452350"/>
              <a:gd name="connsiteY100" fmla="*/ 4489385 h 5664344"/>
              <a:gd name="connsiteX101" fmla="*/ 5031050 w 5452350"/>
              <a:gd name="connsiteY101" fmla="*/ 4825653 h 5664344"/>
              <a:gd name="connsiteX102" fmla="*/ 5031050 w 5452350"/>
              <a:gd name="connsiteY102" fmla="*/ 4142609 h 5664344"/>
              <a:gd name="connsiteX103" fmla="*/ 5015689 w 5452350"/>
              <a:gd name="connsiteY103" fmla="*/ 4140858 h 5664344"/>
              <a:gd name="connsiteX104" fmla="*/ 4993744 w 5452350"/>
              <a:gd name="connsiteY104" fmla="*/ 4301986 h 5664344"/>
              <a:gd name="connsiteX105" fmla="*/ 4993744 w 5452350"/>
              <a:gd name="connsiteY105" fmla="*/ 4107581 h 5664344"/>
              <a:gd name="connsiteX106" fmla="*/ 4982771 w 5452350"/>
              <a:gd name="connsiteY106" fmla="*/ 4107581 h 5664344"/>
              <a:gd name="connsiteX107" fmla="*/ 4947661 w 5452350"/>
              <a:gd name="connsiteY107" fmla="*/ 4748591 h 5664344"/>
              <a:gd name="connsiteX108" fmla="*/ 4941076 w 5452350"/>
              <a:gd name="connsiteY108" fmla="*/ 4722321 h 5664344"/>
              <a:gd name="connsiteX109" fmla="*/ 4932297 w 5452350"/>
              <a:gd name="connsiteY109" fmla="*/ 4722321 h 5664344"/>
              <a:gd name="connsiteX110" fmla="*/ 4925715 w 5452350"/>
              <a:gd name="connsiteY110" fmla="*/ 4806388 h 5664344"/>
              <a:gd name="connsiteX111" fmla="*/ 4919132 w 5452350"/>
              <a:gd name="connsiteY111" fmla="*/ 4790625 h 5664344"/>
              <a:gd name="connsiteX112" fmla="*/ 4919132 w 5452350"/>
              <a:gd name="connsiteY112" fmla="*/ 4228427 h 5664344"/>
              <a:gd name="connsiteX113" fmla="*/ 4908159 w 5452350"/>
              <a:gd name="connsiteY113" fmla="*/ 4189897 h 5664344"/>
              <a:gd name="connsiteX114" fmla="*/ 4890603 w 5452350"/>
              <a:gd name="connsiteY114" fmla="*/ 4154869 h 5664344"/>
              <a:gd name="connsiteX115" fmla="*/ 4855491 w 5452350"/>
              <a:gd name="connsiteY115" fmla="*/ 4471871 h 5664344"/>
              <a:gd name="connsiteX116" fmla="*/ 4855491 w 5452350"/>
              <a:gd name="connsiteY116" fmla="*/ 4067299 h 5664344"/>
              <a:gd name="connsiteX117" fmla="*/ 4833547 w 5452350"/>
              <a:gd name="connsiteY117" fmla="*/ 4067299 h 5664344"/>
              <a:gd name="connsiteX118" fmla="*/ 4811601 w 5452350"/>
              <a:gd name="connsiteY118" fmla="*/ 4323003 h 5664344"/>
              <a:gd name="connsiteX119" fmla="*/ 4811601 w 5452350"/>
              <a:gd name="connsiteY119" fmla="*/ 4580458 h 5664344"/>
              <a:gd name="connsiteX120" fmla="*/ 4794046 w 5452350"/>
              <a:gd name="connsiteY120" fmla="*/ 4580458 h 5664344"/>
              <a:gd name="connsiteX121" fmla="*/ 4794046 w 5452350"/>
              <a:gd name="connsiteY121" fmla="*/ 3837867 h 5664344"/>
              <a:gd name="connsiteX122" fmla="*/ 4776489 w 5452350"/>
              <a:gd name="connsiteY122" fmla="*/ 3837867 h 5664344"/>
              <a:gd name="connsiteX123" fmla="*/ 4776489 w 5452350"/>
              <a:gd name="connsiteY123" fmla="*/ 3935945 h 5664344"/>
              <a:gd name="connsiteX124" fmla="*/ 4769907 w 5452350"/>
              <a:gd name="connsiteY124" fmla="*/ 4186394 h 5664344"/>
              <a:gd name="connsiteX125" fmla="*/ 4752349 w 5452350"/>
              <a:gd name="connsiteY125" fmla="*/ 4629496 h 5664344"/>
              <a:gd name="connsiteX126" fmla="*/ 4750155 w 5452350"/>
              <a:gd name="connsiteY126" fmla="*/ 4689044 h 5664344"/>
              <a:gd name="connsiteX127" fmla="*/ 4741378 w 5452350"/>
              <a:gd name="connsiteY127" fmla="*/ 4648762 h 5664344"/>
              <a:gd name="connsiteX128" fmla="*/ 4717238 w 5452350"/>
              <a:gd name="connsiteY128" fmla="*/ 4473622 h 5664344"/>
              <a:gd name="connsiteX129" fmla="*/ 4734795 w 5452350"/>
              <a:gd name="connsiteY129" fmla="*/ 4149615 h 5664344"/>
              <a:gd name="connsiteX130" fmla="*/ 4730405 w 5452350"/>
              <a:gd name="connsiteY130" fmla="*/ 4037526 h 5664344"/>
              <a:gd name="connsiteX131" fmla="*/ 4715043 w 5452350"/>
              <a:gd name="connsiteY131" fmla="*/ 4021763 h 5664344"/>
              <a:gd name="connsiteX132" fmla="*/ 4697487 w 5452350"/>
              <a:gd name="connsiteY132" fmla="*/ 4261705 h 5664344"/>
              <a:gd name="connsiteX133" fmla="*/ 4693099 w 5452350"/>
              <a:gd name="connsiteY133" fmla="*/ 4261705 h 5664344"/>
              <a:gd name="connsiteX134" fmla="*/ 4679932 w 5452350"/>
              <a:gd name="connsiteY134" fmla="*/ 4140858 h 5664344"/>
              <a:gd name="connsiteX135" fmla="*/ 4664570 w 5452350"/>
              <a:gd name="connsiteY135" fmla="*/ 4140858 h 5664344"/>
              <a:gd name="connsiteX136" fmla="*/ 4655793 w 5452350"/>
              <a:gd name="connsiteY136" fmla="*/ 4312494 h 5664344"/>
              <a:gd name="connsiteX137" fmla="*/ 4660181 w 5452350"/>
              <a:gd name="connsiteY137" fmla="*/ 4562943 h 5664344"/>
              <a:gd name="connsiteX138" fmla="*/ 4647013 w 5452350"/>
              <a:gd name="connsiteY138" fmla="*/ 4603225 h 5664344"/>
              <a:gd name="connsiteX139" fmla="*/ 4631653 w 5452350"/>
              <a:gd name="connsiteY139" fmla="*/ 4601474 h 5664344"/>
              <a:gd name="connsiteX140" fmla="*/ 4631653 w 5452350"/>
              <a:gd name="connsiteY140" fmla="*/ 4213517 h 5664344"/>
              <a:gd name="connsiteX141" fmla="*/ 4629974 w 5452350"/>
              <a:gd name="connsiteY141" fmla="*/ 4220855 h 5664344"/>
              <a:gd name="connsiteX142" fmla="*/ 4621197 w 5452350"/>
              <a:gd name="connsiteY142" fmla="*/ 4474807 h 5664344"/>
              <a:gd name="connsiteX143" fmla="*/ 4620099 w 5452350"/>
              <a:gd name="connsiteY143" fmla="*/ 4209471 h 5664344"/>
              <a:gd name="connsiteX144" fmla="*/ 4622225 w 5452350"/>
              <a:gd name="connsiteY144" fmla="*/ 4130349 h 5664344"/>
              <a:gd name="connsiteX145" fmla="*/ 4618487 w 5452350"/>
              <a:gd name="connsiteY145" fmla="*/ 4130349 h 5664344"/>
              <a:gd name="connsiteX146" fmla="*/ 4618487 w 5452350"/>
              <a:gd name="connsiteY146" fmla="*/ 4203909 h 5664344"/>
              <a:gd name="connsiteX147" fmla="*/ 4611902 w 5452350"/>
              <a:gd name="connsiteY147" fmla="*/ 4203909 h 5664344"/>
              <a:gd name="connsiteX148" fmla="*/ 4611902 w 5452350"/>
              <a:gd name="connsiteY148" fmla="*/ 4072553 h 5664344"/>
              <a:gd name="connsiteX149" fmla="*/ 4616291 w 5452350"/>
              <a:gd name="connsiteY149" fmla="*/ 4072553 h 5664344"/>
              <a:gd name="connsiteX150" fmla="*/ 4622683 w 5452350"/>
              <a:gd name="connsiteY150" fmla="*/ 4113356 h 5664344"/>
              <a:gd name="connsiteX151" fmla="*/ 4623665 w 5452350"/>
              <a:gd name="connsiteY151" fmla="*/ 4076803 h 5664344"/>
              <a:gd name="connsiteX152" fmla="*/ 4619003 w 5452350"/>
              <a:gd name="connsiteY152" fmla="*/ 3944135 h 5664344"/>
              <a:gd name="connsiteX153" fmla="*/ 4592668 w 5452350"/>
              <a:gd name="connsiteY153" fmla="*/ 3944135 h 5664344"/>
              <a:gd name="connsiteX154" fmla="*/ 4568529 w 5452350"/>
              <a:gd name="connsiteY154" fmla="*/ 4338199 h 5664344"/>
              <a:gd name="connsiteX155" fmla="*/ 4566335 w 5452350"/>
              <a:gd name="connsiteY155" fmla="*/ 4338199 h 5664344"/>
              <a:gd name="connsiteX156" fmla="*/ 4566335 w 5452350"/>
              <a:gd name="connsiteY156" fmla="*/ 4184076 h 5664344"/>
              <a:gd name="connsiteX157" fmla="*/ 4564140 w 5452350"/>
              <a:gd name="connsiteY157" fmla="*/ 3945886 h 5664344"/>
              <a:gd name="connsiteX158" fmla="*/ 4557557 w 5452350"/>
              <a:gd name="connsiteY158" fmla="*/ 3658657 h 5664344"/>
              <a:gd name="connsiteX159" fmla="*/ 4561946 w 5452350"/>
              <a:gd name="connsiteY159" fmla="*/ 3420469 h 5664344"/>
              <a:gd name="connsiteX160" fmla="*/ 4559751 w 5452350"/>
              <a:gd name="connsiteY160" fmla="*/ 3184031 h 5664344"/>
              <a:gd name="connsiteX161" fmla="*/ 4553167 w 5452350"/>
              <a:gd name="connsiteY161" fmla="*/ 3164765 h 5664344"/>
              <a:gd name="connsiteX162" fmla="*/ 4430277 w 5452350"/>
              <a:gd name="connsiteY162" fmla="*/ 4523846 h 5664344"/>
              <a:gd name="connsiteX163" fmla="*/ 4392969 w 5452350"/>
              <a:gd name="connsiteY163" fmla="*/ 4483564 h 5664344"/>
              <a:gd name="connsiteX164" fmla="*/ 4392969 w 5452350"/>
              <a:gd name="connsiteY164" fmla="*/ 4543111 h 5664344"/>
              <a:gd name="connsiteX165" fmla="*/ 4386387 w 5452350"/>
              <a:gd name="connsiteY165" fmla="*/ 4543111 h 5664344"/>
              <a:gd name="connsiteX166" fmla="*/ 4373219 w 5452350"/>
              <a:gd name="connsiteY166" fmla="*/ 4119275 h 5664344"/>
              <a:gd name="connsiteX167" fmla="*/ 4331524 w 5452350"/>
              <a:gd name="connsiteY167" fmla="*/ 4455542 h 5664344"/>
              <a:gd name="connsiteX168" fmla="*/ 4331524 w 5452350"/>
              <a:gd name="connsiteY168" fmla="*/ 3772498 h 5664344"/>
              <a:gd name="connsiteX169" fmla="*/ 4316163 w 5452350"/>
              <a:gd name="connsiteY169" fmla="*/ 3770747 h 5664344"/>
              <a:gd name="connsiteX170" fmla="*/ 4294218 w 5452350"/>
              <a:gd name="connsiteY170" fmla="*/ 3931875 h 5664344"/>
              <a:gd name="connsiteX171" fmla="*/ 4294218 w 5452350"/>
              <a:gd name="connsiteY171" fmla="*/ 3737471 h 5664344"/>
              <a:gd name="connsiteX172" fmla="*/ 4283245 w 5452350"/>
              <a:gd name="connsiteY172" fmla="*/ 3737471 h 5664344"/>
              <a:gd name="connsiteX173" fmla="*/ 4248134 w 5452350"/>
              <a:gd name="connsiteY173" fmla="*/ 4378481 h 5664344"/>
              <a:gd name="connsiteX174" fmla="*/ 4241550 w 5452350"/>
              <a:gd name="connsiteY174" fmla="*/ 4352210 h 5664344"/>
              <a:gd name="connsiteX175" fmla="*/ 4232772 w 5452350"/>
              <a:gd name="connsiteY175" fmla="*/ 4352210 h 5664344"/>
              <a:gd name="connsiteX176" fmla="*/ 4226189 w 5452350"/>
              <a:gd name="connsiteY176" fmla="*/ 4436277 h 5664344"/>
              <a:gd name="connsiteX177" fmla="*/ 4219606 w 5452350"/>
              <a:gd name="connsiteY177" fmla="*/ 4420514 h 5664344"/>
              <a:gd name="connsiteX178" fmla="*/ 4219606 w 5452350"/>
              <a:gd name="connsiteY178" fmla="*/ 3858316 h 5664344"/>
              <a:gd name="connsiteX179" fmla="*/ 4208633 w 5452350"/>
              <a:gd name="connsiteY179" fmla="*/ 3819787 h 5664344"/>
              <a:gd name="connsiteX180" fmla="*/ 4191077 w 5452350"/>
              <a:gd name="connsiteY180" fmla="*/ 3784758 h 5664344"/>
              <a:gd name="connsiteX181" fmla="*/ 4155965 w 5452350"/>
              <a:gd name="connsiteY181" fmla="*/ 4101761 h 5664344"/>
              <a:gd name="connsiteX182" fmla="*/ 4155965 w 5452350"/>
              <a:gd name="connsiteY182" fmla="*/ 3697188 h 5664344"/>
              <a:gd name="connsiteX183" fmla="*/ 4134021 w 5452350"/>
              <a:gd name="connsiteY183" fmla="*/ 3697188 h 5664344"/>
              <a:gd name="connsiteX184" fmla="*/ 4112075 w 5452350"/>
              <a:gd name="connsiteY184" fmla="*/ 3952892 h 5664344"/>
              <a:gd name="connsiteX185" fmla="*/ 4112075 w 5452350"/>
              <a:gd name="connsiteY185" fmla="*/ 4210347 h 5664344"/>
              <a:gd name="connsiteX186" fmla="*/ 4094520 w 5452350"/>
              <a:gd name="connsiteY186" fmla="*/ 4210347 h 5664344"/>
              <a:gd name="connsiteX187" fmla="*/ 4094520 w 5452350"/>
              <a:gd name="connsiteY187" fmla="*/ 3467756 h 5664344"/>
              <a:gd name="connsiteX188" fmla="*/ 4076964 w 5452350"/>
              <a:gd name="connsiteY188" fmla="*/ 3467756 h 5664344"/>
              <a:gd name="connsiteX189" fmla="*/ 4076964 w 5452350"/>
              <a:gd name="connsiteY189" fmla="*/ 3565834 h 5664344"/>
              <a:gd name="connsiteX190" fmla="*/ 4070380 w 5452350"/>
              <a:gd name="connsiteY190" fmla="*/ 3816284 h 5664344"/>
              <a:gd name="connsiteX191" fmla="*/ 4053299 w 5452350"/>
              <a:gd name="connsiteY191" fmla="*/ 3920248 h 5664344"/>
              <a:gd name="connsiteX192" fmla="*/ 4053299 w 5452350"/>
              <a:gd name="connsiteY192" fmla="*/ 3946733 h 5664344"/>
              <a:gd name="connsiteX193" fmla="*/ 4051827 w 5452350"/>
              <a:gd name="connsiteY193" fmla="*/ 3946733 h 5664344"/>
              <a:gd name="connsiteX194" fmla="*/ 4050081 w 5452350"/>
              <a:gd name="connsiteY194" fmla="*/ 4037835 h 5664344"/>
              <a:gd name="connsiteX195" fmla="*/ 4052824 w 5452350"/>
              <a:gd name="connsiteY195" fmla="*/ 4259385 h 5664344"/>
              <a:gd name="connsiteX196" fmla="*/ 4050629 w 5452350"/>
              <a:gd name="connsiteY196" fmla="*/ 4318934 h 5664344"/>
              <a:gd name="connsiteX197" fmla="*/ 4041852 w 5452350"/>
              <a:gd name="connsiteY197" fmla="*/ 4278651 h 5664344"/>
              <a:gd name="connsiteX198" fmla="*/ 4017712 w 5452350"/>
              <a:gd name="connsiteY198" fmla="*/ 4103512 h 5664344"/>
              <a:gd name="connsiteX199" fmla="*/ 4035268 w 5452350"/>
              <a:gd name="connsiteY199" fmla="*/ 3779504 h 5664344"/>
              <a:gd name="connsiteX200" fmla="*/ 4030879 w 5452350"/>
              <a:gd name="connsiteY200" fmla="*/ 3667415 h 5664344"/>
              <a:gd name="connsiteX201" fmla="*/ 4015518 w 5452350"/>
              <a:gd name="connsiteY201" fmla="*/ 3651652 h 5664344"/>
              <a:gd name="connsiteX202" fmla="*/ 3997961 w 5452350"/>
              <a:gd name="connsiteY202" fmla="*/ 3891594 h 5664344"/>
              <a:gd name="connsiteX203" fmla="*/ 3993573 w 5452350"/>
              <a:gd name="connsiteY203" fmla="*/ 3891594 h 5664344"/>
              <a:gd name="connsiteX204" fmla="*/ 3984769 w 5452350"/>
              <a:gd name="connsiteY204" fmla="*/ 3810792 h 5664344"/>
              <a:gd name="connsiteX205" fmla="*/ 3980374 w 5452350"/>
              <a:gd name="connsiteY205" fmla="*/ 3958527 h 5664344"/>
              <a:gd name="connsiteX206" fmla="*/ 3967755 w 5452350"/>
              <a:gd name="connsiteY206" fmla="*/ 4272027 h 5664344"/>
              <a:gd name="connsiteX207" fmla="*/ 3954589 w 5452350"/>
              <a:gd name="connsiteY207" fmla="*/ 4578520 h 5664344"/>
              <a:gd name="connsiteX208" fmla="*/ 3930449 w 5452350"/>
              <a:gd name="connsiteY208" fmla="*/ 4685355 h 5664344"/>
              <a:gd name="connsiteX209" fmla="*/ 3921672 w 5452350"/>
              <a:gd name="connsiteY209" fmla="*/ 4939307 h 5664344"/>
              <a:gd name="connsiteX210" fmla="*/ 3919477 w 5452350"/>
              <a:gd name="connsiteY210" fmla="*/ 4408635 h 5664344"/>
              <a:gd name="connsiteX211" fmla="*/ 3893143 w 5452350"/>
              <a:gd name="connsiteY211" fmla="*/ 4408635 h 5664344"/>
              <a:gd name="connsiteX212" fmla="*/ 3869004 w 5452350"/>
              <a:gd name="connsiteY212" fmla="*/ 4802699 h 5664344"/>
              <a:gd name="connsiteX213" fmla="*/ 3866809 w 5452350"/>
              <a:gd name="connsiteY213" fmla="*/ 4802699 h 5664344"/>
              <a:gd name="connsiteX214" fmla="*/ 3866809 w 5452350"/>
              <a:gd name="connsiteY214" fmla="*/ 4648576 h 5664344"/>
              <a:gd name="connsiteX215" fmla="*/ 3864615 w 5452350"/>
              <a:gd name="connsiteY215" fmla="*/ 4410386 h 5664344"/>
              <a:gd name="connsiteX216" fmla="*/ 3858031 w 5452350"/>
              <a:gd name="connsiteY216" fmla="*/ 4123157 h 5664344"/>
              <a:gd name="connsiteX217" fmla="*/ 3862420 w 5452350"/>
              <a:gd name="connsiteY217" fmla="*/ 3884968 h 5664344"/>
              <a:gd name="connsiteX218" fmla="*/ 3860227 w 5452350"/>
              <a:gd name="connsiteY218" fmla="*/ 3648530 h 5664344"/>
              <a:gd name="connsiteX219" fmla="*/ 3853643 w 5452350"/>
              <a:gd name="connsiteY219" fmla="*/ 3629265 h 5664344"/>
              <a:gd name="connsiteX220" fmla="*/ 3730751 w 5452350"/>
              <a:gd name="connsiteY220" fmla="*/ 4988346 h 5664344"/>
              <a:gd name="connsiteX221" fmla="*/ 3693444 w 5452350"/>
              <a:gd name="connsiteY221" fmla="*/ 4948064 h 5664344"/>
              <a:gd name="connsiteX222" fmla="*/ 3693444 w 5452350"/>
              <a:gd name="connsiteY222" fmla="*/ 5007611 h 5664344"/>
              <a:gd name="connsiteX223" fmla="*/ 3686861 w 5452350"/>
              <a:gd name="connsiteY223" fmla="*/ 5007611 h 5664344"/>
              <a:gd name="connsiteX224" fmla="*/ 3673695 w 5452350"/>
              <a:gd name="connsiteY224" fmla="*/ 4583775 h 5664344"/>
              <a:gd name="connsiteX225" fmla="*/ 3631999 w 5452350"/>
              <a:gd name="connsiteY225" fmla="*/ 4920042 h 5664344"/>
              <a:gd name="connsiteX226" fmla="*/ 3631998 w 5452350"/>
              <a:gd name="connsiteY226" fmla="*/ 4236998 h 5664344"/>
              <a:gd name="connsiteX227" fmla="*/ 3616638 w 5452350"/>
              <a:gd name="connsiteY227" fmla="*/ 4235247 h 5664344"/>
              <a:gd name="connsiteX228" fmla="*/ 3594693 w 5452350"/>
              <a:gd name="connsiteY228" fmla="*/ 4396375 h 5664344"/>
              <a:gd name="connsiteX229" fmla="*/ 3594693 w 5452350"/>
              <a:gd name="connsiteY229" fmla="*/ 4201971 h 5664344"/>
              <a:gd name="connsiteX230" fmla="*/ 3583721 w 5452350"/>
              <a:gd name="connsiteY230" fmla="*/ 4201971 h 5664344"/>
              <a:gd name="connsiteX231" fmla="*/ 3548609 w 5452350"/>
              <a:gd name="connsiteY231" fmla="*/ 4842981 h 5664344"/>
              <a:gd name="connsiteX232" fmla="*/ 3542025 w 5452350"/>
              <a:gd name="connsiteY232" fmla="*/ 4816710 h 5664344"/>
              <a:gd name="connsiteX233" fmla="*/ 3533247 w 5452350"/>
              <a:gd name="connsiteY233" fmla="*/ 4816710 h 5664344"/>
              <a:gd name="connsiteX234" fmla="*/ 3526664 w 5452350"/>
              <a:gd name="connsiteY234" fmla="*/ 4900777 h 5664344"/>
              <a:gd name="connsiteX235" fmla="*/ 3520081 w 5452350"/>
              <a:gd name="connsiteY235" fmla="*/ 4885014 h 5664344"/>
              <a:gd name="connsiteX236" fmla="*/ 3520081 w 5452350"/>
              <a:gd name="connsiteY236" fmla="*/ 4322816 h 5664344"/>
              <a:gd name="connsiteX237" fmla="*/ 3509108 w 5452350"/>
              <a:gd name="connsiteY237" fmla="*/ 4284286 h 5664344"/>
              <a:gd name="connsiteX238" fmla="*/ 3491552 w 5452350"/>
              <a:gd name="connsiteY238" fmla="*/ 4249258 h 5664344"/>
              <a:gd name="connsiteX239" fmla="*/ 3456441 w 5452350"/>
              <a:gd name="connsiteY239" fmla="*/ 4566260 h 5664344"/>
              <a:gd name="connsiteX240" fmla="*/ 3456441 w 5452350"/>
              <a:gd name="connsiteY240" fmla="*/ 4161688 h 5664344"/>
              <a:gd name="connsiteX241" fmla="*/ 3434495 w 5452350"/>
              <a:gd name="connsiteY241" fmla="*/ 4161688 h 5664344"/>
              <a:gd name="connsiteX242" fmla="*/ 3412550 w 5452350"/>
              <a:gd name="connsiteY242" fmla="*/ 4417392 h 5664344"/>
              <a:gd name="connsiteX243" fmla="*/ 3412550 w 5452350"/>
              <a:gd name="connsiteY243" fmla="*/ 4674847 h 5664344"/>
              <a:gd name="connsiteX244" fmla="*/ 3394995 w 5452350"/>
              <a:gd name="connsiteY244" fmla="*/ 4674847 h 5664344"/>
              <a:gd name="connsiteX245" fmla="*/ 3394995 w 5452350"/>
              <a:gd name="connsiteY245" fmla="*/ 3932256 h 5664344"/>
              <a:gd name="connsiteX246" fmla="*/ 3377439 w 5452350"/>
              <a:gd name="connsiteY246" fmla="*/ 3932256 h 5664344"/>
              <a:gd name="connsiteX247" fmla="*/ 3377439 w 5452350"/>
              <a:gd name="connsiteY247" fmla="*/ 4030334 h 5664344"/>
              <a:gd name="connsiteX248" fmla="*/ 3370855 w 5452350"/>
              <a:gd name="connsiteY248" fmla="*/ 4280784 h 5664344"/>
              <a:gd name="connsiteX249" fmla="*/ 3353299 w 5452350"/>
              <a:gd name="connsiteY249" fmla="*/ 4723885 h 5664344"/>
              <a:gd name="connsiteX250" fmla="*/ 3351105 w 5452350"/>
              <a:gd name="connsiteY250" fmla="*/ 4783433 h 5664344"/>
              <a:gd name="connsiteX251" fmla="*/ 3342327 w 5452350"/>
              <a:gd name="connsiteY251" fmla="*/ 4743151 h 5664344"/>
              <a:gd name="connsiteX252" fmla="*/ 3318187 w 5452350"/>
              <a:gd name="connsiteY252" fmla="*/ 4568012 h 5664344"/>
              <a:gd name="connsiteX253" fmla="*/ 3335743 w 5452350"/>
              <a:gd name="connsiteY253" fmla="*/ 4244004 h 5664344"/>
              <a:gd name="connsiteX254" fmla="*/ 3331354 w 5452350"/>
              <a:gd name="connsiteY254" fmla="*/ 4131915 h 5664344"/>
              <a:gd name="connsiteX255" fmla="*/ 3315993 w 5452350"/>
              <a:gd name="connsiteY255" fmla="*/ 4116152 h 5664344"/>
              <a:gd name="connsiteX256" fmla="*/ 3298437 w 5452350"/>
              <a:gd name="connsiteY256" fmla="*/ 4356093 h 5664344"/>
              <a:gd name="connsiteX257" fmla="*/ 3294048 w 5452350"/>
              <a:gd name="connsiteY257" fmla="*/ 4356093 h 5664344"/>
              <a:gd name="connsiteX258" fmla="*/ 3280881 w 5452350"/>
              <a:gd name="connsiteY258" fmla="*/ 4235247 h 5664344"/>
              <a:gd name="connsiteX259" fmla="*/ 3280183 w 5452350"/>
              <a:gd name="connsiteY259" fmla="*/ 4235247 h 5664344"/>
              <a:gd name="connsiteX260" fmla="*/ 3268232 w 5452350"/>
              <a:gd name="connsiteY260" fmla="*/ 4532162 h 5664344"/>
              <a:gd name="connsiteX261" fmla="*/ 3255066 w 5452350"/>
              <a:gd name="connsiteY261" fmla="*/ 4838656 h 5664344"/>
              <a:gd name="connsiteX262" fmla="*/ 3230926 w 5452350"/>
              <a:gd name="connsiteY262" fmla="*/ 4945490 h 5664344"/>
              <a:gd name="connsiteX263" fmla="*/ 3222149 w 5452350"/>
              <a:gd name="connsiteY263" fmla="*/ 5199443 h 5664344"/>
              <a:gd name="connsiteX264" fmla="*/ 3219954 w 5452350"/>
              <a:gd name="connsiteY264" fmla="*/ 4668771 h 5664344"/>
              <a:gd name="connsiteX265" fmla="*/ 3193620 w 5452350"/>
              <a:gd name="connsiteY265" fmla="*/ 4668771 h 5664344"/>
              <a:gd name="connsiteX266" fmla="*/ 3169481 w 5452350"/>
              <a:gd name="connsiteY266" fmla="*/ 5062835 h 5664344"/>
              <a:gd name="connsiteX267" fmla="*/ 3167286 w 5452350"/>
              <a:gd name="connsiteY267" fmla="*/ 5062835 h 5664344"/>
              <a:gd name="connsiteX268" fmla="*/ 3167286 w 5452350"/>
              <a:gd name="connsiteY268" fmla="*/ 4908712 h 5664344"/>
              <a:gd name="connsiteX269" fmla="*/ 3165092 w 5452350"/>
              <a:gd name="connsiteY269" fmla="*/ 4670522 h 5664344"/>
              <a:gd name="connsiteX270" fmla="*/ 3158508 w 5452350"/>
              <a:gd name="connsiteY270" fmla="*/ 4383293 h 5664344"/>
              <a:gd name="connsiteX271" fmla="*/ 3162897 w 5452350"/>
              <a:gd name="connsiteY271" fmla="*/ 4145104 h 5664344"/>
              <a:gd name="connsiteX272" fmla="*/ 3160703 w 5452350"/>
              <a:gd name="connsiteY272" fmla="*/ 3908666 h 5664344"/>
              <a:gd name="connsiteX273" fmla="*/ 3154119 w 5452350"/>
              <a:gd name="connsiteY273" fmla="*/ 3889401 h 5664344"/>
              <a:gd name="connsiteX274" fmla="*/ 3031228 w 5452350"/>
              <a:gd name="connsiteY274" fmla="*/ 5248481 h 5664344"/>
              <a:gd name="connsiteX275" fmla="*/ 2993921 w 5452350"/>
              <a:gd name="connsiteY275" fmla="*/ 5208200 h 5664344"/>
              <a:gd name="connsiteX276" fmla="*/ 2993921 w 5452350"/>
              <a:gd name="connsiteY276" fmla="*/ 5267747 h 5664344"/>
              <a:gd name="connsiteX277" fmla="*/ 2987338 w 5452350"/>
              <a:gd name="connsiteY277" fmla="*/ 5267747 h 5664344"/>
              <a:gd name="connsiteX278" fmla="*/ 2974171 w 5452350"/>
              <a:gd name="connsiteY278" fmla="*/ 4843910 h 5664344"/>
              <a:gd name="connsiteX279" fmla="*/ 2932476 w 5452350"/>
              <a:gd name="connsiteY279" fmla="*/ 5180178 h 5664344"/>
              <a:gd name="connsiteX280" fmla="*/ 2932476 w 5452350"/>
              <a:gd name="connsiteY280" fmla="*/ 4930866 h 5664344"/>
              <a:gd name="connsiteX281" fmla="*/ 2931597 w 5452350"/>
              <a:gd name="connsiteY281" fmla="*/ 4934803 h 5664344"/>
              <a:gd name="connsiteX282" fmla="*/ 2919527 w 5452350"/>
              <a:gd name="connsiteY282" fmla="*/ 4987563 h 5664344"/>
              <a:gd name="connsiteX283" fmla="*/ 2910749 w 5452350"/>
              <a:gd name="connsiteY283" fmla="*/ 5241515 h 5664344"/>
              <a:gd name="connsiteX284" fmla="*/ 2908555 w 5452350"/>
              <a:gd name="connsiteY284" fmla="*/ 4710844 h 5664344"/>
              <a:gd name="connsiteX285" fmla="*/ 2882221 w 5452350"/>
              <a:gd name="connsiteY285" fmla="*/ 4710844 h 5664344"/>
              <a:gd name="connsiteX286" fmla="*/ 2858081 w 5452350"/>
              <a:gd name="connsiteY286" fmla="*/ 5104907 h 5664344"/>
              <a:gd name="connsiteX287" fmla="*/ 2855887 w 5452350"/>
              <a:gd name="connsiteY287" fmla="*/ 5104907 h 5664344"/>
              <a:gd name="connsiteX288" fmla="*/ 2855887 w 5452350"/>
              <a:gd name="connsiteY288" fmla="*/ 4978957 h 5664344"/>
              <a:gd name="connsiteX289" fmla="*/ 2849086 w 5452350"/>
              <a:gd name="connsiteY289" fmla="*/ 5103116 h 5664344"/>
              <a:gd name="connsiteX290" fmla="*/ 2842502 w 5452350"/>
              <a:gd name="connsiteY290" fmla="*/ 5076845 h 5664344"/>
              <a:gd name="connsiteX291" fmla="*/ 2833724 w 5452350"/>
              <a:gd name="connsiteY291" fmla="*/ 5076845 h 5664344"/>
              <a:gd name="connsiteX292" fmla="*/ 2827141 w 5452350"/>
              <a:gd name="connsiteY292" fmla="*/ 5160912 h 5664344"/>
              <a:gd name="connsiteX293" fmla="*/ 2820558 w 5452350"/>
              <a:gd name="connsiteY293" fmla="*/ 5145149 h 5664344"/>
              <a:gd name="connsiteX294" fmla="*/ 2820558 w 5452350"/>
              <a:gd name="connsiteY294" fmla="*/ 4582952 h 5664344"/>
              <a:gd name="connsiteX295" fmla="*/ 2809585 w 5452350"/>
              <a:gd name="connsiteY295" fmla="*/ 4544422 h 5664344"/>
              <a:gd name="connsiteX296" fmla="*/ 2805109 w 5452350"/>
              <a:gd name="connsiteY296" fmla="*/ 4535493 h 5664344"/>
              <a:gd name="connsiteX297" fmla="*/ 2799379 w 5452350"/>
              <a:gd name="connsiteY297" fmla="*/ 4608387 h 5664344"/>
              <a:gd name="connsiteX298" fmla="*/ 2719829 w 5452350"/>
              <a:gd name="connsiteY298" fmla="*/ 5290554 h 5664344"/>
              <a:gd name="connsiteX299" fmla="*/ 2682521 w 5452350"/>
              <a:gd name="connsiteY299" fmla="*/ 5250272 h 5664344"/>
              <a:gd name="connsiteX300" fmla="*/ 2682521 w 5452350"/>
              <a:gd name="connsiteY300" fmla="*/ 5309819 h 5664344"/>
              <a:gd name="connsiteX301" fmla="*/ 2675939 w 5452350"/>
              <a:gd name="connsiteY301" fmla="*/ 5309819 h 5664344"/>
              <a:gd name="connsiteX302" fmla="*/ 2662772 w 5452350"/>
              <a:gd name="connsiteY302" fmla="*/ 4885983 h 5664344"/>
              <a:gd name="connsiteX303" fmla="*/ 2654328 w 5452350"/>
              <a:gd name="connsiteY303" fmla="*/ 4915552 h 5664344"/>
              <a:gd name="connsiteX304" fmla="*/ 2653776 w 5452350"/>
              <a:gd name="connsiteY304" fmla="*/ 4984021 h 5664344"/>
              <a:gd name="connsiteX305" fmla="*/ 2651581 w 5452350"/>
              <a:gd name="connsiteY305" fmla="*/ 5043569 h 5664344"/>
              <a:gd name="connsiteX306" fmla="*/ 2642804 w 5452350"/>
              <a:gd name="connsiteY306" fmla="*/ 5003286 h 5664344"/>
              <a:gd name="connsiteX307" fmla="*/ 2638192 w 5452350"/>
              <a:gd name="connsiteY307" fmla="*/ 4976997 h 5664344"/>
              <a:gd name="connsiteX308" fmla="*/ 2630403 w 5452350"/>
              <a:gd name="connsiteY308" fmla="*/ 5053459 h 5664344"/>
              <a:gd name="connsiteX309" fmla="*/ 2621076 w 5452350"/>
              <a:gd name="connsiteY309" fmla="*/ 5222250 h 5664344"/>
              <a:gd name="connsiteX310" fmla="*/ 2621076 w 5452350"/>
              <a:gd name="connsiteY310" fmla="*/ 4852211 h 5664344"/>
              <a:gd name="connsiteX311" fmla="*/ 2618664 w 5452350"/>
              <a:gd name="connsiteY311" fmla="*/ 4828147 h 5664344"/>
              <a:gd name="connsiteX312" fmla="*/ 2621076 w 5452350"/>
              <a:gd name="connsiteY312" fmla="*/ 4779021 h 5664344"/>
              <a:gd name="connsiteX313" fmla="*/ 2621076 w 5452350"/>
              <a:gd name="connsiteY313" fmla="*/ 4539207 h 5664344"/>
              <a:gd name="connsiteX314" fmla="*/ 2605715 w 5452350"/>
              <a:gd name="connsiteY314" fmla="*/ 4537456 h 5664344"/>
              <a:gd name="connsiteX315" fmla="*/ 2603544 w 5452350"/>
              <a:gd name="connsiteY315" fmla="*/ 4553989 h 5664344"/>
              <a:gd name="connsiteX316" fmla="*/ 2598913 w 5452350"/>
              <a:gd name="connsiteY316" fmla="*/ 4616229 h 5664344"/>
              <a:gd name="connsiteX317" fmla="*/ 2595355 w 5452350"/>
              <a:gd name="connsiteY317" fmla="*/ 4616229 h 5664344"/>
              <a:gd name="connsiteX318" fmla="*/ 2583770 w 5452350"/>
              <a:gd name="connsiteY318" fmla="*/ 4698584 h 5664344"/>
              <a:gd name="connsiteX319" fmla="*/ 2583770 w 5452350"/>
              <a:gd name="connsiteY319" fmla="*/ 4597441 h 5664344"/>
              <a:gd name="connsiteX320" fmla="*/ 2583770 w 5452350"/>
              <a:gd name="connsiteY320" fmla="*/ 4517523 h 5664344"/>
              <a:gd name="connsiteX321" fmla="*/ 2582316 w 5452350"/>
              <a:gd name="connsiteY321" fmla="*/ 4504179 h 5664344"/>
              <a:gd name="connsiteX322" fmla="*/ 2572798 w 5452350"/>
              <a:gd name="connsiteY322" fmla="*/ 4504179 h 5664344"/>
              <a:gd name="connsiteX323" fmla="*/ 2558833 w 5452350"/>
              <a:gd name="connsiteY323" fmla="*/ 4759134 h 5664344"/>
              <a:gd name="connsiteX324" fmla="*/ 2561607 w 5452350"/>
              <a:gd name="connsiteY324" fmla="*/ 4917468 h 5664344"/>
              <a:gd name="connsiteX325" fmla="*/ 2548440 w 5452350"/>
              <a:gd name="connsiteY325" fmla="*/ 4957750 h 5664344"/>
              <a:gd name="connsiteX326" fmla="*/ 2547957 w 5452350"/>
              <a:gd name="connsiteY326" fmla="*/ 4957695 h 5664344"/>
              <a:gd name="connsiteX327" fmla="*/ 2537687 w 5452350"/>
              <a:gd name="connsiteY327" fmla="*/ 5145189 h 5664344"/>
              <a:gd name="connsiteX328" fmla="*/ 2531102 w 5452350"/>
              <a:gd name="connsiteY328" fmla="*/ 5118918 h 5664344"/>
              <a:gd name="connsiteX329" fmla="*/ 2522324 w 5452350"/>
              <a:gd name="connsiteY329" fmla="*/ 5118918 h 5664344"/>
              <a:gd name="connsiteX330" fmla="*/ 2515741 w 5452350"/>
              <a:gd name="connsiteY330" fmla="*/ 5202985 h 5664344"/>
              <a:gd name="connsiteX331" fmla="*/ 2509158 w 5452350"/>
              <a:gd name="connsiteY331" fmla="*/ 5187222 h 5664344"/>
              <a:gd name="connsiteX332" fmla="*/ 2509158 w 5452350"/>
              <a:gd name="connsiteY332" fmla="*/ 4625024 h 5664344"/>
              <a:gd name="connsiteX333" fmla="*/ 2498185 w 5452350"/>
              <a:gd name="connsiteY333" fmla="*/ 4586495 h 5664344"/>
              <a:gd name="connsiteX334" fmla="*/ 2480629 w 5452350"/>
              <a:gd name="connsiteY334" fmla="*/ 4551467 h 5664344"/>
              <a:gd name="connsiteX335" fmla="*/ 2445518 w 5452350"/>
              <a:gd name="connsiteY335" fmla="*/ 4868469 h 5664344"/>
              <a:gd name="connsiteX336" fmla="*/ 2445518 w 5452350"/>
              <a:gd name="connsiteY336" fmla="*/ 4463896 h 5664344"/>
              <a:gd name="connsiteX337" fmla="*/ 2423573 w 5452350"/>
              <a:gd name="connsiteY337" fmla="*/ 4463896 h 5664344"/>
              <a:gd name="connsiteX338" fmla="*/ 2401628 w 5452350"/>
              <a:gd name="connsiteY338" fmla="*/ 4719600 h 5664344"/>
              <a:gd name="connsiteX339" fmla="*/ 2401628 w 5452350"/>
              <a:gd name="connsiteY339" fmla="*/ 4977055 h 5664344"/>
              <a:gd name="connsiteX340" fmla="*/ 2384073 w 5452350"/>
              <a:gd name="connsiteY340" fmla="*/ 4977055 h 5664344"/>
              <a:gd name="connsiteX341" fmla="*/ 2384073 w 5452350"/>
              <a:gd name="connsiteY341" fmla="*/ 4234465 h 5664344"/>
              <a:gd name="connsiteX342" fmla="*/ 2366516 w 5452350"/>
              <a:gd name="connsiteY342" fmla="*/ 4234465 h 5664344"/>
              <a:gd name="connsiteX343" fmla="*/ 2366516 w 5452350"/>
              <a:gd name="connsiteY343" fmla="*/ 4332543 h 5664344"/>
              <a:gd name="connsiteX344" fmla="*/ 2359933 w 5452350"/>
              <a:gd name="connsiteY344" fmla="*/ 4582992 h 5664344"/>
              <a:gd name="connsiteX345" fmla="*/ 2342376 w 5452350"/>
              <a:gd name="connsiteY345" fmla="*/ 5026093 h 5664344"/>
              <a:gd name="connsiteX346" fmla="*/ 2340182 w 5452350"/>
              <a:gd name="connsiteY346" fmla="*/ 5085642 h 5664344"/>
              <a:gd name="connsiteX347" fmla="*/ 2331405 w 5452350"/>
              <a:gd name="connsiteY347" fmla="*/ 5045359 h 5664344"/>
              <a:gd name="connsiteX348" fmla="*/ 2307264 w 5452350"/>
              <a:gd name="connsiteY348" fmla="*/ 4870220 h 5664344"/>
              <a:gd name="connsiteX349" fmla="*/ 2324821 w 5452350"/>
              <a:gd name="connsiteY349" fmla="*/ 4546212 h 5664344"/>
              <a:gd name="connsiteX350" fmla="*/ 2320431 w 5452350"/>
              <a:gd name="connsiteY350" fmla="*/ 4434124 h 5664344"/>
              <a:gd name="connsiteX351" fmla="*/ 2305070 w 5452350"/>
              <a:gd name="connsiteY351" fmla="*/ 4418361 h 5664344"/>
              <a:gd name="connsiteX352" fmla="*/ 2287514 w 5452350"/>
              <a:gd name="connsiteY352" fmla="*/ 4658302 h 5664344"/>
              <a:gd name="connsiteX353" fmla="*/ 2283125 w 5452350"/>
              <a:gd name="connsiteY353" fmla="*/ 4658302 h 5664344"/>
              <a:gd name="connsiteX354" fmla="*/ 2269958 w 5452350"/>
              <a:gd name="connsiteY354" fmla="*/ 4537456 h 5664344"/>
              <a:gd name="connsiteX355" fmla="*/ 2254596 w 5452350"/>
              <a:gd name="connsiteY355" fmla="*/ 4537456 h 5664344"/>
              <a:gd name="connsiteX356" fmla="*/ 2245819 w 5452350"/>
              <a:gd name="connsiteY356" fmla="*/ 4709091 h 5664344"/>
              <a:gd name="connsiteX357" fmla="*/ 2250208 w 5452350"/>
              <a:gd name="connsiteY357" fmla="*/ 4959541 h 5664344"/>
              <a:gd name="connsiteX358" fmla="*/ 2237040 w 5452350"/>
              <a:gd name="connsiteY358" fmla="*/ 4999823 h 5664344"/>
              <a:gd name="connsiteX359" fmla="*/ 2221680 w 5452350"/>
              <a:gd name="connsiteY359" fmla="*/ 4998072 h 5664344"/>
              <a:gd name="connsiteX360" fmla="*/ 2221680 w 5452350"/>
              <a:gd name="connsiteY360" fmla="*/ 4610115 h 5664344"/>
              <a:gd name="connsiteX361" fmla="*/ 2220001 w 5452350"/>
              <a:gd name="connsiteY361" fmla="*/ 4617453 h 5664344"/>
              <a:gd name="connsiteX362" fmla="*/ 2211223 w 5452350"/>
              <a:gd name="connsiteY362" fmla="*/ 4871405 h 5664344"/>
              <a:gd name="connsiteX363" fmla="*/ 2210126 w 5452350"/>
              <a:gd name="connsiteY363" fmla="*/ 4606069 h 5664344"/>
              <a:gd name="connsiteX364" fmla="*/ 2212252 w 5452350"/>
              <a:gd name="connsiteY364" fmla="*/ 4526947 h 5664344"/>
              <a:gd name="connsiteX365" fmla="*/ 2208513 w 5452350"/>
              <a:gd name="connsiteY365" fmla="*/ 4526947 h 5664344"/>
              <a:gd name="connsiteX366" fmla="*/ 2208513 w 5452350"/>
              <a:gd name="connsiteY366" fmla="*/ 4600506 h 5664344"/>
              <a:gd name="connsiteX367" fmla="*/ 2201928 w 5452350"/>
              <a:gd name="connsiteY367" fmla="*/ 4600506 h 5664344"/>
              <a:gd name="connsiteX368" fmla="*/ 2201928 w 5452350"/>
              <a:gd name="connsiteY368" fmla="*/ 4469151 h 5664344"/>
              <a:gd name="connsiteX369" fmla="*/ 2206318 w 5452350"/>
              <a:gd name="connsiteY369" fmla="*/ 4469151 h 5664344"/>
              <a:gd name="connsiteX370" fmla="*/ 2212709 w 5452350"/>
              <a:gd name="connsiteY370" fmla="*/ 4509954 h 5664344"/>
              <a:gd name="connsiteX371" fmla="*/ 2213692 w 5452350"/>
              <a:gd name="connsiteY371" fmla="*/ 4473400 h 5664344"/>
              <a:gd name="connsiteX372" fmla="*/ 2209029 w 5452350"/>
              <a:gd name="connsiteY372" fmla="*/ 4340733 h 5664344"/>
              <a:gd name="connsiteX373" fmla="*/ 2182694 w 5452350"/>
              <a:gd name="connsiteY373" fmla="*/ 4340733 h 5664344"/>
              <a:gd name="connsiteX374" fmla="*/ 2158555 w 5452350"/>
              <a:gd name="connsiteY374" fmla="*/ 4734796 h 5664344"/>
              <a:gd name="connsiteX375" fmla="*/ 2156361 w 5452350"/>
              <a:gd name="connsiteY375" fmla="*/ 4734796 h 5664344"/>
              <a:gd name="connsiteX376" fmla="*/ 2156361 w 5452350"/>
              <a:gd name="connsiteY376" fmla="*/ 4580674 h 5664344"/>
              <a:gd name="connsiteX377" fmla="*/ 2154167 w 5452350"/>
              <a:gd name="connsiteY377" fmla="*/ 4342484 h 5664344"/>
              <a:gd name="connsiteX378" fmla="*/ 2147584 w 5452350"/>
              <a:gd name="connsiteY378" fmla="*/ 4055255 h 5664344"/>
              <a:gd name="connsiteX379" fmla="*/ 2151972 w 5452350"/>
              <a:gd name="connsiteY379" fmla="*/ 3817066 h 5664344"/>
              <a:gd name="connsiteX380" fmla="*/ 2149778 w 5452350"/>
              <a:gd name="connsiteY380" fmla="*/ 3580628 h 5664344"/>
              <a:gd name="connsiteX381" fmla="*/ 2143194 w 5452350"/>
              <a:gd name="connsiteY381" fmla="*/ 3561363 h 5664344"/>
              <a:gd name="connsiteX382" fmla="*/ 2020304 w 5452350"/>
              <a:gd name="connsiteY382" fmla="*/ 4920443 h 5664344"/>
              <a:gd name="connsiteX383" fmla="*/ 1982996 w 5452350"/>
              <a:gd name="connsiteY383" fmla="*/ 4880161 h 5664344"/>
              <a:gd name="connsiteX384" fmla="*/ 1982996 w 5452350"/>
              <a:gd name="connsiteY384" fmla="*/ 4939709 h 5664344"/>
              <a:gd name="connsiteX385" fmla="*/ 1976413 w 5452350"/>
              <a:gd name="connsiteY385" fmla="*/ 4939709 h 5664344"/>
              <a:gd name="connsiteX386" fmla="*/ 1963246 w 5452350"/>
              <a:gd name="connsiteY386" fmla="*/ 4515872 h 5664344"/>
              <a:gd name="connsiteX387" fmla="*/ 1921551 w 5452350"/>
              <a:gd name="connsiteY387" fmla="*/ 4852140 h 5664344"/>
              <a:gd name="connsiteX388" fmla="*/ 1921551 w 5452350"/>
              <a:gd name="connsiteY388" fmla="*/ 4169096 h 5664344"/>
              <a:gd name="connsiteX389" fmla="*/ 1906190 w 5452350"/>
              <a:gd name="connsiteY389" fmla="*/ 4167345 h 5664344"/>
              <a:gd name="connsiteX390" fmla="*/ 1884245 w 5452350"/>
              <a:gd name="connsiteY390" fmla="*/ 4328473 h 5664344"/>
              <a:gd name="connsiteX391" fmla="*/ 1884245 w 5452350"/>
              <a:gd name="connsiteY391" fmla="*/ 4134068 h 5664344"/>
              <a:gd name="connsiteX392" fmla="*/ 1873272 w 5452350"/>
              <a:gd name="connsiteY392" fmla="*/ 4134068 h 5664344"/>
              <a:gd name="connsiteX393" fmla="*/ 1838160 w 5452350"/>
              <a:gd name="connsiteY393" fmla="*/ 4775078 h 5664344"/>
              <a:gd name="connsiteX394" fmla="*/ 1831577 w 5452350"/>
              <a:gd name="connsiteY394" fmla="*/ 4748808 h 5664344"/>
              <a:gd name="connsiteX395" fmla="*/ 1822798 w 5452350"/>
              <a:gd name="connsiteY395" fmla="*/ 4748808 h 5664344"/>
              <a:gd name="connsiteX396" fmla="*/ 1816215 w 5452350"/>
              <a:gd name="connsiteY396" fmla="*/ 4832874 h 5664344"/>
              <a:gd name="connsiteX397" fmla="*/ 1809633 w 5452350"/>
              <a:gd name="connsiteY397" fmla="*/ 4817111 h 5664344"/>
              <a:gd name="connsiteX398" fmla="*/ 1809633 w 5452350"/>
              <a:gd name="connsiteY398" fmla="*/ 4254914 h 5664344"/>
              <a:gd name="connsiteX399" fmla="*/ 1798659 w 5452350"/>
              <a:gd name="connsiteY399" fmla="*/ 4216384 h 5664344"/>
              <a:gd name="connsiteX400" fmla="*/ 1781104 w 5452350"/>
              <a:gd name="connsiteY400" fmla="*/ 4181356 h 5664344"/>
              <a:gd name="connsiteX401" fmla="*/ 1745992 w 5452350"/>
              <a:gd name="connsiteY401" fmla="*/ 4498358 h 5664344"/>
              <a:gd name="connsiteX402" fmla="*/ 1745992 w 5452350"/>
              <a:gd name="connsiteY402" fmla="*/ 4093786 h 5664344"/>
              <a:gd name="connsiteX403" fmla="*/ 1724047 w 5452350"/>
              <a:gd name="connsiteY403" fmla="*/ 4093786 h 5664344"/>
              <a:gd name="connsiteX404" fmla="*/ 1702101 w 5452350"/>
              <a:gd name="connsiteY404" fmla="*/ 4349490 h 5664344"/>
              <a:gd name="connsiteX405" fmla="*/ 1702101 w 5452350"/>
              <a:gd name="connsiteY405" fmla="*/ 4606945 h 5664344"/>
              <a:gd name="connsiteX406" fmla="*/ 1684547 w 5452350"/>
              <a:gd name="connsiteY406" fmla="*/ 4606945 h 5664344"/>
              <a:gd name="connsiteX407" fmla="*/ 1684547 w 5452350"/>
              <a:gd name="connsiteY407" fmla="*/ 3864354 h 5664344"/>
              <a:gd name="connsiteX408" fmla="*/ 1666990 w 5452350"/>
              <a:gd name="connsiteY408" fmla="*/ 3864354 h 5664344"/>
              <a:gd name="connsiteX409" fmla="*/ 1666990 w 5452350"/>
              <a:gd name="connsiteY409" fmla="*/ 3962432 h 5664344"/>
              <a:gd name="connsiteX410" fmla="*/ 1660407 w 5452350"/>
              <a:gd name="connsiteY410" fmla="*/ 4212881 h 5664344"/>
              <a:gd name="connsiteX411" fmla="*/ 1643326 w 5452350"/>
              <a:gd name="connsiteY411" fmla="*/ 4316846 h 5664344"/>
              <a:gd name="connsiteX412" fmla="*/ 1643326 w 5452350"/>
              <a:gd name="connsiteY412" fmla="*/ 4343331 h 5664344"/>
              <a:gd name="connsiteX413" fmla="*/ 1641854 w 5452350"/>
              <a:gd name="connsiteY413" fmla="*/ 4343331 h 5664344"/>
              <a:gd name="connsiteX414" fmla="*/ 1640108 w 5452350"/>
              <a:gd name="connsiteY414" fmla="*/ 4434433 h 5664344"/>
              <a:gd name="connsiteX415" fmla="*/ 1642850 w 5452350"/>
              <a:gd name="connsiteY415" fmla="*/ 4655983 h 5664344"/>
              <a:gd name="connsiteX416" fmla="*/ 1640656 w 5452350"/>
              <a:gd name="connsiteY416" fmla="*/ 4715531 h 5664344"/>
              <a:gd name="connsiteX417" fmla="*/ 1631879 w 5452350"/>
              <a:gd name="connsiteY417" fmla="*/ 4675249 h 5664344"/>
              <a:gd name="connsiteX418" fmla="*/ 1607739 w 5452350"/>
              <a:gd name="connsiteY418" fmla="*/ 4500109 h 5664344"/>
              <a:gd name="connsiteX419" fmla="*/ 1625295 w 5452350"/>
              <a:gd name="connsiteY419" fmla="*/ 4176101 h 5664344"/>
              <a:gd name="connsiteX420" fmla="*/ 1620905 w 5452350"/>
              <a:gd name="connsiteY420" fmla="*/ 4064013 h 5664344"/>
              <a:gd name="connsiteX421" fmla="*/ 1605544 w 5452350"/>
              <a:gd name="connsiteY421" fmla="*/ 4048250 h 5664344"/>
              <a:gd name="connsiteX422" fmla="*/ 1587988 w 5452350"/>
              <a:gd name="connsiteY422" fmla="*/ 4288192 h 5664344"/>
              <a:gd name="connsiteX423" fmla="*/ 1583599 w 5452350"/>
              <a:gd name="connsiteY423" fmla="*/ 4288192 h 5664344"/>
              <a:gd name="connsiteX424" fmla="*/ 1574795 w 5452350"/>
              <a:gd name="connsiteY424" fmla="*/ 4207389 h 5664344"/>
              <a:gd name="connsiteX425" fmla="*/ 1570400 w 5452350"/>
              <a:gd name="connsiteY425" fmla="*/ 4355124 h 5664344"/>
              <a:gd name="connsiteX426" fmla="*/ 1557782 w 5452350"/>
              <a:gd name="connsiteY426" fmla="*/ 4668625 h 5664344"/>
              <a:gd name="connsiteX427" fmla="*/ 1544616 w 5452350"/>
              <a:gd name="connsiteY427" fmla="*/ 4975118 h 5664344"/>
              <a:gd name="connsiteX428" fmla="*/ 1520476 w 5452350"/>
              <a:gd name="connsiteY428" fmla="*/ 5081952 h 5664344"/>
              <a:gd name="connsiteX429" fmla="*/ 1511698 w 5452350"/>
              <a:gd name="connsiteY429" fmla="*/ 5335904 h 5664344"/>
              <a:gd name="connsiteX430" fmla="*/ 1509504 w 5452350"/>
              <a:gd name="connsiteY430" fmla="*/ 4805233 h 5664344"/>
              <a:gd name="connsiteX431" fmla="*/ 1483170 w 5452350"/>
              <a:gd name="connsiteY431" fmla="*/ 4805233 h 5664344"/>
              <a:gd name="connsiteX432" fmla="*/ 1459030 w 5452350"/>
              <a:gd name="connsiteY432" fmla="*/ 5199296 h 5664344"/>
              <a:gd name="connsiteX433" fmla="*/ 1456836 w 5452350"/>
              <a:gd name="connsiteY433" fmla="*/ 5199296 h 5664344"/>
              <a:gd name="connsiteX434" fmla="*/ 1456836 w 5452350"/>
              <a:gd name="connsiteY434" fmla="*/ 5045174 h 5664344"/>
              <a:gd name="connsiteX435" fmla="*/ 1454642 w 5452350"/>
              <a:gd name="connsiteY435" fmla="*/ 4806984 h 5664344"/>
              <a:gd name="connsiteX436" fmla="*/ 1448058 w 5452350"/>
              <a:gd name="connsiteY436" fmla="*/ 4519755 h 5664344"/>
              <a:gd name="connsiteX437" fmla="*/ 1452447 w 5452350"/>
              <a:gd name="connsiteY437" fmla="*/ 4281566 h 5664344"/>
              <a:gd name="connsiteX438" fmla="*/ 1450253 w 5452350"/>
              <a:gd name="connsiteY438" fmla="*/ 4045128 h 5664344"/>
              <a:gd name="connsiteX439" fmla="*/ 1443669 w 5452350"/>
              <a:gd name="connsiteY439" fmla="*/ 4025863 h 5664344"/>
              <a:gd name="connsiteX440" fmla="*/ 1320778 w 5452350"/>
              <a:gd name="connsiteY440" fmla="*/ 5384943 h 5664344"/>
              <a:gd name="connsiteX441" fmla="*/ 1283471 w 5452350"/>
              <a:gd name="connsiteY441" fmla="*/ 5344661 h 5664344"/>
              <a:gd name="connsiteX442" fmla="*/ 1283471 w 5452350"/>
              <a:gd name="connsiteY442" fmla="*/ 5404208 h 5664344"/>
              <a:gd name="connsiteX443" fmla="*/ 1276888 w 5452350"/>
              <a:gd name="connsiteY443" fmla="*/ 5404208 h 5664344"/>
              <a:gd name="connsiteX444" fmla="*/ 1263721 w 5452350"/>
              <a:gd name="connsiteY444" fmla="*/ 4980372 h 5664344"/>
              <a:gd name="connsiteX445" fmla="*/ 1222026 w 5452350"/>
              <a:gd name="connsiteY445" fmla="*/ 5316639 h 5664344"/>
              <a:gd name="connsiteX446" fmla="*/ 1222025 w 5452350"/>
              <a:gd name="connsiteY446" fmla="*/ 4633596 h 5664344"/>
              <a:gd name="connsiteX447" fmla="*/ 1206665 w 5452350"/>
              <a:gd name="connsiteY447" fmla="*/ 4631845 h 5664344"/>
              <a:gd name="connsiteX448" fmla="*/ 1184720 w 5452350"/>
              <a:gd name="connsiteY448" fmla="*/ 4792973 h 5664344"/>
              <a:gd name="connsiteX449" fmla="*/ 1184720 w 5452350"/>
              <a:gd name="connsiteY449" fmla="*/ 4598568 h 5664344"/>
              <a:gd name="connsiteX450" fmla="*/ 1173747 w 5452350"/>
              <a:gd name="connsiteY450" fmla="*/ 4598568 h 5664344"/>
              <a:gd name="connsiteX451" fmla="*/ 1138635 w 5452350"/>
              <a:gd name="connsiteY451" fmla="*/ 5239578 h 5664344"/>
              <a:gd name="connsiteX452" fmla="*/ 1132052 w 5452350"/>
              <a:gd name="connsiteY452" fmla="*/ 5213307 h 5664344"/>
              <a:gd name="connsiteX453" fmla="*/ 1123273 w 5452350"/>
              <a:gd name="connsiteY453" fmla="*/ 5213307 h 5664344"/>
              <a:gd name="connsiteX454" fmla="*/ 1116691 w 5452350"/>
              <a:gd name="connsiteY454" fmla="*/ 5297374 h 5664344"/>
              <a:gd name="connsiteX455" fmla="*/ 1110108 w 5452350"/>
              <a:gd name="connsiteY455" fmla="*/ 5281611 h 5664344"/>
              <a:gd name="connsiteX456" fmla="*/ 1110108 w 5452350"/>
              <a:gd name="connsiteY456" fmla="*/ 4719414 h 5664344"/>
              <a:gd name="connsiteX457" fmla="*/ 1099134 w 5452350"/>
              <a:gd name="connsiteY457" fmla="*/ 4680884 h 5664344"/>
              <a:gd name="connsiteX458" fmla="*/ 1081579 w 5452350"/>
              <a:gd name="connsiteY458" fmla="*/ 4645856 h 5664344"/>
              <a:gd name="connsiteX459" fmla="*/ 1046467 w 5452350"/>
              <a:gd name="connsiteY459" fmla="*/ 4962858 h 5664344"/>
              <a:gd name="connsiteX460" fmla="*/ 1046467 w 5452350"/>
              <a:gd name="connsiteY460" fmla="*/ 4558286 h 5664344"/>
              <a:gd name="connsiteX461" fmla="*/ 1024522 w 5452350"/>
              <a:gd name="connsiteY461" fmla="*/ 4558286 h 5664344"/>
              <a:gd name="connsiteX462" fmla="*/ 1002576 w 5452350"/>
              <a:gd name="connsiteY462" fmla="*/ 4813990 h 5664344"/>
              <a:gd name="connsiteX463" fmla="*/ 1002576 w 5452350"/>
              <a:gd name="connsiteY463" fmla="*/ 5071445 h 5664344"/>
              <a:gd name="connsiteX464" fmla="*/ 985022 w 5452350"/>
              <a:gd name="connsiteY464" fmla="*/ 5071445 h 5664344"/>
              <a:gd name="connsiteX465" fmla="*/ 985022 w 5452350"/>
              <a:gd name="connsiteY465" fmla="*/ 4328854 h 5664344"/>
              <a:gd name="connsiteX466" fmla="*/ 967466 w 5452350"/>
              <a:gd name="connsiteY466" fmla="*/ 4328854 h 5664344"/>
              <a:gd name="connsiteX467" fmla="*/ 967466 w 5452350"/>
              <a:gd name="connsiteY467" fmla="*/ 4426932 h 5664344"/>
              <a:gd name="connsiteX468" fmla="*/ 960882 w 5452350"/>
              <a:gd name="connsiteY468" fmla="*/ 4677381 h 5664344"/>
              <a:gd name="connsiteX469" fmla="*/ 943325 w 5452350"/>
              <a:gd name="connsiteY469" fmla="*/ 5120482 h 5664344"/>
              <a:gd name="connsiteX470" fmla="*/ 941131 w 5452350"/>
              <a:gd name="connsiteY470" fmla="*/ 5180031 h 5664344"/>
              <a:gd name="connsiteX471" fmla="*/ 932354 w 5452350"/>
              <a:gd name="connsiteY471" fmla="*/ 5139748 h 5664344"/>
              <a:gd name="connsiteX472" fmla="*/ 908214 w 5452350"/>
              <a:gd name="connsiteY472" fmla="*/ 4964609 h 5664344"/>
              <a:gd name="connsiteX473" fmla="*/ 925770 w 5452350"/>
              <a:gd name="connsiteY473" fmla="*/ 4640601 h 5664344"/>
              <a:gd name="connsiteX474" fmla="*/ 921380 w 5452350"/>
              <a:gd name="connsiteY474" fmla="*/ 4528513 h 5664344"/>
              <a:gd name="connsiteX475" fmla="*/ 906019 w 5452350"/>
              <a:gd name="connsiteY475" fmla="*/ 4512750 h 5664344"/>
              <a:gd name="connsiteX476" fmla="*/ 888463 w 5452350"/>
              <a:gd name="connsiteY476" fmla="*/ 4752691 h 5664344"/>
              <a:gd name="connsiteX477" fmla="*/ 884074 w 5452350"/>
              <a:gd name="connsiteY477" fmla="*/ 4752691 h 5664344"/>
              <a:gd name="connsiteX478" fmla="*/ 870908 w 5452350"/>
              <a:gd name="connsiteY478" fmla="*/ 4631845 h 5664344"/>
              <a:gd name="connsiteX479" fmla="*/ 870210 w 5452350"/>
              <a:gd name="connsiteY479" fmla="*/ 4631845 h 5664344"/>
              <a:gd name="connsiteX480" fmla="*/ 858259 w 5452350"/>
              <a:gd name="connsiteY480" fmla="*/ 4928760 h 5664344"/>
              <a:gd name="connsiteX481" fmla="*/ 845093 w 5452350"/>
              <a:gd name="connsiteY481" fmla="*/ 5235254 h 5664344"/>
              <a:gd name="connsiteX482" fmla="*/ 820953 w 5452350"/>
              <a:gd name="connsiteY482" fmla="*/ 5342088 h 5664344"/>
              <a:gd name="connsiteX483" fmla="*/ 812175 w 5452350"/>
              <a:gd name="connsiteY483" fmla="*/ 5596040 h 5664344"/>
              <a:gd name="connsiteX484" fmla="*/ 809981 w 5452350"/>
              <a:gd name="connsiteY484" fmla="*/ 5065369 h 5664344"/>
              <a:gd name="connsiteX485" fmla="*/ 783646 w 5452350"/>
              <a:gd name="connsiteY485" fmla="*/ 5065369 h 5664344"/>
              <a:gd name="connsiteX486" fmla="*/ 759507 w 5452350"/>
              <a:gd name="connsiteY486" fmla="*/ 5459432 h 5664344"/>
              <a:gd name="connsiteX487" fmla="*/ 757313 w 5452350"/>
              <a:gd name="connsiteY487" fmla="*/ 5459432 h 5664344"/>
              <a:gd name="connsiteX488" fmla="*/ 757313 w 5452350"/>
              <a:gd name="connsiteY488" fmla="*/ 5305309 h 5664344"/>
              <a:gd name="connsiteX489" fmla="*/ 755119 w 5452350"/>
              <a:gd name="connsiteY489" fmla="*/ 5067120 h 5664344"/>
              <a:gd name="connsiteX490" fmla="*/ 748535 w 5452350"/>
              <a:gd name="connsiteY490" fmla="*/ 4779891 h 5664344"/>
              <a:gd name="connsiteX491" fmla="*/ 752923 w 5452350"/>
              <a:gd name="connsiteY491" fmla="*/ 4541702 h 5664344"/>
              <a:gd name="connsiteX492" fmla="*/ 750729 w 5452350"/>
              <a:gd name="connsiteY492" fmla="*/ 4305264 h 5664344"/>
              <a:gd name="connsiteX493" fmla="*/ 744146 w 5452350"/>
              <a:gd name="connsiteY493" fmla="*/ 4285999 h 5664344"/>
              <a:gd name="connsiteX494" fmla="*/ 621255 w 5452350"/>
              <a:gd name="connsiteY494" fmla="*/ 5645078 h 5664344"/>
              <a:gd name="connsiteX495" fmla="*/ 583948 w 5452350"/>
              <a:gd name="connsiteY495" fmla="*/ 5604797 h 5664344"/>
              <a:gd name="connsiteX496" fmla="*/ 583948 w 5452350"/>
              <a:gd name="connsiteY496" fmla="*/ 5664344 h 5664344"/>
              <a:gd name="connsiteX497" fmla="*/ 577365 w 5452350"/>
              <a:gd name="connsiteY497" fmla="*/ 5664344 h 5664344"/>
              <a:gd name="connsiteX498" fmla="*/ 564198 w 5452350"/>
              <a:gd name="connsiteY498" fmla="*/ 5240507 h 5664344"/>
              <a:gd name="connsiteX499" fmla="*/ 522503 w 5452350"/>
              <a:gd name="connsiteY499" fmla="*/ 5576775 h 5664344"/>
              <a:gd name="connsiteX500" fmla="*/ 522502 w 5452350"/>
              <a:gd name="connsiteY500" fmla="*/ 4893732 h 5664344"/>
              <a:gd name="connsiteX501" fmla="*/ 507141 w 5452350"/>
              <a:gd name="connsiteY501" fmla="*/ 4891981 h 5664344"/>
              <a:gd name="connsiteX502" fmla="*/ 485197 w 5452350"/>
              <a:gd name="connsiteY502" fmla="*/ 5053109 h 5664344"/>
              <a:gd name="connsiteX503" fmla="*/ 485197 w 5452350"/>
              <a:gd name="connsiteY503" fmla="*/ 4858704 h 5664344"/>
              <a:gd name="connsiteX504" fmla="*/ 474224 w 5452350"/>
              <a:gd name="connsiteY504" fmla="*/ 4858704 h 5664344"/>
              <a:gd name="connsiteX505" fmla="*/ 439112 w 5452350"/>
              <a:gd name="connsiteY505" fmla="*/ 5499713 h 5664344"/>
              <a:gd name="connsiteX506" fmla="*/ 432529 w 5452350"/>
              <a:gd name="connsiteY506" fmla="*/ 5473443 h 5664344"/>
              <a:gd name="connsiteX507" fmla="*/ 423750 w 5452350"/>
              <a:gd name="connsiteY507" fmla="*/ 5473443 h 5664344"/>
              <a:gd name="connsiteX508" fmla="*/ 417167 w 5452350"/>
              <a:gd name="connsiteY508" fmla="*/ 5557510 h 5664344"/>
              <a:gd name="connsiteX509" fmla="*/ 410584 w 5452350"/>
              <a:gd name="connsiteY509" fmla="*/ 5541746 h 5664344"/>
              <a:gd name="connsiteX510" fmla="*/ 410584 w 5452350"/>
              <a:gd name="connsiteY510" fmla="*/ 4979550 h 5664344"/>
              <a:gd name="connsiteX511" fmla="*/ 399611 w 5452350"/>
              <a:gd name="connsiteY511" fmla="*/ 4941020 h 5664344"/>
              <a:gd name="connsiteX512" fmla="*/ 382056 w 5452350"/>
              <a:gd name="connsiteY512" fmla="*/ 4905991 h 5664344"/>
              <a:gd name="connsiteX513" fmla="*/ 346944 w 5452350"/>
              <a:gd name="connsiteY513" fmla="*/ 5222993 h 5664344"/>
              <a:gd name="connsiteX514" fmla="*/ 346944 w 5452350"/>
              <a:gd name="connsiteY514" fmla="*/ 4818422 h 5664344"/>
              <a:gd name="connsiteX515" fmla="*/ 324999 w 5452350"/>
              <a:gd name="connsiteY515" fmla="*/ 4818422 h 5664344"/>
              <a:gd name="connsiteX516" fmla="*/ 303054 w 5452350"/>
              <a:gd name="connsiteY516" fmla="*/ 5074125 h 5664344"/>
              <a:gd name="connsiteX517" fmla="*/ 303054 w 5452350"/>
              <a:gd name="connsiteY517" fmla="*/ 5331580 h 5664344"/>
              <a:gd name="connsiteX518" fmla="*/ 285499 w 5452350"/>
              <a:gd name="connsiteY518" fmla="*/ 5331580 h 5664344"/>
              <a:gd name="connsiteX519" fmla="*/ 285499 w 5452350"/>
              <a:gd name="connsiteY519" fmla="*/ 4588989 h 5664344"/>
              <a:gd name="connsiteX520" fmla="*/ 267942 w 5452350"/>
              <a:gd name="connsiteY520" fmla="*/ 4588989 h 5664344"/>
              <a:gd name="connsiteX521" fmla="*/ 267942 w 5452350"/>
              <a:gd name="connsiteY521" fmla="*/ 4687067 h 5664344"/>
              <a:gd name="connsiteX522" fmla="*/ 261359 w 5452350"/>
              <a:gd name="connsiteY522" fmla="*/ 4937516 h 5664344"/>
              <a:gd name="connsiteX523" fmla="*/ 243802 w 5452350"/>
              <a:gd name="connsiteY523" fmla="*/ 5380618 h 5664344"/>
              <a:gd name="connsiteX524" fmla="*/ 241608 w 5452350"/>
              <a:gd name="connsiteY524" fmla="*/ 5440166 h 5664344"/>
              <a:gd name="connsiteX525" fmla="*/ 232831 w 5452350"/>
              <a:gd name="connsiteY525" fmla="*/ 5399884 h 5664344"/>
              <a:gd name="connsiteX526" fmla="*/ 208691 w 5452350"/>
              <a:gd name="connsiteY526" fmla="*/ 5224744 h 5664344"/>
              <a:gd name="connsiteX527" fmla="*/ 226248 w 5452350"/>
              <a:gd name="connsiteY527" fmla="*/ 4900737 h 5664344"/>
              <a:gd name="connsiteX528" fmla="*/ 221857 w 5452350"/>
              <a:gd name="connsiteY528" fmla="*/ 4788648 h 5664344"/>
              <a:gd name="connsiteX529" fmla="*/ 206496 w 5452350"/>
              <a:gd name="connsiteY529" fmla="*/ 4772885 h 5664344"/>
              <a:gd name="connsiteX530" fmla="*/ 188940 w 5452350"/>
              <a:gd name="connsiteY530" fmla="*/ 5012827 h 5664344"/>
              <a:gd name="connsiteX531" fmla="*/ 184551 w 5452350"/>
              <a:gd name="connsiteY531" fmla="*/ 5012827 h 5664344"/>
              <a:gd name="connsiteX532" fmla="*/ 171385 w 5452350"/>
              <a:gd name="connsiteY532" fmla="*/ 4891981 h 5664344"/>
              <a:gd name="connsiteX533" fmla="*/ 156023 w 5452350"/>
              <a:gd name="connsiteY533" fmla="*/ 4891981 h 5664344"/>
              <a:gd name="connsiteX534" fmla="*/ 147245 w 5452350"/>
              <a:gd name="connsiteY534" fmla="*/ 5063616 h 5664344"/>
              <a:gd name="connsiteX535" fmla="*/ 151634 w 5452350"/>
              <a:gd name="connsiteY535" fmla="*/ 5314066 h 5664344"/>
              <a:gd name="connsiteX536" fmla="*/ 138466 w 5452350"/>
              <a:gd name="connsiteY536" fmla="*/ 5354348 h 5664344"/>
              <a:gd name="connsiteX537" fmla="*/ 123105 w 5452350"/>
              <a:gd name="connsiteY537" fmla="*/ 5352597 h 5664344"/>
              <a:gd name="connsiteX538" fmla="*/ 123105 w 5452350"/>
              <a:gd name="connsiteY538" fmla="*/ 4881471 h 5664344"/>
              <a:gd name="connsiteX539" fmla="*/ 109939 w 5452350"/>
              <a:gd name="connsiteY539" fmla="*/ 4881471 h 5664344"/>
              <a:gd name="connsiteX540" fmla="*/ 109939 w 5452350"/>
              <a:gd name="connsiteY540" fmla="*/ 4955031 h 5664344"/>
              <a:gd name="connsiteX541" fmla="*/ 103355 w 5452350"/>
              <a:gd name="connsiteY541" fmla="*/ 4955031 h 5664344"/>
              <a:gd name="connsiteX542" fmla="*/ 103355 w 5452350"/>
              <a:gd name="connsiteY542" fmla="*/ 4823675 h 5664344"/>
              <a:gd name="connsiteX543" fmla="*/ 107743 w 5452350"/>
              <a:gd name="connsiteY543" fmla="*/ 4823675 h 5664344"/>
              <a:gd name="connsiteX544" fmla="*/ 114328 w 5452350"/>
              <a:gd name="connsiteY544" fmla="*/ 4865710 h 5664344"/>
              <a:gd name="connsiteX545" fmla="*/ 120911 w 5452350"/>
              <a:gd name="connsiteY545" fmla="*/ 4865710 h 5664344"/>
              <a:gd name="connsiteX546" fmla="*/ 120911 w 5452350"/>
              <a:gd name="connsiteY546" fmla="*/ 4653791 h 5664344"/>
              <a:gd name="connsiteX547" fmla="*/ 118717 w 5452350"/>
              <a:gd name="connsiteY547" fmla="*/ 4653791 h 5664344"/>
              <a:gd name="connsiteX548" fmla="*/ 118717 w 5452350"/>
              <a:gd name="connsiteY548" fmla="*/ 4769383 h 5664344"/>
              <a:gd name="connsiteX549" fmla="*/ 116522 w 5452350"/>
              <a:gd name="connsiteY549" fmla="*/ 4769383 h 5664344"/>
              <a:gd name="connsiteX550" fmla="*/ 55077 w 5452350"/>
              <a:gd name="connsiteY550" fmla="*/ 3109064 h 5664344"/>
              <a:gd name="connsiteX551" fmla="*/ 39715 w 5452350"/>
              <a:gd name="connsiteY551" fmla="*/ 3109064 h 5664344"/>
              <a:gd name="connsiteX552" fmla="*/ 68243 w 5452350"/>
              <a:gd name="connsiteY552" fmla="*/ 3904195 h 5664344"/>
              <a:gd name="connsiteX553" fmla="*/ 59466 w 5452350"/>
              <a:gd name="connsiteY553" fmla="*/ 3904195 h 5664344"/>
              <a:gd name="connsiteX554" fmla="*/ 57271 w 5452350"/>
              <a:gd name="connsiteY554" fmla="*/ 3870919 h 5664344"/>
              <a:gd name="connsiteX555" fmla="*/ 30937 w 5452350"/>
              <a:gd name="connsiteY555" fmla="*/ 3140588 h 5664344"/>
              <a:gd name="connsiteX556" fmla="*/ 13381 w 5452350"/>
              <a:gd name="connsiteY556" fmla="*/ 2282406 h 5664344"/>
              <a:gd name="connsiteX557" fmla="*/ 22160 w 5452350"/>
              <a:gd name="connsiteY557" fmla="*/ 2137042 h 5664344"/>
              <a:gd name="connsiteX558" fmla="*/ 215 w 5452350"/>
              <a:gd name="connsiteY558" fmla="*/ 1637895 h 5664344"/>
              <a:gd name="connsiteX559" fmla="*/ 15575 w 5452350"/>
              <a:gd name="connsiteY559" fmla="*/ 1457501 h 5664344"/>
              <a:gd name="connsiteX560" fmla="*/ 17771 w 5452350"/>
              <a:gd name="connsiteY560" fmla="*/ 1207051 h 5664344"/>
              <a:gd name="connsiteX561" fmla="*/ 24354 w 5452350"/>
              <a:gd name="connsiteY561" fmla="*/ 1159764 h 5664344"/>
              <a:gd name="connsiteX562" fmla="*/ 63854 w 5452350"/>
              <a:gd name="connsiteY562" fmla="*/ 1485523 h 5664344"/>
              <a:gd name="connsiteX563" fmla="*/ 74827 w 5452350"/>
              <a:gd name="connsiteY563" fmla="*/ 1485523 h 5664344"/>
              <a:gd name="connsiteX564" fmla="*/ 74827 w 5452350"/>
              <a:gd name="connsiteY564" fmla="*/ 1378688 h 5664344"/>
              <a:gd name="connsiteX565" fmla="*/ 81411 w 5452350"/>
              <a:gd name="connsiteY565" fmla="*/ 1376937 h 5664344"/>
              <a:gd name="connsiteX566" fmla="*/ 81411 w 5452350"/>
              <a:gd name="connsiteY566" fmla="*/ 1441738 h 5664344"/>
              <a:gd name="connsiteX567" fmla="*/ 90189 w 5452350"/>
              <a:gd name="connsiteY567" fmla="*/ 1441738 h 5664344"/>
              <a:gd name="connsiteX568" fmla="*/ 109939 w 5452350"/>
              <a:gd name="connsiteY568" fmla="*/ 1312135 h 5664344"/>
              <a:gd name="connsiteX569" fmla="*/ 149440 w 5452350"/>
              <a:gd name="connsiteY569" fmla="*/ 1208802 h 5664344"/>
              <a:gd name="connsiteX570" fmla="*/ 206496 w 5452350"/>
              <a:gd name="connsiteY570" fmla="*/ 1194792 h 5664344"/>
              <a:gd name="connsiteX571" fmla="*/ 210885 w 5452350"/>
              <a:gd name="connsiteY571" fmla="*/ 1194792 h 5664344"/>
              <a:gd name="connsiteX572" fmla="*/ 353528 w 5452350"/>
              <a:gd name="connsiteY572" fmla="*/ 1133494 h 5664344"/>
              <a:gd name="connsiteX573" fmla="*/ 386444 w 5452350"/>
              <a:gd name="connsiteY573" fmla="*/ 1364677 h 5664344"/>
              <a:gd name="connsiteX574" fmla="*/ 399611 w 5452350"/>
              <a:gd name="connsiteY574" fmla="*/ 1362925 h 5664344"/>
              <a:gd name="connsiteX575" fmla="*/ 399611 w 5452350"/>
              <a:gd name="connsiteY575" fmla="*/ 1121233 h 5664344"/>
              <a:gd name="connsiteX576" fmla="*/ 404000 w 5452350"/>
              <a:gd name="connsiteY576" fmla="*/ 1121233 h 5664344"/>
              <a:gd name="connsiteX577" fmla="*/ 432529 w 5452350"/>
              <a:gd name="connsiteY577" fmla="*/ 1320892 h 5664344"/>
              <a:gd name="connsiteX578" fmla="*/ 443502 w 5452350"/>
              <a:gd name="connsiteY578" fmla="*/ 1319141 h 5664344"/>
              <a:gd name="connsiteX579" fmla="*/ 432529 w 5452350"/>
              <a:gd name="connsiteY579" fmla="*/ 1229820 h 5664344"/>
              <a:gd name="connsiteX580" fmla="*/ 445696 w 5452350"/>
              <a:gd name="connsiteY580" fmla="*/ 1151007 h 5664344"/>
              <a:gd name="connsiteX581" fmla="*/ 480808 w 5452350"/>
              <a:gd name="connsiteY581" fmla="*/ 1461004 h 5664344"/>
              <a:gd name="connsiteX582" fmla="*/ 493974 w 5452350"/>
              <a:gd name="connsiteY582" fmla="*/ 1461004 h 5664344"/>
              <a:gd name="connsiteX583" fmla="*/ 504947 w 5452350"/>
              <a:gd name="connsiteY583" fmla="*/ 1396202 h 5664344"/>
              <a:gd name="connsiteX584" fmla="*/ 507141 w 5452350"/>
              <a:gd name="connsiteY584" fmla="*/ 1238577 h 5664344"/>
              <a:gd name="connsiteX585" fmla="*/ 524697 w 5452350"/>
              <a:gd name="connsiteY585" fmla="*/ 1184283 h 5664344"/>
              <a:gd name="connsiteX586" fmla="*/ 553225 w 5452350"/>
              <a:gd name="connsiteY586" fmla="*/ 1306880 h 5664344"/>
              <a:gd name="connsiteX587" fmla="*/ 579559 w 5452350"/>
              <a:gd name="connsiteY587" fmla="*/ 1271853 h 5664344"/>
              <a:gd name="connsiteX588" fmla="*/ 601504 w 5452350"/>
              <a:gd name="connsiteY588" fmla="*/ 1322643 h 5664344"/>
              <a:gd name="connsiteX589" fmla="*/ 621256 w 5452350"/>
              <a:gd name="connsiteY589" fmla="*/ 1466257 h 5664344"/>
              <a:gd name="connsiteX590" fmla="*/ 634422 w 5452350"/>
              <a:gd name="connsiteY590" fmla="*/ 1468008 h 5664344"/>
              <a:gd name="connsiteX591" fmla="*/ 647588 w 5452350"/>
              <a:gd name="connsiteY591" fmla="*/ 1308633 h 5664344"/>
              <a:gd name="connsiteX592" fmla="*/ 656366 w 5452350"/>
              <a:gd name="connsiteY592" fmla="*/ 1306880 h 5664344"/>
              <a:gd name="connsiteX593" fmla="*/ 656366 w 5452350"/>
              <a:gd name="connsiteY593" fmla="*/ 1424225 h 5664344"/>
              <a:gd name="connsiteX594" fmla="*/ 685477 w 5452350"/>
              <a:gd name="connsiteY594" fmla="*/ 1406437 h 5664344"/>
              <a:gd name="connsiteX595" fmla="*/ 700185 w 5452350"/>
              <a:gd name="connsiteY595" fmla="*/ 1388744 h 5664344"/>
              <a:gd name="connsiteX596" fmla="*/ 699738 w 5452350"/>
              <a:gd name="connsiteY596" fmla="*/ 1377759 h 5664344"/>
              <a:gd name="connsiteX597" fmla="*/ 702253 w 5452350"/>
              <a:gd name="connsiteY597" fmla="*/ 1340163 h 5664344"/>
              <a:gd name="connsiteX598" fmla="*/ 698885 w 5452350"/>
              <a:gd name="connsiteY598" fmla="*/ 1310384 h 5664344"/>
              <a:gd name="connsiteX599" fmla="*/ 700256 w 5452350"/>
              <a:gd name="connsiteY599" fmla="*/ 1278859 h 5664344"/>
              <a:gd name="connsiteX600" fmla="*/ 700256 w 5452350"/>
              <a:gd name="connsiteY600" fmla="*/ 1215808 h 5664344"/>
              <a:gd name="connsiteX601" fmla="*/ 715922 w 5452350"/>
              <a:gd name="connsiteY601" fmla="*/ 1159545 h 5664344"/>
              <a:gd name="connsiteX602" fmla="*/ 717842 w 5452350"/>
              <a:gd name="connsiteY602" fmla="*/ 1071484 h 5664344"/>
              <a:gd name="connsiteX603" fmla="*/ 717294 w 5452350"/>
              <a:gd name="connsiteY603" fmla="*/ 946915 h 5664344"/>
              <a:gd name="connsiteX604" fmla="*/ 723877 w 5452350"/>
              <a:gd name="connsiteY604" fmla="*/ 899628 h 5664344"/>
              <a:gd name="connsiteX605" fmla="*/ 759809 w 5452350"/>
              <a:gd name="connsiteY605" fmla="*/ 1195949 h 5664344"/>
              <a:gd name="connsiteX606" fmla="*/ 763896 w 5452350"/>
              <a:gd name="connsiteY606" fmla="*/ 1172024 h 5664344"/>
              <a:gd name="connsiteX607" fmla="*/ 772675 w 5452350"/>
              <a:gd name="connsiteY607" fmla="*/ 1172024 h 5664344"/>
              <a:gd name="connsiteX608" fmla="*/ 774350 w 5452350"/>
              <a:gd name="connsiteY608" fmla="*/ 1189402 h 5664344"/>
              <a:gd name="connsiteX609" fmla="*/ 774350 w 5452350"/>
              <a:gd name="connsiteY609" fmla="*/ 1118552 h 5664344"/>
              <a:gd name="connsiteX610" fmla="*/ 780934 w 5452350"/>
              <a:gd name="connsiteY610" fmla="*/ 1116801 h 5664344"/>
              <a:gd name="connsiteX611" fmla="*/ 780934 w 5452350"/>
              <a:gd name="connsiteY611" fmla="*/ 1181602 h 5664344"/>
              <a:gd name="connsiteX612" fmla="*/ 789712 w 5452350"/>
              <a:gd name="connsiteY612" fmla="*/ 1181602 h 5664344"/>
              <a:gd name="connsiteX613" fmla="*/ 809462 w 5452350"/>
              <a:gd name="connsiteY613" fmla="*/ 1051999 h 5664344"/>
              <a:gd name="connsiteX614" fmla="*/ 848963 w 5452350"/>
              <a:gd name="connsiteY614" fmla="*/ 948666 h 5664344"/>
              <a:gd name="connsiteX615" fmla="*/ 906019 w 5452350"/>
              <a:gd name="connsiteY615" fmla="*/ 934656 h 5664344"/>
              <a:gd name="connsiteX616" fmla="*/ 910409 w 5452350"/>
              <a:gd name="connsiteY616" fmla="*/ 934656 h 5664344"/>
              <a:gd name="connsiteX617" fmla="*/ 1053051 w 5452350"/>
              <a:gd name="connsiteY617" fmla="*/ 873358 h 5664344"/>
              <a:gd name="connsiteX618" fmla="*/ 1085967 w 5452350"/>
              <a:gd name="connsiteY618" fmla="*/ 1104541 h 5664344"/>
              <a:gd name="connsiteX619" fmla="*/ 1099134 w 5452350"/>
              <a:gd name="connsiteY619" fmla="*/ 1102789 h 5664344"/>
              <a:gd name="connsiteX620" fmla="*/ 1099134 w 5452350"/>
              <a:gd name="connsiteY620" fmla="*/ 861097 h 5664344"/>
              <a:gd name="connsiteX621" fmla="*/ 1103523 w 5452350"/>
              <a:gd name="connsiteY621" fmla="*/ 861097 h 5664344"/>
              <a:gd name="connsiteX622" fmla="*/ 1132052 w 5452350"/>
              <a:gd name="connsiteY622" fmla="*/ 1060756 h 5664344"/>
              <a:gd name="connsiteX623" fmla="*/ 1143025 w 5452350"/>
              <a:gd name="connsiteY623" fmla="*/ 1059005 h 5664344"/>
              <a:gd name="connsiteX624" fmla="*/ 1132052 w 5452350"/>
              <a:gd name="connsiteY624" fmla="*/ 969684 h 5664344"/>
              <a:gd name="connsiteX625" fmla="*/ 1145219 w 5452350"/>
              <a:gd name="connsiteY625" fmla="*/ 890871 h 5664344"/>
              <a:gd name="connsiteX626" fmla="*/ 1180331 w 5452350"/>
              <a:gd name="connsiteY626" fmla="*/ 1200868 h 5664344"/>
              <a:gd name="connsiteX627" fmla="*/ 1193497 w 5452350"/>
              <a:gd name="connsiteY627" fmla="*/ 1200868 h 5664344"/>
              <a:gd name="connsiteX628" fmla="*/ 1204470 w 5452350"/>
              <a:gd name="connsiteY628" fmla="*/ 1136066 h 5664344"/>
              <a:gd name="connsiteX629" fmla="*/ 1206665 w 5452350"/>
              <a:gd name="connsiteY629" fmla="*/ 978441 h 5664344"/>
              <a:gd name="connsiteX630" fmla="*/ 1224220 w 5452350"/>
              <a:gd name="connsiteY630" fmla="*/ 924147 h 5664344"/>
              <a:gd name="connsiteX631" fmla="*/ 1252748 w 5452350"/>
              <a:gd name="connsiteY631" fmla="*/ 1046744 h 5664344"/>
              <a:gd name="connsiteX632" fmla="*/ 1279082 w 5452350"/>
              <a:gd name="connsiteY632" fmla="*/ 1011717 h 5664344"/>
              <a:gd name="connsiteX633" fmla="*/ 1301027 w 5452350"/>
              <a:gd name="connsiteY633" fmla="*/ 1062507 h 5664344"/>
              <a:gd name="connsiteX634" fmla="*/ 1320779 w 5452350"/>
              <a:gd name="connsiteY634" fmla="*/ 1206121 h 5664344"/>
              <a:gd name="connsiteX635" fmla="*/ 1333945 w 5452350"/>
              <a:gd name="connsiteY635" fmla="*/ 1207872 h 5664344"/>
              <a:gd name="connsiteX636" fmla="*/ 1347111 w 5452350"/>
              <a:gd name="connsiteY636" fmla="*/ 1048497 h 5664344"/>
              <a:gd name="connsiteX637" fmla="*/ 1355890 w 5452350"/>
              <a:gd name="connsiteY637" fmla="*/ 1046744 h 5664344"/>
              <a:gd name="connsiteX638" fmla="*/ 1355890 w 5452350"/>
              <a:gd name="connsiteY638" fmla="*/ 1164089 h 5664344"/>
              <a:gd name="connsiteX639" fmla="*/ 1401974 w 5452350"/>
              <a:gd name="connsiteY639" fmla="*/ 1081773 h 5664344"/>
              <a:gd name="connsiteX640" fmla="*/ 1399779 w 5452350"/>
              <a:gd name="connsiteY640" fmla="*/ 1018723 h 5664344"/>
              <a:gd name="connsiteX641" fmla="*/ 1399779 w 5452350"/>
              <a:gd name="connsiteY641" fmla="*/ 955672 h 5664344"/>
              <a:gd name="connsiteX642" fmla="*/ 1400834 w 5452350"/>
              <a:gd name="connsiteY642" fmla="*/ 951886 h 5664344"/>
              <a:gd name="connsiteX643" fmla="*/ 1399263 w 5452350"/>
              <a:gd name="connsiteY643" fmla="*/ 913259 h 5664344"/>
              <a:gd name="connsiteX644" fmla="*/ 1414623 w 5452350"/>
              <a:gd name="connsiteY644" fmla="*/ 732865 h 5664344"/>
              <a:gd name="connsiteX645" fmla="*/ 1416819 w 5452350"/>
              <a:gd name="connsiteY645" fmla="*/ 482416 h 5664344"/>
              <a:gd name="connsiteX646" fmla="*/ 1423402 w 5452350"/>
              <a:gd name="connsiteY646" fmla="*/ 435129 h 5664344"/>
              <a:gd name="connsiteX647" fmla="*/ 1462902 w 5452350"/>
              <a:gd name="connsiteY647" fmla="*/ 760887 h 5664344"/>
              <a:gd name="connsiteX648" fmla="*/ 1473875 w 5452350"/>
              <a:gd name="connsiteY648" fmla="*/ 760887 h 5664344"/>
              <a:gd name="connsiteX649" fmla="*/ 1473875 w 5452350"/>
              <a:gd name="connsiteY649" fmla="*/ 654053 h 5664344"/>
              <a:gd name="connsiteX650" fmla="*/ 1480459 w 5452350"/>
              <a:gd name="connsiteY650" fmla="*/ 652301 h 5664344"/>
              <a:gd name="connsiteX651" fmla="*/ 1480459 w 5452350"/>
              <a:gd name="connsiteY651" fmla="*/ 717102 h 5664344"/>
              <a:gd name="connsiteX652" fmla="*/ 1489237 w 5452350"/>
              <a:gd name="connsiteY652" fmla="*/ 717102 h 5664344"/>
              <a:gd name="connsiteX653" fmla="*/ 1508987 w 5452350"/>
              <a:gd name="connsiteY653" fmla="*/ 587499 h 5664344"/>
              <a:gd name="connsiteX654" fmla="*/ 1548488 w 5452350"/>
              <a:gd name="connsiteY654" fmla="*/ 484167 h 5664344"/>
              <a:gd name="connsiteX655" fmla="*/ 1605544 w 5452350"/>
              <a:gd name="connsiteY655" fmla="*/ 470156 h 5664344"/>
              <a:gd name="connsiteX656" fmla="*/ 1609934 w 5452350"/>
              <a:gd name="connsiteY656" fmla="*/ 470156 h 5664344"/>
              <a:gd name="connsiteX657" fmla="*/ 1752576 w 5452350"/>
              <a:gd name="connsiteY657" fmla="*/ 408858 h 5664344"/>
              <a:gd name="connsiteX658" fmla="*/ 1785492 w 5452350"/>
              <a:gd name="connsiteY658" fmla="*/ 640041 h 5664344"/>
              <a:gd name="connsiteX659" fmla="*/ 1798659 w 5452350"/>
              <a:gd name="connsiteY659" fmla="*/ 638290 h 5664344"/>
              <a:gd name="connsiteX660" fmla="*/ 1798659 w 5452350"/>
              <a:gd name="connsiteY660" fmla="*/ 396598 h 5664344"/>
              <a:gd name="connsiteX661" fmla="*/ 1803048 w 5452350"/>
              <a:gd name="connsiteY661" fmla="*/ 396598 h 5664344"/>
              <a:gd name="connsiteX662" fmla="*/ 1831577 w 5452350"/>
              <a:gd name="connsiteY662" fmla="*/ 596257 h 5664344"/>
              <a:gd name="connsiteX663" fmla="*/ 1842550 w 5452350"/>
              <a:gd name="connsiteY663" fmla="*/ 594505 h 5664344"/>
              <a:gd name="connsiteX664" fmla="*/ 1831577 w 5452350"/>
              <a:gd name="connsiteY664" fmla="*/ 505184 h 5664344"/>
              <a:gd name="connsiteX665" fmla="*/ 1844744 w 5452350"/>
              <a:gd name="connsiteY665" fmla="*/ 426371 h 5664344"/>
              <a:gd name="connsiteX666" fmla="*/ 1879856 w 5452350"/>
              <a:gd name="connsiteY666" fmla="*/ 736368 h 5664344"/>
              <a:gd name="connsiteX667" fmla="*/ 1893022 w 5452350"/>
              <a:gd name="connsiteY667" fmla="*/ 736368 h 5664344"/>
              <a:gd name="connsiteX668" fmla="*/ 1903995 w 5452350"/>
              <a:gd name="connsiteY668" fmla="*/ 671566 h 5664344"/>
              <a:gd name="connsiteX669" fmla="*/ 1906190 w 5452350"/>
              <a:gd name="connsiteY669" fmla="*/ 513941 h 5664344"/>
              <a:gd name="connsiteX670" fmla="*/ 1923745 w 5452350"/>
              <a:gd name="connsiteY670" fmla="*/ 459647 h 5664344"/>
              <a:gd name="connsiteX671" fmla="*/ 1952273 w 5452350"/>
              <a:gd name="connsiteY671" fmla="*/ 582245 h 5664344"/>
              <a:gd name="connsiteX672" fmla="*/ 1978607 w 5452350"/>
              <a:gd name="connsiteY672" fmla="*/ 547217 h 5664344"/>
              <a:gd name="connsiteX673" fmla="*/ 2000552 w 5452350"/>
              <a:gd name="connsiteY673" fmla="*/ 598008 h 5664344"/>
              <a:gd name="connsiteX674" fmla="*/ 2020304 w 5452350"/>
              <a:gd name="connsiteY674" fmla="*/ 741622 h 5664344"/>
              <a:gd name="connsiteX675" fmla="*/ 2033470 w 5452350"/>
              <a:gd name="connsiteY675" fmla="*/ 743373 h 5664344"/>
              <a:gd name="connsiteX676" fmla="*/ 2046636 w 5452350"/>
              <a:gd name="connsiteY676" fmla="*/ 583997 h 5664344"/>
              <a:gd name="connsiteX677" fmla="*/ 2055415 w 5452350"/>
              <a:gd name="connsiteY677" fmla="*/ 582245 h 5664344"/>
              <a:gd name="connsiteX678" fmla="*/ 2055415 w 5452350"/>
              <a:gd name="connsiteY678" fmla="*/ 699589 h 5664344"/>
              <a:gd name="connsiteX679" fmla="*/ 2101499 w 5452350"/>
              <a:gd name="connsiteY679" fmla="*/ 617274 h 5664344"/>
              <a:gd name="connsiteX680" fmla="*/ 2099304 w 5452350"/>
              <a:gd name="connsiteY680" fmla="*/ 554223 h 5664344"/>
              <a:gd name="connsiteX681" fmla="*/ 2099304 w 5452350"/>
              <a:gd name="connsiteY681" fmla="*/ 491172 h 5664344"/>
              <a:gd name="connsiteX682" fmla="*/ 2116861 w 5452350"/>
              <a:gd name="connsiteY682" fmla="*/ 428123 h 5664344"/>
              <a:gd name="connsiteX683" fmla="*/ 2156361 w 5452350"/>
              <a:gd name="connsiteY683" fmla="*/ 485919 h 5664344"/>
              <a:gd name="connsiteX684" fmla="*/ 2162944 w 5452350"/>
              <a:gd name="connsiteY684" fmla="*/ 447388 h 5664344"/>
              <a:gd name="connsiteX685" fmla="*/ 2171723 w 5452350"/>
              <a:gd name="connsiteY685" fmla="*/ 447388 h 5664344"/>
              <a:gd name="connsiteX686" fmla="*/ 2184889 w 5452350"/>
              <a:gd name="connsiteY686" fmla="*/ 583997 h 5664344"/>
              <a:gd name="connsiteX687" fmla="*/ 2209029 w 5452350"/>
              <a:gd name="connsiteY687" fmla="*/ 825688 h 5664344"/>
              <a:gd name="connsiteX688" fmla="*/ 2219178 w 5452350"/>
              <a:gd name="connsiteY688" fmla="*/ 894431 h 5664344"/>
              <a:gd name="connsiteX689" fmla="*/ 2219896 w 5452350"/>
              <a:gd name="connsiteY689" fmla="*/ 896334 h 5664344"/>
              <a:gd name="connsiteX690" fmla="*/ 2228263 w 5452350"/>
              <a:gd name="connsiteY690" fmla="*/ 877812 h 5664344"/>
              <a:gd name="connsiteX691" fmla="*/ 2248013 w 5452350"/>
              <a:gd name="connsiteY691" fmla="*/ 854277 h 5664344"/>
              <a:gd name="connsiteX692" fmla="*/ 2305070 w 5452350"/>
              <a:gd name="connsiteY692" fmla="*/ 840267 h 5664344"/>
              <a:gd name="connsiteX693" fmla="*/ 2309459 w 5452350"/>
              <a:gd name="connsiteY693" fmla="*/ 840267 h 5664344"/>
              <a:gd name="connsiteX694" fmla="*/ 2430856 w 5452350"/>
              <a:gd name="connsiteY694" fmla="*/ 788098 h 5664344"/>
              <a:gd name="connsiteX695" fmla="*/ 2434327 w 5452350"/>
              <a:gd name="connsiteY695" fmla="*/ 763167 h 5664344"/>
              <a:gd name="connsiteX696" fmla="*/ 2437029 w 5452350"/>
              <a:gd name="connsiteY696" fmla="*/ 785446 h 5664344"/>
              <a:gd name="connsiteX697" fmla="*/ 2452101 w 5452350"/>
              <a:gd name="connsiteY697" fmla="*/ 778969 h 5664344"/>
              <a:gd name="connsiteX698" fmla="*/ 2465063 w 5452350"/>
              <a:gd name="connsiteY698" fmla="*/ 952602 h 5664344"/>
              <a:gd name="connsiteX699" fmla="*/ 2484800 w 5452350"/>
              <a:gd name="connsiteY699" fmla="*/ 1009520 h 5664344"/>
              <a:gd name="connsiteX700" fmla="*/ 2484800 w 5452350"/>
              <a:gd name="connsiteY700" fmla="*/ 982091 h 5664344"/>
              <a:gd name="connsiteX701" fmla="*/ 2491384 w 5452350"/>
              <a:gd name="connsiteY701" fmla="*/ 980339 h 5664344"/>
              <a:gd name="connsiteX702" fmla="*/ 2491384 w 5452350"/>
              <a:gd name="connsiteY702" fmla="*/ 1009305 h 5664344"/>
              <a:gd name="connsiteX703" fmla="*/ 2498185 w 5452350"/>
              <a:gd name="connsiteY703" fmla="*/ 1008400 h 5664344"/>
              <a:gd name="connsiteX704" fmla="*/ 2498185 w 5452350"/>
              <a:gd name="connsiteY704" fmla="*/ 766708 h 5664344"/>
              <a:gd name="connsiteX705" fmla="*/ 2502573 w 5452350"/>
              <a:gd name="connsiteY705" fmla="*/ 766708 h 5664344"/>
              <a:gd name="connsiteX706" fmla="*/ 2521934 w 5452350"/>
              <a:gd name="connsiteY706" fmla="*/ 902202 h 5664344"/>
              <a:gd name="connsiteX707" fmla="*/ 2528142 w 5452350"/>
              <a:gd name="connsiteY707" fmla="*/ 861245 h 5664344"/>
              <a:gd name="connsiteX708" fmla="*/ 2528281 w 5452350"/>
              <a:gd name="connsiteY708" fmla="*/ 860937 h 5664344"/>
              <a:gd name="connsiteX709" fmla="*/ 2526988 w 5452350"/>
              <a:gd name="connsiteY709" fmla="*/ 854360 h 5664344"/>
              <a:gd name="connsiteX710" fmla="*/ 2544270 w 5452350"/>
              <a:gd name="connsiteY710" fmla="*/ 796482 h 5664344"/>
              <a:gd name="connsiteX711" fmla="*/ 2547639 w 5452350"/>
              <a:gd name="connsiteY711" fmla="*/ 826234 h 5664344"/>
              <a:gd name="connsiteX712" fmla="*/ 2559413 w 5452350"/>
              <a:gd name="connsiteY712" fmla="*/ 812205 h 5664344"/>
              <a:gd name="connsiteX713" fmla="*/ 2616470 w 5452350"/>
              <a:gd name="connsiteY713" fmla="*/ 798194 h 5664344"/>
              <a:gd name="connsiteX714" fmla="*/ 2620858 w 5452350"/>
              <a:gd name="connsiteY714" fmla="*/ 798194 h 5664344"/>
              <a:gd name="connsiteX715" fmla="*/ 2763501 w 5452350"/>
              <a:gd name="connsiteY715" fmla="*/ 736896 h 5664344"/>
              <a:gd name="connsiteX716" fmla="*/ 2796418 w 5452350"/>
              <a:gd name="connsiteY716" fmla="*/ 968079 h 5664344"/>
              <a:gd name="connsiteX717" fmla="*/ 2798805 w 5452350"/>
              <a:gd name="connsiteY717" fmla="*/ 967762 h 5664344"/>
              <a:gd name="connsiteX718" fmla="*/ 2797458 w 5452350"/>
              <a:gd name="connsiteY718" fmla="*/ 955859 h 5664344"/>
              <a:gd name="connsiteX719" fmla="*/ 2798830 w 5452350"/>
              <a:gd name="connsiteY719" fmla="*/ 924333 h 5664344"/>
              <a:gd name="connsiteX720" fmla="*/ 2798830 w 5452350"/>
              <a:gd name="connsiteY720" fmla="*/ 861283 h 5664344"/>
              <a:gd name="connsiteX721" fmla="*/ 2809585 w 5452350"/>
              <a:gd name="connsiteY721" fmla="*/ 822661 h 5664344"/>
              <a:gd name="connsiteX722" fmla="*/ 2809585 w 5452350"/>
              <a:gd name="connsiteY722" fmla="*/ 724636 h 5664344"/>
              <a:gd name="connsiteX723" fmla="*/ 2813973 w 5452350"/>
              <a:gd name="connsiteY723" fmla="*/ 724636 h 5664344"/>
              <a:gd name="connsiteX724" fmla="*/ 2831597 w 5452350"/>
              <a:gd name="connsiteY724" fmla="*/ 847972 h 5664344"/>
              <a:gd name="connsiteX725" fmla="*/ 2844854 w 5452350"/>
              <a:gd name="connsiteY725" fmla="*/ 852370 h 5664344"/>
              <a:gd name="connsiteX726" fmla="*/ 2842502 w 5452350"/>
              <a:gd name="connsiteY726" fmla="*/ 833222 h 5664344"/>
              <a:gd name="connsiteX727" fmla="*/ 2855669 w 5452350"/>
              <a:gd name="connsiteY727" fmla="*/ 754409 h 5664344"/>
              <a:gd name="connsiteX728" fmla="*/ 2862815 w 5452350"/>
              <a:gd name="connsiteY728" fmla="*/ 817499 h 5664344"/>
              <a:gd name="connsiteX729" fmla="*/ 2871249 w 5452350"/>
              <a:gd name="connsiteY729" fmla="*/ 817499 h 5664344"/>
              <a:gd name="connsiteX730" fmla="*/ 2884415 w 5452350"/>
              <a:gd name="connsiteY730" fmla="*/ 954108 h 5664344"/>
              <a:gd name="connsiteX731" fmla="*/ 2896933 w 5452350"/>
              <a:gd name="connsiteY731" fmla="*/ 1064406 h 5664344"/>
              <a:gd name="connsiteX732" fmla="*/ 2903947 w 5452350"/>
              <a:gd name="connsiteY732" fmla="*/ 1064406 h 5664344"/>
              <a:gd name="connsiteX733" fmla="*/ 2914921 w 5452350"/>
              <a:gd name="connsiteY733" fmla="*/ 999604 h 5664344"/>
              <a:gd name="connsiteX734" fmla="*/ 2917115 w 5452350"/>
              <a:gd name="connsiteY734" fmla="*/ 841979 h 5664344"/>
              <a:gd name="connsiteX735" fmla="*/ 2934670 w 5452350"/>
              <a:gd name="connsiteY735" fmla="*/ 787685 h 5664344"/>
              <a:gd name="connsiteX736" fmla="*/ 2963198 w 5452350"/>
              <a:gd name="connsiteY736" fmla="*/ 910283 h 5664344"/>
              <a:gd name="connsiteX737" fmla="*/ 2989533 w 5452350"/>
              <a:gd name="connsiteY737" fmla="*/ 875255 h 5664344"/>
              <a:gd name="connsiteX738" fmla="*/ 3011477 w 5452350"/>
              <a:gd name="connsiteY738" fmla="*/ 926046 h 5664344"/>
              <a:gd name="connsiteX739" fmla="*/ 3031229 w 5452350"/>
              <a:gd name="connsiteY739" fmla="*/ 1069660 h 5664344"/>
              <a:gd name="connsiteX740" fmla="*/ 3044395 w 5452350"/>
              <a:gd name="connsiteY740" fmla="*/ 1071411 h 5664344"/>
              <a:gd name="connsiteX741" fmla="*/ 3057562 w 5452350"/>
              <a:gd name="connsiteY741" fmla="*/ 912035 h 5664344"/>
              <a:gd name="connsiteX742" fmla="*/ 3066340 w 5452350"/>
              <a:gd name="connsiteY742" fmla="*/ 910283 h 5664344"/>
              <a:gd name="connsiteX743" fmla="*/ 3066340 w 5452350"/>
              <a:gd name="connsiteY743" fmla="*/ 1027627 h 5664344"/>
              <a:gd name="connsiteX744" fmla="*/ 3095451 w 5452350"/>
              <a:gd name="connsiteY744" fmla="*/ 1009839 h 5664344"/>
              <a:gd name="connsiteX745" fmla="*/ 3110158 w 5452350"/>
              <a:gd name="connsiteY745" fmla="*/ 992146 h 5664344"/>
              <a:gd name="connsiteX746" fmla="*/ 3109711 w 5452350"/>
              <a:gd name="connsiteY746" fmla="*/ 981161 h 5664344"/>
              <a:gd name="connsiteX747" fmla="*/ 3112227 w 5452350"/>
              <a:gd name="connsiteY747" fmla="*/ 943565 h 5664344"/>
              <a:gd name="connsiteX748" fmla="*/ 3108858 w 5452350"/>
              <a:gd name="connsiteY748" fmla="*/ 913786 h 5664344"/>
              <a:gd name="connsiteX749" fmla="*/ 3110230 w 5452350"/>
              <a:gd name="connsiteY749" fmla="*/ 882261 h 5664344"/>
              <a:gd name="connsiteX750" fmla="*/ 3110230 w 5452350"/>
              <a:gd name="connsiteY750" fmla="*/ 819210 h 5664344"/>
              <a:gd name="connsiteX751" fmla="*/ 3125896 w 5452350"/>
              <a:gd name="connsiteY751" fmla="*/ 762948 h 5664344"/>
              <a:gd name="connsiteX752" fmla="*/ 3127815 w 5452350"/>
              <a:gd name="connsiteY752" fmla="*/ 674886 h 5664344"/>
              <a:gd name="connsiteX753" fmla="*/ 3127267 w 5452350"/>
              <a:gd name="connsiteY753" fmla="*/ 550318 h 5664344"/>
              <a:gd name="connsiteX754" fmla="*/ 3133851 w 5452350"/>
              <a:gd name="connsiteY754" fmla="*/ 503031 h 5664344"/>
              <a:gd name="connsiteX755" fmla="*/ 3169782 w 5452350"/>
              <a:gd name="connsiteY755" fmla="*/ 799352 h 5664344"/>
              <a:gd name="connsiteX756" fmla="*/ 3173869 w 5452350"/>
              <a:gd name="connsiteY756" fmla="*/ 775426 h 5664344"/>
              <a:gd name="connsiteX757" fmla="*/ 3182648 w 5452350"/>
              <a:gd name="connsiteY757" fmla="*/ 775426 h 5664344"/>
              <a:gd name="connsiteX758" fmla="*/ 3184323 w 5452350"/>
              <a:gd name="connsiteY758" fmla="*/ 792804 h 5664344"/>
              <a:gd name="connsiteX759" fmla="*/ 3184323 w 5452350"/>
              <a:gd name="connsiteY759" fmla="*/ 721955 h 5664344"/>
              <a:gd name="connsiteX760" fmla="*/ 3190907 w 5452350"/>
              <a:gd name="connsiteY760" fmla="*/ 720203 h 5664344"/>
              <a:gd name="connsiteX761" fmla="*/ 3190907 w 5452350"/>
              <a:gd name="connsiteY761" fmla="*/ 785004 h 5664344"/>
              <a:gd name="connsiteX762" fmla="*/ 3199685 w 5452350"/>
              <a:gd name="connsiteY762" fmla="*/ 785004 h 5664344"/>
              <a:gd name="connsiteX763" fmla="*/ 3219436 w 5452350"/>
              <a:gd name="connsiteY763" fmla="*/ 655401 h 5664344"/>
              <a:gd name="connsiteX764" fmla="*/ 3258936 w 5452350"/>
              <a:gd name="connsiteY764" fmla="*/ 552069 h 5664344"/>
              <a:gd name="connsiteX765" fmla="*/ 3315993 w 5452350"/>
              <a:gd name="connsiteY765" fmla="*/ 538058 h 5664344"/>
              <a:gd name="connsiteX766" fmla="*/ 3320382 w 5452350"/>
              <a:gd name="connsiteY766" fmla="*/ 538058 h 5664344"/>
              <a:gd name="connsiteX767" fmla="*/ 3463024 w 5452350"/>
              <a:gd name="connsiteY767" fmla="*/ 476760 h 5664344"/>
              <a:gd name="connsiteX768" fmla="*/ 3495941 w 5452350"/>
              <a:gd name="connsiteY768" fmla="*/ 707943 h 5664344"/>
              <a:gd name="connsiteX769" fmla="*/ 3509108 w 5452350"/>
              <a:gd name="connsiteY769" fmla="*/ 706192 h 5664344"/>
              <a:gd name="connsiteX770" fmla="*/ 3509108 w 5452350"/>
              <a:gd name="connsiteY770" fmla="*/ 464500 h 5664344"/>
              <a:gd name="connsiteX771" fmla="*/ 3513496 w 5452350"/>
              <a:gd name="connsiteY771" fmla="*/ 464500 h 5664344"/>
              <a:gd name="connsiteX772" fmla="*/ 3542025 w 5452350"/>
              <a:gd name="connsiteY772" fmla="*/ 664159 h 5664344"/>
              <a:gd name="connsiteX773" fmla="*/ 3552999 w 5452350"/>
              <a:gd name="connsiteY773" fmla="*/ 662407 h 5664344"/>
              <a:gd name="connsiteX774" fmla="*/ 3542025 w 5452350"/>
              <a:gd name="connsiteY774" fmla="*/ 573086 h 5664344"/>
              <a:gd name="connsiteX775" fmla="*/ 3555193 w 5452350"/>
              <a:gd name="connsiteY775" fmla="*/ 494273 h 5664344"/>
              <a:gd name="connsiteX776" fmla="*/ 3590305 w 5452350"/>
              <a:gd name="connsiteY776" fmla="*/ 804270 h 5664344"/>
              <a:gd name="connsiteX777" fmla="*/ 3603470 w 5452350"/>
              <a:gd name="connsiteY777" fmla="*/ 804270 h 5664344"/>
              <a:gd name="connsiteX778" fmla="*/ 3614444 w 5452350"/>
              <a:gd name="connsiteY778" fmla="*/ 739468 h 5664344"/>
              <a:gd name="connsiteX779" fmla="*/ 3616638 w 5452350"/>
              <a:gd name="connsiteY779" fmla="*/ 581843 h 5664344"/>
              <a:gd name="connsiteX780" fmla="*/ 3634193 w 5452350"/>
              <a:gd name="connsiteY780" fmla="*/ 527549 h 5664344"/>
              <a:gd name="connsiteX781" fmla="*/ 3662721 w 5452350"/>
              <a:gd name="connsiteY781" fmla="*/ 650147 h 5664344"/>
              <a:gd name="connsiteX782" fmla="*/ 3689056 w 5452350"/>
              <a:gd name="connsiteY782" fmla="*/ 615119 h 5664344"/>
              <a:gd name="connsiteX783" fmla="*/ 3711001 w 5452350"/>
              <a:gd name="connsiteY783" fmla="*/ 665910 h 5664344"/>
              <a:gd name="connsiteX784" fmla="*/ 3730752 w 5452350"/>
              <a:gd name="connsiteY784" fmla="*/ 809524 h 5664344"/>
              <a:gd name="connsiteX785" fmla="*/ 3743918 w 5452350"/>
              <a:gd name="connsiteY785" fmla="*/ 811275 h 5664344"/>
              <a:gd name="connsiteX786" fmla="*/ 3757085 w 5452350"/>
              <a:gd name="connsiteY786" fmla="*/ 651899 h 5664344"/>
              <a:gd name="connsiteX787" fmla="*/ 3765863 w 5452350"/>
              <a:gd name="connsiteY787" fmla="*/ 650147 h 5664344"/>
              <a:gd name="connsiteX788" fmla="*/ 3765863 w 5452350"/>
              <a:gd name="connsiteY788" fmla="*/ 767491 h 5664344"/>
              <a:gd name="connsiteX789" fmla="*/ 3811947 w 5452350"/>
              <a:gd name="connsiteY789" fmla="*/ 685176 h 5664344"/>
              <a:gd name="connsiteX790" fmla="*/ 3809753 w 5452350"/>
              <a:gd name="connsiteY790" fmla="*/ 622125 h 5664344"/>
              <a:gd name="connsiteX791" fmla="*/ 3809753 w 5452350"/>
              <a:gd name="connsiteY791" fmla="*/ 559074 h 5664344"/>
              <a:gd name="connsiteX792" fmla="*/ 3810807 w 5452350"/>
              <a:gd name="connsiteY792" fmla="*/ 555288 h 5664344"/>
              <a:gd name="connsiteX793" fmla="*/ 3809236 w 5452350"/>
              <a:gd name="connsiteY793" fmla="*/ 516661 h 5664344"/>
              <a:gd name="connsiteX794" fmla="*/ 3824596 w 5452350"/>
              <a:gd name="connsiteY794" fmla="*/ 336267 h 5664344"/>
              <a:gd name="connsiteX795" fmla="*/ 3826793 w 5452350"/>
              <a:gd name="connsiteY795" fmla="*/ 85818 h 5664344"/>
              <a:gd name="connsiteX796" fmla="*/ 3833375 w 5452350"/>
              <a:gd name="connsiteY796" fmla="*/ 38531 h 5664344"/>
              <a:gd name="connsiteX797" fmla="*/ 3872876 w 5452350"/>
              <a:gd name="connsiteY797" fmla="*/ 364290 h 5664344"/>
              <a:gd name="connsiteX798" fmla="*/ 3883848 w 5452350"/>
              <a:gd name="connsiteY798" fmla="*/ 364290 h 5664344"/>
              <a:gd name="connsiteX799" fmla="*/ 3883848 w 5452350"/>
              <a:gd name="connsiteY799" fmla="*/ 257455 h 5664344"/>
              <a:gd name="connsiteX800" fmla="*/ 3890432 w 5452350"/>
              <a:gd name="connsiteY800" fmla="*/ 255703 h 5664344"/>
              <a:gd name="connsiteX801" fmla="*/ 3890432 w 5452350"/>
              <a:gd name="connsiteY801" fmla="*/ 320504 h 5664344"/>
              <a:gd name="connsiteX802" fmla="*/ 3899210 w 5452350"/>
              <a:gd name="connsiteY802" fmla="*/ 320504 h 5664344"/>
              <a:gd name="connsiteX803" fmla="*/ 3918961 w 5452350"/>
              <a:gd name="connsiteY803" fmla="*/ 190902 h 5664344"/>
              <a:gd name="connsiteX804" fmla="*/ 3958461 w 5452350"/>
              <a:gd name="connsiteY804" fmla="*/ 87569 h 5664344"/>
              <a:gd name="connsiteX805" fmla="*/ 4015518 w 5452350"/>
              <a:gd name="connsiteY805" fmla="*/ 73559 h 5664344"/>
              <a:gd name="connsiteX806" fmla="*/ 4019907 w 5452350"/>
              <a:gd name="connsiteY806" fmla="*/ 73559 h 5664344"/>
              <a:gd name="connsiteX807" fmla="*/ 4162549 w 5452350"/>
              <a:gd name="connsiteY807" fmla="*/ 12260 h 5664344"/>
              <a:gd name="connsiteX808" fmla="*/ 4195466 w 5452350"/>
              <a:gd name="connsiteY808" fmla="*/ 243443 h 5664344"/>
              <a:gd name="connsiteX809" fmla="*/ 4208633 w 5452350"/>
              <a:gd name="connsiteY809" fmla="*/ 241692 h 5664344"/>
              <a:gd name="connsiteX810" fmla="*/ 4208633 w 5452350"/>
              <a:gd name="connsiteY810" fmla="*/ 0 h 5664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5452350" h="5664344">
                <a:moveTo>
                  <a:pt x="5448247" y="3505266"/>
                </a:moveTo>
                <a:cubicBezTo>
                  <a:pt x="5450299" y="3505266"/>
                  <a:pt x="5452350" y="3505266"/>
                  <a:pt x="5452350" y="3505266"/>
                </a:cubicBezTo>
                <a:cubicBezTo>
                  <a:pt x="5452350" y="3620959"/>
                  <a:pt x="5452350" y="3736652"/>
                  <a:pt x="5452350" y="3852344"/>
                </a:cubicBezTo>
                <a:cubicBezTo>
                  <a:pt x="5452350" y="3852344"/>
                  <a:pt x="5450299" y="3852344"/>
                  <a:pt x="5448247" y="3852344"/>
                </a:cubicBezTo>
                <a:cubicBezTo>
                  <a:pt x="5448247" y="3736652"/>
                  <a:pt x="5448247" y="3620959"/>
                  <a:pt x="5448247" y="3505266"/>
                </a:cubicBezTo>
                <a:close/>
                <a:moveTo>
                  <a:pt x="5397455" y="1105195"/>
                </a:moveTo>
                <a:cubicBezTo>
                  <a:pt x="5406159" y="1105195"/>
                  <a:pt x="5414863" y="1105195"/>
                  <a:pt x="5421391" y="1105195"/>
                </a:cubicBezTo>
                <a:cubicBezTo>
                  <a:pt x="5425742" y="1495853"/>
                  <a:pt x="5427919" y="1886511"/>
                  <a:pt x="5434447" y="2277169"/>
                </a:cubicBezTo>
                <a:cubicBezTo>
                  <a:pt x="5443150" y="2669579"/>
                  <a:pt x="5460557" y="3061990"/>
                  <a:pt x="5438799" y="3456152"/>
                </a:cubicBezTo>
                <a:cubicBezTo>
                  <a:pt x="5423567" y="2671331"/>
                  <a:pt x="5388751" y="1888263"/>
                  <a:pt x="5397455" y="1105195"/>
                </a:cubicBezTo>
                <a:close/>
                <a:moveTo>
                  <a:pt x="4208633" y="0"/>
                </a:moveTo>
                <a:cubicBezTo>
                  <a:pt x="4210827" y="0"/>
                  <a:pt x="4213021" y="0"/>
                  <a:pt x="4213021" y="0"/>
                </a:cubicBezTo>
                <a:cubicBezTo>
                  <a:pt x="4221801" y="66553"/>
                  <a:pt x="4232772" y="133106"/>
                  <a:pt x="4241550" y="199659"/>
                </a:cubicBezTo>
                <a:cubicBezTo>
                  <a:pt x="4245939" y="197907"/>
                  <a:pt x="4248134" y="197907"/>
                  <a:pt x="4252523" y="197907"/>
                </a:cubicBezTo>
                <a:cubicBezTo>
                  <a:pt x="4250329" y="168134"/>
                  <a:pt x="4245939" y="138360"/>
                  <a:pt x="4241550" y="108587"/>
                </a:cubicBezTo>
                <a:cubicBezTo>
                  <a:pt x="4239355" y="80564"/>
                  <a:pt x="4217411" y="52542"/>
                  <a:pt x="4254717" y="29774"/>
                </a:cubicBezTo>
                <a:cubicBezTo>
                  <a:pt x="4265689" y="134857"/>
                  <a:pt x="4278857" y="236438"/>
                  <a:pt x="4289829" y="339770"/>
                </a:cubicBezTo>
                <a:cubicBezTo>
                  <a:pt x="4294218" y="339770"/>
                  <a:pt x="4298607" y="339770"/>
                  <a:pt x="4302995" y="339770"/>
                </a:cubicBezTo>
                <a:cubicBezTo>
                  <a:pt x="4307385" y="318753"/>
                  <a:pt x="4313969" y="297737"/>
                  <a:pt x="4313969" y="274968"/>
                </a:cubicBezTo>
                <a:cubicBezTo>
                  <a:pt x="4316163" y="222427"/>
                  <a:pt x="4313969" y="169885"/>
                  <a:pt x="4316163" y="117343"/>
                </a:cubicBezTo>
                <a:cubicBezTo>
                  <a:pt x="4316163" y="99829"/>
                  <a:pt x="4322746" y="80564"/>
                  <a:pt x="4333719" y="63049"/>
                </a:cubicBezTo>
                <a:cubicBezTo>
                  <a:pt x="4342497" y="101580"/>
                  <a:pt x="4351275" y="140111"/>
                  <a:pt x="4362246" y="185647"/>
                </a:cubicBezTo>
                <a:cubicBezTo>
                  <a:pt x="4371025" y="173388"/>
                  <a:pt x="4377608" y="166382"/>
                  <a:pt x="4388581" y="150620"/>
                </a:cubicBezTo>
                <a:cubicBezTo>
                  <a:pt x="4397359" y="171637"/>
                  <a:pt x="4406137" y="185647"/>
                  <a:pt x="4410525" y="201410"/>
                </a:cubicBezTo>
                <a:cubicBezTo>
                  <a:pt x="4417109" y="248698"/>
                  <a:pt x="4423693" y="297737"/>
                  <a:pt x="4430277" y="345024"/>
                </a:cubicBezTo>
                <a:cubicBezTo>
                  <a:pt x="4434665" y="345024"/>
                  <a:pt x="4439055" y="346775"/>
                  <a:pt x="4443443" y="346775"/>
                </a:cubicBezTo>
                <a:cubicBezTo>
                  <a:pt x="4447831" y="292483"/>
                  <a:pt x="4452220" y="239941"/>
                  <a:pt x="4456610" y="187400"/>
                </a:cubicBezTo>
                <a:cubicBezTo>
                  <a:pt x="4458805" y="185647"/>
                  <a:pt x="4463193" y="185647"/>
                  <a:pt x="4465388" y="185647"/>
                </a:cubicBezTo>
                <a:cubicBezTo>
                  <a:pt x="4465388" y="222427"/>
                  <a:pt x="4465388" y="260957"/>
                  <a:pt x="4465388" y="302992"/>
                </a:cubicBezTo>
                <a:cubicBezTo>
                  <a:pt x="4513667" y="280223"/>
                  <a:pt x="4522445" y="253952"/>
                  <a:pt x="4511472" y="220676"/>
                </a:cubicBezTo>
                <a:cubicBezTo>
                  <a:pt x="4504888" y="199659"/>
                  <a:pt x="4509278" y="178641"/>
                  <a:pt x="4509278" y="157625"/>
                </a:cubicBezTo>
                <a:cubicBezTo>
                  <a:pt x="4509278" y="136609"/>
                  <a:pt x="4507083" y="115592"/>
                  <a:pt x="4509278" y="94575"/>
                </a:cubicBezTo>
                <a:cubicBezTo>
                  <a:pt x="4511472" y="73559"/>
                  <a:pt x="4518056" y="52542"/>
                  <a:pt x="4526834" y="31525"/>
                </a:cubicBezTo>
                <a:cubicBezTo>
                  <a:pt x="4537805" y="52542"/>
                  <a:pt x="4518056" y="84067"/>
                  <a:pt x="4566335" y="89322"/>
                </a:cubicBezTo>
                <a:cubicBezTo>
                  <a:pt x="4568529" y="77061"/>
                  <a:pt x="4570723" y="63049"/>
                  <a:pt x="4572917" y="50791"/>
                </a:cubicBezTo>
                <a:cubicBezTo>
                  <a:pt x="4575111" y="50791"/>
                  <a:pt x="4579502" y="50791"/>
                  <a:pt x="4581697" y="50791"/>
                </a:cubicBezTo>
                <a:cubicBezTo>
                  <a:pt x="4586085" y="96327"/>
                  <a:pt x="4590473" y="141863"/>
                  <a:pt x="4594863" y="187400"/>
                </a:cubicBezTo>
                <a:cubicBezTo>
                  <a:pt x="4603641" y="267963"/>
                  <a:pt x="4614614" y="348528"/>
                  <a:pt x="4619003" y="429091"/>
                </a:cubicBezTo>
                <a:cubicBezTo>
                  <a:pt x="4620099" y="452735"/>
                  <a:pt x="4623391" y="475503"/>
                  <a:pt x="4629151" y="497833"/>
                </a:cubicBezTo>
                <a:lnTo>
                  <a:pt x="4629870" y="499736"/>
                </a:lnTo>
                <a:lnTo>
                  <a:pt x="4638237" y="481214"/>
                </a:lnTo>
                <a:cubicBezTo>
                  <a:pt x="4643311" y="473004"/>
                  <a:pt x="4649758" y="465123"/>
                  <a:pt x="4657987" y="457680"/>
                </a:cubicBezTo>
                <a:cubicBezTo>
                  <a:pt x="4673348" y="443669"/>
                  <a:pt x="4682127" y="413896"/>
                  <a:pt x="4715043" y="443669"/>
                </a:cubicBezTo>
                <a:cubicBezTo>
                  <a:pt x="4715043" y="443669"/>
                  <a:pt x="4717238" y="443669"/>
                  <a:pt x="4719433" y="443669"/>
                </a:cubicBezTo>
                <a:cubicBezTo>
                  <a:pt x="4765517" y="422652"/>
                  <a:pt x="4813796" y="401636"/>
                  <a:pt x="4862075" y="382371"/>
                </a:cubicBezTo>
                <a:cubicBezTo>
                  <a:pt x="4842323" y="461183"/>
                  <a:pt x="4866464" y="536493"/>
                  <a:pt x="4894993" y="613554"/>
                </a:cubicBezTo>
                <a:cubicBezTo>
                  <a:pt x="4899381" y="613554"/>
                  <a:pt x="4903770" y="613554"/>
                  <a:pt x="4908159" y="611803"/>
                </a:cubicBezTo>
                <a:cubicBezTo>
                  <a:pt x="4908159" y="531239"/>
                  <a:pt x="4908159" y="450675"/>
                  <a:pt x="4908159" y="370111"/>
                </a:cubicBezTo>
                <a:cubicBezTo>
                  <a:pt x="4910353" y="370111"/>
                  <a:pt x="4912547" y="370111"/>
                  <a:pt x="4912547" y="370111"/>
                </a:cubicBezTo>
                <a:cubicBezTo>
                  <a:pt x="4921326" y="436663"/>
                  <a:pt x="4932297" y="503216"/>
                  <a:pt x="4941076" y="569770"/>
                </a:cubicBezTo>
                <a:cubicBezTo>
                  <a:pt x="4945465" y="568018"/>
                  <a:pt x="4947661" y="568018"/>
                  <a:pt x="4952049" y="568018"/>
                </a:cubicBezTo>
                <a:cubicBezTo>
                  <a:pt x="4949855" y="538244"/>
                  <a:pt x="4945465" y="508471"/>
                  <a:pt x="4941076" y="478697"/>
                </a:cubicBezTo>
                <a:cubicBezTo>
                  <a:pt x="4938881" y="450675"/>
                  <a:pt x="4916937" y="422652"/>
                  <a:pt x="4954243" y="399884"/>
                </a:cubicBezTo>
                <a:cubicBezTo>
                  <a:pt x="4965215" y="504968"/>
                  <a:pt x="4978383" y="606548"/>
                  <a:pt x="4989355" y="709881"/>
                </a:cubicBezTo>
                <a:cubicBezTo>
                  <a:pt x="4993744" y="709881"/>
                  <a:pt x="4998133" y="709881"/>
                  <a:pt x="5002521" y="709881"/>
                </a:cubicBezTo>
                <a:cubicBezTo>
                  <a:pt x="5006911" y="688864"/>
                  <a:pt x="5013495" y="667848"/>
                  <a:pt x="5013495" y="645079"/>
                </a:cubicBezTo>
                <a:cubicBezTo>
                  <a:pt x="5015689" y="592538"/>
                  <a:pt x="5013495" y="539995"/>
                  <a:pt x="5015689" y="487454"/>
                </a:cubicBezTo>
                <a:cubicBezTo>
                  <a:pt x="5015689" y="469940"/>
                  <a:pt x="5022271" y="450675"/>
                  <a:pt x="5033244" y="433160"/>
                </a:cubicBezTo>
                <a:cubicBezTo>
                  <a:pt x="5042023" y="471691"/>
                  <a:pt x="5050801" y="510222"/>
                  <a:pt x="5061773" y="555758"/>
                </a:cubicBezTo>
                <a:cubicBezTo>
                  <a:pt x="5070551" y="543499"/>
                  <a:pt x="5077135" y="536493"/>
                  <a:pt x="5088107" y="520730"/>
                </a:cubicBezTo>
                <a:cubicBezTo>
                  <a:pt x="5096885" y="541747"/>
                  <a:pt x="5105663" y="555758"/>
                  <a:pt x="5110051" y="571521"/>
                </a:cubicBezTo>
                <a:cubicBezTo>
                  <a:pt x="5116635" y="618808"/>
                  <a:pt x="5123218" y="667848"/>
                  <a:pt x="5129803" y="715135"/>
                </a:cubicBezTo>
                <a:cubicBezTo>
                  <a:pt x="5134191" y="715135"/>
                  <a:pt x="5138580" y="716886"/>
                  <a:pt x="5142969" y="716886"/>
                </a:cubicBezTo>
                <a:cubicBezTo>
                  <a:pt x="5147357" y="662593"/>
                  <a:pt x="5151747" y="610052"/>
                  <a:pt x="5156135" y="557510"/>
                </a:cubicBezTo>
                <a:cubicBezTo>
                  <a:pt x="5158331" y="555758"/>
                  <a:pt x="5162719" y="555758"/>
                  <a:pt x="5164915" y="555758"/>
                </a:cubicBezTo>
                <a:cubicBezTo>
                  <a:pt x="5164915" y="592538"/>
                  <a:pt x="5164915" y="631068"/>
                  <a:pt x="5164915" y="673102"/>
                </a:cubicBezTo>
                <a:cubicBezTo>
                  <a:pt x="5213192" y="650334"/>
                  <a:pt x="5221971" y="624062"/>
                  <a:pt x="5210998" y="590787"/>
                </a:cubicBezTo>
                <a:cubicBezTo>
                  <a:pt x="5204415" y="569770"/>
                  <a:pt x="5208803" y="548752"/>
                  <a:pt x="5208803" y="527736"/>
                </a:cubicBezTo>
                <a:cubicBezTo>
                  <a:pt x="5208803" y="506720"/>
                  <a:pt x="5206609" y="485703"/>
                  <a:pt x="5208803" y="464685"/>
                </a:cubicBezTo>
                <a:cubicBezTo>
                  <a:pt x="5210998" y="443669"/>
                  <a:pt x="5217583" y="422652"/>
                  <a:pt x="5226360" y="401636"/>
                </a:cubicBezTo>
                <a:cubicBezTo>
                  <a:pt x="5237331" y="422652"/>
                  <a:pt x="5217583" y="454178"/>
                  <a:pt x="5265861" y="459432"/>
                </a:cubicBezTo>
                <a:cubicBezTo>
                  <a:pt x="5268055" y="447172"/>
                  <a:pt x="5270249" y="433160"/>
                  <a:pt x="5272443" y="420901"/>
                </a:cubicBezTo>
                <a:cubicBezTo>
                  <a:pt x="5274637" y="420901"/>
                  <a:pt x="5279028" y="420901"/>
                  <a:pt x="5281222" y="420901"/>
                </a:cubicBezTo>
                <a:cubicBezTo>
                  <a:pt x="5285611" y="466438"/>
                  <a:pt x="5289999" y="511974"/>
                  <a:pt x="5294389" y="557510"/>
                </a:cubicBezTo>
                <a:cubicBezTo>
                  <a:pt x="5303167" y="638074"/>
                  <a:pt x="5314139" y="718638"/>
                  <a:pt x="5318529" y="799201"/>
                </a:cubicBezTo>
                <a:cubicBezTo>
                  <a:pt x="5320723" y="846489"/>
                  <a:pt x="5331695" y="890274"/>
                  <a:pt x="5353640" y="934059"/>
                </a:cubicBezTo>
                <a:cubicBezTo>
                  <a:pt x="5358029" y="946319"/>
                  <a:pt x="5355835" y="960330"/>
                  <a:pt x="5355835" y="974341"/>
                </a:cubicBezTo>
                <a:cubicBezTo>
                  <a:pt x="5358029" y="1124960"/>
                  <a:pt x="5362417" y="1273829"/>
                  <a:pt x="5362417" y="1422697"/>
                </a:cubicBezTo>
                <a:cubicBezTo>
                  <a:pt x="5360223" y="1540041"/>
                  <a:pt x="5347057" y="1657384"/>
                  <a:pt x="5347057" y="1776479"/>
                </a:cubicBezTo>
                <a:cubicBezTo>
                  <a:pt x="5347057" y="1953369"/>
                  <a:pt x="5353640" y="2132011"/>
                  <a:pt x="5358029" y="2310653"/>
                </a:cubicBezTo>
                <a:cubicBezTo>
                  <a:pt x="5362417" y="2494550"/>
                  <a:pt x="5369002" y="2678445"/>
                  <a:pt x="5375585" y="2862341"/>
                </a:cubicBezTo>
                <a:cubicBezTo>
                  <a:pt x="5379973" y="3091774"/>
                  <a:pt x="5388751" y="3321206"/>
                  <a:pt x="5388751" y="3550639"/>
                </a:cubicBezTo>
                <a:cubicBezTo>
                  <a:pt x="5386557" y="3759055"/>
                  <a:pt x="5373391" y="3969221"/>
                  <a:pt x="5366806" y="4177638"/>
                </a:cubicBezTo>
                <a:cubicBezTo>
                  <a:pt x="5362417" y="4279218"/>
                  <a:pt x="5360223" y="4382550"/>
                  <a:pt x="5353640" y="4484131"/>
                </a:cubicBezTo>
                <a:cubicBezTo>
                  <a:pt x="5351445" y="4520911"/>
                  <a:pt x="5331695" y="4555938"/>
                  <a:pt x="5329501" y="4590966"/>
                </a:cubicBezTo>
                <a:cubicBezTo>
                  <a:pt x="5327305" y="4675032"/>
                  <a:pt x="5329501" y="4760851"/>
                  <a:pt x="5320723" y="4844918"/>
                </a:cubicBezTo>
                <a:cubicBezTo>
                  <a:pt x="5305361" y="4668027"/>
                  <a:pt x="5333889" y="4491136"/>
                  <a:pt x="5318529" y="4314246"/>
                </a:cubicBezTo>
                <a:cubicBezTo>
                  <a:pt x="5309751" y="4314246"/>
                  <a:pt x="5300972" y="4314246"/>
                  <a:pt x="5292195" y="4314246"/>
                </a:cubicBezTo>
                <a:cubicBezTo>
                  <a:pt x="5285611" y="4445600"/>
                  <a:pt x="5276832" y="4576954"/>
                  <a:pt x="5268055" y="4708309"/>
                </a:cubicBezTo>
                <a:cubicBezTo>
                  <a:pt x="5268055" y="4708309"/>
                  <a:pt x="5265861" y="4708309"/>
                  <a:pt x="5265861" y="4708309"/>
                </a:cubicBezTo>
                <a:cubicBezTo>
                  <a:pt x="5265861" y="4657519"/>
                  <a:pt x="5265861" y="4604978"/>
                  <a:pt x="5265861" y="4554187"/>
                </a:cubicBezTo>
                <a:cubicBezTo>
                  <a:pt x="5265861" y="4473622"/>
                  <a:pt x="5281222" y="4393058"/>
                  <a:pt x="5263666" y="4315997"/>
                </a:cubicBezTo>
                <a:cubicBezTo>
                  <a:pt x="5243915" y="4219670"/>
                  <a:pt x="5246109" y="4125096"/>
                  <a:pt x="5257083" y="4028768"/>
                </a:cubicBezTo>
                <a:cubicBezTo>
                  <a:pt x="5265861" y="3949956"/>
                  <a:pt x="5261471" y="3871143"/>
                  <a:pt x="5261471" y="3790579"/>
                </a:cubicBezTo>
                <a:cubicBezTo>
                  <a:pt x="5261471" y="3711766"/>
                  <a:pt x="5261471" y="3632953"/>
                  <a:pt x="5259277" y="3554141"/>
                </a:cubicBezTo>
                <a:cubicBezTo>
                  <a:pt x="5259277" y="3547136"/>
                  <a:pt x="5259277" y="3541881"/>
                  <a:pt x="5252693" y="3534876"/>
                </a:cubicBezTo>
                <a:cubicBezTo>
                  <a:pt x="5237331" y="3986735"/>
                  <a:pt x="5193443" y="4435091"/>
                  <a:pt x="5129803" y="4893956"/>
                </a:cubicBezTo>
                <a:cubicBezTo>
                  <a:pt x="5114441" y="4876442"/>
                  <a:pt x="5105663" y="4869437"/>
                  <a:pt x="5092495" y="4853674"/>
                </a:cubicBezTo>
                <a:cubicBezTo>
                  <a:pt x="5092495" y="4879945"/>
                  <a:pt x="5092495" y="4895708"/>
                  <a:pt x="5092495" y="4913222"/>
                </a:cubicBezTo>
                <a:cubicBezTo>
                  <a:pt x="5090301" y="4913222"/>
                  <a:pt x="5088107" y="4913222"/>
                  <a:pt x="5085912" y="4913222"/>
                </a:cubicBezTo>
                <a:cubicBezTo>
                  <a:pt x="5081523" y="4771359"/>
                  <a:pt x="5077135" y="4629496"/>
                  <a:pt x="5072745" y="4489385"/>
                </a:cubicBezTo>
                <a:cubicBezTo>
                  <a:pt x="5026661" y="4599723"/>
                  <a:pt x="5046412" y="4713563"/>
                  <a:pt x="5031050" y="4825653"/>
                </a:cubicBezTo>
                <a:cubicBezTo>
                  <a:pt x="5031050" y="4597970"/>
                  <a:pt x="5031050" y="4370290"/>
                  <a:pt x="5031050" y="4142609"/>
                </a:cubicBezTo>
                <a:cubicBezTo>
                  <a:pt x="5026661" y="4142609"/>
                  <a:pt x="5022271" y="4142609"/>
                  <a:pt x="5015689" y="4140858"/>
                </a:cubicBezTo>
                <a:cubicBezTo>
                  <a:pt x="5009106" y="4191648"/>
                  <a:pt x="5002521" y="4242439"/>
                  <a:pt x="4993744" y="4301986"/>
                </a:cubicBezTo>
                <a:cubicBezTo>
                  <a:pt x="4993744" y="4230179"/>
                  <a:pt x="4993744" y="4168880"/>
                  <a:pt x="4993744" y="4107581"/>
                </a:cubicBezTo>
                <a:cubicBezTo>
                  <a:pt x="4989355" y="4107581"/>
                  <a:pt x="4984967" y="4107581"/>
                  <a:pt x="4982771" y="4107581"/>
                </a:cubicBezTo>
                <a:cubicBezTo>
                  <a:pt x="4969603" y="4319501"/>
                  <a:pt x="4958632" y="4533170"/>
                  <a:pt x="4947661" y="4748591"/>
                </a:cubicBezTo>
                <a:cubicBezTo>
                  <a:pt x="4945465" y="4738082"/>
                  <a:pt x="4943270" y="4731077"/>
                  <a:pt x="4941076" y="4722321"/>
                </a:cubicBezTo>
                <a:cubicBezTo>
                  <a:pt x="4936687" y="4722321"/>
                  <a:pt x="4934493" y="4722321"/>
                  <a:pt x="4932297" y="4722321"/>
                </a:cubicBezTo>
                <a:cubicBezTo>
                  <a:pt x="4930103" y="4748591"/>
                  <a:pt x="4930103" y="4774862"/>
                  <a:pt x="4925715" y="4806388"/>
                </a:cubicBezTo>
                <a:cubicBezTo>
                  <a:pt x="4921326" y="4797629"/>
                  <a:pt x="4919132" y="4794127"/>
                  <a:pt x="4919132" y="4790625"/>
                </a:cubicBezTo>
                <a:cubicBezTo>
                  <a:pt x="4919132" y="4603225"/>
                  <a:pt x="4919132" y="4415826"/>
                  <a:pt x="4919132" y="4228427"/>
                </a:cubicBezTo>
                <a:cubicBezTo>
                  <a:pt x="4919132" y="4216168"/>
                  <a:pt x="4912547" y="4202156"/>
                  <a:pt x="4908159" y="4189897"/>
                </a:cubicBezTo>
                <a:cubicBezTo>
                  <a:pt x="4905964" y="4177638"/>
                  <a:pt x="4899381" y="4167129"/>
                  <a:pt x="4890603" y="4154869"/>
                </a:cubicBezTo>
                <a:cubicBezTo>
                  <a:pt x="4862075" y="4258201"/>
                  <a:pt x="4873047" y="4366788"/>
                  <a:pt x="4855491" y="4471871"/>
                </a:cubicBezTo>
                <a:cubicBezTo>
                  <a:pt x="4855491" y="4337013"/>
                  <a:pt x="4855491" y="4202156"/>
                  <a:pt x="4855491" y="4067299"/>
                </a:cubicBezTo>
                <a:cubicBezTo>
                  <a:pt x="4846713" y="4067299"/>
                  <a:pt x="4840129" y="4067299"/>
                  <a:pt x="4833547" y="4067299"/>
                </a:cubicBezTo>
                <a:cubicBezTo>
                  <a:pt x="4826963" y="4151367"/>
                  <a:pt x="4815990" y="4237185"/>
                  <a:pt x="4811601" y="4323003"/>
                </a:cubicBezTo>
                <a:cubicBezTo>
                  <a:pt x="4809407" y="4408821"/>
                  <a:pt x="4811601" y="4494640"/>
                  <a:pt x="4811601" y="4580458"/>
                </a:cubicBezTo>
                <a:cubicBezTo>
                  <a:pt x="4805017" y="4580458"/>
                  <a:pt x="4798435" y="4580458"/>
                  <a:pt x="4794046" y="4580458"/>
                </a:cubicBezTo>
                <a:cubicBezTo>
                  <a:pt x="4794046" y="4333511"/>
                  <a:pt x="4794046" y="4084813"/>
                  <a:pt x="4794046" y="3837867"/>
                </a:cubicBezTo>
                <a:cubicBezTo>
                  <a:pt x="4787461" y="3837867"/>
                  <a:pt x="4780879" y="3837867"/>
                  <a:pt x="4776489" y="3837867"/>
                </a:cubicBezTo>
                <a:cubicBezTo>
                  <a:pt x="4776489" y="3871143"/>
                  <a:pt x="4776489" y="3902669"/>
                  <a:pt x="4776489" y="3935945"/>
                </a:cubicBezTo>
                <a:cubicBezTo>
                  <a:pt x="4776489" y="4020012"/>
                  <a:pt x="4791851" y="4105830"/>
                  <a:pt x="4769907" y="4186394"/>
                </a:cubicBezTo>
                <a:cubicBezTo>
                  <a:pt x="4730405" y="4333511"/>
                  <a:pt x="4761129" y="4482380"/>
                  <a:pt x="4752349" y="4629496"/>
                </a:cubicBezTo>
                <a:cubicBezTo>
                  <a:pt x="4750155" y="4648762"/>
                  <a:pt x="4754544" y="4668027"/>
                  <a:pt x="4750155" y="4689044"/>
                </a:cubicBezTo>
                <a:cubicBezTo>
                  <a:pt x="4745767" y="4676784"/>
                  <a:pt x="4743573" y="4662772"/>
                  <a:pt x="4741378" y="4648762"/>
                </a:cubicBezTo>
                <a:cubicBezTo>
                  <a:pt x="4732601" y="4590966"/>
                  <a:pt x="4717238" y="4531418"/>
                  <a:pt x="4717238" y="4473622"/>
                </a:cubicBezTo>
                <a:cubicBezTo>
                  <a:pt x="4719433" y="4365037"/>
                  <a:pt x="4730405" y="4258201"/>
                  <a:pt x="4734795" y="4149615"/>
                </a:cubicBezTo>
                <a:cubicBezTo>
                  <a:pt x="4736989" y="4112835"/>
                  <a:pt x="4732601" y="4074304"/>
                  <a:pt x="4730405" y="4037526"/>
                </a:cubicBezTo>
                <a:cubicBezTo>
                  <a:pt x="4730405" y="4034022"/>
                  <a:pt x="4723821" y="4030520"/>
                  <a:pt x="4715043" y="4021763"/>
                </a:cubicBezTo>
                <a:cubicBezTo>
                  <a:pt x="4708461" y="4105830"/>
                  <a:pt x="4704072" y="4182891"/>
                  <a:pt x="4697487" y="4261705"/>
                </a:cubicBezTo>
                <a:cubicBezTo>
                  <a:pt x="4695293" y="4261705"/>
                  <a:pt x="4695293" y="4261705"/>
                  <a:pt x="4693099" y="4261705"/>
                </a:cubicBezTo>
                <a:cubicBezTo>
                  <a:pt x="4688710" y="4221422"/>
                  <a:pt x="4684321" y="4181140"/>
                  <a:pt x="4679932" y="4140858"/>
                </a:cubicBezTo>
                <a:cubicBezTo>
                  <a:pt x="4675543" y="4140858"/>
                  <a:pt x="4668959" y="4140858"/>
                  <a:pt x="4664570" y="4140858"/>
                </a:cubicBezTo>
                <a:cubicBezTo>
                  <a:pt x="4662375" y="4196903"/>
                  <a:pt x="4657987" y="4254699"/>
                  <a:pt x="4655793" y="4312494"/>
                </a:cubicBezTo>
                <a:cubicBezTo>
                  <a:pt x="4655793" y="4396560"/>
                  <a:pt x="4660181" y="4480627"/>
                  <a:pt x="4660181" y="4562943"/>
                </a:cubicBezTo>
                <a:cubicBezTo>
                  <a:pt x="4660181" y="4576954"/>
                  <a:pt x="4651404" y="4590966"/>
                  <a:pt x="4647013" y="4603225"/>
                </a:cubicBezTo>
                <a:cubicBezTo>
                  <a:pt x="4642625" y="4603225"/>
                  <a:pt x="4636042" y="4603225"/>
                  <a:pt x="4631653" y="4601474"/>
                </a:cubicBezTo>
                <a:lnTo>
                  <a:pt x="4631653" y="4213517"/>
                </a:lnTo>
                <a:lnTo>
                  <a:pt x="4629974" y="4220855"/>
                </a:lnTo>
                <a:cubicBezTo>
                  <a:pt x="4627779" y="4304922"/>
                  <a:pt x="4629974" y="4390740"/>
                  <a:pt x="4621197" y="4474807"/>
                </a:cubicBezTo>
                <a:cubicBezTo>
                  <a:pt x="4613515" y="4386361"/>
                  <a:pt x="4616807" y="4297916"/>
                  <a:pt x="4620099" y="4209471"/>
                </a:cubicBezTo>
                <a:lnTo>
                  <a:pt x="4622225" y="4130349"/>
                </a:lnTo>
                <a:lnTo>
                  <a:pt x="4618487" y="4130349"/>
                </a:lnTo>
                <a:cubicBezTo>
                  <a:pt x="4618487" y="4154869"/>
                  <a:pt x="4618487" y="4179389"/>
                  <a:pt x="4618487" y="4203909"/>
                </a:cubicBezTo>
                <a:cubicBezTo>
                  <a:pt x="4616291" y="4203909"/>
                  <a:pt x="4614096" y="4203909"/>
                  <a:pt x="4611902" y="4203909"/>
                </a:cubicBezTo>
                <a:cubicBezTo>
                  <a:pt x="4611902" y="4160123"/>
                  <a:pt x="4611902" y="4116338"/>
                  <a:pt x="4611902" y="4072553"/>
                </a:cubicBezTo>
                <a:cubicBezTo>
                  <a:pt x="4614096" y="4072553"/>
                  <a:pt x="4614096" y="4072553"/>
                  <a:pt x="4616291" y="4072553"/>
                </a:cubicBezTo>
                <a:lnTo>
                  <a:pt x="4622683" y="4113356"/>
                </a:lnTo>
                <a:lnTo>
                  <a:pt x="4623665" y="4076803"/>
                </a:lnTo>
                <a:cubicBezTo>
                  <a:pt x="4623940" y="4032581"/>
                  <a:pt x="4622843" y="3988358"/>
                  <a:pt x="4619003" y="3944135"/>
                </a:cubicBezTo>
                <a:cubicBezTo>
                  <a:pt x="4610225" y="3944135"/>
                  <a:pt x="4601446" y="3944135"/>
                  <a:pt x="4592668" y="3944135"/>
                </a:cubicBezTo>
                <a:cubicBezTo>
                  <a:pt x="4586085" y="4075489"/>
                  <a:pt x="4577306" y="4206844"/>
                  <a:pt x="4568529" y="4338199"/>
                </a:cubicBezTo>
                <a:cubicBezTo>
                  <a:pt x="4568529" y="4338199"/>
                  <a:pt x="4566335" y="4338199"/>
                  <a:pt x="4566335" y="4338199"/>
                </a:cubicBezTo>
                <a:cubicBezTo>
                  <a:pt x="4566335" y="4287408"/>
                  <a:pt x="4566335" y="4234867"/>
                  <a:pt x="4566335" y="4184076"/>
                </a:cubicBezTo>
                <a:cubicBezTo>
                  <a:pt x="4566335" y="4103512"/>
                  <a:pt x="4581697" y="4022948"/>
                  <a:pt x="4564140" y="3945886"/>
                </a:cubicBezTo>
                <a:cubicBezTo>
                  <a:pt x="4544389" y="3849559"/>
                  <a:pt x="4546584" y="3754985"/>
                  <a:pt x="4557557" y="3658657"/>
                </a:cubicBezTo>
                <a:cubicBezTo>
                  <a:pt x="4566335" y="3579845"/>
                  <a:pt x="4561946" y="3501033"/>
                  <a:pt x="4561946" y="3420469"/>
                </a:cubicBezTo>
                <a:cubicBezTo>
                  <a:pt x="4561946" y="3341656"/>
                  <a:pt x="4561946" y="3262843"/>
                  <a:pt x="4559751" y="3184031"/>
                </a:cubicBezTo>
                <a:cubicBezTo>
                  <a:pt x="4559751" y="3177025"/>
                  <a:pt x="4559751" y="3171770"/>
                  <a:pt x="4553167" y="3164765"/>
                </a:cubicBezTo>
                <a:cubicBezTo>
                  <a:pt x="4537805" y="3616625"/>
                  <a:pt x="4493917" y="4064981"/>
                  <a:pt x="4430277" y="4523846"/>
                </a:cubicBezTo>
                <a:cubicBezTo>
                  <a:pt x="4414915" y="4506332"/>
                  <a:pt x="4406137" y="4499326"/>
                  <a:pt x="4392969" y="4483564"/>
                </a:cubicBezTo>
                <a:cubicBezTo>
                  <a:pt x="4392969" y="4509835"/>
                  <a:pt x="4392969" y="4525597"/>
                  <a:pt x="4392969" y="4543111"/>
                </a:cubicBezTo>
                <a:cubicBezTo>
                  <a:pt x="4390775" y="4543111"/>
                  <a:pt x="4388581" y="4543111"/>
                  <a:pt x="4386387" y="4543111"/>
                </a:cubicBezTo>
                <a:cubicBezTo>
                  <a:pt x="4381997" y="4401248"/>
                  <a:pt x="4377609" y="4259385"/>
                  <a:pt x="4373219" y="4119275"/>
                </a:cubicBezTo>
                <a:cubicBezTo>
                  <a:pt x="4327135" y="4229612"/>
                  <a:pt x="4346886" y="4343452"/>
                  <a:pt x="4331524" y="4455542"/>
                </a:cubicBezTo>
                <a:cubicBezTo>
                  <a:pt x="4331524" y="4227860"/>
                  <a:pt x="4331524" y="4000179"/>
                  <a:pt x="4331524" y="3772498"/>
                </a:cubicBezTo>
                <a:cubicBezTo>
                  <a:pt x="4327135" y="3772498"/>
                  <a:pt x="4322746" y="3772498"/>
                  <a:pt x="4316163" y="3770747"/>
                </a:cubicBezTo>
                <a:cubicBezTo>
                  <a:pt x="4309580" y="3821538"/>
                  <a:pt x="4302995" y="3872328"/>
                  <a:pt x="4294218" y="3931875"/>
                </a:cubicBezTo>
                <a:cubicBezTo>
                  <a:pt x="4294218" y="3860069"/>
                  <a:pt x="4294218" y="3798769"/>
                  <a:pt x="4294218" y="3737471"/>
                </a:cubicBezTo>
                <a:cubicBezTo>
                  <a:pt x="4289829" y="3737471"/>
                  <a:pt x="4285440" y="3737471"/>
                  <a:pt x="4283245" y="3737471"/>
                </a:cubicBezTo>
                <a:cubicBezTo>
                  <a:pt x="4270078" y="3949390"/>
                  <a:pt x="4259107" y="4163059"/>
                  <a:pt x="4248134" y="4378481"/>
                </a:cubicBezTo>
                <a:cubicBezTo>
                  <a:pt x="4245939" y="4367972"/>
                  <a:pt x="4243745" y="4360967"/>
                  <a:pt x="4241550" y="4352210"/>
                </a:cubicBezTo>
                <a:cubicBezTo>
                  <a:pt x="4237161" y="4352210"/>
                  <a:pt x="4234966" y="4352210"/>
                  <a:pt x="4232772" y="4352210"/>
                </a:cubicBezTo>
                <a:cubicBezTo>
                  <a:pt x="4230577" y="4378481"/>
                  <a:pt x="4230577" y="4404752"/>
                  <a:pt x="4226189" y="4436277"/>
                </a:cubicBezTo>
                <a:cubicBezTo>
                  <a:pt x="4221801" y="4427519"/>
                  <a:pt x="4219606" y="4424017"/>
                  <a:pt x="4219606" y="4420514"/>
                </a:cubicBezTo>
                <a:cubicBezTo>
                  <a:pt x="4219606" y="4233114"/>
                  <a:pt x="4219606" y="4045716"/>
                  <a:pt x="4219606" y="3858316"/>
                </a:cubicBezTo>
                <a:cubicBezTo>
                  <a:pt x="4219606" y="3846057"/>
                  <a:pt x="4213021" y="3832045"/>
                  <a:pt x="4208633" y="3819787"/>
                </a:cubicBezTo>
                <a:cubicBezTo>
                  <a:pt x="4206439" y="3807527"/>
                  <a:pt x="4199855" y="3797018"/>
                  <a:pt x="4191077" y="3784758"/>
                </a:cubicBezTo>
                <a:cubicBezTo>
                  <a:pt x="4162549" y="3888090"/>
                  <a:pt x="4173521" y="3996677"/>
                  <a:pt x="4155965" y="4101761"/>
                </a:cubicBezTo>
                <a:cubicBezTo>
                  <a:pt x="4155965" y="3966903"/>
                  <a:pt x="4155965" y="3832045"/>
                  <a:pt x="4155965" y="3697188"/>
                </a:cubicBezTo>
                <a:cubicBezTo>
                  <a:pt x="4147187" y="3697188"/>
                  <a:pt x="4140603" y="3697188"/>
                  <a:pt x="4134021" y="3697188"/>
                </a:cubicBezTo>
                <a:cubicBezTo>
                  <a:pt x="4127437" y="3781256"/>
                  <a:pt x="4116464" y="3867074"/>
                  <a:pt x="4112075" y="3952892"/>
                </a:cubicBezTo>
                <a:cubicBezTo>
                  <a:pt x="4109881" y="4038710"/>
                  <a:pt x="4112075" y="4124529"/>
                  <a:pt x="4112075" y="4210347"/>
                </a:cubicBezTo>
                <a:cubicBezTo>
                  <a:pt x="4105492" y="4210347"/>
                  <a:pt x="4098909" y="4210347"/>
                  <a:pt x="4094520" y="4210347"/>
                </a:cubicBezTo>
                <a:cubicBezTo>
                  <a:pt x="4094520" y="3963401"/>
                  <a:pt x="4094520" y="3714702"/>
                  <a:pt x="4094520" y="3467756"/>
                </a:cubicBezTo>
                <a:cubicBezTo>
                  <a:pt x="4087935" y="3467756"/>
                  <a:pt x="4081353" y="3467756"/>
                  <a:pt x="4076964" y="3467756"/>
                </a:cubicBezTo>
                <a:cubicBezTo>
                  <a:pt x="4076964" y="3501033"/>
                  <a:pt x="4076964" y="3532558"/>
                  <a:pt x="4076964" y="3565834"/>
                </a:cubicBezTo>
                <a:cubicBezTo>
                  <a:pt x="4076964" y="3649901"/>
                  <a:pt x="4092326" y="3735719"/>
                  <a:pt x="4070380" y="3816284"/>
                </a:cubicBezTo>
                <a:lnTo>
                  <a:pt x="4053299" y="3920248"/>
                </a:lnTo>
                <a:lnTo>
                  <a:pt x="4053299" y="3946733"/>
                </a:lnTo>
                <a:lnTo>
                  <a:pt x="4051827" y="3946733"/>
                </a:lnTo>
                <a:lnTo>
                  <a:pt x="4050081" y="4037835"/>
                </a:lnTo>
                <a:cubicBezTo>
                  <a:pt x="4051727" y="4111831"/>
                  <a:pt x="4057213" y="4185827"/>
                  <a:pt x="4052824" y="4259385"/>
                </a:cubicBezTo>
                <a:cubicBezTo>
                  <a:pt x="4050629" y="4278651"/>
                  <a:pt x="4055018" y="4297916"/>
                  <a:pt x="4050629" y="4318934"/>
                </a:cubicBezTo>
                <a:cubicBezTo>
                  <a:pt x="4046241" y="4306674"/>
                  <a:pt x="4044047" y="4292662"/>
                  <a:pt x="4041852" y="4278651"/>
                </a:cubicBezTo>
                <a:cubicBezTo>
                  <a:pt x="4033074" y="4220855"/>
                  <a:pt x="4017712" y="4161308"/>
                  <a:pt x="4017712" y="4103512"/>
                </a:cubicBezTo>
                <a:cubicBezTo>
                  <a:pt x="4019906" y="3994926"/>
                  <a:pt x="4030879" y="3888090"/>
                  <a:pt x="4035268" y="3779504"/>
                </a:cubicBezTo>
                <a:cubicBezTo>
                  <a:pt x="4037463" y="3742724"/>
                  <a:pt x="4033075" y="3704194"/>
                  <a:pt x="4030879" y="3667415"/>
                </a:cubicBezTo>
                <a:cubicBezTo>
                  <a:pt x="4030879" y="3663912"/>
                  <a:pt x="4024296" y="3660410"/>
                  <a:pt x="4015518" y="3651652"/>
                </a:cubicBezTo>
                <a:cubicBezTo>
                  <a:pt x="4008935" y="3735719"/>
                  <a:pt x="4004546" y="3812780"/>
                  <a:pt x="3997961" y="3891594"/>
                </a:cubicBezTo>
                <a:cubicBezTo>
                  <a:pt x="3995767" y="3891594"/>
                  <a:pt x="3995767" y="3891594"/>
                  <a:pt x="3993573" y="3891594"/>
                </a:cubicBezTo>
                <a:lnTo>
                  <a:pt x="3984769" y="3810792"/>
                </a:lnTo>
                <a:lnTo>
                  <a:pt x="3980374" y="3958527"/>
                </a:lnTo>
                <a:cubicBezTo>
                  <a:pt x="3975985" y="4063172"/>
                  <a:pt x="3971047" y="4167818"/>
                  <a:pt x="3967755" y="4272027"/>
                </a:cubicBezTo>
                <a:cubicBezTo>
                  <a:pt x="3963367" y="4373607"/>
                  <a:pt x="3961172" y="4476939"/>
                  <a:pt x="3954589" y="4578520"/>
                </a:cubicBezTo>
                <a:cubicBezTo>
                  <a:pt x="3952395" y="4615300"/>
                  <a:pt x="3932643" y="4650327"/>
                  <a:pt x="3930449" y="4685355"/>
                </a:cubicBezTo>
                <a:cubicBezTo>
                  <a:pt x="3928255" y="4769422"/>
                  <a:pt x="3930449" y="4855240"/>
                  <a:pt x="3921672" y="4939307"/>
                </a:cubicBezTo>
                <a:cubicBezTo>
                  <a:pt x="3906310" y="4762416"/>
                  <a:pt x="3934838" y="4585526"/>
                  <a:pt x="3919477" y="4408635"/>
                </a:cubicBezTo>
                <a:cubicBezTo>
                  <a:pt x="3910699" y="4408635"/>
                  <a:pt x="3901921" y="4408635"/>
                  <a:pt x="3893143" y="4408635"/>
                </a:cubicBezTo>
                <a:cubicBezTo>
                  <a:pt x="3886560" y="4539989"/>
                  <a:pt x="3877781" y="4671343"/>
                  <a:pt x="3869004" y="4802699"/>
                </a:cubicBezTo>
                <a:cubicBezTo>
                  <a:pt x="3869004" y="4802699"/>
                  <a:pt x="3866809" y="4802699"/>
                  <a:pt x="3866809" y="4802699"/>
                </a:cubicBezTo>
                <a:cubicBezTo>
                  <a:pt x="3866809" y="4751908"/>
                  <a:pt x="3866809" y="4699367"/>
                  <a:pt x="3866809" y="4648576"/>
                </a:cubicBezTo>
                <a:cubicBezTo>
                  <a:pt x="3866809" y="4568012"/>
                  <a:pt x="3882171" y="4487448"/>
                  <a:pt x="3864615" y="4410386"/>
                </a:cubicBezTo>
                <a:cubicBezTo>
                  <a:pt x="3844864" y="4314059"/>
                  <a:pt x="3847058" y="4219485"/>
                  <a:pt x="3858031" y="4123157"/>
                </a:cubicBezTo>
                <a:cubicBezTo>
                  <a:pt x="3866809" y="4044345"/>
                  <a:pt x="3862420" y="3965532"/>
                  <a:pt x="3862420" y="3884968"/>
                </a:cubicBezTo>
                <a:cubicBezTo>
                  <a:pt x="3862420" y="3806155"/>
                  <a:pt x="3862420" y="3727343"/>
                  <a:pt x="3860227" y="3648530"/>
                </a:cubicBezTo>
                <a:cubicBezTo>
                  <a:pt x="3860227" y="3641525"/>
                  <a:pt x="3860227" y="3636270"/>
                  <a:pt x="3853643" y="3629265"/>
                </a:cubicBezTo>
                <a:cubicBezTo>
                  <a:pt x="3838281" y="4081125"/>
                  <a:pt x="3794392" y="4529481"/>
                  <a:pt x="3730751" y="4988346"/>
                </a:cubicBezTo>
                <a:cubicBezTo>
                  <a:pt x="3715389" y="4970832"/>
                  <a:pt x="3706612" y="4963826"/>
                  <a:pt x="3693444" y="4948064"/>
                </a:cubicBezTo>
                <a:cubicBezTo>
                  <a:pt x="3693444" y="4974334"/>
                  <a:pt x="3693444" y="4990097"/>
                  <a:pt x="3693444" y="5007611"/>
                </a:cubicBezTo>
                <a:cubicBezTo>
                  <a:pt x="3691250" y="5007611"/>
                  <a:pt x="3689056" y="5007611"/>
                  <a:pt x="3686861" y="5007611"/>
                </a:cubicBezTo>
                <a:cubicBezTo>
                  <a:pt x="3682472" y="4865748"/>
                  <a:pt x="3678083" y="4723885"/>
                  <a:pt x="3673695" y="4583775"/>
                </a:cubicBezTo>
                <a:cubicBezTo>
                  <a:pt x="3627609" y="4694112"/>
                  <a:pt x="3647361" y="4807952"/>
                  <a:pt x="3631999" y="4920042"/>
                </a:cubicBezTo>
                <a:cubicBezTo>
                  <a:pt x="3631999" y="4692360"/>
                  <a:pt x="3631999" y="4464679"/>
                  <a:pt x="3631998" y="4236998"/>
                </a:cubicBezTo>
                <a:cubicBezTo>
                  <a:pt x="3627609" y="4236998"/>
                  <a:pt x="3623221" y="4236998"/>
                  <a:pt x="3616638" y="4235247"/>
                </a:cubicBezTo>
                <a:cubicBezTo>
                  <a:pt x="3610055" y="4286038"/>
                  <a:pt x="3603470" y="4336828"/>
                  <a:pt x="3594693" y="4396375"/>
                </a:cubicBezTo>
                <a:cubicBezTo>
                  <a:pt x="3594693" y="4324568"/>
                  <a:pt x="3594693" y="4263269"/>
                  <a:pt x="3594693" y="4201971"/>
                </a:cubicBezTo>
                <a:cubicBezTo>
                  <a:pt x="3590303" y="4201971"/>
                  <a:pt x="3585915" y="4201971"/>
                  <a:pt x="3583721" y="4201971"/>
                </a:cubicBezTo>
                <a:cubicBezTo>
                  <a:pt x="3570553" y="4413890"/>
                  <a:pt x="3559581" y="4627559"/>
                  <a:pt x="3548609" y="4842981"/>
                </a:cubicBezTo>
                <a:cubicBezTo>
                  <a:pt x="3546415" y="4832471"/>
                  <a:pt x="3544219" y="4825467"/>
                  <a:pt x="3542025" y="4816710"/>
                </a:cubicBezTo>
                <a:cubicBezTo>
                  <a:pt x="3537635" y="4816710"/>
                  <a:pt x="3535441" y="4816710"/>
                  <a:pt x="3533247" y="4816710"/>
                </a:cubicBezTo>
                <a:cubicBezTo>
                  <a:pt x="3531053" y="4842981"/>
                  <a:pt x="3531053" y="4869251"/>
                  <a:pt x="3526664" y="4900777"/>
                </a:cubicBezTo>
                <a:cubicBezTo>
                  <a:pt x="3522275" y="4892019"/>
                  <a:pt x="3520081" y="4888516"/>
                  <a:pt x="3520081" y="4885014"/>
                </a:cubicBezTo>
                <a:cubicBezTo>
                  <a:pt x="3520081" y="4697614"/>
                  <a:pt x="3520081" y="4510215"/>
                  <a:pt x="3520081" y="4322816"/>
                </a:cubicBezTo>
                <a:cubicBezTo>
                  <a:pt x="3520081" y="4310557"/>
                  <a:pt x="3513496" y="4296545"/>
                  <a:pt x="3509108" y="4284286"/>
                </a:cubicBezTo>
                <a:cubicBezTo>
                  <a:pt x="3506913" y="4272027"/>
                  <a:pt x="3500329" y="4261518"/>
                  <a:pt x="3491552" y="4249258"/>
                </a:cubicBezTo>
                <a:cubicBezTo>
                  <a:pt x="3463023" y="4352590"/>
                  <a:pt x="3473996" y="4461177"/>
                  <a:pt x="3456441" y="4566260"/>
                </a:cubicBezTo>
                <a:cubicBezTo>
                  <a:pt x="3456441" y="4431403"/>
                  <a:pt x="3456441" y="4296545"/>
                  <a:pt x="3456441" y="4161688"/>
                </a:cubicBezTo>
                <a:cubicBezTo>
                  <a:pt x="3447661" y="4161688"/>
                  <a:pt x="3441079" y="4161688"/>
                  <a:pt x="3434495" y="4161688"/>
                </a:cubicBezTo>
                <a:cubicBezTo>
                  <a:pt x="3427912" y="4245756"/>
                  <a:pt x="3416939" y="4331574"/>
                  <a:pt x="3412550" y="4417392"/>
                </a:cubicBezTo>
                <a:cubicBezTo>
                  <a:pt x="3410355" y="4503210"/>
                  <a:pt x="3412550" y="4589029"/>
                  <a:pt x="3412550" y="4674847"/>
                </a:cubicBezTo>
                <a:cubicBezTo>
                  <a:pt x="3405967" y="4674847"/>
                  <a:pt x="3399384" y="4674847"/>
                  <a:pt x="3394995" y="4674847"/>
                </a:cubicBezTo>
                <a:cubicBezTo>
                  <a:pt x="3394995" y="4427900"/>
                  <a:pt x="3394995" y="4179202"/>
                  <a:pt x="3394995" y="3932256"/>
                </a:cubicBezTo>
                <a:cubicBezTo>
                  <a:pt x="3388411" y="3932256"/>
                  <a:pt x="3381827" y="3932256"/>
                  <a:pt x="3377439" y="3932256"/>
                </a:cubicBezTo>
                <a:cubicBezTo>
                  <a:pt x="3377439" y="3965532"/>
                  <a:pt x="3377439" y="3997058"/>
                  <a:pt x="3377439" y="4030334"/>
                </a:cubicBezTo>
                <a:cubicBezTo>
                  <a:pt x="3377439" y="4114401"/>
                  <a:pt x="3392801" y="4200219"/>
                  <a:pt x="3370855" y="4280784"/>
                </a:cubicBezTo>
                <a:cubicBezTo>
                  <a:pt x="3331354" y="4427900"/>
                  <a:pt x="3362078" y="4576769"/>
                  <a:pt x="3353299" y="4723885"/>
                </a:cubicBezTo>
                <a:cubicBezTo>
                  <a:pt x="3351105" y="4743151"/>
                  <a:pt x="3355493" y="4762416"/>
                  <a:pt x="3351105" y="4783433"/>
                </a:cubicBezTo>
                <a:cubicBezTo>
                  <a:pt x="3346716" y="4771173"/>
                  <a:pt x="3344521" y="4757161"/>
                  <a:pt x="3342327" y="4743151"/>
                </a:cubicBezTo>
                <a:cubicBezTo>
                  <a:pt x="3333549" y="4685355"/>
                  <a:pt x="3318187" y="4625808"/>
                  <a:pt x="3318187" y="4568012"/>
                </a:cubicBezTo>
                <a:cubicBezTo>
                  <a:pt x="3320381" y="4459426"/>
                  <a:pt x="3331354" y="4352590"/>
                  <a:pt x="3335743" y="4244004"/>
                </a:cubicBezTo>
                <a:cubicBezTo>
                  <a:pt x="3337938" y="4207224"/>
                  <a:pt x="3333549" y="4168693"/>
                  <a:pt x="3331354" y="4131915"/>
                </a:cubicBezTo>
                <a:cubicBezTo>
                  <a:pt x="3331354" y="4128411"/>
                  <a:pt x="3324770" y="4124909"/>
                  <a:pt x="3315993" y="4116152"/>
                </a:cubicBezTo>
                <a:cubicBezTo>
                  <a:pt x="3309410" y="4200219"/>
                  <a:pt x="3305021" y="4277280"/>
                  <a:pt x="3298437" y="4356093"/>
                </a:cubicBezTo>
                <a:cubicBezTo>
                  <a:pt x="3296242" y="4356093"/>
                  <a:pt x="3296242" y="4356093"/>
                  <a:pt x="3294048" y="4356093"/>
                </a:cubicBezTo>
                <a:cubicBezTo>
                  <a:pt x="3289659" y="4315810"/>
                  <a:pt x="3285270" y="4275528"/>
                  <a:pt x="3280881" y="4235247"/>
                </a:cubicBezTo>
                <a:lnTo>
                  <a:pt x="3280183" y="4235247"/>
                </a:lnTo>
                <a:lnTo>
                  <a:pt x="3268232" y="4532162"/>
                </a:lnTo>
                <a:cubicBezTo>
                  <a:pt x="3263843" y="4633742"/>
                  <a:pt x="3261649" y="4737074"/>
                  <a:pt x="3255066" y="4838656"/>
                </a:cubicBezTo>
                <a:cubicBezTo>
                  <a:pt x="3252872" y="4875435"/>
                  <a:pt x="3233120" y="4910463"/>
                  <a:pt x="3230926" y="4945490"/>
                </a:cubicBezTo>
                <a:cubicBezTo>
                  <a:pt x="3228731" y="5029557"/>
                  <a:pt x="3230926" y="5115376"/>
                  <a:pt x="3222149" y="5199443"/>
                </a:cubicBezTo>
                <a:cubicBezTo>
                  <a:pt x="3206787" y="5022551"/>
                  <a:pt x="3235315" y="4845661"/>
                  <a:pt x="3219954" y="4668771"/>
                </a:cubicBezTo>
                <a:cubicBezTo>
                  <a:pt x="3211176" y="4668771"/>
                  <a:pt x="3202398" y="4668771"/>
                  <a:pt x="3193620" y="4668771"/>
                </a:cubicBezTo>
                <a:cubicBezTo>
                  <a:pt x="3187037" y="4800125"/>
                  <a:pt x="3178258" y="4931479"/>
                  <a:pt x="3169481" y="5062835"/>
                </a:cubicBezTo>
                <a:cubicBezTo>
                  <a:pt x="3169481" y="5062835"/>
                  <a:pt x="3167286" y="5062835"/>
                  <a:pt x="3167286" y="5062835"/>
                </a:cubicBezTo>
                <a:cubicBezTo>
                  <a:pt x="3167286" y="5012043"/>
                  <a:pt x="3167286" y="4959502"/>
                  <a:pt x="3167286" y="4908712"/>
                </a:cubicBezTo>
                <a:cubicBezTo>
                  <a:pt x="3167286" y="4828147"/>
                  <a:pt x="3182648" y="4747584"/>
                  <a:pt x="3165092" y="4670522"/>
                </a:cubicBezTo>
                <a:cubicBezTo>
                  <a:pt x="3145341" y="4574195"/>
                  <a:pt x="3147535" y="4479621"/>
                  <a:pt x="3158508" y="4383293"/>
                </a:cubicBezTo>
                <a:cubicBezTo>
                  <a:pt x="3167286" y="4304481"/>
                  <a:pt x="3162897" y="4225668"/>
                  <a:pt x="3162897" y="4145104"/>
                </a:cubicBezTo>
                <a:cubicBezTo>
                  <a:pt x="3162897" y="4066291"/>
                  <a:pt x="3162897" y="3987479"/>
                  <a:pt x="3160703" y="3908666"/>
                </a:cubicBezTo>
                <a:cubicBezTo>
                  <a:pt x="3160703" y="3901661"/>
                  <a:pt x="3160703" y="3896406"/>
                  <a:pt x="3154119" y="3889401"/>
                </a:cubicBezTo>
                <a:cubicBezTo>
                  <a:pt x="3138757" y="4341260"/>
                  <a:pt x="3094869" y="4789617"/>
                  <a:pt x="3031228" y="5248481"/>
                </a:cubicBezTo>
                <a:cubicBezTo>
                  <a:pt x="3015866" y="5230967"/>
                  <a:pt x="3007089" y="5223961"/>
                  <a:pt x="2993921" y="5208200"/>
                </a:cubicBezTo>
                <a:cubicBezTo>
                  <a:pt x="2993921" y="5234470"/>
                  <a:pt x="2993921" y="5250233"/>
                  <a:pt x="2993921" y="5267747"/>
                </a:cubicBezTo>
                <a:cubicBezTo>
                  <a:pt x="2991727" y="5267747"/>
                  <a:pt x="2989533" y="5267747"/>
                  <a:pt x="2987338" y="5267747"/>
                </a:cubicBezTo>
                <a:cubicBezTo>
                  <a:pt x="2982949" y="5125884"/>
                  <a:pt x="2978560" y="4984021"/>
                  <a:pt x="2974171" y="4843910"/>
                </a:cubicBezTo>
                <a:cubicBezTo>
                  <a:pt x="2928087" y="4954248"/>
                  <a:pt x="2947838" y="5068088"/>
                  <a:pt x="2932476" y="5180178"/>
                </a:cubicBezTo>
                <a:lnTo>
                  <a:pt x="2932476" y="4930866"/>
                </a:lnTo>
                <a:lnTo>
                  <a:pt x="2931597" y="4934803"/>
                </a:lnTo>
                <a:cubicBezTo>
                  <a:pt x="2926111" y="4952536"/>
                  <a:pt x="2920624" y="4970050"/>
                  <a:pt x="2919527" y="4987563"/>
                </a:cubicBezTo>
                <a:cubicBezTo>
                  <a:pt x="2917332" y="5071630"/>
                  <a:pt x="2919527" y="5157449"/>
                  <a:pt x="2910749" y="5241515"/>
                </a:cubicBezTo>
                <a:cubicBezTo>
                  <a:pt x="2895387" y="5064624"/>
                  <a:pt x="2923916" y="4887734"/>
                  <a:pt x="2908555" y="4710844"/>
                </a:cubicBezTo>
                <a:cubicBezTo>
                  <a:pt x="2899777" y="4710844"/>
                  <a:pt x="2890998" y="4710844"/>
                  <a:pt x="2882221" y="4710844"/>
                </a:cubicBezTo>
                <a:cubicBezTo>
                  <a:pt x="2875637" y="4842197"/>
                  <a:pt x="2866858" y="4973552"/>
                  <a:pt x="2858081" y="5104907"/>
                </a:cubicBezTo>
                <a:cubicBezTo>
                  <a:pt x="2858081" y="5104907"/>
                  <a:pt x="2855887" y="5104907"/>
                  <a:pt x="2855887" y="5104907"/>
                </a:cubicBezTo>
                <a:lnTo>
                  <a:pt x="2855887" y="4978957"/>
                </a:lnTo>
                <a:lnTo>
                  <a:pt x="2849086" y="5103116"/>
                </a:lnTo>
                <a:cubicBezTo>
                  <a:pt x="2846891" y="5092607"/>
                  <a:pt x="2844696" y="5085602"/>
                  <a:pt x="2842502" y="5076845"/>
                </a:cubicBezTo>
                <a:cubicBezTo>
                  <a:pt x="2838112" y="5076845"/>
                  <a:pt x="2835918" y="5076845"/>
                  <a:pt x="2833724" y="5076845"/>
                </a:cubicBezTo>
                <a:cubicBezTo>
                  <a:pt x="2831529" y="5103116"/>
                  <a:pt x="2831529" y="5129387"/>
                  <a:pt x="2827141" y="5160912"/>
                </a:cubicBezTo>
                <a:cubicBezTo>
                  <a:pt x="2822752" y="5152155"/>
                  <a:pt x="2820558" y="5148652"/>
                  <a:pt x="2820558" y="5145149"/>
                </a:cubicBezTo>
                <a:cubicBezTo>
                  <a:pt x="2820558" y="4957750"/>
                  <a:pt x="2820558" y="4770351"/>
                  <a:pt x="2820558" y="4582952"/>
                </a:cubicBezTo>
                <a:cubicBezTo>
                  <a:pt x="2820558" y="4570693"/>
                  <a:pt x="2813973" y="4556681"/>
                  <a:pt x="2809585" y="4544422"/>
                </a:cubicBezTo>
                <a:lnTo>
                  <a:pt x="2805109" y="4535493"/>
                </a:lnTo>
                <a:lnTo>
                  <a:pt x="2799379" y="4608387"/>
                </a:lnTo>
                <a:cubicBezTo>
                  <a:pt x="2778531" y="4834316"/>
                  <a:pt x="2751649" y="5061122"/>
                  <a:pt x="2719829" y="5290554"/>
                </a:cubicBezTo>
                <a:cubicBezTo>
                  <a:pt x="2704467" y="5273040"/>
                  <a:pt x="2695689" y="5266034"/>
                  <a:pt x="2682521" y="5250272"/>
                </a:cubicBezTo>
                <a:cubicBezTo>
                  <a:pt x="2682521" y="5276543"/>
                  <a:pt x="2682521" y="5292305"/>
                  <a:pt x="2682521" y="5309819"/>
                </a:cubicBezTo>
                <a:cubicBezTo>
                  <a:pt x="2680327" y="5309819"/>
                  <a:pt x="2678133" y="5309819"/>
                  <a:pt x="2675939" y="5309819"/>
                </a:cubicBezTo>
                <a:cubicBezTo>
                  <a:pt x="2671550" y="5167956"/>
                  <a:pt x="2667161" y="5026093"/>
                  <a:pt x="2662772" y="4885983"/>
                </a:cubicBezTo>
                <a:lnTo>
                  <a:pt x="2654328" y="4915552"/>
                </a:lnTo>
                <a:lnTo>
                  <a:pt x="2653776" y="4984021"/>
                </a:lnTo>
                <a:cubicBezTo>
                  <a:pt x="2651581" y="5003286"/>
                  <a:pt x="2655970" y="5022551"/>
                  <a:pt x="2651581" y="5043569"/>
                </a:cubicBezTo>
                <a:cubicBezTo>
                  <a:pt x="2647193" y="5031309"/>
                  <a:pt x="2644999" y="5017297"/>
                  <a:pt x="2642804" y="5003286"/>
                </a:cubicBezTo>
                <a:lnTo>
                  <a:pt x="2638192" y="4976997"/>
                </a:lnTo>
                <a:lnTo>
                  <a:pt x="2630403" y="5053459"/>
                </a:lnTo>
                <a:cubicBezTo>
                  <a:pt x="2627660" y="5109723"/>
                  <a:pt x="2628757" y="5166205"/>
                  <a:pt x="2621076" y="5222250"/>
                </a:cubicBezTo>
                <a:lnTo>
                  <a:pt x="2621076" y="4852211"/>
                </a:lnTo>
                <a:lnTo>
                  <a:pt x="2618664" y="4828147"/>
                </a:lnTo>
                <a:lnTo>
                  <a:pt x="2621076" y="4779021"/>
                </a:lnTo>
                <a:lnTo>
                  <a:pt x="2621076" y="4539207"/>
                </a:lnTo>
                <a:cubicBezTo>
                  <a:pt x="2616688" y="4539207"/>
                  <a:pt x="2612298" y="4539207"/>
                  <a:pt x="2605715" y="4537456"/>
                </a:cubicBezTo>
                <a:lnTo>
                  <a:pt x="2603544" y="4553989"/>
                </a:lnTo>
                <a:lnTo>
                  <a:pt x="2598913" y="4616229"/>
                </a:lnTo>
                <a:lnTo>
                  <a:pt x="2595355" y="4616229"/>
                </a:lnTo>
                <a:lnTo>
                  <a:pt x="2583770" y="4698584"/>
                </a:lnTo>
                <a:cubicBezTo>
                  <a:pt x="2583770" y="4662681"/>
                  <a:pt x="2583770" y="4629404"/>
                  <a:pt x="2583770" y="4597441"/>
                </a:cubicBezTo>
                <a:lnTo>
                  <a:pt x="2583770" y="4517523"/>
                </a:lnTo>
                <a:lnTo>
                  <a:pt x="2582316" y="4504179"/>
                </a:lnTo>
                <a:lnTo>
                  <a:pt x="2572798" y="4504179"/>
                </a:lnTo>
                <a:lnTo>
                  <a:pt x="2558833" y="4759134"/>
                </a:lnTo>
                <a:lnTo>
                  <a:pt x="2561607" y="4917468"/>
                </a:lnTo>
                <a:cubicBezTo>
                  <a:pt x="2561607" y="4931479"/>
                  <a:pt x="2552830" y="4945490"/>
                  <a:pt x="2548440" y="4957750"/>
                </a:cubicBezTo>
                <a:lnTo>
                  <a:pt x="2547957" y="4957695"/>
                </a:lnTo>
                <a:lnTo>
                  <a:pt x="2537687" y="5145189"/>
                </a:lnTo>
                <a:cubicBezTo>
                  <a:pt x="2535492" y="5134680"/>
                  <a:pt x="2533297" y="5127675"/>
                  <a:pt x="2531102" y="5118918"/>
                </a:cubicBezTo>
                <a:cubicBezTo>
                  <a:pt x="2526713" y="5118918"/>
                  <a:pt x="2524519" y="5118918"/>
                  <a:pt x="2522324" y="5118918"/>
                </a:cubicBezTo>
                <a:cubicBezTo>
                  <a:pt x="2520130" y="5145189"/>
                  <a:pt x="2520130" y="5171460"/>
                  <a:pt x="2515741" y="5202985"/>
                </a:cubicBezTo>
                <a:cubicBezTo>
                  <a:pt x="2511353" y="5194227"/>
                  <a:pt x="2509158" y="5190725"/>
                  <a:pt x="2509158" y="5187222"/>
                </a:cubicBezTo>
                <a:cubicBezTo>
                  <a:pt x="2509158" y="4999823"/>
                  <a:pt x="2509158" y="4812424"/>
                  <a:pt x="2509158" y="4625024"/>
                </a:cubicBezTo>
                <a:cubicBezTo>
                  <a:pt x="2509158" y="4612766"/>
                  <a:pt x="2502573" y="4598754"/>
                  <a:pt x="2498185" y="4586495"/>
                </a:cubicBezTo>
                <a:cubicBezTo>
                  <a:pt x="2495991" y="4574235"/>
                  <a:pt x="2489407" y="4563726"/>
                  <a:pt x="2480629" y="4551467"/>
                </a:cubicBezTo>
                <a:cubicBezTo>
                  <a:pt x="2452101" y="4654799"/>
                  <a:pt x="2463073" y="4763385"/>
                  <a:pt x="2445518" y="4868469"/>
                </a:cubicBezTo>
                <a:cubicBezTo>
                  <a:pt x="2445518" y="4733611"/>
                  <a:pt x="2445518" y="4598754"/>
                  <a:pt x="2445518" y="4463896"/>
                </a:cubicBezTo>
                <a:cubicBezTo>
                  <a:pt x="2436739" y="4463896"/>
                  <a:pt x="2430156" y="4463896"/>
                  <a:pt x="2423573" y="4463896"/>
                </a:cubicBezTo>
                <a:cubicBezTo>
                  <a:pt x="2416990" y="4547965"/>
                  <a:pt x="2406017" y="4633783"/>
                  <a:pt x="2401628" y="4719600"/>
                </a:cubicBezTo>
                <a:cubicBezTo>
                  <a:pt x="2399433" y="4805418"/>
                  <a:pt x="2401628" y="4891238"/>
                  <a:pt x="2401628" y="4977055"/>
                </a:cubicBezTo>
                <a:cubicBezTo>
                  <a:pt x="2395044" y="4977055"/>
                  <a:pt x="2388461" y="4977055"/>
                  <a:pt x="2384073" y="4977055"/>
                </a:cubicBezTo>
                <a:cubicBezTo>
                  <a:pt x="2384073" y="4730109"/>
                  <a:pt x="2384073" y="4481410"/>
                  <a:pt x="2384073" y="4234465"/>
                </a:cubicBezTo>
                <a:cubicBezTo>
                  <a:pt x="2377488" y="4234465"/>
                  <a:pt x="2370905" y="4234465"/>
                  <a:pt x="2366516" y="4234465"/>
                </a:cubicBezTo>
                <a:cubicBezTo>
                  <a:pt x="2366516" y="4267741"/>
                  <a:pt x="2366516" y="4299266"/>
                  <a:pt x="2366516" y="4332543"/>
                </a:cubicBezTo>
                <a:cubicBezTo>
                  <a:pt x="2366516" y="4416610"/>
                  <a:pt x="2381878" y="4502427"/>
                  <a:pt x="2359933" y="4582992"/>
                </a:cubicBezTo>
                <a:cubicBezTo>
                  <a:pt x="2320431" y="4730109"/>
                  <a:pt x="2351155" y="4878977"/>
                  <a:pt x="2342376" y="5026093"/>
                </a:cubicBezTo>
                <a:cubicBezTo>
                  <a:pt x="2340182" y="5045359"/>
                  <a:pt x="2344570" y="5064624"/>
                  <a:pt x="2340182" y="5085642"/>
                </a:cubicBezTo>
                <a:cubicBezTo>
                  <a:pt x="2335793" y="5073382"/>
                  <a:pt x="2333599" y="5059370"/>
                  <a:pt x="2331405" y="5045359"/>
                </a:cubicBezTo>
                <a:cubicBezTo>
                  <a:pt x="2322627" y="4987563"/>
                  <a:pt x="2307264" y="4928016"/>
                  <a:pt x="2307264" y="4870220"/>
                </a:cubicBezTo>
                <a:cubicBezTo>
                  <a:pt x="2309459" y="4761634"/>
                  <a:pt x="2320431" y="4654799"/>
                  <a:pt x="2324821" y="4546212"/>
                </a:cubicBezTo>
                <a:cubicBezTo>
                  <a:pt x="2327016" y="4509432"/>
                  <a:pt x="2322627" y="4470902"/>
                  <a:pt x="2320431" y="4434124"/>
                </a:cubicBezTo>
                <a:cubicBezTo>
                  <a:pt x="2320431" y="4430620"/>
                  <a:pt x="2313848" y="4427118"/>
                  <a:pt x="2305070" y="4418361"/>
                </a:cubicBezTo>
                <a:cubicBezTo>
                  <a:pt x="2298487" y="4502427"/>
                  <a:pt x="2294099" y="4579489"/>
                  <a:pt x="2287514" y="4658302"/>
                </a:cubicBezTo>
                <a:cubicBezTo>
                  <a:pt x="2285319" y="4658302"/>
                  <a:pt x="2285319" y="4658302"/>
                  <a:pt x="2283125" y="4658302"/>
                </a:cubicBezTo>
                <a:cubicBezTo>
                  <a:pt x="2278737" y="4618020"/>
                  <a:pt x="2274348" y="4577738"/>
                  <a:pt x="2269958" y="4537456"/>
                </a:cubicBezTo>
                <a:cubicBezTo>
                  <a:pt x="2265569" y="4537456"/>
                  <a:pt x="2258986" y="4537456"/>
                  <a:pt x="2254596" y="4537456"/>
                </a:cubicBezTo>
                <a:cubicBezTo>
                  <a:pt x="2252402" y="4593501"/>
                  <a:pt x="2248013" y="4651297"/>
                  <a:pt x="2245819" y="4709091"/>
                </a:cubicBezTo>
                <a:cubicBezTo>
                  <a:pt x="2245819" y="4793158"/>
                  <a:pt x="2250208" y="4877225"/>
                  <a:pt x="2250208" y="4959541"/>
                </a:cubicBezTo>
                <a:cubicBezTo>
                  <a:pt x="2250208" y="4973552"/>
                  <a:pt x="2241431" y="4987563"/>
                  <a:pt x="2237040" y="4999823"/>
                </a:cubicBezTo>
                <a:cubicBezTo>
                  <a:pt x="2232651" y="4999823"/>
                  <a:pt x="2226069" y="4999823"/>
                  <a:pt x="2221680" y="4998072"/>
                </a:cubicBezTo>
                <a:lnTo>
                  <a:pt x="2221680" y="4610115"/>
                </a:lnTo>
                <a:lnTo>
                  <a:pt x="2220001" y="4617453"/>
                </a:lnTo>
                <a:cubicBezTo>
                  <a:pt x="2217806" y="4701519"/>
                  <a:pt x="2220001" y="4787338"/>
                  <a:pt x="2211223" y="4871405"/>
                </a:cubicBezTo>
                <a:cubicBezTo>
                  <a:pt x="2203542" y="4782959"/>
                  <a:pt x="2206833" y="4694514"/>
                  <a:pt x="2210126" y="4606069"/>
                </a:cubicBezTo>
                <a:lnTo>
                  <a:pt x="2212252" y="4526947"/>
                </a:lnTo>
                <a:lnTo>
                  <a:pt x="2208513" y="4526947"/>
                </a:lnTo>
                <a:cubicBezTo>
                  <a:pt x="2208513" y="4551467"/>
                  <a:pt x="2208513" y="4575986"/>
                  <a:pt x="2208513" y="4600506"/>
                </a:cubicBezTo>
                <a:cubicBezTo>
                  <a:pt x="2206318" y="4600506"/>
                  <a:pt x="2204123" y="4600506"/>
                  <a:pt x="2201928" y="4600506"/>
                </a:cubicBezTo>
                <a:cubicBezTo>
                  <a:pt x="2201928" y="4556721"/>
                  <a:pt x="2201928" y="4512936"/>
                  <a:pt x="2201928" y="4469151"/>
                </a:cubicBezTo>
                <a:cubicBezTo>
                  <a:pt x="2204123" y="4469151"/>
                  <a:pt x="2204123" y="4469151"/>
                  <a:pt x="2206318" y="4469151"/>
                </a:cubicBezTo>
                <a:lnTo>
                  <a:pt x="2212709" y="4509954"/>
                </a:lnTo>
                <a:lnTo>
                  <a:pt x="2213692" y="4473400"/>
                </a:lnTo>
                <a:cubicBezTo>
                  <a:pt x="2213967" y="4429178"/>
                  <a:pt x="2212869" y="4384955"/>
                  <a:pt x="2209029" y="4340733"/>
                </a:cubicBezTo>
                <a:cubicBezTo>
                  <a:pt x="2200251" y="4340733"/>
                  <a:pt x="2191473" y="4340733"/>
                  <a:pt x="2182694" y="4340733"/>
                </a:cubicBezTo>
                <a:cubicBezTo>
                  <a:pt x="2176111" y="4472087"/>
                  <a:pt x="2167333" y="4603441"/>
                  <a:pt x="2158555" y="4734796"/>
                </a:cubicBezTo>
                <a:cubicBezTo>
                  <a:pt x="2158555" y="4734796"/>
                  <a:pt x="2156361" y="4734796"/>
                  <a:pt x="2156361" y="4734796"/>
                </a:cubicBezTo>
                <a:cubicBezTo>
                  <a:pt x="2156361" y="4684006"/>
                  <a:pt x="2156361" y="4631464"/>
                  <a:pt x="2156361" y="4580674"/>
                </a:cubicBezTo>
                <a:cubicBezTo>
                  <a:pt x="2156361" y="4500109"/>
                  <a:pt x="2171723" y="4419545"/>
                  <a:pt x="2154167" y="4342484"/>
                </a:cubicBezTo>
                <a:cubicBezTo>
                  <a:pt x="2134416" y="4246157"/>
                  <a:pt x="2136610" y="4151582"/>
                  <a:pt x="2147584" y="4055255"/>
                </a:cubicBezTo>
                <a:cubicBezTo>
                  <a:pt x="2156361" y="3976443"/>
                  <a:pt x="2151972" y="3897630"/>
                  <a:pt x="2151972" y="3817066"/>
                </a:cubicBezTo>
                <a:cubicBezTo>
                  <a:pt x="2151972" y="3738253"/>
                  <a:pt x="2151972" y="3659440"/>
                  <a:pt x="2149778" y="3580628"/>
                </a:cubicBezTo>
                <a:cubicBezTo>
                  <a:pt x="2149778" y="3573623"/>
                  <a:pt x="2149778" y="3568368"/>
                  <a:pt x="2143194" y="3561363"/>
                </a:cubicBezTo>
                <a:cubicBezTo>
                  <a:pt x="2127832" y="4013222"/>
                  <a:pt x="2083943" y="4461578"/>
                  <a:pt x="2020304" y="4920443"/>
                </a:cubicBezTo>
                <a:cubicBezTo>
                  <a:pt x="2004942" y="4902929"/>
                  <a:pt x="1996164" y="4895924"/>
                  <a:pt x="1982996" y="4880161"/>
                </a:cubicBezTo>
                <a:cubicBezTo>
                  <a:pt x="1982996" y="4906432"/>
                  <a:pt x="1982996" y="4922194"/>
                  <a:pt x="1982996" y="4939709"/>
                </a:cubicBezTo>
                <a:cubicBezTo>
                  <a:pt x="1980802" y="4939709"/>
                  <a:pt x="1978607" y="4939709"/>
                  <a:pt x="1976413" y="4939709"/>
                </a:cubicBezTo>
                <a:cubicBezTo>
                  <a:pt x="1972024" y="4797846"/>
                  <a:pt x="1967636" y="4655983"/>
                  <a:pt x="1963246" y="4515872"/>
                </a:cubicBezTo>
                <a:cubicBezTo>
                  <a:pt x="1917162" y="4626210"/>
                  <a:pt x="1936913" y="4740050"/>
                  <a:pt x="1921551" y="4852140"/>
                </a:cubicBezTo>
                <a:cubicBezTo>
                  <a:pt x="1921551" y="4624457"/>
                  <a:pt x="1921551" y="4396777"/>
                  <a:pt x="1921551" y="4169096"/>
                </a:cubicBezTo>
                <a:cubicBezTo>
                  <a:pt x="1917162" y="4169096"/>
                  <a:pt x="1912772" y="4169096"/>
                  <a:pt x="1906190" y="4167345"/>
                </a:cubicBezTo>
                <a:cubicBezTo>
                  <a:pt x="1899607" y="4218135"/>
                  <a:pt x="1893022" y="4268926"/>
                  <a:pt x="1884245" y="4328473"/>
                </a:cubicBezTo>
                <a:cubicBezTo>
                  <a:pt x="1884245" y="4256666"/>
                  <a:pt x="1884245" y="4195367"/>
                  <a:pt x="1884245" y="4134068"/>
                </a:cubicBezTo>
                <a:cubicBezTo>
                  <a:pt x="1879855" y="4134068"/>
                  <a:pt x="1875466" y="4134068"/>
                  <a:pt x="1873272" y="4134068"/>
                </a:cubicBezTo>
                <a:cubicBezTo>
                  <a:pt x="1860104" y="4345988"/>
                  <a:pt x="1849133" y="4559656"/>
                  <a:pt x="1838160" y="4775078"/>
                </a:cubicBezTo>
                <a:cubicBezTo>
                  <a:pt x="1835966" y="4764569"/>
                  <a:pt x="1833771" y="4757564"/>
                  <a:pt x="1831577" y="4748808"/>
                </a:cubicBezTo>
                <a:cubicBezTo>
                  <a:pt x="1827187" y="4748808"/>
                  <a:pt x="1824993" y="4748808"/>
                  <a:pt x="1822798" y="4748808"/>
                </a:cubicBezTo>
                <a:cubicBezTo>
                  <a:pt x="1820604" y="4775078"/>
                  <a:pt x="1820604" y="4801349"/>
                  <a:pt x="1816215" y="4832874"/>
                </a:cubicBezTo>
                <a:cubicBezTo>
                  <a:pt x="1811827" y="4824116"/>
                  <a:pt x="1809633" y="4820614"/>
                  <a:pt x="1809633" y="4817111"/>
                </a:cubicBezTo>
                <a:cubicBezTo>
                  <a:pt x="1809633" y="4629712"/>
                  <a:pt x="1809633" y="4442313"/>
                  <a:pt x="1809633" y="4254914"/>
                </a:cubicBezTo>
                <a:cubicBezTo>
                  <a:pt x="1809633" y="4242655"/>
                  <a:pt x="1803048" y="4228643"/>
                  <a:pt x="1798659" y="4216384"/>
                </a:cubicBezTo>
                <a:cubicBezTo>
                  <a:pt x="1796465" y="4204125"/>
                  <a:pt x="1789881" y="4193616"/>
                  <a:pt x="1781104" y="4181356"/>
                </a:cubicBezTo>
                <a:cubicBezTo>
                  <a:pt x="1752575" y="4284688"/>
                  <a:pt x="1763547" y="4393275"/>
                  <a:pt x="1745992" y="4498358"/>
                </a:cubicBezTo>
                <a:cubicBezTo>
                  <a:pt x="1745992" y="4363500"/>
                  <a:pt x="1745992" y="4228643"/>
                  <a:pt x="1745992" y="4093786"/>
                </a:cubicBezTo>
                <a:cubicBezTo>
                  <a:pt x="1737214" y="4093786"/>
                  <a:pt x="1730630" y="4093786"/>
                  <a:pt x="1724047" y="4093786"/>
                </a:cubicBezTo>
                <a:cubicBezTo>
                  <a:pt x="1717463" y="4177854"/>
                  <a:pt x="1706491" y="4263672"/>
                  <a:pt x="1702101" y="4349490"/>
                </a:cubicBezTo>
                <a:cubicBezTo>
                  <a:pt x="1699907" y="4435308"/>
                  <a:pt x="1702101" y="4521127"/>
                  <a:pt x="1702101" y="4606945"/>
                </a:cubicBezTo>
                <a:cubicBezTo>
                  <a:pt x="1695518" y="4606945"/>
                  <a:pt x="1688935" y="4606945"/>
                  <a:pt x="1684547" y="4606945"/>
                </a:cubicBezTo>
                <a:cubicBezTo>
                  <a:pt x="1684547" y="4359998"/>
                  <a:pt x="1684547" y="4111300"/>
                  <a:pt x="1684547" y="3864354"/>
                </a:cubicBezTo>
                <a:cubicBezTo>
                  <a:pt x="1677962" y="3864354"/>
                  <a:pt x="1671379" y="3864354"/>
                  <a:pt x="1666990" y="3864354"/>
                </a:cubicBezTo>
                <a:cubicBezTo>
                  <a:pt x="1666990" y="3897630"/>
                  <a:pt x="1666990" y="3929156"/>
                  <a:pt x="1666990" y="3962432"/>
                </a:cubicBezTo>
                <a:cubicBezTo>
                  <a:pt x="1666990" y="4046499"/>
                  <a:pt x="1682352" y="4132317"/>
                  <a:pt x="1660407" y="4212881"/>
                </a:cubicBezTo>
                <a:lnTo>
                  <a:pt x="1643326" y="4316846"/>
                </a:lnTo>
                <a:lnTo>
                  <a:pt x="1643326" y="4343331"/>
                </a:lnTo>
                <a:lnTo>
                  <a:pt x="1641854" y="4343331"/>
                </a:lnTo>
                <a:lnTo>
                  <a:pt x="1640108" y="4434433"/>
                </a:lnTo>
                <a:cubicBezTo>
                  <a:pt x="1641753" y="4508429"/>
                  <a:pt x="1647240" y="4582425"/>
                  <a:pt x="1642850" y="4655983"/>
                </a:cubicBezTo>
                <a:cubicBezTo>
                  <a:pt x="1640656" y="4675249"/>
                  <a:pt x="1645045" y="4694514"/>
                  <a:pt x="1640656" y="4715531"/>
                </a:cubicBezTo>
                <a:cubicBezTo>
                  <a:pt x="1636267" y="4703271"/>
                  <a:pt x="1634073" y="4689259"/>
                  <a:pt x="1631879" y="4675249"/>
                </a:cubicBezTo>
                <a:cubicBezTo>
                  <a:pt x="1623101" y="4617453"/>
                  <a:pt x="1607739" y="4557905"/>
                  <a:pt x="1607739" y="4500109"/>
                </a:cubicBezTo>
                <a:cubicBezTo>
                  <a:pt x="1609933" y="4391524"/>
                  <a:pt x="1620905" y="4284688"/>
                  <a:pt x="1625295" y="4176101"/>
                </a:cubicBezTo>
                <a:cubicBezTo>
                  <a:pt x="1627489" y="4139322"/>
                  <a:pt x="1623102" y="4100791"/>
                  <a:pt x="1620905" y="4064013"/>
                </a:cubicBezTo>
                <a:cubicBezTo>
                  <a:pt x="1620905" y="4060509"/>
                  <a:pt x="1614322" y="4057007"/>
                  <a:pt x="1605544" y="4048250"/>
                </a:cubicBezTo>
                <a:cubicBezTo>
                  <a:pt x="1598961" y="4132317"/>
                  <a:pt x="1594573" y="4209378"/>
                  <a:pt x="1587988" y="4288192"/>
                </a:cubicBezTo>
                <a:cubicBezTo>
                  <a:pt x="1585794" y="4288192"/>
                  <a:pt x="1585794" y="4288192"/>
                  <a:pt x="1583599" y="4288192"/>
                </a:cubicBezTo>
                <a:lnTo>
                  <a:pt x="1574795" y="4207389"/>
                </a:lnTo>
                <a:lnTo>
                  <a:pt x="1570400" y="4355124"/>
                </a:lnTo>
                <a:cubicBezTo>
                  <a:pt x="1566012" y="4459770"/>
                  <a:pt x="1561074" y="4564416"/>
                  <a:pt x="1557782" y="4668625"/>
                </a:cubicBezTo>
                <a:cubicBezTo>
                  <a:pt x="1553393" y="4770205"/>
                  <a:pt x="1551199" y="4873537"/>
                  <a:pt x="1544616" y="4975118"/>
                </a:cubicBezTo>
                <a:cubicBezTo>
                  <a:pt x="1542421" y="5011897"/>
                  <a:pt x="1522670" y="5046925"/>
                  <a:pt x="1520476" y="5081952"/>
                </a:cubicBezTo>
                <a:cubicBezTo>
                  <a:pt x="1518281" y="5166019"/>
                  <a:pt x="1520476" y="5251838"/>
                  <a:pt x="1511698" y="5335904"/>
                </a:cubicBezTo>
                <a:cubicBezTo>
                  <a:pt x="1496336" y="5159013"/>
                  <a:pt x="1524864" y="4982123"/>
                  <a:pt x="1509504" y="4805233"/>
                </a:cubicBezTo>
                <a:cubicBezTo>
                  <a:pt x="1500726" y="4805233"/>
                  <a:pt x="1491948" y="4805233"/>
                  <a:pt x="1483170" y="4805233"/>
                </a:cubicBezTo>
                <a:cubicBezTo>
                  <a:pt x="1476587" y="4936587"/>
                  <a:pt x="1467808" y="5067941"/>
                  <a:pt x="1459030" y="5199296"/>
                </a:cubicBezTo>
                <a:cubicBezTo>
                  <a:pt x="1459030" y="5199296"/>
                  <a:pt x="1456836" y="5199296"/>
                  <a:pt x="1456836" y="5199296"/>
                </a:cubicBezTo>
                <a:cubicBezTo>
                  <a:pt x="1456836" y="5148506"/>
                  <a:pt x="1456836" y="5095964"/>
                  <a:pt x="1456836" y="5045174"/>
                </a:cubicBezTo>
                <a:cubicBezTo>
                  <a:pt x="1456836" y="4964609"/>
                  <a:pt x="1472198" y="4884045"/>
                  <a:pt x="1454642" y="4806984"/>
                </a:cubicBezTo>
                <a:cubicBezTo>
                  <a:pt x="1434890" y="4710657"/>
                  <a:pt x="1437085" y="4616082"/>
                  <a:pt x="1448058" y="4519755"/>
                </a:cubicBezTo>
                <a:cubicBezTo>
                  <a:pt x="1456836" y="4440942"/>
                  <a:pt x="1452447" y="4362130"/>
                  <a:pt x="1452447" y="4281566"/>
                </a:cubicBezTo>
                <a:cubicBezTo>
                  <a:pt x="1452447" y="4202753"/>
                  <a:pt x="1452447" y="4123940"/>
                  <a:pt x="1450253" y="4045128"/>
                </a:cubicBezTo>
                <a:cubicBezTo>
                  <a:pt x="1450253" y="4038122"/>
                  <a:pt x="1450253" y="4032868"/>
                  <a:pt x="1443669" y="4025863"/>
                </a:cubicBezTo>
                <a:cubicBezTo>
                  <a:pt x="1428307" y="4477722"/>
                  <a:pt x="1384418" y="4926078"/>
                  <a:pt x="1320778" y="5384943"/>
                </a:cubicBezTo>
                <a:cubicBezTo>
                  <a:pt x="1305416" y="5367429"/>
                  <a:pt x="1296639" y="5360423"/>
                  <a:pt x="1283471" y="5344661"/>
                </a:cubicBezTo>
                <a:cubicBezTo>
                  <a:pt x="1283471" y="5370932"/>
                  <a:pt x="1283471" y="5386694"/>
                  <a:pt x="1283471" y="5404208"/>
                </a:cubicBezTo>
                <a:cubicBezTo>
                  <a:pt x="1281277" y="5404208"/>
                  <a:pt x="1279082" y="5404208"/>
                  <a:pt x="1276888" y="5404208"/>
                </a:cubicBezTo>
                <a:cubicBezTo>
                  <a:pt x="1272498" y="5262345"/>
                  <a:pt x="1268110" y="5120482"/>
                  <a:pt x="1263721" y="4980372"/>
                </a:cubicBezTo>
                <a:cubicBezTo>
                  <a:pt x="1217636" y="5090710"/>
                  <a:pt x="1237388" y="5204549"/>
                  <a:pt x="1222026" y="5316639"/>
                </a:cubicBezTo>
                <a:cubicBezTo>
                  <a:pt x="1222026" y="5088957"/>
                  <a:pt x="1222026" y="4861276"/>
                  <a:pt x="1222025" y="4633596"/>
                </a:cubicBezTo>
                <a:cubicBezTo>
                  <a:pt x="1217636" y="4633596"/>
                  <a:pt x="1213248" y="4633596"/>
                  <a:pt x="1206665" y="4631845"/>
                </a:cubicBezTo>
                <a:cubicBezTo>
                  <a:pt x="1200082" y="4682635"/>
                  <a:pt x="1193497" y="4733426"/>
                  <a:pt x="1184720" y="4792973"/>
                </a:cubicBezTo>
                <a:cubicBezTo>
                  <a:pt x="1184720" y="4721166"/>
                  <a:pt x="1184720" y="4659866"/>
                  <a:pt x="1184720" y="4598568"/>
                </a:cubicBezTo>
                <a:cubicBezTo>
                  <a:pt x="1180330" y="4598568"/>
                  <a:pt x="1175941" y="4598568"/>
                  <a:pt x="1173747" y="4598568"/>
                </a:cubicBezTo>
                <a:cubicBezTo>
                  <a:pt x="1160579" y="4810487"/>
                  <a:pt x="1149608" y="5024156"/>
                  <a:pt x="1138635" y="5239578"/>
                </a:cubicBezTo>
                <a:cubicBezTo>
                  <a:pt x="1136441" y="5229069"/>
                  <a:pt x="1134246" y="5222064"/>
                  <a:pt x="1132052" y="5213307"/>
                </a:cubicBezTo>
                <a:cubicBezTo>
                  <a:pt x="1127662" y="5213307"/>
                  <a:pt x="1125468" y="5213307"/>
                  <a:pt x="1123273" y="5213307"/>
                </a:cubicBezTo>
                <a:cubicBezTo>
                  <a:pt x="1121079" y="5239578"/>
                  <a:pt x="1121079" y="5265849"/>
                  <a:pt x="1116691" y="5297374"/>
                </a:cubicBezTo>
                <a:cubicBezTo>
                  <a:pt x="1112302" y="5288616"/>
                  <a:pt x="1110108" y="5285114"/>
                  <a:pt x="1110108" y="5281611"/>
                </a:cubicBezTo>
                <a:cubicBezTo>
                  <a:pt x="1110108" y="5094212"/>
                  <a:pt x="1110108" y="4906813"/>
                  <a:pt x="1110108" y="4719414"/>
                </a:cubicBezTo>
                <a:cubicBezTo>
                  <a:pt x="1110108" y="4707155"/>
                  <a:pt x="1103523" y="4693143"/>
                  <a:pt x="1099134" y="4680884"/>
                </a:cubicBezTo>
                <a:cubicBezTo>
                  <a:pt x="1096940" y="4668625"/>
                  <a:pt x="1090356" y="4658115"/>
                  <a:pt x="1081579" y="4645856"/>
                </a:cubicBezTo>
                <a:cubicBezTo>
                  <a:pt x="1053050" y="4749188"/>
                  <a:pt x="1064023" y="4857774"/>
                  <a:pt x="1046467" y="4962858"/>
                </a:cubicBezTo>
                <a:cubicBezTo>
                  <a:pt x="1046467" y="4828000"/>
                  <a:pt x="1046467" y="4693143"/>
                  <a:pt x="1046467" y="4558286"/>
                </a:cubicBezTo>
                <a:cubicBezTo>
                  <a:pt x="1037688" y="4558286"/>
                  <a:pt x="1031105" y="4558286"/>
                  <a:pt x="1024522" y="4558286"/>
                </a:cubicBezTo>
                <a:cubicBezTo>
                  <a:pt x="1017938" y="4642354"/>
                  <a:pt x="1006966" y="4728172"/>
                  <a:pt x="1002576" y="4813990"/>
                </a:cubicBezTo>
                <a:cubicBezTo>
                  <a:pt x="1000382" y="4899807"/>
                  <a:pt x="1002576" y="4985627"/>
                  <a:pt x="1002576" y="5071445"/>
                </a:cubicBezTo>
                <a:cubicBezTo>
                  <a:pt x="995993" y="5071445"/>
                  <a:pt x="989411" y="5071445"/>
                  <a:pt x="985022" y="5071445"/>
                </a:cubicBezTo>
                <a:cubicBezTo>
                  <a:pt x="985022" y="4824498"/>
                  <a:pt x="985022" y="4575800"/>
                  <a:pt x="985022" y="4328854"/>
                </a:cubicBezTo>
                <a:cubicBezTo>
                  <a:pt x="978437" y="4328854"/>
                  <a:pt x="971854" y="4328854"/>
                  <a:pt x="967466" y="4328854"/>
                </a:cubicBezTo>
                <a:cubicBezTo>
                  <a:pt x="967466" y="4362130"/>
                  <a:pt x="967466" y="4393655"/>
                  <a:pt x="967466" y="4426932"/>
                </a:cubicBezTo>
                <a:cubicBezTo>
                  <a:pt x="967466" y="4510999"/>
                  <a:pt x="982828" y="4596816"/>
                  <a:pt x="960882" y="4677381"/>
                </a:cubicBezTo>
                <a:cubicBezTo>
                  <a:pt x="921380" y="4824498"/>
                  <a:pt x="952104" y="4973366"/>
                  <a:pt x="943325" y="5120482"/>
                </a:cubicBezTo>
                <a:cubicBezTo>
                  <a:pt x="941131" y="5139748"/>
                  <a:pt x="945520" y="5159013"/>
                  <a:pt x="941131" y="5180031"/>
                </a:cubicBezTo>
                <a:cubicBezTo>
                  <a:pt x="936742" y="5167771"/>
                  <a:pt x="934548" y="5153759"/>
                  <a:pt x="932354" y="5139748"/>
                </a:cubicBezTo>
                <a:cubicBezTo>
                  <a:pt x="923576" y="5081952"/>
                  <a:pt x="908214" y="5022405"/>
                  <a:pt x="908214" y="4964609"/>
                </a:cubicBezTo>
                <a:cubicBezTo>
                  <a:pt x="910408" y="4856023"/>
                  <a:pt x="921380" y="4749188"/>
                  <a:pt x="925770" y="4640601"/>
                </a:cubicBezTo>
                <a:cubicBezTo>
                  <a:pt x="927964" y="4603821"/>
                  <a:pt x="923576" y="4565291"/>
                  <a:pt x="921380" y="4528513"/>
                </a:cubicBezTo>
                <a:cubicBezTo>
                  <a:pt x="921380" y="4525009"/>
                  <a:pt x="914797" y="4521507"/>
                  <a:pt x="906019" y="4512750"/>
                </a:cubicBezTo>
                <a:cubicBezTo>
                  <a:pt x="899436" y="4596816"/>
                  <a:pt x="895048" y="4673878"/>
                  <a:pt x="888463" y="4752691"/>
                </a:cubicBezTo>
                <a:cubicBezTo>
                  <a:pt x="886269" y="4752691"/>
                  <a:pt x="886269" y="4752691"/>
                  <a:pt x="884074" y="4752691"/>
                </a:cubicBezTo>
                <a:cubicBezTo>
                  <a:pt x="879686" y="4712408"/>
                  <a:pt x="875296" y="4672126"/>
                  <a:pt x="870908" y="4631845"/>
                </a:cubicBezTo>
                <a:lnTo>
                  <a:pt x="870210" y="4631845"/>
                </a:lnTo>
                <a:lnTo>
                  <a:pt x="858259" y="4928760"/>
                </a:lnTo>
                <a:cubicBezTo>
                  <a:pt x="853870" y="5030340"/>
                  <a:pt x="851676" y="5133672"/>
                  <a:pt x="845093" y="5235254"/>
                </a:cubicBezTo>
                <a:cubicBezTo>
                  <a:pt x="842898" y="5272033"/>
                  <a:pt x="823147" y="5307060"/>
                  <a:pt x="820953" y="5342088"/>
                </a:cubicBezTo>
                <a:cubicBezTo>
                  <a:pt x="818758" y="5426154"/>
                  <a:pt x="820953" y="5511974"/>
                  <a:pt x="812175" y="5596040"/>
                </a:cubicBezTo>
                <a:cubicBezTo>
                  <a:pt x="796813" y="5419149"/>
                  <a:pt x="825341" y="5242258"/>
                  <a:pt x="809981" y="5065369"/>
                </a:cubicBezTo>
                <a:cubicBezTo>
                  <a:pt x="801203" y="5065369"/>
                  <a:pt x="792425" y="5065369"/>
                  <a:pt x="783646" y="5065369"/>
                </a:cubicBezTo>
                <a:cubicBezTo>
                  <a:pt x="777064" y="5196723"/>
                  <a:pt x="768285" y="5328077"/>
                  <a:pt x="759507" y="5459432"/>
                </a:cubicBezTo>
                <a:cubicBezTo>
                  <a:pt x="759507" y="5459432"/>
                  <a:pt x="757313" y="5459432"/>
                  <a:pt x="757313" y="5459432"/>
                </a:cubicBezTo>
                <a:cubicBezTo>
                  <a:pt x="757313" y="5408641"/>
                  <a:pt x="757313" y="5356100"/>
                  <a:pt x="757313" y="5305309"/>
                </a:cubicBezTo>
                <a:cubicBezTo>
                  <a:pt x="757313" y="5224744"/>
                  <a:pt x="772675" y="5144181"/>
                  <a:pt x="755119" y="5067120"/>
                </a:cubicBezTo>
                <a:cubicBezTo>
                  <a:pt x="735367" y="4970793"/>
                  <a:pt x="737561" y="4876218"/>
                  <a:pt x="748535" y="4779891"/>
                </a:cubicBezTo>
                <a:cubicBezTo>
                  <a:pt x="757313" y="4701078"/>
                  <a:pt x="752923" y="4622265"/>
                  <a:pt x="752923" y="4541702"/>
                </a:cubicBezTo>
                <a:cubicBezTo>
                  <a:pt x="752923" y="4462888"/>
                  <a:pt x="752923" y="4384076"/>
                  <a:pt x="750729" y="4305264"/>
                </a:cubicBezTo>
                <a:cubicBezTo>
                  <a:pt x="750729" y="4298258"/>
                  <a:pt x="750729" y="4293004"/>
                  <a:pt x="744146" y="4285999"/>
                </a:cubicBezTo>
                <a:cubicBezTo>
                  <a:pt x="728784" y="4737858"/>
                  <a:pt x="684895" y="5186214"/>
                  <a:pt x="621255" y="5645078"/>
                </a:cubicBezTo>
                <a:cubicBezTo>
                  <a:pt x="605893" y="5627564"/>
                  <a:pt x="597115" y="5620559"/>
                  <a:pt x="583948" y="5604797"/>
                </a:cubicBezTo>
                <a:cubicBezTo>
                  <a:pt x="583948" y="5631068"/>
                  <a:pt x="583948" y="5646830"/>
                  <a:pt x="583948" y="5664344"/>
                </a:cubicBezTo>
                <a:cubicBezTo>
                  <a:pt x="581753" y="5664344"/>
                  <a:pt x="579559" y="5664344"/>
                  <a:pt x="577365" y="5664344"/>
                </a:cubicBezTo>
                <a:cubicBezTo>
                  <a:pt x="572975" y="5522481"/>
                  <a:pt x="568587" y="5380618"/>
                  <a:pt x="564198" y="5240507"/>
                </a:cubicBezTo>
                <a:cubicBezTo>
                  <a:pt x="518113" y="5350846"/>
                  <a:pt x="537865" y="5464685"/>
                  <a:pt x="522503" y="5576775"/>
                </a:cubicBezTo>
                <a:cubicBezTo>
                  <a:pt x="522503" y="5349093"/>
                  <a:pt x="522503" y="5121412"/>
                  <a:pt x="522502" y="4893732"/>
                </a:cubicBezTo>
                <a:cubicBezTo>
                  <a:pt x="518113" y="4893732"/>
                  <a:pt x="513724" y="4893732"/>
                  <a:pt x="507141" y="4891981"/>
                </a:cubicBezTo>
                <a:cubicBezTo>
                  <a:pt x="500559" y="4942771"/>
                  <a:pt x="493974" y="4993562"/>
                  <a:pt x="485197" y="5053109"/>
                </a:cubicBezTo>
                <a:cubicBezTo>
                  <a:pt x="485197" y="4981301"/>
                  <a:pt x="485197" y="4920002"/>
                  <a:pt x="485197" y="4858704"/>
                </a:cubicBezTo>
                <a:cubicBezTo>
                  <a:pt x="480807" y="4858704"/>
                  <a:pt x="476418" y="4858704"/>
                  <a:pt x="474224" y="4858704"/>
                </a:cubicBezTo>
                <a:cubicBezTo>
                  <a:pt x="461056" y="5070623"/>
                  <a:pt x="450085" y="5284291"/>
                  <a:pt x="439112" y="5499713"/>
                </a:cubicBezTo>
                <a:cubicBezTo>
                  <a:pt x="436918" y="5489205"/>
                  <a:pt x="434723" y="5482199"/>
                  <a:pt x="432529" y="5473443"/>
                </a:cubicBezTo>
                <a:cubicBezTo>
                  <a:pt x="428139" y="5473443"/>
                  <a:pt x="425945" y="5473443"/>
                  <a:pt x="423750" y="5473443"/>
                </a:cubicBezTo>
                <a:cubicBezTo>
                  <a:pt x="421556" y="5499713"/>
                  <a:pt x="421556" y="5525984"/>
                  <a:pt x="417167" y="5557510"/>
                </a:cubicBezTo>
                <a:cubicBezTo>
                  <a:pt x="412779" y="5548752"/>
                  <a:pt x="410584" y="5545250"/>
                  <a:pt x="410584" y="5541746"/>
                </a:cubicBezTo>
                <a:cubicBezTo>
                  <a:pt x="410584" y="5354348"/>
                  <a:pt x="410584" y="5166948"/>
                  <a:pt x="410584" y="4979550"/>
                </a:cubicBezTo>
                <a:cubicBezTo>
                  <a:pt x="410584" y="4967291"/>
                  <a:pt x="404000" y="4953279"/>
                  <a:pt x="399611" y="4941020"/>
                </a:cubicBezTo>
                <a:cubicBezTo>
                  <a:pt x="397417" y="4928760"/>
                  <a:pt x="390834" y="4918251"/>
                  <a:pt x="382056" y="4905991"/>
                </a:cubicBezTo>
                <a:cubicBezTo>
                  <a:pt x="353528" y="5009324"/>
                  <a:pt x="364499" y="5117910"/>
                  <a:pt x="346944" y="5222993"/>
                </a:cubicBezTo>
                <a:cubicBezTo>
                  <a:pt x="346944" y="5088136"/>
                  <a:pt x="346944" y="4953279"/>
                  <a:pt x="346944" y="4818422"/>
                </a:cubicBezTo>
                <a:cubicBezTo>
                  <a:pt x="338165" y="4818422"/>
                  <a:pt x="331582" y="4818422"/>
                  <a:pt x="324999" y="4818422"/>
                </a:cubicBezTo>
                <a:cubicBezTo>
                  <a:pt x="318416" y="4902489"/>
                  <a:pt x="307443" y="4988307"/>
                  <a:pt x="303054" y="5074125"/>
                </a:cubicBezTo>
                <a:cubicBezTo>
                  <a:pt x="300859" y="5159943"/>
                  <a:pt x="303054" y="5245762"/>
                  <a:pt x="303054" y="5331580"/>
                </a:cubicBezTo>
                <a:cubicBezTo>
                  <a:pt x="296470" y="5331580"/>
                  <a:pt x="289887" y="5331580"/>
                  <a:pt x="285499" y="5331580"/>
                </a:cubicBezTo>
                <a:cubicBezTo>
                  <a:pt x="285499" y="5084634"/>
                  <a:pt x="285499" y="4835936"/>
                  <a:pt x="285499" y="4588989"/>
                </a:cubicBezTo>
                <a:cubicBezTo>
                  <a:pt x="278914" y="4588989"/>
                  <a:pt x="272331" y="4588989"/>
                  <a:pt x="267942" y="4588989"/>
                </a:cubicBezTo>
                <a:cubicBezTo>
                  <a:pt x="267942" y="4622265"/>
                  <a:pt x="267942" y="4653791"/>
                  <a:pt x="267942" y="4687067"/>
                </a:cubicBezTo>
                <a:cubicBezTo>
                  <a:pt x="267942" y="4771134"/>
                  <a:pt x="283304" y="4856952"/>
                  <a:pt x="261359" y="4937516"/>
                </a:cubicBezTo>
                <a:cubicBezTo>
                  <a:pt x="221857" y="5084634"/>
                  <a:pt x="252581" y="5233502"/>
                  <a:pt x="243802" y="5380618"/>
                </a:cubicBezTo>
                <a:cubicBezTo>
                  <a:pt x="241608" y="5399884"/>
                  <a:pt x="245997" y="5419149"/>
                  <a:pt x="241608" y="5440166"/>
                </a:cubicBezTo>
                <a:cubicBezTo>
                  <a:pt x="237219" y="5427907"/>
                  <a:pt x="235025" y="5413895"/>
                  <a:pt x="232831" y="5399884"/>
                </a:cubicBezTo>
                <a:cubicBezTo>
                  <a:pt x="224053" y="5342088"/>
                  <a:pt x="208691" y="5282540"/>
                  <a:pt x="208691" y="5224744"/>
                </a:cubicBezTo>
                <a:cubicBezTo>
                  <a:pt x="210885" y="5116159"/>
                  <a:pt x="221857" y="5009324"/>
                  <a:pt x="226248" y="4900737"/>
                </a:cubicBezTo>
                <a:cubicBezTo>
                  <a:pt x="228442" y="4863957"/>
                  <a:pt x="224053" y="4825426"/>
                  <a:pt x="221857" y="4788648"/>
                </a:cubicBezTo>
                <a:cubicBezTo>
                  <a:pt x="221857" y="4785145"/>
                  <a:pt x="215274" y="4781643"/>
                  <a:pt x="206496" y="4772885"/>
                </a:cubicBezTo>
                <a:cubicBezTo>
                  <a:pt x="199913" y="4856952"/>
                  <a:pt x="195525" y="4934014"/>
                  <a:pt x="188940" y="5012827"/>
                </a:cubicBezTo>
                <a:cubicBezTo>
                  <a:pt x="186746" y="5012827"/>
                  <a:pt x="186746" y="5012827"/>
                  <a:pt x="184551" y="5012827"/>
                </a:cubicBezTo>
                <a:cubicBezTo>
                  <a:pt x="180163" y="4972544"/>
                  <a:pt x="175774" y="4932262"/>
                  <a:pt x="171385" y="4891981"/>
                </a:cubicBezTo>
                <a:cubicBezTo>
                  <a:pt x="166995" y="4891981"/>
                  <a:pt x="160411" y="4891981"/>
                  <a:pt x="156023" y="4891981"/>
                </a:cubicBezTo>
                <a:cubicBezTo>
                  <a:pt x="153828" y="4948026"/>
                  <a:pt x="149440" y="5005821"/>
                  <a:pt x="147245" y="5063616"/>
                </a:cubicBezTo>
                <a:cubicBezTo>
                  <a:pt x="147245" y="5147683"/>
                  <a:pt x="151634" y="5231750"/>
                  <a:pt x="151634" y="5314066"/>
                </a:cubicBezTo>
                <a:cubicBezTo>
                  <a:pt x="151634" y="5328077"/>
                  <a:pt x="142857" y="5342088"/>
                  <a:pt x="138466" y="5354348"/>
                </a:cubicBezTo>
                <a:cubicBezTo>
                  <a:pt x="134078" y="5354348"/>
                  <a:pt x="127495" y="5354348"/>
                  <a:pt x="123105" y="5352597"/>
                </a:cubicBezTo>
                <a:cubicBezTo>
                  <a:pt x="123105" y="5194972"/>
                  <a:pt x="123105" y="5039097"/>
                  <a:pt x="123105" y="4881471"/>
                </a:cubicBezTo>
                <a:cubicBezTo>
                  <a:pt x="118717" y="4881471"/>
                  <a:pt x="114328" y="4881471"/>
                  <a:pt x="109939" y="4881471"/>
                </a:cubicBezTo>
                <a:cubicBezTo>
                  <a:pt x="109939" y="4905991"/>
                  <a:pt x="109939" y="4930511"/>
                  <a:pt x="109939" y="4955031"/>
                </a:cubicBezTo>
                <a:cubicBezTo>
                  <a:pt x="107743" y="4955031"/>
                  <a:pt x="105549" y="4955031"/>
                  <a:pt x="103355" y="4955031"/>
                </a:cubicBezTo>
                <a:cubicBezTo>
                  <a:pt x="103355" y="4911246"/>
                  <a:pt x="103355" y="4867461"/>
                  <a:pt x="103355" y="4823675"/>
                </a:cubicBezTo>
                <a:cubicBezTo>
                  <a:pt x="105549" y="4823675"/>
                  <a:pt x="105549" y="4823675"/>
                  <a:pt x="107743" y="4823675"/>
                </a:cubicBezTo>
                <a:cubicBezTo>
                  <a:pt x="109939" y="4837687"/>
                  <a:pt x="112134" y="4851698"/>
                  <a:pt x="114328" y="4865710"/>
                </a:cubicBezTo>
                <a:cubicBezTo>
                  <a:pt x="116522" y="4865710"/>
                  <a:pt x="118717" y="4865710"/>
                  <a:pt x="120911" y="4865710"/>
                </a:cubicBezTo>
                <a:cubicBezTo>
                  <a:pt x="120911" y="4795654"/>
                  <a:pt x="120911" y="4723847"/>
                  <a:pt x="120911" y="4653791"/>
                </a:cubicBezTo>
                <a:cubicBezTo>
                  <a:pt x="120911" y="4653791"/>
                  <a:pt x="118717" y="4653791"/>
                  <a:pt x="118717" y="4653791"/>
                </a:cubicBezTo>
                <a:cubicBezTo>
                  <a:pt x="118717" y="4692322"/>
                  <a:pt x="118717" y="4730852"/>
                  <a:pt x="118717" y="4769383"/>
                </a:cubicBezTo>
                <a:cubicBezTo>
                  <a:pt x="118717" y="4769383"/>
                  <a:pt x="116522" y="4769383"/>
                  <a:pt x="116522" y="4769383"/>
                </a:cubicBezTo>
                <a:cubicBezTo>
                  <a:pt x="96772" y="4215943"/>
                  <a:pt x="74827" y="3662503"/>
                  <a:pt x="55077" y="3109064"/>
                </a:cubicBezTo>
                <a:cubicBezTo>
                  <a:pt x="50688" y="3109064"/>
                  <a:pt x="46298" y="3109064"/>
                  <a:pt x="39715" y="3109064"/>
                </a:cubicBezTo>
                <a:cubicBezTo>
                  <a:pt x="50688" y="3373523"/>
                  <a:pt x="59466" y="3637983"/>
                  <a:pt x="68243" y="3904195"/>
                </a:cubicBezTo>
                <a:cubicBezTo>
                  <a:pt x="66049" y="3904195"/>
                  <a:pt x="63854" y="3904195"/>
                  <a:pt x="59466" y="3904195"/>
                </a:cubicBezTo>
                <a:cubicBezTo>
                  <a:pt x="59466" y="3893687"/>
                  <a:pt x="57271" y="3881427"/>
                  <a:pt x="57271" y="3870919"/>
                </a:cubicBezTo>
                <a:cubicBezTo>
                  <a:pt x="48494" y="3627475"/>
                  <a:pt x="37521" y="3384032"/>
                  <a:pt x="30937" y="3140588"/>
                </a:cubicBezTo>
                <a:cubicBezTo>
                  <a:pt x="22160" y="2855111"/>
                  <a:pt x="17771" y="2567884"/>
                  <a:pt x="13381" y="2282406"/>
                </a:cubicBezTo>
                <a:cubicBezTo>
                  <a:pt x="13381" y="2233367"/>
                  <a:pt x="24354" y="2184329"/>
                  <a:pt x="22160" y="2137042"/>
                </a:cubicBezTo>
                <a:cubicBezTo>
                  <a:pt x="15575" y="1970659"/>
                  <a:pt x="4603" y="1804276"/>
                  <a:pt x="215" y="1637895"/>
                </a:cubicBezTo>
                <a:cubicBezTo>
                  <a:pt x="-1980" y="1578347"/>
                  <a:pt x="13381" y="1517048"/>
                  <a:pt x="15575" y="1457501"/>
                </a:cubicBezTo>
                <a:cubicBezTo>
                  <a:pt x="19965" y="1373434"/>
                  <a:pt x="17771" y="1289367"/>
                  <a:pt x="17771" y="1207051"/>
                </a:cubicBezTo>
                <a:cubicBezTo>
                  <a:pt x="17771" y="1191290"/>
                  <a:pt x="22160" y="1177278"/>
                  <a:pt x="24354" y="1159764"/>
                </a:cubicBezTo>
                <a:cubicBezTo>
                  <a:pt x="37521" y="1270102"/>
                  <a:pt x="50688" y="1378688"/>
                  <a:pt x="63854" y="1485523"/>
                </a:cubicBezTo>
                <a:cubicBezTo>
                  <a:pt x="68243" y="1485523"/>
                  <a:pt x="70438" y="1485523"/>
                  <a:pt x="74827" y="1485523"/>
                </a:cubicBezTo>
                <a:cubicBezTo>
                  <a:pt x="74827" y="1450496"/>
                  <a:pt x="74827" y="1413716"/>
                  <a:pt x="74827" y="1378688"/>
                </a:cubicBezTo>
                <a:cubicBezTo>
                  <a:pt x="77021" y="1378688"/>
                  <a:pt x="79216" y="1376937"/>
                  <a:pt x="81411" y="1376937"/>
                </a:cubicBezTo>
                <a:cubicBezTo>
                  <a:pt x="81411" y="1399705"/>
                  <a:pt x="81411" y="1420722"/>
                  <a:pt x="81411" y="1441738"/>
                </a:cubicBezTo>
                <a:cubicBezTo>
                  <a:pt x="83606" y="1441738"/>
                  <a:pt x="87994" y="1441738"/>
                  <a:pt x="90189" y="1441738"/>
                </a:cubicBezTo>
                <a:cubicBezTo>
                  <a:pt x="96772" y="1399705"/>
                  <a:pt x="105549" y="1355920"/>
                  <a:pt x="109939" y="1312135"/>
                </a:cubicBezTo>
                <a:cubicBezTo>
                  <a:pt x="112134" y="1275356"/>
                  <a:pt x="116522" y="1238577"/>
                  <a:pt x="149440" y="1208802"/>
                </a:cubicBezTo>
                <a:cubicBezTo>
                  <a:pt x="164801" y="1194792"/>
                  <a:pt x="173580" y="1165019"/>
                  <a:pt x="206496" y="1194792"/>
                </a:cubicBezTo>
                <a:cubicBezTo>
                  <a:pt x="206496" y="1194792"/>
                  <a:pt x="208691" y="1194792"/>
                  <a:pt x="210885" y="1194792"/>
                </a:cubicBezTo>
                <a:cubicBezTo>
                  <a:pt x="256970" y="1173775"/>
                  <a:pt x="305248" y="1152759"/>
                  <a:pt x="353528" y="1133494"/>
                </a:cubicBezTo>
                <a:cubicBezTo>
                  <a:pt x="333776" y="1212306"/>
                  <a:pt x="357916" y="1287615"/>
                  <a:pt x="386444" y="1364677"/>
                </a:cubicBezTo>
                <a:cubicBezTo>
                  <a:pt x="390834" y="1364677"/>
                  <a:pt x="395222" y="1364677"/>
                  <a:pt x="399611" y="1362925"/>
                </a:cubicBezTo>
                <a:cubicBezTo>
                  <a:pt x="399611" y="1282362"/>
                  <a:pt x="399611" y="1201797"/>
                  <a:pt x="399611" y="1121233"/>
                </a:cubicBezTo>
                <a:cubicBezTo>
                  <a:pt x="401805" y="1121233"/>
                  <a:pt x="404000" y="1121233"/>
                  <a:pt x="404000" y="1121233"/>
                </a:cubicBezTo>
                <a:cubicBezTo>
                  <a:pt x="412779" y="1187786"/>
                  <a:pt x="423750" y="1254339"/>
                  <a:pt x="432529" y="1320892"/>
                </a:cubicBezTo>
                <a:cubicBezTo>
                  <a:pt x="436918" y="1319141"/>
                  <a:pt x="439112" y="1319141"/>
                  <a:pt x="443502" y="1319141"/>
                </a:cubicBezTo>
                <a:cubicBezTo>
                  <a:pt x="441307" y="1289367"/>
                  <a:pt x="436918" y="1259594"/>
                  <a:pt x="432529" y="1229820"/>
                </a:cubicBezTo>
                <a:cubicBezTo>
                  <a:pt x="430334" y="1201797"/>
                  <a:pt x="408390" y="1173775"/>
                  <a:pt x="445696" y="1151007"/>
                </a:cubicBezTo>
                <a:cubicBezTo>
                  <a:pt x="456668" y="1256091"/>
                  <a:pt x="469835" y="1357671"/>
                  <a:pt x="480808" y="1461004"/>
                </a:cubicBezTo>
                <a:cubicBezTo>
                  <a:pt x="485197" y="1461004"/>
                  <a:pt x="489585" y="1461004"/>
                  <a:pt x="493974" y="1461004"/>
                </a:cubicBezTo>
                <a:cubicBezTo>
                  <a:pt x="498364" y="1439987"/>
                  <a:pt x="504947" y="1418970"/>
                  <a:pt x="504947" y="1396202"/>
                </a:cubicBezTo>
                <a:cubicBezTo>
                  <a:pt x="507141" y="1343660"/>
                  <a:pt x="504947" y="1291118"/>
                  <a:pt x="507141" y="1238577"/>
                </a:cubicBezTo>
                <a:cubicBezTo>
                  <a:pt x="507141" y="1221063"/>
                  <a:pt x="513724" y="1201797"/>
                  <a:pt x="524697" y="1184283"/>
                </a:cubicBezTo>
                <a:cubicBezTo>
                  <a:pt x="533476" y="1222814"/>
                  <a:pt x="542253" y="1261345"/>
                  <a:pt x="553225" y="1306880"/>
                </a:cubicBezTo>
                <a:cubicBezTo>
                  <a:pt x="562004" y="1294622"/>
                  <a:pt x="568587" y="1287615"/>
                  <a:pt x="579559" y="1271853"/>
                </a:cubicBezTo>
                <a:cubicBezTo>
                  <a:pt x="588338" y="1292870"/>
                  <a:pt x="597115" y="1306880"/>
                  <a:pt x="601504" y="1322643"/>
                </a:cubicBezTo>
                <a:cubicBezTo>
                  <a:pt x="608088" y="1369931"/>
                  <a:pt x="614671" y="1418970"/>
                  <a:pt x="621256" y="1466257"/>
                </a:cubicBezTo>
                <a:cubicBezTo>
                  <a:pt x="625644" y="1466257"/>
                  <a:pt x="630033" y="1468008"/>
                  <a:pt x="634422" y="1468008"/>
                </a:cubicBezTo>
                <a:cubicBezTo>
                  <a:pt x="638810" y="1413716"/>
                  <a:pt x="643199" y="1361174"/>
                  <a:pt x="647588" y="1308633"/>
                </a:cubicBezTo>
                <a:cubicBezTo>
                  <a:pt x="649783" y="1306880"/>
                  <a:pt x="654172" y="1306880"/>
                  <a:pt x="656366" y="1306880"/>
                </a:cubicBezTo>
                <a:cubicBezTo>
                  <a:pt x="656366" y="1343660"/>
                  <a:pt x="656366" y="1382191"/>
                  <a:pt x="656366" y="1424225"/>
                </a:cubicBezTo>
                <a:cubicBezTo>
                  <a:pt x="668436" y="1418533"/>
                  <a:pt x="678037" y="1412622"/>
                  <a:pt x="685477" y="1406437"/>
                </a:cubicBezTo>
                <a:lnTo>
                  <a:pt x="700185" y="1388744"/>
                </a:lnTo>
                <a:lnTo>
                  <a:pt x="699738" y="1377759"/>
                </a:lnTo>
                <a:lnTo>
                  <a:pt x="702253" y="1340163"/>
                </a:lnTo>
                <a:lnTo>
                  <a:pt x="698885" y="1310384"/>
                </a:lnTo>
                <a:cubicBezTo>
                  <a:pt x="699159" y="1299876"/>
                  <a:pt x="700256" y="1289367"/>
                  <a:pt x="700256" y="1278859"/>
                </a:cubicBezTo>
                <a:cubicBezTo>
                  <a:pt x="700256" y="1257842"/>
                  <a:pt x="698062" y="1236826"/>
                  <a:pt x="700256" y="1215808"/>
                </a:cubicBezTo>
                <a:lnTo>
                  <a:pt x="715922" y="1159545"/>
                </a:lnTo>
                <a:lnTo>
                  <a:pt x="717842" y="1071484"/>
                </a:lnTo>
                <a:cubicBezTo>
                  <a:pt x="717842" y="1029669"/>
                  <a:pt x="717294" y="988074"/>
                  <a:pt x="717294" y="946915"/>
                </a:cubicBezTo>
                <a:cubicBezTo>
                  <a:pt x="717294" y="931154"/>
                  <a:pt x="721683" y="917142"/>
                  <a:pt x="723877" y="899628"/>
                </a:cubicBezTo>
                <a:lnTo>
                  <a:pt x="759809" y="1195949"/>
                </a:lnTo>
                <a:lnTo>
                  <a:pt x="763896" y="1172024"/>
                </a:lnTo>
                <a:cubicBezTo>
                  <a:pt x="766090" y="1172024"/>
                  <a:pt x="770481" y="1172024"/>
                  <a:pt x="772675" y="1172024"/>
                </a:cubicBezTo>
                <a:lnTo>
                  <a:pt x="774350" y="1189402"/>
                </a:lnTo>
                <a:lnTo>
                  <a:pt x="774350" y="1118552"/>
                </a:lnTo>
                <a:cubicBezTo>
                  <a:pt x="776544" y="1118552"/>
                  <a:pt x="778739" y="1116801"/>
                  <a:pt x="780934" y="1116801"/>
                </a:cubicBezTo>
                <a:cubicBezTo>
                  <a:pt x="780934" y="1139569"/>
                  <a:pt x="780934" y="1160586"/>
                  <a:pt x="780934" y="1181602"/>
                </a:cubicBezTo>
                <a:cubicBezTo>
                  <a:pt x="783129" y="1181602"/>
                  <a:pt x="787517" y="1181602"/>
                  <a:pt x="789712" y="1181602"/>
                </a:cubicBezTo>
                <a:cubicBezTo>
                  <a:pt x="796295" y="1139569"/>
                  <a:pt x="805072" y="1095784"/>
                  <a:pt x="809462" y="1051999"/>
                </a:cubicBezTo>
                <a:cubicBezTo>
                  <a:pt x="811657" y="1015221"/>
                  <a:pt x="816045" y="978441"/>
                  <a:pt x="848963" y="948666"/>
                </a:cubicBezTo>
                <a:cubicBezTo>
                  <a:pt x="864324" y="934656"/>
                  <a:pt x="873103" y="904883"/>
                  <a:pt x="906019" y="934656"/>
                </a:cubicBezTo>
                <a:cubicBezTo>
                  <a:pt x="906019" y="934656"/>
                  <a:pt x="908214" y="934656"/>
                  <a:pt x="910409" y="934656"/>
                </a:cubicBezTo>
                <a:cubicBezTo>
                  <a:pt x="956493" y="913639"/>
                  <a:pt x="1004772" y="892623"/>
                  <a:pt x="1053051" y="873358"/>
                </a:cubicBezTo>
                <a:cubicBezTo>
                  <a:pt x="1033299" y="952170"/>
                  <a:pt x="1057440" y="1027479"/>
                  <a:pt x="1085967" y="1104541"/>
                </a:cubicBezTo>
                <a:cubicBezTo>
                  <a:pt x="1090357" y="1104541"/>
                  <a:pt x="1094746" y="1104541"/>
                  <a:pt x="1099134" y="1102789"/>
                </a:cubicBezTo>
                <a:cubicBezTo>
                  <a:pt x="1099134" y="1022226"/>
                  <a:pt x="1099134" y="941661"/>
                  <a:pt x="1099134" y="861097"/>
                </a:cubicBezTo>
                <a:cubicBezTo>
                  <a:pt x="1101329" y="861097"/>
                  <a:pt x="1103523" y="861097"/>
                  <a:pt x="1103523" y="861097"/>
                </a:cubicBezTo>
                <a:cubicBezTo>
                  <a:pt x="1112302" y="927650"/>
                  <a:pt x="1123273" y="994203"/>
                  <a:pt x="1132052" y="1060756"/>
                </a:cubicBezTo>
                <a:cubicBezTo>
                  <a:pt x="1136441" y="1059005"/>
                  <a:pt x="1138635" y="1059005"/>
                  <a:pt x="1143025" y="1059005"/>
                </a:cubicBezTo>
                <a:cubicBezTo>
                  <a:pt x="1140831" y="1029231"/>
                  <a:pt x="1136441" y="999457"/>
                  <a:pt x="1132052" y="969684"/>
                </a:cubicBezTo>
                <a:cubicBezTo>
                  <a:pt x="1129857" y="941661"/>
                  <a:pt x="1107913" y="913639"/>
                  <a:pt x="1145219" y="890871"/>
                </a:cubicBezTo>
                <a:cubicBezTo>
                  <a:pt x="1156191" y="995955"/>
                  <a:pt x="1169359" y="1097535"/>
                  <a:pt x="1180331" y="1200868"/>
                </a:cubicBezTo>
                <a:cubicBezTo>
                  <a:pt x="1184720" y="1200868"/>
                  <a:pt x="1189108" y="1200868"/>
                  <a:pt x="1193497" y="1200868"/>
                </a:cubicBezTo>
                <a:cubicBezTo>
                  <a:pt x="1197887" y="1179851"/>
                  <a:pt x="1204470" y="1158834"/>
                  <a:pt x="1204470" y="1136066"/>
                </a:cubicBezTo>
                <a:cubicBezTo>
                  <a:pt x="1206665" y="1083524"/>
                  <a:pt x="1204470" y="1030982"/>
                  <a:pt x="1206665" y="978441"/>
                </a:cubicBezTo>
                <a:cubicBezTo>
                  <a:pt x="1206665" y="960927"/>
                  <a:pt x="1213248" y="941661"/>
                  <a:pt x="1224220" y="924147"/>
                </a:cubicBezTo>
                <a:cubicBezTo>
                  <a:pt x="1232999" y="962678"/>
                  <a:pt x="1241776" y="1001209"/>
                  <a:pt x="1252748" y="1046744"/>
                </a:cubicBezTo>
                <a:cubicBezTo>
                  <a:pt x="1261527" y="1034486"/>
                  <a:pt x="1268110" y="1027479"/>
                  <a:pt x="1279082" y="1011717"/>
                </a:cubicBezTo>
                <a:cubicBezTo>
                  <a:pt x="1287861" y="1032734"/>
                  <a:pt x="1296639" y="1046744"/>
                  <a:pt x="1301027" y="1062507"/>
                </a:cubicBezTo>
                <a:cubicBezTo>
                  <a:pt x="1307611" y="1109795"/>
                  <a:pt x="1314194" y="1158834"/>
                  <a:pt x="1320779" y="1206121"/>
                </a:cubicBezTo>
                <a:cubicBezTo>
                  <a:pt x="1325167" y="1206121"/>
                  <a:pt x="1329556" y="1207872"/>
                  <a:pt x="1333945" y="1207872"/>
                </a:cubicBezTo>
                <a:cubicBezTo>
                  <a:pt x="1338333" y="1153580"/>
                  <a:pt x="1342722" y="1101038"/>
                  <a:pt x="1347111" y="1048497"/>
                </a:cubicBezTo>
                <a:cubicBezTo>
                  <a:pt x="1349307" y="1046744"/>
                  <a:pt x="1353695" y="1046744"/>
                  <a:pt x="1355890" y="1046744"/>
                </a:cubicBezTo>
                <a:cubicBezTo>
                  <a:pt x="1355890" y="1083524"/>
                  <a:pt x="1355890" y="1122055"/>
                  <a:pt x="1355890" y="1164089"/>
                </a:cubicBezTo>
                <a:cubicBezTo>
                  <a:pt x="1404168" y="1141320"/>
                  <a:pt x="1412947" y="1115049"/>
                  <a:pt x="1401974" y="1081773"/>
                </a:cubicBezTo>
                <a:cubicBezTo>
                  <a:pt x="1395390" y="1060756"/>
                  <a:pt x="1399779" y="1039739"/>
                  <a:pt x="1399779" y="1018723"/>
                </a:cubicBezTo>
                <a:cubicBezTo>
                  <a:pt x="1399779" y="997706"/>
                  <a:pt x="1397585" y="976690"/>
                  <a:pt x="1399779" y="955672"/>
                </a:cubicBezTo>
                <a:lnTo>
                  <a:pt x="1400834" y="951886"/>
                </a:lnTo>
                <a:lnTo>
                  <a:pt x="1399263" y="913259"/>
                </a:lnTo>
                <a:cubicBezTo>
                  <a:pt x="1397068" y="853711"/>
                  <a:pt x="1412429" y="792412"/>
                  <a:pt x="1414623" y="732865"/>
                </a:cubicBezTo>
                <a:cubicBezTo>
                  <a:pt x="1419013" y="648798"/>
                  <a:pt x="1416819" y="564731"/>
                  <a:pt x="1416819" y="482416"/>
                </a:cubicBezTo>
                <a:cubicBezTo>
                  <a:pt x="1416819" y="466654"/>
                  <a:pt x="1421208" y="452642"/>
                  <a:pt x="1423402" y="435129"/>
                </a:cubicBezTo>
                <a:cubicBezTo>
                  <a:pt x="1436569" y="545466"/>
                  <a:pt x="1449736" y="654053"/>
                  <a:pt x="1462902" y="760887"/>
                </a:cubicBezTo>
                <a:cubicBezTo>
                  <a:pt x="1467291" y="760887"/>
                  <a:pt x="1469486" y="760887"/>
                  <a:pt x="1473875" y="760887"/>
                </a:cubicBezTo>
                <a:cubicBezTo>
                  <a:pt x="1473875" y="725860"/>
                  <a:pt x="1473875" y="689080"/>
                  <a:pt x="1473875" y="654053"/>
                </a:cubicBezTo>
                <a:cubicBezTo>
                  <a:pt x="1476069" y="654053"/>
                  <a:pt x="1478264" y="652301"/>
                  <a:pt x="1480459" y="652301"/>
                </a:cubicBezTo>
                <a:cubicBezTo>
                  <a:pt x="1480459" y="675069"/>
                  <a:pt x="1480459" y="696086"/>
                  <a:pt x="1480459" y="717102"/>
                </a:cubicBezTo>
                <a:cubicBezTo>
                  <a:pt x="1482654" y="717102"/>
                  <a:pt x="1487042" y="717102"/>
                  <a:pt x="1489237" y="717102"/>
                </a:cubicBezTo>
                <a:cubicBezTo>
                  <a:pt x="1495820" y="675069"/>
                  <a:pt x="1504597" y="631284"/>
                  <a:pt x="1508987" y="587499"/>
                </a:cubicBezTo>
                <a:cubicBezTo>
                  <a:pt x="1511182" y="550721"/>
                  <a:pt x="1515570" y="513941"/>
                  <a:pt x="1548488" y="484167"/>
                </a:cubicBezTo>
                <a:cubicBezTo>
                  <a:pt x="1563849" y="470156"/>
                  <a:pt x="1572628" y="440383"/>
                  <a:pt x="1605544" y="470156"/>
                </a:cubicBezTo>
                <a:cubicBezTo>
                  <a:pt x="1605544" y="470156"/>
                  <a:pt x="1607739" y="470156"/>
                  <a:pt x="1609934" y="470156"/>
                </a:cubicBezTo>
                <a:cubicBezTo>
                  <a:pt x="1656018" y="449139"/>
                  <a:pt x="1704297" y="428123"/>
                  <a:pt x="1752576" y="408858"/>
                </a:cubicBezTo>
                <a:cubicBezTo>
                  <a:pt x="1732824" y="487670"/>
                  <a:pt x="1756965" y="562980"/>
                  <a:pt x="1785492" y="640041"/>
                </a:cubicBezTo>
                <a:cubicBezTo>
                  <a:pt x="1789882" y="640041"/>
                  <a:pt x="1794271" y="640041"/>
                  <a:pt x="1798659" y="638290"/>
                </a:cubicBezTo>
                <a:cubicBezTo>
                  <a:pt x="1798659" y="557726"/>
                  <a:pt x="1798659" y="477162"/>
                  <a:pt x="1798659" y="396598"/>
                </a:cubicBezTo>
                <a:cubicBezTo>
                  <a:pt x="1800853" y="396598"/>
                  <a:pt x="1803048" y="396598"/>
                  <a:pt x="1803048" y="396598"/>
                </a:cubicBezTo>
                <a:cubicBezTo>
                  <a:pt x="1811827" y="463150"/>
                  <a:pt x="1822798" y="529703"/>
                  <a:pt x="1831577" y="596257"/>
                </a:cubicBezTo>
                <a:cubicBezTo>
                  <a:pt x="1835966" y="594505"/>
                  <a:pt x="1838160" y="594505"/>
                  <a:pt x="1842550" y="594505"/>
                </a:cubicBezTo>
                <a:cubicBezTo>
                  <a:pt x="1840356" y="564731"/>
                  <a:pt x="1835966" y="534958"/>
                  <a:pt x="1831577" y="505184"/>
                </a:cubicBezTo>
                <a:cubicBezTo>
                  <a:pt x="1829382" y="477162"/>
                  <a:pt x="1807438" y="449139"/>
                  <a:pt x="1844744" y="426371"/>
                </a:cubicBezTo>
                <a:cubicBezTo>
                  <a:pt x="1855716" y="531455"/>
                  <a:pt x="1868883" y="633035"/>
                  <a:pt x="1879856" y="736368"/>
                </a:cubicBezTo>
                <a:cubicBezTo>
                  <a:pt x="1884245" y="736368"/>
                  <a:pt x="1888633" y="736368"/>
                  <a:pt x="1893022" y="736368"/>
                </a:cubicBezTo>
                <a:cubicBezTo>
                  <a:pt x="1897412" y="715351"/>
                  <a:pt x="1903995" y="694335"/>
                  <a:pt x="1903995" y="671566"/>
                </a:cubicBezTo>
                <a:cubicBezTo>
                  <a:pt x="1906190" y="619025"/>
                  <a:pt x="1903995" y="566482"/>
                  <a:pt x="1906190" y="513941"/>
                </a:cubicBezTo>
                <a:cubicBezTo>
                  <a:pt x="1906190" y="496427"/>
                  <a:pt x="1912772" y="477162"/>
                  <a:pt x="1923745" y="459647"/>
                </a:cubicBezTo>
                <a:cubicBezTo>
                  <a:pt x="1932524" y="498178"/>
                  <a:pt x="1941301" y="536709"/>
                  <a:pt x="1952273" y="582245"/>
                </a:cubicBezTo>
                <a:cubicBezTo>
                  <a:pt x="1961052" y="569986"/>
                  <a:pt x="1967635" y="562980"/>
                  <a:pt x="1978607" y="547217"/>
                </a:cubicBezTo>
                <a:cubicBezTo>
                  <a:pt x="1987386" y="568234"/>
                  <a:pt x="1996164" y="582245"/>
                  <a:pt x="2000552" y="598008"/>
                </a:cubicBezTo>
                <a:cubicBezTo>
                  <a:pt x="2007136" y="645295"/>
                  <a:pt x="2013719" y="694335"/>
                  <a:pt x="2020304" y="741622"/>
                </a:cubicBezTo>
                <a:cubicBezTo>
                  <a:pt x="2024692" y="741622"/>
                  <a:pt x="2029081" y="743373"/>
                  <a:pt x="2033470" y="743373"/>
                </a:cubicBezTo>
                <a:cubicBezTo>
                  <a:pt x="2037858" y="689080"/>
                  <a:pt x="2042247" y="636539"/>
                  <a:pt x="2046636" y="583997"/>
                </a:cubicBezTo>
                <a:cubicBezTo>
                  <a:pt x="2048832" y="582245"/>
                  <a:pt x="2053220" y="582245"/>
                  <a:pt x="2055415" y="582245"/>
                </a:cubicBezTo>
                <a:cubicBezTo>
                  <a:pt x="2055415" y="619025"/>
                  <a:pt x="2055415" y="657555"/>
                  <a:pt x="2055415" y="699589"/>
                </a:cubicBezTo>
                <a:cubicBezTo>
                  <a:pt x="2103693" y="676821"/>
                  <a:pt x="2112472" y="650549"/>
                  <a:pt x="2101499" y="617274"/>
                </a:cubicBezTo>
                <a:cubicBezTo>
                  <a:pt x="2094915" y="596257"/>
                  <a:pt x="2099304" y="575239"/>
                  <a:pt x="2099304" y="554223"/>
                </a:cubicBezTo>
                <a:cubicBezTo>
                  <a:pt x="2099304" y="533207"/>
                  <a:pt x="2097110" y="512190"/>
                  <a:pt x="2099304" y="491172"/>
                </a:cubicBezTo>
                <a:cubicBezTo>
                  <a:pt x="2101499" y="470156"/>
                  <a:pt x="2108082" y="449139"/>
                  <a:pt x="2116861" y="428123"/>
                </a:cubicBezTo>
                <a:cubicBezTo>
                  <a:pt x="2127832" y="449139"/>
                  <a:pt x="2108082" y="480665"/>
                  <a:pt x="2156361" y="485919"/>
                </a:cubicBezTo>
                <a:cubicBezTo>
                  <a:pt x="2158555" y="473659"/>
                  <a:pt x="2160750" y="459647"/>
                  <a:pt x="2162944" y="447388"/>
                </a:cubicBezTo>
                <a:cubicBezTo>
                  <a:pt x="2165138" y="447388"/>
                  <a:pt x="2169529" y="447388"/>
                  <a:pt x="2171723" y="447388"/>
                </a:cubicBezTo>
                <a:cubicBezTo>
                  <a:pt x="2176111" y="492925"/>
                  <a:pt x="2180500" y="538461"/>
                  <a:pt x="2184889" y="583997"/>
                </a:cubicBezTo>
                <a:cubicBezTo>
                  <a:pt x="2193667" y="664560"/>
                  <a:pt x="2204640" y="745125"/>
                  <a:pt x="2209029" y="825688"/>
                </a:cubicBezTo>
                <a:cubicBezTo>
                  <a:pt x="2210126" y="849333"/>
                  <a:pt x="2213417" y="872101"/>
                  <a:pt x="2219178" y="894431"/>
                </a:cubicBezTo>
                <a:lnTo>
                  <a:pt x="2219896" y="896334"/>
                </a:lnTo>
                <a:lnTo>
                  <a:pt x="2228263" y="877812"/>
                </a:lnTo>
                <a:cubicBezTo>
                  <a:pt x="2233338" y="869602"/>
                  <a:pt x="2239784" y="861721"/>
                  <a:pt x="2248013" y="854277"/>
                </a:cubicBezTo>
                <a:cubicBezTo>
                  <a:pt x="2263375" y="840267"/>
                  <a:pt x="2272153" y="810494"/>
                  <a:pt x="2305070" y="840267"/>
                </a:cubicBezTo>
                <a:cubicBezTo>
                  <a:pt x="2305070" y="840267"/>
                  <a:pt x="2307264" y="840267"/>
                  <a:pt x="2309459" y="840267"/>
                </a:cubicBezTo>
                <a:lnTo>
                  <a:pt x="2430856" y="788098"/>
                </a:lnTo>
                <a:lnTo>
                  <a:pt x="2434327" y="763167"/>
                </a:lnTo>
                <a:lnTo>
                  <a:pt x="2437029" y="785446"/>
                </a:lnTo>
                <a:lnTo>
                  <a:pt x="2452101" y="778969"/>
                </a:lnTo>
                <a:cubicBezTo>
                  <a:pt x="2437288" y="838078"/>
                  <a:pt x="2447163" y="895216"/>
                  <a:pt x="2465063" y="952602"/>
                </a:cubicBezTo>
                <a:lnTo>
                  <a:pt x="2484800" y="1009520"/>
                </a:lnTo>
                <a:lnTo>
                  <a:pt x="2484800" y="982091"/>
                </a:lnTo>
                <a:cubicBezTo>
                  <a:pt x="2486994" y="982091"/>
                  <a:pt x="2489189" y="980339"/>
                  <a:pt x="2491384" y="980339"/>
                </a:cubicBezTo>
                <a:lnTo>
                  <a:pt x="2491384" y="1009305"/>
                </a:lnTo>
                <a:lnTo>
                  <a:pt x="2498185" y="1008400"/>
                </a:lnTo>
                <a:cubicBezTo>
                  <a:pt x="2498185" y="927837"/>
                  <a:pt x="2498185" y="847272"/>
                  <a:pt x="2498185" y="766708"/>
                </a:cubicBezTo>
                <a:cubicBezTo>
                  <a:pt x="2500379" y="766708"/>
                  <a:pt x="2502573" y="766708"/>
                  <a:pt x="2502573" y="766708"/>
                </a:cubicBezTo>
                <a:lnTo>
                  <a:pt x="2521934" y="902202"/>
                </a:lnTo>
                <a:lnTo>
                  <a:pt x="2528142" y="861245"/>
                </a:lnTo>
                <a:lnTo>
                  <a:pt x="2528281" y="860937"/>
                </a:lnTo>
                <a:lnTo>
                  <a:pt x="2526988" y="854360"/>
                </a:lnTo>
                <a:cubicBezTo>
                  <a:pt x="2521639" y="833590"/>
                  <a:pt x="2516290" y="813558"/>
                  <a:pt x="2544270" y="796482"/>
                </a:cubicBezTo>
                <a:lnTo>
                  <a:pt x="2547639" y="826234"/>
                </a:lnTo>
                <a:lnTo>
                  <a:pt x="2559413" y="812205"/>
                </a:lnTo>
                <a:cubicBezTo>
                  <a:pt x="2574774" y="798194"/>
                  <a:pt x="2583553" y="768421"/>
                  <a:pt x="2616470" y="798194"/>
                </a:cubicBezTo>
                <a:cubicBezTo>
                  <a:pt x="2616470" y="798194"/>
                  <a:pt x="2618665" y="798194"/>
                  <a:pt x="2620858" y="798194"/>
                </a:cubicBezTo>
                <a:cubicBezTo>
                  <a:pt x="2666943" y="777177"/>
                  <a:pt x="2715222" y="756161"/>
                  <a:pt x="2763501" y="736896"/>
                </a:cubicBezTo>
                <a:cubicBezTo>
                  <a:pt x="2743750" y="815708"/>
                  <a:pt x="2767890" y="891018"/>
                  <a:pt x="2796418" y="968079"/>
                </a:cubicBezTo>
                <a:lnTo>
                  <a:pt x="2798805" y="967762"/>
                </a:lnTo>
                <a:lnTo>
                  <a:pt x="2797458" y="955859"/>
                </a:lnTo>
                <a:cubicBezTo>
                  <a:pt x="2797733" y="945350"/>
                  <a:pt x="2798830" y="934842"/>
                  <a:pt x="2798830" y="924333"/>
                </a:cubicBezTo>
                <a:cubicBezTo>
                  <a:pt x="2798830" y="903317"/>
                  <a:pt x="2796636" y="882300"/>
                  <a:pt x="2798830" y="861283"/>
                </a:cubicBezTo>
                <a:lnTo>
                  <a:pt x="2809585" y="822661"/>
                </a:lnTo>
                <a:lnTo>
                  <a:pt x="2809585" y="724636"/>
                </a:lnTo>
                <a:cubicBezTo>
                  <a:pt x="2811779" y="724636"/>
                  <a:pt x="2813973" y="724636"/>
                  <a:pt x="2813973" y="724636"/>
                </a:cubicBezTo>
                <a:lnTo>
                  <a:pt x="2831597" y="847972"/>
                </a:lnTo>
                <a:lnTo>
                  <a:pt x="2844854" y="852370"/>
                </a:lnTo>
                <a:lnTo>
                  <a:pt x="2842502" y="833222"/>
                </a:lnTo>
                <a:cubicBezTo>
                  <a:pt x="2840307" y="805200"/>
                  <a:pt x="2818363" y="777177"/>
                  <a:pt x="2855669" y="754409"/>
                </a:cubicBezTo>
                <a:lnTo>
                  <a:pt x="2862815" y="817499"/>
                </a:lnTo>
                <a:lnTo>
                  <a:pt x="2871249" y="817499"/>
                </a:lnTo>
                <a:cubicBezTo>
                  <a:pt x="2875637" y="863035"/>
                  <a:pt x="2880026" y="908571"/>
                  <a:pt x="2884415" y="954108"/>
                </a:cubicBezTo>
                <a:lnTo>
                  <a:pt x="2896933" y="1064406"/>
                </a:lnTo>
                <a:lnTo>
                  <a:pt x="2903947" y="1064406"/>
                </a:lnTo>
                <a:cubicBezTo>
                  <a:pt x="2908337" y="1043389"/>
                  <a:pt x="2914921" y="1022373"/>
                  <a:pt x="2914921" y="999604"/>
                </a:cubicBezTo>
                <a:cubicBezTo>
                  <a:pt x="2917115" y="947063"/>
                  <a:pt x="2914921" y="894521"/>
                  <a:pt x="2917115" y="841979"/>
                </a:cubicBezTo>
                <a:cubicBezTo>
                  <a:pt x="2917115" y="824465"/>
                  <a:pt x="2923698" y="805200"/>
                  <a:pt x="2934670" y="787685"/>
                </a:cubicBezTo>
                <a:cubicBezTo>
                  <a:pt x="2943449" y="826216"/>
                  <a:pt x="2952227" y="864747"/>
                  <a:pt x="2963198" y="910283"/>
                </a:cubicBezTo>
                <a:cubicBezTo>
                  <a:pt x="2971977" y="898024"/>
                  <a:pt x="2978560" y="891018"/>
                  <a:pt x="2989533" y="875255"/>
                </a:cubicBezTo>
                <a:cubicBezTo>
                  <a:pt x="2998311" y="896272"/>
                  <a:pt x="3007089" y="910283"/>
                  <a:pt x="3011477" y="926046"/>
                </a:cubicBezTo>
                <a:cubicBezTo>
                  <a:pt x="3018061" y="973334"/>
                  <a:pt x="3024644" y="1022373"/>
                  <a:pt x="3031229" y="1069660"/>
                </a:cubicBezTo>
                <a:cubicBezTo>
                  <a:pt x="3035618" y="1069660"/>
                  <a:pt x="3040006" y="1071411"/>
                  <a:pt x="3044395" y="1071411"/>
                </a:cubicBezTo>
                <a:cubicBezTo>
                  <a:pt x="3048783" y="1017118"/>
                  <a:pt x="3053172" y="964577"/>
                  <a:pt x="3057562" y="912035"/>
                </a:cubicBezTo>
                <a:cubicBezTo>
                  <a:pt x="3059757" y="910283"/>
                  <a:pt x="3064145" y="910283"/>
                  <a:pt x="3066340" y="910283"/>
                </a:cubicBezTo>
                <a:cubicBezTo>
                  <a:pt x="3066340" y="947063"/>
                  <a:pt x="3066340" y="985593"/>
                  <a:pt x="3066340" y="1027627"/>
                </a:cubicBezTo>
                <a:cubicBezTo>
                  <a:pt x="3078409" y="1021935"/>
                  <a:pt x="3088010" y="1016024"/>
                  <a:pt x="3095451" y="1009839"/>
                </a:cubicBezTo>
                <a:lnTo>
                  <a:pt x="3110158" y="992146"/>
                </a:lnTo>
                <a:lnTo>
                  <a:pt x="3109711" y="981161"/>
                </a:lnTo>
                <a:lnTo>
                  <a:pt x="3112227" y="943565"/>
                </a:lnTo>
                <a:lnTo>
                  <a:pt x="3108858" y="913786"/>
                </a:lnTo>
                <a:cubicBezTo>
                  <a:pt x="3109133" y="903278"/>
                  <a:pt x="3110230" y="892770"/>
                  <a:pt x="3110230" y="882261"/>
                </a:cubicBezTo>
                <a:cubicBezTo>
                  <a:pt x="3110230" y="861245"/>
                  <a:pt x="3108035" y="840228"/>
                  <a:pt x="3110230" y="819210"/>
                </a:cubicBezTo>
                <a:lnTo>
                  <a:pt x="3125896" y="762948"/>
                </a:lnTo>
                <a:lnTo>
                  <a:pt x="3127815" y="674886"/>
                </a:lnTo>
                <a:cubicBezTo>
                  <a:pt x="3127815" y="633072"/>
                  <a:pt x="3127267" y="591476"/>
                  <a:pt x="3127267" y="550318"/>
                </a:cubicBezTo>
                <a:cubicBezTo>
                  <a:pt x="3127267" y="534556"/>
                  <a:pt x="3131656" y="520544"/>
                  <a:pt x="3133851" y="503031"/>
                </a:cubicBezTo>
                <a:lnTo>
                  <a:pt x="3169782" y="799352"/>
                </a:lnTo>
                <a:lnTo>
                  <a:pt x="3173869" y="775426"/>
                </a:lnTo>
                <a:cubicBezTo>
                  <a:pt x="3176063" y="775426"/>
                  <a:pt x="3180454" y="775426"/>
                  <a:pt x="3182648" y="775426"/>
                </a:cubicBezTo>
                <a:lnTo>
                  <a:pt x="3184323" y="792804"/>
                </a:lnTo>
                <a:lnTo>
                  <a:pt x="3184323" y="721955"/>
                </a:lnTo>
                <a:cubicBezTo>
                  <a:pt x="3186517" y="721955"/>
                  <a:pt x="3188713" y="720203"/>
                  <a:pt x="3190907" y="720203"/>
                </a:cubicBezTo>
                <a:cubicBezTo>
                  <a:pt x="3190907" y="742971"/>
                  <a:pt x="3190907" y="763988"/>
                  <a:pt x="3190907" y="785004"/>
                </a:cubicBezTo>
                <a:cubicBezTo>
                  <a:pt x="3193102" y="785004"/>
                  <a:pt x="3197491" y="785004"/>
                  <a:pt x="3199685" y="785004"/>
                </a:cubicBezTo>
                <a:cubicBezTo>
                  <a:pt x="3206268" y="742971"/>
                  <a:pt x="3215045" y="699186"/>
                  <a:pt x="3219436" y="655401"/>
                </a:cubicBezTo>
                <a:cubicBezTo>
                  <a:pt x="3221630" y="618623"/>
                  <a:pt x="3226019" y="581843"/>
                  <a:pt x="3258936" y="552069"/>
                </a:cubicBezTo>
                <a:cubicBezTo>
                  <a:pt x="3274297" y="538058"/>
                  <a:pt x="3283076" y="508285"/>
                  <a:pt x="3315993" y="538058"/>
                </a:cubicBezTo>
                <a:cubicBezTo>
                  <a:pt x="3315993" y="538058"/>
                  <a:pt x="3318187" y="538058"/>
                  <a:pt x="3320382" y="538058"/>
                </a:cubicBezTo>
                <a:cubicBezTo>
                  <a:pt x="3366467" y="517041"/>
                  <a:pt x="3414745" y="496025"/>
                  <a:pt x="3463024" y="476760"/>
                </a:cubicBezTo>
                <a:cubicBezTo>
                  <a:pt x="3443273" y="555572"/>
                  <a:pt x="3467413" y="630882"/>
                  <a:pt x="3495941" y="707943"/>
                </a:cubicBezTo>
                <a:cubicBezTo>
                  <a:pt x="3500331" y="707943"/>
                  <a:pt x="3504719" y="707943"/>
                  <a:pt x="3509108" y="706192"/>
                </a:cubicBezTo>
                <a:cubicBezTo>
                  <a:pt x="3509108" y="625629"/>
                  <a:pt x="3509108" y="545064"/>
                  <a:pt x="3509108" y="464500"/>
                </a:cubicBezTo>
                <a:cubicBezTo>
                  <a:pt x="3511302" y="464500"/>
                  <a:pt x="3513496" y="464500"/>
                  <a:pt x="3513496" y="464500"/>
                </a:cubicBezTo>
                <a:cubicBezTo>
                  <a:pt x="3522275" y="531053"/>
                  <a:pt x="3533247" y="597605"/>
                  <a:pt x="3542025" y="664159"/>
                </a:cubicBezTo>
                <a:cubicBezTo>
                  <a:pt x="3546415" y="662407"/>
                  <a:pt x="3548609" y="662407"/>
                  <a:pt x="3552999" y="662407"/>
                </a:cubicBezTo>
                <a:cubicBezTo>
                  <a:pt x="3550804" y="632634"/>
                  <a:pt x="3546415" y="602860"/>
                  <a:pt x="3542025" y="573086"/>
                </a:cubicBezTo>
                <a:cubicBezTo>
                  <a:pt x="3539831" y="545064"/>
                  <a:pt x="3517887" y="517041"/>
                  <a:pt x="3555193" y="494273"/>
                </a:cubicBezTo>
                <a:cubicBezTo>
                  <a:pt x="3566164" y="599357"/>
                  <a:pt x="3579332" y="700937"/>
                  <a:pt x="3590305" y="804270"/>
                </a:cubicBezTo>
                <a:cubicBezTo>
                  <a:pt x="3594693" y="804270"/>
                  <a:pt x="3599082" y="804270"/>
                  <a:pt x="3603470" y="804270"/>
                </a:cubicBezTo>
                <a:cubicBezTo>
                  <a:pt x="3607861" y="783253"/>
                  <a:pt x="3614444" y="762237"/>
                  <a:pt x="3614444" y="739468"/>
                </a:cubicBezTo>
                <a:cubicBezTo>
                  <a:pt x="3616638" y="686927"/>
                  <a:pt x="3614444" y="634385"/>
                  <a:pt x="3616638" y="581843"/>
                </a:cubicBezTo>
                <a:cubicBezTo>
                  <a:pt x="3616638" y="564329"/>
                  <a:pt x="3623221" y="545064"/>
                  <a:pt x="3634193" y="527549"/>
                </a:cubicBezTo>
                <a:cubicBezTo>
                  <a:pt x="3642973" y="566080"/>
                  <a:pt x="3651750" y="604611"/>
                  <a:pt x="3662721" y="650147"/>
                </a:cubicBezTo>
                <a:cubicBezTo>
                  <a:pt x="3671500" y="637888"/>
                  <a:pt x="3678083" y="630882"/>
                  <a:pt x="3689056" y="615119"/>
                </a:cubicBezTo>
                <a:cubicBezTo>
                  <a:pt x="3697835" y="636136"/>
                  <a:pt x="3706612" y="650147"/>
                  <a:pt x="3711001" y="665910"/>
                </a:cubicBezTo>
                <a:cubicBezTo>
                  <a:pt x="3717585" y="713198"/>
                  <a:pt x="3724167" y="762237"/>
                  <a:pt x="3730752" y="809524"/>
                </a:cubicBezTo>
                <a:cubicBezTo>
                  <a:pt x="3735141" y="809524"/>
                  <a:pt x="3739529" y="811275"/>
                  <a:pt x="3743918" y="811275"/>
                </a:cubicBezTo>
                <a:cubicBezTo>
                  <a:pt x="3748307" y="756982"/>
                  <a:pt x="3752695" y="704441"/>
                  <a:pt x="3757085" y="651899"/>
                </a:cubicBezTo>
                <a:cubicBezTo>
                  <a:pt x="3759280" y="650147"/>
                  <a:pt x="3763669" y="650147"/>
                  <a:pt x="3765863" y="650147"/>
                </a:cubicBezTo>
                <a:cubicBezTo>
                  <a:pt x="3765863" y="686927"/>
                  <a:pt x="3765863" y="725457"/>
                  <a:pt x="3765863" y="767491"/>
                </a:cubicBezTo>
                <a:cubicBezTo>
                  <a:pt x="3814141" y="744723"/>
                  <a:pt x="3822921" y="718451"/>
                  <a:pt x="3811947" y="685176"/>
                </a:cubicBezTo>
                <a:cubicBezTo>
                  <a:pt x="3805363" y="664159"/>
                  <a:pt x="3809753" y="643141"/>
                  <a:pt x="3809753" y="622125"/>
                </a:cubicBezTo>
                <a:cubicBezTo>
                  <a:pt x="3809753" y="601109"/>
                  <a:pt x="3807559" y="580092"/>
                  <a:pt x="3809753" y="559074"/>
                </a:cubicBezTo>
                <a:lnTo>
                  <a:pt x="3810807" y="555288"/>
                </a:lnTo>
                <a:lnTo>
                  <a:pt x="3809236" y="516661"/>
                </a:lnTo>
                <a:cubicBezTo>
                  <a:pt x="3807042" y="457113"/>
                  <a:pt x="3822402" y="395815"/>
                  <a:pt x="3824596" y="336267"/>
                </a:cubicBezTo>
                <a:cubicBezTo>
                  <a:pt x="3828987" y="252201"/>
                  <a:pt x="3826793" y="168134"/>
                  <a:pt x="3826793" y="85818"/>
                </a:cubicBezTo>
                <a:cubicBezTo>
                  <a:pt x="3826793" y="70056"/>
                  <a:pt x="3831181" y="56044"/>
                  <a:pt x="3833375" y="38531"/>
                </a:cubicBezTo>
                <a:cubicBezTo>
                  <a:pt x="3846542" y="148869"/>
                  <a:pt x="3859710" y="257455"/>
                  <a:pt x="3872876" y="364290"/>
                </a:cubicBezTo>
                <a:cubicBezTo>
                  <a:pt x="3877264" y="364290"/>
                  <a:pt x="3879459" y="364290"/>
                  <a:pt x="3883848" y="364290"/>
                </a:cubicBezTo>
                <a:cubicBezTo>
                  <a:pt x="3883848" y="329263"/>
                  <a:pt x="3883848" y="292483"/>
                  <a:pt x="3883848" y="257455"/>
                </a:cubicBezTo>
                <a:cubicBezTo>
                  <a:pt x="3886043" y="257455"/>
                  <a:pt x="3888238" y="255703"/>
                  <a:pt x="3890432" y="255703"/>
                </a:cubicBezTo>
                <a:cubicBezTo>
                  <a:pt x="3890432" y="278471"/>
                  <a:pt x="3890432" y="299488"/>
                  <a:pt x="3890432" y="320504"/>
                </a:cubicBezTo>
                <a:cubicBezTo>
                  <a:pt x="3892627" y="320504"/>
                  <a:pt x="3897016" y="320504"/>
                  <a:pt x="3899210" y="320504"/>
                </a:cubicBezTo>
                <a:cubicBezTo>
                  <a:pt x="3905793" y="278471"/>
                  <a:pt x="3914570" y="234686"/>
                  <a:pt x="3918961" y="190902"/>
                </a:cubicBezTo>
                <a:cubicBezTo>
                  <a:pt x="3921155" y="154123"/>
                  <a:pt x="3925544" y="117343"/>
                  <a:pt x="3958461" y="87569"/>
                </a:cubicBezTo>
                <a:cubicBezTo>
                  <a:pt x="3973822" y="73559"/>
                  <a:pt x="3982601" y="43786"/>
                  <a:pt x="4015518" y="73559"/>
                </a:cubicBezTo>
                <a:cubicBezTo>
                  <a:pt x="4015518" y="73559"/>
                  <a:pt x="4017712" y="73559"/>
                  <a:pt x="4019907" y="73559"/>
                </a:cubicBezTo>
                <a:cubicBezTo>
                  <a:pt x="4065991" y="52542"/>
                  <a:pt x="4114270" y="31525"/>
                  <a:pt x="4162549" y="12260"/>
                </a:cubicBezTo>
                <a:cubicBezTo>
                  <a:pt x="4142798" y="91073"/>
                  <a:pt x="4166938" y="166382"/>
                  <a:pt x="4195466" y="243443"/>
                </a:cubicBezTo>
                <a:cubicBezTo>
                  <a:pt x="4199855" y="243443"/>
                  <a:pt x="4204244" y="243443"/>
                  <a:pt x="4208633" y="241692"/>
                </a:cubicBezTo>
                <a:cubicBezTo>
                  <a:pt x="4208633" y="161129"/>
                  <a:pt x="4208633" y="80564"/>
                  <a:pt x="4208633"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3636798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2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F6D912A0-7904-405B-9015-E420D7F3994D}"/>
              </a:ext>
            </a:extLst>
          </p:cNvPr>
          <p:cNvSpPr>
            <a:spLocks noGrp="1"/>
          </p:cNvSpPr>
          <p:nvPr>
            <p:ph type="pic" sz="quarter" idx="22"/>
          </p:nvPr>
        </p:nvSpPr>
        <p:spPr>
          <a:xfrm>
            <a:off x="7402723" y="1147019"/>
            <a:ext cx="7736046" cy="6807100"/>
          </a:xfrm>
          <a:custGeom>
            <a:avLst/>
            <a:gdLst>
              <a:gd name="connsiteX0" fmla="*/ 3400609 w 5821363"/>
              <a:gd name="connsiteY0" fmla="*/ 4452797 h 5186362"/>
              <a:gd name="connsiteX1" fmla="*/ 3442456 w 5821363"/>
              <a:gd name="connsiteY1" fmla="*/ 4482677 h 5186362"/>
              <a:gd name="connsiteX2" fmla="*/ 3440635 w 5821363"/>
              <a:gd name="connsiteY2" fmla="*/ 4480437 h 5186362"/>
              <a:gd name="connsiteX3" fmla="*/ 3427445 w 5821363"/>
              <a:gd name="connsiteY3" fmla="*/ 4465195 h 5186362"/>
              <a:gd name="connsiteX4" fmla="*/ 3421956 w 5821363"/>
              <a:gd name="connsiteY4" fmla="*/ 4460667 h 5186362"/>
              <a:gd name="connsiteX5" fmla="*/ 3407888 w 5821363"/>
              <a:gd name="connsiteY5" fmla="*/ 4454524 h 5186362"/>
              <a:gd name="connsiteX6" fmla="*/ 3405021 w 5821363"/>
              <a:gd name="connsiteY6" fmla="*/ 4453547 h 5186362"/>
              <a:gd name="connsiteX7" fmla="*/ 1985963 w 5821363"/>
              <a:gd name="connsiteY7" fmla="*/ 4410074 h 5186362"/>
              <a:gd name="connsiteX8" fmla="*/ 2212771 w 5821363"/>
              <a:gd name="connsiteY8" fmla="*/ 4410074 h 5186362"/>
              <a:gd name="connsiteX9" fmla="*/ 2234226 w 5821363"/>
              <a:gd name="connsiteY9" fmla="*/ 4452831 h 5186362"/>
              <a:gd name="connsiteX10" fmla="*/ 2206641 w 5821363"/>
              <a:gd name="connsiteY10" fmla="*/ 4443669 h 5186362"/>
              <a:gd name="connsiteX11" fmla="*/ 2209706 w 5821363"/>
              <a:gd name="connsiteY11" fmla="*/ 4458939 h 5186362"/>
              <a:gd name="connsiteX12" fmla="*/ 2286331 w 5821363"/>
              <a:gd name="connsiteY12" fmla="*/ 4590263 h 5186362"/>
              <a:gd name="connsiteX13" fmla="*/ 2283266 w 5821363"/>
              <a:gd name="connsiteY13" fmla="*/ 4599425 h 5186362"/>
              <a:gd name="connsiteX14" fmla="*/ 2277136 w 5821363"/>
              <a:gd name="connsiteY14" fmla="*/ 4666614 h 5186362"/>
              <a:gd name="connsiteX15" fmla="*/ 2295526 w 5821363"/>
              <a:gd name="connsiteY15" fmla="*/ 4727695 h 5186362"/>
              <a:gd name="connsiteX16" fmla="*/ 2243421 w 5821363"/>
              <a:gd name="connsiteY16" fmla="*/ 4730749 h 5186362"/>
              <a:gd name="connsiteX17" fmla="*/ 2221966 w 5821363"/>
              <a:gd name="connsiteY17" fmla="*/ 4669668 h 5186362"/>
              <a:gd name="connsiteX18" fmla="*/ 2163732 w 5821363"/>
              <a:gd name="connsiteY18" fmla="*/ 4614695 h 5186362"/>
              <a:gd name="connsiteX19" fmla="*/ 2133082 w 5821363"/>
              <a:gd name="connsiteY19" fmla="*/ 4587209 h 5186362"/>
              <a:gd name="connsiteX20" fmla="*/ 2080977 w 5821363"/>
              <a:gd name="connsiteY20" fmla="*/ 4559723 h 5186362"/>
              <a:gd name="connsiteX21" fmla="*/ 2001288 w 5821363"/>
              <a:gd name="connsiteY21" fmla="*/ 4474209 h 5186362"/>
              <a:gd name="connsiteX22" fmla="*/ 1985963 w 5821363"/>
              <a:gd name="connsiteY22" fmla="*/ 4410074 h 5186362"/>
              <a:gd name="connsiteX23" fmla="*/ 2353021 w 5821363"/>
              <a:gd name="connsiteY23" fmla="*/ 4404245 h 5186362"/>
              <a:gd name="connsiteX24" fmla="*/ 2377291 w 5821363"/>
              <a:gd name="connsiteY24" fmla="*/ 4404892 h 5186362"/>
              <a:gd name="connsiteX25" fmla="*/ 2380947 w 5821363"/>
              <a:gd name="connsiteY25" fmla="*/ 4406637 h 5186362"/>
              <a:gd name="connsiteX26" fmla="*/ 2384116 w 5821363"/>
              <a:gd name="connsiteY26" fmla="*/ 4406909 h 5186362"/>
              <a:gd name="connsiteX27" fmla="*/ 2387413 w 5821363"/>
              <a:gd name="connsiteY27" fmla="*/ 4409724 h 5186362"/>
              <a:gd name="connsiteX28" fmla="*/ 2395680 w 5821363"/>
              <a:gd name="connsiteY28" fmla="*/ 4413670 h 5186362"/>
              <a:gd name="connsiteX29" fmla="*/ 2400804 w 5821363"/>
              <a:gd name="connsiteY29" fmla="*/ 4421157 h 5186362"/>
              <a:gd name="connsiteX30" fmla="*/ 2404252 w 5821363"/>
              <a:gd name="connsiteY30" fmla="*/ 4424101 h 5186362"/>
              <a:gd name="connsiteX31" fmla="*/ 2404948 w 5821363"/>
              <a:gd name="connsiteY31" fmla="*/ 4427211 h 5186362"/>
              <a:gd name="connsiteX32" fmla="*/ 2407338 w 5821363"/>
              <a:gd name="connsiteY32" fmla="*/ 4430703 h 5186362"/>
              <a:gd name="connsiteX33" fmla="*/ 2411413 w 5821363"/>
              <a:gd name="connsiteY33" fmla="*/ 4456112 h 5186362"/>
              <a:gd name="connsiteX34" fmla="*/ 2312988 w 5821363"/>
              <a:gd name="connsiteY34" fmla="*/ 4415820 h 5186362"/>
              <a:gd name="connsiteX35" fmla="*/ 2353021 w 5821363"/>
              <a:gd name="connsiteY35" fmla="*/ 4404245 h 5186362"/>
              <a:gd name="connsiteX36" fmla="*/ 3261872 w 5821363"/>
              <a:gd name="connsiteY36" fmla="*/ 4397374 h 5186362"/>
              <a:gd name="connsiteX37" fmla="*/ 3357563 w 5821363"/>
              <a:gd name="connsiteY37" fmla="*/ 4473914 h 5186362"/>
              <a:gd name="connsiteX38" fmla="*/ 3348303 w 5821363"/>
              <a:gd name="connsiteY38" fmla="*/ 4483099 h 5186362"/>
              <a:gd name="connsiteX39" fmla="*/ 3246438 w 5821363"/>
              <a:gd name="connsiteY39" fmla="*/ 4415744 h 5186362"/>
              <a:gd name="connsiteX40" fmla="*/ 3261872 w 5821363"/>
              <a:gd name="connsiteY40" fmla="*/ 4397374 h 5186362"/>
              <a:gd name="connsiteX41" fmla="*/ 4222644 w 5821363"/>
              <a:gd name="connsiteY41" fmla="*/ 4394199 h 5186362"/>
              <a:gd name="connsiteX42" fmla="*/ 4223362 w 5821363"/>
              <a:gd name="connsiteY42" fmla="*/ 4394802 h 5186362"/>
              <a:gd name="connsiteX43" fmla="*/ 4222990 w 5821363"/>
              <a:gd name="connsiteY43" fmla="*/ 4394199 h 5186362"/>
              <a:gd name="connsiteX44" fmla="*/ 4311721 w 5821363"/>
              <a:gd name="connsiteY44" fmla="*/ 4498190 h 5186362"/>
              <a:gd name="connsiteX45" fmla="*/ 4335434 w 5821363"/>
              <a:gd name="connsiteY45" fmla="*/ 4524952 h 5186362"/>
              <a:gd name="connsiteX46" fmla="*/ 4381829 w 5821363"/>
              <a:gd name="connsiteY46" fmla="*/ 4547000 h 5186362"/>
              <a:gd name="connsiteX47" fmla="*/ 4335955 w 5821363"/>
              <a:gd name="connsiteY47" fmla="*/ 4495094 h 5186362"/>
              <a:gd name="connsiteX48" fmla="*/ 4336212 w 5821363"/>
              <a:gd name="connsiteY48" fmla="*/ 4495146 h 5186362"/>
              <a:gd name="connsiteX49" fmla="*/ 4336199 w 5821363"/>
              <a:gd name="connsiteY49" fmla="*/ 4495131 h 5186362"/>
              <a:gd name="connsiteX50" fmla="*/ 4383942 w 5821363"/>
              <a:gd name="connsiteY50" fmla="*/ 4504908 h 5186362"/>
              <a:gd name="connsiteX51" fmla="*/ 4395051 w 5821363"/>
              <a:gd name="connsiteY51" fmla="*/ 4507180 h 5186362"/>
              <a:gd name="connsiteX52" fmla="*/ 4395058 w 5821363"/>
              <a:gd name="connsiteY52" fmla="*/ 4507184 h 5186362"/>
              <a:gd name="connsiteX53" fmla="*/ 4395242 w 5821363"/>
              <a:gd name="connsiteY53" fmla="*/ 4507222 h 5186362"/>
              <a:gd name="connsiteX54" fmla="*/ 4507543 w 5821363"/>
              <a:gd name="connsiteY54" fmla="*/ 4635824 h 5186362"/>
              <a:gd name="connsiteX55" fmla="*/ 4525084 w 5821363"/>
              <a:gd name="connsiteY55" fmla="*/ 4661364 h 5186362"/>
              <a:gd name="connsiteX56" fmla="*/ 4547264 w 5821363"/>
              <a:gd name="connsiteY56" fmla="*/ 4684653 h 5186362"/>
              <a:gd name="connsiteX57" fmla="*/ 4590138 w 5821363"/>
              <a:gd name="connsiteY57" fmla="*/ 4727457 h 5186362"/>
              <a:gd name="connsiteX58" fmla="*/ 4590031 w 5821363"/>
              <a:gd name="connsiteY58" fmla="*/ 4727457 h 5186362"/>
              <a:gd name="connsiteX59" fmla="*/ 4590155 w 5821363"/>
              <a:gd name="connsiteY59" fmla="*/ 4727581 h 5186362"/>
              <a:gd name="connsiteX60" fmla="*/ 4560323 w 5821363"/>
              <a:gd name="connsiteY60" fmla="*/ 4727581 h 5186362"/>
              <a:gd name="connsiteX61" fmla="*/ 4525957 w 5821363"/>
              <a:gd name="connsiteY61" fmla="*/ 4727581 h 5186362"/>
              <a:gd name="connsiteX62" fmla="*/ 4568318 w 5821363"/>
              <a:gd name="connsiteY62" fmla="*/ 4767967 h 5186362"/>
              <a:gd name="connsiteX63" fmla="*/ 4608513 w 5821363"/>
              <a:gd name="connsiteY63" fmla="*/ 4803892 h 5186362"/>
              <a:gd name="connsiteX64" fmla="*/ 4608367 w 5821363"/>
              <a:gd name="connsiteY64" fmla="*/ 4803914 h 5186362"/>
              <a:gd name="connsiteX65" fmla="*/ 4608513 w 5821363"/>
              <a:gd name="connsiteY65" fmla="*/ 4804044 h 5186362"/>
              <a:gd name="connsiteX66" fmla="*/ 4528961 w 5821363"/>
              <a:gd name="connsiteY66" fmla="*/ 4770400 h 5186362"/>
              <a:gd name="connsiteX67" fmla="*/ 4443289 w 5821363"/>
              <a:gd name="connsiteY67" fmla="*/ 4715346 h 5186362"/>
              <a:gd name="connsiteX68" fmla="*/ 4463261 w 5821363"/>
              <a:gd name="connsiteY68" fmla="*/ 4734598 h 5186362"/>
              <a:gd name="connsiteX69" fmla="*/ 4528889 w 5821363"/>
              <a:gd name="connsiteY69" fmla="*/ 4797777 h 5186362"/>
              <a:gd name="connsiteX70" fmla="*/ 4528862 w 5821363"/>
              <a:gd name="connsiteY70" fmla="*/ 4797832 h 5186362"/>
              <a:gd name="connsiteX71" fmla="*/ 4528961 w 5821363"/>
              <a:gd name="connsiteY71" fmla="*/ 4797927 h 5186362"/>
              <a:gd name="connsiteX72" fmla="*/ 4525901 w 5821363"/>
              <a:gd name="connsiteY72" fmla="*/ 4804044 h 5186362"/>
              <a:gd name="connsiteX73" fmla="*/ 4498363 w 5821363"/>
              <a:gd name="connsiteY73" fmla="*/ 4791810 h 5186362"/>
              <a:gd name="connsiteX74" fmla="*/ 4495329 w 5821363"/>
              <a:gd name="connsiteY74" fmla="*/ 4800910 h 5186362"/>
              <a:gd name="connsiteX75" fmla="*/ 4577888 w 5821363"/>
              <a:gd name="connsiteY75" fmla="*/ 4849753 h 5186362"/>
              <a:gd name="connsiteX76" fmla="*/ 4577763 w 5821363"/>
              <a:gd name="connsiteY76" fmla="*/ 4849832 h 5186362"/>
              <a:gd name="connsiteX77" fmla="*/ 4577916 w 5821363"/>
              <a:gd name="connsiteY77" fmla="*/ 4849922 h 5186362"/>
              <a:gd name="connsiteX78" fmla="*/ 4515527 w 5821363"/>
              <a:gd name="connsiteY78" fmla="*/ 4835299 h 5186362"/>
              <a:gd name="connsiteX79" fmla="*/ 4492285 w 5821363"/>
              <a:gd name="connsiteY79" fmla="*/ 4828525 h 5186362"/>
              <a:gd name="connsiteX80" fmla="*/ 4522764 w 5821363"/>
              <a:gd name="connsiteY80" fmla="*/ 4865040 h 5186362"/>
              <a:gd name="connsiteX81" fmla="*/ 4522713 w 5821363"/>
              <a:gd name="connsiteY81" fmla="*/ 4865061 h 5186362"/>
              <a:gd name="connsiteX82" fmla="*/ 4522841 w 5821363"/>
              <a:gd name="connsiteY82" fmla="*/ 4865215 h 5186362"/>
              <a:gd name="connsiteX83" fmla="*/ 4478093 w 5821363"/>
              <a:gd name="connsiteY83" fmla="*/ 4870376 h 5186362"/>
              <a:gd name="connsiteX84" fmla="*/ 4478012 w 5821363"/>
              <a:gd name="connsiteY84" fmla="*/ 4870215 h 5186362"/>
              <a:gd name="connsiteX85" fmla="*/ 4477976 w 5821363"/>
              <a:gd name="connsiteY85" fmla="*/ 4870199 h 5186362"/>
              <a:gd name="connsiteX86" fmla="*/ 4467689 w 5821363"/>
              <a:gd name="connsiteY86" fmla="*/ 4849849 h 5186362"/>
              <a:gd name="connsiteX87" fmla="*/ 4449791 w 5821363"/>
              <a:gd name="connsiteY87" fmla="*/ 4833101 h 5186362"/>
              <a:gd name="connsiteX88" fmla="*/ 4424931 w 5821363"/>
              <a:gd name="connsiteY88" fmla="*/ 4825454 h 5186362"/>
              <a:gd name="connsiteX89" fmla="*/ 4323386 w 5821363"/>
              <a:gd name="connsiteY89" fmla="*/ 4809540 h 5186362"/>
              <a:gd name="connsiteX90" fmla="*/ 4297060 w 5821363"/>
              <a:gd name="connsiteY90" fmla="*/ 4795432 h 5186362"/>
              <a:gd name="connsiteX91" fmla="*/ 4290302 w 5821363"/>
              <a:gd name="connsiteY91" fmla="*/ 4791814 h 5186362"/>
              <a:gd name="connsiteX92" fmla="*/ 4287244 w 5821363"/>
              <a:gd name="connsiteY92" fmla="*/ 4806338 h 5186362"/>
              <a:gd name="connsiteX93" fmla="*/ 4284184 w 5821363"/>
              <a:gd name="connsiteY93" fmla="*/ 4825454 h 5186362"/>
              <a:gd name="connsiteX94" fmla="*/ 4283912 w 5821363"/>
              <a:gd name="connsiteY94" fmla="*/ 4825173 h 5186362"/>
              <a:gd name="connsiteX95" fmla="*/ 4283893 w 5821363"/>
              <a:gd name="connsiteY95" fmla="*/ 4825294 h 5186362"/>
              <a:gd name="connsiteX96" fmla="*/ 4041433 w 5821363"/>
              <a:gd name="connsiteY96" fmla="*/ 4589252 h 5186362"/>
              <a:gd name="connsiteX97" fmla="*/ 3947967 w 5821363"/>
              <a:gd name="connsiteY97" fmla="*/ 4529330 h 5186362"/>
              <a:gd name="connsiteX98" fmla="*/ 4009005 w 5821363"/>
              <a:gd name="connsiteY98" fmla="*/ 4626898 h 5186362"/>
              <a:gd name="connsiteX99" fmla="*/ 4119168 w 5821363"/>
              <a:gd name="connsiteY99" fmla="*/ 4770586 h 5186362"/>
              <a:gd name="connsiteX100" fmla="*/ 4106928 w 5821363"/>
              <a:gd name="connsiteY100" fmla="*/ 4782815 h 5186362"/>
              <a:gd name="connsiteX101" fmla="*/ 4106734 w 5821363"/>
              <a:gd name="connsiteY101" fmla="*/ 4782621 h 5186362"/>
              <a:gd name="connsiteX102" fmla="*/ 4106721 w 5821363"/>
              <a:gd name="connsiteY102" fmla="*/ 4782634 h 5186362"/>
              <a:gd name="connsiteX103" fmla="*/ 4060492 w 5821363"/>
              <a:gd name="connsiteY103" fmla="*/ 4736423 h 5186362"/>
              <a:gd name="connsiteX104" fmla="*/ 4057584 w 5821363"/>
              <a:gd name="connsiteY104" fmla="*/ 4733518 h 5186362"/>
              <a:gd name="connsiteX105" fmla="*/ 4005945 w 5821363"/>
              <a:gd name="connsiteY105" fmla="*/ 4681928 h 5186362"/>
              <a:gd name="connsiteX106" fmla="*/ 4012065 w 5821363"/>
              <a:gd name="connsiteY106" fmla="*/ 4707149 h 5186362"/>
              <a:gd name="connsiteX107" fmla="*/ 4018182 w 5821363"/>
              <a:gd name="connsiteY107" fmla="*/ 4727776 h 5186362"/>
              <a:gd name="connsiteX108" fmla="*/ 4028814 w 5821363"/>
              <a:gd name="connsiteY108" fmla="*/ 4738589 h 5186362"/>
              <a:gd name="connsiteX109" fmla="*/ 4062174 w 5821363"/>
              <a:gd name="connsiteY109" fmla="*/ 4772497 h 5186362"/>
              <a:gd name="connsiteX110" fmla="*/ 4103867 w 5821363"/>
              <a:gd name="connsiteY110" fmla="*/ 4819501 h 5186362"/>
              <a:gd name="connsiteX111" fmla="*/ 4195670 w 5821363"/>
              <a:gd name="connsiteY111" fmla="*/ 4981531 h 5186362"/>
              <a:gd name="connsiteX112" fmla="*/ 4235451 w 5821363"/>
              <a:gd name="connsiteY112" fmla="*/ 5039618 h 5186362"/>
              <a:gd name="connsiteX113" fmla="*/ 4226271 w 5821363"/>
              <a:gd name="connsiteY113" fmla="*/ 5048789 h 5186362"/>
              <a:gd name="connsiteX114" fmla="*/ 4226112 w 5821363"/>
              <a:gd name="connsiteY114" fmla="*/ 5048666 h 5186362"/>
              <a:gd name="connsiteX115" fmla="*/ 4226050 w 5821363"/>
              <a:gd name="connsiteY115" fmla="*/ 5048728 h 5186362"/>
              <a:gd name="connsiteX116" fmla="*/ 4170975 w 5821363"/>
              <a:gd name="connsiteY116" fmla="*/ 5005908 h 5186362"/>
              <a:gd name="connsiteX117" fmla="*/ 4121637 w 5821363"/>
              <a:gd name="connsiteY117" fmla="*/ 4965000 h 5186362"/>
              <a:gd name="connsiteX118" fmla="*/ 4070114 w 5821363"/>
              <a:gd name="connsiteY118" fmla="*/ 4926467 h 5186362"/>
              <a:gd name="connsiteX119" fmla="*/ 4051464 w 5821363"/>
              <a:gd name="connsiteY119" fmla="*/ 4919623 h 5186362"/>
              <a:gd name="connsiteX120" fmla="*/ 4030426 w 5821363"/>
              <a:gd name="connsiteY120" fmla="*/ 4917330 h 5186362"/>
              <a:gd name="connsiteX121" fmla="*/ 4030282 w 5821363"/>
              <a:gd name="connsiteY121" fmla="*/ 4917216 h 5186362"/>
              <a:gd name="connsiteX122" fmla="*/ 4030228 w 5821363"/>
              <a:gd name="connsiteY122" fmla="*/ 4917210 h 5186362"/>
              <a:gd name="connsiteX123" fmla="*/ 4000396 w 5821363"/>
              <a:gd name="connsiteY123" fmla="*/ 4893507 h 5186362"/>
              <a:gd name="connsiteX124" fmla="*/ 3966174 w 5821363"/>
              <a:gd name="connsiteY124" fmla="*/ 4865379 h 5186362"/>
              <a:gd name="connsiteX125" fmla="*/ 4004798 w 5821363"/>
              <a:gd name="connsiteY125" fmla="*/ 4945227 h 5186362"/>
              <a:gd name="connsiteX126" fmla="*/ 4045726 w 5821363"/>
              <a:gd name="connsiteY126" fmla="*/ 5027389 h 5186362"/>
              <a:gd name="connsiteX127" fmla="*/ 4045511 w 5821363"/>
              <a:gd name="connsiteY127" fmla="*/ 5027286 h 5186362"/>
              <a:gd name="connsiteX128" fmla="*/ 4045527 w 5821363"/>
              <a:gd name="connsiteY128" fmla="*/ 5027318 h 5186362"/>
              <a:gd name="connsiteX129" fmla="*/ 4002308 w 5821363"/>
              <a:gd name="connsiteY129" fmla="*/ 5006673 h 5186362"/>
              <a:gd name="connsiteX130" fmla="*/ 3981246 w 5821363"/>
              <a:gd name="connsiteY130" fmla="*/ 4997364 h 5186362"/>
              <a:gd name="connsiteX131" fmla="*/ 3966164 w 5821363"/>
              <a:gd name="connsiteY131" fmla="*/ 4990703 h 5186362"/>
              <a:gd name="connsiteX132" fmla="*/ 3956984 w 5821363"/>
              <a:gd name="connsiteY132" fmla="*/ 5002931 h 5186362"/>
              <a:gd name="connsiteX133" fmla="*/ 4070207 w 5821363"/>
              <a:gd name="connsiteY133" fmla="*/ 5125219 h 5186362"/>
              <a:gd name="connsiteX134" fmla="*/ 4046587 w 5821363"/>
              <a:gd name="connsiteY134" fmla="*/ 5139024 h 5186362"/>
              <a:gd name="connsiteX135" fmla="*/ 4046432 w 5821363"/>
              <a:gd name="connsiteY135" fmla="*/ 5138976 h 5186362"/>
              <a:gd name="connsiteX136" fmla="*/ 4046388 w 5821363"/>
              <a:gd name="connsiteY136" fmla="*/ 5139002 h 5186362"/>
              <a:gd name="connsiteX137" fmla="*/ 4024396 w 5821363"/>
              <a:gd name="connsiteY137" fmla="*/ 5119600 h 5186362"/>
              <a:gd name="connsiteX138" fmla="*/ 4018060 w 5821363"/>
              <a:gd name="connsiteY138" fmla="*/ 5100928 h 5186362"/>
              <a:gd name="connsiteX139" fmla="*/ 4009005 w 5821363"/>
              <a:gd name="connsiteY139" fmla="*/ 5112990 h 5186362"/>
              <a:gd name="connsiteX140" fmla="*/ 4008864 w 5821363"/>
              <a:gd name="connsiteY140" fmla="*/ 5112887 h 5186362"/>
              <a:gd name="connsiteX141" fmla="*/ 4008811 w 5821363"/>
              <a:gd name="connsiteY141" fmla="*/ 5112957 h 5186362"/>
              <a:gd name="connsiteX142" fmla="*/ 3958708 w 5821363"/>
              <a:gd name="connsiteY142" fmla="*/ 5076637 h 5186362"/>
              <a:gd name="connsiteX143" fmla="*/ 3902024 w 5821363"/>
              <a:gd name="connsiteY143" fmla="*/ 5033665 h 5186362"/>
              <a:gd name="connsiteX144" fmla="*/ 3960809 w 5821363"/>
              <a:gd name="connsiteY144" fmla="*/ 5111461 h 5186362"/>
              <a:gd name="connsiteX145" fmla="*/ 4015125 w 5821363"/>
              <a:gd name="connsiteY145" fmla="*/ 5180248 h 5186362"/>
              <a:gd name="connsiteX146" fmla="*/ 4009005 w 5821363"/>
              <a:gd name="connsiteY146" fmla="*/ 5186362 h 5186362"/>
              <a:gd name="connsiteX147" fmla="*/ 4008889 w 5821363"/>
              <a:gd name="connsiteY147" fmla="*/ 5186284 h 5186362"/>
              <a:gd name="connsiteX148" fmla="*/ 4008811 w 5821363"/>
              <a:gd name="connsiteY148" fmla="*/ 5186362 h 5186362"/>
              <a:gd name="connsiteX149" fmla="*/ 3917019 w 5821363"/>
              <a:gd name="connsiteY149" fmla="*/ 5122133 h 5186362"/>
              <a:gd name="connsiteX150" fmla="*/ 3816049 w 5821363"/>
              <a:gd name="connsiteY150" fmla="*/ 5039552 h 5186362"/>
              <a:gd name="connsiteX151" fmla="*/ 3770153 w 5821363"/>
              <a:gd name="connsiteY151" fmla="*/ 4984498 h 5186362"/>
              <a:gd name="connsiteX152" fmla="*/ 3748353 w 5821363"/>
              <a:gd name="connsiteY152" fmla="*/ 4955442 h 5186362"/>
              <a:gd name="connsiteX153" fmla="*/ 3735386 w 5821363"/>
              <a:gd name="connsiteY153" fmla="*/ 4943287 h 5186362"/>
              <a:gd name="connsiteX154" fmla="*/ 3715237 w 5821363"/>
              <a:gd name="connsiteY154" fmla="*/ 4935673 h 5186362"/>
              <a:gd name="connsiteX155" fmla="*/ 3693339 w 5821363"/>
              <a:gd name="connsiteY155" fmla="*/ 4925212 h 5186362"/>
              <a:gd name="connsiteX156" fmla="*/ 3693204 w 5821363"/>
              <a:gd name="connsiteY156" fmla="*/ 4925106 h 5186362"/>
              <a:gd name="connsiteX157" fmla="*/ 3693183 w 5821363"/>
              <a:gd name="connsiteY157" fmla="*/ 4925096 h 5186362"/>
              <a:gd name="connsiteX158" fmla="*/ 3678186 w 5821363"/>
              <a:gd name="connsiteY158" fmla="*/ 4913266 h 5186362"/>
              <a:gd name="connsiteX159" fmla="*/ 3673161 w 5821363"/>
              <a:gd name="connsiteY159" fmla="*/ 4909305 h 5186362"/>
              <a:gd name="connsiteX160" fmla="*/ 3673151 w 5821363"/>
              <a:gd name="connsiteY160" fmla="*/ 4909295 h 5186362"/>
              <a:gd name="connsiteX161" fmla="*/ 3673008 w 5821363"/>
              <a:gd name="connsiteY161" fmla="*/ 4909182 h 5186362"/>
              <a:gd name="connsiteX162" fmla="*/ 3635526 w 5821363"/>
              <a:gd name="connsiteY162" fmla="*/ 4871332 h 5186362"/>
              <a:gd name="connsiteX163" fmla="*/ 3614279 w 5821363"/>
              <a:gd name="connsiteY163" fmla="*/ 4849486 h 5186362"/>
              <a:gd name="connsiteX164" fmla="*/ 3582124 w 5821363"/>
              <a:gd name="connsiteY164" fmla="*/ 4816444 h 5186362"/>
              <a:gd name="connsiteX165" fmla="*/ 3528572 w 5821363"/>
              <a:gd name="connsiteY165" fmla="*/ 4761414 h 5186362"/>
              <a:gd name="connsiteX166" fmla="*/ 3348028 w 5821363"/>
              <a:gd name="connsiteY166" fmla="*/ 4596327 h 5186362"/>
              <a:gd name="connsiteX167" fmla="*/ 3351088 w 5821363"/>
              <a:gd name="connsiteY167" fmla="*/ 4639127 h 5186362"/>
              <a:gd name="connsiteX168" fmla="*/ 3219504 w 5821363"/>
              <a:gd name="connsiteY168" fmla="*/ 4617727 h 5186362"/>
              <a:gd name="connsiteX169" fmla="*/ 3210392 w 5821363"/>
              <a:gd name="connsiteY169" fmla="*/ 4632899 h 5186362"/>
              <a:gd name="connsiteX170" fmla="*/ 3338735 w 5821363"/>
              <a:gd name="connsiteY170" fmla="*/ 4736756 h 5186362"/>
              <a:gd name="connsiteX171" fmla="*/ 3338664 w 5821363"/>
              <a:gd name="connsiteY171" fmla="*/ 4736809 h 5186362"/>
              <a:gd name="connsiteX172" fmla="*/ 3338847 w 5821363"/>
              <a:gd name="connsiteY172" fmla="*/ 4736957 h 5186362"/>
              <a:gd name="connsiteX173" fmla="*/ 3311307 w 5821363"/>
              <a:gd name="connsiteY173" fmla="*/ 4755300 h 5186362"/>
              <a:gd name="connsiteX174" fmla="*/ 3158303 w 5821363"/>
              <a:gd name="connsiteY174" fmla="*/ 4642184 h 5186362"/>
              <a:gd name="connsiteX175" fmla="*/ 3146062 w 5821363"/>
              <a:gd name="connsiteY175" fmla="*/ 4633013 h 5186362"/>
              <a:gd name="connsiteX176" fmla="*/ 3094041 w 5821363"/>
              <a:gd name="connsiteY176" fmla="*/ 4620784 h 5186362"/>
              <a:gd name="connsiteX177" fmla="*/ 3097101 w 5821363"/>
              <a:gd name="connsiteY177" fmla="*/ 4669699 h 5186362"/>
              <a:gd name="connsiteX178" fmla="*/ 2953277 w 5821363"/>
              <a:gd name="connsiteY178" fmla="*/ 4574926 h 5186362"/>
              <a:gd name="connsiteX179" fmla="*/ 2944171 w 5821363"/>
              <a:gd name="connsiteY179" fmla="*/ 4580992 h 5186362"/>
              <a:gd name="connsiteX180" fmla="*/ 3014406 w 5821363"/>
              <a:gd name="connsiteY180" fmla="*/ 4693937 h 5186362"/>
              <a:gd name="connsiteX181" fmla="*/ 3014351 w 5821363"/>
              <a:gd name="connsiteY181" fmla="*/ 4693951 h 5186362"/>
              <a:gd name="connsiteX182" fmla="*/ 3014479 w 5821363"/>
              <a:gd name="connsiteY182" fmla="*/ 4694156 h 5186362"/>
              <a:gd name="connsiteX183" fmla="*/ 2950217 w 5821363"/>
              <a:gd name="connsiteY183" fmla="*/ 4703328 h 5186362"/>
              <a:gd name="connsiteX184" fmla="*/ 2867595 w 5821363"/>
              <a:gd name="connsiteY184" fmla="*/ 4669699 h 5186362"/>
              <a:gd name="connsiteX185" fmla="*/ 2794153 w 5821363"/>
              <a:gd name="connsiteY185" fmla="*/ 4617727 h 5186362"/>
              <a:gd name="connsiteX186" fmla="*/ 2772732 w 5821363"/>
              <a:gd name="connsiteY186" fmla="*/ 4596327 h 5186362"/>
              <a:gd name="connsiteX187" fmla="*/ 2705411 w 5821363"/>
              <a:gd name="connsiteY187" fmla="*/ 4562698 h 5186362"/>
              <a:gd name="connsiteX188" fmla="*/ 2638089 w 5821363"/>
              <a:gd name="connsiteY188" fmla="*/ 4541297 h 5186362"/>
              <a:gd name="connsiteX189" fmla="*/ 2509565 w 5821363"/>
              <a:gd name="connsiteY189" fmla="*/ 4492382 h 5186362"/>
              <a:gd name="connsiteX190" fmla="*/ 2417763 w 5821363"/>
              <a:gd name="connsiteY190" fmla="*/ 4422067 h 5186362"/>
              <a:gd name="connsiteX191" fmla="*/ 2417863 w 5821363"/>
              <a:gd name="connsiteY191" fmla="*/ 4421819 h 5186362"/>
              <a:gd name="connsiteX192" fmla="*/ 2417763 w 5821363"/>
              <a:gd name="connsiteY192" fmla="*/ 4421726 h 5186362"/>
              <a:gd name="connsiteX193" fmla="*/ 2423882 w 5821363"/>
              <a:gd name="connsiteY193" fmla="*/ 4406433 h 5186362"/>
              <a:gd name="connsiteX194" fmla="*/ 2466718 w 5821363"/>
              <a:gd name="connsiteY194" fmla="*/ 4406433 h 5186362"/>
              <a:gd name="connsiteX195" fmla="*/ 3048063 w 5821363"/>
              <a:gd name="connsiteY195" fmla="*/ 4403375 h 5186362"/>
              <a:gd name="connsiteX196" fmla="*/ 3152093 w 5821363"/>
              <a:gd name="connsiteY196" fmla="*/ 4452312 h 5186362"/>
              <a:gd name="connsiteX197" fmla="*/ 3277541 w 5821363"/>
              <a:gd name="connsiteY197" fmla="*/ 4565478 h 5186362"/>
              <a:gd name="connsiteX198" fmla="*/ 3323436 w 5821363"/>
              <a:gd name="connsiteY198" fmla="*/ 4577712 h 5186362"/>
              <a:gd name="connsiteX199" fmla="*/ 3320377 w 5821363"/>
              <a:gd name="connsiteY199" fmla="*/ 4519600 h 5186362"/>
              <a:gd name="connsiteX200" fmla="*/ 3482541 w 5821363"/>
              <a:gd name="connsiteY200" fmla="*/ 4645000 h 5186362"/>
              <a:gd name="connsiteX201" fmla="*/ 3487130 w 5821363"/>
              <a:gd name="connsiteY201" fmla="*/ 4636589 h 5186362"/>
              <a:gd name="connsiteX202" fmla="*/ 3491689 w 5821363"/>
              <a:gd name="connsiteY202" fmla="*/ 4623679 h 5186362"/>
              <a:gd name="connsiteX203" fmla="*/ 3456421 w 5821363"/>
              <a:gd name="connsiteY203" fmla="*/ 4588492 h 5186362"/>
              <a:gd name="connsiteX204" fmla="*/ 3452967 w 5821363"/>
              <a:gd name="connsiteY204" fmla="*/ 4585833 h 5186362"/>
              <a:gd name="connsiteX205" fmla="*/ 3424596 w 5821363"/>
              <a:gd name="connsiteY205" fmla="*/ 4564650 h 5186362"/>
              <a:gd name="connsiteX206" fmla="*/ 3422628 w 5821363"/>
              <a:gd name="connsiteY206" fmla="*/ 4562480 h 5186362"/>
              <a:gd name="connsiteX207" fmla="*/ 3414967 w 5821363"/>
              <a:gd name="connsiteY207" fmla="*/ 4556583 h 5186362"/>
              <a:gd name="connsiteX208" fmla="*/ 3398704 w 5821363"/>
              <a:gd name="connsiteY208" fmla="*/ 4537977 h 5186362"/>
              <a:gd name="connsiteX209" fmla="*/ 3397152 w 5821363"/>
              <a:gd name="connsiteY209" fmla="*/ 4534380 h 5186362"/>
              <a:gd name="connsiteX210" fmla="*/ 3395439 w 5821363"/>
              <a:gd name="connsiteY210" fmla="*/ 4532491 h 5186362"/>
              <a:gd name="connsiteX211" fmla="*/ 3391552 w 5821363"/>
              <a:gd name="connsiteY211" fmla="*/ 4521405 h 5186362"/>
              <a:gd name="connsiteX212" fmla="*/ 3389004 w 5821363"/>
              <a:gd name="connsiteY212" fmla="*/ 4515502 h 5186362"/>
              <a:gd name="connsiteX213" fmla="*/ 3388981 w 5821363"/>
              <a:gd name="connsiteY213" fmla="*/ 4514075 h 5186362"/>
              <a:gd name="connsiteX214" fmla="*/ 3388268 w 5821363"/>
              <a:gd name="connsiteY214" fmla="*/ 4512042 h 5186362"/>
              <a:gd name="connsiteX215" fmla="*/ 3388437 w 5821363"/>
              <a:gd name="connsiteY215" fmla="*/ 4487270 h 5186362"/>
              <a:gd name="connsiteX216" fmla="*/ 3399814 w 5821363"/>
              <a:gd name="connsiteY216" fmla="*/ 4452662 h 5186362"/>
              <a:gd name="connsiteX217" fmla="*/ 3381688 w 5821363"/>
              <a:gd name="connsiteY217" fmla="*/ 4449582 h 5186362"/>
              <a:gd name="connsiteX218" fmla="*/ 3372508 w 5821363"/>
              <a:gd name="connsiteY218" fmla="*/ 4440410 h 5186362"/>
              <a:gd name="connsiteX219" fmla="*/ 3372502 w 5821363"/>
              <a:gd name="connsiteY219" fmla="*/ 4440355 h 5186362"/>
              <a:gd name="connsiteX220" fmla="*/ 3372391 w 5821363"/>
              <a:gd name="connsiteY220" fmla="*/ 4440077 h 5186362"/>
              <a:gd name="connsiteX221" fmla="*/ 3375451 w 5821363"/>
              <a:gd name="connsiteY221" fmla="*/ 4427843 h 5186362"/>
              <a:gd name="connsiteX222" fmla="*/ 3427466 w 5821363"/>
              <a:gd name="connsiteY222" fmla="*/ 4406433 h 5186362"/>
              <a:gd name="connsiteX223" fmla="*/ 3663064 w 5821363"/>
              <a:gd name="connsiteY223" fmla="*/ 4406433 h 5186362"/>
              <a:gd name="connsiteX224" fmla="*/ 3678362 w 5821363"/>
              <a:gd name="connsiteY224" fmla="*/ 4421726 h 5186362"/>
              <a:gd name="connsiteX225" fmla="*/ 3705899 w 5821363"/>
              <a:gd name="connsiteY225" fmla="*/ 4452312 h 5186362"/>
              <a:gd name="connsiteX226" fmla="*/ 3760974 w 5821363"/>
              <a:gd name="connsiteY226" fmla="*/ 4485956 h 5186362"/>
              <a:gd name="connsiteX227" fmla="*/ 3776273 w 5821363"/>
              <a:gd name="connsiteY227" fmla="*/ 4461487 h 5186362"/>
              <a:gd name="connsiteX228" fmla="*/ 3806853 w 5821363"/>
              <a:gd name="connsiteY228" fmla="*/ 4482886 h 5186362"/>
              <a:gd name="connsiteX229" fmla="*/ 3810619 w 5821363"/>
              <a:gd name="connsiteY229" fmla="*/ 4474652 h 5186362"/>
              <a:gd name="connsiteX230" fmla="*/ 3821948 w 5821363"/>
              <a:gd name="connsiteY230" fmla="*/ 4449737 h 5186362"/>
              <a:gd name="connsiteX231" fmla="*/ 3821462 w 5821363"/>
              <a:gd name="connsiteY231" fmla="*/ 4449233 h 5186362"/>
              <a:gd name="connsiteX232" fmla="*/ 3787775 w 5821363"/>
              <a:gd name="connsiteY232" fmla="*/ 4406429 h 5186362"/>
              <a:gd name="connsiteX233" fmla="*/ 4149145 w 5821363"/>
              <a:gd name="connsiteY233" fmla="*/ 4406429 h 5186362"/>
              <a:gd name="connsiteX234" fmla="*/ 4149153 w 5821363"/>
              <a:gd name="connsiteY234" fmla="*/ 4406431 h 5186362"/>
              <a:gd name="connsiteX235" fmla="*/ 4149557 w 5821363"/>
              <a:gd name="connsiteY235" fmla="*/ 4406433 h 5186362"/>
              <a:gd name="connsiteX236" fmla="*/ 4207691 w 5821363"/>
              <a:gd name="connsiteY236" fmla="*/ 4440077 h 5186362"/>
              <a:gd name="connsiteX237" fmla="*/ 4247340 w 5821363"/>
              <a:gd name="connsiteY237" fmla="*/ 4473613 h 5186362"/>
              <a:gd name="connsiteX238" fmla="*/ 4262456 w 5821363"/>
              <a:gd name="connsiteY238" fmla="*/ 4467577 h 5186362"/>
              <a:gd name="connsiteX239" fmla="*/ 4247143 w 5821363"/>
              <a:gd name="connsiteY239" fmla="*/ 4427831 h 5186362"/>
              <a:gd name="connsiteX240" fmla="*/ 4222644 w 5821363"/>
              <a:gd name="connsiteY240" fmla="*/ 4394199 h 5186362"/>
              <a:gd name="connsiteX241" fmla="*/ 4245096 w 5821363"/>
              <a:gd name="connsiteY241" fmla="*/ 4356338 h 5186362"/>
              <a:gd name="connsiteX242" fmla="*/ 4245098 w 5821363"/>
              <a:gd name="connsiteY242" fmla="*/ 4356339 h 5186362"/>
              <a:gd name="connsiteX243" fmla="*/ 4269074 w 5821363"/>
              <a:gd name="connsiteY243" fmla="*/ 4364405 h 5186362"/>
              <a:gd name="connsiteX244" fmla="*/ 4278910 w 5821363"/>
              <a:gd name="connsiteY244" fmla="*/ 4370840 h 5186362"/>
              <a:gd name="connsiteX245" fmla="*/ 4288962 w 5821363"/>
              <a:gd name="connsiteY245" fmla="*/ 4375151 h 5186362"/>
              <a:gd name="connsiteX246" fmla="*/ 4309909 w 5821363"/>
              <a:gd name="connsiteY246" fmla="*/ 4391121 h 5186362"/>
              <a:gd name="connsiteX247" fmla="*/ 4323131 w 5821363"/>
              <a:gd name="connsiteY247" fmla="*/ 4399771 h 5186362"/>
              <a:gd name="connsiteX248" fmla="*/ 4328767 w 5821363"/>
              <a:gd name="connsiteY248" fmla="*/ 4405498 h 5186362"/>
              <a:gd name="connsiteX249" fmla="*/ 4336399 w 5821363"/>
              <a:gd name="connsiteY249" fmla="*/ 4411316 h 5186362"/>
              <a:gd name="connsiteX250" fmla="*/ 4358819 w 5821363"/>
              <a:gd name="connsiteY250" fmla="*/ 4436034 h 5186362"/>
              <a:gd name="connsiteX251" fmla="*/ 4371447 w 5821363"/>
              <a:gd name="connsiteY251" fmla="*/ 4448865 h 5186362"/>
              <a:gd name="connsiteX252" fmla="*/ 4374181 w 5821363"/>
              <a:gd name="connsiteY252" fmla="*/ 4452970 h 5186362"/>
              <a:gd name="connsiteX253" fmla="*/ 4376254 w 5821363"/>
              <a:gd name="connsiteY253" fmla="*/ 4455255 h 5186362"/>
              <a:gd name="connsiteX254" fmla="*/ 4377929 w 5821363"/>
              <a:gd name="connsiteY254" fmla="*/ 4458597 h 5186362"/>
              <a:gd name="connsiteX255" fmla="*/ 4388250 w 5821363"/>
              <a:gd name="connsiteY255" fmla="*/ 4474091 h 5186362"/>
              <a:gd name="connsiteX256" fmla="*/ 4397375 w 5821363"/>
              <a:gd name="connsiteY256" fmla="*/ 4497387 h 5186362"/>
              <a:gd name="connsiteX257" fmla="*/ 4225925 w 5821363"/>
              <a:gd name="connsiteY257" fmla="*/ 4357065 h 5186362"/>
              <a:gd name="connsiteX258" fmla="*/ 4245096 w 5821363"/>
              <a:gd name="connsiteY258" fmla="*/ 4356338 h 5186362"/>
              <a:gd name="connsiteX259" fmla="*/ 5036785 w 5821363"/>
              <a:gd name="connsiteY259" fmla="*/ 4024312 h 5186362"/>
              <a:gd name="connsiteX260" fmla="*/ 5110163 w 5821363"/>
              <a:gd name="connsiteY260" fmla="*/ 4119562 h 5186362"/>
              <a:gd name="connsiteX261" fmla="*/ 5073474 w 5821363"/>
              <a:gd name="connsiteY261" fmla="*/ 4091909 h 5186362"/>
              <a:gd name="connsiteX262" fmla="*/ 5064302 w 5821363"/>
              <a:gd name="connsiteY262" fmla="*/ 4113417 h 5186362"/>
              <a:gd name="connsiteX263" fmla="*/ 5027613 w 5821363"/>
              <a:gd name="connsiteY263" fmla="*/ 4033530 h 5186362"/>
              <a:gd name="connsiteX264" fmla="*/ 5036785 w 5821363"/>
              <a:gd name="connsiteY264" fmla="*/ 4024312 h 5186362"/>
              <a:gd name="connsiteX265" fmla="*/ 3053420 w 5821363"/>
              <a:gd name="connsiteY265" fmla="*/ 3960812 h 5186362"/>
              <a:gd name="connsiteX266" fmla="*/ 3053423 w 5821363"/>
              <a:gd name="connsiteY266" fmla="*/ 3960820 h 5186362"/>
              <a:gd name="connsiteX267" fmla="*/ 3053504 w 5821363"/>
              <a:gd name="connsiteY267" fmla="*/ 3960812 h 5186362"/>
              <a:gd name="connsiteX268" fmla="*/ 3060194 w 5821363"/>
              <a:gd name="connsiteY268" fmla="*/ 3977377 h 5186362"/>
              <a:gd name="connsiteX269" fmla="*/ 3071813 w 5821363"/>
              <a:gd name="connsiteY269" fmla="*/ 4005791 h 5186362"/>
              <a:gd name="connsiteX270" fmla="*/ 3071684 w 5821363"/>
              <a:gd name="connsiteY270" fmla="*/ 4005829 h 5186362"/>
              <a:gd name="connsiteX271" fmla="*/ 3071919 w 5821363"/>
              <a:gd name="connsiteY271" fmla="*/ 4006411 h 5186362"/>
              <a:gd name="connsiteX272" fmla="*/ 3041227 w 5821363"/>
              <a:gd name="connsiteY272" fmla="*/ 4015530 h 5186362"/>
              <a:gd name="connsiteX273" fmla="*/ 3068850 w 5821363"/>
              <a:gd name="connsiteY273" fmla="*/ 4030730 h 5186362"/>
              <a:gd name="connsiteX274" fmla="*/ 3068869 w 5821363"/>
              <a:gd name="connsiteY274" fmla="*/ 4031052 h 5186362"/>
              <a:gd name="connsiteX275" fmla="*/ 3068882 w 5821363"/>
              <a:gd name="connsiteY275" fmla="*/ 4031059 h 5186362"/>
              <a:gd name="connsiteX276" fmla="*/ 3074988 w 5821363"/>
              <a:gd name="connsiteY276" fmla="*/ 4103687 h 5186362"/>
              <a:gd name="connsiteX277" fmla="*/ 2995190 w 5821363"/>
              <a:gd name="connsiteY277" fmla="*/ 4052009 h 5186362"/>
              <a:gd name="connsiteX278" fmla="*/ 3016674 w 5821363"/>
              <a:gd name="connsiteY278" fmla="*/ 4006411 h 5186362"/>
              <a:gd name="connsiteX279" fmla="*/ 2982913 w 5821363"/>
              <a:gd name="connsiteY279" fmla="*/ 3966892 h 5186362"/>
              <a:gd name="connsiteX280" fmla="*/ 2982980 w 5821363"/>
              <a:gd name="connsiteY280" fmla="*/ 3966887 h 5186362"/>
              <a:gd name="connsiteX281" fmla="*/ 2982913 w 5821363"/>
              <a:gd name="connsiteY281" fmla="*/ 3966809 h 5186362"/>
              <a:gd name="connsiteX282" fmla="*/ 3053420 w 5821363"/>
              <a:gd name="connsiteY282" fmla="*/ 3960812 h 5186362"/>
              <a:gd name="connsiteX283" fmla="*/ 3074988 w 5821363"/>
              <a:gd name="connsiteY283" fmla="*/ 3905249 h 5186362"/>
              <a:gd name="connsiteX284" fmla="*/ 3163888 w 5821363"/>
              <a:gd name="connsiteY284" fmla="*/ 3979068 h 5186362"/>
              <a:gd name="connsiteX285" fmla="*/ 3163888 w 5821363"/>
              <a:gd name="connsiteY285" fmla="*/ 3988295 h 5186362"/>
              <a:gd name="connsiteX286" fmla="*/ 3114840 w 5821363"/>
              <a:gd name="connsiteY286" fmla="*/ 3982144 h 5186362"/>
              <a:gd name="connsiteX287" fmla="*/ 3111774 w 5821363"/>
              <a:gd name="connsiteY287" fmla="*/ 4003674 h 5186362"/>
              <a:gd name="connsiteX288" fmla="*/ 3074988 w 5821363"/>
              <a:gd name="connsiteY288" fmla="*/ 3905249 h 5186362"/>
              <a:gd name="connsiteX289" fmla="*/ 5530374 w 5821363"/>
              <a:gd name="connsiteY289" fmla="*/ 3709987 h 5186362"/>
              <a:gd name="connsiteX290" fmla="*/ 5640388 w 5821363"/>
              <a:gd name="connsiteY290" fmla="*/ 3846909 h 5186362"/>
              <a:gd name="connsiteX291" fmla="*/ 5628164 w 5821363"/>
              <a:gd name="connsiteY291" fmla="*/ 3856037 h 5186362"/>
              <a:gd name="connsiteX292" fmla="*/ 5518150 w 5821363"/>
              <a:gd name="connsiteY292" fmla="*/ 3719115 h 5186362"/>
              <a:gd name="connsiteX293" fmla="*/ 5530374 w 5821363"/>
              <a:gd name="connsiteY293" fmla="*/ 3709987 h 5186362"/>
              <a:gd name="connsiteX294" fmla="*/ 486644 w 5821363"/>
              <a:gd name="connsiteY294" fmla="*/ 3245257 h 5186362"/>
              <a:gd name="connsiteX295" fmla="*/ 541735 w 5821363"/>
              <a:gd name="connsiteY295" fmla="*/ 3245257 h 5186362"/>
              <a:gd name="connsiteX296" fmla="*/ 486644 w 5821363"/>
              <a:gd name="connsiteY296" fmla="*/ 3247597 h 5186362"/>
              <a:gd name="connsiteX297" fmla="*/ 5293890 w 5821363"/>
              <a:gd name="connsiteY297" fmla="*/ 1824037 h 5186362"/>
              <a:gd name="connsiteX298" fmla="*/ 5465763 w 5821363"/>
              <a:gd name="connsiteY298" fmla="*/ 1946708 h 5186362"/>
              <a:gd name="connsiteX299" fmla="*/ 5453486 w 5821363"/>
              <a:gd name="connsiteY299" fmla="*/ 1958975 h 5186362"/>
              <a:gd name="connsiteX300" fmla="*/ 5281613 w 5821363"/>
              <a:gd name="connsiteY300" fmla="*/ 1836304 h 5186362"/>
              <a:gd name="connsiteX301" fmla="*/ 5293890 w 5821363"/>
              <a:gd name="connsiteY301" fmla="*/ 1824037 h 5186362"/>
              <a:gd name="connsiteX302" fmla="*/ 744578 w 5821363"/>
              <a:gd name="connsiteY302" fmla="*/ 1637690 h 5186362"/>
              <a:gd name="connsiteX303" fmla="*/ 804942 w 5821363"/>
              <a:gd name="connsiteY303" fmla="*/ 1653380 h 5186362"/>
              <a:gd name="connsiteX304" fmla="*/ 808038 w 5821363"/>
              <a:gd name="connsiteY304" fmla="*/ 1665627 h 5186362"/>
              <a:gd name="connsiteX305" fmla="*/ 795655 w 5821363"/>
              <a:gd name="connsiteY305" fmla="*/ 1668689 h 5186362"/>
              <a:gd name="connsiteX306" fmla="*/ 749221 w 5821363"/>
              <a:gd name="connsiteY306" fmla="*/ 1674812 h 5186362"/>
              <a:gd name="connsiteX307" fmla="*/ 684213 w 5821363"/>
              <a:gd name="connsiteY307" fmla="*/ 1647257 h 5186362"/>
              <a:gd name="connsiteX308" fmla="*/ 744578 w 5821363"/>
              <a:gd name="connsiteY308" fmla="*/ 1637690 h 5186362"/>
              <a:gd name="connsiteX309" fmla="*/ 999938 w 5821363"/>
              <a:gd name="connsiteY309" fmla="*/ 1631949 h 5186362"/>
              <a:gd name="connsiteX310" fmla="*/ 1095468 w 5821363"/>
              <a:gd name="connsiteY310" fmla="*/ 1714499 h 5186362"/>
              <a:gd name="connsiteX311" fmla="*/ 993775 w 5821363"/>
              <a:gd name="connsiteY311" fmla="*/ 1644179 h 5186362"/>
              <a:gd name="connsiteX312" fmla="*/ 999938 w 5821363"/>
              <a:gd name="connsiteY312" fmla="*/ 1631949 h 5186362"/>
              <a:gd name="connsiteX313" fmla="*/ 1133836 w 5821363"/>
              <a:gd name="connsiteY313" fmla="*/ 1608204 h 5186362"/>
              <a:gd name="connsiteX314" fmla="*/ 1152068 w 5821363"/>
              <a:gd name="connsiteY314" fmla="*/ 1610677 h 5186362"/>
              <a:gd name="connsiteX315" fmla="*/ 1154643 w 5821363"/>
              <a:gd name="connsiteY315" fmla="*/ 1612129 h 5186362"/>
              <a:gd name="connsiteX316" fmla="*/ 1157396 w 5821363"/>
              <a:gd name="connsiteY316" fmla="*/ 1612648 h 5186362"/>
              <a:gd name="connsiteX317" fmla="*/ 1159746 w 5821363"/>
              <a:gd name="connsiteY317" fmla="*/ 1615007 h 5186362"/>
              <a:gd name="connsiteX318" fmla="*/ 1166571 w 5821363"/>
              <a:gd name="connsiteY318" fmla="*/ 1618856 h 5186362"/>
              <a:gd name="connsiteX319" fmla="*/ 1170433 w 5821363"/>
              <a:gd name="connsiteY319" fmla="*/ 1625731 h 5186362"/>
              <a:gd name="connsiteX320" fmla="*/ 1173377 w 5821363"/>
              <a:gd name="connsiteY320" fmla="*/ 1628685 h 5186362"/>
              <a:gd name="connsiteX321" fmla="*/ 1173796 w 5821363"/>
              <a:gd name="connsiteY321" fmla="*/ 1631716 h 5186362"/>
              <a:gd name="connsiteX322" fmla="*/ 1175745 w 5821363"/>
              <a:gd name="connsiteY322" fmla="*/ 1635185 h 5186362"/>
              <a:gd name="connsiteX323" fmla="*/ 1177992 w 5821363"/>
              <a:gd name="connsiteY323" fmla="*/ 1662112 h 5186362"/>
              <a:gd name="connsiteX324" fmla="*/ 1106488 w 5821363"/>
              <a:gd name="connsiteY324" fmla="*/ 1609557 h 5186362"/>
              <a:gd name="connsiteX325" fmla="*/ 1133836 w 5821363"/>
              <a:gd name="connsiteY325" fmla="*/ 1608204 h 5186362"/>
              <a:gd name="connsiteX326" fmla="*/ 712280 w 5821363"/>
              <a:gd name="connsiteY326" fmla="*/ 1533524 h 5186362"/>
              <a:gd name="connsiteX327" fmla="*/ 852488 w 5821363"/>
              <a:gd name="connsiteY327" fmla="*/ 1622891 h 5186362"/>
              <a:gd name="connsiteX328" fmla="*/ 843344 w 5821363"/>
              <a:gd name="connsiteY328" fmla="*/ 1638299 h 5186362"/>
              <a:gd name="connsiteX329" fmla="*/ 700088 w 5821363"/>
              <a:gd name="connsiteY329" fmla="*/ 1552014 h 5186362"/>
              <a:gd name="connsiteX330" fmla="*/ 712280 w 5821363"/>
              <a:gd name="connsiteY330" fmla="*/ 1533524 h 5186362"/>
              <a:gd name="connsiteX331" fmla="*/ 1009894 w 5821363"/>
              <a:gd name="connsiteY331" fmla="*/ 1460600 h 5186362"/>
              <a:gd name="connsiteX332" fmla="*/ 1009953 w 5821363"/>
              <a:gd name="connsiteY332" fmla="*/ 1460671 h 5186362"/>
              <a:gd name="connsiteX333" fmla="*/ 1010015 w 5821363"/>
              <a:gd name="connsiteY333" fmla="*/ 1460671 h 5186362"/>
              <a:gd name="connsiteX334" fmla="*/ 1413371 w 5821363"/>
              <a:gd name="connsiteY334" fmla="*/ 684153 h 5186362"/>
              <a:gd name="connsiteX335" fmla="*/ 1413792 w 5821363"/>
              <a:gd name="connsiteY335" fmla="*/ 684470 h 5186362"/>
              <a:gd name="connsiteX336" fmla="*/ 1414022 w 5821363"/>
              <a:gd name="connsiteY336" fmla="*/ 684500 h 5186362"/>
              <a:gd name="connsiteX337" fmla="*/ 1716088 w 5821363"/>
              <a:gd name="connsiteY337" fmla="*/ 231774 h 5186362"/>
              <a:gd name="connsiteX338" fmla="*/ 1751365 w 5821363"/>
              <a:gd name="connsiteY338" fmla="*/ 248987 h 5186362"/>
              <a:gd name="connsiteX339" fmla="*/ 1786642 w 5821363"/>
              <a:gd name="connsiteY339" fmla="*/ 268493 h 5186362"/>
              <a:gd name="connsiteX340" fmla="*/ 1776672 w 5821363"/>
              <a:gd name="connsiteY340" fmla="*/ 251283 h 5186362"/>
              <a:gd name="connsiteX341" fmla="*/ 1771304 w 5821363"/>
              <a:gd name="connsiteY341" fmla="*/ 240955 h 5186362"/>
              <a:gd name="connsiteX342" fmla="*/ 1771305 w 5821363"/>
              <a:gd name="connsiteY342" fmla="*/ 240955 h 5186362"/>
              <a:gd name="connsiteX343" fmla="*/ 1771304 w 5821363"/>
              <a:gd name="connsiteY343" fmla="*/ 240954 h 5186362"/>
              <a:gd name="connsiteX344" fmla="*/ 1827288 w 5821363"/>
              <a:gd name="connsiteY344" fmla="*/ 250517 h 5186362"/>
              <a:gd name="connsiteX345" fmla="*/ 1887872 w 5821363"/>
              <a:gd name="connsiteY345" fmla="*/ 262374 h 5186362"/>
              <a:gd name="connsiteX346" fmla="*/ 1884805 w 5821363"/>
              <a:gd name="connsiteY346" fmla="*/ 231775 h 5186362"/>
              <a:gd name="connsiteX347" fmla="*/ 1884805 w 5821363"/>
              <a:gd name="connsiteY347" fmla="*/ 231774 h 5186362"/>
              <a:gd name="connsiteX348" fmla="*/ 1976832 w 5821363"/>
              <a:gd name="connsiteY348" fmla="*/ 308273 h 5186362"/>
              <a:gd name="connsiteX349" fmla="*/ 2047386 w 5821363"/>
              <a:gd name="connsiteY349" fmla="*/ 360293 h 5186362"/>
              <a:gd name="connsiteX350" fmla="*/ 2124076 w 5821363"/>
              <a:gd name="connsiteY350" fmla="*/ 433732 h 5186362"/>
              <a:gd name="connsiteX351" fmla="*/ 2124075 w 5821363"/>
              <a:gd name="connsiteY351" fmla="*/ 433732 h 5186362"/>
              <a:gd name="connsiteX352" fmla="*/ 2124076 w 5821363"/>
              <a:gd name="connsiteY352" fmla="*/ 433733 h 5186362"/>
              <a:gd name="connsiteX353" fmla="*/ 1820385 w 5821363"/>
              <a:gd name="connsiteY353" fmla="*/ 415373 h 5186362"/>
              <a:gd name="connsiteX354" fmla="*/ 1820385 w 5821363"/>
              <a:gd name="connsiteY354" fmla="*/ 415372 h 5186362"/>
              <a:gd name="connsiteX355" fmla="*/ 1820385 w 5821363"/>
              <a:gd name="connsiteY355" fmla="*/ 400074 h 5186362"/>
              <a:gd name="connsiteX356" fmla="*/ 1820385 w 5821363"/>
              <a:gd name="connsiteY356" fmla="*/ 400072 h 5186362"/>
              <a:gd name="connsiteX357" fmla="*/ 1884803 w 5821363"/>
              <a:gd name="connsiteY357" fmla="*/ 415372 h 5186362"/>
              <a:gd name="connsiteX358" fmla="*/ 1798146 w 5821363"/>
              <a:gd name="connsiteY358" fmla="*/ 330459 h 5186362"/>
              <a:gd name="connsiteX359" fmla="*/ 1716088 w 5821363"/>
              <a:gd name="connsiteY359" fmla="*/ 231775 h 5186362"/>
              <a:gd name="connsiteX360" fmla="*/ 1716089 w 5821363"/>
              <a:gd name="connsiteY360" fmla="*/ 231776 h 5186362"/>
              <a:gd name="connsiteX361" fmla="*/ 1906588 w 5821363"/>
              <a:gd name="connsiteY361" fmla="*/ 204787 h 5186362"/>
              <a:gd name="connsiteX362" fmla="*/ 2055813 w 5821363"/>
              <a:gd name="connsiteY362" fmla="*/ 330200 h 5186362"/>
              <a:gd name="connsiteX363" fmla="*/ 2055812 w 5821363"/>
              <a:gd name="connsiteY363" fmla="*/ 330200 h 5186362"/>
              <a:gd name="connsiteX364" fmla="*/ 2055813 w 5821363"/>
              <a:gd name="connsiteY364" fmla="*/ 330201 h 5186362"/>
              <a:gd name="connsiteX365" fmla="*/ 1906588 w 5821363"/>
              <a:gd name="connsiteY365" fmla="*/ 204788 h 5186362"/>
              <a:gd name="connsiteX366" fmla="*/ 1906589 w 5821363"/>
              <a:gd name="connsiteY366" fmla="*/ 204789 h 5186362"/>
              <a:gd name="connsiteX367" fmla="*/ 2196963 w 5821363"/>
              <a:gd name="connsiteY367" fmla="*/ 121411 h 5186362"/>
              <a:gd name="connsiteX368" fmla="*/ 2215337 w 5821363"/>
              <a:gd name="connsiteY368" fmla="*/ 129756 h 5186362"/>
              <a:gd name="connsiteX369" fmla="*/ 2221739 w 5821363"/>
              <a:gd name="connsiteY369" fmla="*/ 135543 h 5186362"/>
              <a:gd name="connsiteX370" fmla="*/ 2223016 w 5821363"/>
              <a:gd name="connsiteY370" fmla="*/ 136272 h 5186362"/>
              <a:gd name="connsiteX371" fmla="*/ 2245169 w 5821363"/>
              <a:gd name="connsiteY371" fmla="*/ 155295 h 5186362"/>
              <a:gd name="connsiteX372" fmla="*/ 2245193 w 5821363"/>
              <a:gd name="connsiteY372" fmla="*/ 155315 h 5186362"/>
              <a:gd name="connsiteX373" fmla="*/ 2321749 w 5821363"/>
              <a:gd name="connsiteY373" fmla="*/ 188885 h 5186362"/>
              <a:gd name="connsiteX374" fmla="*/ 2389118 w 5821363"/>
              <a:gd name="connsiteY374" fmla="*/ 228559 h 5186362"/>
              <a:gd name="connsiteX375" fmla="*/ 2441176 w 5821363"/>
              <a:gd name="connsiteY375" fmla="*/ 277388 h 5186362"/>
              <a:gd name="connsiteX376" fmla="*/ 2441176 w 5821363"/>
              <a:gd name="connsiteY376" fmla="*/ 277389 h 5186362"/>
              <a:gd name="connsiteX377" fmla="*/ 2435052 w 5821363"/>
              <a:gd name="connsiteY377" fmla="*/ 289597 h 5186362"/>
              <a:gd name="connsiteX378" fmla="*/ 2401367 w 5821363"/>
              <a:gd name="connsiteY378" fmla="*/ 265182 h 5186362"/>
              <a:gd name="connsiteX379" fmla="*/ 2392182 w 5821363"/>
              <a:gd name="connsiteY379" fmla="*/ 268234 h 5186362"/>
              <a:gd name="connsiteX380" fmla="*/ 2401750 w 5821363"/>
              <a:gd name="connsiteY380" fmla="*/ 284636 h 5186362"/>
              <a:gd name="connsiteX381" fmla="*/ 2413616 w 5821363"/>
              <a:gd name="connsiteY381" fmla="*/ 298751 h 5186362"/>
              <a:gd name="connsiteX382" fmla="*/ 2536105 w 5821363"/>
              <a:gd name="connsiteY382" fmla="*/ 384202 h 5186362"/>
              <a:gd name="connsiteX383" fmla="*/ 2557924 w 5821363"/>
              <a:gd name="connsiteY383" fmla="*/ 388017 h 5186362"/>
              <a:gd name="connsiteX384" fmla="*/ 2581611 w 5821363"/>
              <a:gd name="connsiteY384" fmla="*/ 387268 h 5186362"/>
              <a:gd name="connsiteX385" fmla="*/ 2547386 w 5821363"/>
              <a:gd name="connsiteY385" fmla="*/ 366235 h 5186362"/>
              <a:gd name="connsiteX386" fmla="*/ 2511607 w 5821363"/>
              <a:gd name="connsiteY386" fmla="*/ 344530 h 5186362"/>
              <a:gd name="connsiteX387" fmla="*/ 2511669 w 5821363"/>
              <a:gd name="connsiteY387" fmla="*/ 344284 h 5186362"/>
              <a:gd name="connsiteX388" fmla="*/ 2511425 w 5821363"/>
              <a:gd name="connsiteY388" fmla="*/ 344134 h 5186362"/>
              <a:gd name="connsiteX389" fmla="*/ 2514482 w 5821363"/>
              <a:gd name="connsiteY389" fmla="*/ 331787 h 5186362"/>
              <a:gd name="connsiteX390" fmla="*/ 2593975 w 5821363"/>
              <a:gd name="connsiteY390" fmla="*/ 350308 h 5186362"/>
              <a:gd name="connsiteX391" fmla="*/ 2593937 w 5821363"/>
              <a:gd name="connsiteY391" fmla="*/ 350557 h 5186362"/>
              <a:gd name="connsiteX392" fmla="*/ 2594288 w 5821363"/>
              <a:gd name="connsiteY392" fmla="*/ 350633 h 5186362"/>
              <a:gd name="connsiteX393" fmla="*/ 2591991 w 5821363"/>
              <a:gd name="connsiteY393" fmla="*/ 365511 h 5186362"/>
              <a:gd name="connsiteX394" fmla="*/ 2585101 w 5821363"/>
              <a:gd name="connsiteY394" fmla="*/ 387255 h 5186362"/>
              <a:gd name="connsiteX395" fmla="*/ 2598402 w 5821363"/>
              <a:gd name="connsiteY395" fmla="*/ 396219 h 5186362"/>
              <a:gd name="connsiteX396" fmla="*/ 2637159 w 5821363"/>
              <a:gd name="connsiteY396" fmla="*/ 384202 h 5186362"/>
              <a:gd name="connsiteX397" fmla="*/ 2695341 w 5821363"/>
              <a:gd name="connsiteY397" fmla="*/ 381151 h 5186362"/>
              <a:gd name="connsiteX398" fmla="*/ 2732088 w 5821363"/>
              <a:gd name="connsiteY398" fmla="*/ 393358 h 5186362"/>
              <a:gd name="connsiteX399" fmla="*/ 2732087 w 5821363"/>
              <a:gd name="connsiteY399" fmla="*/ 393358 h 5186362"/>
              <a:gd name="connsiteX400" fmla="*/ 2732088 w 5821363"/>
              <a:gd name="connsiteY400" fmla="*/ 393359 h 5186362"/>
              <a:gd name="connsiteX401" fmla="*/ 2333998 w 5821363"/>
              <a:gd name="connsiteY401" fmla="*/ 408618 h 5186362"/>
              <a:gd name="connsiteX402" fmla="*/ 2333998 w 5821363"/>
              <a:gd name="connsiteY402" fmla="*/ 408617 h 5186362"/>
              <a:gd name="connsiteX403" fmla="*/ 2333998 w 5821363"/>
              <a:gd name="connsiteY403" fmla="*/ 393359 h 5186362"/>
              <a:gd name="connsiteX404" fmla="*/ 2333998 w 5821363"/>
              <a:gd name="connsiteY404" fmla="*/ 393358 h 5186362"/>
              <a:gd name="connsiteX405" fmla="*/ 2358496 w 5821363"/>
              <a:gd name="connsiteY405" fmla="*/ 387255 h 5186362"/>
              <a:gd name="connsiteX406" fmla="*/ 2343950 w 5821363"/>
              <a:gd name="connsiteY406" fmla="*/ 348726 h 5186362"/>
              <a:gd name="connsiteX407" fmla="*/ 2324811 w 5821363"/>
              <a:gd name="connsiteY407" fmla="*/ 298752 h 5186362"/>
              <a:gd name="connsiteX408" fmla="*/ 2324811 w 5821363"/>
              <a:gd name="connsiteY408" fmla="*/ 328888 h 5186362"/>
              <a:gd name="connsiteX409" fmla="*/ 2324811 w 5821363"/>
              <a:gd name="connsiteY409" fmla="*/ 328889 h 5186362"/>
              <a:gd name="connsiteX410" fmla="*/ 2324811 w 5821363"/>
              <a:gd name="connsiteY410" fmla="*/ 356736 h 5186362"/>
              <a:gd name="connsiteX411" fmla="*/ 2324811 w 5821363"/>
              <a:gd name="connsiteY411" fmla="*/ 356737 h 5186362"/>
              <a:gd name="connsiteX412" fmla="*/ 2266629 w 5821363"/>
              <a:gd name="connsiteY412" fmla="*/ 317063 h 5186362"/>
              <a:gd name="connsiteX413" fmla="*/ 2266629 w 5821363"/>
              <a:gd name="connsiteY413" fmla="*/ 317062 h 5186362"/>
              <a:gd name="connsiteX414" fmla="*/ 2272753 w 5821363"/>
              <a:gd name="connsiteY414" fmla="*/ 304855 h 5186362"/>
              <a:gd name="connsiteX415" fmla="*/ 2288065 w 5821363"/>
              <a:gd name="connsiteY415" fmla="*/ 307906 h 5186362"/>
              <a:gd name="connsiteX416" fmla="*/ 2312562 w 5821363"/>
              <a:gd name="connsiteY416" fmla="*/ 310958 h 5186362"/>
              <a:gd name="connsiteX417" fmla="*/ 2249021 w 5821363"/>
              <a:gd name="connsiteY417" fmla="*/ 252593 h 5186362"/>
              <a:gd name="connsiteX418" fmla="*/ 2190073 w 5821363"/>
              <a:gd name="connsiteY418" fmla="*/ 201093 h 5186362"/>
              <a:gd name="connsiteX419" fmla="*/ 2190074 w 5821363"/>
              <a:gd name="connsiteY419" fmla="*/ 201093 h 5186362"/>
              <a:gd name="connsiteX420" fmla="*/ 2190073 w 5821363"/>
              <a:gd name="connsiteY420" fmla="*/ 201092 h 5186362"/>
              <a:gd name="connsiteX421" fmla="*/ 2199260 w 5821363"/>
              <a:gd name="connsiteY421" fmla="*/ 188885 h 5186362"/>
              <a:gd name="connsiteX422" fmla="*/ 2229882 w 5821363"/>
              <a:gd name="connsiteY422" fmla="*/ 207196 h 5186362"/>
              <a:gd name="connsiteX423" fmla="*/ 2236006 w 5821363"/>
              <a:gd name="connsiteY423" fmla="*/ 201093 h 5186362"/>
              <a:gd name="connsiteX424" fmla="*/ 2205002 w 5821363"/>
              <a:gd name="connsiteY424" fmla="*/ 164090 h 5186362"/>
              <a:gd name="connsiteX425" fmla="*/ 2171700 w 5821363"/>
              <a:gd name="connsiteY425" fmla="*/ 124798 h 5186362"/>
              <a:gd name="connsiteX426" fmla="*/ 2171701 w 5821363"/>
              <a:gd name="connsiteY426" fmla="*/ 124798 h 5186362"/>
              <a:gd name="connsiteX427" fmla="*/ 2171700 w 5821363"/>
              <a:gd name="connsiteY427" fmla="*/ 124796 h 5186362"/>
              <a:gd name="connsiteX428" fmla="*/ 2196963 w 5821363"/>
              <a:gd name="connsiteY428" fmla="*/ 121411 h 5186362"/>
              <a:gd name="connsiteX429" fmla="*/ 2603500 w 5821363"/>
              <a:gd name="connsiteY429" fmla="*/ 96837 h 5186362"/>
              <a:gd name="connsiteX430" fmla="*/ 2753461 w 5821363"/>
              <a:gd name="connsiteY430" fmla="*/ 219301 h 5186362"/>
              <a:gd name="connsiteX431" fmla="*/ 2781005 w 5821363"/>
              <a:gd name="connsiteY431" fmla="*/ 234610 h 5186362"/>
              <a:gd name="connsiteX432" fmla="*/ 2839154 w 5821363"/>
              <a:gd name="connsiteY432" fmla="*/ 243794 h 5186362"/>
              <a:gd name="connsiteX433" fmla="*/ 3126835 w 5821363"/>
              <a:gd name="connsiteY433" fmla="*/ 378505 h 5186362"/>
              <a:gd name="connsiteX434" fmla="*/ 3197225 w 5821363"/>
              <a:gd name="connsiteY434" fmla="*/ 430552 h 5186362"/>
              <a:gd name="connsiteX435" fmla="*/ 3197224 w 5821363"/>
              <a:gd name="connsiteY435" fmla="*/ 430552 h 5186362"/>
              <a:gd name="connsiteX436" fmla="*/ 3197225 w 5821363"/>
              <a:gd name="connsiteY436" fmla="*/ 430553 h 5186362"/>
              <a:gd name="connsiteX437" fmla="*/ 3160500 w 5821363"/>
              <a:gd name="connsiteY437" fmla="*/ 433615 h 5186362"/>
              <a:gd name="connsiteX438" fmla="*/ 3038082 w 5821363"/>
              <a:gd name="connsiteY438" fmla="*/ 433615 h 5186362"/>
              <a:gd name="connsiteX439" fmla="*/ 2950095 w 5821363"/>
              <a:gd name="connsiteY439" fmla="*/ 428257 h 5186362"/>
              <a:gd name="connsiteX440" fmla="*/ 2868073 w 5821363"/>
              <a:gd name="connsiteY440" fmla="*/ 400404 h 5186362"/>
              <a:gd name="connsiteX441" fmla="*/ 2868074 w 5821363"/>
              <a:gd name="connsiteY441" fmla="*/ 400403 h 5186362"/>
              <a:gd name="connsiteX442" fmla="*/ 2867519 w 5821363"/>
              <a:gd name="connsiteY442" fmla="*/ 400215 h 5186362"/>
              <a:gd name="connsiteX443" fmla="*/ 2867519 w 5821363"/>
              <a:gd name="connsiteY443" fmla="*/ 400216 h 5186362"/>
              <a:gd name="connsiteX444" fmla="*/ 2868073 w 5821363"/>
              <a:gd name="connsiteY444" fmla="*/ 400404 h 5186362"/>
              <a:gd name="connsiteX445" fmla="*/ 2867692 w 5821363"/>
              <a:gd name="connsiteY445" fmla="*/ 401124 h 5186362"/>
              <a:gd name="connsiteX446" fmla="*/ 2870889 w 5821363"/>
              <a:gd name="connsiteY446" fmla="*/ 417909 h 5186362"/>
              <a:gd name="connsiteX447" fmla="*/ 2865126 w 5821363"/>
              <a:gd name="connsiteY447" fmla="*/ 428037 h 5186362"/>
              <a:gd name="connsiteX448" fmla="*/ 2860966 w 5821363"/>
              <a:gd name="connsiteY448" fmla="*/ 428915 h 5186362"/>
              <a:gd name="connsiteX449" fmla="*/ 2859166 w 5821363"/>
              <a:gd name="connsiteY449" fmla="*/ 431032 h 5186362"/>
              <a:gd name="connsiteX450" fmla="*/ 2839154 w 5821363"/>
              <a:gd name="connsiteY450" fmla="*/ 433615 h 5186362"/>
              <a:gd name="connsiteX451" fmla="*/ 2784066 w 5821363"/>
              <a:gd name="connsiteY451" fmla="*/ 427492 h 5186362"/>
              <a:gd name="connsiteX452" fmla="*/ 2735099 w 5821363"/>
              <a:gd name="connsiteY452" fmla="*/ 350951 h 5186362"/>
              <a:gd name="connsiteX453" fmla="*/ 2735483 w 5821363"/>
              <a:gd name="connsiteY453" fmla="*/ 351189 h 5186362"/>
              <a:gd name="connsiteX454" fmla="*/ 2735263 w 5821363"/>
              <a:gd name="connsiteY454" fmla="*/ 350837 h 5186362"/>
              <a:gd name="connsiteX455" fmla="*/ 2821326 w 5821363"/>
              <a:gd name="connsiteY455" fmla="*/ 399756 h 5186362"/>
              <a:gd name="connsiteX456" fmla="*/ 2843226 w 5821363"/>
              <a:gd name="connsiteY456" fmla="*/ 403195 h 5186362"/>
              <a:gd name="connsiteX457" fmla="*/ 2866748 w 5821363"/>
              <a:gd name="connsiteY457" fmla="*/ 399853 h 5186362"/>
              <a:gd name="connsiteX458" fmla="*/ 2875300 w 5821363"/>
              <a:gd name="connsiteY458" fmla="*/ 385438 h 5186362"/>
              <a:gd name="connsiteX459" fmla="*/ 2872478 w 5821363"/>
              <a:gd name="connsiteY459" fmla="*/ 371702 h 5186362"/>
              <a:gd name="connsiteX460" fmla="*/ 2851407 w 5821363"/>
              <a:gd name="connsiteY460" fmla="*/ 360142 h 5186362"/>
              <a:gd name="connsiteX461" fmla="*/ 2851395 w 5821363"/>
              <a:gd name="connsiteY461" fmla="*/ 360137 h 5186362"/>
              <a:gd name="connsiteX462" fmla="*/ 2744280 w 5821363"/>
              <a:gd name="connsiteY462" fmla="*/ 265227 h 5186362"/>
              <a:gd name="connsiteX463" fmla="*/ 2637165 w 5821363"/>
              <a:gd name="connsiteY463" fmla="*/ 139701 h 5186362"/>
              <a:gd name="connsiteX464" fmla="*/ 2603500 w 5821363"/>
              <a:gd name="connsiteY464" fmla="*/ 96839 h 5186362"/>
              <a:gd name="connsiteX465" fmla="*/ 2603501 w 5821363"/>
              <a:gd name="connsiteY465" fmla="*/ 96839 h 5186362"/>
              <a:gd name="connsiteX466" fmla="*/ 3547297 w 5821363"/>
              <a:gd name="connsiteY466" fmla="*/ 0 h 5186362"/>
              <a:gd name="connsiteX467" fmla="*/ 3620753 w 5821363"/>
              <a:gd name="connsiteY467" fmla="*/ 149734 h 5186362"/>
              <a:gd name="connsiteX468" fmla="*/ 3642178 w 5821363"/>
              <a:gd name="connsiteY468" fmla="*/ 125287 h 5186362"/>
              <a:gd name="connsiteX469" fmla="*/ 3651360 w 5821363"/>
              <a:gd name="connsiteY469" fmla="*/ 137511 h 5186362"/>
              <a:gd name="connsiteX470" fmla="*/ 3764604 w 5821363"/>
              <a:gd name="connsiteY470" fmla="*/ 296413 h 5186362"/>
              <a:gd name="connsiteX471" fmla="*/ 3883969 w 5821363"/>
              <a:gd name="connsiteY471" fmla="*/ 440035 h 5186362"/>
              <a:gd name="connsiteX472" fmla="*/ 3887030 w 5821363"/>
              <a:gd name="connsiteY472" fmla="*/ 482816 h 5186362"/>
              <a:gd name="connsiteX473" fmla="*/ 3929879 w 5821363"/>
              <a:gd name="connsiteY473" fmla="*/ 559211 h 5186362"/>
              <a:gd name="connsiteX474" fmla="*/ 4085973 w 5821363"/>
              <a:gd name="connsiteY474" fmla="*/ 742559 h 5186362"/>
              <a:gd name="connsiteX475" fmla="*/ 4190035 w 5821363"/>
              <a:gd name="connsiteY475" fmla="*/ 797563 h 5186362"/>
              <a:gd name="connsiteX476" fmla="*/ 4205338 w 5821363"/>
              <a:gd name="connsiteY476" fmla="*/ 799855 h 5186362"/>
              <a:gd name="connsiteX477" fmla="*/ 4220640 w 5821363"/>
              <a:gd name="connsiteY477" fmla="*/ 806730 h 5186362"/>
              <a:gd name="connsiteX478" fmla="*/ 4167207 w 5821363"/>
              <a:gd name="connsiteY478" fmla="*/ 761286 h 5186362"/>
              <a:gd name="connsiteX479" fmla="*/ 4137025 w 5821363"/>
              <a:gd name="connsiteY479" fmla="*/ 736022 h 5186362"/>
              <a:gd name="connsiteX480" fmla="*/ 4146278 w 5821363"/>
              <a:gd name="connsiteY480" fmla="*/ 723899 h 5186362"/>
              <a:gd name="connsiteX481" fmla="*/ 4146987 w 5821363"/>
              <a:gd name="connsiteY481" fmla="*/ 724487 h 5186362"/>
              <a:gd name="connsiteX482" fmla="*/ 4147185 w 5821363"/>
              <a:gd name="connsiteY482" fmla="*/ 724224 h 5186362"/>
              <a:gd name="connsiteX483" fmla="*/ 4179250 w 5821363"/>
              <a:gd name="connsiteY483" fmla="*/ 751236 h 5186362"/>
              <a:gd name="connsiteX484" fmla="*/ 4244975 w 5821363"/>
              <a:gd name="connsiteY484" fmla="*/ 805728 h 5186362"/>
              <a:gd name="connsiteX485" fmla="*/ 4244578 w 5821363"/>
              <a:gd name="connsiteY485" fmla="*/ 806268 h 5186362"/>
              <a:gd name="connsiteX486" fmla="*/ 4245127 w 5821363"/>
              <a:gd name="connsiteY486" fmla="*/ 806731 h 5186362"/>
              <a:gd name="connsiteX487" fmla="*/ 4232884 w 5821363"/>
              <a:gd name="connsiteY487" fmla="*/ 825066 h 5186362"/>
              <a:gd name="connsiteX488" fmla="*/ 4225280 w 5821363"/>
              <a:gd name="connsiteY488" fmla="*/ 857915 h 5186362"/>
              <a:gd name="connsiteX489" fmla="*/ 4231736 w 5821363"/>
              <a:gd name="connsiteY489" fmla="*/ 881597 h 5186362"/>
              <a:gd name="connsiteX490" fmla="*/ 4297157 w 5821363"/>
              <a:gd name="connsiteY490" fmla="*/ 919795 h 5186362"/>
              <a:gd name="connsiteX491" fmla="*/ 4317052 w 5821363"/>
              <a:gd name="connsiteY491" fmla="*/ 935456 h 5186362"/>
              <a:gd name="connsiteX492" fmla="*/ 4336946 w 5821363"/>
              <a:gd name="connsiteY492" fmla="*/ 953408 h 5186362"/>
              <a:gd name="connsiteX493" fmla="*/ 4331972 w 5821363"/>
              <a:gd name="connsiteY493" fmla="*/ 938512 h 5186362"/>
              <a:gd name="connsiteX494" fmla="*/ 4324703 w 5821363"/>
              <a:gd name="connsiteY494" fmla="*/ 916739 h 5186362"/>
              <a:gd name="connsiteX495" fmla="*/ 4349189 w 5821363"/>
              <a:gd name="connsiteY495" fmla="*/ 935074 h 5186362"/>
              <a:gd name="connsiteX496" fmla="*/ 4497248 w 5821363"/>
              <a:gd name="connsiteY496" fmla="*/ 1119854 h 5186362"/>
              <a:gd name="connsiteX497" fmla="*/ 4551192 w 5821363"/>
              <a:gd name="connsiteY497" fmla="*/ 1176481 h 5186362"/>
              <a:gd name="connsiteX498" fmla="*/ 4633829 w 5821363"/>
              <a:gd name="connsiteY498" fmla="*/ 1255932 h 5186362"/>
              <a:gd name="connsiteX499" fmla="*/ 4753195 w 5821363"/>
              <a:gd name="connsiteY499" fmla="*/ 1368997 h 5186362"/>
              <a:gd name="connsiteX500" fmla="*/ 4845015 w 5821363"/>
              <a:gd name="connsiteY500" fmla="*/ 1439280 h 5186362"/>
              <a:gd name="connsiteX501" fmla="*/ 4924591 w 5821363"/>
              <a:gd name="connsiteY501" fmla="*/ 1530954 h 5186362"/>
              <a:gd name="connsiteX502" fmla="*/ 5013351 w 5821363"/>
              <a:gd name="connsiteY502" fmla="*/ 1592070 h 5186362"/>
              <a:gd name="connsiteX503" fmla="*/ 5074563 w 5821363"/>
              <a:gd name="connsiteY503" fmla="*/ 1662353 h 5186362"/>
              <a:gd name="connsiteX504" fmla="*/ 5166383 w 5821363"/>
              <a:gd name="connsiteY504" fmla="*/ 1772362 h 5186362"/>
              <a:gd name="connsiteX505" fmla="*/ 5233717 w 5821363"/>
              <a:gd name="connsiteY505" fmla="*/ 1836534 h 5186362"/>
              <a:gd name="connsiteX506" fmla="*/ 5319416 w 5821363"/>
              <a:gd name="connsiteY506" fmla="*/ 1894594 h 5186362"/>
              <a:gd name="connsiteX507" fmla="*/ 5343901 w 5821363"/>
              <a:gd name="connsiteY507" fmla="*/ 1928208 h 5186362"/>
              <a:gd name="connsiteX508" fmla="*/ 4890925 w 5821363"/>
              <a:gd name="connsiteY508" fmla="*/ 1558456 h 5186362"/>
              <a:gd name="connsiteX509" fmla="*/ 4875621 w 5821363"/>
              <a:gd name="connsiteY509" fmla="*/ 1573735 h 5186362"/>
              <a:gd name="connsiteX510" fmla="*/ 4924591 w 5821363"/>
              <a:gd name="connsiteY510" fmla="*/ 1631795 h 5186362"/>
              <a:gd name="connsiteX511" fmla="*/ 5056199 w 5821363"/>
              <a:gd name="connsiteY511" fmla="*/ 1763195 h 5186362"/>
              <a:gd name="connsiteX512" fmla="*/ 5160262 w 5821363"/>
              <a:gd name="connsiteY512" fmla="*/ 1851813 h 5186362"/>
              <a:gd name="connsiteX513" fmla="*/ 5209233 w 5821363"/>
              <a:gd name="connsiteY513" fmla="*/ 1903761 h 5186362"/>
              <a:gd name="connsiteX514" fmla="*/ 5395932 w 5821363"/>
              <a:gd name="connsiteY514" fmla="*/ 2038216 h 5186362"/>
              <a:gd name="connsiteX515" fmla="*/ 5431513 w 5821363"/>
              <a:gd name="connsiteY515" fmla="*/ 2053496 h 5186362"/>
              <a:gd name="connsiteX516" fmla="*/ 5468808 w 5821363"/>
              <a:gd name="connsiteY516" fmla="*/ 2068540 h 5186362"/>
              <a:gd name="connsiteX517" fmla="*/ 5468836 w 5821363"/>
              <a:gd name="connsiteY517" fmla="*/ 2068512 h 5186362"/>
              <a:gd name="connsiteX518" fmla="*/ 5547383 w 5821363"/>
              <a:gd name="connsiteY518" fmla="*/ 2093277 h 5186362"/>
              <a:gd name="connsiteX519" fmla="*/ 5558147 w 5821363"/>
              <a:gd name="connsiteY519" fmla="*/ 2096659 h 5186362"/>
              <a:gd name="connsiteX520" fmla="*/ 5656087 w 5821363"/>
              <a:gd name="connsiteY520" fmla="*/ 2126835 h 5186362"/>
              <a:gd name="connsiteX521" fmla="*/ 5655894 w 5821363"/>
              <a:gd name="connsiteY521" fmla="*/ 2126895 h 5186362"/>
              <a:gd name="connsiteX522" fmla="*/ 5656263 w 5821363"/>
              <a:gd name="connsiteY522" fmla="*/ 2127009 h 5186362"/>
              <a:gd name="connsiteX523" fmla="*/ 5495961 w 5821363"/>
              <a:gd name="connsiteY523" fmla="*/ 2113587 h 5186362"/>
              <a:gd name="connsiteX524" fmla="*/ 5465949 w 5821363"/>
              <a:gd name="connsiteY524" fmla="*/ 2071849 h 5186362"/>
              <a:gd name="connsiteX525" fmla="*/ 5405114 w 5821363"/>
              <a:gd name="connsiteY525" fmla="*/ 2074886 h 5186362"/>
              <a:gd name="connsiteX526" fmla="*/ 5487752 w 5821363"/>
              <a:gd name="connsiteY526" fmla="*/ 2145169 h 5186362"/>
              <a:gd name="connsiteX527" fmla="*/ 5478570 w 5821363"/>
              <a:gd name="connsiteY527" fmla="*/ 2160448 h 5186362"/>
              <a:gd name="connsiteX528" fmla="*/ 5334719 w 5821363"/>
              <a:gd name="connsiteY528" fmla="*/ 2111556 h 5186362"/>
              <a:gd name="connsiteX529" fmla="*/ 5340841 w 5821363"/>
              <a:gd name="connsiteY529" fmla="*/ 2145169 h 5186362"/>
              <a:gd name="connsiteX530" fmla="*/ 5288809 w 5821363"/>
              <a:gd name="connsiteY530" fmla="*/ 2132946 h 5186362"/>
              <a:gd name="connsiteX531" fmla="*/ 5288809 w 5821363"/>
              <a:gd name="connsiteY531" fmla="*/ 2148225 h 5186362"/>
              <a:gd name="connsiteX532" fmla="*/ 5034775 w 5821363"/>
              <a:gd name="connsiteY532" fmla="*/ 2025993 h 5186362"/>
              <a:gd name="connsiteX533" fmla="*/ 5074563 w 5821363"/>
              <a:gd name="connsiteY533" fmla="*/ 2123779 h 5186362"/>
              <a:gd name="connsiteX534" fmla="*/ 5037835 w 5821363"/>
              <a:gd name="connsiteY534" fmla="*/ 2123779 h 5186362"/>
              <a:gd name="connsiteX535" fmla="*/ 5053139 w 5821363"/>
              <a:gd name="connsiteY535" fmla="*/ 2132946 h 5186362"/>
              <a:gd name="connsiteX536" fmla="*/ 5175565 w 5821363"/>
              <a:gd name="connsiteY536" fmla="*/ 2221564 h 5186362"/>
              <a:gd name="connsiteX537" fmla="*/ 5175565 w 5821363"/>
              <a:gd name="connsiteY537" fmla="*/ 2227676 h 5186362"/>
              <a:gd name="connsiteX538" fmla="*/ 5166383 w 5821363"/>
              <a:gd name="connsiteY538" fmla="*/ 2227676 h 5186362"/>
              <a:gd name="connsiteX539" fmla="*/ 5337779 w 5821363"/>
              <a:gd name="connsiteY539" fmla="*/ 2389633 h 5186362"/>
              <a:gd name="connsiteX540" fmla="*/ 5429599 w 5821363"/>
              <a:gd name="connsiteY540" fmla="*/ 2569925 h 5186362"/>
              <a:gd name="connsiteX541" fmla="*/ 5441842 w 5821363"/>
              <a:gd name="connsiteY541" fmla="*/ 2524089 h 5186362"/>
              <a:gd name="connsiteX542" fmla="*/ 5509177 w 5821363"/>
              <a:gd name="connsiteY542" fmla="*/ 2566870 h 5186362"/>
              <a:gd name="connsiteX543" fmla="*/ 5457145 w 5821363"/>
              <a:gd name="connsiteY543" fmla="*/ 2579093 h 5186362"/>
              <a:gd name="connsiteX544" fmla="*/ 5435721 w 5821363"/>
              <a:gd name="connsiteY544" fmla="*/ 2603539 h 5186362"/>
              <a:gd name="connsiteX545" fmla="*/ 5451024 w 5821363"/>
              <a:gd name="connsiteY545" fmla="*/ 2631041 h 5186362"/>
              <a:gd name="connsiteX546" fmla="*/ 5518359 w 5821363"/>
              <a:gd name="connsiteY546" fmla="*/ 2725771 h 5186362"/>
              <a:gd name="connsiteX547" fmla="*/ 5481631 w 5821363"/>
              <a:gd name="connsiteY547" fmla="*/ 2716604 h 5186362"/>
              <a:gd name="connsiteX548" fmla="*/ 5496933 w 5821363"/>
              <a:gd name="connsiteY548" fmla="*/ 2744106 h 5186362"/>
              <a:gd name="connsiteX549" fmla="*/ 5487752 w 5821363"/>
              <a:gd name="connsiteY549" fmla="*/ 2750218 h 5186362"/>
              <a:gd name="connsiteX550" fmla="*/ 5435721 w 5821363"/>
              <a:gd name="connsiteY550" fmla="*/ 2692157 h 5186362"/>
              <a:gd name="connsiteX551" fmla="*/ 5460206 w 5821363"/>
              <a:gd name="connsiteY551" fmla="*/ 2777720 h 5186362"/>
              <a:gd name="connsiteX552" fmla="*/ 5512237 w 5821363"/>
              <a:gd name="connsiteY552" fmla="*/ 2841892 h 5186362"/>
              <a:gd name="connsiteX553" fmla="*/ 5475509 w 5821363"/>
              <a:gd name="connsiteY553" fmla="*/ 2771608 h 5186362"/>
              <a:gd name="connsiteX554" fmla="*/ 5484691 w 5821363"/>
              <a:gd name="connsiteY554" fmla="*/ 2765497 h 5186362"/>
              <a:gd name="connsiteX555" fmla="*/ 5533661 w 5821363"/>
              <a:gd name="connsiteY555" fmla="*/ 2838836 h 5186362"/>
              <a:gd name="connsiteX556" fmla="*/ 5607117 w 5821363"/>
              <a:gd name="connsiteY556" fmla="*/ 2994681 h 5186362"/>
              <a:gd name="connsiteX557" fmla="*/ 5460206 w 5821363"/>
              <a:gd name="connsiteY557" fmla="*/ 3049686 h 5186362"/>
              <a:gd name="connsiteX558" fmla="*/ 5454085 w 5821363"/>
              <a:gd name="connsiteY558" fmla="*/ 3147471 h 5186362"/>
              <a:gd name="connsiteX559" fmla="*/ 5438781 w 5821363"/>
              <a:gd name="connsiteY559" fmla="*/ 3147471 h 5186362"/>
              <a:gd name="connsiteX560" fmla="*/ 5499995 w 5821363"/>
              <a:gd name="connsiteY560" fmla="*/ 3217755 h 5186362"/>
              <a:gd name="connsiteX561" fmla="*/ 5677513 w 5821363"/>
              <a:gd name="connsiteY561" fmla="*/ 3419438 h 5186362"/>
              <a:gd name="connsiteX562" fmla="*/ 5726483 w 5821363"/>
              <a:gd name="connsiteY562" fmla="*/ 3505000 h 5186362"/>
              <a:gd name="connsiteX563" fmla="*/ 5717301 w 5821363"/>
              <a:gd name="connsiteY563" fmla="*/ 3511112 h 5186362"/>
              <a:gd name="connsiteX564" fmla="*/ 5671391 w 5821363"/>
              <a:gd name="connsiteY564" fmla="*/ 3477498 h 5186362"/>
              <a:gd name="connsiteX565" fmla="*/ 5668331 w 5821363"/>
              <a:gd name="connsiteY565" fmla="*/ 3477498 h 5186362"/>
              <a:gd name="connsiteX566" fmla="*/ 5717301 w 5821363"/>
              <a:gd name="connsiteY566" fmla="*/ 3544725 h 5186362"/>
              <a:gd name="connsiteX567" fmla="*/ 5708119 w 5821363"/>
              <a:gd name="connsiteY567" fmla="*/ 3553893 h 5186362"/>
              <a:gd name="connsiteX568" fmla="*/ 5671391 w 5821363"/>
              <a:gd name="connsiteY568" fmla="*/ 3523335 h 5186362"/>
              <a:gd name="connsiteX569" fmla="*/ 5662209 w 5821363"/>
              <a:gd name="connsiteY569" fmla="*/ 3532502 h 5186362"/>
              <a:gd name="connsiteX570" fmla="*/ 5717301 w 5821363"/>
              <a:gd name="connsiteY570" fmla="*/ 3587507 h 5186362"/>
              <a:gd name="connsiteX571" fmla="*/ 5720361 w 5821363"/>
              <a:gd name="connsiteY571" fmla="*/ 3581395 h 5186362"/>
              <a:gd name="connsiteX572" fmla="*/ 5757089 w 5821363"/>
              <a:gd name="connsiteY572" fmla="*/ 3682236 h 5186362"/>
              <a:gd name="connsiteX573" fmla="*/ 5698937 w 5821363"/>
              <a:gd name="connsiteY573" fmla="*/ 3660846 h 5186362"/>
              <a:gd name="connsiteX574" fmla="*/ 5821363 w 5821363"/>
              <a:gd name="connsiteY574" fmla="*/ 3844194 h 5186362"/>
              <a:gd name="connsiteX575" fmla="*/ 5815241 w 5821363"/>
              <a:gd name="connsiteY575" fmla="*/ 3850305 h 5186362"/>
              <a:gd name="connsiteX576" fmla="*/ 5781575 w 5821363"/>
              <a:gd name="connsiteY576" fmla="*/ 3825859 h 5186362"/>
              <a:gd name="connsiteX577" fmla="*/ 5775453 w 5821363"/>
              <a:gd name="connsiteY577" fmla="*/ 3828915 h 5186362"/>
              <a:gd name="connsiteX578" fmla="*/ 5781575 w 5821363"/>
              <a:gd name="connsiteY578" fmla="*/ 3847250 h 5186362"/>
              <a:gd name="connsiteX579" fmla="*/ 5668331 w 5821363"/>
              <a:gd name="connsiteY579" fmla="*/ 3801413 h 5186362"/>
              <a:gd name="connsiteX580" fmla="*/ 5668331 w 5821363"/>
              <a:gd name="connsiteY580" fmla="*/ 3819747 h 5186362"/>
              <a:gd name="connsiteX581" fmla="*/ 5576511 w 5821363"/>
              <a:gd name="connsiteY581" fmla="*/ 3737241 h 5186362"/>
              <a:gd name="connsiteX582" fmla="*/ 5515297 w 5821363"/>
              <a:gd name="connsiteY582" fmla="*/ 3660846 h 5186362"/>
              <a:gd name="connsiteX583" fmla="*/ 5395932 w 5821363"/>
              <a:gd name="connsiteY583" fmla="*/ 3563060 h 5186362"/>
              <a:gd name="connsiteX584" fmla="*/ 5340841 w 5821363"/>
              <a:gd name="connsiteY584" fmla="*/ 3535558 h 5186362"/>
              <a:gd name="connsiteX585" fmla="*/ 5343901 w 5821363"/>
              <a:gd name="connsiteY585" fmla="*/ 3602786 h 5186362"/>
              <a:gd name="connsiteX586" fmla="*/ 5270445 w 5821363"/>
              <a:gd name="connsiteY586" fmla="*/ 3553893 h 5186362"/>
              <a:gd name="connsiteX587" fmla="*/ 5276567 w 5821363"/>
              <a:gd name="connsiteY587" fmla="*/ 3547781 h 5186362"/>
              <a:gd name="connsiteX588" fmla="*/ 5319416 w 5821363"/>
              <a:gd name="connsiteY588" fmla="*/ 3566116 h 5186362"/>
              <a:gd name="connsiteX589" fmla="*/ 5270445 w 5821363"/>
              <a:gd name="connsiteY589" fmla="*/ 3526391 h 5186362"/>
              <a:gd name="connsiteX590" fmla="*/ 5160262 w 5821363"/>
              <a:gd name="connsiteY590" fmla="*/ 3459163 h 5186362"/>
              <a:gd name="connsiteX591" fmla="*/ 5227596 w 5821363"/>
              <a:gd name="connsiteY591" fmla="*/ 3566116 h 5186362"/>
              <a:gd name="connsiteX592" fmla="*/ 5288809 w 5821363"/>
              <a:gd name="connsiteY592" fmla="*/ 3624176 h 5186362"/>
              <a:gd name="connsiteX593" fmla="*/ 5356143 w 5821363"/>
              <a:gd name="connsiteY593" fmla="*/ 3654734 h 5186362"/>
              <a:gd name="connsiteX594" fmla="*/ 5426539 w 5821363"/>
              <a:gd name="connsiteY594" fmla="*/ 3776966 h 5186362"/>
              <a:gd name="connsiteX595" fmla="*/ 5389811 w 5821363"/>
              <a:gd name="connsiteY595" fmla="*/ 3731129 h 5186362"/>
              <a:gd name="connsiteX596" fmla="*/ 5282688 w 5821363"/>
              <a:gd name="connsiteY596" fmla="*/ 3663902 h 5186362"/>
              <a:gd name="connsiteX597" fmla="*/ 5221475 w 5821363"/>
              <a:gd name="connsiteY597" fmla="*/ 3621120 h 5186362"/>
              <a:gd name="connsiteX598" fmla="*/ 5157201 w 5821363"/>
              <a:gd name="connsiteY598" fmla="*/ 3575283 h 5186362"/>
              <a:gd name="connsiteX599" fmla="*/ 5346961 w 5821363"/>
              <a:gd name="connsiteY599" fmla="*/ 3780022 h 5186362"/>
              <a:gd name="connsiteX600" fmla="*/ 5304113 w 5821363"/>
              <a:gd name="connsiteY600" fmla="*/ 3786134 h 5186362"/>
              <a:gd name="connsiteX601" fmla="*/ 5371447 w 5821363"/>
              <a:gd name="connsiteY601" fmla="*/ 3822803 h 5186362"/>
              <a:gd name="connsiteX602" fmla="*/ 5463267 w 5821363"/>
              <a:gd name="connsiteY602" fmla="*/ 3981705 h 5186362"/>
              <a:gd name="connsiteX603" fmla="*/ 5417357 w 5821363"/>
              <a:gd name="connsiteY603" fmla="*/ 3945035 h 5186362"/>
              <a:gd name="connsiteX604" fmla="*/ 5258203 w 5821363"/>
              <a:gd name="connsiteY604" fmla="*/ 3792245 h 5186362"/>
              <a:gd name="connsiteX605" fmla="*/ 5441842 w 5821363"/>
              <a:gd name="connsiteY605" fmla="*/ 4039765 h 5186362"/>
              <a:gd name="connsiteX606" fmla="*/ 5386750 w 5821363"/>
              <a:gd name="connsiteY606" fmla="*/ 4033653 h 5186362"/>
              <a:gd name="connsiteX607" fmla="*/ 5441842 w 5821363"/>
              <a:gd name="connsiteY607" fmla="*/ 4100881 h 5186362"/>
              <a:gd name="connsiteX608" fmla="*/ 5435721 w 5821363"/>
              <a:gd name="connsiteY608" fmla="*/ 4106992 h 5186362"/>
              <a:gd name="connsiteX609" fmla="*/ 5346961 w 5821363"/>
              <a:gd name="connsiteY609" fmla="*/ 4055044 h 5186362"/>
              <a:gd name="connsiteX610" fmla="*/ 5392871 w 5821363"/>
              <a:gd name="connsiteY610" fmla="*/ 4110048 h 5186362"/>
              <a:gd name="connsiteX611" fmla="*/ 5383689 w 5821363"/>
              <a:gd name="connsiteY611" fmla="*/ 4119216 h 5186362"/>
              <a:gd name="connsiteX612" fmla="*/ 4820529 w 5821363"/>
              <a:gd name="connsiteY612" fmla="*/ 3615009 h 5186362"/>
              <a:gd name="connsiteX613" fmla="*/ 4841954 w 5821363"/>
              <a:gd name="connsiteY613" fmla="*/ 3718906 h 5186362"/>
              <a:gd name="connsiteX614" fmla="*/ 4765437 w 5821363"/>
              <a:gd name="connsiteY614" fmla="*/ 3703627 h 5186362"/>
              <a:gd name="connsiteX615" fmla="*/ 4817469 w 5821363"/>
              <a:gd name="connsiteY615" fmla="*/ 3792245 h 5186362"/>
              <a:gd name="connsiteX616" fmla="*/ 4915409 w 5821363"/>
              <a:gd name="connsiteY616" fmla="*/ 3896142 h 5186362"/>
              <a:gd name="connsiteX617" fmla="*/ 4927652 w 5821363"/>
              <a:gd name="connsiteY617" fmla="*/ 3877808 h 5186362"/>
              <a:gd name="connsiteX618" fmla="*/ 4964380 w 5821363"/>
              <a:gd name="connsiteY618" fmla="*/ 3981705 h 5186362"/>
              <a:gd name="connsiteX619" fmla="*/ 5019472 w 5821363"/>
              <a:gd name="connsiteY619" fmla="*/ 4085602 h 5186362"/>
              <a:gd name="connsiteX620" fmla="*/ 5102109 w 5821363"/>
              <a:gd name="connsiteY620" fmla="*/ 4189499 h 5186362"/>
              <a:gd name="connsiteX621" fmla="*/ 5031715 w 5821363"/>
              <a:gd name="connsiteY621" fmla="*/ 4161997 h 5186362"/>
              <a:gd name="connsiteX622" fmla="*/ 5111291 w 5821363"/>
              <a:gd name="connsiteY622" fmla="*/ 4278117 h 5186362"/>
              <a:gd name="connsiteX623" fmla="*/ 5007229 w 5821363"/>
              <a:gd name="connsiteY623" fmla="*/ 4189499 h 5186362"/>
              <a:gd name="connsiteX624" fmla="*/ 4998047 w 5821363"/>
              <a:gd name="connsiteY624" fmla="*/ 4247559 h 5186362"/>
              <a:gd name="connsiteX625" fmla="*/ 4952137 w 5821363"/>
              <a:gd name="connsiteY625" fmla="*/ 4195611 h 5186362"/>
              <a:gd name="connsiteX626" fmla="*/ 4936834 w 5821363"/>
              <a:gd name="connsiteY626" fmla="*/ 4244504 h 5186362"/>
              <a:gd name="connsiteX627" fmla="*/ 4909289 w 5821363"/>
              <a:gd name="connsiteY627" fmla="*/ 4217001 h 5186362"/>
              <a:gd name="connsiteX628" fmla="*/ 4869500 w 5821363"/>
              <a:gd name="connsiteY628" fmla="*/ 4210890 h 5186362"/>
              <a:gd name="connsiteX629" fmla="*/ 4789923 w 5821363"/>
              <a:gd name="connsiteY629" fmla="*/ 4201722 h 5186362"/>
              <a:gd name="connsiteX630" fmla="*/ 4765437 w 5821363"/>
              <a:gd name="connsiteY630" fmla="*/ 4195611 h 5186362"/>
              <a:gd name="connsiteX631" fmla="*/ 4578737 w 5821363"/>
              <a:gd name="connsiteY631" fmla="*/ 4033653 h 5186362"/>
              <a:gd name="connsiteX632" fmla="*/ 4434887 w 5821363"/>
              <a:gd name="connsiteY632" fmla="*/ 3929756 h 5186362"/>
              <a:gd name="connsiteX633" fmla="*/ 4395099 w 5821363"/>
              <a:gd name="connsiteY633" fmla="*/ 3929756 h 5186362"/>
              <a:gd name="connsiteX634" fmla="*/ 4367553 w 5821363"/>
              <a:gd name="connsiteY634" fmla="*/ 3996984 h 5186362"/>
              <a:gd name="connsiteX635" fmla="*/ 4321643 w 5821363"/>
              <a:gd name="connsiteY635" fmla="*/ 3966426 h 5186362"/>
              <a:gd name="connsiteX636" fmla="*/ 4315521 w 5821363"/>
              <a:gd name="connsiteY636" fmla="*/ 3969482 h 5186362"/>
              <a:gd name="connsiteX637" fmla="*/ 4343067 w 5821363"/>
              <a:gd name="connsiteY637" fmla="*/ 4018374 h 5186362"/>
              <a:gd name="connsiteX638" fmla="*/ 4340007 w 5821363"/>
              <a:gd name="connsiteY638" fmla="*/ 4024486 h 5186362"/>
              <a:gd name="connsiteX639" fmla="*/ 4300218 w 5821363"/>
              <a:gd name="connsiteY639" fmla="*/ 3978649 h 5186362"/>
              <a:gd name="connsiteX640" fmla="*/ 4294097 w 5821363"/>
              <a:gd name="connsiteY640" fmla="*/ 3981705 h 5186362"/>
              <a:gd name="connsiteX641" fmla="*/ 4318582 w 5821363"/>
              <a:gd name="connsiteY641" fmla="*/ 4030597 h 5186362"/>
              <a:gd name="connsiteX642" fmla="*/ 4287975 w 5821363"/>
              <a:gd name="connsiteY642" fmla="*/ 4088658 h 5186362"/>
              <a:gd name="connsiteX643" fmla="*/ 4272673 w 5821363"/>
              <a:gd name="connsiteY643" fmla="*/ 4146718 h 5186362"/>
              <a:gd name="connsiteX644" fmla="*/ 4242066 w 5821363"/>
              <a:gd name="connsiteY644" fmla="*/ 4143662 h 5186362"/>
              <a:gd name="connsiteX645" fmla="*/ 4165549 w 5821363"/>
              <a:gd name="connsiteY645" fmla="*/ 4207834 h 5186362"/>
              <a:gd name="connsiteX646" fmla="*/ 4180853 w 5821363"/>
              <a:gd name="connsiteY646" fmla="*/ 4244504 h 5186362"/>
              <a:gd name="connsiteX647" fmla="*/ 4107397 w 5821363"/>
              <a:gd name="connsiteY647" fmla="*/ 4189499 h 5186362"/>
              <a:gd name="connsiteX648" fmla="*/ 4098215 w 5821363"/>
              <a:gd name="connsiteY648" fmla="*/ 4198667 h 5186362"/>
              <a:gd name="connsiteX649" fmla="*/ 4190035 w 5821363"/>
              <a:gd name="connsiteY649" fmla="*/ 4287285 h 5186362"/>
              <a:gd name="connsiteX650" fmla="*/ 4196156 w 5821363"/>
              <a:gd name="connsiteY650" fmla="*/ 4342289 h 5186362"/>
              <a:gd name="connsiteX651" fmla="*/ 4098215 w 5821363"/>
              <a:gd name="connsiteY651" fmla="*/ 4278117 h 5186362"/>
              <a:gd name="connsiteX652" fmla="*/ 4000274 w 5821363"/>
              <a:gd name="connsiteY652" fmla="*/ 4253671 h 5186362"/>
              <a:gd name="connsiteX653" fmla="*/ 4055366 w 5821363"/>
              <a:gd name="connsiteY653" fmla="*/ 4317843 h 5186362"/>
              <a:gd name="connsiteX654" fmla="*/ 4054066 w 5821363"/>
              <a:gd name="connsiteY654" fmla="*/ 4317961 h 5186362"/>
              <a:gd name="connsiteX655" fmla="*/ 4054476 w 5821363"/>
              <a:gd name="connsiteY655" fmla="*/ 4318437 h 5186362"/>
              <a:gd name="connsiteX656" fmla="*/ 4020848 w 5821363"/>
              <a:gd name="connsiteY656" fmla="*/ 4321503 h 5186362"/>
              <a:gd name="connsiteX657" fmla="*/ 3791564 w 5821363"/>
              <a:gd name="connsiteY657" fmla="*/ 4324568 h 5186362"/>
              <a:gd name="connsiteX658" fmla="*/ 3660108 w 5821363"/>
              <a:gd name="connsiteY658" fmla="*/ 4247930 h 5186362"/>
              <a:gd name="connsiteX659" fmla="*/ 3597136 w 5821363"/>
              <a:gd name="connsiteY659" fmla="*/ 4190799 h 5186362"/>
              <a:gd name="connsiteX660" fmla="*/ 3623049 w 5821363"/>
              <a:gd name="connsiteY660" fmla="*/ 4229607 h 5186362"/>
              <a:gd name="connsiteX661" fmla="*/ 3654420 w 5821363"/>
              <a:gd name="connsiteY661" fmla="*/ 4281173 h 5186362"/>
              <a:gd name="connsiteX662" fmla="*/ 3654085 w 5821363"/>
              <a:gd name="connsiteY662" fmla="*/ 4280925 h 5186362"/>
              <a:gd name="connsiteX663" fmla="*/ 3654426 w 5821363"/>
              <a:gd name="connsiteY663" fmla="*/ 4281487 h 5186362"/>
              <a:gd name="connsiteX664" fmla="*/ 3618867 w 5821363"/>
              <a:gd name="connsiteY664" fmla="*/ 4255058 h 5186362"/>
              <a:gd name="connsiteX665" fmla="*/ 3590241 w 5821363"/>
              <a:gd name="connsiteY665" fmla="*/ 4235558 h 5186362"/>
              <a:gd name="connsiteX666" fmla="*/ 3623814 w 5821363"/>
              <a:gd name="connsiteY666" fmla="*/ 4314787 h 5186362"/>
              <a:gd name="connsiteX667" fmla="*/ 3614632 w 5821363"/>
              <a:gd name="connsiteY667" fmla="*/ 4327010 h 5186362"/>
              <a:gd name="connsiteX668" fmla="*/ 3614087 w 5821363"/>
              <a:gd name="connsiteY668" fmla="*/ 4326753 h 5186362"/>
              <a:gd name="connsiteX669" fmla="*/ 3613510 w 5821363"/>
              <a:gd name="connsiteY669" fmla="*/ 4327524 h 5186362"/>
              <a:gd name="connsiteX670" fmla="*/ 3556831 w 5821363"/>
              <a:gd name="connsiteY670" fmla="*/ 4300622 h 5186362"/>
              <a:gd name="connsiteX671" fmla="*/ 3558775 w 5821363"/>
              <a:gd name="connsiteY671" fmla="*/ 4306765 h 5186362"/>
              <a:gd name="connsiteX672" fmla="*/ 3565661 w 5821363"/>
              <a:gd name="connsiteY672" fmla="*/ 4320898 h 5186362"/>
              <a:gd name="connsiteX673" fmla="*/ 3564384 w 5821363"/>
              <a:gd name="connsiteY673" fmla="*/ 4320908 h 5186362"/>
              <a:gd name="connsiteX674" fmla="*/ 3564623 w 5821363"/>
              <a:gd name="connsiteY674" fmla="*/ 4321401 h 5186362"/>
              <a:gd name="connsiteX675" fmla="*/ 3372133 w 5821363"/>
              <a:gd name="connsiteY675" fmla="*/ 4318339 h 5186362"/>
              <a:gd name="connsiteX676" fmla="*/ 3304915 w 5821363"/>
              <a:gd name="connsiteY676" fmla="*/ 4269354 h 5186362"/>
              <a:gd name="connsiteX677" fmla="*/ 3179643 w 5821363"/>
              <a:gd name="connsiteY677" fmla="*/ 4128520 h 5186362"/>
              <a:gd name="connsiteX678" fmla="*/ 3179643 w 5821363"/>
              <a:gd name="connsiteY678" fmla="*/ 4116273 h 5186362"/>
              <a:gd name="connsiteX679" fmla="*/ 3179984 w 5821363"/>
              <a:gd name="connsiteY679" fmla="*/ 4116414 h 5186362"/>
              <a:gd name="connsiteX680" fmla="*/ 3180019 w 5821363"/>
              <a:gd name="connsiteY680" fmla="*/ 4116160 h 5186362"/>
              <a:gd name="connsiteX681" fmla="*/ 3299071 w 5821363"/>
              <a:gd name="connsiteY681" fmla="*/ 4164924 h 5186362"/>
              <a:gd name="connsiteX682" fmla="*/ 3311025 w 5821363"/>
              <a:gd name="connsiteY682" fmla="*/ 4149951 h 5186362"/>
              <a:gd name="connsiteX683" fmla="*/ 3216308 w 5821363"/>
              <a:gd name="connsiteY683" fmla="*/ 4058103 h 5186362"/>
              <a:gd name="connsiteX684" fmla="*/ 3228530 w 5821363"/>
              <a:gd name="connsiteY684" fmla="*/ 4042795 h 5186362"/>
              <a:gd name="connsiteX685" fmla="*/ 3228831 w 5821363"/>
              <a:gd name="connsiteY685" fmla="*/ 4043018 h 5186362"/>
              <a:gd name="connsiteX686" fmla="*/ 3228989 w 5821363"/>
              <a:gd name="connsiteY686" fmla="*/ 4042821 h 5186362"/>
              <a:gd name="connsiteX687" fmla="*/ 3380326 w 5821363"/>
              <a:gd name="connsiteY687" fmla="*/ 4154632 h 5186362"/>
              <a:gd name="connsiteX688" fmla="*/ 3354183 w 5821363"/>
              <a:gd name="connsiteY688" fmla="*/ 4115939 h 5186362"/>
              <a:gd name="connsiteX689" fmla="*/ 3268250 w 5821363"/>
              <a:gd name="connsiteY689" fmla="*/ 3984624 h 5186362"/>
              <a:gd name="connsiteX690" fmla="*/ 3268815 w 5821363"/>
              <a:gd name="connsiteY690" fmla="*/ 3984855 h 5186362"/>
              <a:gd name="connsiteX691" fmla="*/ 3268778 w 5821363"/>
              <a:gd name="connsiteY691" fmla="*/ 3984760 h 5186362"/>
              <a:gd name="connsiteX692" fmla="*/ 3317749 w 5821363"/>
              <a:gd name="connsiteY692" fmla="*/ 4006151 h 5186362"/>
              <a:gd name="connsiteX693" fmla="*/ 3320809 w 5821363"/>
              <a:gd name="connsiteY693" fmla="*/ 3975593 h 5186362"/>
              <a:gd name="connsiteX694" fmla="*/ 3320861 w 5821363"/>
              <a:gd name="connsiteY694" fmla="*/ 3975596 h 5186362"/>
              <a:gd name="connsiteX695" fmla="*/ 3320910 w 5821363"/>
              <a:gd name="connsiteY695" fmla="*/ 3975099 h 5186362"/>
              <a:gd name="connsiteX696" fmla="*/ 3348224 w 5821363"/>
              <a:gd name="connsiteY696" fmla="*/ 3981230 h 5186362"/>
              <a:gd name="connsiteX697" fmla="*/ 3373176 w 5821363"/>
              <a:gd name="connsiteY697" fmla="*/ 4009584 h 5186362"/>
              <a:gd name="connsiteX698" fmla="*/ 3421811 w 5821363"/>
              <a:gd name="connsiteY698" fmla="*/ 4064211 h 5186362"/>
              <a:gd name="connsiteX699" fmla="*/ 3437114 w 5821363"/>
              <a:gd name="connsiteY699" fmla="*/ 4061155 h 5186362"/>
              <a:gd name="connsiteX700" fmla="*/ 3437124 w 5821363"/>
              <a:gd name="connsiteY700" fmla="*/ 4061114 h 5186362"/>
              <a:gd name="connsiteX701" fmla="*/ 3436938 w 5821363"/>
              <a:gd name="connsiteY701" fmla="*/ 4060934 h 5186362"/>
              <a:gd name="connsiteX702" fmla="*/ 3449166 w 5821363"/>
              <a:gd name="connsiteY702" fmla="*/ 4011885 h 5186362"/>
              <a:gd name="connsiteX703" fmla="*/ 3513366 w 5821363"/>
              <a:gd name="connsiteY703" fmla="*/ 4057868 h 5186362"/>
              <a:gd name="connsiteX704" fmla="*/ 3522537 w 5821363"/>
              <a:gd name="connsiteY704" fmla="*/ 4051737 h 5186362"/>
              <a:gd name="connsiteX705" fmla="*/ 3511286 w 5821363"/>
              <a:gd name="connsiteY705" fmla="*/ 4039202 h 5186362"/>
              <a:gd name="connsiteX706" fmla="*/ 3467721 w 5821363"/>
              <a:gd name="connsiteY706" fmla="*/ 3990872 h 5186362"/>
              <a:gd name="connsiteX707" fmla="*/ 3467810 w 5821363"/>
              <a:gd name="connsiteY707" fmla="*/ 3990762 h 5186362"/>
              <a:gd name="connsiteX708" fmla="*/ 3467509 w 5821363"/>
              <a:gd name="connsiteY708" fmla="*/ 3990427 h 5186362"/>
              <a:gd name="connsiteX709" fmla="*/ 3479738 w 5821363"/>
              <a:gd name="connsiteY709" fmla="*/ 3975099 h 5186362"/>
              <a:gd name="connsiteX710" fmla="*/ 3576672 w 5821363"/>
              <a:gd name="connsiteY710" fmla="*/ 4049518 h 5186362"/>
              <a:gd name="connsiteX711" fmla="*/ 3675652 w 5821363"/>
              <a:gd name="connsiteY711" fmla="*/ 4125180 h 5186362"/>
              <a:gd name="connsiteX712" fmla="*/ 3681507 w 5821363"/>
              <a:gd name="connsiteY712" fmla="*/ 4122244 h 5186362"/>
              <a:gd name="connsiteX713" fmla="*/ 3666222 w 5821363"/>
              <a:gd name="connsiteY713" fmla="*/ 4091589 h 5186362"/>
              <a:gd name="connsiteX714" fmla="*/ 3632594 w 5821363"/>
              <a:gd name="connsiteY714" fmla="*/ 4054803 h 5186362"/>
              <a:gd name="connsiteX715" fmla="*/ 3641391 w 5821363"/>
              <a:gd name="connsiteY715" fmla="*/ 4059648 h 5186362"/>
              <a:gd name="connsiteX716" fmla="*/ 3687322 w 5821363"/>
              <a:gd name="connsiteY716" fmla="*/ 4084838 h 5186362"/>
              <a:gd name="connsiteX717" fmla="*/ 3737058 w 5821363"/>
              <a:gd name="connsiteY717" fmla="*/ 4110048 h 5186362"/>
              <a:gd name="connsiteX718" fmla="*/ 3795210 w 5821363"/>
              <a:gd name="connsiteY718" fmla="*/ 4161997 h 5186362"/>
              <a:gd name="connsiteX719" fmla="*/ 3861714 w 5821363"/>
              <a:gd name="connsiteY719" fmla="*/ 4186141 h 5186362"/>
              <a:gd name="connsiteX720" fmla="*/ 3856909 w 5821363"/>
              <a:gd name="connsiteY720" fmla="*/ 4172059 h 5186362"/>
              <a:gd name="connsiteX721" fmla="*/ 3849649 w 5821363"/>
              <a:gd name="connsiteY721" fmla="*/ 4152899 h 5186362"/>
              <a:gd name="connsiteX722" fmla="*/ 3850475 w 5821363"/>
              <a:gd name="connsiteY722" fmla="*/ 4153285 h 5186362"/>
              <a:gd name="connsiteX723" fmla="*/ 3850302 w 5821363"/>
              <a:gd name="connsiteY723" fmla="*/ 4152829 h 5186362"/>
              <a:gd name="connsiteX724" fmla="*/ 3957425 w 5821363"/>
              <a:gd name="connsiteY724" fmla="*/ 4204778 h 5186362"/>
              <a:gd name="connsiteX725" fmla="*/ 3951304 w 5821363"/>
              <a:gd name="connsiteY725" fmla="*/ 4207834 h 5186362"/>
              <a:gd name="connsiteX726" fmla="*/ 3988031 w 5821363"/>
              <a:gd name="connsiteY726" fmla="*/ 4244504 h 5186362"/>
              <a:gd name="connsiteX727" fmla="*/ 4015577 w 5821363"/>
              <a:gd name="connsiteY727" fmla="*/ 4210890 h 5186362"/>
              <a:gd name="connsiteX728" fmla="*/ 4027820 w 5821363"/>
              <a:gd name="connsiteY728" fmla="*/ 4217001 h 5186362"/>
              <a:gd name="connsiteX729" fmla="*/ 3936001 w 5821363"/>
              <a:gd name="connsiteY729" fmla="*/ 4140606 h 5186362"/>
              <a:gd name="connsiteX730" fmla="*/ 3786029 w 5821363"/>
              <a:gd name="connsiteY730" fmla="*/ 4039765 h 5186362"/>
              <a:gd name="connsiteX731" fmla="*/ 3574843 w 5821363"/>
              <a:gd name="connsiteY731" fmla="*/ 3871696 h 5186362"/>
              <a:gd name="connsiteX732" fmla="*/ 3486084 w 5821363"/>
              <a:gd name="connsiteY732" fmla="*/ 3856417 h 5186362"/>
              <a:gd name="connsiteX733" fmla="*/ 3391204 w 5821363"/>
              <a:gd name="connsiteY733" fmla="*/ 3828915 h 5186362"/>
              <a:gd name="connsiteX734" fmla="*/ 3366719 w 5821363"/>
              <a:gd name="connsiteY734" fmla="*/ 3822803 h 5186362"/>
              <a:gd name="connsiteX735" fmla="*/ 3375901 w 5821363"/>
              <a:gd name="connsiteY735" fmla="*/ 3853361 h 5186362"/>
              <a:gd name="connsiteX736" fmla="*/ 3348355 w 5821363"/>
              <a:gd name="connsiteY736" fmla="*/ 3838082 h 5186362"/>
              <a:gd name="connsiteX737" fmla="*/ 3345294 w 5821363"/>
              <a:gd name="connsiteY737" fmla="*/ 3844194 h 5186362"/>
              <a:gd name="connsiteX738" fmla="*/ 3415689 w 5821363"/>
              <a:gd name="connsiteY738" fmla="*/ 3926700 h 5186362"/>
              <a:gd name="connsiteX739" fmla="*/ 3409568 w 5821363"/>
              <a:gd name="connsiteY739" fmla="*/ 3932812 h 5186362"/>
              <a:gd name="connsiteX740" fmla="*/ 3271839 w 5821363"/>
              <a:gd name="connsiteY740" fmla="*/ 3825859 h 5186362"/>
              <a:gd name="connsiteX741" fmla="*/ 3121867 w 5821363"/>
              <a:gd name="connsiteY741" fmla="*/ 3718906 h 5186362"/>
              <a:gd name="connsiteX742" fmla="*/ 3097381 w 5821363"/>
              <a:gd name="connsiteY742" fmla="*/ 3718906 h 5186362"/>
              <a:gd name="connsiteX743" fmla="*/ 3048411 w 5821363"/>
              <a:gd name="connsiteY743" fmla="*/ 3685292 h 5186362"/>
              <a:gd name="connsiteX744" fmla="*/ 2978016 w 5821363"/>
              <a:gd name="connsiteY744" fmla="*/ 3630288 h 5186362"/>
              <a:gd name="connsiteX745" fmla="*/ 2828044 w 5821363"/>
              <a:gd name="connsiteY745" fmla="*/ 3523335 h 5186362"/>
              <a:gd name="connsiteX746" fmla="*/ 2687254 w 5821363"/>
              <a:gd name="connsiteY746" fmla="*/ 3453052 h 5186362"/>
              <a:gd name="connsiteX747" fmla="*/ 2601555 w 5821363"/>
              <a:gd name="connsiteY747" fmla="*/ 3428605 h 5186362"/>
              <a:gd name="connsiteX748" fmla="*/ 3072896 w 5821363"/>
              <a:gd name="connsiteY748" fmla="*/ 3813636 h 5186362"/>
              <a:gd name="connsiteX749" fmla="*/ 3002501 w 5821363"/>
              <a:gd name="connsiteY749" fmla="*/ 3789189 h 5186362"/>
              <a:gd name="connsiteX750" fmla="*/ 2996380 w 5821363"/>
              <a:gd name="connsiteY750" fmla="*/ 3776966 h 5186362"/>
              <a:gd name="connsiteX751" fmla="*/ 2889257 w 5821363"/>
              <a:gd name="connsiteY751" fmla="*/ 3703627 h 5186362"/>
              <a:gd name="connsiteX752" fmla="*/ 2907621 w 5821363"/>
              <a:gd name="connsiteY752" fmla="*/ 3743352 h 5186362"/>
              <a:gd name="connsiteX753" fmla="*/ 2837226 w 5821363"/>
              <a:gd name="connsiteY753" fmla="*/ 3691404 h 5186362"/>
              <a:gd name="connsiteX754" fmla="*/ 2834165 w 5821363"/>
              <a:gd name="connsiteY754" fmla="*/ 3697515 h 5186362"/>
              <a:gd name="connsiteX755" fmla="*/ 3008623 w 5821363"/>
              <a:gd name="connsiteY755" fmla="*/ 3856417 h 5186362"/>
              <a:gd name="connsiteX756" fmla="*/ 2965773 w 5821363"/>
              <a:gd name="connsiteY756" fmla="*/ 3859473 h 5186362"/>
              <a:gd name="connsiteX757" fmla="*/ 2834165 w 5821363"/>
              <a:gd name="connsiteY757" fmla="*/ 3761687 h 5186362"/>
              <a:gd name="connsiteX758" fmla="*/ 2708678 w 5821363"/>
              <a:gd name="connsiteY758" fmla="*/ 3651678 h 5186362"/>
              <a:gd name="connsiteX759" fmla="*/ 2696436 w 5821363"/>
              <a:gd name="connsiteY759" fmla="*/ 3666957 h 5186362"/>
              <a:gd name="connsiteX760" fmla="*/ 2769891 w 5821363"/>
              <a:gd name="connsiteY760" fmla="*/ 3725018 h 5186362"/>
              <a:gd name="connsiteX761" fmla="*/ 2873954 w 5821363"/>
              <a:gd name="connsiteY761" fmla="*/ 3831971 h 5186362"/>
              <a:gd name="connsiteX762" fmla="*/ 2858651 w 5821363"/>
              <a:gd name="connsiteY762" fmla="*/ 3862529 h 5186362"/>
              <a:gd name="connsiteX763" fmla="*/ 2797437 w 5821363"/>
              <a:gd name="connsiteY763" fmla="*/ 3874752 h 5186362"/>
              <a:gd name="connsiteX764" fmla="*/ 2696436 w 5821363"/>
              <a:gd name="connsiteY764" fmla="*/ 3828915 h 5186362"/>
              <a:gd name="connsiteX765" fmla="*/ 2681133 w 5821363"/>
              <a:gd name="connsiteY765" fmla="*/ 3804468 h 5186362"/>
              <a:gd name="connsiteX766" fmla="*/ 2531161 w 5821363"/>
              <a:gd name="connsiteY766" fmla="*/ 3660846 h 5186362"/>
              <a:gd name="connsiteX767" fmla="*/ 2558706 w 5821363"/>
              <a:gd name="connsiteY767" fmla="*/ 3682236 h 5186362"/>
              <a:gd name="connsiteX768" fmla="*/ 2546464 w 5821363"/>
              <a:gd name="connsiteY768" fmla="*/ 3694460 h 5186362"/>
              <a:gd name="connsiteX769" fmla="*/ 2545619 w 5821363"/>
              <a:gd name="connsiteY769" fmla="*/ 3693769 h 5186362"/>
              <a:gd name="connsiteX770" fmla="*/ 2545278 w 5821363"/>
              <a:gd name="connsiteY770" fmla="*/ 3694112 h 5186362"/>
              <a:gd name="connsiteX771" fmla="*/ 2461802 w 5821363"/>
              <a:gd name="connsiteY771" fmla="*/ 3625301 h 5186362"/>
              <a:gd name="connsiteX772" fmla="*/ 2445462 w 5821363"/>
              <a:gd name="connsiteY772" fmla="*/ 3611953 h 5186362"/>
              <a:gd name="connsiteX773" fmla="*/ 2445514 w 5821363"/>
              <a:gd name="connsiteY773" fmla="*/ 3611875 h 5186362"/>
              <a:gd name="connsiteX774" fmla="*/ 2444750 w 5821363"/>
              <a:gd name="connsiteY774" fmla="*/ 3611245 h 5186362"/>
              <a:gd name="connsiteX775" fmla="*/ 2450843 w 5821363"/>
              <a:gd name="connsiteY775" fmla="*/ 3602037 h 5186362"/>
              <a:gd name="connsiteX776" fmla="*/ 2496537 w 5821363"/>
              <a:gd name="connsiteY776" fmla="*/ 3620452 h 5186362"/>
              <a:gd name="connsiteX777" fmla="*/ 2496804 w 5821363"/>
              <a:gd name="connsiteY777" fmla="*/ 3620794 h 5186362"/>
              <a:gd name="connsiteX778" fmla="*/ 2497493 w 5821363"/>
              <a:gd name="connsiteY778" fmla="*/ 3621120 h 5186362"/>
              <a:gd name="connsiteX779" fmla="*/ 2530046 w 5821363"/>
              <a:gd name="connsiteY779" fmla="*/ 3662485 h 5186362"/>
              <a:gd name="connsiteX780" fmla="*/ 2530046 w 5821363"/>
              <a:gd name="connsiteY780" fmla="*/ 3660648 h 5186362"/>
              <a:gd name="connsiteX781" fmla="*/ 2521213 w 5821363"/>
              <a:gd name="connsiteY781" fmla="*/ 3634872 h 5186362"/>
              <a:gd name="connsiteX782" fmla="*/ 2506675 w 5821363"/>
              <a:gd name="connsiteY782" fmla="*/ 3605841 h 5186362"/>
              <a:gd name="connsiteX783" fmla="*/ 2469947 w 5821363"/>
              <a:gd name="connsiteY783" fmla="*/ 3566116 h 5186362"/>
              <a:gd name="connsiteX784" fmla="*/ 2537282 w 5821363"/>
              <a:gd name="connsiteY784" fmla="*/ 3544725 h 5186362"/>
              <a:gd name="connsiteX785" fmla="*/ 2537282 w 5821363"/>
              <a:gd name="connsiteY785" fmla="*/ 3544613 h 5186362"/>
              <a:gd name="connsiteX786" fmla="*/ 2536931 w 5821363"/>
              <a:gd name="connsiteY786" fmla="*/ 3544303 h 5186362"/>
              <a:gd name="connsiteX787" fmla="*/ 2536931 w 5821363"/>
              <a:gd name="connsiteY787" fmla="*/ 3529156 h 5186362"/>
              <a:gd name="connsiteX788" fmla="*/ 2440871 w 5821363"/>
              <a:gd name="connsiteY788" fmla="*/ 3449614 h 5186362"/>
              <a:gd name="connsiteX789" fmla="*/ 2362825 w 5821363"/>
              <a:gd name="connsiteY789" fmla="*/ 3349154 h 5186362"/>
              <a:gd name="connsiteX790" fmla="*/ 2436280 w 5821363"/>
              <a:gd name="connsiteY790" fmla="*/ 3394991 h 5186362"/>
              <a:gd name="connsiteX791" fmla="*/ 2372007 w 5821363"/>
              <a:gd name="connsiteY791" fmla="*/ 3306373 h 5186362"/>
              <a:gd name="connsiteX792" fmla="*/ 2289369 w 5821363"/>
              <a:gd name="connsiteY792" fmla="*/ 3260536 h 5186362"/>
              <a:gd name="connsiteX793" fmla="*/ 2218974 w 5821363"/>
              <a:gd name="connsiteY793" fmla="*/ 3214699 h 5186362"/>
              <a:gd name="connsiteX794" fmla="*/ 2280187 w 5821363"/>
              <a:gd name="connsiteY794" fmla="*/ 3294150 h 5186362"/>
              <a:gd name="connsiteX795" fmla="*/ 2264883 w 5821363"/>
              <a:gd name="connsiteY795" fmla="*/ 3309429 h 5186362"/>
              <a:gd name="connsiteX796" fmla="*/ 2197549 w 5821363"/>
              <a:gd name="connsiteY796" fmla="*/ 3257480 h 5186362"/>
              <a:gd name="connsiteX797" fmla="*/ 2194488 w 5821363"/>
              <a:gd name="connsiteY797" fmla="*/ 3260536 h 5186362"/>
              <a:gd name="connsiteX798" fmla="*/ 2304672 w 5821363"/>
              <a:gd name="connsiteY798" fmla="*/ 3407215 h 5186362"/>
              <a:gd name="connsiteX799" fmla="*/ 2451583 w 5821363"/>
              <a:gd name="connsiteY799" fmla="*/ 3505000 h 5186362"/>
              <a:gd name="connsiteX800" fmla="*/ 2408734 w 5821363"/>
              <a:gd name="connsiteY800" fmla="*/ 3535558 h 5186362"/>
              <a:gd name="connsiteX801" fmla="*/ 2329157 w 5821363"/>
              <a:gd name="connsiteY801" fmla="*/ 3462219 h 5186362"/>
              <a:gd name="connsiteX802" fmla="*/ 2283247 w 5821363"/>
              <a:gd name="connsiteY802" fmla="*/ 3495833 h 5186362"/>
              <a:gd name="connsiteX803" fmla="*/ 2316915 w 5821363"/>
              <a:gd name="connsiteY803" fmla="*/ 3523335 h 5186362"/>
              <a:gd name="connsiteX804" fmla="*/ 2280187 w 5821363"/>
              <a:gd name="connsiteY804" fmla="*/ 3532502 h 5186362"/>
              <a:gd name="connsiteX805" fmla="*/ 2433219 w 5821363"/>
              <a:gd name="connsiteY805" fmla="*/ 3654734 h 5186362"/>
              <a:gd name="connsiteX806" fmla="*/ 2427098 w 5821363"/>
              <a:gd name="connsiteY806" fmla="*/ 3663902 h 5186362"/>
              <a:gd name="connsiteX807" fmla="*/ 2362825 w 5821363"/>
              <a:gd name="connsiteY807" fmla="*/ 3627232 h 5186362"/>
              <a:gd name="connsiteX808" fmla="*/ 2338339 w 5821363"/>
              <a:gd name="connsiteY808" fmla="*/ 3645567 h 5186362"/>
              <a:gd name="connsiteX809" fmla="*/ 2482190 w 5821363"/>
              <a:gd name="connsiteY809" fmla="*/ 3758631 h 5186362"/>
              <a:gd name="connsiteX810" fmla="*/ 2476069 w 5821363"/>
              <a:gd name="connsiteY810" fmla="*/ 3764743 h 5186362"/>
              <a:gd name="connsiteX811" fmla="*/ 2433219 w 5821363"/>
              <a:gd name="connsiteY811" fmla="*/ 3752520 h 5186362"/>
              <a:gd name="connsiteX812" fmla="*/ 2427098 w 5821363"/>
              <a:gd name="connsiteY812" fmla="*/ 3764743 h 5186362"/>
              <a:gd name="connsiteX813" fmla="*/ 2537282 w 5821363"/>
              <a:gd name="connsiteY813" fmla="*/ 3880863 h 5186362"/>
              <a:gd name="connsiteX814" fmla="*/ 2638283 w 5821363"/>
              <a:gd name="connsiteY814" fmla="*/ 3920589 h 5186362"/>
              <a:gd name="connsiteX815" fmla="*/ 2705618 w 5821363"/>
              <a:gd name="connsiteY815" fmla="*/ 3981705 h 5186362"/>
              <a:gd name="connsiteX816" fmla="*/ 2708678 w 5821363"/>
              <a:gd name="connsiteY816" fmla="*/ 3948091 h 5186362"/>
              <a:gd name="connsiteX817" fmla="*/ 2708506 w 5821363"/>
              <a:gd name="connsiteY817" fmla="*/ 3947985 h 5186362"/>
              <a:gd name="connsiteX818" fmla="*/ 2707951 w 5821363"/>
              <a:gd name="connsiteY818" fmla="*/ 3948112 h 5186362"/>
              <a:gd name="connsiteX819" fmla="*/ 2667940 w 5821363"/>
              <a:gd name="connsiteY819" fmla="*/ 3923708 h 5186362"/>
              <a:gd name="connsiteX820" fmla="*/ 2674095 w 5821363"/>
              <a:gd name="connsiteY820" fmla="*/ 3914557 h 5186362"/>
              <a:gd name="connsiteX821" fmla="*/ 2674821 w 5821363"/>
              <a:gd name="connsiteY821" fmla="*/ 3914762 h 5186362"/>
              <a:gd name="connsiteX822" fmla="*/ 2675011 w 5821363"/>
              <a:gd name="connsiteY822" fmla="*/ 3914477 h 5186362"/>
              <a:gd name="connsiteX823" fmla="*/ 2685724 w 5821363"/>
              <a:gd name="connsiteY823" fmla="*/ 3917533 h 5186362"/>
              <a:gd name="connsiteX824" fmla="*/ 2704608 w 5821363"/>
              <a:gd name="connsiteY824" fmla="*/ 3920434 h 5186362"/>
              <a:gd name="connsiteX825" fmla="*/ 2671787 w 5821363"/>
              <a:gd name="connsiteY825" fmla="*/ 3892822 h 5186362"/>
              <a:gd name="connsiteX826" fmla="*/ 2643317 w 5821363"/>
              <a:gd name="connsiteY826" fmla="*/ 3871850 h 5186362"/>
              <a:gd name="connsiteX827" fmla="*/ 2597150 w 5821363"/>
              <a:gd name="connsiteY827" fmla="*/ 3835244 h 5186362"/>
              <a:gd name="connsiteX828" fmla="*/ 2603306 w 5821363"/>
              <a:gd name="connsiteY828" fmla="*/ 3792537 h 5186362"/>
              <a:gd name="connsiteX829" fmla="*/ 2604458 w 5821363"/>
              <a:gd name="connsiteY829" fmla="*/ 3793411 h 5186362"/>
              <a:gd name="connsiteX830" fmla="*/ 2604616 w 5821363"/>
              <a:gd name="connsiteY830" fmla="*/ 3792245 h 5186362"/>
              <a:gd name="connsiteX831" fmla="*/ 2748467 w 5821363"/>
              <a:gd name="connsiteY831" fmla="*/ 3902254 h 5186362"/>
              <a:gd name="connsiteX832" fmla="*/ 2742345 w 5821363"/>
              <a:gd name="connsiteY832" fmla="*/ 3911421 h 5186362"/>
              <a:gd name="connsiteX833" fmla="*/ 2742013 w 5821363"/>
              <a:gd name="connsiteY833" fmla="*/ 3911200 h 5186362"/>
              <a:gd name="connsiteX834" fmla="*/ 2741807 w 5821363"/>
              <a:gd name="connsiteY834" fmla="*/ 3911506 h 5186362"/>
              <a:gd name="connsiteX835" fmla="*/ 2696036 w 5821363"/>
              <a:gd name="connsiteY835" fmla="*/ 3881263 h 5186362"/>
              <a:gd name="connsiteX836" fmla="*/ 2690315 w 5821363"/>
              <a:gd name="connsiteY836" fmla="*/ 3886975 h 5186362"/>
              <a:gd name="connsiteX837" fmla="*/ 2748467 w 5821363"/>
              <a:gd name="connsiteY837" fmla="*/ 3938924 h 5186362"/>
              <a:gd name="connsiteX838" fmla="*/ 2840287 w 5821363"/>
              <a:gd name="connsiteY838" fmla="*/ 4024486 h 5186362"/>
              <a:gd name="connsiteX839" fmla="*/ 2981077 w 5821363"/>
              <a:gd name="connsiteY839" fmla="*/ 4128383 h 5186362"/>
              <a:gd name="connsiteX840" fmla="*/ 2971895 w 5821363"/>
              <a:gd name="connsiteY840" fmla="*/ 4143662 h 5186362"/>
              <a:gd name="connsiteX841" fmla="*/ 2938227 w 5821363"/>
              <a:gd name="connsiteY841" fmla="*/ 4131439 h 5186362"/>
              <a:gd name="connsiteX842" fmla="*/ 2935167 w 5821363"/>
              <a:gd name="connsiteY842" fmla="*/ 4140606 h 5186362"/>
              <a:gd name="connsiteX843" fmla="*/ 3005562 w 5821363"/>
              <a:gd name="connsiteY843" fmla="*/ 4165053 h 5186362"/>
              <a:gd name="connsiteX844" fmla="*/ 3036168 w 5821363"/>
              <a:gd name="connsiteY844" fmla="*/ 4174220 h 5186362"/>
              <a:gd name="connsiteX845" fmla="*/ 3108418 w 5821363"/>
              <a:gd name="connsiteY845" fmla="*/ 4222310 h 5186362"/>
              <a:gd name="connsiteX846" fmla="*/ 3124317 w 5821363"/>
              <a:gd name="connsiteY846" fmla="*/ 4215451 h 5186362"/>
              <a:gd name="connsiteX847" fmla="*/ 3135818 w 5821363"/>
              <a:gd name="connsiteY847" fmla="*/ 4213136 h 5186362"/>
              <a:gd name="connsiteX848" fmla="*/ 3136759 w 5821363"/>
              <a:gd name="connsiteY848" fmla="*/ 4214028 h 5186362"/>
              <a:gd name="connsiteX849" fmla="*/ 3137170 w 5821363"/>
              <a:gd name="connsiteY849" fmla="*/ 4213946 h 5186362"/>
              <a:gd name="connsiteX850" fmla="*/ 3241232 w 5821363"/>
              <a:gd name="connsiteY850" fmla="*/ 4311731 h 5186362"/>
              <a:gd name="connsiteX851" fmla="*/ 3232050 w 5821363"/>
              <a:gd name="connsiteY851" fmla="*/ 4320898 h 5186362"/>
              <a:gd name="connsiteX852" fmla="*/ 3231550 w 5821363"/>
              <a:gd name="connsiteY852" fmla="*/ 4320508 h 5186362"/>
              <a:gd name="connsiteX853" fmla="*/ 3230888 w 5821363"/>
              <a:gd name="connsiteY853" fmla="*/ 4321174 h 5186362"/>
              <a:gd name="connsiteX854" fmla="*/ 3107517 w 5821363"/>
              <a:gd name="connsiteY854" fmla="*/ 4224256 h 5186362"/>
              <a:gd name="connsiteX855" fmla="*/ 3152473 w 5821363"/>
              <a:gd name="connsiteY855" fmla="*/ 4278117 h 5186362"/>
              <a:gd name="connsiteX856" fmla="*/ 3192261 w 5821363"/>
              <a:gd name="connsiteY856" fmla="*/ 4314787 h 5186362"/>
              <a:gd name="connsiteX857" fmla="*/ 3120719 w 5821363"/>
              <a:gd name="connsiteY857" fmla="*/ 4304856 h 5186362"/>
              <a:gd name="connsiteX858" fmla="*/ 3120683 w 5821363"/>
              <a:gd name="connsiteY858" fmla="*/ 4304819 h 5186362"/>
              <a:gd name="connsiteX859" fmla="*/ 3119862 w 5821363"/>
              <a:gd name="connsiteY859" fmla="*/ 4303999 h 5186362"/>
              <a:gd name="connsiteX860" fmla="*/ 3140231 w 5821363"/>
              <a:gd name="connsiteY860" fmla="*/ 4278117 h 5186362"/>
              <a:gd name="connsiteX861" fmla="*/ 3060653 w 5821363"/>
              <a:gd name="connsiteY861" fmla="*/ 4262838 h 5186362"/>
              <a:gd name="connsiteX862" fmla="*/ 3078485 w 5821363"/>
              <a:gd name="connsiteY862" fmla="*/ 4267577 h 5186362"/>
              <a:gd name="connsiteX863" fmla="*/ 3083065 w 5821363"/>
              <a:gd name="connsiteY863" fmla="*/ 4270664 h 5186362"/>
              <a:gd name="connsiteX864" fmla="*/ 3093699 w 5821363"/>
              <a:gd name="connsiteY864" fmla="*/ 4277831 h 5186362"/>
              <a:gd name="connsiteX865" fmla="*/ 3099030 w 5821363"/>
              <a:gd name="connsiteY865" fmla="*/ 4283163 h 5186362"/>
              <a:gd name="connsiteX866" fmla="*/ 3119862 w 5821363"/>
              <a:gd name="connsiteY866" fmla="*/ 4303999 h 5186362"/>
              <a:gd name="connsiteX867" fmla="*/ 3106563 w 5821363"/>
              <a:gd name="connsiteY867" fmla="*/ 4320898 h 5186362"/>
              <a:gd name="connsiteX868" fmla="*/ 2307733 w 5821363"/>
              <a:gd name="connsiteY868" fmla="*/ 4320898 h 5186362"/>
              <a:gd name="connsiteX869" fmla="*/ 1949636 w 5821363"/>
              <a:gd name="connsiteY869" fmla="*/ 4323954 h 5186362"/>
              <a:gd name="connsiteX870" fmla="*/ 1799664 w 5821363"/>
              <a:gd name="connsiteY870" fmla="*/ 4268950 h 5186362"/>
              <a:gd name="connsiteX871" fmla="*/ 1744572 w 5821363"/>
              <a:gd name="connsiteY871" fmla="*/ 4213946 h 5186362"/>
              <a:gd name="connsiteX872" fmla="*/ 1723148 w 5821363"/>
              <a:gd name="connsiteY872" fmla="*/ 4213946 h 5186362"/>
              <a:gd name="connsiteX873" fmla="*/ 1717026 w 5821363"/>
              <a:gd name="connsiteY873" fmla="*/ 4268950 h 5186362"/>
              <a:gd name="connsiteX874" fmla="*/ 1643571 w 5821363"/>
              <a:gd name="connsiteY874" fmla="*/ 4217001 h 5186362"/>
              <a:gd name="connsiteX875" fmla="*/ 1557872 w 5821363"/>
              <a:gd name="connsiteY875" fmla="*/ 4128383 h 5186362"/>
              <a:gd name="connsiteX876" fmla="*/ 1331384 w 5821363"/>
              <a:gd name="connsiteY876" fmla="*/ 3969482 h 5186362"/>
              <a:gd name="connsiteX877" fmla="*/ 1270171 w 5821363"/>
              <a:gd name="connsiteY877" fmla="*/ 3893087 h 5186362"/>
              <a:gd name="connsiteX878" fmla="*/ 1230383 w 5821363"/>
              <a:gd name="connsiteY878" fmla="*/ 3865584 h 5186362"/>
              <a:gd name="connsiteX879" fmla="*/ 1132442 w 5821363"/>
              <a:gd name="connsiteY879" fmla="*/ 3758631 h 5186362"/>
              <a:gd name="connsiteX880" fmla="*/ 1098774 w 5821363"/>
              <a:gd name="connsiteY880" fmla="*/ 3725018 h 5186362"/>
              <a:gd name="connsiteX881" fmla="*/ 994712 w 5821363"/>
              <a:gd name="connsiteY881" fmla="*/ 3639455 h 5186362"/>
              <a:gd name="connsiteX882" fmla="*/ 933499 w 5821363"/>
              <a:gd name="connsiteY882" fmla="*/ 3602786 h 5186362"/>
              <a:gd name="connsiteX883" fmla="*/ 957984 w 5821363"/>
              <a:gd name="connsiteY883" fmla="*/ 3578339 h 5186362"/>
              <a:gd name="connsiteX884" fmla="*/ 1120199 w 5821363"/>
              <a:gd name="connsiteY884" fmla="*/ 3715850 h 5186362"/>
              <a:gd name="connsiteX885" fmla="*/ 1294656 w 5821363"/>
              <a:gd name="connsiteY885" fmla="*/ 3847250 h 5186362"/>
              <a:gd name="connsiteX886" fmla="*/ 1303838 w 5821363"/>
              <a:gd name="connsiteY886" fmla="*/ 3838082 h 5186362"/>
              <a:gd name="connsiteX887" fmla="*/ 1196715 w 5821363"/>
              <a:gd name="connsiteY887" fmla="*/ 3737241 h 5186362"/>
              <a:gd name="connsiteX888" fmla="*/ 1107956 w 5821363"/>
              <a:gd name="connsiteY888" fmla="*/ 3642511 h 5186362"/>
              <a:gd name="connsiteX889" fmla="*/ 973288 w 5821363"/>
              <a:gd name="connsiteY889" fmla="*/ 3538614 h 5186362"/>
              <a:gd name="connsiteX890" fmla="*/ 939620 w 5821363"/>
              <a:gd name="connsiteY890" fmla="*/ 3505000 h 5186362"/>
              <a:gd name="connsiteX891" fmla="*/ 878407 w 5821363"/>
              <a:gd name="connsiteY891" fmla="*/ 3480554 h 5186362"/>
              <a:gd name="connsiteX892" fmla="*/ 731496 w 5821363"/>
              <a:gd name="connsiteY892" fmla="*/ 3446940 h 5186362"/>
              <a:gd name="connsiteX893" fmla="*/ 734557 w 5821363"/>
              <a:gd name="connsiteY893" fmla="*/ 3428605 h 5186362"/>
              <a:gd name="connsiteX894" fmla="*/ 789648 w 5821363"/>
              <a:gd name="connsiteY894" fmla="*/ 3419438 h 5186362"/>
              <a:gd name="connsiteX895" fmla="*/ 792709 w 5821363"/>
              <a:gd name="connsiteY895" fmla="*/ 3407215 h 5186362"/>
              <a:gd name="connsiteX896" fmla="*/ 630494 w 5821363"/>
              <a:gd name="connsiteY896" fmla="*/ 3361378 h 5186362"/>
              <a:gd name="connsiteX897" fmla="*/ 477462 w 5821363"/>
              <a:gd name="connsiteY897" fmla="*/ 3288038 h 5186362"/>
              <a:gd name="connsiteX898" fmla="*/ 492765 w 5821363"/>
              <a:gd name="connsiteY898" fmla="*/ 3272759 h 5186362"/>
              <a:gd name="connsiteX899" fmla="*/ 486644 w 5821363"/>
              <a:gd name="connsiteY899" fmla="*/ 3263592 h 5186362"/>
              <a:gd name="connsiteX900" fmla="*/ 404006 w 5821363"/>
              <a:gd name="connsiteY900" fmla="*/ 3281927 h 5186362"/>
              <a:gd name="connsiteX901" fmla="*/ 388703 w 5821363"/>
              <a:gd name="connsiteY901" fmla="*/ 3275815 h 5186362"/>
              <a:gd name="connsiteX902" fmla="*/ 397885 w 5821363"/>
              <a:gd name="connsiteY902" fmla="*/ 3260536 h 5186362"/>
              <a:gd name="connsiteX903" fmla="*/ 469810 w 5821363"/>
              <a:gd name="connsiteY903" fmla="*/ 3248313 h 5186362"/>
              <a:gd name="connsiteX904" fmla="*/ 477370 w 5821363"/>
              <a:gd name="connsiteY904" fmla="*/ 3247991 h 5186362"/>
              <a:gd name="connsiteX905" fmla="*/ 486644 w 5821363"/>
              <a:gd name="connsiteY905" fmla="*/ 3247597 h 5186362"/>
              <a:gd name="connsiteX906" fmla="*/ 486644 w 5821363"/>
              <a:gd name="connsiteY906" fmla="*/ 3251369 h 5186362"/>
              <a:gd name="connsiteX907" fmla="*/ 596827 w 5821363"/>
              <a:gd name="connsiteY907" fmla="*/ 3272759 h 5186362"/>
              <a:gd name="connsiteX908" fmla="*/ 599888 w 5821363"/>
              <a:gd name="connsiteY908" fmla="*/ 3248313 h 5186362"/>
              <a:gd name="connsiteX909" fmla="*/ 768224 w 5821363"/>
              <a:gd name="connsiteY909" fmla="*/ 3260536 h 5186362"/>
              <a:gd name="connsiteX910" fmla="*/ 985530 w 5821363"/>
              <a:gd name="connsiteY910" fmla="*/ 3284982 h 5186362"/>
              <a:gd name="connsiteX911" fmla="*/ 994712 w 5821363"/>
              <a:gd name="connsiteY911" fmla="*/ 3291094 h 5186362"/>
              <a:gd name="connsiteX912" fmla="*/ 970227 w 5821363"/>
              <a:gd name="connsiteY912" fmla="*/ 3297206 h 5186362"/>
              <a:gd name="connsiteX913" fmla="*/ 967166 w 5821363"/>
              <a:gd name="connsiteY913" fmla="*/ 3309429 h 5186362"/>
              <a:gd name="connsiteX914" fmla="*/ 1172230 w 5821363"/>
              <a:gd name="connsiteY914" fmla="*/ 3355266 h 5186362"/>
              <a:gd name="connsiteX915" fmla="*/ 1055925 w 5821363"/>
              <a:gd name="connsiteY915" fmla="*/ 3251369 h 5186362"/>
              <a:gd name="connsiteX916" fmla="*/ 1019197 w 5821363"/>
              <a:gd name="connsiteY916" fmla="*/ 3205532 h 5186362"/>
              <a:gd name="connsiteX917" fmla="*/ 1031440 w 5821363"/>
              <a:gd name="connsiteY917" fmla="*/ 3178029 h 5186362"/>
              <a:gd name="connsiteX918" fmla="*/ 1016137 w 5821363"/>
              <a:gd name="connsiteY918" fmla="*/ 3162750 h 5186362"/>
              <a:gd name="connsiteX919" fmla="*/ 905953 w 5821363"/>
              <a:gd name="connsiteY919" fmla="*/ 3046630 h 5186362"/>
              <a:gd name="connsiteX920" fmla="*/ 847801 w 5821363"/>
              <a:gd name="connsiteY920" fmla="*/ 2991626 h 5186362"/>
              <a:gd name="connsiteX921" fmla="*/ 804952 w 5821363"/>
              <a:gd name="connsiteY921" fmla="*/ 2970235 h 5186362"/>
              <a:gd name="connsiteX922" fmla="*/ 768224 w 5821363"/>
              <a:gd name="connsiteY922" fmla="*/ 2924398 h 5186362"/>
              <a:gd name="connsiteX923" fmla="*/ 700889 w 5821363"/>
              <a:gd name="connsiteY923" fmla="*/ 2832724 h 5186362"/>
              <a:gd name="connsiteX924" fmla="*/ 670283 w 5821363"/>
              <a:gd name="connsiteY924" fmla="*/ 2722715 h 5186362"/>
              <a:gd name="connsiteX925" fmla="*/ 636616 w 5821363"/>
              <a:gd name="connsiteY925" fmla="*/ 2661599 h 5186362"/>
              <a:gd name="connsiteX926" fmla="*/ 700889 w 5821363"/>
              <a:gd name="connsiteY926" fmla="*/ 2679934 h 5186362"/>
              <a:gd name="connsiteX927" fmla="*/ 529493 w 5821363"/>
              <a:gd name="connsiteY927" fmla="*/ 2502698 h 5186362"/>
              <a:gd name="connsiteX928" fmla="*/ 642737 w 5821363"/>
              <a:gd name="connsiteY928" fmla="*/ 2514921 h 5186362"/>
              <a:gd name="connsiteX929" fmla="*/ 593767 w 5821363"/>
              <a:gd name="connsiteY929" fmla="*/ 2414080 h 5186362"/>
              <a:gd name="connsiteX930" fmla="*/ 584585 w 5821363"/>
              <a:gd name="connsiteY930" fmla="*/ 2417136 h 5186362"/>
              <a:gd name="connsiteX931" fmla="*/ 581524 w 5821363"/>
              <a:gd name="connsiteY931" fmla="*/ 2447694 h 5186362"/>
              <a:gd name="connsiteX932" fmla="*/ 532553 w 5821363"/>
              <a:gd name="connsiteY932" fmla="*/ 2407968 h 5186362"/>
              <a:gd name="connsiteX933" fmla="*/ 578463 w 5821363"/>
              <a:gd name="connsiteY933" fmla="*/ 2411024 h 5186362"/>
              <a:gd name="connsiteX934" fmla="*/ 529493 w 5821363"/>
              <a:gd name="connsiteY934" fmla="*/ 2377410 h 5186362"/>
              <a:gd name="connsiteX935" fmla="*/ 498886 w 5821363"/>
              <a:gd name="connsiteY935" fmla="*/ 2285736 h 5186362"/>
              <a:gd name="connsiteX936" fmla="*/ 529493 w 5821363"/>
              <a:gd name="connsiteY936" fmla="*/ 2279625 h 5186362"/>
              <a:gd name="connsiteX937" fmla="*/ 486644 w 5821363"/>
              <a:gd name="connsiteY937" fmla="*/ 2227676 h 5186362"/>
              <a:gd name="connsiteX938" fmla="*/ 529493 w 5821363"/>
              <a:gd name="connsiteY938" fmla="*/ 2224620 h 5186362"/>
              <a:gd name="connsiteX939" fmla="*/ 483583 w 5821363"/>
              <a:gd name="connsiteY939" fmla="*/ 2194062 h 5186362"/>
              <a:gd name="connsiteX940" fmla="*/ 483583 w 5821363"/>
              <a:gd name="connsiteY940" fmla="*/ 2187951 h 5186362"/>
              <a:gd name="connsiteX941" fmla="*/ 541735 w 5821363"/>
              <a:gd name="connsiteY941" fmla="*/ 2194062 h 5186362"/>
              <a:gd name="connsiteX942" fmla="*/ 391763 w 5821363"/>
              <a:gd name="connsiteY942" fmla="*/ 2032105 h 5186362"/>
              <a:gd name="connsiteX943" fmla="*/ 615191 w 5821363"/>
              <a:gd name="connsiteY943" fmla="*/ 2151281 h 5186362"/>
              <a:gd name="connsiteX944" fmla="*/ 615191 w 5821363"/>
              <a:gd name="connsiteY944" fmla="*/ 2010714 h 5186362"/>
              <a:gd name="connsiteX945" fmla="*/ 599888 w 5821363"/>
              <a:gd name="connsiteY945" fmla="*/ 2004603 h 5186362"/>
              <a:gd name="connsiteX946" fmla="*/ 492765 w 5821363"/>
              <a:gd name="connsiteY946" fmla="*/ 1977101 h 5186362"/>
              <a:gd name="connsiteX947" fmla="*/ 609070 w 5821363"/>
              <a:gd name="connsiteY947" fmla="*/ 2059607 h 5186362"/>
              <a:gd name="connsiteX948" fmla="*/ 606009 w 5821363"/>
              <a:gd name="connsiteY948" fmla="*/ 2068774 h 5186362"/>
              <a:gd name="connsiteX949" fmla="*/ 572342 w 5821363"/>
              <a:gd name="connsiteY949" fmla="*/ 2053495 h 5186362"/>
              <a:gd name="connsiteX950" fmla="*/ 489704 w 5821363"/>
              <a:gd name="connsiteY950" fmla="*/ 2022937 h 5186362"/>
              <a:gd name="connsiteX951" fmla="*/ 413188 w 5821363"/>
              <a:gd name="connsiteY951" fmla="*/ 1983212 h 5186362"/>
              <a:gd name="connsiteX952" fmla="*/ 339732 w 5821363"/>
              <a:gd name="connsiteY952" fmla="*/ 1967933 h 5186362"/>
              <a:gd name="connsiteX953" fmla="*/ 385642 w 5821363"/>
              <a:gd name="connsiteY953" fmla="*/ 2032105 h 5186362"/>
              <a:gd name="connsiteX954" fmla="*/ 376460 w 5821363"/>
              <a:gd name="connsiteY954" fmla="*/ 2038216 h 5186362"/>
              <a:gd name="connsiteX955" fmla="*/ 244852 w 5821363"/>
              <a:gd name="connsiteY955" fmla="*/ 1934319 h 5186362"/>
              <a:gd name="connsiteX956" fmla="*/ 116305 w 5821363"/>
              <a:gd name="connsiteY956" fmla="*/ 1821255 h 5186362"/>
              <a:gd name="connsiteX957" fmla="*/ 131608 w 5821363"/>
              <a:gd name="connsiteY957" fmla="*/ 1809032 h 5186362"/>
              <a:gd name="connsiteX958" fmla="*/ 318308 w 5821363"/>
              <a:gd name="connsiteY958" fmla="*/ 1955710 h 5186362"/>
              <a:gd name="connsiteX959" fmla="*/ 217306 w 5821363"/>
              <a:gd name="connsiteY959" fmla="*/ 1842645 h 5186362"/>
              <a:gd name="connsiteX960" fmla="*/ 48970 w 5821363"/>
              <a:gd name="connsiteY960" fmla="*/ 1699023 h 5186362"/>
              <a:gd name="connsiteX961" fmla="*/ 0 w 5821363"/>
              <a:gd name="connsiteY961" fmla="*/ 1625684 h 5186362"/>
              <a:gd name="connsiteX962" fmla="*/ 94880 w 5821363"/>
              <a:gd name="connsiteY962" fmla="*/ 1665409 h 5186362"/>
              <a:gd name="connsiteX963" fmla="*/ 186700 w 5821363"/>
              <a:gd name="connsiteY963" fmla="*/ 1705134 h 5186362"/>
              <a:gd name="connsiteX964" fmla="*/ 281580 w 5821363"/>
              <a:gd name="connsiteY964" fmla="*/ 1726525 h 5186362"/>
              <a:gd name="connsiteX965" fmla="*/ 192821 w 5821363"/>
              <a:gd name="connsiteY965" fmla="*/ 1613460 h 5186362"/>
              <a:gd name="connsiteX966" fmla="*/ 202003 w 5821363"/>
              <a:gd name="connsiteY966" fmla="*/ 1604293 h 5186362"/>
              <a:gd name="connsiteX967" fmla="*/ 272398 w 5821363"/>
              <a:gd name="connsiteY967" fmla="*/ 1622628 h 5186362"/>
              <a:gd name="connsiteX968" fmla="*/ 131608 w 5821363"/>
              <a:gd name="connsiteY968" fmla="*/ 1503452 h 5186362"/>
              <a:gd name="connsiteX969" fmla="*/ 217306 w 5821363"/>
              <a:gd name="connsiteY969" fmla="*/ 1515675 h 5186362"/>
              <a:gd name="connsiteX970" fmla="*/ 306065 w 5821363"/>
              <a:gd name="connsiteY970" fmla="*/ 1549289 h 5186362"/>
              <a:gd name="connsiteX971" fmla="*/ 171396 w 5821363"/>
              <a:gd name="connsiteY971" fmla="*/ 1451503 h 5186362"/>
              <a:gd name="connsiteX972" fmla="*/ 351975 w 5821363"/>
              <a:gd name="connsiteY972" fmla="*/ 1506508 h 5186362"/>
              <a:gd name="connsiteX973" fmla="*/ 303004 w 5821363"/>
              <a:gd name="connsiteY973" fmla="*/ 1445392 h 5186362"/>
              <a:gd name="connsiteX974" fmla="*/ 327490 w 5821363"/>
              <a:gd name="connsiteY974" fmla="*/ 1442336 h 5186362"/>
              <a:gd name="connsiteX975" fmla="*/ 318308 w 5821363"/>
              <a:gd name="connsiteY975" fmla="*/ 1402610 h 5186362"/>
              <a:gd name="connsiteX976" fmla="*/ 355036 w 5821363"/>
              <a:gd name="connsiteY976" fmla="*/ 1402610 h 5186362"/>
              <a:gd name="connsiteX977" fmla="*/ 422370 w 5821363"/>
              <a:gd name="connsiteY977" fmla="*/ 1344550 h 5186362"/>
              <a:gd name="connsiteX978" fmla="*/ 495826 w 5821363"/>
              <a:gd name="connsiteY978" fmla="*/ 1335383 h 5186362"/>
              <a:gd name="connsiteX979" fmla="*/ 547857 w 5821363"/>
              <a:gd name="connsiteY979" fmla="*/ 1332327 h 5186362"/>
              <a:gd name="connsiteX980" fmla="*/ 639676 w 5821363"/>
              <a:gd name="connsiteY980" fmla="*/ 1387331 h 5186362"/>
              <a:gd name="connsiteX981" fmla="*/ 743739 w 5821363"/>
              <a:gd name="connsiteY981" fmla="*/ 1433168 h 5186362"/>
              <a:gd name="connsiteX982" fmla="*/ 707011 w 5821363"/>
              <a:gd name="connsiteY982" fmla="*/ 1448447 h 5186362"/>
              <a:gd name="connsiteX983" fmla="*/ 722314 w 5821363"/>
              <a:gd name="connsiteY983" fmla="*/ 1457615 h 5186362"/>
              <a:gd name="connsiteX984" fmla="*/ 786588 w 5821363"/>
              <a:gd name="connsiteY984" fmla="*/ 1472894 h 5186362"/>
              <a:gd name="connsiteX985" fmla="*/ 869225 w 5821363"/>
              <a:gd name="connsiteY985" fmla="*/ 1570679 h 5186362"/>
              <a:gd name="connsiteX986" fmla="*/ 792709 w 5821363"/>
              <a:gd name="connsiteY986" fmla="*/ 1518731 h 5186362"/>
              <a:gd name="connsiteX987" fmla="*/ 725375 w 5821363"/>
              <a:gd name="connsiteY987" fmla="*/ 1494284 h 5186362"/>
              <a:gd name="connsiteX988" fmla="*/ 694768 w 5821363"/>
              <a:gd name="connsiteY988" fmla="*/ 1521787 h 5186362"/>
              <a:gd name="connsiteX989" fmla="*/ 627434 w 5821363"/>
              <a:gd name="connsiteY989" fmla="*/ 1534010 h 5186362"/>
              <a:gd name="connsiteX990" fmla="*/ 682526 w 5821363"/>
              <a:gd name="connsiteY990" fmla="*/ 1576791 h 5186362"/>
              <a:gd name="connsiteX991" fmla="*/ 703950 w 5821363"/>
              <a:gd name="connsiteY991" fmla="*/ 1604293 h 5186362"/>
              <a:gd name="connsiteX992" fmla="*/ 694768 w 5821363"/>
              <a:gd name="connsiteY992" fmla="*/ 1622628 h 5186362"/>
              <a:gd name="connsiteX993" fmla="*/ 654980 w 5821363"/>
              <a:gd name="connsiteY993" fmla="*/ 1604293 h 5186362"/>
              <a:gd name="connsiteX994" fmla="*/ 630494 w 5821363"/>
              <a:gd name="connsiteY994" fmla="*/ 1573735 h 5186362"/>
              <a:gd name="connsiteX995" fmla="*/ 630494 w 5821363"/>
              <a:gd name="connsiteY995" fmla="*/ 1647074 h 5186362"/>
              <a:gd name="connsiteX996" fmla="*/ 765163 w 5821363"/>
              <a:gd name="connsiteY996" fmla="*/ 1750971 h 5186362"/>
              <a:gd name="connsiteX997" fmla="*/ 804952 w 5821363"/>
              <a:gd name="connsiteY997" fmla="*/ 1754027 h 5186362"/>
              <a:gd name="connsiteX998" fmla="*/ 875347 w 5821363"/>
              <a:gd name="connsiteY998" fmla="*/ 1775418 h 5186362"/>
              <a:gd name="connsiteX999" fmla="*/ 869225 w 5821363"/>
              <a:gd name="connsiteY999" fmla="*/ 1824311 h 5186362"/>
              <a:gd name="connsiteX1000" fmla="*/ 924317 w 5821363"/>
              <a:gd name="connsiteY1000" fmla="*/ 1870148 h 5186362"/>
              <a:gd name="connsiteX1001" fmla="*/ 915135 w 5821363"/>
              <a:gd name="connsiteY1001" fmla="*/ 1885427 h 5186362"/>
              <a:gd name="connsiteX1002" fmla="*/ 762103 w 5821363"/>
              <a:gd name="connsiteY1002" fmla="*/ 1821255 h 5186362"/>
              <a:gd name="connsiteX1003" fmla="*/ 752921 w 5821363"/>
              <a:gd name="connsiteY1003" fmla="*/ 1830422 h 5186362"/>
              <a:gd name="connsiteX1004" fmla="*/ 777406 w 5821363"/>
              <a:gd name="connsiteY1004" fmla="*/ 1851813 h 5186362"/>
              <a:gd name="connsiteX1005" fmla="*/ 850861 w 5821363"/>
              <a:gd name="connsiteY1005" fmla="*/ 1897650 h 5186362"/>
              <a:gd name="connsiteX1006" fmla="*/ 866165 w 5821363"/>
              <a:gd name="connsiteY1006" fmla="*/ 1970989 h 5186362"/>
              <a:gd name="connsiteX1007" fmla="*/ 823316 w 5821363"/>
              <a:gd name="connsiteY1007" fmla="*/ 1958766 h 5186362"/>
              <a:gd name="connsiteX1008" fmla="*/ 893711 w 5821363"/>
              <a:gd name="connsiteY1008" fmla="*/ 2065719 h 5186362"/>
              <a:gd name="connsiteX1009" fmla="*/ 964106 w 5821363"/>
              <a:gd name="connsiteY1009" fmla="*/ 2129890 h 5186362"/>
              <a:gd name="connsiteX1010" fmla="*/ 1098774 w 5821363"/>
              <a:gd name="connsiteY1010" fmla="*/ 2221564 h 5186362"/>
              <a:gd name="connsiteX1011" fmla="*/ 1123260 w 5821363"/>
              <a:gd name="connsiteY1011" fmla="*/ 2255178 h 5186362"/>
              <a:gd name="connsiteX1012" fmla="*/ 1003894 w 5821363"/>
              <a:gd name="connsiteY1012" fmla="*/ 2230732 h 5186362"/>
              <a:gd name="connsiteX1013" fmla="*/ 1000833 w 5821363"/>
              <a:gd name="connsiteY1013" fmla="*/ 2236843 h 5186362"/>
              <a:gd name="connsiteX1014" fmla="*/ 1215079 w 5821363"/>
              <a:gd name="connsiteY1014" fmla="*/ 2377410 h 5186362"/>
              <a:gd name="connsiteX1015" fmla="*/ 1426264 w 5821363"/>
              <a:gd name="connsiteY1015" fmla="*/ 2505754 h 5186362"/>
              <a:gd name="connsiteX1016" fmla="*/ 1441568 w 5821363"/>
              <a:gd name="connsiteY1016" fmla="*/ 2417136 h 5186362"/>
              <a:gd name="connsiteX1017" fmla="*/ 1487477 w 5821363"/>
              <a:gd name="connsiteY1017" fmla="*/ 2429359 h 5186362"/>
              <a:gd name="connsiteX1018" fmla="*/ 1453810 w 5821363"/>
              <a:gd name="connsiteY1018" fmla="*/ 2371299 h 5186362"/>
              <a:gd name="connsiteX1019" fmla="*/ 1377564 w 5821363"/>
              <a:gd name="connsiteY1019" fmla="*/ 2301263 h 5186362"/>
              <a:gd name="connsiteX1020" fmla="*/ 1377059 w 5821363"/>
              <a:gd name="connsiteY1020" fmla="*/ 2301095 h 5186362"/>
              <a:gd name="connsiteX1021" fmla="*/ 1376994 w 5821363"/>
              <a:gd name="connsiteY1021" fmla="*/ 2301042 h 5186362"/>
              <a:gd name="connsiteX1022" fmla="*/ 1347453 w 5821363"/>
              <a:gd name="connsiteY1022" fmla="*/ 2303689 h 5186362"/>
              <a:gd name="connsiteX1023" fmla="*/ 1331384 w 5821363"/>
              <a:gd name="connsiteY1023" fmla="*/ 2331573 h 5186362"/>
              <a:gd name="connsiteX1024" fmla="*/ 1248746 w 5821363"/>
              <a:gd name="connsiteY1024" fmla="*/ 2356020 h 5186362"/>
              <a:gd name="connsiteX1025" fmla="*/ 1221201 w 5821363"/>
              <a:gd name="connsiteY1025" fmla="*/ 2331573 h 5186362"/>
              <a:gd name="connsiteX1026" fmla="*/ 1257928 w 5821363"/>
              <a:gd name="connsiteY1026" fmla="*/ 2319350 h 5186362"/>
              <a:gd name="connsiteX1027" fmla="*/ 1196715 w 5821363"/>
              <a:gd name="connsiteY1027" fmla="*/ 2252122 h 5186362"/>
              <a:gd name="connsiteX1028" fmla="*/ 1196715 w 5821363"/>
              <a:gd name="connsiteY1028" fmla="*/ 2239899 h 5186362"/>
              <a:gd name="connsiteX1029" fmla="*/ 1279353 w 5821363"/>
              <a:gd name="connsiteY1029" fmla="*/ 2264346 h 5186362"/>
              <a:gd name="connsiteX1030" fmla="*/ 1282414 w 5821363"/>
              <a:gd name="connsiteY1030" fmla="*/ 2258234 h 5186362"/>
              <a:gd name="connsiteX1031" fmla="*/ 991652 w 5821363"/>
              <a:gd name="connsiteY1031" fmla="*/ 2044328 h 5186362"/>
              <a:gd name="connsiteX1032" fmla="*/ 994712 w 5821363"/>
              <a:gd name="connsiteY1032" fmla="*/ 2035161 h 5186362"/>
              <a:gd name="connsiteX1033" fmla="*/ 1037561 w 5821363"/>
              <a:gd name="connsiteY1033" fmla="*/ 2050440 h 5186362"/>
              <a:gd name="connsiteX1034" fmla="*/ 979409 w 5821363"/>
              <a:gd name="connsiteY1034" fmla="*/ 1986268 h 5186362"/>
              <a:gd name="connsiteX1035" fmla="*/ 967166 w 5821363"/>
              <a:gd name="connsiteY1035" fmla="*/ 2035161 h 5186362"/>
              <a:gd name="connsiteX1036" fmla="*/ 915135 w 5821363"/>
              <a:gd name="connsiteY1036" fmla="*/ 1998491 h 5186362"/>
              <a:gd name="connsiteX1037" fmla="*/ 945742 w 5821363"/>
              <a:gd name="connsiteY1037" fmla="*/ 1989324 h 5186362"/>
              <a:gd name="connsiteX1038" fmla="*/ 902893 w 5821363"/>
              <a:gd name="connsiteY1038" fmla="*/ 1928208 h 5186362"/>
              <a:gd name="connsiteX1039" fmla="*/ 1065107 w 5821363"/>
              <a:gd name="connsiteY1039" fmla="*/ 2010714 h 5186362"/>
              <a:gd name="connsiteX1040" fmla="*/ 1037561 w 5821363"/>
              <a:gd name="connsiteY1040" fmla="*/ 1958766 h 5186362"/>
              <a:gd name="connsiteX1041" fmla="*/ 1101835 w 5821363"/>
              <a:gd name="connsiteY1041" fmla="*/ 1983212 h 5186362"/>
              <a:gd name="connsiteX1042" fmla="*/ 1114078 w 5821363"/>
              <a:gd name="connsiteY1042" fmla="*/ 1974045 h 5186362"/>
              <a:gd name="connsiteX1043" fmla="*/ 1071229 w 5821363"/>
              <a:gd name="connsiteY1043" fmla="*/ 1925152 h 5186362"/>
              <a:gd name="connsiteX1044" fmla="*/ 1120199 w 5821363"/>
              <a:gd name="connsiteY1044" fmla="*/ 1946543 h 5186362"/>
              <a:gd name="connsiteX1045" fmla="*/ 1126320 w 5821363"/>
              <a:gd name="connsiteY1045" fmla="*/ 1937375 h 5186362"/>
              <a:gd name="connsiteX1046" fmla="*/ 985530 w 5821363"/>
              <a:gd name="connsiteY1046" fmla="*/ 1790697 h 5186362"/>
              <a:gd name="connsiteX1047" fmla="*/ 976348 w 5821363"/>
              <a:gd name="connsiteY1047" fmla="*/ 1796808 h 5186362"/>
              <a:gd name="connsiteX1048" fmla="*/ 1003894 w 5821363"/>
              <a:gd name="connsiteY1048" fmla="*/ 1851813 h 5186362"/>
              <a:gd name="connsiteX1049" fmla="*/ 878407 w 5821363"/>
              <a:gd name="connsiteY1049" fmla="*/ 1772362 h 5186362"/>
              <a:gd name="connsiteX1050" fmla="*/ 909014 w 5821363"/>
              <a:gd name="connsiteY1050" fmla="*/ 1750971 h 5186362"/>
              <a:gd name="connsiteX1051" fmla="*/ 853922 w 5821363"/>
              <a:gd name="connsiteY1051" fmla="*/ 1708190 h 5186362"/>
              <a:gd name="connsiteX1052" fmla="*/ 860043 w 5821363"/>
              <a:gd name="connsiteY1052" fmla="*/ 1695967 h 5186362"/>
              <a:gd name="connsiteX1053" fmla="*/ 982470 w 5821363"/>
              <a:gd name="connsiteY1053" fmla="*/ 1757083 h 5186362"/>
              <a:gd name="connsiteX1054" fmla="*/ 933499 w 5821363"/>
              <a:gd name="connsiteY1054" fmla="*/ 1695967 h 5186362"/>
              <a:gd name="connsiteX1055" fmla="*/ 945742 w 5821363"/>
              <a:gd name="connsiteY1055" fmla="*/ 1686800 h 5186362"/>
              <a:gd name="connsiteX1056" fmla="*/ 1022258 w 5821363"/>
              <a:gd name="connsiteY1056" fmla="*/ 1723469 h 5186362"/>
              <a:gd name="connsiteX1057" fmla="*/ 991652 w 5821363"/>
              <a:gd name="connsiteY1057" fmla="*/ 1683744 h 5186362"/>
              <a:gd name="connsiteX1058" fmla="*/ 997773 w 5821363"/>
              <a:gd name="connsiteY1058" fmla="*/ 1677632 h 5186362"/>
              <a:gd name="connsiteX1059" fmla="*/ 1052865 w 5821363"/>
              <a:gd name="connsiteY1059" fmla="*/ 1741804 h 5186362"/>
              <a:gd name="connsiteX1060" fmla="*/ 1132442 w 5821363"/>
              <a:gd name="connsiteY1060" fmla="*/ 1793753 h 5186362"/>
              <a:gd name="connsiteX1061" fmla="*/ 1205897 w 5821363"/>
              <a:gd name="connsiteY1061" fmla="*/ 1864036 h 5186362"/>
              <a:gd name="connsiteX1062" fmla="*/ 1215079 w 5821363"/>
              <a:gd name="connsiteY1062" fmla="*/ 1854869 h 5186362"/>
              <a:gd name="connsiteX1063" fmla="*/ 1205897 w 5821363"/>
              <a:gd name="connsiteY1063" fmla="*/ 1754027 h 5186362"/>
              <a:gd name="connsiteX1064" fmla="*/ 1267110 w 5821363"/>
              <a:gd name="connsiteY1064" fmla="*/ 1720413 h 5186362"/>
              <a:gd name="connsiteX1065" fmla="*/ 1224261 w 5821363"/>
              <a:gd name="connsiteY1065" fmla="*/ 1692911 h 5186362"/>
              <a:gd name="connsiteX1066" fmla="*/ 1239564 w 5821363"/>
              <a:gd name="connsiteY1066" fmla="*/ 1631795 h 5186362"/>
              <a:gd name="connsiteX1067" fmla="*/ 1276292 w 5821363"/>
              <a:gd name="connsiteY1067" fmla="*/ 1640963 h 5186362"/>
              <a:gd name="connsiteX1068" fmla="*/ 1264050 w 5821363"/>
              <a:gd name="connsiteY1068" fmla="*/ 1610405 h 5186362"/>
              <a:gd name="connsiteX1069" fmla="*/ 1091888 w 5821363"/>
              <a:gd name="connsiteY1069" fmla="*/ 1499537 h 5186362"/>
              <a:gd name="connsiteX1070" fmla="*/ 1025416 w 5821363"/>
              <a:gd name="connsiteY1070" fmla="*/ 1479035 h 5186362"/>
              <a:gd name="connsiteX1071" fmla="*/ 1045908 w 5821363"/>
              <a:gd name="connsiteY1071" fmla="*/ 1495246 h 5186362"/>
              <a:gd name="connsiteX1072" fmla="*/ 1065580 w 5821363"/>
              <a:gd name="connsiteY1072" fmla="*/ 1512286 h 5186362"/>
              <a:gd name="connsiteX1073" fmla="*/ 1065628 w 5821363"/>
              <a:gd name="connsiteY1073" fmla="*/ 1512407 h 5186362"/>
              <a:gd name="connsiteX1074" fmla="*/ 1065872 w 5821363"/>
              <a:gd name="connsiteY1074" fmla="*/ 1512619 h 5186362"/>
              <a:gd name="connsiteX1075" fmla="*/ 1065107 w 5821363"/>
              <a:gd name="connsiteY1075" fmla="*/ 1573735 h 5186362"/>
              <a:gd name="connsiteX1076" fmla="*/ 1020345 w 5821363"/>
              <a:gd name="connsiteY1076" fmla="*/ 1519495 h 5186362"/>
              <a:gd name="connsiteX1077" fmla="*/ 981126 w 5821363"/>
              <a:gd name="connsiteY1077" fmla="*/ 1470469 h 5186362"/>
              <a:gd name="connsiteX1078" fmla="*/ 973138 w 5821363"/>
              <a:gd name="connsiteY1078" fmla="*/ 1460499 h 5186362"/>
              <a:gd name="connsiteX1079" fmla="*/ 994911 w 5821363"/>
              <a:gd name="connsiteY1079" fmla="*/ 1460499 h 5186362"/>
              <a:gd name="connsiteX1080" fmla="*/ 1009720 w 5821363"/>
              <a:gd name="connsiteY1080" fmla="*/ 1460499 h 5186362"/>
              <a:gd name="connsiteX1081" fmla="*/ 973288 w 5821363"/>
              <a:gd name="connsiteY1081" fmla="*/ 1439280 h 5186362"/>
              <a:gd name="connsiteX1082" fmla="*/ 954924 w 5821363"/>
              <a:gd name="connsiteY1082" fmla="*/ 1372052 h 5186362"/>
              <a:gd name="connsiteX1083" fmla="*/ 961045 w 5821363"/>
              <a:gd name="connsiteY1083" fmla="*/ 1375108 h 5186362"/>
              <a:gd name="connsiteX1084" fmla="*/ 982470 w 5821363"/>
              <a:gd name="connsiteY1084" fmla="*/ 1277323 h 5186362"/>
              <a:gd name="connsiteX1085" fmla="*/ 1058986 w 5821363"/>
              <a:gd name="connsiteY1085" fmla="*/ 1283434 h 5186362"/>
              <a:gd name="connsiteX1086" fmla="*/ 1022258 w 5821363"/>
              <a:gd name="connsiteY1086" fmla="*/ 1225374 h 5186362"/>
              <a:gd name="connsiteX1087" fmla="*/ 1049804 w 5821363"/>
              <a:gd name="connsiteY1087" fmla="*/ 1216207 h 5186362"/>
              <a:gd name="connsiteX1088" fmla="*/ 1074289 w 5821363"/>
              <a:gd name="connsiteY1088" fmla="*/ 1109254 h 5186362"/>
              <a:gd name="connsiteX1089" fmla="*/ 1086532 w 5821363"/>
              <a:gd name="connsiteY1089" fmla="*/ 1106198 h 5186362"/>
              <a:gd name="connsiteX1090" fmla="*/ 1058986 w 5821363"/>
              <a:gd name="connsiteY1090" fmla="*/ 1069528 h 5186362"/>
              <a:gd name="connsiteX1091" fmla="*/ 1169169 w 5821363"/>
              <a:gd name="connsiteY1091" fmla="*/ 1026747 h 5186362"/>
              <a:gd name="connsiteX1092" fmla="*/ 1046743 w 5821363"/>
              <a:gd name="connsiteY1092" fmla="*/ 916739 h 5186362"/>
              <a:gd name="connsiteX1093" fmla="*/ 1052865 w 5821363"/>
              <a:gd name="connsiteY1093" fmla="*/ 904516 h 5186362"/>
              <a:gd name="connsiteX1094" fmla="*/ 1126320 w 5821363"/>
              <a:gd name="connsiteY1094" fmla="*/ 944241 h 5186362"/>
              <a:gd name="connsiteX1095" fmla="*/ 1135502 w 5821363"/>
              <a:gd name="connsiteY1095" fmla="*/ 938130 h 5186362"/>
              <a:gd name="connsiteX1096" fmla="*/ 991652 w 5821363"/>
              <a:gd name="connsiteY1096" fmla="*/ 818954 h 5186362"/>
              <a:gd name="connsiteX1097" fmla="*/ 1000833 w 5821363"/>
              <a:gd name="connsiteY1097" fmla="*/ 800619 h 5186362"/>
              <a:gd name="connsiteX1098" fmla="*/ 1068168 w 5821363"/>
              <a:gd name="connsiteY1098" fmla="*/ 834232 h 5186362"/>
              <a:gd name="connsiteX1099" fmla="*/ 1224261 w 5821363"/>
              <a:gd name="connsiteY1099" fmla="*/ 971743 h 5186362"/>
              <a:gd name="connsiteX1100" fmla="*/ 1236504 w 5821363"/>
              <a:gd name="connsiteY1100" fmla="*/ 956465 h 5186362"/>
              <a:gd name="connsiteX1101" fmla="*/ 1184855 w 5821363"/>
              <a:gd name="connsiteY1101" fmla="*/ 915212 h 5186362"/>
              <a:gd name="connsiteX1102" fmla="*/ 1135502 w 5821363"/>
              <a:gd name="connsiteY1102" fmla="*/ 873958 h 5186362"/>
              <a:gd name="connsiteX1103" fmla="*/ 1095714 w 5821363"/>
              <a:gd name="connsiteY1103" fmla="*/ 825066 h 5186362"/>
              <a:gd name="connsiteX1104" fmla="*/ 1046743 w 5821363"/>
              <a:gd name="connsiteY1104" fmla="*/ 785340 h 5186362"/>
              <a:gd name="connsiteX1105" fmla="*/ 1000833 w 5821363"/>
              <a:gd name="connsiteY1105" fmla="*/ 767005 h 5186362"/>
              <a:gd name="connsiteX1106" fmla="*/ 1010015 w 5821363"/>
              <a:gd name="connsiteY1106" fmla="*/ 748670 h 5186362"/>
              <a:gd name="connsiteX1107" fmla="*/ 1117138 w 5821363"/>
              <a:gd name="connsiteY1107" fmla="*/ 803674 h 5186362"/>
              <a:gd name="connsiteX1108" fmla="*/ 1123260 w 5821363"/>
              <a:gd name="connsiteY1108" fmla="*/ 797564 h 5186362"/>
              <a:gd name="connsiteX1109" fmla="*/ 1074289 w 5821363"/>
              <a:gd name="connsiteY1109" fmla="*/ 760894 h 5186362"/>
              <a:gd name="connsiteX1110" fmla="*/ 1074290 w 5821363"/>
              <a:gd name="connsiteY1110" fmla="*/ 760894 h 5186362"/>
              <a:gd name="connsiteX1111" fmla="*/ 1074289 w 5821363"/>
              <a:gd name="connsiteY1111" fmla="*/ 760893 h 5186362"/>
              <a:gd name="connsiteX1112" fmla="*/ 1147745 w 5821363"/>
              <a:gd name="connsiteY1112" fmla="*/ 776172 h 5186362"/>
              <a:gd name="connsiteX1113" fmla="*/ 1242625 w 5821363"/>
              <a:gd name="connsiteY1113" fmla="*/ 806730 h 5186362"/>
              <a:gd name="connsiteX1114" fmla="*/ 1294656 w 5821363"/>
              <a:gd name="connsiteY1114" fmla="*/ 822009 h 5186362"/>
              <a:gd name="connsiteX1115" fmla="*/ 1410961 w 5821363"/>
              <a:gd name="connsiteY1115" fmla="*/ 892293 h 5186362"/>
              <a:gd name="connsiteX1116" fmla="*/ 1423204 w 5821363"/>
              <a:gd name="connsiteY1116" fmla="*/ 880070 h 5186362"/>
              <a:gd name="connsiteX1117" fmla="*/ 1352809 w 5821363"/>
              <a:gd name="connsiteY1117" fmla="*/ 834233 h 5186362"/>
              <a:gd name="connsiteX1118" fmla="*/ 1352809 w 5821363"/>
              <a:gd name="connsiteY1118" fmla="*/ 834232 h 5186362"/>
              <a:gd name="connsiteX1119" fmla="*/ 1365051 w 5821363"/>
              <a:gd name="connsiteY1119" fmla="*/ 822009 h 5186362"/>
              <a:gd name="connsiteX1120" fmla="*/ 1554065 w 5821363"/>
              <a:gd name="connsiteY1120" fmla="*/ 951272 h 5186362"/>
              <a:gd name="connsiteX1121" fmla="*/ 1591539 w 5821363"/>
              <a:gd name="connsiteY1121" fmla="*/ 953409 h 5186362"/>
              <a:gd name="connsiteX1122" fmla="*/ 1542569 w 5821363"/>
              <a:gd name="connsiteY1122" fmla="*/ 922851 h 5186362"/>
              <a:gd name="connsiteX1123" fmla="*/ 1567054 w 5821363"/>
              <a:gd name="connsiteY1123" fmla="*/ 892293 h 5186362"/>
              <a:gd name="connsiteX1124" fmla="*/ 1521145 w 5821363"/>
              <a:gd name="connsiteY1124" fmla="*/ 840345 h 5186362"/>
              <a:gd name="connsiteX1125" fmla="*/ 1521145 w 5821363"/>
              <a:gd name="connsiteY1125" fmla="*/ 840344 h 5186362"/>
              <a:gd name="connsiteX1126" fmla="*/ 1527266 w 5821363"/>
              <a:gd name="connsiteY1126" fmla="*/ 831177 h 5186362"/>
              <a:gd name="connsiteX1127" fmla="*/ 1564759 w 5821363"/>
              <a:gd name="connsiteY1127" fmla="*/ 854859 h 5186362"/>
              <a:gd name="connsiteX1128" fmla="*/ 1606842 w 5821363"/>
              <a:gd name="connsiteY1128" fmla="*/ 883125 h 5186362"/>
              <a:gd name="connsiteX1129" fmla="*/ 1537213 w 5821363"/>
              <a:gd name="connsiteY1129" fmla="*/ 797564 h 5186362"/>
              <a:gd name="connsiteX1130" fmla="*/ 1472174 w 5821363"/>
              <a:gd name="connsiteY1130" fmla="*/ 721169 h 5186362"/>
              <a:gd name="connsiteX1131" fmla="*/ 1426264 w 5821363"/>
              <a:gd name="connsiteY1131" fmla="*/ 693666 h 5186362"/>
              <a:gd name="connsiteX1132" fmla="*/ 1496659 w 5821363"/>
              <a:gd name="connsiteY1132" fmla="*/ 800619 h 5186362"/>
              <a:gd name="connsiteX1133" fmla="*/ 1472174 w 5821363"/>
              <a:gd name="connsiteY1133" fmla="*/ 803675 h 5186362"/>
              <a:gd name="connsiteX1134" fmla="*/ 1471846 w 5821363"/>
              <a:gd name="connsiteY1134" fmla="*/ 803215 h 5186362"/>
              <a:gd name="connsiteX1135" fmla="*/ 1471002 w 5821363"/>
              <a:gd name="connsiteY1135" fmla="*/ 803275 h 5186362"/>
              <a:gd name="connsiteX1136" fmla="*/ 1447342 w 5821363"/>
              <a:gd name="connsiteY1136" fmla="*/ 769980 h 5186362"/>
              <a:gd name="connsiteX1137" fmla="*/ 1428702 w 5821363"/>
              <a:gd name="connsiteY1137" fmla="*/ 739697 h 5186362"/>
              <a:gd name="connsiteX1138" fmla="*/ 1407805 w 5821363"/>
              <a:gd name="connsiteY1138" fmla="*/ 746171 h 5186362"/>
              <a:gd name="connsiteX1139" fmla="*/ 1392597 w 5821363"/>
              <a:gd name="connsiteY1139" fmla="*/ 744708 h 5186362"/>
              <a:gd name="connsiteX1140" fmla="*/ 1392139 w 5821363"/>
              <a:gd name="connsiteY1140" fmla="*/ 744245 h 5186362"/>
              <a:gd name="connsiteX1141" fmla="*/ 1391627 w 5821363"/>
              <a:gd name="connsiteY1141" fmla="*/ 744196 h 5186362"/>
              <a:gd name="connsiteX1142" fmla="*/ 1373309 w 5821363"/>
              <a:gd name="connsiteY1142" fmla="*/ 725587 h 5186362"/>
              <a:gd name="connsiteX1143" fmla="*/ 1359625 w 5821363"/>
              <a:gd name="connsiteY1143" fmla="*/ 700760 h 5186362"/>
              <a:gd name="connsiteX1144" fmla="*/ 1337505 w 5821363"/>
              <a:gd name="connsiteY1144" fmla="*/ 687555 h 5186362"/>
              <a:gd name="connsiteX1145" fmla="*/ 1337553 w 5821363"/>
              <a:gd name="connsiteY1145" fmla="*/ 687460 h 5186362"/>
              <a:gd name="connsiteX1146" fmla="*/ 1336675 w 5821363"/>
              <a:gd name="connsiteY1146" fmla="*/ 686934 h 5186362"/>
              <a:gd name="connsiteX1147" fmla="*/ 1342781 w 5821363"/>
              <a:gd name="connsiteY1147" fmla="*/ 674687 h 5186362"/>
              <a:gd name="connsiteX1148" fmla="*/ 1412792 w 5821363"/>
              <a:gd name="connsiteY1148" fmla="*/ 683845 h 5186362"/>
              <a:gd name="connsiteX1149" fmla="*/ 1370073 w 5821363"/>
              <a:gd name="connsiteY1149" fmla="*/ 661104 h 5186362"/>
              <a:gd name="connsiteX1150" fmla="*/ 1300778 w 5821363"/>
              <a:gd name="connsiteY1150" fmla="*/ 562268 h 5186362"/>
              <a:gd name="connsiteX1151" fmla="*/ 1300778 w 5821363"/>
              <a:gd name="connsiteY1151" fmla="*/ 562267 h 5186362"/>
              <a:gd name="connsiteX1152" fmla="*/ 1313020 w 5821363"/>
              <a:gd name="connsiteY1152" fmla="*/ 504206 h 5186362"/>
              <a:gd name="connsiteX1153" fmla="*/ 1367729 w 5821363"/>
              <a:gd name="connsiteY1153" fmla="*/ 524833 h 5186362"/>
              <a:gd name="connsiteX1154" fmla="*/ 1429325 w 5821363"/>
              <a:gd name="connsiteY1154" fmla="*/ 550043 h 5186362"/>
              <a:gd name="connsiteX1155" fmla="*/ 1424734 w 5821363"/>
              <a:gd name="connsiteY1155" fmla="*/ 535147 h 5186362"/>
              <a:gd name="connsiteX1156" fmla="*/ 1420143 w 5821363"/>
              <a:gd name="connsiteY1156" fmla="*/ 522542 h 5186362"/>
              <a:gd name="connsiteX1157" fmla="*/ 1410961 w 5821363"/>
              <a:gd name="connsiteY1157" fmla="*/ 479761 h 5186362"/>
              <a:gd name="connsiteX1158" fmla="*/ 1352809 w 5821363"/>
              <a:gd name="connsiteY1158" fmla="*/ 436980 h 5186362"/>
              <a:gd name="connsiteX1159" fmla="*/ 1352810 w 5821363"/>
              <a:gd name="connsiteY1159" fmla="*/ 436979 h 5186362"/>
              <a:gd name="connsiteX1160" fmla="*/ 1352809 w 5821363"/>
              <a:gd name="connsiteY1160" fmla="*/ 436979 h 5186362"/>
              <a:gd name="connsiteX1161" fmla="*/ 1435446 w 5821363"/>
              <a:gd name="connsiteY1161" fmla="*/ 418644 h 5186362"/>
              <a:gd name="connsiteX1162" fmla="*/ 1472174 w 5821363"/>
              <a:gd name="connsiteY1162" fmla="*/ 421700 h 5186362"/>
              <a:gd name="connsiteX1163" fmla="*/ 1539509 w 5821363"/>
              <a:gd name="connsiteY1163" fmla="*/ 449202 h 5186362"/>
              <a:gd name="connsiteX1164" fmla="*/ 1726208 w 5821363"/>
              <a:gd name="connsiteY1164" fmla="*/ 571434 h 5186362"/>
              <a:gd name="connsiteX1165" fmla="*/ 1980243 w 5821363"/>
              <a:gd name="connsiteY1165" fmla="*/ 760893 h 5186362"/>
              <a:gd name="connsiteX1166" fmla="*/ 1989425 w 5821363"/>
              <a:gd name="connsiteY1166" fmla="*/ 754782 h 5186362"/>
              <a:gd name="connsiteX1167" fmla="*/ 1961879 w 5821363"/>
              <a:gd name="connsiteY1167" fmla="*/ 693666 h 5186362"/>
              <a:gd name="connsiteX1168" fmla="*/ 1888423 w 5821363"/>
              <a:gd name="connsiteY1168" fmla="*/ 568379 h 5186362"/>
              <a:gd name="connsiteX1169" fmla="*/ 1888423 w 5821363"/>
              <a:gd name="connsiteY1169" fmla="*/ 568378 h 5186362"/>
              <a:gd name="connsiteX1170" fmla="*/ 1908317 w 5821363"/>
              <a:gd name="connsiteY1170" fmla="*/ 572962 h 5186362"/>
              <a:gd name="connsiteX1171" fmla="*/ 1928211 w 5821363"/>
              <a:gd name="connsiteY1171" fmla="*/ 577545 h 5186362"/>
              <a:gd name="connsiteX1172" fmla="*/ 1888423 w 5821363"/>
              <a:gd name="connsiteY1172" fmla="*/ 528654 h 5186362"/>
              <a:gd name="connsiteX1173" fmla="*/ 1888423 w 5821363"/>
              <a:gd name="connsiteY1173" fmla="*/ 528653 h 5186362"/>
              <a:gd name="connsiteX1174" fmla="*/ 1897605 w 5821363"/>
              <a:gd name="connsiteY1174" fmla="*/ 519486 h 5186362"/>
              <a:gd name="connsiteX1175" fmla="*/ 1916352 w 5821363"/>
              <a:gd name="connsiteY1175" fmla="*/ 534000 h 5186362"/>
              <a:gd name="connsiteX1176" fmla="*/ 1937393 w 5821363"/>
              <a:gd name="connsiteY1176" fmla="*/ 553099 h 5186362"/>
              <a:gd name="connsiteX1177" fmla="*/ 1928212 w 5821363"/>
              <a:gd name="connsiteY1177" fmla="*/ 513374 h 5186362"/>
              <a:gd name="connsiteX1178" fmla="*/ 2212852 w 5821363"/>
              <a:gd name="connsiteY1178" fmla="*/ 513374 h 5186362"/>
              <a:gd name="connsiteX1179" fmla="*/ 2776013 w 5821363"/>
              <a:gd name="connsiteY1179" fmla="*/ 513374 h 5186362"/>
              <a:gd name="connsiteX1180" fmla="*/ 2883135 w 5821363"/>
              <a:gd name="connsiteY1180" fmla="*/ 516430 h 5186362"/>
              <a:gd name="connsiteX1181" fmla="*/ 2953531 w 5821363"/>
              <a:gd name="connsiteY1181" fmla="*/ 556155 h 5186362"/>
              <a:gd name="connsiteX1182" fmla="*/ 2972277 w 5821363"/>
              <a:gd name="connsiteY1182" fmla="*/ 568760 h 5186362"/>
              <a:gd name="connsiteX1183" fmla="*/ 2993318 w 5821363"/>
              <a:gd name="connsiteY1183" fmla="*/ 574489 h 5186362"/>
              <a:gd name="connsiteX1184" fmla="*/ 2932106 w 5821363"/>
              <a:gd name="connsiteY1184" fmla="*/ 519486 h 5186362"/>
              <a:gd name="connsiteX1185" fmla="*/ 2938227 w 5821363"/>
              <a:gd name="connsiteY1185" fmla="*/ 513374 h 5186362"/>
              <a:gd name="connsiteX1186" fmla="*/ 2971895 w 5821363"/>
              <a:gd name="connsiteY1186" fmla="*/ 519486 h 5186362"/>
              <a:gd name="connsiteX1187" fmla="*/ 3088199 w 5821363"/>
              <a:gd name="connsiteY1187" fmla="*/ 638662 h 5186362"/>
              <a:gd name="connsiteX1188" fmla="*/ 3030047 w 5821363"/>
              <a:gd name="connsiteY1188" fmla="*/ 605048 h 5186362"/>
              <a:gd name="connsiteX1189" fmla="*/ 3023926 w 5821363"/>
              <a:gd name="connsiteY1189" fmla="*/ 614215 h 5186362"/>
              <a:gd name="connsiteX1190" fmla="*/ 3103503 w 5821363"/>
              <a:gd name="connsiteY1190" fmla="*/ 684499 h 5186362"/>
              <a:gd name="connsiteX1191" fmla="*/ 3112685 w 5821363"/>
              <a:gd name="connsiteY1191" fmla="*/ 675331 h 5186362"/>
              <a:gd name="connsiteX1192" fmla="*/ 3100442 w 5821363"/>
              <a:gd name="connsiteY1192" fmla="*/ 653941 h 5186362"/>
              <a:gd name="connsiteX1193" fmla="*/ 3100442 w 5821363"/>
              <a:gd name="connsiteY1193" fmla="*/ 653940 h 5186362"/>
              <a:gd name="connsiteX1194" fmla="*/ 3115745 w 5821363"/>
              <a:gd name="connsiteY1194" fmla="*/ 660052 h 5186362"/>
              <a:gd name="connsiteX1195" fmla="*/ 3244293 w 5821363"/>
              <a:gd name="connsiteY1195" fmla="*/ 754782 h 5186362"/>
              <a:gd name="connsiteX1196" fmla="*/ 3342234 w 5821363"/>
              <a:gd name="connsiteY1196" fmla="*/ 782284 h 5186362"/>
              <a:gd name="connsiteX1197" fmla="*/ 3362510 w 5821363"/>
              <a:gd name="connsiteY1197" fmla="*/ 778464 h 5186362"/>
              <a:gd name="connsiteX1198" fmla="*/ 3394264 w 5821363"/>
              <a:gd name="connsiteY1198" fmla="*/ 779228 h 5186362"/>
              <a:gd name="connsiteX1199" fmla="*/ 3370927 w 5821363"/>
              <a:gd name="connsiteY1199" fmla="*/ 767005 h 5186362"/>
              <a:gd name="connsiteX1200" fmla="*/ 3354476 w 5821363"/>
              <a:gd name="connsiteY1200" fmla="*/ 754782 h 5186362"/>
              <a:gd name="connsiteX1201" fmla="*/ 3302445 w 5821363"/>
              <a:gd name="connsiteY1201" fmla="*/ 696722 h 5186362"/>
              <a:gd name="connsiteX1202" fmla="*/ 3296324 w 5821363"/>
              <a:gd name="connsiteY1202" fmla="*/ 678387 h 5186362"/>
              <a:gd name="connsiteX1203" fmla="*/ 3207565 w 5821363"/>
              <a:gd name="connsiteY1203" fmla="*/ 626439 h 5186362"/>
              <a:gd name="connsiteX1204" fmla="*/ 3170837 w 5821363"/>
              <a:gd name="connsiteY1204" fmla="*/ 592825 h 5186362"/>
              <a:gd name="connsiteX1205" fmla="*/ 3094321 w 5821363"/>
              <a:gd name="connsiteY1205" fmla="*/ 550044 h 5186362"/>
              <a:gd name="connsiteX1206" fmla="*/ 3054532 w 5821363"/>
              <a:gd name="connsiteY1206" fmla="*/ 531709 h 5186362"/>
              <a:gd name="connsiteX1207" fmla="*/ 3060653 w 5821363"/>
              <a:gd name="connsiteY1207" fmla="*/ 513374 h 5186362"/>
              <a:gd name="connsiteX1208" fmla="*/ 3183080 w 5821363"/>
              <a:gd name="connsiteY1208" fmla="*/ 513374 h 5186362"/>
              <a:gd name="connsiteX1209" fmla="*/ 3446296 w 5821363"/>
              <a:gd name="connsiteY1209" fmla="*/ 574490 h 5186362"/>
              <a:gd name="connsiteX1210" fmla="*/ 3456626 w 5821363"/>
              <a:gd name="connsiteY1210" fmla="*/ 577545 h 5186362"/>
              <a:gd name="connsiteX1211" fmla="*/ 3473841 w 5821363"/>
              <a:gd name="connsiteY1211" fmla="*/ 580601 h 5186362"/>
              <a:gd name="connsiteX1212" fmla="*/ 3434053 w 5821363"/>
              <a:gd name="connsiteY1212" fmla="*/ 516430 h 5186362"/>
              <a:gd name="connsiteX1213" fmla="*/ 3437114 w 5821363"/>
              <a:gd name="connsiteY1213" fmla="*/ 510318 h 5186362"/>
              <a:gd name="connsiteX1214" fmla="*/ 3499475 w 5821363"/>
              <a:gd name="connsiteY1214" fmla="*/ 535528 h 5186362"/>
              <a:gd name="connsiteX1215" fmla="*/ 3568722 w 5821363"/>
              <a:gd name="connsiteY1215" fmla="*/ 565322 h 5186362"/>
              <a:gd name="connsiteX1216" fmla="*/ 3562601 w 5821363"/>
              <a:gd name="connsiteY1216" fmla="*/ 522542 h 5186362"/>
              <a:gd name="connsiteX1217" fmla="*/ 3562601 w 5821363"/>
              <a:gd name="connsiteY1217" fmla="*/ 522541 h 5186362"/>
              <a:gd name="connsiteX1218" fmla="*/ 3615014 w 5821363"/>
              <a:gd name="connsiteY1218" fmla="*/ 554245 h 5186362"/>
              <a:gd name="connsiteX1219" fmla="*/ 3678905 w 5821363"/>
              <a:gd name="connsiteY1219" fmla="*/ 592825 h 5186362"/>
              <a:gd name="connsiteX1220" fmla="*/ 3665132 w 5821363"/>
              <a:gd name="connsiteY1220" fmla="*/ 540876 h 5186362"/>
              <a:gd name="connsiteX1221" fmla="*/ 3651360 w 5821363"/>
              <a:gd name="connsiteY1221" fmla="*/ 498096 h 5186362"/>
              <a:gd name="connsiteX1222" fmla="*/ 3651360 w 5821363"/>
              <a:gd name="connsiteY1222" fmla="*/ 498095 h 5186362"/>
              <a:gd name="connsiteX1223" fmla="*/ 3657481 w 5821363"/>
              <a:gd name="connsiteY1223" fmla="*/ 498095 h 5186362"/>
              <a:gd name="connsiteX1224" fmla="*/ 3657481 w 5821363"/>
              <a:gd name="connsiteY1224" fmla="*/ 430868 h 5186362"/>
              <a:gd name="connsiteX1225" fmla="*/ 3657481 w 5821363"/>
              <a:gd name="connsiteY1225" fmla="*/ 430867 h 5186362"/>
              <a:gd name="connsiteX1226" fmla="*/ 3678905 w 5821363"/>
              <a:gd name="connsiteY1226" fmla="*/ 443090 h 5186362"/>
              <a:gd name="connsiteX1227" fmla="*/ 3675845 w 5821363"/>
              <a:gd name="connsiteY1227" fmla="*/ 427812 h 5186362"/>
              <a:gd name="connsiteX1228" fmla="*/ 3614632 w 5821363"/>
              <a:gd name="connsiteY1228" fmla="*/ 287246 h 5186362"/>
              <a:gd name="connsiteX1229" fmla="*/ 3587086 w 5821363"/>
              <a:gd name="connsiteY1229" fmla="*/ 244464 h 5186362"/>
              <a:gd name="connsiteX1230" fmla="*/ 3566427 w 5821363"/>
              <a:gd name="connsiteY1230" fmla="*/ 205790 h 5186362"/>
              <a:gd name="connsiteX1231" fmla="*/ 3566427 w 5821363"/>
              <a:gd name="connsiteY1231" fmla="*/ 205789 h 5186362"/>
              <a:gd name="connsiteX1232" fmla="*/ 3568722 w 5821363"/>
              <a:gd name="connsiteY1232" fmla="*/ 186404 h 5186362"/>
              <a:gd name="connsiteX1233" fmla="*/ 3565470 w 5821363"/>
              <a:gd name="connsiteY1233" fmla="*/ 157947 h 5186362"/>
              <a:gd name="connsiteX1234" fmla="*/ 3525873 w 5821363"/>
              <a:gd name="connsiteY1234" fmla="*/ 70284 h 5186362"/>
              <a:gd name="connsiteX1235" fmla="*/ 3504448 w 5821363"/>
              <a:gd name="connsiteY1235" fmla="*/ 33614 h 5186362"/>
              <a:gd name="connsiteX1236" fmla="*/ 3531994 w 5821363"/>
              <a:gd name="connsiteY1236" fmla="*/ 43163 h 5186362"/>
              <a:gd name="connsiteX1237" fmla="*/ 3559540 w 5821363"/>
              <a:gd name="connsiteY1237" fmla="*/ 55004 h 5186362"/>
              <a:gd name="connsiteX1238" fmla="*/ 3547680 w 5821363"/>
              <a:gd name="connsiteY1238" fmla="*/ 26739 h 5186362"/>
              <a:gd name="connsiteX1239" fmla="*/ 3538115 w 5821363"/>
              <a:gd name="connsiteY1239" fmla="*/ 3056 h 5186362"/>
              <a:gd name="connsiteX1240" fmla="*/ 3538115 w 5821363"/>
              <a:gd name="connsiteY1240" fmla="*/ 3055 h 5186362"/>
              <a:gd name="connsiteX1241" fmla="*/ 3547297 w 5821363"/>
              <a:gd name="connsiteY1241" fmla="*/ 0 h 5186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Lst>
            <a:rect l="l" t="t" r="r" b="b"/>
            <a:pathLst>
              <a:path w="5821363" h="5186362">
                <a:moveTo>
                  <a:pt x="3400609" y="4452797"/>
                </a:moveTo>
                <a:lnTo>
                  <a:pt x="3442456" y="4482677"/>
                </a:lnTo>
                <a:lnTo>
                  <a:pt x="3440635" y="4480437"/>
                </a:lnTo>
                <a:lnTo>
                  <a:pt x="3427445" y="4465195"/>
                </a:lnTo>
                <a:lnTo>
                  <a:pt x="3421956" y="4460667"/>
                </a:lnTo>
                <a:lnTo>
                  <a:pt x="3407888" y="4454524"/>
                </a:lnTo>
                <a:lnTo>
                  <a:pt x="3405021" y="4453547"/>
                </a:lnTo>
                <a:close/>
                <a:moveTo>
                  <a:pt x="1985963" y="4410074"/>
                </a:moveTo>
                <a:cubicBezTo>
                  <a:pt x="2062587" y="4410074"/>
                  <a:pt x="2136147" y="4410074"/>
                  <a:pt x="2212771" y="4410074"/>
                </a:cubicBezTo>
                <a:cubicBezTo>
                  <a:pt x="2218901" y="4419236"/>
                  <a:pt x="2225031" y="4434507"/>
                  <a:pt x="2234226" y="4452831"/>
                </a:cubicBezTo>
                <a:cubicBezTo>
                  <a:pt x="2221966" y="4449777"/>
                  <a:pt x="2215836" y="4446723"/>
                  <a:pt x="2206641" y="4443669"/>
                </a:cubicBezTo>
                <a:cubicBezTo>
                  <a:pt x="2206641" y="4449777"/>
                  <a:pt x="2206641" y="4455885"/>
                  <a:pt x="2209706" y="4458939"/>
                </a:cubicBezTo>
                <a:cubicBezTo>
                  <a:pt x="2246486" y="4495588"/>
                  <a:pt x="2234226" y="4562777"/>
                  <a:pt x="2286331" y="4590263"/>
                </a:cubicBezTo>
                <a:cubicBezTo>
                  <a:pt x="2286331" y="4590263"/>
                  <a:pt x="2286331" y="4596371"/>
                  <a:pt x="2283266" y="4599425"/>
                </a:cubicBezTo>
                <a:cubicBezTo>
                  <a:pt x="2280201" y="4620804"/>
                  <a:pt x="2274071" y="4645236"/>
                  <a:pt x="2277136" y="4666614"/>
                </a:cubicBezTo>
                <a:cubicBezTo>
                  <a:pt x="2277136" y="4687993"/>
                  <a:pt x="2289396" y="4709371"/>
                  <a:pt x="2295526" y="4727695"/>
                </a:cubicBezTo>
                <a:cubicBezTo>
                  <a:pt x="2280201" y="4727695"/>
                  <a:pt x="2264876" y="4727695"/>
                  <a:pt x="2243421" y="4730749"/>
                </a:cubicBezTo>
                <a:cubicBezTo>
                  <a:pt x="2240356" y="4718533"/>
                  <a:pt x="2237291" y="4678830"/>
                  <a:pt x="2221966" y="4669668"/>
                </a:cubicBezTo>
                <a:cubicBezTo>
                  <a:pt x="2194381" y="4657452"/>
                  <a:pt x="2182121" y="4633020"/>
                  <a:pt x="2163732" y="4614695"/>
                </a:cubicBezTo>
                <a:cubicBezTo>
                  <a:pt x="2154537" y="4605533"/>
                  <a:pt x="2145342" y="4593317"/>
                  <a:pt x="2133082" y="4587209"/>
                </a:cubicBezTo>
                <a:cubicBezTo>
                  <a:pt x="2117757" y="4578047"/>
                  <a:pt x="2093237" y="4571939"/>
                  <a:pt x="2080977" y="4559723"/>
                </a:cubicBezTo>
                <a:cubicBezTo>
                  <a:pt x="2053392" y="4535290"/>
                  <a:pt x="2028872" y="4504750"/>
                  <a:pt x="2001288" y="4474209"/>
                </a:cubicBezTo>
                <a:cubicBezTo>
                  <a:pt x="2028872" y="4458939"/>
                  <a:pt x="2028872" y="4458939"/>
                  <a:pt x="1985963" y="4410074"/>
                </a:cubicBezTo>
                <a:close/>
                <a:moveTo>
                  <a:pt x="2353021" y="4404245"/>
                </a:moveTo>
                <a:lnTo>
                  <a:pt x="2377291" y="4404892"/>
                </a:lnTo>
                <a:lnTo>
                  <a:pt x="2380947" y="4406637"/>
                </a:lnTo>
                <a:lnTo>
                  <a:pt x="2384116" y="4406909"/>
                </a:lnTo>
                <a:lnTo>
                  <a:pt x="2387413" y="4409724"/>
                </a:lnTo>
                <a:lnTo>
                  <a:pt x="2395680" y="4413670"/>
                </a:lnTo>
                <a:lnTo>
                  <a:pt x="2400804" y="4421157"/>
                </a:lnTo>
                <a:lnTo>
                  <a:pt x="2404252" y="4424101"/>
                </a:lnTo>
                <a:lnTo>
                  <a:pt x="2404948" y="4427211"/>
                </a:lnTo>
                <a:lnTo>
                  <a:pt x="2407338" y="4430703"/>
                </a:lnTo>
                <a:cubicBezTo>
                  <a:pt x="2410007" y="4437770"/>
                  <a:pt x="2411413" y="4446233"/>
                  <a:pt x="2411413" y="4456112"/>
                </a:cubicBezTo>
                <a:cubicBezTo>
                  <a:pt x="2374504" y="4440615"/>
                  <a:pt x="2343746" y="4428217"/>
                  <a:pt x="2312988" y="4415820"/>
                </a:cubicBezTo>
                <a:cubicBezTo>
                  <a:pt x="2327598" y="4409621"/>
                  <a:pt x="2341055" y="4405747"/>
                  <a:pt x="2353021" y="4404245"/>
                </a:cubicBezTo>
                <a:close/>
                <a:moveTo>
                  <a:pt x="3261872" y="4397374"/>
                </a:moveTo>
                <a:cubicBezTo>
                  <a:pt x="3292740" y="4421867"/>
                  <a:pt x="3323608" y="4449422"/>
                  <a:pt x="3357563" y="4473914"/>
                </a:cubicBezTo>
                <a:cubicBezTo>
                  <a:pt x="3354476" y="4476976"/>
                  <a:pt x="3351389" y="4480038"/>
                  <a:pt x="3348303" y="4483099"/>
                </a:cubicBezTo>
                <a:cubicBezTo>
                  <a:pt x="3314348" y="4461668"/>
                  <a:pt x="3280393" y="4437175"/>
                  <a:pt x="3246438" y="4415744"/>
                </a:cubicBezTo>
                <a:cubicBezTo>
                  <a:pt x="3252612" y="4409621"/>
                  <a:pt x="3255698" y="4403497"/>
                  <a:pt x="3261872" y="4397374"/>
                </a:cubicBezTo>
                <a:close/>
                <a:moveTo>
                  <a:pt x="4222644" y="4394199"/>
                </a:moveTo>
                <a:lnTo>
                  <a:pt x="4223362" y="4394802"/>
                </a:lnTo>
                <a:lnTo>
                  <a:pt x="4222990" y="4394199"/>
                </a:lnTo>
                <a:cubicBezTo>
                  <a:pt x="4250527" y="4427843"/>
                  <a:pt x="4311721" y="4433960"/>
                  <a:pt x="4311721" y="4498190"/>
                </a:cubicBezTo>
                <a:cubicBezTo>
                  <a:pt x="4311721" y="4507366"/>
                  <a:pt x="4321665" y="4516541"/>
                  <a:pt x="4335434" y="4524952"/>
                </a:cubicBezTo>
                <a:lnTo>
                  <a:pt x="4381829" y="4547000"/>
                </a:lnTo>
                <a:lnTo>
                  <a:pt x="4335955" y="4495094"/>
                </a:lnTo>
                <a:lnTo>
                  <a:pt x="4336212" y="4495146"/>
                </a:lnTo>
                <a:lnTo>
                  <a:pt x="4336199" y="4495131"/>
                </a:lnTo>
                <a:lnTo>
                  <a:pt x="4383942" y="4504908"/>
                </a:lnTo>
                <a:lnTo>
                  <a:pt x="4395051" y="4507180"/>
                </a:lnTo>
                <a:lnTo>
                  <a:pt x="4395058" y="4507184"/>
                </a:lnTo>
                <a:lnTo>
                  <a:pt x="4395242" y="4507222"/>
                </a:lnTo>
                <a:cubicBezTo>
                  <a:pt x="4450747" y="4528584"/>
                  <a:pt x="4493775" y="4576183"/>
                  <a:pt x="4507543" y="4635824"/>
                </a:cubicBezTo>
                <a:lnTo>
                  <a:pt x="4525084" y="4661364"/>
                </a:lnTo>
                <a:lnTo>
                  <a:pt x="4547264" y="4684653"/>
                </a:lnTo>
                <a:cubicBezTo>
                  <a:pt x="4559514" y="4696883"/>
                  <a:pt x="4571764" y="4709112"/>
                  <a:pt x="4590138" y="4727457"/>
                </a:cubicBezTo>
                <a:lnTo>
                  <a:pt x="4590031" y="4727457"/>
                </a:lnTo>
                <a:lnTo>
                  <a:pt x="4590155" y="4727581"/>
                </a:lnTo>
                <a:cubicBezTo>
                  <a:pt x="4579446" y="4727581"/>
                  <a:pt x="4570267" y="4727581"/>
                  <a:pt x="4560323" y="4727581"/>
                </a:cubicBezTo>
                <a:lnTo>
                  <a:pt x="4525957" y="4727581"/>
                </a:lnTo>
                <a:lnTo>
                  <a:pt x="4568318" y="4767967"/>
                </a:lnTo>
                <a:cubicBezTo>
                  <a:pt x="4581716" y="4780197"/>
                  <a:pt x="4594732" y="4791662"/>
                  <a:pt x="4608513" y="4803892"/>
                </a:cubicBezTo>
                <a:lnTo>
                  <a:pt x="4608367" y="4803914"/>
                </a:lnTo>
                <a:lnTo>
                  <a:pt x="4608513" y="4804044"/>
                </a:lnTo>
                <a:cubicBezTo>
                  <a:pt x="4565677" y="4816278"/>
                  <a:pt x="4550379" y="4800986"/>
                  <a:pt x="4528961" y="4770400"/>
                </a:cubicBezTo>
                <a:cubicBezTo>
                  <a:pt x="4513662" y="4742873"/>
                  <a:pt x="4476946" y="4727581"/>
                  <a:pt x="4443289" y="4715346"/>
                </a:cubicBezTo>
                <a:lnTo>
                  <a:pt x="4463261" y="4734598"/>
                </a:lnTo>
                <a:lnTo>
                  <a:pt x="4528889" y="4797777"/>
                </a:lnTo>
                <a:lnTo>
                  <a:pt x="4528862" y="4797832"/>
                </a:lnTo>
                <a:lnTo>
                  <a:pt x="4528961" y="4797927"/>
                </a:lnTo>
                <a:cubicBezTo>
                  <a:pt x="4528961" y="4797927"/>
                  <a:pt x="4525901" y="4800986"/>
                  <a:pt x="4525901" y="4804044"/>
                </a:cubicBezTo>
                <a:cubicBezTo>
                  <a:pt x="4516722" y="4800986"/>
                  <a:pt x="4507543" y="4794869"/>
                  <a:pt x="4498363" y="4791810"/>
                </a:cubicBezTo>
                <a:lnTo>
                  <a:pt x="4495329" y="4800910"/>
                </a:lnTo>
                <a:lnTo>
                  <a:pt x="4577888" y="4849753"/>
                </a:lnTo>
                <a:lnTo>
                  <a:pt x="4577763" y="4849832"/>
                </a:lnTo>
                <a:lnTo>
                  <a:pt x="4577916" y="4849922"/>
                </a:lnTo>
                <a:cubicBezTo>
                  <a:pt x="4548084" y="4875155"/>
                  <a:pt x="4535463" y="4848775"/>
                  <a:pt x="4515527" y="4835299"/>
                </a:cubicBezTo>
                <a:lnTo>
                  <a:pt x="4492285" y="4828525"/>
                </a:lnTo>
                <a:lnTo>
                  <a:pt x="4522764" y="4865040"/>
                </a:lnTo>
                <a:lnTo>
                  <a:pt x="4522713" y="4865061"/>
                </a:lnTo>
                <a:lnTo>
                  <a:pt x="4522841" y="4865215"/>
                </a:lnTo>
                <a:cubicBezTo>
                  <a:pt x="4504483" y="4872097"/>
                  <a:pt x="4489566" y="4882419"/>
                  <a:pt x="4478093" y="4870376"/>
                </a:cubicBezTo>
                <a:lnTo>
                  <a:pt x="4478012" y="4870215"/>
                </a:lnTo>
                <a:lnTo>
                  <a:pt x="4477976" y="4870199"/>
                </a:lnTo>
                <a:lnTo>
                  <a:pt x="4467689" y="4849849"/>
                </a:lnTo>
                <a:lnTo>
                  <a:pt x="4449791" y="4833101"/>
                </a:lnTo>
                <a:cubicBezTo>
                  <a:pt x="4441759" y="4828513"/>
                  <a:pt x="4432580" y="4825454"/>
                  <a:pt x="4424931" y="4825454"/>
                </a:cubicBezTo>
                <a:cubicBezTo>
                  <a:pt x="4365266" y="4823160"/>
                  <a:pt x="4350350" y="4822586"/>
                  <a:pt x="4323386" y="4809540"/>
                </a:cubicBezTo>
                <a:lnTo>
                  <a:pt x="4297060" y="4795432"/>
                </a:lnTo>
                <a:lnTo>
                  <a:pt x="4290302" y="4791814"/>
                </a:lnTo>
                <a:lnTo>
                  <a:pt x="4287244" y="4806338"/>
                </a:lnTo>
                <a:cubicBezTo>
                  <a:pt x="4286479" y="4811691"/>
                  <a:pt x="4285714" y="4817808"/>
                  <a:pt x="4284184" y="4825454"/>
                </a:cubicBezTo>
                <a:lnTo>
                  <a:pt x="4283912" y="4825173"/>
                </a:lnTo>
                <a:lnTo>
                  <a:pt x="4283893" y="4825294"/>
                </a:lnTo>
                <a:cubicBezTo>
                  <a:pt x="4203504" y="4742744"/>
                  <a:pt x="4130005" y="4656754"/>
                  <a:pt x="4041433" y="4589252"/>
                </a:cubicBezTo>
                <a:lnTo>
                  <a:pt x="3947967" y="4529330"/>
                </a:lnTo>
                <a:lnTo>
                  <a:pt x="4009005" y="4626898"/>
                </a:lnTo>
                <a:cubicBezTo>
                  <a:pt x="4045726" y="4675813"/>
                  <a:pt x="4082447" y="4721671"/>
                  <a:pt x="4119168" y="4770586"/>
                </a:cubicBezTo>
                <a:cubicBezTo>
                  <a:pt x="4113048" y="4773643"/>
                  <a:pt x="4109988" y="4776700"/>
                  <a:pt x="4106928" y="4782815"/>
                </a:cubicBezTo>
                <a:lnTo>
                  <a:pt x="4106734" y="4782621"/>
                </a:lnTo>
                <a:lnTo>
                  <a:pt x="4106721" y="4782634"/>
                </a:lnTo>
                <a:lnTo>
                  <a:pt x="4060492" y="4736423"/>
                </a:lnTo>
                <a:lnTo>
                  <a:pt x="4057584" y="4733518"/>
                </a:lnTo>
                <a:cubicBezTo>
                  <a:pt x="4041136" y="4717085"/>
                  <a:pt x="4024306" y="4700271"/>
                  <a:pt x="4005945" y="4681928"/>
                </a:cubicBezTo>
                <a:cubicBezTo>
                  <a:pt x="4009005" y="4691099"/>
                  <a:pt x="4010535" y="4699506"/>
                  <a:pt x="4012065" y="4707149"/>
                </a:cubicBezTo>
                <a:lnTo>
                  <a:pt x="4018182" y="4727776"/>
                </a:lnTo>
                <a:lnTo>
                  <a:pt x="4028814" y="4738589"/>
                </a:lnTo>
                <a:lnTo>
                  <a:pt x="4062174" y="4772497"/>
                </a:lnTo>
                <a:cubicBezTo>
                  <a:pt x="4077092" y="4787400"/>
                  <a:pt x="4091627" y="4802686"/>
                  <a:pt x="4103867" y="4819501"/>
                </a:cubicBezTo>
                <a:cubicBezTo>
                  <a:pt x="4137528" y="4871473"/>
                  <a:pt x="4165069" y="4926502"/>
                  <a:pt x="4195670" y="4981531"/>
                </a:cubicBezTo>
                <a:cubicBezTo>
                  <a:pt x="4207910" y="5002931"/>
                  <a:pt x="4223211" y="5021275"/>
                  <a:pt x="4235451" y="5039618"/>
                </a:cubicBezTo>
                <a:cubicBezTo>
                  <a:pt x="4232391" y="5042675"/>
                  <a:pt x="4229331" y="5045732"/>
                  <a:pt x="4226271" y="5048789"/>
                </a:cubicBezTo>
                <a:lnTo>
                  <a:pt x="4226112" y="5048666"/>
                </a:lnTo>
                <a:lnTo>
                  <a:pt x="4226050" y="5048728"/>
                </a:lnTo>
                <a:cubicBezTo>
                  <a:pt x="4207691" y="5033435"/>
                  <a:pt x="4189333" y="5021201"/>
                  <a:pt x="4170975" y="5005908"/>
                </a:cubicBezTo>
                <a:cubicBezTo>
                  <a:pt x="4154146" y="4992145"/>
                  <a:pt x="4138083" y="4978381"/>
                  <a:pt x="4121637" y="4965000"/>
                </a:cubicBezTo>
                <a:lnTo>
                  <a:pt x="4070114" y="4926467"/>
                </a:lnTo>
                <a:lnTo>
                  <a:pt x="4051464" y="4919623"/>
                </a:lnTo>
                <a:cubicBezTo>
                  <a:pt x="4044196" y="4918859"/>
                  <a:pt x="4036546" y="4918859"/>
                  <a:pt x="4030426" y="4917330"/>
                </a:cubicBezTo>
                <a:lnTo>
                  <a:pt x="4030282" y="4917216"/>
                </a:lnTo>
                <a:lnTo>
                  <a:pt x="4030228" y="4917210"/>
                </a:lnTo>
                <a:cubicBezTo>
                  <a:pt x="4021049" y="4909564"/>
                  <a:pt x="4011105" y="4901918"/>
                  <a:pt x="4000396" y="4893507"/>
                </a:cubicBezTo>
                <a:lnTo>
                  <a:pt x="3966174" y="4865379"/>
                </a:lnTo>
                <a:lnTo>
                  <a:pt x="4004798" y="4945227"/>
                </a:lnTo>
                <a:cubicBezTo>
                  <a:pt x="4017420" y="4971595"/>
                  <a:pt x="4030425" y="4998346"/>
                  <a:pt x="4045726" y="5027389"/>
                </a:cubicBezTo>
                <a:lnTo>
                  <a:pt x="4045511" y="5027286"/>
                </a:lnTo>
                <a:lnTo>
                  <a:pt x="4045527" y="5027318"/>
                </a:lnTo>
                <a:cubicBezTo>
                  <a:pt x="4028699" y="5019671"/>
                  <a:pt x="4014930" y="5012790"/>
                  <a:pt x="4002308" y="5006673"/>
                </a:cubicBezTo>
                <a:lnTo>
                  <a:pt x="3981246" y="4997364"/>
                </a:lnTo>
                <a:lnTo>
                  <a:pt x="3966164" y="4990703"/>
                </a:lnTo>
                <a:cubicBezTo>
                  <a:pt x="3963104" y="4993760"/>
                  <a:pt x="3960044" y="4999874"/>
                  <a:pt x="3956984" y="5002931"/>
                </a:cubicBezTo>
                <a:cubicBezTo>
                  <a:pt x="3993705" y="5045732"/>
                  <a:pt x="4033486" y="5085475"/>
                  <a:pt x="4070207" y="5125219"/>
                </a:cubicBezTo>
                <a:cubicBezTo>
                  <a:pt x="4060262" y="5133626"/>
                  <a:pt x="4052611" y="5137830"/>
                  <a:pt x="4046587" y="5139024"/>
                </a:cubicBezTo>
                <a:lnTo>
                  <a:pt x="4046432" y="5138976"/>
                </a:lnTo>
                <a:lnTo>
                  <a:pt x="4046388" y="5139002"/>
                </a:lnTo>
                <a:cubicBezTo>
                  <a:pt x="4034340" y="5141392"/>
                  <a:pt x="4028794" y="5131738"/>
                  <a:pt x="4024396" y="5119600"/>
                </a:cubicBezTo>
                <a:lnTo>
                  <a:pt x="4018060" y="5100928"/>
                </a:lnTo>
                <a:lnTo>
                  <a:pt x="4009005" y="5112990"/>
                </a:lnTo>
                <a:lnTo>
                  <a:pt x="4008864" y="5112887"/>
                </a:lnTo>
                <a:lnTo>
                  <a:pt x="4008811" y="5112957"/>
                </a:lnTo>
                <a:cubicBezTo>
                  <a:pt x="3991982" y="5100723"/>
                  <a:pt x="3975919" y="5089254"/>
                  <a:pt x="3958708" y="5076637"/>
                </a:cubicBezTo>
                <a:lnTo>
                  <a:pt x="3902024" y="5033665"/>
                </a:lnTo>
                <a:lnTo>
                  <a:pt x="3960809" y="5111461"/>
                </a:lnTo>
                <a:cubicBezTo>
                  <a:pt x="3979169" y="5135155"/>
                  <a:pt x="3996764" y="5157319"/>
                  <a:pt x="4015125" y="5180248"/>
                </a:cubicBezTo>
                <a:cubicBezTo>
                  <a:pt x="4012065" y="5183305"/>
                  <a:pt x="4012065" y="5183305"/>
                  <a:pt x="4009005" y="5186362"/>
                </a:cubicBezTo>
                <a:lnTo>
                  <a:pt x="4008889" y="5186284"/>
                </a:lnTo>
                <a:lnTo>
                  <a:pt x="4008811" y="5186362"/>
                </a:lnTo>
                <a:cubicBezTo>
                  <a:pt x="3978213" y="5164952"/>
                  <a:pt x="3947616" y="5146601"/>
                  <a:pt x="3917019" y="5122133"/>
                </a:cubicBezTo>
                <a:cubicBezTo>
                  <a:pt x="3883363" y="5094606"/>
                  <a:pt x="3846646" y="5067079"/>
                  <a:pt x="3816049" y="5039552"/>
                </a:cubicBezTo>
                <a:cubicBezTo>
                  <a:pt x="3797691" y="5021201"/>
                  <a:pt x="3785452" y="4999791"/>
                  <a:pt x="3770153" y="4984498"/>
                </a:cubicBezTo>
                <a:cubicBezTo>
                  <a:pt x="3760974" y="4975323"/>
                  <a:pt x="3755619" y="4964618"/>
                  <a:pt x="3748353" y="4955442"/>
                </a:cubicBezTo>
                <a:lnTo>
                  <a:pt x="3735386" y="4943287"/>
                </a:lnTo>
                <a:lnTo>
                  <a:pt x="3715237" y="4935673"/>
                </a:lnTo>
                <a:cubicBezTo>
                  <a:pt x="3707587" y="4933380"/>
                  <a:pt x="3700319" y="4929750"/>
                  <a:pt x="3693339" y="4925212"/>
                </a:cubicBezTo>
                <a:lnTo>
                  <a:pt x="3693204" y="4925106"/>
                </a:lnTo>
                <a:lnTo>
                  <a:pt x="3693183" y="4925096"/>
                </a:lnTo>
                <a:lnTo>
                  <a:pt x="3678186" y="4913266"/>
                </a:lnTo>
                <a:lnTo>
                  <a:pt x="3673161" y="4909305"/>
                </a:lnTo>
                <a:lnTo>
                  <a:pt x="3673151" y="4909295"/>
                </a:lnTo>
                <a:lnTo>
                  <a:pt x="3673008" y="4909182"/>
                </a:lnTo>
                <a:cubicBezTo>
                  <a:pt x="3660004" y="4897330"/>
                  <a:pt x="3647765" y="4883566"/>
                  <a:pt x="3635526" y="4871332"/>
                </a:cubicBezTo>
                <a:lnTo>
                  <a:pt x="3614279" y="4849486"/>
                </a:lnTo>
                <a:lnTo>
                  <a:pt x="3582124" y="4816444"/>
                </a:lnTo>
                <a:cubicBezTo>
                  <a:pt x="3564528" y="4797336"/>
                  <a:pt x="3546932" y="4778229"/>
                  <a:pt x="3528572" y="4761414"/>
                </a:cubicBezTo>
                <a:cubicBezTo>
                  <a:pt x="3473491" y="4706385"/>
                  <a:pt x="3412289" y="4657470"/>
                  <a:pt x="3348028" y="4596327"/>
                </a:cubicBezTo>
                <a:cubicBezTo>
                  <a:pt x="3348028" y="4620784"/>
                  <a:pt x="3348028" y="4629956"/>
                  <a:pt x="3351088" y="4639127"/>
                </a:cubicBezTo>
                <a:cubicBezTo>
                  <a:pt x="3305186" y="4633013"/>
                  <a:pt x="3262345" y="4623841"/>
                  <a:pt x="3219504" y="4617727"/>
                </a:cubicBezTo>
                <a:lnTo>
                  <a:pt x="3210392" y="4632899"/>
                </a:lnTo>
                <a:lnTo>
                  <a:pt x="3338735" y="4736756"/>
                </a:lnTo>
                <a:lnTo>
                  <a:pt x="3338664" y="4736809"/>
                </a:lnTo>
                <a:lnTo>
                  <a:pt x="3338847" y="4736957"/>
                </a:lnTo>
                <a:cubicBezTo>
                  <a:pt x="3329667" y="4743071"/>
                  <a:pt x="3320487" y="4752243"/>
                  <a:pt x="3311307" y="4755300"/>
                </a:cubicBezTo>
                <a:cubicBezTo>
                  <a:pt x="3262345" y="4718614"/>
                  <a:pt x="3210324" y="4678870"/>
                  <a:pt x="3158303" y="4642184"/>
                </a:cubicBezTo>
                <a:cubicBezTo>
                  <a:pt x="3155243" y="4639127"/>
                  <a:pt x="3149122" y="4633013"/>
                  <a:pt x="3146062" y="4633013"/>
                </a:cubicBezTo>
                <a:cubicBezTo>
                  <a:pt x="3121582" y="4663585"/>
                  <a:pt x="3112401" y="4623841"/>
                  <a:pt x="3094041" y="4620784"/>
                </a:cubicBezTo>
                <a:cubicBezTo>
                  <a:pt x="3094041" y="4633013"/>
                  <a:pt x="3094041" y="4645241"/>
                  <a:pt x="3097101" y="4669699"/>
                </a:cubicBezTo>
                <a:cubicBezTo>
                  <a:pt x="3045080" y="4636070"/>
                  <a:pt x="2999178" y="4605498"/>
                  <a:pt x="2953277" y="4574926"/>
                </a:cubicBezTo>
                <a:lnTo>
                  <a:pt x="2944171" y="4580992"/>
                </a:lnTo>
                <a:lnTo>
                  <a:pt x="3014406" y="4693937"/>
                </a:lnTo>
                <a:lnTo>
                  <a:pt x="3014351" y="4693951"/>
                </a:lnTo>
                <a:lnTo>
                  <a:pt x="3014479" y="4694156"/>
                </a:lnTo>
                <a:cubicBezTo>
                  <a:pt x="2996118" y="4697213"/>
                  <a:pt x="2971638" y="4709442"/>
                  <a:pt x="2950217" y="4703328"/>
                </a:cubicBezTo>
                <a:cubicBezTo>
                  <a:pt x="2922676" y="4700271"/>
                  <a:pt x="2895136" y="4684985"/>
                  <a:pt x="2867595" y="4669699"/>
                </a:cubicBezTo>
                <a:cubicBezTo>
                  <a:pt x="2843114" y="4654413"/>
                  <a:pt x="2818634" y="4636070"/>
                  <a:pt x="2794153" y="4617727"/>
                </a:cubicBezTo>
                <a:cubicBezTo>
                  <a:pt x="2788033" y="4611612"/>
                  <a:pt x="2781913" y="4602441"/>
                  <a:pt x="2772732" y="4596327"/>
                </a:cubicBezTo>
                <a:cubicBezTo>
                  <a:pt x="2754372" y="4581041"/>
                  <a:pt x="2745192" y="4550469"/>
                  <a:pt x="2705411" y="4562698"/>
                </a:cubicBezTo>
                <a:cubicBezTo>
                  <a:pt x="2687050" y="4568812"/>
                  <a:pt x="2659509" y="4544355"/>
                  <a:pt x="2638089" y="4541297"/>
                </a:cubicBezTo>
                <a:cubicBezTo>
                  <a:pt x="2592188" y="4535183"/>
                  <a:pt x="2564647" y="4492382"/>
                  <a:pt x="2509565" y="4492382"/>
                </a:cubicBezTo>
                <a:cubicBezTo>
                  <a:pt x="2478965" y="4492382"/>
                  <a:pt x="2448364" y="4446525"/>
                  <a:pt x="2417763" y="4422067"/>
                </a:cubicBezTo>
                <a:lnTo>
                  <a:pt x="2417863" y="4421819"/>
                </a:lnTo>
                <a:lnTo>
                  <a:pt x="2417763" y="4421726"/>
                </a:lnTo>
                <a:cubicBezTo>
                  <a:pt x="2417763" y="4415609"/>
                  <a:pt x="2420823" y="4412551"/>
                  <a:pt x="2423882" y="4406433"/>
                </a:cubicBezTo>
                <a:cubicBezTo>
                  <a:pt x="2439181" y="4406433"/>
                  <a:pt x="2454479" y="4406433"/>
                  <a:pt x="2466718" y="4406433"/>
                </a:cubicBezTo>
                <a:cubicBezTo>
                  <a:pt x="2662540" y="4403375"/>
                  <a:pt x="2855301" y="4406433"/>
                  <a:pt x="3048063" y="4403375"/>
                </a:cubicBezTo>
                <a:cubicBezTo>
                  <a:pt x="3090899" y="4403375"/>
                  <a:pt x="3121496" y="4421726"/>
                  <a:pt x="3152093" y="4452312"/>
                </a:cubicBezTo>
                <a:cubicBezTo>
                  <a:pt x="3191869" y="4492073"/>
                  <a:pt x="3234705" y="4528775"/>
                  <a:pt x="3277541" y="4565478"/>
                </a:cubicBezTo>
                <a:cubicBezTo>
                  <a:pt x="3289779" y="4574653"/>
                  <a:pt x="3308138" y="4574653"/>
                  <a:pt x="3323436" y="4577712"/>
                </a:cubicBezTo>
                <a:cubicBezTo>
                  <a:pt x="3323436" y="4559361"/>
                  <a:pt x="3320377" y="4541009"/>
                  <a:pt x="3320377" y="4519600"/>
                </a:cubicBezTo>
                <a:cubicBezTo>
                  <a:pt x="3372391" y="4559361"/>
                  <a:pt x="3427466" y="4605239"/>
                  <a:pt x="3482541" y="4645000"/>
                </a:cubicBezTo>
                <a:cubicBezTo>
                  <a:pt x="3484071" y="4643471"/>
                  <a:pt x="3485601" y="4640412"/>
                  <a:pt x="3487130" y="4636589"/>
                </a:cubicBezTo>
                <a:lnTo>
                  <a:pt x="3491689" y="4623679"/>
                </a:lnTo>
                <a:lnTo>
                  <a:pt x="3456421" y="4588492"/>
                </a:lnTo>
                <a:lnTo>
                  <a:pt x="3452967" y="4585833"/>
                </a:lnTo>
                <a:lnTo>
                  <a:pt x="3424596" y="4564650"/>
                </a:lnTo>
                <a:lnTo>
                  <a:pt x="3422628" y="4562480"/>
                </a:lnTo>
                <a:lnTo>
                  <a:pt x="3414967" y="4556583"/>
                </a:lnTo>
                <a:cubicBezTo>
                  <a:pt x="3408751" y="4550851"/>
                  <a:pt x="3403181" y="4544737"/>
                  <a:pt x="3398704" y="4537977"/>
                </a:cubicBezTo>
                <a:lnTo>
                  <a:pt x="3397152" y="4534380"/>
                </a:lnTo>
                <a:lnTo>
                  <a:pt x="3395439" y="4532491"/>
                </a:lnTo>
                <a:lnTo>
                  <a:pt x="3391552" y="4521405"/>
                </a:lnTo>
                <a:lnTo>
                  <a:pt x="3389004" y="4515502"/>
                </a:lnTo>
                <a:lnTo>
                  <a:pt x="3388981" y="4514075"/>
                </a:lnTo>
                <a:lnTo>
                  <a:pt x="3388268" y="4512042"/>
                </a:lnTo>
                <a:cubicBezTo>
                  <a:pt x="3387001" y="4504563"/>
                  <a:pt x="3386957" y="4496365"/>
                  <a:pt x="3388437" y="4487270"/>
                </a:cubicBezTo>
                <a:lnTo>
                  <a:pt x="3399814" y="4452662"/>
                </a:lnTo>
                <a:lnTo>
                  <a:pt x="3381688" y="4449582"/>
                </a:lnTo>
                <a:cubicBezTo>
                  <a:pt x="3375568" y="4449582"/>
                  <a:pt x="3372508" y="4443468"/>
                  <a:pt x="3372508" y="4440410"/>
                </a:cubicBezTo>
                <a:lnTo>
                  <a:pt x="3372502" y="4440355"/>
                </a:lnTo>
                <a:lnTo>
                  <a:pt x="3372391" y="4440077"/>
                </a:lnTo>
                <a:cubicBezTo>
                  <a:pt x="3369332" y="4437019"/>
                  <a:pt x="3372391" y="4427843"/>
                  <a:pt x="3375451" y="4427843"/>
                </a:cubicBezTo>
                <a:cubicBezTo>
                  <a:pt x="3390750" y="4418668"/>
                  <a:pt x="3409108" y="4406433"/>
                  <a:pt x="3427466" y="4406433"/>
                </a:cubicBezTo>
                <a:cubicBezTo>
                  <a:pt x="3503959" y="4403375"/>
                  <a:pt x="3583511" y="4406433"/>
                  <a:pt x="3663064" y="4406433"/>
                </a:cubicBezTo>
                <a:cubicBezTo>
                  <a:pt x="3666123" y="4406433"/>
                  <a:pt x="3672243" y="4418668"/>
                  <a:pt x="3678362" y="4421726"/>
                </a:cubicBezTo>
                <a:cubicBezTo>
                  <a:pt x="3687541" y="4430902"/>
                  <a:pt x="3696720" y="4443136"/>
                  <a:pt x="3705899" y="4452312"/>
                </a:cubicBezTo>
                <a:cubicBezTo>
                  <a:pt x="3724258" y="4461487"/>
                  <a:pt x="3742616" y="4473721"/>
                  <a:pt x="3760974" y="4485956"/>
                </a:cubicBezTo>
                <a:cubicBezTo>
                  <a:pt x="3764034" y="4479838"/>
                  <a:pt x="3770153" y="4470663"/>
                  <a:pt x="3776273" y="4461487"/>
                </a:cubicBezTo>
                <a:lnTo>
                  <a:pt x="3806853" y="4482886"/>
                </a:lnTo>
                <a:lnTo>
                  <a:pt x="3810619" y="4474652"/>
                </a:lnTo>
                <a:lnTo>
                  <a:pt x="3821948" y="4449737"/>
                </a:lnTo>
                <a:lnTo>
                  <a:pt x="3821462" y="4449233"/>
                </a:lnTo>
                <a:cubicBezTo>
                  <a:pt x="3812275" y="4437003"/>
                  <a:pt x="3803087" y="4421716"/>
                  <a:pt x="3787775" y="4406429"/>
                </a:cubicBezTo>
                <a:cubicBezTo>
                  <a:pt x="3913336" y="4406429"/>
                  <a:pt x="4029709" y="4403371"/>
                  <a:pt x="4149145" y="4406429"/>
                </a:cubicBezTo>
                <a:lnTo>
                  <a:pt x="4149153" y="4406431"/>
                </a:lnTo>
                <a:lnTo>
                  <a:pt x="4149557" y="4406433"/>
                </a:lnTo>
                <a:cubicBezTo>
                  <a:pt x="4167915" y="4406433"/>
                  <a:pt x="4189333" y="4427843"/>
                  <a:pt x="4207691" y="4440077"/>
                </a:cubicBezTo>
                <a:lnTo>
                  <a:pt x="4247340" y="4473613"/>
                </a:lnTo>
                <a:lnTo>
                  <a:pt x="4262456" y="4467577"/>
                </a:lnTo>
                <a:cubicBezTo>
                  <a:pt x="4256331" y="4455347"/>
                  <a:pt x="4256331" y="4440060"/>
                  <a:pt x="4247143" y="4427831"/>
                </a:cubicBezTo>
                <a:cubicBezTo>
                  <a:pt x="4241018" y="4415601"/>
                  <a:pt x="4225706" y="4409486"/>
                  <a:pt x="4222644" y="4394199"/>
                </a:cubicBezTo>
                <a:close/>
                <a:moveTo>
                  <a:pt x="4245096" y="4356338"/>
                </a:moveTo>
                <a:lnTo>
                  <a:pt x="4245098" y="4356339"/>
                </a:lnTo>
                <a:lnTo>
                  <a:pt x="4269074" y="4364405"/>
                </a:lnTo>
                <a:lnTo>
                  <a:pt x="4278910" y="4370840"/>
                </a:lnTo>
                <a:lnTo>
                  <a:pt x="4288962" y="4375151"/>
                </a:lnTo>
                <a:lnTo>
                  <a:pt x="4309909" y="4391121"/>
                </a:lnTo>
                <a:lnTo>
                  <a:pt x="4323131" y="4399771"/>
                </a:lnTo>
                <a:lnTo>
                  <a:pt x="4328767" y="4405498"/>
                </a:lnTo>
                <a:lnTo>
                  <a:pt x="4336399" y="4411316"/>
                </a:lnTo>
                <a:lnTo>
                  <a:pt x="4358819" y="4436034"/>
                </a:lnTo>
                <a:lnTo>
                  <a:pt x="4371447" y="4448865"/>
                </a:lnTo>
                <a:lnTo>
                  <a:pt x="4374181" y="4452970"/>
                </a:lnTo>
                <a:lnTo>
                  <a:pt x="4376254" y="4455255"/>
                </a:lnTo>
                <a:lnTo>
                  <a:pt x="4377929" y="4458597"/>
                </a:lnTo>
                <a:lnTo>
                  <a:pt x="4388250" y="4474091"/>
                </a:lnTo>
                <a:cubicBezTo>
                  <a:pt x="4392687" y="4482278"/>
                  <a:pt x="4395844" y="4490142"/>
                  <a:pt x="4397375" y="4497387"/>
                </a:cubicBezTo>
                <a:cubicBezTo>
                  <a:pt x="4342266" y="4451630"/>
                  <a:pt x="4284096" y="4405873"/>
                  <a:pt x="4225925" y="4357065"/>
                </a:cubicBezTo>
                <a:cubicBezTo>
                  <a:pt x="4231283" y="4355158"/>
                  <a:pt x="4237789" y="4355015"/>
                  <a:pt x="4245096" y="4356338"/>
                </a:cubicBezTo>
                <a:close/>
                <a:moveTo>
                  <a:pt x="5036785" y="4024312"/>
                </a:moveTo>
                <a:cubicBezTo>
                  <a:pt x="5064302" y="4058111"/>
                  <a:pt x="5088761" y="4091909"/>
                  <a:pt x="5110163" y="4119562"/>
                </a:cubicBezTo>
                <a:cubicBezTo>
                  <a:pt x="5104048" y="4113417"/>
                  <a:pt x="5088761" y="4101127"/>
                  <a:pt x="5073474" y="4091909"/>
                </a:cubicBezTo>
                <a:cubicBezTo>
                  <a:pt x="5070417" y="4098054"/>
                  <a:pt x="5067359" y="4104199"/>
                  <a:pt x="5064302" y="4113417"/>
                </a:cubicBezTo>
                <a:cubicBezTo>
                  <a:pt x="5052072" y="4085764"/>
                  <a:pt x="5039843" y="4058111"/>
                  <a:pt x="5027613" y="4033530"/>
                </a:cubicBezTo>
                <a:cubicBezTo>
                  <a:pt x="5030670" y="4030457"/>
                  <a:pt x="5033728" y="4027385"/>
                  <a:pt x="5036785" y="4024312"/>
                </a:cubicBezTo>
                <a:close/>
                <a:moveTo>
                  <a:pt x="3053420" y="3960812"/>
                </a:moveTo>
                <a:lnTo>
                  <a:pt x="3053423" y="3960820"/>
                </a:lnTo>
                <a:lnTo>
                  <a:pt x="3053504" y="3960812"/>
                </a:lnTo>
                <a:lnTo>
                  <a:pt x="3060194" y="3977377"/>
                </a:lnTo>
                <a:lnTo>
                  <a:pt x="3071813" y="4005791"/>
                </a:lnTo>
                <a:lnTo>
                  <a:pt x="3071684" y="4005829"/>
                </a:lnTo>
                <a:lnTo>
                  <a:pt x="3071919" y="4006411"/>
                </a:lnTo>
                <a:cubicBezTo>
                  <a:pt x="3062711" y="4009451"/>
                  <a:pt x="3050435" y="4012490"/>
                  <a:pt x="3041227" y="4015530"/>
                </a:cubicBezTo>
                <a:cubicBezTo>
                  <a:pt x="3050435" y="4021610"/>
                  <a:pt x="3062711" y="4027690"/>
                  <a:pt x="3068850" y="4030730"/>
                </a:cubicBezTo>
                <a:lnTo>
                  <a:pt x="3068869" y="4031052"/>
                </a:lnTo>
                <a:lnTo>
                  <a:pt x="3068882" y="4031059"/>
                </a:lnTo>
                <a:cubicBezTo>
                  <a:pt x="3068882" y="4052242"/>
                  <a:pt x="3071935" y="4073425"/>
                  <a:pt x="3074988" y="4103687"/>
                </a:cubicBezTo>
                <a:cubicBezTo>
                  <a:pt x="3047365" y="4088488"/>
                  <a:pt x="3025881" y="4073288"/>
                  <a:pt x="2995190" y="4052009"/>
                </a:cubicBezTo>
                <a:cubicBezTo>
                  <a:pt x="3001328" y="4036810"/>
                  <a:pt x="3010535" y="4021610"/>
                  <a:pt x="3016674" y="4006411"/>
                </a:cubicBezTo>
                <a:cubicBezTo>
                  <a:pt x="3004397" y="3994251"/>
                  <a:pt x="2995190" y="3982092"/>
                  <a:pt x="2982913" y="3966892"/>
                </a:cubicBezTo>
                <a:lnTo>
                  <a:pt x="2982980" y="3966887"/>
                </a:lnTo>
                <a:lnTo>
                  <a:pt x="2982913" y="3966809"/>
                </a:lnTo>
                <a:cubicBezTo>
                  <a:pt x="3010503" y="3963811"/>
                  <a:pt x="3031961" y="3963811"/>
                  <a:pt x="3053420" y="3960812"/>
                </a:cubicBezTo>
                <a:close/>
                <a:moveTo>
                  <a:pt x="3074988" y="3905249"/>
                </a:moveTo>
                <a:cubicBezTo>
                  <a:pt x="3102578" y="3929855"/>
                  <a:pt x="3133233" y="3954462"/>
                  <a:pt x="3163888" y="3979068"/>
                </a:cubicBezTo>
                <a:cubicBezTo>
                  <a:pt x="3163888" y="3982144"/>
                  <a:pt x="3163888" y="3985220"/>
                  <a:pt x="3163888" y="3988295"/>
                </a:cubicBezTo>
                <a:cubicBezTo>
                  <a:pt x="3148560" y="3985220"/>
                  <a:pt x="3133233" y="3985220"/>
                  <a:pt x="3114840" y="3982144"/>
                </a:cubicBezTo>
                <a:cubicBezTo>
                  <a:pt x="3114840" y="3988295"/>
                  <a:pt x="3114840" y="3994447"/>
                  <a:pt x="3111774" y="4003674"/>
                </a:cubicBezTo>
                <a:cubicBezTo>
                  <a:pt x="3099512" y="3969841"/>
                  <a:pt x="3087250" y="3939083"/>
                  <a:pt x="3074988" y="3905249"/>
                </a:cubicBezTo>
                <a:close/>
                <a:moveTo>
                  <a:pt x="5530374" y="3709987"/>
                </a:moveTo>
                <a:cubicBezTo>
                  <a:pt x="5567045" y="3755628"/>
                  <a:pt x="5603717" y="3801268"/>
                  <a:pt x="5640388" y="3846909"/>
                </a:cubicBezTo>
                <a:cubicBezTo>
                  <a:pt x="5634276" y="3849952"/>
                  <a:pt x="5631220" y="3852995"/>
                  <a:pt x="5628164" y="3856037"/>
                </a:cubicBezTo>
                <a:cubicBezTo>
                  <a:pt x="5582325" y="3816482"/>
                  <a:pt x="5527318" y="3789098"/>
                  <a:pt x="5518150" y="3719115"/>
                </a:cubicBezTo>
                <a:cubicBezTo>
                  <a:pt x="5524262" y="3716073"/>
                  <a:pt x="5527318" y="3713030"/>
                  <a:pt x="5530374" y="3709987"/>
                </a:cubicBezTo>
                <a:close/>
                <a:moveTo>
                  <a:pt x="486644" y="3245257"/>
                </a:moveTo>
                <a:cubicBezTo>
                  <a:pt x="505008" y="3245257"/>
                  <a:pt x="523372" y="3245257"/>
                  <a:pt x="541735" y="3245257"/>
                </a:cubicBezTo>
                <a:lnTo>
                  <a:pt x="486644" y="3247597"/>
                </a:lnTo>
                <a:close/>
                <a:moveTo>
                  <a:pt x="5293890" y="1824037"/>
                </a:moveTo>
                <a:cubicBezTo>
                  <a:pt x="5352204" y="1863905"/>
                  <a:pt x="5407449" y="1903773"/>
                  <a:pt x="5465763" y="1946708"/>
                </a:cubicBezTo>
                <a:cubicBezTo>
                  <a:pt x="5462694" y="1949775"/>
                  <a:pt x="5459625" y="1955908"/>
                  <a:pt x="5453486" y="1958975"/>
                </a:cubicBezTo>
                <a:cubicBezTo>
                  <a:pt x="5398241" y="1919107"/>
                  <a:pt x="5339927" y="1876172"/>
                  <a:pt x="5281613" y="1836304"/>
                </a:cubicBezTo>
                <a:cubicBezTo>
                  <a:pt x="5287751" y="1833237"/>
                  <a:pt x="5290821" y="1827104"/>
                  <a:pt x="5293890" y="1824037"/>
                </a:cubicBezTo>
                <a:close/>
                <a:moveTo>
                  <a:pt x="744578" y="1637690"/>
                </a:moveTo>
                <a:cubicBezTo>
                  <a:pt x="770116" y="1638838"/>
                  <a:pt x="795655" y="1644196"/>
                  <a:pt x="804942" y="1653380"/>
                </a:cubicBezTo>
                <a:cubicBezTo>
                  <a:pt x="808038" y="1656442"/>
                  <a:pt x="808038" y="1662565"/>
                  <a:pt x="808038" y="1665627"/>
                </a:cubicBezTo>
                <a:cubicBezTo>
                  <a:pt x="804942" y="1668689"/>
                  <a:pt x="798751" y="1668689"/>
                  <a:pt x="795655" y="1668689"/>
                </a:cubicBezTo>
                <a:cubicBezTo>
                  <a:pt x="780177" y="1671750"/>
                  <a:pt x="767795" y="1674812"/>
                  <a:pt x="749221" y="1674812"/>
                </a:cubicBezTo>
                <a:cubicBezTo>
                  <a:pt x="727552" y="1665627"/>
                  <a:pt x="702787" y="1656442"/>
                  <a:pt x="684213" y="1647257"/>
                </a:cubicBezTo>
                <a:cubicBezTo>
                  <a:pt x="693500" y="1639603"/>
                  <a:pt x="719039" y="1636541"/>
                  <a:pt x="744578" y="1637690"/>
                </a:cubicBezTo>
                <a:close/>
                <a:moveTo>
                  <a:pt x="999938" y="1631949"/>
                </a:moveTo>
                <a:cubicBezTo>
                  <a:pt x="1046162" y="1638064"/>
                  <a:pt x="1098550" y="1638064"/>
                  <a:pt x="1095468" y="1714499"/>
                </a:cubicBezTo>
                <a:cubicBezTo>
                  <a:pt x="1058489" y="1690040"/>
                  <a:pt x="1024591" y="1665580"/>
                  <a:pt x="993775" y="1644179"/>
                </a:cubicBezTo>
                <a:cubicBezTo>
                  <a:pt x="996856" y="1641121"/>
                  <a:pt x="999938" y="1638064"/>
                  <a:pt x="999938" y="1631949"/>
                </a:cubicBezTo>
                <a:close/>
                <a:moveTo>
                  <a:pt x="1133836" y="1608204"/>
                </a:moveTo>
                <a:cubicBezTo>
                  <a:pt x="1140358" y="1608349"/>
                  <a:pt x="1146524" y="1609038"/>
                  <a:pt x="1152068" y="1610677"/>
                </a:cubicBezTo>
                <a:lnTo>
                  <a:pt x="1154643" y="1612129"/>
                </a:lnTo>
                <a:lnTo>
                  <a:pt x="1157396" y="1612648"/>
                </a:lnTo>
                <a:lnTo>
                  <a:pt x="1159746" y="1615007"/>
                </a:lnTo>
                <a:lnTo>
                  <a:pt x="1166571" y="1618856"/>
                </a:lnTo>
                <a:lnTo>
                  <a:pt x="1170433" y="1625731"/>
                </a:lnTo>
                <a:lnTo>
                  <a:pt x="1173377" y="1628685"/>
                </a:lnTo>
                <a:lnTo>
                  <a:pt x="1173796" y="1631716"/>
                </a:lnTo>
                <a:lnTo>
                  <a:pt x="1175745" y="1635185"/>
                </a:lnTo>
                <a:cubicBezTo>
                  <a:pt x="1177737" y="1642259"/>
                  <a:pt x="1178575" y="1651099"/>
                  <a:pt x="1177992" y="1662112"/>
                </a:cubicBezTo>
                <a:cubicBezTo>
                  <a:pt x="1153121" y="1643563"/>
                  <a:pt x="1131359" y="1628106"/>
                  <a:pt x="1106488" y="1609557"/>
                </a:cubicBezTo>
                <a:cubicBezTo>
                  <a:pt x="1115814" y="1608784"/>
                  <a:pt x="1125141" y="1608011"/>
                  <a:pt x="1133836" y="1608204"/>
                </a:cubicBezTo>
                <a:close/>
                <a:moveTo>
                  <a:pt x="712280" y="1533524"/>
                </a:moveTo>
                <a:cubicBezTo>
                  <a:pt x="758000" y="1564340"/>
                  <a:pt x="806768" y="1592075"/>
                  <a:pt x="852488" y="1622891"/>
                </a:cubicBezTo>
                <a:cubicBezTo>
                  <a:pt x="849440" y="1625972"/>
                  <a:pt x="846392" y="1632136"/>
                  <a:pt x="843344" y="1638299"/>
                </a:cubicBezTo>
                <a:cubicBezTo>
                  <a:pt x="797624" y="1607483"/>
                  <a:pt x="748856" y="1579748"/>
                  <a:pt x="700088" y="1552014"/>
                </a:cubicBezTo>
                <a:cubicBezTo>
                  <a:pt x="706184" y="1545850"/>
                  <a:pt x="709232" y="1539687"/>
                  <a:pt x="712280" y="1533524"/>
                </a:cubicBezTo>
                <a:close/>
                <a:moveTo>
                  <a:pt x="1009894" y="1460600"/>
                </a:moveTo>
                <a:lnTo>
                  <a:pt x="1009953" y="1460671"/>
                </a:lnTo>
                <a:lnTo>
                  <a:pt x="1010015" y="1460671"/>
                </a:lnTo>
                <a:close/>
                <a:moveTo>
                  <a:pt x="1413371" y="684153"/>
                </a:moveTo>
                <a:lnTo>
                  <a:pt x="1413792" y="684470"/>
                </a:lnTo>
                <a:lnTo>
                  <a:pt x="1414022" y="684500"/>
                </a:lnTo>
                <a:close/>
                <a:moveTo>
                  <a:pt x="1716088" y="231774"/>
                </a:moveTo>
                <a:cubicBezTo>
                  <a:pt x="1729892" y="237894"/>
                  <a:pt x="1740628" y="243249"/>
                  <a:pt x="1751365" y="248987"/>
                </a:cubicBezTo>
                <a:lnTo>
                  <a:pt x="1786642" y="268493"/>
                </a:lnTo>
                <a:lnTo>
                  <a:pt x="1776672" y="251283"/>
                </a:lnTo>
                <a:cubicBezTo>
                  <a:pt x="1774372" y="247075"/>
                  <a:pt x="1772838" y="244015"/>
                  <a:pt x="1771304" y="240955"/>
                </a:cubicBezTo>
                <a:lnTo>
                  <a:pt x="1771305" y="240955"/>
                </a:lnTo>
                <a:lnTo>
                  <a:pt x="1771304" y="240954"/>
                </a:lnTo>
                <a:cubicBezTo>
                  <a:pt x="1789710" y="244014"/>
                  <a:pt x="1808115" y="247074"/>
                  <a:pt x="1827288" y="250517"/>
                </a:cubicBezTo>
                <a:lnTo>
                  <a:pt x="1887872" y="262374"/>
                </a:lnTo>
                <a:lnTo>
                  <a:pt x="1884805" y="231775"/>
                </a:lnTo>
                <a:lnTo>
                  <a:pt x="1884805" y="231774"/>
                </a:lnTo>
                <a:cubicBezTo>
                  <a:pt x="1915480" y="262374"/>
                  <a:pt x="1927751" y="302153"/>
                  <a:pt x="1976832" y="308273"/>
                </a:cubicBezTo>
                <a:cubicBezTo>
                  <a:pt x="2001373" y="311333"/>
                  <a:pt x="2022846" y="341933"/>
                  <a:pt x="2047386" y="360293"/>
                </a:cubicBezTo>
                <a:cubicBezTo>
                  <a:pt x="2071927" y="384773"/>
                  <a:pt x="2096468" y="406193"/>
                  <a:pt x="2124076" y="433732"/>
                </a:cubicBezTo>
                <a:lnTo>
                  <a:pt x="2124075" y="433732"/>
                </a:lnTo>
                <a:lnTo>
                  <a:pt x="2124076" y="433733"/>
                </a:lnTo>
                <a:cubicBezTo>
                  <a:pt x="2022846" y="430674"/>
                  <a:pt x="1918548" y="442913"/>
                  <a:pt x="1820385" y="415373"/>
                </a:cubicBezTo>
                <a:lnTo>
                  <a:pt x="1820385" y="415372"/>
                </a:lnTo>
                <a:lnTo>
                  <a:pt x="1820385" y="400074"/>
                </a:lnTo>
                <a:lnTo>
                  <a:pt x="1820385" y="400072"/>
                </a:lnTo>
                <a:lnTo>
                  <a:pt x="1884803" y="415372"/>
                </a:lnTo>
                <a:lnTo>
                  <a:pt x="1798146" y="330459"/>
                </a:lnTo>
                <a:cubicBezTo>
                  <a:pt x="1771304" y="299094"/>
                  <a:pt x="1745230" y="265435"/>
                  <a:pt x="1716088" y="231775"/>
                </a:cubicBezTo>
                <a:lnTo>
                  <a:pt x="1716089" y="231776"/>
                </a:lnTo>
                <a:close/>
                <a:moveTo>
                  <a:pt x="1906588" y="204787"/>
                </a:moveTo>
                <a:cubicBezTo>
                  <a:pt x="2025359" y="262905"/>
                  <a:pt x="2025359" y="262905"/>
                  <a:pt x="2055813" y="330200"/>
                </a:cubicBezTo>
                <a:lnTo>
                  <a:pt x="2055812" y="330200"/>
                </a:lnTo>
                <a:lnTo>
                  <a:pt x="2055813" y="330201"/>
                </a:lnTo>
                <a:cubicBezTo>
                  <a:pt x="2019268" y="327142"/>
                  <a:pt x="1988814" y="305730"/>
                  <a:pt x="1906588" y="204788"/>
                </a:cubicBezTo>
                <a:lnTo>
                  <a:pt x="1906589" y="204789"/>
                </a:lnTo>
                <a:close/>
                <a:moveTo>
                  <a:pt x="2196963" y="121411"/>
                </a:moveTo>
                <a:cubicBezTo>
                  <a:pt x="2204045" y="122603"/>
                  <a:pt x="2209978" y="125750"/>
                  <a:pt x="2215337" y="129756"/>
                </a:cubicBezTo>
                <a:lnTo>
                  <a:pt x="2221739" y="135543"/>
                </a:lnTo>
                <a:lnTo>
                  <a:pt x="2223016" y="136272"/>
                </a:lnTo>
                <a:lnTo>
                  <a:pt x="2245169" y="155295"/>
                </a:lnTo>
                <a:lnTo>
                  <a:pt x="2245193" y="155315"/>
                </a:lnTo>
                <a:cubicBezTo>
                  <a:pt x="2269691" y="167522"/>
                  <a:pt x="2297251" y="176677"/>
                  <a:pt x="2321749" y="188885"/>
                </a:cubicBezTo>
                <a:cubicBezTo>
                  <a:pt x="2346247" y="201092"/>
                  <a:pt x="2367683" y="213299"/>
                  <a:pt x="2389118" y="228559"/>
                </a:cubicBezTo>
                <a:cubicBezTo>
                  <a:pt x="2410554" y="243818"/>
                  <a:pt x="2425865" y="262129"/>
                  <a:pt x="2441176" y="277388"/>
                </a:cubicBezTo>
                <a:lnTo>
                  <a:pt x="2441176" y="277389"/>
                </a:lnTo>
                <a:cubicBezTo>
                  <a:pt x="2441176" y="283493"/>
                  <a:pt x="2438114" y="286545"/>
                  <a:pt x="2435052" y="289597"/>
                </a:cubicBezTo>
                <a:cubicBezTo>
                  <a:pt x="2422803" y="280441"/>
                  <a:pt x="2410554" y="271285"/>
                  <a:pt x="2401367" y="265182"/>
                </a:cubicBezTo>
                <a:lnTo>
                  <a:pt x="2392182" y="268234"/>
                </a:lnTo>
                <a:lnTo>
                  <a:pt x="2401750" y="284636"/>
                </a:lnTo>
                <a:cubicBezTo>
                  <a:pt x="2405195" y="290359"/>
                  <a:pt x="2409023" y="295699"/>
                  <a:pt x="2413616" y="298751"/>
                </a:cubicBezTo>
                <a:cubicBezTo>
                  <a:pt x="2453425" y="326218"/>
                  <a:pt x="2493234" y="356736"/>
                  <a:pt x="2536105" y="384202"/>
                </a:cubicBezTo>
                <a:cubicBezTo>
                  <a:pt x="2542230" y="387254"/>
                  <a:pt x="2549885" y="388017"/>
                  <a:pt x="2557924" y="388017"/>
                </a:cubicBezTo>
                <a:lnTo>
                  <a:pt x="2581611" y="387268"/>
                </a:lnTo>
                <a:lnTo>
                  <a:pt x="2547386" y="366235"/>
                </a:lnTo>
                <a:lnTo>
                  <a:pt x="2511607" y="344530"/>
                </a:lnTo>
                <a:lnTo>
                  <a:pt x="2511669" y="344284"/>
                </a:lnTo>
                <a:lnTo>
                  <a:pt x="2511425" y="344134"/>
                </a:lnTo>
                <a:cubicBezTo>
                  <a:pt x="2511425" y="341048"/>
                  <a:pt x="2514482" y="337961"/>
                  <a:pt x="2514482" y="331787"/>
                </a:cubicBezTo>
                <a:cubicBezTo>
                  <a:pt x="2538942" y="337961"/>
                  <a:pt x="2563401" y="344134"/>
                  <a:pt x="2593975" y="350308"/>
                </a:cubicBezTo>
                <a:lnTo>
                  <a:pt x="2593937" y="350557"/>
                </a:lnTo>
                <a:lnTo>
                  <a:pt x="2594288" y="350633"/>
                </a:lnTo>
                <a:cubicBezTo>
                  <a:pt x="2594288" y="353685"/>
                  <a:pt x="2593522" y="359026"/>
                  <a:pt x="2591991" y="365511"/>
                </a:cubicBezTo>
                <a:lnTo>
                  <a:pt x="2585101" y="387255"/>
                </a:lnTo>
                <a:lnTo>
                  <a:pt x="2598402" y="396219"/>
                </a:lnTo>
                <a:cubicBezTo>
                  <a:pt x="2611321" y="407663"/>
                  <a:pt x="2623379" y="420825"/>
                  <a:pt x="2637159" y="384202"/>
                </a:cubicBezTo>
                <a:cubicBezTo>
                  <a:pt x="2643283" y="378099"/>
                  <a:pt x="2676968" y="378099"/>
                  <a:pt x="2695341" y="381151"/>
                </a:cubicBezTo>
                <a:cubicBezTo>
                  <a:pt x="2707590" y="381151"/>
                  <a:pt x="2719839" y="387254"/>
                  <a:pt x="2732088" y="393358"/>
                </a:cubicBezTo>
                <a:lnTo>
                  <a:pt x="2732087" y="393358"/>
                </a:lnTo>
                <a:lnTo>
                  <a:pt x="2732088" y="393359"/>
                </a:lnTo>
                <a:cubicBezTo>
                  <a:pt x="2600412" y="463551"/>
                  <a:pt x="2465674" y="433033"/>
                  <a:pt x="2333998" y="408618"/>
                </a:cubicBezTo>
                <a:lnTo>
                  <a:pt x="2333998" y="408617"/>
                </a:lnTo>
                <a:lnTo>
                  <a:pt x="2333998" y="393359"/>
                </a:lnTo>
                <a:lnTo>
                  <a:pt x="2333998" y="393358"/>
                </a:lnTo>
                <a:lnTo>
                  <a:pt x="2358496" y="387255"/>
                </a:lnTo>
                <a:lnTo>
                  <a:pt x="2343950" y="348726"/>
                </a:lnTo>
                <a:cubicBezTo>
                  <a:pt x="2338592" y="334611"/>
                  <a:pt x="2332467" y="318590"/>
                  <a:pt x="2324811" y="298752"/>
                </a:cubicBezTo>
                <a:lnTo>
                  <a:pt x="2324811" y="328888"/>
                </a:lnTo>
                <a:lnTo>
                  <a:pt x="2324811" y="328889"/>
                </a:lnTo>
                <a:lnTo>
                  <a:pt x="2324811" y="356736"/>
                </a:lnTo>
                <a:lnTo>
                  <a:pt x="2324811" y="356737"/>
                </a:lnTo>
                <a:cubicBezTo>
                  <a:pt x="2300313" y="341478"/>
                  <a:pt x="2285002" y="329270"/>
                  <a:pt x="2266629" y="317063"/>
                </a:cubicBezTo>
                <a:lnTo>
                  <a:pt x="2266629" y="317062"/>
                </a:lnTo>
                <a:cubicBezTo>
                  <a:pt x="2266629" y="310958"/>
                  <a:pt x="2269691" y="307906"/>
                  <a:pt x="2272753" y="304855"/>
                </a:cubicBezTo>
                <a:cubicBezTo>
                  <a:pt x="2277347" y="306381"/>
                  <a:pt x="2281940" y="307143"/>
                  <a:pt x="2288065" y="307906"/>
                </a:cubicBezTo>
                <a:lnTo>
                  <a:pt x="2312562" y="310958"/>
                </a:lnTo>
                <a:lnTo>
                  <a:pt x="2249021" y="252593"/>
                </a:lnTo>
                <a:cubicBezTo>
                  <a:pt x="2229117" y="234664"/>
                  <a:pt x="2209978" y="217879"/>
                  <a:pt x="2190073" y="201093"/>
                </a:cubicBezTo>
                <a:lnTo>
                  <a:pt x="2190074" y="201093"/>
                </a:lnTo>
                <a:lnTo>
                  <a:pt x="2190073" y="201092"/>
                </a:lnTo>
                <a:cubicBezTo>
                  <a:pt x="2193135" y="198040"/>
                  <a:pt x="2196198" y="194988"/>
                  <a:pt x="2199260" y="188885"/>
                </a:cubicBezTo>
                <a:cubicBezTo>
                  <a:pt x="2208447" y="194988"/>
                  <a:pt x="2220695" y="201092"/>
                  <a:pt x="2229882" y="207196"/>
                </a:cubicBezTo>
                <a:lnTo>
                  <a:pt x="2236006" y="201093"/>
                </a:lnTo>
                <a:lnTo>
                  <a:pt x="2205002" y="164090"/>
                </a:lnTo>
                <a:cubicBezTo>
                  <a:pt x="2194667" y="151501"/>
                  <a:pt x="2183949" y="138531"/>
                  <a:pt x="2171700" y="124798"/>
                </a:cubicBezTo>
                <a:lnTo>
                  <a:pt x="2171701" y="124798"/>
                </a:lnTo>
                <a:lnTo>
                  <a:pt x="2171700" y="124796"/>
                </a:lnTo>
                <a:cubicBezTo>
                  <a:pt x="2181652" y="120982"/>
                  <a:pt x="2189882" y="120219"/>
                  <a:pt x="2196963" y="121411"/>
                </a:cubicBezTo>
                <a:close/>
                <a:moveTo>
                  <a:pt x="2603500" y="96837"/>
                </a:moveTo>
                <a:cubicBezTo>
                  <a:pt x="2655527" y="106022"/>
                  <a:pt x="2735099" y="176439"/>
                  <a:pt x="2753461" y="219301"/>
                </a:cubicBezTo>
                <a:cubicBezTo>
                  <a:pt x="2756522" y="228486"/>
                  <a:pt x="2777945" y="237671"/>
                  <a:pt x="2781005" y="234610"/>
                </a:cubicBezTo>
                <a:cubicBezTo>
                  <a:pt x="2805489" y="222363"/>
                  <a:pt x="2820791" y="237671"/>
                  <a:pt x="2839154" y="243794"/>
                </a:cubicBezTo>
                <a:cubicBezTo>
                  <a:pt x="2934027" y="289718"/>
                  <a:pt x="3031961" y="332581"/>
                  <a:pt x="3126835" y="378505"/>
                </a:cubicBezTo>
                <a:cubicBezTo>
                  <a:pt x="3151318" y="390751"/>
                  <a:pt x="3175802" y="406059"/>
                  <a:pt x="3197225" y="430552"/>
                </a:cubicBezTo>
                <a:lnTo>
                  <a:pt x="3197224" y="430552"/>
                </a:lnTo>
                <a:lnTo>
                  <a:pt x="3197225" y="430553"/>
                </a:lnTo>
                <a:cubicBezTo>
                  <a:pt x="3184983" y="430553"/>
                  <a:pt x="3172741" y="433615"/>
                  <a:pt x="3160500" y="433615"/>
                </a:cubicBezTo>
                <a:cubicBezTo>
                  <a:pt x="3120714" y="433615"/>
                  <a:pt x="3077868" y="430553"/>
                  <a:pt x="3038082" y="433615"/>
                </a:cubicBezTo>
                <a:cubicBezTo>
                  <a:pt x="3007478" y="436677"/>
                  <a:pt x="2978403" y="434381"/>
                  <a:pt x="2950095" y="428257"/>
                </a:cubicBezTo>
                <a:lnTo>
                  <a:pt x="2868073" y="400404"/>
                </a:lnTo>
                <a:lnTo>
                  <a:pt x="2868074" y="400403"/>
                </a:lnTo>
                <a:lnTo>
                  <a:pt x="2867519" y="400215"/>
                </a:lnTo>
                <a:lnTo>
                  <a:pt x="2867519" y="400216"/>
                </a:lnTo>
                <a:lnTo>
                  <a:pt x="2868073" y="400404"/>
                </a:lnTo>
                <a:lnTo>
                  <a:pt x="2867692" y="401124"/>
                </a:lnTo>
                <a:lnTo>
                  <a:pt x="2870889" y="417909"/>
                </a:lnTo>
                <a:cubicBezTo>
                  <a:pt x="2870313" y="422495"/>
                  <a:pt x="2868200" y="425744"/>
                  <a:pt x="2865126" y="428037"/>
                </a:cubicBezTo>
                <a:lnTo>
                  <a:pt x="2860966" y="428915"/>
                </a:lnTo>
                <a:lnTo>
                  <a:pt x="2859166" y="431032"/>
                </a:lnTo>
                <a:cubicBezTo>
                  <a:pt x="2853356" y="433185"/>
                  <a:pt x="2846040" y="433615"/>
                  <a:pt x="2839154" y="433615"/>
                </a:cubicBezTo>
                <a:cubicBezTo>
                  <a:pt x="2817731" y="433615"/>
                  <a:pt x="2793247" y="430553"/>
                  <a:pt x="2784066" y="427492"/>
                </a:cubicBezTo>
                <a:cubicBezTo>
                  <a:pt x="2765703" y="399937"/>
                  <a:pt x="2753461" y="381568"/>
                  <a:pt x="2735099" y="350951"/>
                </a:cubicBezTo>
                <a:lnTo>
                  <a:pt x="2735483" y="351189"/>
                </a:lnTo>
                <a:lnTo>
                  <a:pt x="2735263" y="350837"/>
                </a:lnTo>
                <a:cubicBezTo>
                  <a:pt x="2769073" y="372239"/>
                  <a:pt x="2793663" y="387526"/>
                  <a:pt x="2821326" y="399756"/>
                </a:cubicBezTo>
                <a:cubicBezTo>
                  <a:pt x="2827474" y="402813"/>
                  <a:pt x="2835158" y="403578"/>
                  <a:pt x="2843226" y="403195"/>
                </a:cubicBezTo>
                <a:lnTo>
                  <a:pt x="2866748" y="399853"/>
                </a:lnTo>
                <a:lnTo>
                  <a:pt x="2875300" y="385438"/>
                </a:lnTo>
                <a:lnTo>
                  <a:pt x="2872478" y="371702"/>
                </a:lnTo>
                <a:lnTo>
                  <a:pt x="2851407" y="360142"/>
                </a:lnTo>
                <a:lnTo>
                  <a:pt x="2851395" y="360137"/>
                </a:lnTo>
                <a:cubicBezTo>
                  <a:pt x="2790187" y="354013"/>
                  <a:pt x="2793247" y="283596"/>
                  <a:pt x="2744280" y="265227"/>
                </a:cubicBezTo>
                <a:cubicBezTo>
                  <a:pt x="2750401" y="188687"/>
                  <a:pt x="2680011" y="176441"/>
                  <a:pt x="2637165" y="139701"/>
                </a:cubicBezTo>
                <a:cubicBezTo>
                  <a:pt x="2621863" y="127454"/>
                  <a:pt x="2612681" y="112146"/>
                  <a:pt x="2603500" y="96839"/>
                </a:cubicBezTo>
                <a:lnTo>
                  <a:pt x="2603501" y="96839"/>
                </a:lnTo>
                <a:close/>
                <a:moveTo>
                  <a:pt x="3547297" y="0"/>
                </a:moveTo>
                <a:cubicBezTo>
                  <a:pt x="3571783" y="48893"/>
                  <a:pt x="3596268" y="97785"/>
                  <a:pt x="3620753" y="149734"/>
                </a:cubicBezTo>
                <a:cubicBezTo>
                  <a:pt x="3629935" y="140567"/>
                  <a:pt x="3636057" y="134455"/>
                  <a:pt x="3642178" y="125287"/>
                </a:cubicBezTo>
                <a:cubicBezTo>
                  <a:pt x="3645238" y="131399"/>
                  <a:pt x="3648299" y="134455"/>
                  <a:pt x="3651360" y="137511"/>
                </a:cubicBezTo>
                <a:cubicBezTo>
                  <a:pt x="3688087" y="192515"/>
                  <a:pt x="3712573" y="268910"/>
                  <a:pt x="3764604" y="296413"/>
                </a:cubicBezTo>
                <a:cubicBezTo>
                  <a:pt x="3828877" y="333082"/>
                  <a:pt x="3841120" y="394198"/>
                  <a:pt x="3883969" y="440035"/>
                </a:cubicBezTo>
                <a:cubicBezTo>
                  <a:pt x="3890091" y="449202"/>
                  <a:pt x="3880909" y="470593"/>
                  <a:pt x="3887030" y="482816"/>
                </a:cubicBezTo>
                <a:cubicBezTo>
                  <a:pt x="3899273" y="510318"/>
                  <a:pt x="3911515" y="537820"/>
                  <a:pt x="3929879" y="559211"/>
                </a:cubicBezTo>
                <a:cubicBezTo>
                  <a:pt x="3981910" y="620327"/>
                  <a:pt x="4037002" y="681443"/>
                  <a:pt x="4085973" y="742559"/>
                </a:cubicBezTo>
                <a:cubicBezTo>
                  <a:pt x="4113518" y="776172"/>
                  <a:pt x="4134943" y="815898"/>
                  <a:pt x="4190035" y="797563"/>
                </a:cubicBezTo>
                <a:cubicBezTo>
                  <a:pt x="4194626" y="796035"/>
                  <a:pt x="4199982" y="797563"/>
                  <a:pt x="4205338" y="799855"/>
                </a:cubicBezTo>
                <a:lnTo>
                  <a:pt x="4220640" y="806730"/>
                </a:lnTo>
                <a:lnTo>
                  <a:pt x="4167207" y="761286"/>
                </a:lnTo>
                <a:lnTo>
                  <a:pt x="4137025" y="736022"/>
                </a:lnTo>
                <a:cubicBezTo>
                  <a:pt x="4140109" y="732991"/>
                  <a:pt x="4143194" y="729960"/>
                  <a:pt x="4146278" y="723899"/>
                </a:cubicBezTo>
                <a:lnTo>
                  <a:pt x="4146987" y="724487"/>
                </a:lnTo>
                <a:lnTo>
                  <a:pt x="4147185" y="724224"/>
                </a:lnTo>
                <a:lnTo>
                  <a:pt x="4179250" y="751236"/>
                </a:lnTo>
                <a:lnTo>
                  <a:pt x="4244975" y="805728"/>
                </a:lnTo>
                <a:lnTo>
                  <a:pt x="4244578" y="806268"/>
                </a:lnTo>
                <a:lnTo>
                  <a:pt x="4245127" y="806731"/>
                </a:lnTo>
                <a:cubicBezTo>
                  <a:pt x="4245127" y="806731"/>
                  <a:pt x="4235945" y="818954"/>
                  <a:pt x="4232884" y="825066"/>
                </a:cubicBezTo>
                <a:lnTo>
                  <a:pt x="4225280" y="857915"/>
                </a:lnTo>
                <a:lnTo>
                  <a:pt x="4231736" y="881597"/>
                </a:lnTo>
                <a:cubicBezTo>
                  <a:pt x="4241301" y="895349"/>
                  <a:pt x="4261960" y="906044"/>
                  <a:pt x="4297157" y="919795"/>
                </a:cubicBezTo>
                <a:cubicBezTo>
                  <a:pt x="4304809" y="922851"/>
                  <a:pt x="4310931" y="928962"/>
                  <a:pt x="4317052" y="935456"/>
                </a:cubicBezTo>
                <a:lnTo>
                  <a:pt x="4336946" y="953408"/>
                </a:lnTo>
                <a:lnTo>
                  <a:pt x="4331972" y="938512"/>
                </a:lnTo>
                <a:cubicBezTo>
                  <a:pt x="4330059" y="932783"/>
                  <a:pt x="4327764" y="925907"/>
                  <a:pt x="4324703" y="916739"/>
                </a:cubicBezTo>
                <a:cubicBezTo>
                  <a:pt x="4340007" y="925907"/>
                  <a:pt x="4349189" y="928962"/>
                  <a:pt x="4349189" y="935074"/>
                </a:cubicBezTo>
                <a:cubicBezTo>
                  <a:pt x="4381326" y="1012997"/>
                  <a:pt x="4441008" y="1065136"/>
                  <a:pt x="4497248" y="1119854"/>
                </a:cubicBezTo>
                <a:cubicBezTo>
                  <a:pt x="4515994" y="1138093"/>
                  <a:pt x="4534358" y="1156619"/>
                  <a:pt x="4551192" y="1176481"/>
                </a:cubicBezTo>
                <a:cubicBezTo>
                  <a:pt x="4578737" y="1207039"/>
                  <a:pt x="4600162" y="1237597"/>
                  <a:pt x="4633829" y="1255932"/>
                </a:cubicBezTo>
                <a:cubicBezTo>
                  <a:pt x="4682800" y="1286490"/>
                  <a:pt x="4713407" y="1332327"/>
                  <a:pt x="4753195" y="1368997"/>
                </a:cubicBezTo>
                <a:cubicBezTo>
                  <a:pt x="4780741" y="1393443"/>
                  <a:pt x="4811347" y="1411778"/>
                  <a:pt x="4845015" y="1439280"/>
                </a:cubicBezTo>
                <a:cubicBezTo>
                  <a:pt x="4835833" y="1488173"/>
                  <a:pt x="4893985" y="1500396"/>
                  <a:pt x="4924591" y="1530954"/>
                </a:cubicBezTo>
                <a:cubicBezTo>
                  <a:pt x="4952137" y="1555400"/>
                  <a:pt x="4985805" y="1567623"/>
                  <a:pt x="5013351" y="1592070"/>
                </a:cubicBezTo>
                <a:cubicBezTo>
                  <a:pt x="5037835" y="1610405"/>
                  <a:pt x="5056199" y="1637907"/>
                  <a:pt x="5074563" y="1662353"/>
                </a:cubicBezTo>
                <a:cubicBezTo>
                  <a:pt x="5089867" y="1695967"/>
                  <a:pt x="5144959" y="1757083"/>
                  <a:pt x="5166383" y="1772362"/>
                </a:cubicBezTo>
                <a:cubicBezTo>
                  <a:pt x="5190869" y="1790697"/>
                  <a:pt x="5209233" y="1818199"/>
                  <a:pt x="5233717" y="1836534"/>
                </a:cubicBezTo>
                <a:cubicBezTo>
                  <a:pt x="5261263" y="1857924"/>
                  <a:pt x="5291870" y="1876259"/>
                  <a:pt x="5319416" y="1894594"/>
                </a:cubicBezTo>
                <a:cubicBezTo>
                  <a:pt x="5328598" y="1903761"/>
                  <a:pt x="5337779" y="1915985"/>
                  <a:pt x="5343901" y="1928208"/>
                </a:cubicBezTo>
                <a:cubicBezTo>
                  <a:pt x="5160262" y="1845701"/>
                  <a:pt x="5053139" y="1665409"/>
                  <a:pt x="4890925" y="1558456"/>
                </a:cubicBezTo>
                <a:cubicBezTo>
                  <a:pt x="4884803" y="1564568"/>
                  <a:pt x="4881743" y="1567623"/>
                  <a:pt x="4875621" y="1573735"/>
                </a:cubicBezTo>
                <a:cubicBezTo>
                  <a:pt x="4890925" y="1592070"/>
                  <a:pt x="4906227" y="1613460"/>
                  <a:pt x="4924591" y="1631795"/>
                </a:cubicBezTo>
                <a:cubicBezTo>
                  <a:pt x="4967441" y="1674576"/>
                  <a:pt x="5013351" y="1717358"/>
                  <a:pt x="5056199" y="1763195"/>
                </a:cubicBezTo>
                <a:cubicBezTo>
                  <a:pt x="5086806" y="1796808"/>
                  <a:pt x="5114352" y="1830422"/>
                  <a:pt x="5160262" y="1851813"/>
                </a:cubicBezTo>
                <a:cubicBezTo>
                  <a:pt x="5178626" y="1860980"/>
                  <a:pt x="5187807" y="1888482"/>
                  <a:pt x="5209233" y="1903761"/>
                </a:cubicBezTo>
                <a:cubicBezTo>
                  <a:pt x="5270445" y="1949598"/>
                  <a:pt x="5331659" y="1995435"/>
                  <a:pt x="5395932" y="2038216"/>
                </a:cubicBezTo>
                <a:cubicBezTo>
                  <a:pt x="5406645" y="2044328"/>
                  <a:pt x="5418887" y="2048912"/>
                  <a:pt x="5431513" y="2053496"/>
                </a:cubicBezTo>
                <a:lnTo>
                  <a:pt x="5468808" y="2068540"/>
                </a:lnTo>
                <a:lnTo>
                  <a:pt x="5468836" y="2068512"/>
                </a:lnTo>
                <a:lnTo>
                  <a:pt x="5547383" y="2093277"/>
                </a:lnTo>
                <a:lnTo>
                  <a:pt x="5558147" y="2096659"/>
                </a:lnTo>
                <a:cubicBezTo>
                  <a:pt x="5588754" y="2106208"/>
                  <a:pt x="5620890" y="2116139"/>
                  <a:pt x="5656087" y="2126835"/>
                </a:cubicBezTo>
                <a:lnTo>
                  <a:pt x="5655894" y="2126895"/>
                </a:lnTo>
                <a:lnTo>
                  <a:pt x="5656263" y="2127009"/>
                </a:lnTo>
                <a:cubicBezTo>
                  <a:pt x="5596348" y="2159336"/>
                  <a:pt x="5534704" y="2148368"/>
                  <a:pt x="5495961" y="2113587"/>
                </a:cubicBezTo>
                <a:lnTo>
                  <a:pt x="5465949" y="2071849"/>
                </a:lnTo>
                <a:lnTo>
                  <a:pt x="5405114" y="2074886"/>
                </a:lnTo>
                <a:cubicBezTo>
                  <a:pt x="5429599" y="2096277"/>
                  <a:pt x="5457145" y="2120723"/>
                  <a:pt x="5487752" y="2145169"/>
                </a:cubicBezTo>
                <a:cubicBezTo>
                  <a:pt x="5484691" y="2148225"/>
                  <a:pt x="5481631" y="2154337"/>
                  <a:pt x="5478570" y="2160448"/>
                </a:cubicBezTo>
                <a:cubicBezTo>
                  <a:pt x="5432660" y="2145169"/>
                  <a:pt x="5383689" y="2129890"/>
                  <a:pt x="5334719" y="2111556"/>
                </a:cubicBezTo>
                <a:cubicBezTo>
                  <a:pt x="5337779" y="2120723"/>
                  <a:pt x="5337779" y="2129890"/>
                  <a:pt x="5340841" y="2145169"/>
                </a:cubicBezTo>
                <a:cubicBezTo>
                  <a:pt x="5322477" y="2139058"/>
                  <a:pt x="5307173" y="2136002"/>
                  <a:pt x="5288809" y="2132946"/>
                </a:cubicBezTo>
                <a:cubicBezTo>
                  <a:pt x="5288809" y="2136002"/>
                  <a:pt x="5288809" y="2145169"/>
                  <a:pt x="5288809" y="2148225"/>
                </a:cubicBezTo>
                <a:cubicBezTo>
                  <a:pt x="5209233" y="2108500"/>
                  <a:pt x="5129655" y="2071830"/>
                  <a:pt x="5034775" y="2025993"/>
                </a:cubicBezTo>
                <a:cubicBezTo>
                  <a:pt x="5053139" y="2065719"/>
                  <a:pt x="5062321" y="2093221"/>
                  <a:pt x="5074563" y="2123779"/>
                </a:cubicBezTo>
                <a:cubicBezTo>
                  <a:pt x="5059261" y="2123779"/>
                  <a:pt x="5053139" y="2123779"/>
                  <a:pt x="5037835" y="2123779"/>
                </a:cubicBezTo>
                <a:cubicBezTo>
                  <a:pt x="5047017" y="2129890"/>
                  <a:pt x="5050079" y="2132946"/>
                  <a:pt x="5053139" y="2132946"/>
                </a:cubicBezTo>
                <a:cubicBezTo>
                  <a:pt x="5108231" y="2142114"/>
                  <a:pt x="5141898" y="2184895"/>
                  <a:pt x="5175565" y="2221564"/>
                </a:cubicBezTo>
                <a:cubicBezTo>
                  <a:pt x="5175565" y="2224620"/>
                  <a:pt x="5175565" y="2227676"/>
                  <a:pt x="5175565" y="2227676"/>
                </a:cubicBezTo>
                <a:cubicBezTo>
                  <a:pt x="5172505" y="2227676"/>
                  <a:pt x="5169444" y="2227676"/>
                  <a:pt x="5166383" y="2227676"/>
                </a:cubicBezTo>
                <a:cubicBezTo>
                  <a:pt x="5239839" y="2264346"/>
                  <a:pt x="5276567" y="2340741"/>
                  <a:pt x="5337779" y="2389633"/>
                </a:cubicBezTo>
                <a:cubicBezTo>
                  <a:pt x="5395932" y="2432415"/>
                  <a:pt x="5405114" y="2499642"/>
                  <a:pt x="5429599" y="2569925"/>
                </a:cubicBezTo>
                <a:cubicBezTo>
                  <a:pt x="5435721" y="2548535"/>
                  <a:pt x="5438781" y="2539368"/>
                  <a:pt x="5441842" y="2524089"/>
                </a:cubicBezTo>
                <a:cubicBezTo>
                  <a:pt x="5463267" y="2536312"/>
                  <a:pt x="5481631" y="2548535"/>
                  <a:pt x="5509177" y="2566870"/>
                </a:cubicBezTo>
                <a:cubicBezTo>
                  <a:pt x="5487752" y="2572981"/>
                  <a:pt x="5472449" y="2572981"/>
                  <a:pt x="5457145" y="2579093"/>
                </a:cubicBezTo>
                <a:cubicBezTo>
                  <a:pt x="5447963" y="2582149"/>
                  <a:pt x="5435721" y="2594372"/>
                  <a:pt x="5435721" y="2603539"/>
                </a:cubicBezTo>
                <a:cubicBezTo>
                  <a:pt x="5432660" y="2612707"/>
                  <a:pt x="5444903" y="2631041"/>
                  <a:pt x="5451024" y="2631041"/>
                </a:cubicBezTo>
                <a:cubicBezTo>
                  <a:pt x="5506115" y="2637153"/>
                  <a:pt x="5499995" y="2686046"/>
                  <a:pt x="5518359" y="2725771"/>
                </a:cubicBezTo>
                <a:cubicBezTo>
                  <a:pt x="5503055" y="2719660"/>
                  <a:pt x="5493873" y="2719660"/>
                  <a:pt x="5481631" y="2716604"/>
                </a:cubicBezTo>
                <a:cubicBezTo>
                  <a:pt x="5487752" y="2725771"/>
                  <a:pt x="5490813" y="2734939"/>
                  <a:pt x="5496933" y="2744106"/>
                </a:cubicBezTo>
                <a:cubicBezTo>
                  <a:pt x="5493873" y="2747162"/>
                  <a:pt x="5490813" y="2747162"/>
                  <a:pt x="5487752" y="2750218"/>
                </a:cubicBezTo>
                <a:cubicBezTo>
                  <a:pt x="5469388" y="2731883"/>
                  <a:pt x="5451024" y="2710492"/>
                  <a:pt x="5435721" y="2692157"/>
                </a:cubicBezTo>
                <a:cubicBezTo>
                  <a:pt x="5441842" y="2722715"/>
                  <a:pt x="5447963" y="2750218"/>
                  <a:pt x="5460206" y="2777720"/>
                </a:cubicBezTo>
                <a:cubicBezTo>
                  <a:pt x="5469388" y="2802166"/>
                  <a:pt x="5490813" y="2823557"/>
                  <a:pt x="5512237" y="2841892"/>
                </a:cubicBezTo>
                <a:cubicBezTo>
                  <a:pt x="5499995" y="2817445"/>
                  <a:pt x="5487752" y="2796055"/>
                  <a:pt x="5475509" y="2771608"/>
                </a:cubicBezTo>
                <a:cubicBezTo>
                  <a:pt x="5478570" y="2771608"/>
                  <a:pt x="5481631" y="2768552"/>
                  <a:pt x="5484691" y="2765497"/>
                </a:cubicBezTo>
                <a:cubicBezTo>
                  <a:pt x="5503055" y="2792999"/>
                  <a:pt x="5521419" y="2820501"/>
                  <a:pt x="5533661" y="2838836"/>
                </a:cubicBezTo>
                <a:cubicBezTo>
                  <a:pt x="5524479" y="2915231"/>
                  <a:pt x="5613239" y="2942733"/>
                  <a:pt x="5607117" y="2994681"/>
                </a:cubicBezTo>
                <a:cubicBezTo>
                  <a:pt x="5552025" y="3016072"/>
                  <a:pt x="5499995" y="3034407"/>
                  <a:pt x="5460206" y="3049686"/>
                </a:cubicBezTo>
                <a:cubicBezTo>
                  <a:pt x="5457145" y="3089411"/>
                  <a:pt x="5457145" y="3119969"/>
                  <a:pt x="5454085" y="3147471"/>
                </a:cubicBezTo>
                <a:cubicBezTo>
                  <a:pt x="5447963" y="3147471"/>
                  <a:pt x="5444903" y="3147471"/>
                  <a:pt x="5438781" y="3147471"/>
                </a:cubicBezTo>
                <a:cubicBezTo>
                  <a:pt x="5454085" y="3174974"/>
                  <a:pt x="5481631" y="3196364"/>
                  <a:pt x="5499995" y="3217755"/>
                </a:cubicBezTo>
                <a:cubicBezTo>
                  <a:pt x="5555086" y="3288038"/>
                  <a:pt x="5631603" y="3343043"/>
                  <a:pt x="5677513" y="3419438"/>
                </a:cubicBezTo>
                <a:cubicBezTo>
                  <a:pt x="5692815" y="3446940"/>
                  <a:pt x="5711179" y="3477498"/>
                  <a:pt x="5726483" y="3505000"/>
                </a:cubicBezTo>
                <a:cubicBezTo>
                  <a:pt x="5723422" y="3508056"/>
                  <a:pt x="5720361" y="3511112"/>
                  <a:pt x="5717301" y="3511112"/>
                </a:cubicBezTo>
                <a:cubicBezTo>
                  <a:pt x="5701997" y="3501944"/>
                  <a:pt x="5686694" y="3489721"/>
                  <a:pt x="5671391" y="3477498"/>
                </a:cubicBezTo>
                <a:cubicBezTo>
                  <a:pt x="5668331" y="3477498"/>
                  <a:pt x="5668331" y="3477498"/>
                  <a:pt x="5668331" y="3477498"/>
                </a:cubicBezTo>
                <a:cubicBezTo>
                  <a:pt x="5683633" y="3501944"/>
                  <a:pt x="5698937" y="3523335"/>
                  <a:pt x="5717301" y="3544725"/>
                </a:cubicBezTo>
                <a:cubicBezTo>
                  <a:pt x="5714240" y="3547781"/>
                  <a:pt x="5711179" y="3550837"/>
                  <a:pt x="5708119" y="3553893"/>
                </a:cubicBezTo>
                <a:cubicBezTo>
                  <a:pt x="5695876" y="3541670"/>
                  <a:pt x="5683633" y="3532502"/>
                  <a:pt x="5671391" y="3523335"/>
                </a:cubicBezTo>
                <a:cubicBezTo>
                  <a:pt x="5668331" y="3526391"/>
                  <a:pt x="5665269" y="3529447"/>
                  <a:pt x="5662209" y="3532502"/>
                </a:cubicBezTo>
                <a:cubicBezTo>
                  <a:pt x="5680573" y="3550837"/>
                  <a:pt x="5698937" y="3569172"/>
                  <a:pt x="5717301" y="3587507"/>
                </a:cubicBezTo>
                <a:cubicBezTo>
                  <a:pt x="5717301" y="3587507"/>
                  <a:pt x="5720361" y="3584451"/>
                  <a:pt x="5720361" y="3581395"/>
                </a:cubicBezTo>
                <a:cubicBezTo>
                  <a:pt x="5732604" y="3615009"/>
                  <a:pt x="5744847" y="3648623"/>
                  <a:pt x="5757089" y="3682236"/>
                </a:cubicBezTo>
                <a:cubicBezTo>
                  <a:pt x="5738725" y="3676125"/>
                  <a:pt x="5720361" y="3670013"/>
                  <a:pt x="5698937" y="3660846"/>
                </a:cubicBezTo>
                <a:cubicBezTo>
                  <a:pt x="5741786" y="3725018"/>
                  <a:pt x="5781575" y="3783078"/>
                  <a:pt x="5821363" y="3844194"/>
                </a:cubicBezTo>
                <a:cubicBezTo>
                  <a:pt x="5818303" y="3847250"/>
                  <a:pt x="5815241" y="3847250"/>
                  <a:pt x="5815241" y="3850305"/>
                </a:cubicBezTo>
                <a:cubicBezTo>
                  <a:pt x="5802999" y="3841138"/>
                  <a:pt x="5790757" y="3835026"/>
                  <a:pt x="5781575" y="3825859"/>
                </a:cubicBezTo>
                <a:cubicBezTo>
                  <a:pt x="5775453" y="3828915"/>
                  <a:pt x="5772393" y="3828915"/>
                  <a:pt x="5775453" y="3828915"/>
                </a:cubicBezTo>
                <a:cubicBezTo>
                  <a:pt x="5775453" y="3835026"/>
                  <a:pt x="5778514" y="3841138"/>
                  <a:pt x="5781575" y="3847250"/>
                </a:cubicBezTo>
                <a:cubicBezTo>
                  <a:pt x="5744847" y="3831971"/>
                  <a:pt x="5708119" y="3816692"/>
                  <a:pt x="5668331" y="3801413"/>
                </a:cubicBezTo>
                <a:cubicBezTo>
                  <a:pt x="5668331" y="3810580"/>
                  <a:pt x="5668331" y="3822803"/>
                  <a:pt x="5668331" y="3819747"/>
                </a:cubicBezTo>
                <a:cubicBezTo>
                  <a:pt x="5640785" y="3795301"/>
                  <a:pt x="5607117" y="3767799"/>
                  <a:pt x="5576511" y="3737241"/>
                </a:cubicBezTo>
                <a:cubicBezTo>
                  <a:pt x="5555086" y="3712794"/>
                  <a:pt x="5539783" y="3682236"/>
                  <a:pt x="5515297" y="3660846"/>
                </a:cubicBezTo>
                <a:cubicBezTo>
                  <a:pt x="5478570" y="3627232"/>
                  <a:pt x="5435721" y="3593618"/>
                  <a:pt x="5395932" y="3563060"/>
                </a:cubicBezTo>
                <a:cubicBezTo>
                  <a:pt x="5380629" y="3550837"/>
                  <a:pt x="5359205" y="3544725"/>
                  <a:pt x="5340841" y="3535558"/>
                </a:cubicBezTo>
                <a:cubicBezTo>
                  <a:pt x="5343901" y="3560004"/>
                  <a:pt x="5343901" y="3578339"/>
                  <a:pt x="5343901" y="3602786"/>
                </a:cubicBezTo>
                <a:cubicBezTo>
                  <a:pt x="5313295" y="3581395"/>
                  <a:pt x="5291870" y="3569172"/>
                  <a:pt x="5270445" y="3553893"/>
                </a:cubicBezTo>
                <a:cubicBezTo>
                  <a:pt x="5273506" y="3550837"/>
                  <a:pt x="5273506" y="3550837"/>
                  <a:pt x="5276567" y="3547781"/>
                </a:cubicBezTo>
                <a:cubicBezTo>
                  <a:pt x="5288809" y="3553893"/>
                  <a:pt x="5301052" y="3560004"/>
                  <a:pt x="5319416" y="3566116"/>
                </a:cubicBezTo>
                <a:cubicBezTo>
                  <a:pt x="5307173" y="3544725"/>
                  <a:pt x="5301052" y="3532502"/>
                  <a:pt x="5270445" y="3526391"/>
                </a:cubicBezTo>
                <a:cubicBezTo>
                  <a:pt x="5230657" y="3517223"/>
                  <a:pt x="5193929" y="3483610"/>
                  <a:pt x="5160262" y="3459163"/>
                </a:cubicBezTo>
                <a:cubicBezTo>
                  <a:pt x="5135777" y="3514168"/>
                  <a:pt x="5200051" y="3532502"/>
                  <a:pt x="5227596" y="3566116"/>
                </a:cubicBezTo>
                <a:cubicBezTo>
                  <a:pt x="5242899" y="3590562"/>
                  <a:pt x="5264324" y="3608897"/>
                  <a:pt x="5288809" y="3624176"/>
                </a:cubicBezTo>
                <a:cubicBezTo>
                  <a:pt x="5310234" y="3636399"/>
                  <a:pt x="5331659" y="3648623"/>
                  <a:pt x="5356143" y="3654734"/>
                </a:cubicBezTo>
                <a:cubicBezTo>
                  <a:pt x="5389811" y="3663902"/>
                  <a:pt x="5426539" y="3715850"/>
                  <a:pt x="5426539" y="3776966"/>
                </a:cubicBezTo>
                <a:cubicBezTo>
                  <a:pt x="5411235" y="3758631"/>
                  <a:pt x="5395932" y="3746408"/>
                  <a:pt x="5389811" y="3731129"/>
                </a:cubicBezTo>
                <a:cubicBezTo>
                  <a:pt x="5365325" y="3688348"/>
                  <a:pt x="5325537" y="3676125"/>
                  <a:pt x="5282688" y="3663902"/>
                </a:cubicBezTo>
                <a:cubicBezTo>
                  <a:pt x="5258203" y="3657790"/>
                  <a:pt x="5239839" y="3636399"/>
                  <a:pt x="5221475" y="3621120"/>
                </a:cubicBezTo>
                <a:cubicBezTo>
                  <a:pt x="5203111" y="3605841"/>
                  <a:pt x="5181687" y="3587507"/>
                  <a:pt x="5157201" y="3575283"/>
                </a:cubicBezTo>
                <a:cubicBezTo>
                  <a:pt x="5218415" y="3642511"/>
                  <a:pt x="5279627" y="3709739"/>
                  <a:pt x="5346961" y="3780022"/>
                </a:cubicBezTo>
                <a:cubicBezTo>
                  <a:pt x="5331659" y="3783078"/>
                  <a:pt x="5325537" y="3783078"/>
                  <a:pt x="5304113" y="3786134"/>
                </a:cubicBezTo>
                <a:cubicBezTo>
                  <a:pt x="5334719" y="3801413"/>
                  <a:pt x="5356143" y="3813636"/>
                  <a:pt x="5371447" y="3822803"/>
                </a:cubicBezTo>
                <a:cubicBezTo>
                  <a:pt x="5359205" y="3902254"/>
                  <a:pt x="5444903" y="3917533"/>
                  <a:pt x="5463267" y="3981705"/>
                </a:cubicBezTo>
                <a:cubicBezTo>
                  <a:pt x="5444903" y="3966426"/>
                  <a:pt x="5429599" y="3957258"/>
                  <a:pt x="5417357" y="3945035"/>
                </a:cubicBezTo>
                <a:cubicBezTo>
                  <a:pt x="5365325" y="3896142"/>
                  <a:pt x="5310234" y="3844194"/>
                  <a:pt x="5258203" y="3792245"/>
                </a:cubicBezTo>
                <a:cubicBezTo>
                  <a:pt x="5249021" y="3844194"/>
                  <a:pt x="5307173" y="3923645"/>
                  <a:pt x="5441842" y="4039765"/>
                </a:cubicBezTo>
                <a:cubicBezTo>
                  <a:pt x="5423478" y="4039765"/>
                  <a:pt x="5411235" y="4036709"/>
                  <a:pt x="5386750" y="4033653"/>
                </a:cubicBezTo>
                <a:cubicBezTo>
                  <a:pt x="5408175" y="4058100"/>
                  <a:pt x="5426539" y="4079490"/>
                  <a:pt x="5441842" y="4100881"/>
                </a:cubicBezTo>
                <a:cubicBezTo>
                  <a:pt x="5438781" y="4100881"/>
                  <a:pt x="5438781" y="4103937"/>
                  <a:pt x="5435721" y="4106992"/>
                </a:cubicBezTo>
                <a:cubicBezTo>
                  <a:pt x="5411235" y="4091713"/>
                  <a:pt x="5386750" y="4076434"/>
                  <a:pt x="5346961" y="4055044"/>
                </a:cubicBezTo>
                <a:cubicBezTo>
                  <a:pt x="5368387" y="4082546"/>
                  <a:pt x="5380629" y="4097825"/>
                  <a:pt x="5392871" y="4110048"/>
                </a:cubicBezTo>
                <a:cubicBezTo>
                  <a:pt x="5389811" y="4113104"/>
                  <a:pt x="5386750" y="4116160"/>
                  <a:pt x="5383689" y="4119216"/>
                </a:cubicBezTo>
                <a:cubicBezTo>
                  <a:pt x="5196989" y="3951147"/>
                  <a:pt x="5007229" y="3783078"/>
                  <a:pt x="4820529" y="3615009"/>
                </a:cubicBezTo>
                <a:cubicBezTo>
                  <a:pt x="4799105" y="3648623"/>
                  <a:pt x="4799105" y="3648623"/>
                  <a:pt x="4841954" y="3718906"/>
                </a:cubicBezTo>
                <a:cubicBezTo>
                  <a:pt x="4811347" y="3712794"/>
                  <a:pt x="4789923" y="3706683"/>
                  <a:pt x="4765437" y="3703627"/>
                </a:cubicBezTo>
                <a:cubicBezTo>
                  <a:pt x="4756255" y="3743352"/>
                  <a:pt x="4783801" y="3767799"/>
                  <a:pt x="4817469" y="3792245"/>
                </a:cubicBezTo>
                <a:cubicBezTo>
                  <a:pt x="4851136" y="3822803"/>
                  <a:pt x="4881743" y="3859473"/>
                  <a:pt x="4915409" y="3896142"/>
                </a:cubicBezTo>
                <a:cubicBezTo>
                  <a:pt x="4918470" y="3890031"/>
                  <a:pt x="4924591" y="3883919"/>
                  <a:pt x="4927652" y="3877808"/>
                </a:cubicBezTo>
                <a:cubicBezTo>
                  <a:pt x="4915409" y="3920589"/>
                  <a:pt x="4949077" y="3945035"/>
                  <a:pt x="4964380" y="3981705"/>
                </a:cubicBezTo>
                <a:cubicBezTo>
                  <a:pt x="4982744" y="4015318"/>
                  <a:pt x="4985805" y="4055044"/>
                  <a:pt x="5019472" y="4085602"/>
                </a:cubicBezTo>
                <a:cubicBezTo>
                  <a:pt x="5050079" y="4110048"/>
                  <a:pt x="5071503" y="4146718"/>
                  <a:pt x="5102109" y="4189499"/>
                </a:cubicBezTo>
                <a:cubicBezTo>
                  <a:pt x="5077624" y="4180332"/>
                  <a:pt x="5059261" y="4171164"/>
                  <a:pt x="5031715" y="4161997"/>
                </a:cubicBezTo>
                <a:cubicBezTo>
                  <a:pt x="5059261" y="4204778"/>
                  <a:pt x="5086806" y="4241448"/>
                  <a:pt x="5111291" y="4278117"/>
                </a:cubicBezTo>
                <a:cubicBezTo>
                  <a:pt x="5077624" y="4250615"/>
                  <a:pt x="5043957" y="4223113"/>
                  <a:pt x="5007229" y="4189499"/>
                </a:cubicBezTo>
                <a:cubicBezTo>
                  <a:pt x="5004169" y="4210890"/>
                  <a:pt x="5001108" y="4226169"/>
                  <a:pt x="4998047" y="4247559"/>
                </a:cubicBezTo>
                <a:cubicBezTo>
                  <a:pt x="4979683" y="4229225"/>
                  <a:pt x="4967441" y="4210890"/>
                  <a:pt x="4952137" y="4195611"/>
                </a:cubicBezTo>
                <a:cubicBezTo>
                  <a:pt x="4946016" y="4217001"/>
                  <a:pt x="4942955" y="4229225"/>
                  <a:pt x="4936834" y="4244504"/>
                </a:cubicBezTo>
                <a:cubicBezTo>
                  <a:pt x="4927652" y="4235336"/>
                  <a:pt x="4921531" y="4223113"/>
                  <a:pt x="4909289" y="4217001"/>
                </a:cubicBezTo>
                <a:cubicBezTo>
                  <a:pt x="4897045" y="4210890"/>
                  <a:pt x="4878681" y="4204778"/>
                  <a:pt x="4869500" y="4210890"/>
                </a:cubicBezTo>
                <a:cubicBezTo>
                  <a:pt x="4838893" y="4235336"/>
                  <a:pt x="4814408" y="4213946"/>
                  <a:pt x="4789923" y="4201722"/>
                </a:cubicBezTo>
                <a:cubicBezTo>
                  <a:pt x="4777680" y="4195611"/>
                  <a:pt x="4765437" y="4195611"/>
                  <a:pt x="4765437" y="4195611"/>
                </a:cubicBezTo>
                <a:cubicBezTo>
                  <a:pt x="4701164" y="4140606"/>
                  <a:pt x="4643011" y="4085602"/>
                  <a:pt x="4578737" y="4033653"/>
                </a:cubicBezTo>
                <a:cubicBezTo>
                  <a:pt x="4532828" y="3996984"/>
                  <a:pt x="4483857" y="3963370"/>
                  <a:pt x="4434887" y="3929756"/>
                </a:cubicBezTo>
                <a:cubicBezTo>
                  <a:pt x="4425705" y="3923645"/>
                  <a:pt x="4401220" y="3923645"/>
                  <a:pt x="4395099" y="3929756"/>
                </a:cubicBezTo>
                <a:cubicBezTo>
                  <a:pt x="4382856" y="3948091"/>
                  <a:pt x="4376735" y="3972537"/>
                  <a:pt x="4367553" y="3996984"/>
                </a:cubicBezTo>
                <a:cubicBezTo>
                  <a:pt x="4358371" y="3987816"/>
                  <a:pt x="4340007" y="3978649"/>
                  <a:pt x="4321643" y="3966426"/>
                </a:cubicBezTo>
                <a:cubicBezTo>
                  <a:pt x="4321643" y="3966426"/>
                  <a:pt x="4318582" y="3969482"/>
                  <a:pt x="4315521" y="3969482"/>
                </a:cubicBezTo>
                <a:cubicBezTo>
                  <a:pt x="4324703" y="3987816"/>
                  <a:pt x="4333885" y="4003095"/>
                  <a:pt x="4343067" y="4018374"/>
                </a:cubicBezTo>
                <a:cubicBezTo>
                  <a:pt x="4343067" y="4018374"/>
                  <a:pt x="4340007" y="4021430"/>
                  <a:pt x="4340007" y="4024486"/>
                </a:cubicBezTo>
                <a:cubicBezTo>
                  <a:pt x="4324703" y="4009207"/>
                  <a:pt x="4312461" y="3993928"/>
                  <a:pt x="4300218" y="3978649"/>
                </a:cubicBezTo>
                <a:cubicBezTo>
                  <a:pt x="4297157" y="3978649"/>
                  <a:pt x="4297157" y="3978649"/>
                  <a:pt x="4294097" y="3981705"/>
                </a:cubicBezTo>
                <a:cubicBezTo>
                  <a:pt x="4300218" y="3996984"/>
                  <a:pt x="4309400" y="4015318"/>
                  <a:pt x="4318582" y="4030597"/>
                </a:cubicBezTo>
                <a:cubicBezTo>
                  <a:pt x="4303279" y="4048932"/>
                  <a:pt x="4242066" y="4042821"/>
                  <a:pt x="4287975" y="4088658"/>
                </a:cubicBezTo>
                <a:cubicBezTo>
                  <a:pt x="4257369" y="4094769"/>
                  <a:pt x="4251247" y="4119216"/>
                  <a:pt x="4272673" y="4146718"/>
                </a:cubicBezTo>
                <a:cubicBezTo>
                  <a:pt x="4260429" y="4143662"/>
                  <a:pt x="4251247" y="4143662"/>
                  <a:pt x="4242066" y="4143662"/>
                </a:cubicBezTo>
                <a:cubicBezTo>
                  <a:pt x="4257369" y="4189499"/>
                  <a:pt x="4242066" y="4201722"/>
                  <a:pt x="4165549" y="4207834"/>
                </a:cubicBezTo>
                <a:cubicBezTo>
                  <a:pt x="4171671" y="4220057"/>
                  <a:pt x="4174731" y="4232280"/>
                  <a:pt x="4180853" y="4244504"/>
                </a:cubicBezTo>
                <a:cubicBezTo>
                  <a:pt x="4156367" y="4223113"/>
                  <a:pt x="4131882" y="4207834"/>
                  <a:pt x="4107397" y="4189499"/>
                </a:cubicBezTo>
                <a:cubicBezTo>
                  <a:pt x="4104336" y="4192555"/>
                  <a:pt x="4101276" y="4195611"/>
                  <a:pt x="4098215" y="4198667"/>
                </a:cubicBezTo>
                <a:cubicBezTo>
                  <a:pt x="4119640" y="4238392"/>
                  <a:pt x="4131882" y="4281173"/>
                  <a:pt x="4190035" y="4287285"/>
                </a:cubicBezTo>
                <a:cubicBezTo>
                  <a:pt x="4193095" y="4299508"/>
                  <a:pt x="4193095" y="4314787"/>
                  <a:pt x="4196156" y="4342289"/>
                </a:cubicBezTo>
                <a:cubicBezTo>
                  <a:pt x="4159428" y="4317843"/>
                  <a:pt x="4128821" y="4296452"/>
                  <a:pt x="4098215" y="4278117"/>
                </a:cubicBezTo>
                <a:cubicBezTo>
                  <a:pt x="4055366" y="4308675"/>
                  <a:pt x="4030881" y="4259782"/>
                  <a:pt x="4000274" y="4253671"/>
                </a:cubicBezTo>
                <a:cubicBezTo>
                  <a:pt x="4018638" y="4275061"/>
                  <a:pt x="4033941" y="4293396"/>
                  <a:pt x="4055366" y="4317843"/>
                </a:cubicBezTo>
                <a:lnTo>
                  <a:pt x="4054066" y="4317961"/>
                </a:lnTo>
                <a:lnTo>
                  <a:pt x="4054476" y="4318437"/>
                </a:lnTo>
                <a:cubicBezTo>
                  <a:pt x="4042247" y="4318437"/>
                  <a:pt x="4033076" y="4321503"/>
                  <a:pt x="4020848" y="4321503"/>
                </a:cubicBezTo>
                <a:cubicBezTo>
                  <a:pt x="3944420" y="4321503"/>
                  <a:pt x="3867992" y="4315372"/>
                  <a:pt x="3791564" y="4324568"/>
                </a:cubicBezTo>
                <a:cubicBezTo>
                  <a:pt x="3721250" y="4330699"/>
                  <a:pt x="3696793" y="4284716"/>
                  <a:pt x="3660108" y="4247930"/>
                </a:cubicBezTo>
                <a:lnTo>
                  <a:pt x="3597136" y="4190799"/>
                </a:lnTo>
                <a:lnTo>
                  <a:pt x="3623049" y="4229607"/>
                </a:lnTo>
                <a:cubicBezTo>
                  <a:pt x="3632230" y="4244504"/>
                  <a:pt x="3642177" y="4261310"/>
                  <a:pt x="3654420" y="4281173"/>
                </a:cubicBezTo>
                <a:lnTo>
                  <a:pt x="3654085" y="4280925"/>
                </a:lnTo>
                <a:lnTo>
                  <a:pt x="3654426" y="4281487"/>
                </a:lnTo>
                <a:cubicBezTo>
                  <a:pt x="3640661" y="4270762"/>
                  <a:pt x="3629190" y="4262336"/>
                  <a:pt x="3618867" y="4255058"/>
                </a:cubicBezTo>
                <a:lnTo>
                  <a:pt x="3590241" y="4235558"/>
                </a:lnTo>
                <a:lnTo>
                  <a:pt x="3623814" y="4314787"/>
                </a:lnTo>
                <a:cubicBezTo>
                  <a:pt x="3620753" y="4317843"/>
                  <a:pt x="3617693" y="4320898"/>
                  <a:pt x="3614632" y="4327010"/>
                </a:cubicBezTo>
                <a:lnTo>
                  <a:pt x="3614087" y="4326753"/>
                </a:lnTo>
                <a:lnTo>
                  <a:pt x="3613510" y="4327524"/>
                </a:lnTo>
                <a:lnTo>
                  <a:pt x="3556831" y="4300622"/>
                </a:lnTo>
                <a:lnTo>
                  <a:pt x="3558775" y="4306765"/>
                </a:lnTo>
                <a:cubicBezTo>
                  <a:pt x="3560305" y="4310203"/>
                  <a:pt x="3562600" y="4314787"/>
                  <a:pt x="3565661" y="4320898"/>
                </a:cubicBezTo>
                <a:lnTo>
                  <a:pt x="3564384" y="4320908"/>
                </a:lnTo>
                <a:lnTo>
                  <a:pt x="3564623" y="4321401"/>
                </a:lnTo>
                <a:cubicBezTo>
                  <a:pt x="3500460" y="4321401"/>
                  <a:pt x="3433241" y="4324463"/>
                  <a:pt x="3372133" y="4318339"/>
                </a:cubicBezTo>
                <a:cubicBezTo>
                  <a:pt x="3347690" y="4315278"/>
                  <a:pt x="3323247" y="4290785"/>
                  <a:pt x="3304915" y="4269354"/>
                </a:cubicBezTo>
                <a:cubicBezTo>
                  <a:pt x="3262139" y="4223430"/>
                  <a:pt x="3219364" y="4177505"/>
                  <a:pt x="3179643" y="4128520"/>
                </a:cubicBezTo>
                <a:cubicBezTo>
                  <a:pt x="3176588" y="4128520"/>
                  <a:pt x="3179643" y="4122397"/>
                  <a:pt x="3179643" y="4116273"/>
                </a:cubicBezTo>
                <a:lnTo>
                  <a:pt x="3179984" y="4116414"/>
                </a:lnTo>
                <a:lnTo>
                  <a:pt x="3180019" y="4116160"/>
                </a:lnTo>
                <a:lnTo>
                  <a:pt x="3299071" y="4164924"/>
                </a:lnTo>
                <a:lnTo>
                  <a:pt x="3311025" y="4149951"/>
                </a:lnTo>
                <a:cubicBezTo>
                  <a:pt x="3280472" y="4119335"/>
                  <a:pt x="3246862" y="4088719"/>
                  <a:pt x="3216308" y="4058103"/>
                </a:cubicBezTo>
                <a:cubicBezTo>
                  <a:pt x="3219364" y="4051980"/>
                  <a:pt x="3225474" y="4048918"/>
                  <a:pt x="3228530" y="4042795"/>
                </a:cubicBezTo>
                <a:lnTo>
                  <a:pt x="3228831" y="4043018"/>
                </a:lnTo>
                <a:lnTo>
                  <a:pt x="3228989" y="4042821"/>
                </a:lnTo>
                <a:lnTo>
                  <a:pt x="3380326" y="4154632"/>
                </a:lnTo>
                <a:lnTo>
                  <a:pt x="3354183" y="4115939"/>
                </a:lnTo>
                <a:cubicBezTo>
                  <a:pt x="3322101" y="4078195"/>
                  <a:pt x="3279708" y="4044326"/>
                  <a:pt x="3268250" y="3984624"/>
                </a:cubicBezTo>
                <a:lnTo>
                  <a:pt x="3268815" y="3984855"/>
                </a:lnTo>
                <a:lnTo>
                  <a:pt x="3268778" y="3984760"/>
                </a:lnTo>
                <a:cubicBezTo>
                  <a:pt x="3293263" y="3993928"/>
                  <a:pt x="3305506" y="4000039"/>
                  <a:pt x="3317749" y="4006151"/>
                </a:cubicBezTo>
                <a:cubicBezTo>
                  <a:pt x="3317749" y="3996984"/>
                  <a:pt x="3320809" y="3984760"/>
                  <a:pt x="3320809" y="3975593"/>
                </a:cubicBezTo>
                <a:lnTo>
                  <a:pt x="3320861" y="3975596"/>
                </a:lnTo>
                <a:lnTo>
                  <a:pt x="3320910" y="3975099"/>
                </a:lnTo>
                <a:cubicBezTo>
                  <a:pt x="3330015" y="3975099"/>
                  <a:pt x="3342155" y="3975099"/>
                  <a:pt x="3348224" y="3981230"/>
                </a:cubicBezTo>
                <a:lnTo>
                  <a:pt x="3373176" y="4009584"/>
                </a:lnTo>
                <a:lnTo>
                  <a:pt x="3421811" y="4064211"/>
                </a:lnTo>
                <a:cubicBezTo>
                  <a:pt x="3427932" y="4061155"/>
                  <a:pt x="3430993" y="4061155"/>
                  <a:pt x="3437114" y="4061155"/>
                </a:cubicBezTo>
                <a:lnTo>
                  <a:pt x="3437124" y="4061114"/>
                </a:lnTo>
                <a:lnTo>
                  <a:pt x="3436938" y="4060934"/>
                </a:lnTo>
                <a:cubicBezTo>
                  <a:pt x="3439995" y="4045606"/>
                  <a:pt x="3443052" y="4027213"/>
                  <a:pt x="3449166" y="4011885"/>
                </a:cubicBezTo>
                <a:cubicBezTo>
                  <a:pt x="3464452" y="4024148"/>
                  <a:pt x="3488909" y="4042541"/>
                  <a:pt x="3513366" y="4057868"/>
                </a:cubicBezTo>
                <a:cubicBezTo>
                  <a:pt x="3516423" y="4057868"/>
                  <a:pt x="3519480" y="4054803"/>
                  <a:pt x="3522537" y="4051737"/>
                </a:cubicBezTo>
                <a:lnTo>
                  <a:pt x="3511286" y="4039202"/>
                </a:lnTo>
                <a:lnTo>
                  <a:pt x="3467721" y="3990872"/>
                </a:lnTo>
                <a:lnTo>
                  <a:pt x="3467810" y="3990762"/>
                </a:lnTo>
                <a:lnTo>
                  <a:pt x="3467509" y="3990427"/>
                </a:lnTo>
                <a:cubicBezTo>
                  <a:pt x="3470566" y="3984296"/>
                  <a:pt x="3476681" y="3978165"/>
                  <a:pt x="3479738" y="3975099"/>
                </a:cubicBezTo>
                <a:lnTo>
                  <a:pt x="3576672" y="4049518"/>
                </a:lnTo>
                <a:lnTo>
                  <a:pt x="3675652" y="4125180"/>
                </a:lnTo>
                <a:lnTo>
                  <a:pt x="3681507" y="4122244"/>
                </a:lnTo>
                <a:cubicBezTo>
                  <a:pt x="3675393" y="4113048"/>
                  <a:pt x="3672336" y="4100785"/>
                  <a:pt x="3666222" y="4091589"/>
                </a:cubicBezTo>
                <a:cubicBezTo>
                  <a:pt x="3657051" y="4082392"/>
                  <a:pt x="3647879" y="4073196"/>
                  <a:pt x="3632594" y="4054803"/>
                </a:cubicBezTo>
                <a:lnTo>
                  <a:pt x="3641391" y="4059648"/>
                </a:lnTo>
                <a:lnTo>
                  <a:pt x="3687322" y="4084838"/>
                </a:lnTo>
                <a:cubicBezTo>
                  <a:pt x="3704156" y="4094005"/>
                  <a:pt x="3720225" y="4102409"/>
                  <a:pt x="3737058" y="4110048"/>
                </a:cubicBezTo>
                <a:cubicBezTo>
                  <a:pt x="3755422" y="4128383"/>
                  <a:pt x="3776847" y="4143662"/>
                  <a:pt x="3795210" y="4161997"/>
                </a:cubicBezTo>
                <a:lnTo>
                  <a:pt x="3861714" y="4186141"/>
                </a:lnTo>
                <a:lnTo>
                  <a:pt x="3856909" y="4172059"/>
                </a:lnTo>
                <a:cubicBezTo>
                  <a:pt x="3854999" y="4166694"/>
                  <a:pt x="3852706" y="4160563"/>
                  <a:pt x="3849649" y="4152899"/>
                </a:cubicBezTo>
                <a:lnTo>
                  <a:pt x="3850475" y="4153285"/>
                </a:lnTo>
                <a:lnTo>
                  <a:pt x="3850302" y="4152829"/>
                </a:lnTo>
                <a:cubicBezTo>
                  <a:pt x="3890091" y="4171164"/>
                  <a:pt x="3923758" y="4186443"/>
                  <a:pt x="3957425" y="4204778"/>
                </a:cubicBezTo>
                <a:cubicBezTo>
                  <a:pt x="3954364" y="4204778"/>
                  <a:pt x="3954364" y="4204778"/>
                  <a:pt x="3951304" y="4207834"/>
                </a:cubicBezTo>
                <a:cubicBezTo>
                  <a:pt x="3963546" y="4220057"/>
                  <a:pt x="3975789" y="4232280"/>
                  <a:pt x="3988031" y="4244504"/>
                </a:cubicBezTo>
                <a:cubicBezTo>
                  <a:pt x="3997213" y="4232280"/>
                  <a:pt x="4006395" y="4223113"/>
                  <a:pt x="4015577" y="4210890"/>
                </a:cubicBezTo>
                <a:cubicBezTo>
                  <a:pt x="4021699" y="4213946"/>
                  <a:pt x="4024759" y="4213946"/>
                  <a:pt x="4027820" y="4217001"/>
                </a:cubicBezTo>
                <a:cubicBezTo>
                  <a:pt x="4024759" y="4155885"/>
                  <a:pt x="3969667" y="4152829"/>
                  <a:pt x="3936001" y="4140606"/>
                </a:cubicBezTo>
                <a:cubicBezTo>
                  <a:pt x="3877848" y="4116160"/>
                  <a:pt x="3831938" y="4076434"/>
                  <a:pt x="3786029" y="4039765"/>
                </a:cubicBezTo>
                <a:cubicBezTo>
                  <a:pt x="3715633" y="3984760"/>
                  <a:pt x="3648299" y="3923645"/>
                  <a:pt x="3574843" y="3871696"/>
                </a:cubicBezTo>
                <a:cubicBezTo>
                  <a:pt x="3553419" y="3856417"/>
                  <a:pt x="3513630" y="3853361"/>
                  <a:pt x="3486084" y="3856417"/>
                </a:cubicBezTo>
                <a:cubicBezTo>
                  <a:pt x="3449357" y="3856417"/>
                  <a:pt x="3412629" y="3871696"/>
                  <a:pt x="3391204" y="3828915"/>
                </a:cubicBezTo>
                <a:cubicBezTo>
                  <a:pt x="3388143" y="3825859"/>
                  <a:pt x="3378961" y="3825859"/>
                  <a:pt x="3366719" y="3822803"/>
                </a:cubicBezTo>
                <a:cubicBezTo>
                  <a:pt x="3369779" y="3835026"/>
                  <a:pt x="3372840" y="3841138"/>
                  <a:pt x="3375901" y="3853361"/>
                </a:cubicBezTo>
                <a:cubicBezTo>
                  <a:pt x="3366719" y="3847250"/>
                  <a:pt x="3357537" y="3844194"/>
                  <a:pt x="3348355" y="3838082"/>
                </a:cubicBezTo>
                <a:cubicBezTo>
                  <a:pt x="3348355" y="3841138"/>
                  <a:pt x="3345294" y="3841138"/>
                  <a:pt x="3345294" y="3844194"/>
                </a:cubicBezTo>
                <a:cubicBezTo>
                  <a:pt x="3369779" y="3871696"/>
                  <a:pt x="3391204" y="3899198"/>
                  <a:pt x="3415689" y="3926700"/>
                </a:cubicBezTo>
                <a:cubicBezTo>
                  <a:pt x="3412629" y="3929756"/>
                  <a:pt x="3412629" y="3929756"/>
                  <a:pt x="3409568" y="3932812"/>
                </a:cubicBezTo>
                <a:cubicBezTo>
                  <a:pt x="3363658" y="3896142"/>
                  <a:pt x="3317749" y="3859473"/>
                  <a:pt x="3271839" y="3825859"/>
                </a:cubicBezTo>
                <a:cubicBezTo>
                  <a:pt x="3222868" y="3789189"/>
                  <a:pt x="3173898" y="3755576"/>
                  <a:pt x="3121867" y="3718906"/>
                </a:cubicBezTo>
                <a:cubicBezTo>
                  <a:pt x="3115745" y="3715850"/>
                  <a:pt x="3106563" y="3715850"/>
                  <a:pt x="3097381" y="3718906"/>
                </a:cubicBezTo>
                <a:cubicBezTo>
                  <a:pt x="3057593" y="3721962"/>
                  <a:pt x="3063714" y="3718906"/>
                  <a:pt x="3048411" y="3685292"/>
                </a:cubicBezTo>
                <a:cubicBezTo>
                  <a:pt x="3033108" y="3660846"/>
                  <a:pt x="3005562" y="3636399"/>
                  <a:pt x="2978016" y="3630288"/>
                </a:cubicBezTo>
                <a:cubicBezTo>
                  <a:pt x="2913742" y="3611953"/>
                  <a:pt x="2873954" y="3563060"/>
                  <a:pt x="2828044" y="3523335"/>
                </a:cubicBezTo>
                <a:cubicBezTo>
                  <a:pt x="2785195" y="3486665"/>
                  <a:pt x="2739285" y="3465275"/>
                  <a:pt x="2687254" y="3453052"/>
                </a:cubicBezTo>
                <a:cubicBezTo>
                  <a:pt x="2653587" y="3446940"/>
                  <a:pt x="2622980" y="3434717"/>
                  <a:pt x="2601555" y="3428605"/>
                </a:cubicBezTo>
                <a:cubicBezTo>
                  <a:pt x="2748467" y="3547781"/>
                  <a:pt x="2907621" y="3679181"/>
                  <a:pt x="3072896" y="3813636"/>
                </a:cubicBezTo>
                <a:cubicBezTo>
                  <a:pt x="3033108" y="3835026"/>
                  <a:pt x="3005562" y="3819747"/>
                  <a:pt x="3002501" y="3789189"/>
                </a:cubicBezTo>
                <a:cubicBezTo>
                  <a:pt x="3002501" y="3786134"/>
                  <a:pt x="2999441" y="3780022"/>
                  <a:pt x="2996380" y="3776966"/>
                </a:cubicBezTo>
                <a:cubicBezTo>
                  <a:pt x="2962713" y="3749464"/>
                  <a:pt x="2929045" y="3725018"/>
                  <a:pt x="2889257" y="3703627"/>
                </a:cubicBezTo>
                <a:cubicBezTo>
                  <a:pt x="2892317" y="3715850"/>
                  <a:pt x="2898439" y="3725018"/>
                  <a:pt x="2907621" y="3743352"/>
                </a:cubicBezTo>
                <a:cubicBezTo>
                  <a:pt x="2880075" y="3721962"/>
                  <a:pt x="2858651" y="3706683"/>
                  <a:pt x="2837226" y="3691404"/>
                </a:cubicBezTo>
                <a:cubicBezTo>
                  <a:pt x="2837226" y="3694460"/>
                  <a:pt x="2834165" y="3697515"/>
                  <a:pt x="2834165" y="3697515"/>
                </a:cubicBezTo>
                <a:cubicBezTo>
                  <a:pt x="2889257" y="3749464"/>
                  <a:pt x="2947409" y="3801413"/>
                  <a:pt x="3008623" y="3856417"/>
                </a:cubicBezTo>
                <a:cubicBezTo>
                  <a:pt x="2987198" y="3859473"/>
                  <a:pt x="2968834" y="3859473"/>
                  <a:pt x="2965773" y="3859473"/>
                </a:cubicBezTo>
                <a:cubicBezTo>
                  <a:pt x="2916803" y="3825859"/>
                  <a:pt x="2873954" y="3795301"/>
                  <a:pt x="2834165" y="3761687"/>
                </a:cubicBezTo>
                <a:cubicBezTo>
                  <a:pt x="2791316" y="3728073"/>
                  <a:pt x="2751527" y="3688348"/>
                  <a:pt x="2708678" y="3651678"/>
                </a:cubicBezTo>
                <a:cubicBezTo>
                  <a:pt x="2705618" y="3657790"/>
                  <a:pt x="2699497" y="3660846"/>
                  <a:pt x="2696436" y="3666957"/>
                </a:cubicBezTo>
                <a:cubicBezTo>
                  <a:pt x="2720921" y="3685292"/>
                  <a:pt x="2748467" y="3703627"/>
                  <a:pt x="2769891" y="3725018"/>
                </a:cubicBezTo>
                <a:cubicBezTo>
                  <a:pt x="2806619" y="3758631"/>
                  <a:pt x="2840287" y="3795301"/>
                  <a:pt x="2873954" y="3831971"/>
                </a:cubicBezTo>
                <a:cubicBezTo>
                  <a:pt x="2877014" y="3838082"/>
                  <a:pt x="2861711" y="3859473"/>
                  <a:pt x="2858651" y="3862529"/>
                </a:cubicBezTo>
                <a:cubicBezTo>
                  <a:pt x="2831105" y="3868640"/>
                  <a:pt x="2809680" y="3871696"/>
                  <a:pt x="2797437" y="3874752"/>
                </a:cubicBezTo>
                <a:cubicBezTo>
                  <a:pt x="2760709" y="3856417"/>
                  <a:pt x="2727042" y="3844194"/>
                  <a:pt x="2696436" y="3828915"/>
                </a:cubicBezTo>
                <a:cubicBezTo>
                  <a:pt x="2687254" y="3825859"/>
                  <a:pt x="2681133" y="3813636"/>
                  <a:pt x="2681133" y="3804468"/>
                </a:cubicBezTo>
                <a:cubicBezTo>
                  <a:pt x="2665829" y="3718906"/>
                  <a:pt x="2604616" y="3682236"/>
                  <a:pt x="2531161" y="3660846"/>
                </a:cubicBezTo>
                <a:cubicBezTo>
                  <a:pt x="2540343" y="3666957"/>
                  <a:pt x="2549525" y="3673069"/>
                  <a:pt x="2558706" y="3682236"/>
                </a:cubicBezTo>
                <a:cubicBezTo>
                  <a:pt x="2555646" y="3685292"/>
                  <a:pt x="2552585" y="3691404"/>
                  <a:pt x="2546464" y="3694460"/>
                </a:cubicBezTo>
                <a:lnTo>
                  <a:pt x="2545619" y="3693769"/>
                </a:lnTo>
                <a:lnTo>
                  <a:pt x="2545278" y="3694112"/>
                </a:lnTo>
                <a:lnTo>
                  <a:pt x="2461802" y="3625301"/>
                </a:lnTo>
                <a:lnTo>
                  <a:pt x="2445462" y="3611953"/>
                </a:lnTo>
                <a:lnTo>
                  <a:pt x="2445514" y="3611875"/>
                </a:lnTo>
                <a:lnTo>
                  <a:pt x="2444750" y="3611245"/>
                </a:lnTo>
                <a:cubicBezTo>
                  <a:pt x="2447796" y="3608176"/>
                  <a:pt x="2447796" y="3605106"/>
                  <a:pt x="2450843" y="3602037"/>
                </a:cubicBezTo>
                <a:cubicBezTo>
                  <a:pt x="2466074" y="3608176"/>
                  <a:pt x="2484352" y="3611245"/>
                  <a:pt x="2496537" y="3620452"/>
                </a:cubicBezTo>
                <a:lnTo>
                  <a:pt x="2496804" y="3620794"/>
                </a:lnTo>
                <a:lnTo>
                  <a:pt x="2497493" y="3621120"/>
                </a:lnTo>
                <a:lnTo>
                  <a:pt x="2530046" y="3662485"/>
                </a:lnTo>
                <a:lnTo>
                  <a:pt x="2530046" y="3660648"/>
                </a:lnTo>
                <a:lnTo>
                  <a:pt x="2521213" y="3634872"/>
                </a:lnTo>
                <a:cubicBezTo>
                  <a:pt x="2517388" y="3624940"/>
                  <a:pt x="2512797" y="3615009"/>
                  <a:pt x="2506675" y="3605841"/>
                </a:cubicBezTo>
                <a:cubicBezTo>
                  <a:pt x="2497493" y="3590562"/>
                  <a:pt x="2482190" y="3578339"/>
                  <a:pt x="2469947" y="3566116"/>
                </a:cubicBezTo>
                <a:cubicBezTo>
                  <a:pt x="2494433" y="3550837"/>
                  <a:pt x="2528100" y="3584451"/>
                  <a:pt x="2537282" y="3544725"/>
                </a:cubicBezTo>
                <a:lnTo>
                  <a:pt x="2537282" y="3544613"/>
                </a:lnTo>
                <a:lnTo>
                  <a:pt x="2536931" y="3544303"/>
                </a:lnTo>
                <a:lnTo>
                  <a:pt x="2536931" y="3529156"/>
                </a:lnTo>
                <a:lnTo>
                  <a:pt x="2440871" y="3449614"/>
                </a:lnTo>
                <a:cubicBezTo>
                  <a:pt x="2410265" y="3421730"/>
                  <a:pt x="2382719" y="3390408"/>
                  <a:pt x="2362825" y="3349154"/>
                </a:cubicBezTo>
                <a:cubicBezTo>
                  <a:pt x="2387310" y="3364433"/>
                  <a:pt x="2411795" y="3379712"/>
                  <a:pt x="2436280" y="3394991"/>
                </a:cubicBezTo>
                <a:cubicBezTo>
                  <a:pt x="2442401" y="3361378"/>
                  <a:pt x="2405674" y="3306373"/>
                  <a:pt x="2372007" y="3306373"/>
                </a:cubicBezTo>
                <a:cubicBezTo>
                  <a:pt x="2335279" y="3303317"/>
                  <a:pt x="2310793" y="3294150"/>
                  <a:pt x="2289369" y="3260536"/>
                </a:cubicBezTo>
                <a:cubicBezTo>
                  <a:pt x="2280187" y="3242201"/>
                  <a:pt x="2249580" y="3236090"/>
                  <a:pt x="2218974" y="3214699"/>
                </a:cubicBezTo>
                <a:cubicBezTo>
                  <a:pt x="2243459" y="3248313"/>
                  <a:pt x="2261823" y="3269703"/>
                  <a:pt x="2280187" y="3294150"/>
                </a:cubicBezTo>
                <a:cubicBezTo>
                  <a:pt x="2274065" y="3297206"/>
                  <a:pt x="2267944" y="3303317"/>
                  <a:pt x="2264883" y="3309429"/>
                </a:cubicBezTo>
                <a:cubicBezTo>
                  <a:pt x="2240398" y="3291094"/>
                  <a:pt x="2218974" y="3275815"/>
                  <a:pt x="2197549" y="3257480"/>
                </a:cubicBezTo>
                <a:cubicBezTo>
                  <a:pt x="2194488" y="3257480"/>
                  <a:pt x="2194488" y="3260536"/>
                  <a:pt x="2194488" y="3260536"/>
                </a:cubicBezTo>
                <a:cubicBezTo>
                  <a:pt x="2228156" y="3309429"/>
                  <a:pt x="2261823" y="3364433"/>
                  <a:pt x="2304672" y="3407215"/>
                </a:cubicBezTo>
                <a:cubicBezTo>
                  <a:pt x="2344461" y="3446940"/>
                  <a:pt x="2399552" y="3471386"/>
                  <a:pt x="2451583" y="3505000"/>
                </a:cubicBezTo>
                <a:cubicBezTo>
                  <a:pt x="2433219" y="3517223"/>
                  <a:pt x="2420977" y="3526391"/>
                  <a:pt x="2408734" y="3535558"/>
                </a:cubicBezTo>
                <a:cubicBezTo>
                  <a:pt x="2381189" y="3511112"/>
                  <a:pt x="2356703" y="3489721"/>
                  <a:pt x="2329157" y="3462219"/>
                </a:cubicBezTo>
                <a:cubicBezTo>
                  <a:pt x="2316915" y="3471386"/>
                  <a:pt x="2301611" y="3483610"/>
                  <a:pt x="2283247" y="3495833"/>
                </a:cubicBezTo>
                <a:cubicBezTo>
                  <a:pt x="2292429" y="3501944"/>
                  <a:pt x="2301611" y="3511112"/>
                  <a:pt x="2316915" y="3523335"/>
                </a:cubicBezTo>
                <a:cubicBezTo>
                  <a:pt x="2307733" y="3526391"/>
                  <a:pt x="2301611" y="3526391"/>
                  <a:pt x="2280187" y="3532502"/>
                </a:cubicBezTo>
                <a:cubicBezTo>
                  <a:pt x="2335279" y="3575283"/>
                  <a:pt x="2384249" y="3615009"/>
                  <a:pt x="2433219" y="3654734"/>
                </a:cubicBezTo>
                <a:cubicBezTo>
                  <a:pt x="2433219" y="3657790"/>
                  <a:pt x="2430159" y="3660846"/>
                  <a:pt x="2427098" y="3663902"/>
                </a:cubicBezTo>
                <a:cubicBezTo>
                  <a:pt x="2405674" y="3651678"/>
                  <a:pt x="2384249" y="3639455"/>
                  <a:pt x="2362825" y="3627232"/>
                </a:cubicBezTo>
                <a:cubicBezTo>
                  <a:pt x="2356703" y="3630288"/>
                  <a:pt x="2350582" y="3636399"/>
                  <a:pt x="2338339" y="3645567"/>
                </a:cubicBezTo>
                <a:cubicBezTo>
                  <a:pt x="2387310" y="3685292"/>
                  <a:pt x="2436280" y="3721962"/>
                  <a:pt x="2482190" y="3758631"/>
                </a:cubicBezTo>
                <a:cubicBezTo>
                  <a:pt x="2479129" y="3761687"/>
                  <a:pt x="2479129" y="3761687"/>
                  <a:pt x="2476069" y="3764743"/>
                </a:cubicBezTo>
                <a:cubicBezTo>
                  <a:pt x="2463826" y="3761687"/>
                  <a:pt x="2448523" y="3755576"/>
                  <a:pt x="2433219" y="3752520"/>
                </a:cubicBezTo>
                <a:cubicBezTo>
                  <a:pt x="2433219" y="3755576"/>
                  <a:pt x="2430159" y="3761687"/>
                  <a:pt x="2427098" y="3764743"/>
                </a:cubicBezTo>
                <a:cubicBezTo>
                  <a:pt x="2463826" y="3807524"/>
                  <a:pt x="2503615" y="3847250"/>
                  <a:pt x="2537282" y="3880863"/>
                </a:cubicBezTo>
                <a:cubicBezTo>
                  <a:pt x="2574009" y="3896142"/>
                  <a:pt x="2622980" y="3896142"/>
                  <a:pt x="2638283" y="3920589"/>
                </a:cubicBezTo>
                <a:cubicBezTo>
                  <a:pt x="2653587" y="3948091"/>
                  <a:pt x="2699497" y="3941979"/>
                  <a:pt x="2705618" y="3981705"/>
                </a:cubicBezTo>
                <a:cubicBezTo>
                  <a:pt x="2705618" y="3969482"/>
                  <a:pt x="2708678" y="3960314"/>
                  <a:pt x="2708678" y="3948091"/>
                </a:cubicBezTo>
                <a:lnTo>
                  <a:pt x="2708506" y="3947985"/>
                </a:lnTo>
                <a:lnTo>
                  <a:pt x="2707951" y="3948112"/>
                </a:lnTo>
                <a:cubicBezTo>
                  <a:pt x="2695640" y="3938961"/>
                  <a:pt x="2683329" y="3929809"/>
                  <a:pt x="2667940" y="3923708"/>
                </a:cubicBezTo>
                <a:cubicBezTo>
                  <a:pt x="2671018" y="3920658"/>
                  <a:pt x="2671018" y="3917607"/>
                  <a:pt x="2674095" y="3914557"/>
                </a:cubicBezTo>
                <a:lnTo>
                  <a:pt x="2674821" y="3914762"/>
                </a:lnTo>
                <a:lnTo>
                  <a:pt x="2675011" y="3914477"/>
                </a:lnTo>
                <a:cubicBezTo>
                  <a:pt x="2678072" y="3916005"/>
                  <a:pt x="2681133" y="3916769"/>
                  <a:pt x="2685724" y="3917533"/>
                </a:cubicBezTo>
                <a:lnTo>
                  <a:pt x="2704608" y="3920434"/>
                </a:lnTo>
                <a:lnTo>
                  <a:pt x="2671787" y="3892822"/>
                </a:lnTo>
                <a:cubicBezTo>
                  <a:pt x="2661784" y="3884814"/>
                  <a:pt x="2652551" y="3877951"/>
                  <a:pt x="2643317" y="3871850"/>
                </a:cubicBezTo>
                <a:cubicBezTo>
                  <a:pt x="2624850" y="3856598"/>
                  <a:pt x="2606383" y="3844396"/>
                  <a:pt x="2597150" y="3835244"/>
                </a:cubicBezTo>
                <a:cubicBezTo>
                  <a:pt x="2600228" y="3819992"/>
                  <a:pt x="2600228" y="3810840"/>
                  <a:pt x="2603306" y="3792537"/>
                </a:cubicBezTo>
                <a:lnTo>
                  <a:pt x="2604458" y="3793411"/>
                </a:lnTo>
                <a:lnTo>
                  <a:pt x="2604616" y="3792245"/>
                </a:lnTo>
                <a:cubicBezTo>
                  <a:pt x="2653587" y="3828915"/>
                  <a:pt x="2699497" y="3865584"/>
                  <a:pt x="2748467" y="3902254"/>
                </a:cubicBezTo>
                <a:cubicBezTo>
                  <a:pt x="2745406" y="3905310"/>
                  <a:pt x="2742345" y="3908366"/>
                  <a:pt x="2742345" y="3911421"/>
                </a:cubicBezTo>
                <a:lnTo>
                  <a:pt x="2742013" y="3911200"/>
                </a:lnTo>
                <a:lnTo>
                  <a:pt x="2741807" y="3911506"/>
                </a:lnTo>
                <a:lnTo>
                  <a:pt x="2696036" y="3881263"/>
                </a:lnTo>
                <a:lnTo>
                  <a:pt x="2690315" y="3886975"/>
                </a:lnTo>
                <a:cubicBezTo>
                  <a:pt x="2711739" y="3905310"/>
                  <a:pt x="2730103" y="3923645"/>
                  <a:pt x="2748467" y="3938924"/>
                </a:cubicBezTo>
                <a:cubicBezTo>
                  <a:pt x="2779073" y="3969482"/>
                  <a:pt x="2809680" y="3996984"/>
                  <a:pt x="2840287" y="4024486"/>
                </a:cubicBezTo>
                <a:cubicBezTo>
                  <a:pt x="2889257" y="4058100"/>
                  <a:pt x="2935167" y="4094769"/>
                  <a:pt x="2981077" y="4128383"/>
                </a:cubicBezTo>
                <a:cubicBezTo>
                  <a:pt x="2978016" y="4134495"/>
                  <a:pt x="2974955" y="4137550"/>
                  <a:pt x="2971895" y="4143662"/>
                </a:cubicBezTo>
                <a:cubicBezTo>
                  <a:pt x="2962713" y="4140606"/>
                  <a:pt x="2950470" y="4134495"/>
                  <a:pt x="2938227" y="4131439"/>
                </a:cubicBezTo>
                <a:cubicBezTo>
                  <a:pt x="2938227" y="4134495"/>
                  <a:pt x="2932106" y="4140606"/>
                  <a:pt x="2935167" y="4140606"/>
                </a:cubicBezTo>
                <a:cubicBezTo>
                  <a:pt x="2953531" y="4161997"/>
                  <a:pt x="2968834" y="4192555"/>
                  <a:pt x="3005562" y="4165053"/>
                </a:cubicBezTo>
                <a:cubicBezTo>
                  <a:pt x="3011683" y="4161997"/>
                  <a:pt x="3026986" y="4168108"/>
                  <a:pt x="3036168" y="4174220"/>
                </a:cubicBezTo>
                <a:lnTo>
                  <a:pt x="3108418" y="4222310"/>
                </a:lnTo>
                <a:lnTo>
                  <a:pt x="3124317" y="4215451"/>
                </a:lnTo>
                <a:cubicBezTo>
                  <a:pt x="3129684" y="4213136"/>
                  <a:pt x="3134284" y="4211593"/>
                  <a:pt x="3135818" y="4213136"/>
                </a:cubicBezTo>
                <a:lnTo>
                  <a:pt x="3136759" y="4214028"/>
                </a:lnTo>
                <a:lnTo>
                  <a:pt x="3137170" y="4213946"/>
                </a:lnTo>
                <a:cubicBezTo>
                  <a:pt x="3170837" y="4244504"/>
                  <a:pt x="3207565" y="4278117"/>
                  <a:pt x="3241232" y="4311731"/>
                </a:cubicBezTo>
                <a:cubicBezTo>
                  <a:pt x="3238171" y="4314787"/>
                  <a:pt x="3235111" y="4317843"/>
                  <a:pt x="3232050" y="4320898"/>
                </a:cubicBezTo>
                <a:lnTo>
                  <a:pt x="3231550" y="4320508"/>
                </a:lnTo>
                <a:lnTo>
                  <a:pt x="3230888" y="4321174"/>
                </a:lnTo>
                <a:lnTo>
                  <a:pt x="3107517" y="4224256"/>
                </a:lnTo>
                <a:lnTo>
                  <a:pt x="3152473" y="4278117"/>
                </a:lnTo>
                <a:cubicBezTo>
                  <a:pt x="3164716" y="4290340"/>
                  <a:pt x="3180019" y="4302564"/>
                  <a:pt x="3192261" y="4314787"/>
                </a:cubicBezTo>
                <a:cubicBezTo>
                  <a:pt x="3158594" y="4334650"/>
                  <a:pt x="3138700" y="4322426"/>
                  <a:pt x="3120719" y="4304856"/>
                </a:cubicBezTo>
                <a:lnTo>
                  <a:pt x="3120683" y="4304819"/>
                </a:lnTo>
                <a:lnTo>
                  <a:pt x="3119862" y="4303999"/>
                </a:lnTo>
                <a:lnTo>
                  <a:pt x="3140231" y="4278117"/>
                </a:lnTo>
                <a:cubicBezTo>
                  <a:pt x="3115745" y="4272006"/>
                  <a:pt x="3091260" y="4265894"/>
                  <a:pt x="3060653" y="4262838"/>
                </a:cubicBezTo>
                <a:cubicBezTo>
                  <a:pt x="3067157" y="4263220"/>
                  <a:pt x="3073039" y="4264939"/>
                  <a:pt x="3078485" y="4267577"/>
                </a:cubicBezTo>
                <a:lnTo>
                  <a:pt x="3083065" y="4270664"/>
                </a:lnTo>
                <a:lnTo>
                  <a:pt x="3093699" y="4277831"/>
                </a:lnTo>
                <a:lnTo>
                  <a:pt x="3099030" y="4283163"/>
                </a:lnTo>
                <a:lnTo>
                  <a:pt x="3119862" y="4303999"/>
                </a:lnTo>
                <a:lnTo>
                  <a:pt x="3106563" y="4320898"/>
                </a:lnTo>
                <a:cubicBezTo>
                  <a:pt x="2840287" y="4320898"/>
                  <a:pt x="2574009" y="4323954"/>
                  <a:pt x="2307733" y="4320898"/>
                </a:cubicBezTo>
                <a:cubicBezTo>
                  <a:pt x="2188367" y="4320898"/>
                  <a:pt x="2069002" y="4317843"/>
                  <a:pt x="1949636" y="4323954"/>
                </a:cubicBezTo>
                <a:cubicBezTo>
                  <a:pt x="1888423" y="4327010"/>
                  <a:pt x="1842513" y="4305619"/>
                  <a:pt x="1799664" y="4268950"/>
                </a:cubicBezTo>
                <a:cubicBezTo>
                  <a:pt x="1781300" y="4253671"/>
                  <a:pt x="1762936" y="4232280"/>
                  <a:pt x="1744572" y="4213946"/>
                </a:cubicBezTo>
                <a:cubicBezTo>
                  <a:pt x="1738451" y="4213946"/>
                  <a:pt x="1729269" y="4213946"/>
                  <a:pt x="1723148" y="4213946"/>
                </a:cubicBezTo>
                <a:cubicBezTo>
                  <a:pt x="1677238" y="4226169"/>
                  <a:pt x="1720087" y="4250615"/>
                  <a:pt x="1717026" y="4268950"/>
                </a:cubicBezTo>
                <a:cubicBezTo>
                  <a:pt x="1680299" y="4268950"/>
                  <a:pt x="1661935" y="4253671"/>
                  <a:pt x="1643571" y="4217001"/>
                </a:cubicBezTo>
                <a:cubicBezTo>
                  <a:pt x="1625207" y="4183387"/>
                  <a:pt x="1591540" y="4152829"/>
                  <a:pt x="1557872" y="4128383"/>
                </a:cubicBezTo>
                <a:cubicBezTo>
                  <a:pt x="1484417" y="4073379"/>
                  <a:pt x="1401779" y="4027542"/>
                  <a:pt x="1331384" y="3969482"/>
                </a:cubicBezTo>
                <a:cubicBezTo>
                  <a:pt x="1309960" y="3951147"/>
                  <a:pt x="1254868" y="3948091"/>
                  <a:pt x="1270171" y="3893087"/>
                </a:cubicBezTo>
                <a:cubicBezTo>
                  <a:pt x="1273232" y="3886975"/>
                  <a:pt x="1245686" y="3871696"/>
                  <a:pt x="1230383" y="3865584"/>
                </a:cubicBezTo>
                <a:cubicBezTo>
                  <a:pt x="1187533" y="3838082"/>
                  <a:pt x="1123260" y="3835026"/>
                  <a:pt x="1132442" y="3758631"/>
                </a:cubicBezTo>
                <a:cubicBezTo>
                  <a:pt x="1132442" y="3749464"/>
                  <a:pt x="1111017" y="3734185"/>
                  <a:pt x="1098774" y="3725018"/>
                </a:cubicBezTo>
                <a:cubicBezTo>
                  <a:pt x="1062047" y="3694460"/>
                  <a:pt x="1028379" y="3666957"/>
                  <a:pt x="994712" y="3639455"/>
                </a:cubicBezTo>
                <a:cubicBezTo>
                  <a:pt x="976348" y="3627232"/>
                  <a:pt x="954924" y="3615009"/>
                  <a:pt x="933499" y="3602786"/>
                </a:cubicBezTo>
                <a:cubicBezTo>
                  <a:pt x="942681" y="3593618"/>
                  <a:pt x="951863" y="3587507"/>
                  <a:pt x="957984" y="3578339"/>
                </a:cubicBezTo>
                <a:cubicBezTo>
                  <a:pt x="1013076" y="3624176"/>
                  <a:pt x="1068168" y="3666957"/>
                  <a:pt x="1120199" y="3715850"/>
                </a:cubicBezTo>
                <a:cubicBezTo>
                  <a:pt x="1172230" y="3767799"/>
                  <a:pt x="1224261" y="3819747"/>
                  <a:pt x="1294656" y="3847250"/>
                </a:cubicBezTo>
                <a:cubicBezTo>
                  <a:pt x="1297717" y="3844194"/>
                  <a:pt x="1300778" y="3841138"/>
                  <a:pt x="1303838" y="3838082"/>
                </a:cubicBezTo>
                <a:cubicBezTo>
                  <a:pt x="1267110" y="3804468"/>
                  <a:pt x="1230383" y="3773910"/>
                  <a:pt x="1196715" y="3737241"/>
                </a:cubicBezTo>
                <a:cubicBezTo>
                  <a:pt x="1166109" y="3706683"/>
                  <a:pt x="1138563" y="3673069"/>
                  <a:pt x="1107956" y="3642511"/>
                </a:cubicBezTo>
                <a:cubicBezTo>
                  <a:pt x="1065107" y="3605841"/>
                  <a:pt x="1022258" y="3563060"/>
                  <a:pt x="973288" y="3538614"/>
                </a:cubicBezTo>
                <a:cubicBezTo>
                  <a:pt x="954924" y="3526391"/>
                  <a:pt x="948802" y="3523335"/>
                  <a:pt x="939620" y="3505000"/>
                </a:cubicBezTo>
                <a:cubicBezTo>
                  <a:pt x="930438" y="3489721"/>
                  <a:pt x="899832" y="3486665"/>
                  <a:pt x="878407" y="3480554"/>
                </a:cubicBezTo>
                <a:cubicBezTo>
                  <a:pt x="829437" y="3468331"/>
                  <a:pt x="780466" y="3459163"/>
                  <a:pt x="731496" y="3446940"/>
                </a:cubicBezTo>
                <a:cubicBezTo>
                  <a:pt x="734557" y="3440828"/>
                  <a:pt x="734557" y="3434717"/>
                  <a:pt x="734557" y="3428605"/>
                </a:cubicBezTo>
                <a:cubicBezTo>
                  <a:pt x="752921" y="3425549"/>
                  <a:pt x="771284" y="3422494"/>
                  <a:pt x="789648" y="3419438"/>
                </a:cubicBezTo>
                <a:cubicBezTo>
                  <a:pt x="789648" y="3413326"/>
                  <a:pt x="792709" y="3410270"/>
                  <a:pt x="792709" y="3407215"/>
                </a:cubicBezTo>
                <a:cubicBezTo>
                  <a:pt x="737617" y="3391936"/>
                  <a:pt x="682526" y="3382768"/>
                  <a:pt x="630494" y="3361378"/>
                </a:cubicBezTo>
                <a:cubicBezTo>
                  <a:pt x="575403" y="3343043"/>
                  <a:pt x="526432" y="3312485"/>
                  <a:pt x="477462" y="3288038"/>
                </a:cubicBezTo>
                <a:cubicBezTo>
                  <a:pt x="477462" y="3291094"/>
                  <a:pt x="486644" y="3281927"/>
                  <a:pt x="492765" y="3272759"/>
                </a:cubicBezTo>
                <a:cubicBezTo>
                  <a:pt x="489704" y="3269703"/>
                  <a:pt x="486644" y="3263592"/>
                  <a:pt x="486644" y="3263592"/>
                </a:cubicBezTo>
                <a:cubicBezTo>
                  <a:pt x="459098" y="3272759"/>
                  <a:pt x="422370" y="3242201"/>
                  <a:pt x="404006" y="3281927"/>
                </a:cubicBezTo>
                <a:cubicBezTo>
                  <a:pt x="404006" y="3281927"/>
                  <a:pt x="394824" y="3278871"/>
                  <a:pt x="388703" y="3275815"/>
                </a:cubicBezTo>
                <a:cubicBezTo>
                  <a:pt x="391763" y="3269703"/>
                  <a:pt x="394824" y="3260536"/>
                  <a:pt x="397885" y="3260536"/>
                </a:cubicBezTo>
                <a:cubicBezTo>
                  <a:pt x="422370" y="3255952"/>
                  <a:pt x="446090" y="3251369"/>
                  <a:pt x="469810" y="3248313"/>
                </a:cubicBezTo>
                <a:lnTo>
                  <a:pt x="477370" y="3247991"/>
                </a:lnTo>
                <a:lnTo>
                  <a:pt x="486644" y="3247597"/>
                </a:lnTo>
                <a:lnTo>
                  <a:pt x="486644" y="3251369"/>
                </a:lnTo>
                <a:cubicBezTo>
                  <a:pt x="523372" y="3260536"/>
                  <a:pt x="557039" y="3266648"/>
                  <a:pt x="596827" y="3272759"/>
                </a:cubicBezTo>
                <a:cubicBezTo>
                  <a:pt x="596827" y="3263592"/>
                  <a:pt x="596827" y="3257480"/>
                  <a:pt x="599888" y="3248313"/>
                </a:cubicBezTo>
                <a:cubicBezTo>
                  <a:pt x="654980" y="3254424"/>
                  <a:pt x="716193" y="3272759"/>
                  <a:pt x="768224" y="3260536"/>
                </a:cubicBezTo>
                <a:cubicBezTo>
                  <a:pt x="847801" y="3239145"/>
                  <a:pt x="915135" y="3266648"/>
                  <a:pt x="985530" y="3284982"/>
                </a:cubicBezTo>
                <a:cubicBezTo>
                  <a:pt x="988591" y="3284982"/>
                  <a:pt x="991652" y="3288038"/>
                  <a:pt x="994712" y="3291094"/>
                </a:cubicBezTo>
                <a:cubicBezTo>
                  <a:pt x="985530" y="3294150"/>
                  <a:pt x="976348" y="3297206"/>
                  <a:pt x="970227" y="3297206"/>
                </a:cubicBezTo>
                <a:cubicBezTo>
                  <a:pt x="967166" y="3300261"/>
                  <a:pt x="967166" y="3306373"/>
                  <a:pt x="967166" y="3309429"/>
                </a:cubicBezTo>
                <a:cubicBezTo>
                  <a:pt x="1034501" y="3324708"/>
                  <a:pt x="1101835" y="3339987"/>
                  <a:pt x="1172230" y="3355266"/>
                </a:cubicBezTo>
                <a:cubicBezTo>
                  <a:pt x="1132442" y="3321652"/>
                  <a:pt x="1095714" y="3288038"/>
                  <a:pt x="1055925" y="3251369"/>
                </a:cubicBezTo>
                <a:cubicBezTo>
                  <a:pt x="1043683" y="3239145"/>
                  <a:pt x="1028379" y="3223866"/>
                  <a:pt x="1019197" y="3205532"/>
                </a:cubicBezTo>
                <a:cubicBezTo>
                  <a:pt x="1016137" y="3202476"/>
                  <a:pt x="1025319" y="3190253"/>
                  <a:pt x="1031440" y="3178029"/>
                </a:cubicBezTo>
                <a:cubicBezTo>
                  <a:pt x="1034501" y="3178029"/>
                  <a:pt x="1022258" y="3171918"/>
                  <a:pt x="1016137" y="3162750"/>
                </a:cubicBezTo>
                <a:cubicBezTo>
                  <a:pt x="976348" y="3126081"/>
                  <a:pt x="954924" y="3074132"/>
                  <a:pt x="905953" y="3046630"/>
                </a:cubicBezTo>
                <a:cubicBezTo>
                  <a:pt x="884529" y="3031351"/>
                  <a:pt x="869225" y="3006905"/>
                  <a:pt x="847801" y="2991626"/>
                </a:cubicBezTo>
                <a:cubicBezTo>
                  <a:pt x="835558" y="2982458"/>
                  <a:pt x="814134" y="2979403"/>
                  <a:pt x="804952" y="2970235"/>
                </a:cubicBezTo>
                <a:cubicBezTo>
                  <a:pt x="792709" y="2954956"/>
                  <a:pt x="780466" y="2939677"/>
                  <a:pt x="768224" y="2924398"/>
                </a:cubicBezTo>
                <a:cubicBezTo>
                  <a:pt x="743739" y="2893840"/>
                  <a:pt x="694768" y="2860226"/>
                  <a:pt x="700889" y="2832724"/>
                </a:cubicBezTo>
                <a:cubicBezTo>
                  <a:pt x="710071" y="2786887"/>
                  <a:pt x="658040" y="2765497"/>
                  <a:pt x="670283" y="2722715"/>
                </a:cubicBezTo>
                <a:cubicBezTo>
                  <a:pt x="673344" y="2710492"/>
                  <a:pt x="642737" y="2689102"/>
                  <a:pt x="636616" y="2661599"/>
                </a:cubicBezTo>
                <a:cubicBezTo>
                  <a:pt x="658040" y="2667711"/>
                  <a:pt x="679465" y="2673823"/>
                  <a:pt x="700889" y="2679934"/>
                </a:cubicBezTo>
                <a:cubicBezTo>
                  <a:pt x="645798" y="2621874"/>
                  <a:pt x="587645" y="2563814"/>
                  <a:pt x="529493" y="2502698"/>
                </a:cubicBezTo>
                <a:cubicBezTo>
                  <a:pt x="566221" y="2505754"/>
                  <a:pt x="596827" y="2508810"/>
                  <a:pt x="642737" y="2514921"/>
                </a:cubicBezTo>
                <a:cubicBezTo>
                  <a:pt x="624373" y="2475196"/>
                  <a:pt x="609070" y="2444638"/>
                  <a:pt x="593767" y="2414080"/>
                </a:cubicBezTo>
                <a:cubicBezTo>
                  <a:pt x="590706" y="2414080"/>
                  <a:pt x="587645" y="2414080"/>
                  <a:pt x="584585" y="2417136"/>
                </a:cubicBezTo>
                <a:cubicBezTo>
                  <a:pt x="584585" y="2426303"/>
                  <a:pt x="584585" y="2432415"/>
                  <a:pt x="581524" y="2447694"/>
                </a:cubicBezTo>
                <a:cubicBezTo>
                  <a:pt x="566221" y="2435470"/>
                  <a:pt x="553978" y="2426303"/>
                  <a:pt x="532553" y="2407968"/>
                </a:cubicBezTo>
                <a:cubicBezTo>
                  <a:pt x="550917" y="2411024"/>
                  <a:pt x="560099" y="2411024"/>
                  <a:pt x="578463" y="2411024"/>
                </a:cubicBezTo>
                <a:cubicBezTo>
                  <a:pt x="557039" y="2395745"/>
                  <a:pt x="541735" y="2386578"/>
                  <a:pt x="529493" y="2377410"/>
                </a:cubicBezTo>
                <a:cubicBezTo>
                  <a:pt x="569281" y="2337685"/>
                  <a:pt x="532553" y="2313238"/>
                  <a:pt x="498886" y="2285736"/>
                </a:cubicBezTo>
                <a:cubicBezTo>
                  <a:pt x="514190" y="2282680"/>
                  <a:pt x="520311" y="2282680"/>
                  <a:pt x="529493" y="2279625"/>
                </a:cubicBezTo>
                <a:cubicBezTo>
                  <a:pt x="517250" y="2264346"/>
                  <a:pt x="501947" y="2246011"/>
                  <a:pt x="486644" y="2227676"/>
                </a:cubicBezTo>
                <a:cubicBezTo>
                  <a:pt x="498886" y="2227676"/>
                  <a:pt x="511129" y="2224620"/>
                  <a:pt x="529493" y="2224620"/>
                </a:cubicBezTo>
                <a:cubicBezTo>
                  <a:pt x="508068" y="2212397"/>
                  <a:pt x="495826" y="2203230"/>
                  <a:pt x="483583" y="2194062"/>
                </a:cubicBezTo>
                <a:cubicBezTo>
                  <a:pt x="483583" y="2194062"/>
                  <a:pt x="483583" y="2191006"/>
                  <a:pt x="483583" y="2187951"/>
                </a:cubicBezTo>
                <a:cubicBezTo>
                  <a:pt x="501947" y="2187951"/>
                  <a:pt x="517250" y="2191006"/>
                  <a:pt x="541735" y="2194062"/>
                </a:cubicBezTo>
                <a:cubicBezTo>
                  <a:pt x="511129" y="2123779"/>
                  <a:pt x="443795" y="2090165"/>
                  <a:pt x="391763" y="2032105"/>
                </a:cubicBezTo>
                <a:cubicBezTo>
                  <a:pt x="477462" y="2068774"/>
                  <a:pt x="529493" y="2145169"/>
                  <a:pt x="615191" y="2151281"/>
                </a:cubicBezTo>
                <a:cubicBezTo>
                  <a:pt x="648858" y="2102388"/>
                  <a:pt x="624373" y="2056551"/>
                  <a:pt x="615191" y="2010714"/>
                </a:cubicBezTo>
                <a:cubicBezTo>
                  <a:pt x="612130" y="2007658"/>
                  <a:pt x="606009" y="2004603"/>
                  <a:pt x="599888" y="2004603"/>
                </a:cubicBezTo>
                <a:cubicBezTo>
                  <a:pt x="566221" y="1995435"/>
                  <a:pt x="532553" y="1986268"/>
                  <a:pt x="492765" y="1977101"/>
                </a:cubicBezTo>
                <a:cubicBezTo>
                  <a:pt x="532553" y="2007658"/>
                  <a:pt x="572342" y="2032105"/>
                  <a:pt x="609070" y="2059607"/>
                </a:cubicBezTo>
                <a:cubicBezTo>
                  <a:pt x="609070" y="2062663"/>
                  <a:pt x="606009" y="2065719"/>
                  <a:pt x="606009" y="2068774"/>
                </a:cubicBezTo>
                <a:cubicBezTo>
                  <a:pt x="593767" y="2062663"/>
                  <a:pt x="584585" y="2056551"/>
                  <a:pt x="572342" y="2053495"/>
                </a:cubicBezTo>
                <a:cubicBezTo>
                  <a:pt x="544796" y="2044328"/>
                  <a:pt x="517250" y="2035161"/>
                  <a:pt x="489704" y="2022937"/>
                </a:cubicBezTo>
                <a:cubicBezTo>
                  <a:pt x="465219" y="2010714"/>
                  <a:pt x="440734" y="1995435"/>
                  <a:pt x="413188" y="1983212"/>
                </a:cubicBezTo>
                <a:cubicBezTo>
                  <a:pt x="391763" y="1977101"/>
                  <a:pt x="370339" y="1974045"/>
                  <a:pt x="339732" y="1967933"/>
                </a:cubicBezTo>
                <a:cubicBezTo>
                  <a:pt x="361157" y="1998491"/>
                  <a:pt x="373399" y="2013770"/>
                  <a:pt x="385642" y="2032105"/>
                </a:cubicBezTo>
                <a:cubicBezTo>
                  <a:pt x="382581" y="2032105"/>
                  <a:pt x="379521" y="2035161"/>
                  <a:pt x="376460" y="2038216"/>
                </a:cubicBezTo>
                <a:cubicBezTo>
                  <a:pt x="330550" y="2001547"/>
                  <a:pt x="287701" y="1967933"/>
                  <a:pt x="244852" y="1934319"/>
                </a:cubicBezTo>
                <a:cubicBezTo>
                  <a:pt x="202003" y="1897650"/>
                  <a:pt x="159154" y="1857924"/>
                  <a:pt x="116305" y="1821255"/>
                </a:cubicBezTo>
                <a:cubicBezTo>
                  <a:pt x="128547" y="1812087"/>
                  <a:pt x="131608" y="1809032"/>
                  <a:pt x="131608" y="1809032"/>
                </a:cubicBezTo>
                <a:cubicBezTo>
                  <a:pt x="192821" y="1857924"/>
                  <a:pt x="254034" y="1906817"/>
                  <a:pt x="318308" y="1955710"/>
                </a:cubicBezTo>
                <a:cubicBezTo>
                  <a:pt x="299944" y="1903761"/>
                  <a:pt x="257095" y="1876259"/>
                  <a:pt x="217306" y="1842645"/>
                </a:cubicBezTo>
                <a:cubicBezTo>
                  <a:pt x="159154" y="1796808"/>
                  <a:pt x="104062" y="1747916"/>
                  <a:pt x="48970" y="1699023"/>
                </a:cubicBezTo>
                <a:cubicBezTo>
                  <a:pt x="30606" y="1683744"/>
                  <a:pt x="21424" y="1659297"/>
                  <a:pt x="0" y="1625684"/>
                </a:cubicBezTo>
                <a:cubicBezTo>
                  <a:pt x="39788" y="1640963"/>
                  <a:pt x="67334" y="1653186"/>
                  <a:pt x="94880" y="1665409"/>
                </a:cubicBezTo>
                <a:cubicBezTo>
                  <a:pt x="125487" y="1680688"/>
                  <a:pt x="159154" y="1711246"/>
                  <a:pt x="186700" y="1705134"/>
                </a:cubicBezTo>
                <a:cubicBezTo>
                  <a:pt x="226488" y="1692911"/>
                  <a:pt x="247913" y="1720413"/>
                  <a:pt x="281580" y="1726525"/>
                </a:cubicBezTo>
                <a:cubicBezTo>
                  <a:pt x="250973" y="1689855"/>
                  <a:pt x="223427" y="1650130"/>
                  <a:pt x="192821" y="1613460"/>
                </a:cubicBezTo>
                <a:cubicBezTo>
                  <a:pt x="195882" y="1610405"/>
                  <a:pt x="198942" y="1607349"/>
                  <a:pt x="202003" y="1604293"/>
                </a:cubicBezTo>
                <a:cubicBezTo>
                  <a:pt x="220367" y="1610405"/>
                  <a:pt x="241791" y="1613460"/>
                  <a:pt x="272398" y="1622628"/>
                </a:cubicBezTo>
                <a:cubicBezTo>
                  <a:pt x="238731" y="1561512"/>
                  <a:pt x="177518" y="1552344"/>
                  <a:pt x="131608" y="1503452"/>
                </a:cubicBezTo>
                <a:cubicBezTo>
                  <a:pt x="165275" y="1506508"/>
                  <a:pt x="192821" y="1506508"/>
                  <a:pt x="217306" y="1515675"/>
                </a:cubicBezTo>
                <a:cubicBezTo>
                  <a:pt x="244852" y="1524842"/>
                  <a:pt x="275459" y="1540121"/>
                  <a:pt x="306065" y="1549289"/>
                </a:cubicBezTo>
                <a:cubicBezTo>
                  <a:pt x="263216" y="1518731"/>
                  <a:pt x="220367" y="1488173"/>
                  <a:pt x="171396" y="1451503"/>
                </a:cubicBezTo>
                <a:cubicBezTo>
                  <a:pt x="250973" y="1424001"/>
                  <a:pt x="287701" y="1500396"/>
                  <a:pt x="351975" y="1506508"/>
                </a:cubicBezTo>
                <a:cubicBezTo>
                  <a:pt x="336672" y="1485117"/>
                  <a:pt x="321368" y="1466782"/>
                  <a:pt x="303004" y="1445392"/>
                </a:cubicBezTo>
                <a:cubicBezTo>
                  <a:pt x="312186" y="1442336"/>
                  <a:pt x="321368" y="1442336"/>
                  <a:pt x="327490" y="1442336"/>
                </a:cubicBezTo>
                <a:cubicBezTo>
                  <a:pt x="324429" y="1427057"/>
                  <a:pt x="321368" y="1414834"/>
                  <a:pt x="318308" y="1402610"/>
                </a:cubicBezTo>
                <a:cubicBezTo>
                  <a:pt x="330550" y="1402610"/>
                  <a:pt x="345854" y="1408722"/>
                  <a:pt x="355036" y="1402610"/>
                </a:cubicBezTo>
                <a:cubicBezTo>
                  <a:pt x="382581" y="1387331"/>
                  <a:pt x="404006" y="1368997"/>
                  <a:pt x="422370" y="1344550"/>
                </a:cubicBezTo>
                <a:cubicBezTo>
                  <a:pt x="446855" y="1341494"/>
                  <a:pt x="471340" y="1338439"/>
                  <a:pt x="495826" y="1335383"/>
                </a:cubicBezTo>
                <a:cubicBezTo>
                  <a:pt x="511129" y="1332327"/>
                  <a:pt x="532553" y="1326215"/>
                  <a:pt x="547857" y="1332327"/>
                </a:cubicBezTo>
                <a:cubicBezTo>
                  <a:pt x="578463" y="1347606"/>
                  <a:pt x="609070" y="1368997"/>
                  <a:pt x="639676" y="1387331"/>
                </a:cubicBezTo>
                <a:cubicBezTo>
                  <a:pt x="670283" y="1402610"/>
                  <a:pt x="700889" y="1414834"/>
                  <a:pt x="743739" y="1433168"/>
                </a:cubicBezTo>
                <a:cubicBezTo>
                  <a:pt x="725375" y="1439280"/>
                  <a:pt x="716193" y="1442336"/>
                  <a:pt x="707011" y="1448447"/>
                </a:cubicBezTo>
                <a:cubicBezTo>
                  <a:pt x="716193" y="1454559"/>
                  <a:pt x="722314" y="1457615"/>
                  <a:pt x="722314" y="1457615"/>
                </a:cubicBezTo>
                <a:cubicBezTo>
                  <a:pt x="749860" y="1436224"/>
                  <a:pt x="768224" y="1451503"/>
                  <a:pt x="786588" y="1472894"/>
                </a:cubicBezTo>
                <a:cubicBezTo>
                  <a:pt x="814134" y="1503452"/>
                  <a:pt x="844740" y="1534010"/>
                  <a:pt x="869225" y="1570679"/>
                </a:cubicBezTo>
                <a:cubicBezTo>
                  <a:pt x="844740" y="1552344"/>
                  <a:pt x="820255" y="1534010"/>
                  <a:pt x="792709" y="1518731"/>
                </a:cubicBezTo>
                <a:cubicBezTo>
                  <a:pt x="771284" y="1506508"/>
                  <a:pt x="746799" y="1497340"/>
                  <a:pt x="725375" y="1494284"/>
                </a:cubicBezTo>
                <a:cubicBezTo>
                  <a:pt x="713132" y="1491229"/>
                  <a:pt x="700889" y="1506508"/>
                  <a:pt x="694768" y="1521787"/>
                </a:cubicBezTo>
                <a:cubicBezTo>
                  <a:pt x="673344" y="1524842"/>
                  <a:pt x="648858" y="1530954"/>
                  <a:pt x="627434" y="1534010"/>
                </a:cubicBezTo>
                <a:cubicBezTo>
                  <a:pt x="645798" y="1549289"/>
                  <a:pt x="664162" y="1561512"/>
                  <a:pt x="682526" y="1576791"/>
                </a:cubicBezTo>
                <a:cubicBezTo>
                  <a:pt x="691707" y="1582902"/>
                  <a:pt x="697829" y="1595126"/>
                  <a:pt x="703950" y="1604293"/>
                </a:cubicBezTo>
                <a:cubicBezTo>
                  <a:pt x="707011" y="1607349"/>
                  <a:pt x="697829" y="1622628"/>
                  <a:pt x="694768" y="1622628"/>
                </a:cubicBezTo>
                <a:cubicBezTo>
                  <a:pt x="682526" y="1616516"/>
                  <a:pt x="667222" y="1613460"/>
                  <a:pt x="654980" y="1604293"/>
                </a:cubicBezTo>
                <a:cubicBezTo>
                  <a:pt x="648858" y="1598181"/>
                  <a:pt x="642737" y="1589014"/>
                  <a:pt x="630494" y="1573735"/>
                </a:cubicBezTo>
                <a:cubicBezTo>
                  <a:pt x="630494" y="1598181"/>
                  <a:pt x="630494" y="1616516"/>
                  <a:pt x="630494" y="1647074"/>
                </a:cubicBezTo>
                <a:cubicBezTo>
                  <a:pt x="667222" y="1677632"/>
                  <a:pt x="716193" y="1714302"/>
                  <a:pt x="765163" y="1750971"/>
                </a:cubicBezTo>
                <a:cubicBezTo>
                  <a:pt x="774345" y="1757083"/>
                  <a:pt x="792709" y="1750971"/>
                  <a:pt x="804952" y="1754027"/>
                </a:cubicBezTo>
                <a:cubicBezTo>
                  <a:pt x="826376" y="1757083"/>
                  <a:pt x="847801" y="1766250"/>
                  <a:pt x="875347" y="1775418"/>
                </a:cubicBezTo>
                <a:cubicBezTo>
                  <a:pt x="829437" y="1796808"/>
                  <a:pt x="847801" y="1809032"/>
                  <a:pt x="869225" y="1824311"/>
                </a:cubicBezTo>
                <a:cubicBezTo>
                  <a:pt x="890650" y="1839590"/>
                  <a:pt x="905953" y="1854869"/>
                  <a:pt x="924317" y="1870148"/>
                </a:cubicBezTo>
                <a:cubicBezTo>
                  <a:pt x="921256" y="1876259"/>
                  <a:pt x="918196" y="1882371"/>
                  <a:pt x="915135" y="1885427"/>
                </a:cubicBezTo>
                <a:cubicBezTo>
                  <a:pt x="863104" y="1864036"/>
                  <a:pt x="811073" y="1842645"/>
                  <a:pt x="762103" y="1821255"/>
                </a:cubicBezTo>
                <a:cubicBezTo>
                  <a:pt x="759042" y="1824311"/>
                  <a:pt x="755981" y="1827366"/>
                  <a:pt x="752921" y="1830422"/>
                </a:cubicBezTo>
                <a:cubicBezTo>
                  <a:pt x="762103" y="1839590"/>
                  <a:pt x="768224" y="1845701"/>
                  <a:pt x="777406" y="1851813"/>
                </a:cubicBezTo>
                <a:cubicBezTo>
                  <a:pt x="801891" y="1867092"/>
                  <a:pt x="826376" y="1882371"/>
                  <a:pt x="850861" y="1897650"/>
                </a:cubicBezTo>
                <a:cubicBezTo>
                  <a:pt x="893711" y="1925152"/>
                  <a:pt x="893711" y="1925152"/>
                  <a:pt x="866165" y="1970989"/>
                </a:cubicBezTo>
                <a:cubicBezTo>
                  <a:pt x="850861" y="1967933"/>
                  <a:pt x="835558" y="1961822"/>
                  <a:pt x="823316" y="1958766"/>
                </a:cubicBezTo>
                <a:cubicBezTo>
                  <a:pt x="869225" y="1980156"/>
                  <a:pt x="878407" y="2022937"/>
                  <a:pt x="893711" y="2065719"/>
                </a:cubicBezTo>
                <a:cubicBezTo>
                  <a:pt x="902893" y="2093221"/>
                  <a:pt x="939620" y="2111556"/>
                  <a:pt x="964106" y="2129890"/>
                </a:cubicBezTo>
                <a:cubicBezTo>
                  <a:pt x="1010015" y="2160448"/>
                  <a:pt x="1055925" y="2191006"/>
                  <a:pt x="1098774" y="2221564"/>
                </a:cubicBezTo>
                <a:cubicBezTo>
                  <a:pt x="1107956" y="2227676"/>
                  <a:pt x="1114078" y="2239899"/>
                  <a:pt x="1123260" y="2255178"/>
                </a:cubicBezTo>
                <a:cubicBezTo>
                  <a:pt x="1080411" y="2246011"/>
                  <a:pt x="1040622" y="2236843"/>
                  <a:pt x="1003894" y="2230732"/>
                </a:cubicBezTo>
                <a:cubicBezTo>
                  <a:pt x="1000833" y="2233788"/>
                  <a:pt x="1000833" y="2233788"/>
                  <a:pt x="1000833" y="2236843"/>
                </a:cubicBezTo>
                <a:cubicBezTo>
                  <a:pt x="1071229" y="2282680"/>
                  <a:pt x="1144684" y="2331573"/>
                  <a:pt x="1215079" y="2377410"/>
                </a:cubicBezTo>
                <a:cubicBezTo>
                  <a:pt x="1282414" y="2420191"/>
                  <a:pt x="1349748" y="2459917"/>
                  <a:pt x="1426264" y="2505754"/>
                </a:cubicBezTo>
                <a:cubicBezTo>
                  <a:pt x="1429325" y="2478252"/>
                  <a:pt x="1435446" y="2450749"/>
                  <a:pt x="1441568" y="2417136"/>
                </a:cubicBezTo>
                <a:cubicBezTo>
                  <a:pt x="1453810" y="2420191"/>
                  <a:pt x="1466053" y="2423247"/>
                  <a:pt x="1487477" y="2429359"/>
                </a:cubicBezTo>
                <a:cubicBezTo>
                  <a:pt x="1475235" y="2404912"/>
                  <a:pt x="1469114" y="2386578"/>
                  <a:pt x="1453810" y="2371299"/>
                </a:cubicBezTo>
                <a:lnTo>
                  <a:pt x="1377564" y="2301263"/>
                </a:lnTo>
                <a:lnTo>
                  <a:pt x="1377059" y="2301095"/>
                </a:lnTo>
                <a:lnTo>
                  <a:pt x="1376994" y="2301042"/>
                </a:lnTo>
                <a:lnTo>
                  <a:pt x="1347453" y="2303689"/>
                </a:lnTo>
                <a:cubicBezTo>
                  <a:pt x="1339801" y="2307891"/>
                  <a:pt x="1334445" y="2316294"/>
                  <a:pt x="1331384" y="2331573"/>
                </a:cubicBezTo>
                <a:cubicBezTo>
                  <a:pt x="1328323" y="2365187"/>
                  <a:pt x="1282414" y="2374354"/>
                  <a:pt x="1248746" y="2356020"/>
                </a:cubicBezTo>
                <a:cubicBezTo>
                  <a:pt x="1239564" y="2349908"/>
                  <a:pt x="1233443" y="2343796"/>
                  <a:pt x="1221201" y="2331573"/>
                </a:cubicBezTo>
                <a:cubicBezTo>
                  <a:pt x="1236504" y="2328517"/>
                  <a:pt x="1248746" y="2322406"/>
                  <a:pt x="1257928" y="2319350"/>
                </a:cubicBezTo>
                <a:cubicBezTo>
                  <a:pt x="1236504" y="2297959"/>
                  <a:pt x="1215079" y="2273513"/>
                  <a:pt x="1196715" y="2252122"/>
                </a:cubicBezTo>
                <a:cubicBezTo>
                  <a:pt x="1196715" y="2249067"/>
                  <a:pt x="1196715" y="2246011"/>
                  <a:pt x="1196715" y="2239899"/>
                </a:cubicBezTo>
                <a:cubicBezTo>
                  <a:pt x="1224261" y="2249067"/>
                  <a:pt x="1251807" y="2255178"/>
                  <a:pt x="1279353" y="2264346"/>
                </a:cubicBezTo>
                <a:cubicBezTo>
                  <a:pt x="1279353" y="2261290"/>
                  <a:pt x="1282414" y="2258234"/>
                  <a:pt x="1282414" y="2258234"/>
                </a:cubicBezTo>
                <a:cubicBezTo>
                  <a:pt x="1184473" y="2187951"/>
                  <a:pt x="1089592" y="2114612"/>
                  <a:pt x="991652" y="2044328"/>
                </a:cubicBezTo>
                <a:cubicBezTo>
                  <a:pt x="991652" y="2041272"/>
                  <a:pt x="994712" y="2038216"/>
                  <a:pt x="994712" y="2035161"/>
                </a:cubicBezTo>
                <a:cubicBezTo>
                  <a:pt x="1006955" y="2038216"/>
                  <a:pt x="1016137" y="2044328"/>
                  <a:pt x="1037561" y="2050440"/>
                </a:cubicBezTo>
                <a:cubicBezTo>
                  <a:pt x="1016137" y="2025993"/>
                  <a:pt x="1000833" y="2007658"/>
                  <a:pt x="979409" y="1986268"/>
                </a:cubicBezTo>
                <a:cubicBezTo>
                  <a:pt x="973288" y="2007658"/>
                  <a:pt x="970227" y="2016826"/>
                  <a:pt x="967166" y="2035161"/>
                </a:cubicBezTo>
                <a:cubicBezTo>
                  <a:pt x="948802" y="2022937"/>
                  <a:pt x="933499" y="2010714"/>
                  <a:pt x="915135" y="1998491"/>
                </a:cubicBezTo>
                <a:cubicBezTo>
                  <a:pt x="930438" y="1995435"/>
                  <a:pt x="939620" y="1992379"/>
                  <a:pt x="945742" y="1989324"/>
                </a:cubicBezTo>
                <a:cubicBezTo>
                  <a:pt x="933499" y="1970989"/>
                  <a:pt x="921256" y="1952654"/>
                  <a:pt x="902893" y="1928208"/>
                </a:cubicBezTo>
                <a:cubicBezTo>
                  <a:pt x="961045" y="1958766"/>
                  <a:pt x="1010015" y="1980156"/>
                  <a:pt x="1065107" y="2010714"/>
                </a:cubicBezTo>
                <a:cubicBezTo>
                  <a:pt x="1055925" y="1989324"/>
                  <a:pt x="1049804" y="1980156"/>
                  <a:pt x="1037561" y="1958766"/>
                </a:cubicBezTo>
                <a:cubicBezTo>
                  <a:pt x="1068168" y="1967933"/>
                  <a:pt x="1086532" y="1977101"/>
                  <a:pt x="1101835" y="1983212"/>
                </a:cubicBezTo>
                <a:cubicBezTo>
                  <a:pt x="1107956" y="1980156"/>
                  <a:pt x="1111017" y="1977101"/>
                  <a:pt x="1114078" y="1974045"/>
                </a:cubicBezTo>
                <a:cubicBezTo>
                  <a:pt x="1098774" y="1958766"/>
                  <a:pt x="1086532" y="1943487"/>
                  <a:pt x="1071229" y="1925152"/>
                </a:cubicBezTo>
                <a:cubicBezTo>
                  <a:pt x="1089592" y="1931264"/>
                  <a:pt x="1104896" y="1937375"/>
                  <a:pt x="1120199" y="1946543"/>
                </a:cubicBezTo>
                <a:cubicBezTo>
                  <a:pt x="1123260" y="1940431"/>
                  <a:pt x="1126320" y="1937375"/>
                  <a:pt x="1126320" y="1937375"/>
                </a:cubicBezTo>
                <a:cubicBezTo>
                  <a:pt x="1080411" y="1888482"/>
                  <a:pt x="1031440" y="1839590"/>
                  <a:pt x="985530" y="1790697"/>
                </a:cubicBezTo>
                <a:cubicBezTo>
                  <a:pt x="982470" y="1793753"/>
                  <a:pt x="979409" y="1796808"/>
                  <a:pt x="976348" y="1796808"/>
                </a:cubicBezTo>
                <a:cubicBezTo>
                  <a:pt x="982470" y="1812087"/>
                  <a:pt x="991652" y="1827366"/>
                  <a:pt x="1003894" y="1851813"/>
                </a:cubicBezTo>
                <a:cubicBezTo>
                  <a:pt x="957984" y="1821255"/>
                  <a:pt x="921256" y="1796808"/>
                  <a:pt x="878407" y="1772362"/>
                </a:cubicBezTo>
                <a:cubicBezTo>
                  <a:pt x="893711" y="1763195"/>
                  <a:pt x="899832" y="1757083"/>
                  <a:pt x="909014" y="1750971"/>
                </a:cubicBezTo>
                <a:cubicBezTo>
                  <a:pt x="890650" y="1735692"/>
                  <a:pt x="872286" y="1720413"/>
                  <a:pt x="853922" y="1708190"/>
                </a:cubicBezTo>
                <a:cubicBezTo>
                  <a:pt x="856983" y="1702079"/>
                  <a:pt x="860043" y="1699023"/>
                  <a:pt x="860043" y="1695967"/>
                </a:cubicBezTo>
                <a:cubicBezTo>
                  <a:pt x="899832" y="1714302"/>
                  <a:pt x="936560" y="1735692"/>
                  <a:pt x="982470" y="1757083"/>
                </a:cubicBezTo>
                <a:cubicBezTo>
                  <a:pt x="964106" y="1732637"/>
                  <a:pt x="948802" y="1714302"/>
                  <a:pt x="933499" y="1695967"/>
                </a:cubicBezTo>
                <a:cubicBezTo>
                  <a:pt x="936560" y="1692911"/>
                  <a:pt x="942681" y="1689855"/>
                  <a:pt x="945742" y="1686800"/>
                </a:cubicBezTo>
                <a:cubicBezTo>
                  <a:pt x="967166" y="1695967"/>
                  <a:pt x="988591" y="1708190"/>
                  <a:pt x="1022258" y="1723469"/>
                </a:cubicBezTo>
                <a:cubicBezTo>
                  <a:pt x="1006955" y="1702079"/>
                  <a:pt x="997773" y="1692911"/>
                  <a:pt x="991652" y="1683744"/>
                </a:cubicBezTo>
                <a:cubicBezTo>
                  <a:pt x="994712" y="1680688"/>
                  <a:pt x="997773" y="1677632"/>
                  <a:pt x="997773" y="1677632"/>
                </a:cubicBezTo>
                <a:cubicBezTo>
                  <a:pt x="1016137" y="1699023"/>
                  <a:pt x="1037561" y="1717358"/>
                  <a:pt x="1052865" y="1741804"/>
                </a:cubicBezTo>
                <a:cubicBezTo>
                  <a:pt x="1071229" y="1769306"/>
                  <a:pt x="1089592" y="1799864"/>
                  <a:pt x="1132442" y="1793753"/>
                </a:cubicBezTo>
                <a:cubicBezTo>
                  <a:pt x="1132442" y="1851813"/>
                  <a:pt x="1205897" y="1809032"/>
                  <a:pt x="1205897" y="1864036"/>
                </a:cubicBezTo>
                <a:cubicBezTo>
                  <a:pt x="1208958" y="1860980"/>
                  <a:pt x="1212019" y="1857924"/>
                  <a:pt x="1215079" y="1854869"/>
                </a:cubicBezTo>
                <a:cubicBezTo>
                  <a:pt x="1212019" y="1824311"/>
                  <a:pt x="1208958" y="1793753"/>
                  <a:pt x="1205897" y="1754027"/>
                </a:cubicBezTo>
                <a:cubicBezTo>
                  <a:pt x="1221201" y="1747916"/>
                  <a:pt x="1242625" y="1732637"/>
                  <a:pt x="1267110" y="1720413"/>
                </a:cubicBezTo>
                <a:cubicBezTo>
                  <a:pt x="1251807" y="1711246"/>
                  <a:pt x="1236504" y="1699023"/>
                  <a:pt x="1224261" y="1692911"/>
                </a:cubicBezTo>
                <a:cubicBezTo>
                  <a:pt x="1230383" y="1668465"/>
                  <a:pt x="1233443" y="1653186"/>
                  <a:pt x="1239564" y="1631795"/>
                </a:cubicBezTo>
                <a:cubicBezTo>
                  <a:pt x="1245686" y="1634851"/>
                  <a:pt x="1257928" y="1637907"/>
                  <a:pt x="1276292" y="1640963"/>
                </a:cubicBezTo>
                <a:cubicBezTo>
                  <a:pt x="1270171" y="1628739"/>
                  <a:pt x="1270171" y="1610405"/>
                  <a:pt x="1264050" y="1610405"/>
                </a:cubicBezTo>
                <a:cubicBezTo>
                  <a:pt x="1199776" y="1582903"/>
                  <a:pt x="1152719" y="1529617"/>
                  <a:pt x="1091888" y="1499537"/>
                </a:cubicBezTo>
                <a:lnTo>
                  <a:pt x="1025416" y="1479035"/>
                </a:lnTo>
                <a:lnTo>
                  <a:pt x="1045908" y="1495246"/>
                </a:lnTo>
                <a:cubicBezTo>
                  <a:pt x="1053166" y="1500482"/>
                  <a:pt x="1060232" y="1505813"/>
                  <a:pt x="1065580" y="1512286"/>
                </a:cubicBezTo>
                <a:lnTo>
                  <a:pt x="1065628" y="1512407"/>
                </a:lnTo>
                <a:lnTo>
                  <a:pt x="1065872" y="1512619"/>
                </a:lnTo>
                <a:cubicBezTo>
                  <a:pt x="1076585" y="1525606"/>
                  <a:pt x="1080411" y="1543177"/>
                  <a:pt x="1065107" y="1573735"/>
                </a:cubicBezTo>
                <a:cubicBezTo>
                  <a:pt x="1049804" y="1555400"/>
                  <a:pt x="1035266" y="1537830"/>
                  <a:pt x="1020345" y="1519495"/>
                </a:cubicBezTo>
                <a:lnTo>
                  <a:pt x="981126" y="1470469"/>
                </a:lnTo>
                <a:lnTo>
                  <a:pt x="973138" y="1460499"/>
                </a:lnTo>
                <a:cubicBezTo>
                  <a:pt x="982306" y="1460499"/>
                  <a:pt x="989181" y="1460499"/>
                  <a:pt x="994911" y="1460499"/>
                </a:cubicBezTo>
                <a:lnTo>
                  <a:pt x="1009720" y="1460499"/>
                </a:lnTo>
                <a:lnTo>
                  <a:pt x="973288" y="1439280"/>
                </a:lnTo>
                <a:cubicBezTo>
                  <a:pt x="967166" y="1417889"/>
                  <a:pt x="961045" y="1396499"/>
                  <a:pt x="954924" y="1372052"/>
                </a:cubicBezTo>
                <a:cubicBezTo>
                  <a:pt x="957984" y="1375108"/>
                  <a:pt x="961045" y="1375108"/>
                  <a:pt x="961045" y="1375108"/>
                </a:cubicBezTo>
                <a:cubicBezTo>
                  <a:pt x="970227" y="1341494"/>
                  <a:pt x="976348" y="1310936"/>
                  <a:pt x="982470" y="1277323"/>
                </a:cubicBezTo>
                <a:cubicBezTo>
                  <a:pt x="997773" y="1280378"/>
                  <a:pt x="1025319" y="1280378"/>
                  <a:pt x="1058986" y="1283434"/>
                </a:cubicBezTo>
                <a:cubicBezTo>
                  <a:pt x="1043683" y="1258988"/>
                  <a:pt x="1034501" y="1243709"/>
                  <a:pt x="1022258" y="1225374"/>
                </a:cubicBezTo>
                <a:cubicBezTo>
                  <a:pt x="1034501" y="1222318"/>
                  <a:pt x="1046743" y="1216207"/>
                  <a:pt x="1049804" y="1216207"/>
                </a:cubicBezTo>
                <a:cubicBezTo>
                  <a:pt x="1058986" y="1176481"/>
                  <a:pt x="1065107" y="1145923"/>
                  <a:pt x="1074289" y="1109254"/>
                </a:cubicBezTo>
                <a:cubicBezTo>
                  <a:pt x="1068168" y="1109254"/>
                  <a:pt x="1074289" y="1109254"/>
                  <a:pt x="1086532" y="1106198"/>
                </a:cubicBezTo>
                <a:cubicBezTo>
                  <a:pt x="1080411" y="1097031"/>
                  <a:pt x="1074289" y="1087863"/>
                  <a:pt x="1058986" y="1069528"/>
                </a:cubicBezTo>
                <a:cubicBezTo>
                  <a:pt x="1098774" y="1054249"/>
                  <a:pt x="1132442" y="1042026"/>
                  <a:pt x="1169169" y="1026747"/>
                </a:cubicBezTo>
                <a:cubicBezTo>
                  <a:pt x="1135502" y="996190"/>
                  <a:pt x="1089592" y="956465"/>
                  <a:pt x="1046743" y="916739"/>
                </a:cubicBezTo>
                <a:cubicBezTo>
                  <a:pt x="1049804" y="913683"/>
                  <a:pt x="1049804" y="910627"/>
                  <a:pt x="1052865" y="904516"/>
                </a:cubicBezTo>
                <a:cubicBezTo>
                  <a:pt x="1077350" y="916739"/>
                  <a:pt x="1101835" y="932018"/>
                  <a:pt x="1126320" y="944241"/>
                </a:cubicBezTo>
                <a:lnTo>
                  <a:pt x="1135502" y="938130"/>
                </a:lnTo>
                <a:lnTo>
                  <a:pt x="991652" y="818954"/>
                </a:lnTo>
                <a:cubicBezTo>
                  <a:pt x="994712" y="812842"/>
                  <a:pt x="997773" y="806730"/>
                  <a:pt x="1000833" y="800619"/>
                </a:cubicBezTo>
                <a:cubicBezTo>
                  <a:pt x="1025319" y="812842"/>
                  <a:pt x="1049804" y="818954"/>
                  <a:pt x="1068168" y="834232"/>
                </a:cubicBezTo>
                <a:cubicBezTo>
                  <a:pt x="1123260" y="880069"/>
                  <a:pt x="1172230" y="925907"/>
                  <a:pt x="1224261" y="971743"/>
                </a:cubicBezTo>
                <a:lnTo>
                  <a:pt x="1236504" y="956465"/>
                </a:lnTo>
                <a:lnTo>
                  <a:pt x="1184855" y="915212"/>
                </a:lnTo>
                <a:cubicBezTo>
                  <a:pt x="1167639" y="901461"/>
                  <a:pt x="1150806" y="887710"/>
                  <a:pt x="1135502" y="873958"/>
                </a:cubicBezTo>
                <a:cubicBezTo>
                  <a:pt x="1120199" y="858679"/>
                  <a:pt x="1111017" y="837288"/>
                  <a:pt x="1095714" y="825066"/>
                </a:cubicBezTo>
                <a:cubicBezTo>
                  <a:pt x="1083471" y="809787"/>
                  <a:pt x="1065107" y="797564"/>
                  <a:pt x="1046743" y="785340"/>
                </a:cubicBezTo>
                <a:cubicBezTo>
                  <a:pt x="1031440" y="779229"/>
                  <a:pt x="1016137" y="773118"/>
                  <a:pt x="1000833" y="767005"/>
                </a:cubicBezTo>
                <a:cubicBezTo>
                  <a:pt x="1003894" y="760893"/>
                  <a:pt x="1006955" y="754782"/>
                  <a:pt x="1010015" y="748670"/>
                </a:cubicBezTo>
                <a:cubicBezTo>
                  <a:pt x="1046743" y="767005"/>
                  <a:pt x="1083471" y="785340"/>
                  <a:pt x="1117138" y="803674"/>
                </a:cubicBezTo>
                <a:lnTo>
                  <a:pt x="1123260" y="797564"/>
                </a:lnTo>
                <a:lnTo>
                  <a:pt x="1074289" y="760894"/>
                </a:lnTo>
                <a:lnTo>
                  <a:pt x="1074290" y="760894"/>
                </a:lnTo>
                <a:lnTo>
                  <a:pt x="1074289" y="760893"/>
                </a:lnTo>
                <a:cubicBezTo>
                  <a:pt x="1107956" y="739503"/>
                  <a:pt x="1126320" y="754782"/>
                  <a:pt x="1147745" y="776172"/>
                </a:cubicBezTo>
                <a:cubicBezTo>
                  <a:pt x="1172230" y="803674"/>
                  <a:pt x="1193655" y="846456"/>
                  <a:pt x="1242625" y="806730"/>
                </a:cubicBezTo>
                <a:cubicBezTo>
                  <a:pt x="1251807" y="800619"/>
                  <a:pt x="1279353" y="815898"/>
                  <a:pt x="1294656" y="822009"/>
                </a:cubicBezTo>
                <a:cubicBezTo>
                  <a:pt x="1334445" y="843400"/>
                  <a:pt x="1371173" y="867846"/>
                  <a:pt x="1410961" y="892293"/>
                </a:cubicBezTo>
                <a:lnTo>
                  <a:pt x="1423204" y="880070"/>
                </a:lnTo>
                <a:lnTo>
                  <a:pt x="1352809" y="834233"/>
                </a:lnTo>
                <a:lnTo>
                  <a:pt x="1352809" y="834232"/>
                </a:lnTo>
                <a:cubicBezTo>
                  <a:pt x="1358930" y="831177"/>
                  <a:pt x="1361991" y="825065"/>
                  <a:pt x="1365051" y="822009"/>
                </a:cubicBezTo>
                <a:cubicBezTo>
                  <a:pt x="1429325" y="859443"/>
                  <a:pt x="1472509" y="936650"/>
                  <a:pt x="1554065" y="951272"/>
                </a:cubicBezTo>
                <a:lnTo>
                  <a:pt x="1591539" y="953409"/>
                </a:lnTo>
                <a:lnTo>
                  <a:pt x="1542569" y="922851"/>
                </a:lnTo>
                <a:lnTo>
                  <a:pt x="1567054" y="892293"/>
                </a:lnTo>
                <a:lnTo>
                  <a:pt x="1521145" y="840345"/>
                </a:lnTo>
                <a:lnTo>
                  <a:pt x="1521145" y="840344"/>
                </a:lnTo>
                <a:cubicBezTo>
                  <a:pt x="1524205" y="837288"/>
                  <a:pt x="1524205" y="834232"/>
                  <a:pt x="1527266" y="831177"/>
                </a:cubicBezTo>
                <a:cubicBezTo>
                  <a:pt x="1539509" y="838816"/>
                  <a:pt x="1551751" y="846456"/>
                  <a:pt x="1564759" y="854859"/>
                </a:cubicBezTo>
                <a:lnTo>
                  <a:pt x="1606842" y="883125"/>
                </a:lnTo>
                <a:lnTo>
                  <a:pt x="1537213" y="797564"/>
                </a:lnTo>
                <a:cubicBezTo>
                  <a:pt x="1515023" y="770825"/>
                  <a:pt x="1493599" y="745615"/>
                  <a:pt x="1472174" y="721169"/>
                </a:cubicBezTo>
                <a:cubicBezTo>
                  <a:pt x="1459932" y="708946"/>
                  <a:pt x="1441568" y="702834"/>
                  <a:pt x="1426264" y="693666"/>
                </a:cubicBezTo>
                <a:cubicBezTo>
                  <a:pt x="1447689" y="727280"/>
                  <a:pt x="1472174" y="760894"/>
                  <a:pt x="1496659" y="800619"/>
                </a:cubicBezTo>
                <a:cubicBezTo>
                  <a:pt x="1481356" y="803675"/>
                  <a:pt x="1469114" y="803675"/>
                  <a:pt x="1472174" y="803675"/>
                </a:cubicBezTo>
                <a:lnTo>
                  <a:pt x="1471846" y="803215"/>
                </a:lnTo>
                <a:lnTo>
                  <a:pt x="1471002" y="803275"/>
                </a:lnTo>
                <a:cubicBezTo>
                  <a:pt x="1461843" y="791029"/>
                  <a:pt x="1454211" y="780313"/>
                  <a:pt x="1447342" y="769980"/>
                </a:cubicBezTo>
                <a:lnTo>
                  <a:pt x="1428702" y="739697"/>
                </a:lnTo>
                <a:lnTo>
                  <a:pt x="1407805" y="746171"/>
                </a:lnTo>
                <a:cubicBezTo>
                  <a:pt x="1401779" y="746916"/>
                  <a:pt x="1396806" y="746308"/>
                  <a:pt x="1392597" y="744708"/>
                </a:cubicBezTo>
                <a:lnTo>
                  <a:pt x="1392139" y="744245"/>
                </a:lnTo>
                <a:lnTo>
                  <a:pt x="1391627" y="744196"/>
                </a:lnTo>
                <a:cubicBezTo>
                  <a:pt x="1383231" y="740990"/>
                  <a:pt x="1377889" y="733815"/>
                  <a:pt x="1373309" y="725587"/>
                </a:cubicBezTo>
                <a:lnTo>
                  <a:pt x="1359625" y="700760"/>
                </a:lnTo>
                <a:lnTo>
                  <a:pt x="1337505" y="687555"/>
                </a:lnTo>
                <a:lnTo>
                  <a:pt x="1337553" y="687460"/>
                </a:lnTo>
                <a:lnTo>
                  <a:pt x="1336675" y="686934"/>
                </a:lnTo>
                <a:cubicBezTo>
                  <a:pt x="1339728" y="683872"/>
                  <a:pt x="1339728" y="680810"/>
                  <a:pt x="1342781" y="674687"/>
                </a:cubicBezTo>
                <a:lnTo>
                  <a:pt x="1412792" y="683845"/>
                </a:lnTo>
                <a:lnTo>
                  <a:pt x="1370073" y="661104"/>
                </a:lnTo>
                <a:cubicBezTo>
                  <a:pt x="1332341" y="633315"/>
                  <a:pt x="1312255" y="594353"/>
                  <a:pt x="1300778" y="562268"/>
                </a:cubicBezTo>
                <a:lnTo>
                  <a:pt x="1300778" y="562267"/>
                </a:lnTo>
                <a:cubicBezTo>
                  <a:pt x="1306899" y="534765"/>
                  <a:pt x="1309960" y="519486"/>
                  <a:pt x="1313020" y="504206"/>
                </a:cubicBezTo>
                <a:cubicBezTo>
                  <a:pt x="1329854" y="510318"/>
                  <a:pt x="1348218" y="517193"/>
                  <a:pt x="1367729" y="524833"/>
                </a:cubicBezTo>
                <a:lnTo>
                  <a:pt x="1429325" y="550043"/>
                </a:lnTo>
                <a:lnTo>
                  <a:pt x="1424734" y="535147"/>
                </a:lnTo>
                <a:cubicBezTo>
                  <a:pt x="1423204" y="530945"/>
                  <a:pt x="1421673" y="527126"/>
                  <a:pt x="1420143" y="522542"/>
                </a:cubicBezTo>
                <a:cubicBezTo>
                  <a:pt x="1417082" y="507263"/>
                  <a:pt x="1420143" y="488928"/>
                  <a:pt x="1410961" y="479761"/>
                </a:cubicBezTo>
                <a:cubicBezTo>
                  <a:pt x="1395658" y="461426"/>
                  <a:pt x="1374233" y="449203"/>
                  <a:pt x="1352809" y="436980"/>
                </a:cubicBezTo>
                <a:lnTo>
                  <a:pt x="1352810" y="436979"/>
                </a:lnTo>
                <a:lnTo>
                  <a:pt x="1352809" y="436979"/>
                </a:lnTo>
                <a:cubicBezTo>
                  <a:pt x="1386476" y="427811"/>
                  <a:pt x="1410961" y="421700"/>
                  <a:pt x="1435446" y="418644"/>
                </a:cubicBezTo>
                <a:cubicBezTo>
                  <a:pt x="1447689" y="415588"/>
                  <a:pt x="1459932" y="418644"/>
                  <a:pt x="1472174" y="421700"/>
                </a:cubicBezTo>
                <a:cubicBezTo>
                  <a:pt x="1496659" y="430867"/>
                  <a:pt x="1515023" y="446147"/>
                  <a:pt x="1539509" y="449202"/>
                </a:cubicBezTo>
                <a:cubicBezTo>
                  <a:pt x="1619086" y="464481"/>
                  <a:pt x="1668056" y="528653"/>
                  <a:pt x="1726208" y="571434"/>
                </a:cubicBezTo>
                <a:cubicBezTo>
                  <a:pt x="1811907" y="632550"/>
                  <a:pt x="1894544" y="696722"/>
                  <a:pt x="1980243" y="760893"/>
                </a:cubicBezTo>
                <a:lnTo>
                  <a:pt x="1989425" y="754782"/>
                </a:lnTo>
                <a:lnTo>
                  <a:pt x="1961879" y="693666"/>
                </a:lnTo>
                <a:cubicBezTo>
                  <a:pt x="1937393" y="653941"/>
                  <a:pt x="1915969" y="614215"/>
                  <a:pt x="1888423" y="568379"/>
                </a:cubicBezTo>
                <a:lnTo>
                  <a:pt x="1888423" y="568378"/>
                </a:lnTo>
                <a:cubicBezTo>
                  <a:pt x="1896075" y="569906"/>
                  <a:pt x="1902196" y="571434"/>
                  <a:pt x="1908317" y="572962"/>
                </a:cubicBezTo>
                <a:lnTo>
                  <a:pt x="1928211" y="577545"/>
                </a:lnTo>
                <a:lnTo>
                  <a:pt x="1888423" y="528654"/>
                </a:lnTo>
                <a:lnTo>
                  <a:pt x="1888423" y="528653"/>
                </a:lnTo>
                <a:cubicBezTo>
                  <a:pt x="1891484" y="525597"/>
                  <a:pt x="1894544" y="522541"/>
                  <a:pt x="1897605" y="519486"/>
                </a:cubicBezTo>
                <a:cubicBezTo>
                  <a:pt x="1903726" y="524069"/>
                  <a:pt x="1909848" y="528653"/>
                  <a:pt x="1916352" y="534000"/>
                </a:cubicBezTo>
                <a:lnTo>
                  <a:pt x="1937393" y="553099"/>
                </a:lnTo>
                <a:lnTo>
                  <a:pt x="1928212" y="513374"/>
                </a:lnTo>
                <a:cubicBezTo>
                  <a:pt x="2023092" y="513374"/>
                  <a:pt x="2117972" y="513374"/>
                  <a:pt x="2212852" y="513374"/>
                </a:cubicBezTo>
                <a:cubicBezTo>
                  <a:pt x="2399552" y="513374"/>
                  <a:pt x="2586252" y="513374"/>
                  <a:pt x="2776013" y="513374"/>
                </a:cubicBezTo>
                <a:cubicBezTo>
                  <a:pt x="2812741" y="513374"/>
                  <a:pt x="2849469" y="507262"/>
                  <a:pt x="2883135" y="516430"/>
                </a:cubicBezTo>
                <a:cubicBezTo>
                  <a:pt x="2907621" y="519486"/>
                  <a:pt x="2929045" y="540876"/>
                  <a:pt x="2953531" y="556155"/>
                </a:cubicBezTo>
                <a:cubicBezTo>
                  <a:pt x="2959652" y="560738"/>
                  <a:pt x="2965773" y="565322"/>
                  <a:pt x="2972277" y="568760"/>
                </a:cubicBezTo>
                <a:lnTo>
                  <a:pt x="2993318" y="574489"/>
                </a:lnTo>
                <a:lnTo>
                  <a:pt x="2932106" y="519486"/>
                </a:lnTo>
                <a:cubicBezTo>
                  <a:pt x="2935167" y="516430"/>
                  <a:pt x="2935167" y="516430"/>
                  <a:pt x="2938227" y="513374"/>
                </a:cubicBezTo>
                <a:cubicBezTo>
                  <a:pt x="2950470" y="513374"/>
                  <a:pt x="2968834" y="513374"/>
                  <a:pt x="2971895" y="519486"/>
                </a:cubicBezTo>
                <a:cubicBezTo>
                  <a:pt x="3005562" y="568378"/>
                  <a:pt x="3091260" y="559211"/>
                  <a:pt x="3088199" y="638662"/>
                </a:cubicBezTo>
                <a:cubicBezTo>
                  <a:pt x="3069835" y="629495"/>
                  <a:pt x="3048411" y="617271"/>
                  <a:pt x="3030047" y="605048"/>
                </a:cubicBezTo>
                <a:lnTo>
                  <a:pt x="3023926" y="614215"/>
                </a:lnTo>
                <a:lnTo>
                  <a:pt x="3103503" y="684499"/>
                </a:lnTo>
                <a:lnTo>
                  <a:pt x="3112685" y="675331"/>
                </a:lnTo>
                <a:lnTo>
                  <a:pt x="3100442" y="653941"/>
                </a:lnTo>
                <a:lnTo>
                  <a:pt x="3100442" y="653940"/>
                </a:lnTo>
                <a:cubicBezTo>
                  <a:pt x="3106563" y="656996"/>
                  <a:pt x="3112685" y="656996"/>
                  <a:pt x="3115745" y="660052"/>
                </a:cubicBezTo>
                <a:cubicBezTo>
                  <a:pt x="3158595" y="690610"/>
                  <a:pt x="3201443" y="724224"/>
                  <a:pt x="3244293" y="754782"/>
                </a:cubicBezTo>
                <a:cubicBezTo>
                  <a:pt x="3271839" y="779228"/>
                  <a:pt x="3299385" y="800619"/>
                  <a:pt x="3342234" y="782284"/>
                </a:cubicBezTo>
                <a:cubicBezTo>
                  <a:pt x="3346825" y="779228"/>
                  <a:pt x="3353711" y="778464"/>
                  <a:pt x="3362510" y="778464"/>
                </a:cubicBezTo>
                <a:lnTo>
                  <a:pt x="3394264" y="779228"/>
                </a:lnTo>
                <a:lnTo>
                  <a:pt x="3370927" y="767005"/>
                </a:lnTo>
                <a:cubicBezTo>
                  <a:pt x="3364423" y="763186"/>
                  <a:pt x="3359067" y="759366"/>
                  <a:pt x="3354476" y="754782"/>
                </a:cubicBezTo>
                <a:cubicBezTo>
                  <a:pt x="3336112" y="736448"/>
                  <a:pt x="3320809" y="715057"/>
                  <a:pt x="3302445" y="696722"/>
                </a:cubicBezTo>
                <a:cubicBezTo>
                  <a:pt x="3299385" y="690610"/>
                  <a:pt x="3299385" y="681443"/>
                  <a:pt x="3296324" y="678387"/>
                </a:cubicBezTo>
                <a:cubicBezTo>
                  <a:pt x="3265717" y="660053"/>
                  <a:pt x="3238171" y="644774"/>
                  <a:pt x="3207565" y="626439"/>
                </a:cubicBezTo>
                <a:cubicBezTo>
                  <a:pt x="3195322" y="617271"/>
                  <a:pt x="3176958" y="608104"/>
                  <a:pt x="3170837" y="592825"/>
                </a:cubicBezTo>
                <a:cubicBezTo>
                  <a:pt x="3152473" y="559212"/>
                  <a:pt x="3127988" y="550044"/>
                  <a:pt x="3094321" y="550044"/>
                </a:cubicBezTo>
                <a:cubicBezTo>
                  <a:pt x="3079017" y="550044"/>
                  <a:pt x="3066775" y="537821"/>
                  <a:pt x="3054532" y="531709"/>
                </a:cubicBezTo>
                <a:cubicBezTo>
                  <a:pt x="3057593" y="525597"/>
                  <a:pt x="3057593" y="519486"/>
                  <a:pt x="3060653" y="513374"/>
                </a:cubicBezTo>
                <a:cubicBezTo>
                  <a:pt x="3100442" y="513374"/>
                  <a:pt x="3143291" y="513374"/>
                  <a:pt x="3183080" y="513374"/>
                </a:cubicBezTo>
                <a:cubicBezTo>
                  <a:pt x="3277960" y="510318"/>
                  <a:pt x="3372840" y="501150"/>
                  <a:pt x="3446296" y="574490"/>
                </a:cubicBezTo>
                <a:cubicBezTo>
                  <a:pt x="3449357" y="576018"/>
                  <a:pt x="3452417" y="576782"/>
                  <a:pt x="3456626" y="577545"/>
                </a:cubicBezTo>
                <a:lnTo>
                  <a:pt x="3473841" y="580601"/>
                </a:lnTo>
                <a:lnTo>
                  <a:pt x="3434053" y="516430"/>
                </a:lnTo>
                <a:cubicBezTo>
                  <a:pt x="3434053" y="513374"/>
                  <a:pt x="3434053" y="510318"/>
                  <a:pt x="3437114" y="510318"/>
                </a:cubicBezTo>
                <a:cubicBezTo>
                  <a:pt x="3457009" y="517957"/>
                  <a:pt x="3477668" y="526361"/>
                  <a:pt x="3499475" y="535528"/>
                </a:cubicBezTo>
                <a:lnTo>
                  <a:pt x="3568722" y="565322"/>
                </a:lnTo>
                <a:lnTo>
                  <a:pt x="3562601" y="522542"/>
                </a:lnTo>
                <a:lnTo>
                  <a:pt x="3562601" y="522541"/>
                </a:lnTo>
                <a:cubicBezTo>
                  <a:pt x="3579435" y="533237"/>
                  <a:pt x="3596268" y="543168"/>
                  <a:pt x="3615014" y="554245"/>
                </a:cubicBezTo>
                <a:lnTo>
                  <a:pt x="3678905" y="592825"/>
                </a:lnTo>
                <a:lnTo>
                  <a:pt x="3665132" y="540876"/>
                </a:lnTo>
                <a:cubicBezTo>
                  <a:pt x="3660541" y="525598"/>
                  <a:pt x="3655950" y="511847"/>
                  <a:pt x="3651360" y="498096"/>
                </a:cubicBezTo>
                <a:lnTo>
                  <a:pt x="3651360" y="498095"/>
                </a:lnTo>
                <a:cubicBezTo>
                  <a:pt x="3654420" y="498095"/>
                  <a:pt x="3654420" y="498095"/>
                  <a:pt x="3657481" y="498095"/>
                </a:cubicBezTo>
                <a:lnTo>
                  <a:pt x="3657481" y="430868"/>
                </a:lnTo>
                <a:lnTo>
                  <a:pt x="3657481" y="430867"/>
                </a:lnTo>
                <a:lnTo>
                  <a:pt x="3678905" y="443090"/>
                </a:lnTo>
                <a:lnTo>
                  <a:pt x="3675845" y="427812"/>
                </a:lnTo>
                <a:cubicBezTo>
                  <a:pt x="3657481" y="381975"/>
                  <a:pt x="3636057" y="333082"/>
                  <a:pt x="3614632" y="287246"/>
                </a:cubicBezTo>
                <a:cubicBezTo>
                  <a:pt x="3608511" y="271966"/>
                  <a:pt x="3599329" y="256688"/>
                  <a:pt x="3587086" y="244464"/>
                </a:cubicBezTo>
                <a:cubicBezTo>
                  <a:pt x="3573313" y="230713"/>
                  <a:pt x="3566427" y="222119"/>
                  <a:pt x="3566427" y="205790"/>
                </a:cubicBezTo>
                <a:lnTo>
                  <a:pt x="3566427" y="205789"/>
                </a:lnTo>
                <a:lnTo>
                  <a:pt x="3568722" y="186404"/>
                </a:lnTo>
                <a:lnTo>
                  <a:pt x="3565470" y="157947"/>
                </a:lnTo>
                <a:cubicBezTo>
                  <a:pt x="3557436" y="128726"/>
                  <a:pt x="3537350" y="97786"/>
                  <a:pt x="3525873" y="70284"/>
                </a:cubicBezTo>
                <a:cubicBezTo>
                  <a:pt x="3522812" y="58060"/>
                  <a:pt x="3516691" y="48893"/>
                  <a:pt x="3504448" y="33614"/>
                </a:cubicBezTo>
                <a:cubicBezTo>
                  <a:pt x="3515160" y="36669"/>
                  <a:pt x="3523577" y="39725"/>
                  <a:pt x="3531994" y="43163"/>
                </a:cubicBezTo>
                <a:lnTo>
                  <a:pt x="3559540" y="55004"/>
                </a:lnTo>
                <a:lnTo>
                  <a:pt x="3547680" y="26739"/>
                </a:lnTo>
                <a:cubicBezTo>
                  <a:pt x="3544237" y="18335"/>
                  <a:pt x="3541176" y="10696"/>
                  <a:pt x="3538115" y="3056"/>
                </a:cubicBezTo>
                <a:lnTo>
                  <a:pt x="3538115" y="3055"/>
                </a:lnTo>
                <a:cubicBezTo>
                  <a:pt x="3541176" y="3055"/>
                  <a:pt x="3544237" y="0"/>
                  <a:pt x="3547297"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9208519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odulo Port">
    <p:spTree>
      <p:nvGrpSpPr>
        <p:cNvPr id="1" name=""/>
        <p:cNvGrpSpPr/>
        <p:nvPr/>
      </p:nvGrpSpPr>
      <p:grpSpPr>
        <a:xfrm>
          <a:off x="0" y="0"/>
          <a:ext cx="0" cy="0"/>
          <a:chOff x="0" y="0"/>
          <a:chExt cx="0" cy="0"/>
        </a:xfrm>
      </p:grpSpPr>
      <p:sp>
        <p:nvSpPr>
          <p:cNvPr id="2" name="Rectangle 1"/>
          <p:cNvSpPr/>
          <p:nvPr userDrawn="1"/>
        </p:nvSpPr>
        <p:spPr>
          <a:xfrm>
            <a:off x="14223698" y="0"/>
            <a:ext cx="1978327" cy="21737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00150"/>
            <a:endParaRPr lang="es-CL" sz="2361">
              <a:solidFill>
                <a:prstClr val="white"/>
              </a:solidFill>
            </a:endParaRPr>
          </a:p>
        </p:txBody>
      </p:sp>
      <p:sp>
        <p:nvSpPr>
          <p:cNvPr id="10" name="Picture Placeholder 9">
            <a:extLst>
              <a:ext uri="{FF2B5EF4-FFF2-40B4-BE49-F238E27FC236}">
                <a16:creationId xmlns:a16="http://schemas.microsoft.com/office/drawing/2014/main" xmlns="" id="{0ADB3200-00BD-4CAE-B503-64C855DD0F19}"/>
              </a:ext>
            </a:extLst>
          </p:cNvPr>
          <p:cNvSpPr>
            <a:spLocks noGrp="1"/>
          </p:cNvSpPr>
          <p:nvPr>
            <p:ph type="pic" sz="quarter" idx="13"/>
          </p:nvPr>
        </p:nvSpPr>
        <p:spPr>
          <a:xfrm>
            <a:off x="385577" y="531123"/>
            <a:ext cx="15430871" cy="4855703"/>
          </a:xfrm>
          <a:custGeom>
            <a:avLst/>
            <a:gdLst>
              <a:gd name="connsiteX0" fmla="*/ 6061542 w 11611708"/>
              <a:gd name="connsiteY0" fmla="*/ 3663588 h 3699583"/>
              <a:gd name="connsiteX1" fmla="*/ 6052129 w 11611708"/>
              <a:gd name="connsiteY1" fmla="*/ 3668382 h 3699583"/>
              <a:gd name="connsiteX2" fmla="*/ 6046467 w 11611708"/>
              <a:gd name="connsiteY2" fmla="*/ 3668382 h 3699583"/>
              <a:gd name="connsiteX3" fmla="*/ 6064941 w 11611708"/>
              <a:gd name="connsiteY3" fmla="*/ 3662506 h 3699583"/>
              <a:gd name="connsiteX4" fmla="*/ 6061542 w 11611708"/>
              <a:gd name="connsiteY4" fmla="*/ 3663588 h 3699583"/>
              <a:gd name="connsiteX5" fmla="*/ 6063452 w 11611708"/>
              <a:gd name="connsiteY5" fmla="*/ 3662615 h 3699583"/>
              <a:gd name="connsiteX6" fmla="*/ 7535438 w 11611708"/>
              <a:gd name="connsiteY6" fmla="*/ 3642017 h 3699583"/>
              <a:gd name="connsiteX7" fmla="*/ 7532607 w 11611708"/>
              <a:gd name="connsiteY7" fmla="*/ 3643665 h 3699583"/>
              <a:gd name="connsiteX8" fmla="*/ 7528361 w 11611708"/>
              <a:gd name="connsiteY8" fmla="*/ 3646137 h 3699583"/>
              <a:gd name="connsiteX9" fmla="*/ 7528361 w 11611708"/>
              <a:gd name="connsiteY9" fmla="*/ 3646137 h 3699583"/>
              <a:gd name="connsiteX10" fmla="*/ 7535438 w 11611708"/>
              <a:gd name="connsiteY10" fmla="*/ 3642017 h 3699583"/>
              <a:gd name="connsiteX11" fmla="*/ 2731121 w 11611708"/>
              <a:gd name="connsiteY11" fmla="*/ 3641328 h 3699583"/>
              <a:gd name="connsiteX12" fmla="*/ 2745821 w 11611708"/>
              <a:gd name="connsiteY12" fmla="*/ 3642017 h 3699583"/>
              <a:gd name="connsiteX13" fmla="*/ 2734498 w 11611708"/>
              <a:gd name="connsiteY13" fmla="*/ 3645313 h 3699583"/>
              <a:gd name="connsiteX14" fmla="*/ 5791701 w 11611708"/>
              <a:gd name="connsiteY14" fmla="*/ 3635426 h 3699583"/>
              <a:gd name="connsiteX15" fmla="*/ 5984191 w 11611708"/>
              <a:gd name="connsiteY15" fmla="*/ 3661791 h 3699583"/>
              <a:gd name="connsiteX16" fmla="*/ 5746409 w 11611708"/>
              <a:gd name="connsiteY16" fmla="*/ 3661791 h 3699583"/>
              <a:gd name="connsiteX17" fmla="*/ 5791701 w 11611708"/>
              <a:gd name="connsiteY17" fmla="*/ 3651904 h 3699583"/>
              <a:gd name="connsiteX18" fmla="*/ 11124820 w 11611708"/>
              <a:gd name="connsiteY18" fmla="*/ 1849220 h 3699583"/>
              <a:gd name="connsiteX19" fmla="*/ 11113497 w 11611708"/>
              <a:gd name="connsiteY19" fmla="*/ 1852516 h 3699583"/>
              <a:gd name="connsiteX20" fmla="*/ 11109985 w 11611708"/>
              <a:gd name="connsiteY20" fmla="*/ 1850982 h 3699583"/>
              <a:gd name="connsiteX21" fmla="*/ 11095381 w 11611708"/>
              <a:gd name="connsiteY21" fmla="*/ 1844607 h 3699583"/>
              <a:gd name="connsiteX22" fmla="*/ 11109985 w 11611708"/>
              <a:gd name="connsiteY22" fmla="*/ 1850982 h 3699583"/>
              <a:gd name="connsiteX23" fmla="*/ 11107482 w 11611708"/>
              <a:gd name="connsiteY23" fmla="*/ 1851280 h 3699583"/>
              <a:gd name="connsiteX24" fmla="*/ 11096513 w 11611708"/>
              <a:gd name="connsiteY24" fmla="*/ 1845924 h 3699583"/>
              <a:gd name="connsiteX25" fmla="*/ 11085190 w 11611708"/>
              <a:gd name="connsiteY25" fmla="*/ 1832742 h 3699583"/>
              <a:gd name="connsiteX26" fmla="*/ 11095381 w 11611708"/>
              <a:gd name="connsiteY26" fmla="*/ 1844607 h 3699583"/>
              <a:gd name="connsiteX27" fmla="*/ 11093682 w 11611708"/>
              <a:gd name="connsiteY27" fmla="*/ 1843865 h 3699583"/>
              <a:gd name="connsiteX28" fmla="*/ 11090851 w 11611708"/>
              <a:gd name="connsiteY28" fmla="*/ 1842629 h 3699583"/>
              <a:gd name="connsiteX29" fmla="*/ 11056882 w 11611708"/>
              <a:gd name="connsiteY29" fmla="*/ 1849220 h 3699583"/>
              <a:gd name="connsiteX30" fmla="*/ 11085190 w 11611708"/>
              <a:gd name="connsiteY30" fmla="*/ 1832742 h 3699583"/>
              <a:gd name="connsiteX31" fmla="*/ 10918176 w 11611708"/>
              <a:gd name="connsiteY31" fmla="*/ 398 h 3699583"/>
              <a:gd name="connsiteX32" fmla="*/ 11221065 w 11611708"/>
              <a:gd name="connsiteY32" fmla="*/ 13580 h 3699583"/>
              <a:gd name="connsiteX33" fmla="*/ 11317311 w 11611708"/>
              <a:gd name="connsiteY33" fmla="*/ 89379 h 3699583"/>
              <a:gd name="connsiteX34" fmla="*/ 11226727 w 11611708"/>
              <a:gd name="connsiteY34" fmla="*/ 79492 h 3699583"/>
              <a:gd name="connsiteX35" fmla="*/ 11221065 w 11611708"/>
              <a:gd name="connsiteY35" fmla="*/ 43240 h 3699583"/>
              <a:gd name="connsiteX36" fmla="*/ 11181435 w 11611708"/>
              <a:gd name="connsiteY36" fmla="*/ 63014 h 3699583"/>
              <a:gd name="connsiteX37" fmla="*/ 11164451 w 11611708"/>
              <a:gd name="connsiteY37" fmla="*/ 46536 h 3699583"/>
              <a:gd name="connsiteX38" fmla="*/ 11113497 w 11611708"/>
              <a:gd name="connsiteY38" fmla="*/ 82787 h 3699583"/>
              <a:gd name="connsiteX39" fmla="*/ 11102174 w 11611708"/>
              <a:gd name="connsiteY39" fmla="*/ 135517 h 3699583"/>
              <a:gd name="connsiteX40" fmla="*/ 11056882 w 11611708"/>
              <a:gd name="connsiteY40" fmla="*/ 95970 h 3699583"/>
              <a:gd name="connsiteX41" fmla="*/ 11022913 w 11611708"/>
              <a:gd name="connsiteY41" fmla="*/ 142108 h 3699583"/>
              <a:gd name="connsiteX42" fmla="*/ 11005929 w 11611708"/>
              <a:gd name="connsiteY42" fmla="*/ 128926 h 3699583"/>
              <a:gd name="connsiteX43" fmla="*/ 10966299 w 11611708"/>
              <a:gd name="connsiteY43" fmla="*/ 151995 h 3699583"/>
              <a:gd name="connsiteX44" fmla="*/ 11079528 w 11611708"/>
              <a:gd name="connsiteY44" fmla="*/ 194837 h 3699583"/>
              <a:gd name="connsiteX45" fmla="*/ 11215404 w 11611708"/>
              <a:gd name="connsiteY45" fmla="*/ 175064 h 3699583"/>
              <a:gd name="connsiteX46" fmla="*/ 11130482 w 11611708"/>
              <a:gd name="connsiteY46" fmla="*/ 198133 h 3699583"/>
              <a:gd name="connsiteX47" fmla="*/ 11028575 w 11611708"/>
              <a:gd name="connsiteY47" fmla="*/ 214611 h 3699583"/>
              <a:gd name="connsiteX48" fmla="*/ 11164451 w 11611708"/>
              <a:gd name="connsiteY48" fmla="*/ 237680 h 3699583"/>
              <a:gd name="connsiteX49" fmla="*/ 11147466 w 11611708"/>
              <a:gd name="connsiteY49" fmla="*/ 247567 h 3699583"/>
              <a:gd name="connsiteX50" fmla="*/ 11164451 w 11611708"/>
              <a:gd name="connsiteY50" fmla="*/ 250862 h 3699583"/>
              <a:gd name="connsiteX51" fmla="*/ 11153128 w 11611708"/>
              <a:gd name="connsiteY51" fmla="*/ 267340 h 3699583"/>
              <a:gd name="connsiteX52" fmla="*/ 11130482 w 11611708"/>
              <a:gd name="connsiteY52" fmla="*/ 254158 h 3699583"/>
              <a:gd name="connsiteX53" fmla="*/ 11051221 w 11611708"/>
              <a:gd name="connsiteY53" fmla="*/ 277227 h 3699583"/>
              <a:gd name="connsiteX54" fmla="*/ 11000268 w 11611708"/>
              <a:gd name="connsiteY54" fmla="*/ 313478 h 3699583"/>
              <a:gd name="connsiteX55" fmla="*/ 11017252 w 11611708"/>
              <a:gd name="connsiteY55" fmla="*/ 333252 h 3699583"/>
              <a:gd name="connsiteX56" fmla="*/ 11073867 w 11611708"/>
              <a:gd name="connsiteY56" fmla="*/ 320069 h 3699583"/>
              <a:gd name="connsiteX57" fmla="*/ 11102174 w 11611708"/>
              <a:gd name="connsiteY57" fmla="*/ 339843 h 3699583"/>
              <a:gd name="connsiteX58" fmla="*/ 11022913 w 11611708"/>
              <a:gd name="connsiteY58" fmla="*/ 362912 h 3699583"/>
              <a:gd name="connsiteX59" fmla="*/ 10994606 w 11611708"/>
              <a:gd name="connsiteY59" fmla="*/ 382686 h 3699583"/>
              <a:gd name="connsiteX60" fmla="*/ 11017252 w 11611708"/>
              <a:gd name="connsiteY60" fmla="*/ 474962 h 3699583"/>
              <a:gd name="connsiteX61" fmla="*/ 11413556 w 11611708"/>
              <a:gd name="connsiteY61" fmla="*/ 474962 h 3699583"/>
              <a:gd name="connsiteX62" fmla="*/ 11492817 w 11611708"/>
              <a:gd name="connsiteY62" fmla="*/ 521100 h 3699583"/>
              <a:gd name="connsiteX63" fmla="*/ 11566416 w 11611708"/>
              <a:gd name="connsiteY63" fmla="*/ 544169 h 3699583"/>
              <a:gd name="connsiteX64" fmla="*/ 11470171 w 11611708"/>
              <a:gd name="connsiteY64" fmla="*/ 596898 h 3699583"/>
              <a:gd name="connsiteX65" fmla="*/ 11470171 w 11611708"/>
              <a:gd name="connsiteY65" fmla="*/ 610081 h 3699583"/>
              <a:gd name="connsiteX66" fmla="*/ 11526786 w 11611708"/>
              <a:gd name="connsiteY66" fmla="*/ 613376 h 3699583"/>
              <a:gd name="connsiteX67" fmla="*/ 11509801 w 11611708"/>
              <a:gd name="connsiteY67" fmla="*/ 669401 h 3699583"/>
              <a:gd name="connsiteX68" fmla="*/ 11498478 w 11611708"/>
              <a:gd name="connsiteY68" fmla="*/ 675992 h 3699583"/>
              <a:gd name="connsiteX69" fmla="*/ 11538109 w 11611708"/>
              <a:gd name="connsiteY69" fmla="*/ 741904 h 3699583"/>
              <a:gd name="connsiteX70" fmla="*/ 11492817 w 11611708"/>
              <a:gd name="connsiteY70" fmla="*/ 761678 h 3699583"/>
              <a:gd name="connsiteX71" fmla="*/ 11538109 w 11611708"/>
              <a:gd name="connsiteY71" fmla="*/ 814407 h 3699583"/>
              <a:gd name="connsiteX72" fmla="*/ 11538109 w 11611708"/>
              <a:gd name="connsiteY72" fmla="*/ 939639 h 3699583"/>
              <a:gd name="connsiteX73" fmla="*/ 11509801 w 11611708"/>
              <a:gd name="connsiteY73" fmla="*/ 1081349 h 3699583"/>
              <a:gd name="connsiteX74" fmla="*/ 11441863 w 11611708"/>
              <a:gd name="connsiteY74" fmla="*/ 1107714 h 3699583"/>
              <a:gd name="connsiteX75" fmla="*/ 11447525 w 11611708"/>
              <a:gd name="connsiteY75" fmla="*/ 1242833 h 3699583"/>
              <a:gd name="connsiteX76" fmla="*/ 11481494 w 11611708"/>
              <a:gd name="connsiteY76" fmla="*/ 1269197 h 3699583"/>
              <a:gd name="connsiteX77" fmla="*/ 11322972 w 11611708"/>
              <a:gd name="connsiteY77" fmla="*/ 1341700 h 3699583"/>
              <a:gd name="connsiteX78" fmla="*/ 11294665 w 11611708"/>
              <a:gd name="connsiteY78" fmla="*/ 1374656 h 3699583"/>
              <a:gd name="connsiteX79" fmla="*/ 10643594 w 11611708"/>
              <a:gd name="connsiteY79" fmla="*/ 1410907 h 3699583"/>
              <a:gd name="connsiteX80" fmla="*/ 10722855 w 11611708"/>
              <a:gd name="connsiteY80" fmla="*/ 1447159 h 3699583"/>
              <a:gd name="connsiteX81" fmla="*/ 10734178 w 11611708"/>
              <a:gd name="connsiteY81" fmla="*/ 1430681 h 3699583"/>
              <a:gd name="connsiteX82" fmla="*/ 10711532 w 11611708"/>
              <a:gd name="connsiteY82" fmla="*/ 1417499 h 3699583"/>
              <a:gd name="connsiteX83" fmla="*/ 10830423 w 11611708"/>
              <a:gd name="connsiteY83" fmla="*/ 1440568 h 3699583"/>
              <a:gd name="connsiteX84" fmla="*/ 10841746 w 11611708"/>
              <a:gd name="connsiteY84" fmla="*/ 1417499 h 3699583"/>
              <a:gd name="connsiteX85" fmla="*/ 10904022 w 11611708"/>
              <a:gd name="connsiteY85" fmla="*/ 1424090 h 3699583"/>
              <a:gd name="connsiteX86" fmla="*/ 10875715 w 11611708"/>
              <a:gd name="connsiteY86" fmla="*/ 1427385 h 3699583"/>
              <a:gd name="connsiteX87" fmla="*/ 10932330 w 11611708"/>
              <a:gd name="connsiteY87" fmla="*/ 1509775 h 3699583"/>
              <a:gd name="connsiteX88" fmla="*/ 10949314 w 11611708"/>
              <a:gd name="connsiteY88" fmla="*/ 1582278 h 3699583"/>
              <a:gd name="connsiteX89" fmla="*/ 11011590 w 11611708"/>
              <a:gd name="connsiteY89" fmla="*/ 1575687 h 3699583"/>
              <a:gd name="connsiteX90" fmla="*/ 10949314 w 11611708"/>
              <a:gd name="connsiteY90" fmla="*/ 1598756 h 3699583"/>
              <a:gd name="connsiteX91" fmla="*/ 10966299 w 11611708"/>
              <a:gd name="connsiteY91" fmla="*/ 1615234 h 3699583"/>
              <a:gd name="connsiteX92" fmla="*/ 10977622 w 11611708"/>
              <a:gd name="connsiteY92" fmla="*/ 1611938 h 3699583"/>
              <a:gd name="connsiteX93" fmla="*/ 10949314 w 11611708"/>
              <a:gd name="connsiteY93" fmla="*/ 1684441 h 3699583"/>
              <a:gd name="connsiteX94" fmla="*/ 10943653 w 11611708"/>
              <a:gd name="connsiteY94" fmla="*/ 1750353 h 3699583"/>
              <a:gd name="connsiteX95" fmla="*/ 11039898 w 11611708"/>
              <a:gd name="connsiteY95" fmla="*/ 1770126 h 3699583"/>
              <a:gd name="connsiteX96" fmla="*/ 11045559 w 11611708"/>
              <a:gd name="connsiteY96" fmla="*/ 1770126 h 3699583"/>
              <a:gd name="connsiteX97" fmla="*/ 11051221 w 11611708"/>
              <a:gd name="connsiteY97" fmla="*/ 1780013 h 3699583"/>
              <a:gd name="connsiteX98" fmla="*/ 10966299 w 11611708"/>
              <a:gd name="connsiteY98" fmla="*/ 1809673 h 3699583"/>
              <a:gd name="connsiteX99" fmla="*/ 11056882 w 11611708"/>
              <a:gd name="connsiteY99" fmla="*/ 1849220 h 3699583"/>
              <a:gd name="connsiteX100" fmla="*/ 10954976 w 11611708"/>
              <a:gd name="connsiteY100" fmla="*/ 1842629 h 3699583"/>
              <a:gd name="connsiteX101" fmla="*/ 10909684 w 11611708"/>
              <a:gd name="connsiteY101" fmla="*/ 1934905 h 3699583"/>
              <a:gd name="connsiteX102" fmla="*/ 10954976 w 11611708"/>
              <a:gd name="connsiteY102" fmla="*/ 1954679 h 3699583"/>
              <a:gd name="connsiteX103" fmla="*/ 10921007 w 11611708"/>
              <a:gd name="connsiteY103" fmla="*/ 2079911 h 3699583"/>
              <a:gd name="connsiteX104" fmla="*/ 10932330 w 11611708"/>
              <a:gd name="connsiteY104" fmla="*/ 2086502 h 3699583"/>
              <a:gd name="connsiteX105" fmla="*/ 10847407 w 11611708"/>
              <a:gd name="connsiteY105" fmla="*/ 2126049 h 3699583"/>
              <a:gd name="connsiteX106" fmla="*/ 10819100 w 11611708"/>
              <a:gd name="connsiteY106" fmla="*/ 2106276 h 3699583"/>
              <a:gd name="connsiteX107" fmla="*/ 10666240 w 11611708"/>
              <a:gd name="connsiteY107" fmla="*/ 2142527 h 3699583"/>
              <a:gd name="connsiteX108" fmla="*/ 10756824 w 11611708"/>
              <a:gd name="connsiteY108" fmla="*/ 2159005 h 3699583"/>
              <a:gd name="connsiteX109" fmla="*/ 10626609 w 11611708"/>
              <a:gd name="connsiteY109" fmla="*/ 2178778 h 3699583"/>
              <a:gd name="connsiteX110" fmla="*/ 10728516 w 11611708"/>
              <a:gd name="connsiteY110" fmla="*/ 2195256 h 3699583"/>
              <a:gd name="connsiteX111" fmla="*/ 10666240 w 11611708"/>
              <a:gd name="connsiteY111" fmla="*/ 2231508 h 3699583"/>
              <a:gd name="connsiteX112" fmla="*/ 10671901 w 11611708"/>
              <a:gd name="connsiteY112" fmla="*/ 2353444 h 3699583"/>
              <a:gd name="connsiteX113" fmla="*/ 10887038 w 11611708"/>
              <a:gd name="connsiteY113" fmla="*/ 2376513 h 3699583"/>
              <a:gd name="connsiteX114" fmla="*/ 11255034 w 11611708"/>
              <a:gd name="connsiteY114" fmla="*/ 2363331 h 3699583"/>
              <a:gd name="connsiteX115" fmla="*/ 11260696 w 11611708"/>
              <a:gd name="connsiteY115" fmla="*/ 2379809 h 3699583"/>
              <a:gd name="connsiteX116" fmla="*/ 11124820 w 11611708"/>
              <a:gd name="connsiteY116" fmla="*/ 2396287 h 3699583"/>
              <a:gd name="connsiteX117" fmla="*/ 10807777 w 11611708"/>
              <a:gd name="connsiteY117" fmla="*/ 2406174 h 3699583"/>
              <a:gd name="connsiteX118" fmla="*/ 10768147 w 11611708"/>
              <a:gd name="connsiteY118" fmla="*/ 2432538 h 3699583"/>
              <a:gd name="connsiteX119" fmla="*/ 10705870 w 11611708"/>
              <a:gd name="connsiteY119" fmla="*/ 2406174 h 3699583"/>
              <a:gd name="connsiteX120" fmla="*/ 10654917 w 11611708"/>
              <a:gd name="connsiteY120" fmla="*/ 2481972 h 3699583"/>
              <a:gd name="connsiteX121" fmla="*/ 11322972 w 11611708"/>
              <a:gd name="connsiteY121" fmla="*/ 2518224 h 3699583"/>
              <a:gd name="connsiteX122" fmla="*/ 11373926 w 11611708"/>
              <a:gd name="connsiteY122" fmla="*/ 2597318 h 3699583"/>
              <a:gd name="connsiteX123" fmla="*/ 11385249 w 11611708"/>
              <a:gd name="connsiteY123" fmla="*/ 2633569 h 3699583"/>
              <a:gd name="connsiteX124" fmla="*/ 11390910 w 11611708"/>
              <a:gd name="connsiteY124" fmla="*/ 2706072 h 3699583"/>
              <a:gd name="connsiteX125" fmla="*/ 11526786 w 11611708"/>
              <a:gd name="connsiteY125" fmla="*/ 2699481 h 3699583"/>
              <a:gd name="connsiteX126" fmla="*/ 11611708 w 11611708"/>
              <a:gd name="connsiteY126" fmla="*/ 2706072 h 3699583"/>
              <a:gd name="connsiteX127" fmla="*/ 11385249 w 11611708"/>
              <a:gd name="connsiteY127" fmla="*/ 2748914 h 3699583"/>
              <a:gd name="connsiteX128" fmla="*/ 11498478 w 11611708"/>
              <a:gd name="connsiteY128" fmla="*/ 2775279 h 3699583"/>
              <a:gd name="connsiteX129" fmla="*/ 11424879 w 11611708"/>
              <a:gd name="connsiteY129" fmla="*/ 2785166 h 3699583"/>
              <a:gd name="connsiteX130" fmla="*/ 11385249 w 11611708"/>
              <a:gd name="connsiteY130" fmla="*/ 2778575 h 3699583"/>
              <a:gd name="connsiteX131" fmla="*/ 11373926 w 11611708"/>
              <a:gd name="connsiteY131" fmla="*/ 2791757 h 3699583"/>
              <a:gd name="connsiteX132" fmla="*/ 11413556 w 11611708"/>
              <a:gd name="connsiteY132" fmla="*/ 2798348 h 3699583"/>
              <a:gd name="connsiteX133" fmla="*/ 11419217 w 11611708"/>
              <a:gd name="connsiteY133" fmla="*/ 2828008 h 3699583"/>
              <a:gd name="connsiteX134" fmla="*/ 11492817 w 11611708"/>
              <a:gd name="connsiteY134" fmla="*/ 2837895 h 3699583"/>
              <a:gd name="connsiteX135" fmla="*/ 11396572 w 11611708"/>
              <a:gd name="connsiteY135" fmla="*/ 2897216 h 3699583"/>
              <a:gd name="connsiteX136" fmla="*/ 11424879 w 11611708"/>
              <a:gd name="connsiteY136" fmla="*/ 2930171 h 3699583"/>
              <a:gd name="connsiteX137" fmla="*/ 11498478 w 11611708"/>
              <a:gd name="connsiteY137" fmla="*/ 2913694 h 3699583"/>
              <a:gd name="connsiteX138" fmla="*/ 11498478 w 11611708"/>
              <a:gd name="connsiteY138" fmla="*/ 2903807 h 3699583"/>
              <a:gd name="connsiteX139" fmla="*/ 11526786 w 11611708"/>
              <a:gd name="connsiteY139" fmla="*/ 2923580 h 3699583"/>
              <a:gd name="connsiteX140" fmla="*/ 11424879 w 11611708"/>
              <a:gd name="connsiteY140" fmla="*/ 2963127 h 3699583"/>
              <a:gd name="connsiteX141" fmla="*/ 11419217 w 11611708"/>
              <a:gd name="connsiteY141" fmla="*/ 2943354 h 3699583"/>
              <a:gd name="connsiteX142" fmla="*/ 11373926 w 11611708"/>
              <a:gd name="connsiteY142" fmla="*/ 2956536 h 3699583"/>
              <a:gd name="connsiteX143" fmla="*/ 11402233 w 11611708"/>
              <a:gd name="connsiteY143" fmla="*/ 2982901 h 3699583"/>
              <a:gd name="connsiteX144" fmla="*/ 11481494 w 11611708"/>
              <a:gd name="connsiteY144" fmla="*/ 2989492 h 3699583"/>
              <a:gd name="connsiteX145" fmla="*/ 11481494 w 11611708"/>
              <a:gd name="connsiteY145" fmla="*/ 2996083 h 3699583"/>
              <a:gd name="connsiteX146" fmla="*/ 11407895 w 11611708"/>
              <a:gd name="connsiteY146" fmla="*/ 2999379 h 3699583"/>
              <a:gd name="connsiteX147" fmla="*/ 11413556 w 11611708"/>
              <a:gd name="connsiteY147" fmla="*/ 3101542 h 3699583"/>
              <a:gd name="connsiteX148" fmla="*/ 11481494 w 11611708"/>
              <a:gd name="connsiteY148" fmla="*/ 3134498 h 3699583"/>
              <a:gd name="connsiteX149" fmla="*/ 11424879 w 11611708"/>
              <a:gd name="connsiteY149" fmla="*/ 3177340 h 3699583"/>
              <a:gd name="connsiteX150" fmla="*/ 11470171 w 11611708"/>
              <a:gd name="connsiteY150" fmla="*/ 3164158 h 3699583"/>
              <a:gd name="connsiteX151" fmla="*/ 11481494 w 11611708"/>
              <a:gd name="connsiteY151" fmla="*/ 3187227 h 3699583"/>
              <a:gd name="connsiteX152" fmla="*/ 11390910 w 11611708"/>
              <a:gd name="connsiteY152" fmla="*/ 3203705 h 3699583"/>
              <a:gd name="connsiteX153" fmla="*/ 11390910 w 11611708"/>
              <a:gd name="connsiteY153" fmla="*/ 3246547 h 3699583"/>
              <a:gd name="connsiteX154" fmla="*/ 11119159 w 11611708"/>
              <a:gd name="connsiteY154" fmla="*/ 3266321 h 3699583"/>
              <a:gd name="connsiteX155" fmla="*/ 10785131 w 11611708"/>
              <a:gd name="connsiteY155" fmla="*/ 3259730 h 3699583"/>
              <a:gd name="connsiteX156" fmla="*/ 10751162 w 11611708"/>
              <a:gd name="connsiteY156" fmla="*/ 3282799 h 3699583"/>
              <a:gd name="connsiteX157" fmla="*/ 10802115 w 11611708"/>
              <a:gd name="connsiteY157" fmla="*/ 3305868 h 3699583"/>
              <a:gd name="connsiteX158" fmla="*/ 10807777 w 11611708"/>
              <a:gd name="connsiteY158" fmla="*/ 3302572 h 3699583"/>
              <a:gd name="connsiteX159" fmla="*/ 10807777 w 11611708"/>
              <a:gd name="connsiteY159" fmla="*/ 3533263 h 3699583"/>
              <a:gd name="connsiteX160" fmla="*/ 10739839 w 11611708"/>
              <a:gd name="connsiteY160" fmla="*/ 3582697 h 3699583"/>
              <a:gd name="connsiteX161" fmla="*/ 10434119 w 11611708"/>
              <a:gd name="connsiteY161" fmla="*/ 3661791 h 3699583"/>
              <a:gd name="connsiteX162" fmla="*/ 10032153 w 11611708"/>
              <a:gd name="connsiteY162" fmla="*/ 3668382 h 3699583"/>
              <a:gd name="connsiteX163" fmla="*/ 10134060 w 11611708"/>
              <a:gd name="connsiteY163" fmla="*/ 3642017 h 3699583"/>
              <a:gd name="connsiteX164" fmla="*/ 10162368 w 11611708"/>
              <a:gd name="connsiteY164" fmla="*/ 3651904 h 3699583"/>
              <a:gd name="connsiteX165" fmla="*/ 10185014 w 11611708"/>
              <a:gd name="connsiteY165" fmla="*/ 3638722 h 3699583"/>
              <a:gd name="connsiteX166" fmla="*/ 10026492 w 11611708"/>
              <a:gd name="connsiteY166" fmla="*/ 3618948 h 3699583"/>
              <a:gd name="connsiteX167" fmla="*/ 9975539 w 11611708"/>
              <a:gd name="connsiteY167" fmla="*/ 3638722 h 3699583"/>
              <a:gd name="connsiteX168" fmla="*/ 10003846 w 11611708"/>
              <a:gd name="connsiteY168" fmla="*/ 3651904 h 3699583"/>
              <a:gd name="connsiteX169" fmla="*/ 10003846 w 11611708"/>
              <a:gd name="connsiteY169" fmla="*/ 3665756 h 3699583"/>
              <a:gd name="connsiteX170" fmla="*/ 10003846 w 11611708"/>
              <a:gd name="connsiteY170" fmla="*/ 3678269 h 3699583"/>
              <a:gd name="connsiteX171" fmla="*/ 9850986 w 11611708"/>
              <a:gd name="connsiteY171" fmla="*/ 3668382 h 3699583"/>
              <a:gd name="connsiteX172" fmla="*/ 9913262 w 11611708"/>
              <a:gd name="connsiteY172" fmla="*/ 3655200 h 3699583"/>
              <a:gd name="connsiteX173" fmla="*/ 9890616 w 11611708"/>
              <a:gd name="connsiteY173" fmla="*/ 3628835 h 3699583"/>
              <a:gd name="connsiteX174" fmla="*/ 9760402 w 11611708"/>
              <a:gd name="connsiteY174" fmla="*/ 3635426 h 3699583"/>
              <a:gd name="connsiteX175" fmla="*/ 9817017 w 11611708"/>
              <a:gd name="connsiteY175" fmla="*/ 3655200 h 3699583"/>
              <a:gd name="connsiteX176" fmla="*/ 9794371 w 11611708"/>
              <a:gd name="connsiteY176" fmla="*/ 3681564 h 3699583"/>
              <a:gd name="connsiteX177" fmla="*/ 9482989 w 11611708"/>
              <a:gd name="connsiteY177" fmla="*/ 3678269 h 3699583"/>
              <a:gd name="connsiteX178" fmla="*/ 9482989 w 11611708"/>
              <a:gd name="connsiteY178" fmla="*/ 3671678 h 3699583"/>
              <a:gd name="connsiteX179" fmla="*/ 9432036 w 11611708"/>
              <a:gd name="connsiteY179" fmla="*/ 3678269 h 3699583"/>
              <a:gd name="connsiteX180" fmla="*/ 9347114 w 11611708"/>
              <a:gd name="connsiteY180" fmla="*/ 3661791 h 3699583"/>
              <a:gd name="connsiteX181" fmla="*/ 9460343 w 11611708"/>
              <a:gd name="connsiteY181" fmla="*/ 3645313 h 3699583"/>
              <a:gd name="connsiteX182" fmla="*/ 9392405 w 11611708"/>
              <a:gd name="connsiteY182" fmla="*/ 3628835 h 3699583"/>
              <a:gd name="connsiteX183" fmla="*/ 9403728 w 11611708"/>
              <a:gd name="connsiteY183" fmla="*/ 3618948 h 3699583"/>
              <a:gd name="connsiteX184" fmla="*/ 9335791 w 11611708"/>
              <a:gd name="connsiteY184" fmla="*/ 3612357 h 3699583"/>
              <a:gd name="connsiteX185" fmla="*/ 9301822 w 11611708"/>
              <a:gd name="connsiteY185" fmla="*/ 3661791 h 3699583"/>
              <a:gd name="connsiteX186" fmla="*/ 9307483 w 11611708"/>
              <a:gd name="connsiteY186" fmla="*/ 3674973 h 3699583"/>
              <a:gd name="connsiteX187" fmla="*/ 9030070 w 11611708"/>
              <a:gd name="connsiteY187" fmla="*/ 3668382 h 3699583"/>
              <a:gd name="connsiteX188" fmla="*/ 8967794 w 11611708"/>
              <a:gd name="connsiteY188" fmla="*/ 3678269 h 3699583"/>
              <a:gd name="connsiteX189" fmla="*/ 8939487 w 11611708"/>
              <a:gd name="connsiteY189" fmla="*/ 3668382 h 3699583"/>
              <a:gd name="connsiteX190" fmla="*/ 8928164 w 11611708"/>
              <a:gd name="connsiteY190" fmla="*/ 3678269 h 3699583"/>
              <a:gd name="connsiteX191" fmla="*/ 8916841 w 11611708"/>
              <a:gd name="connsiteY191" fmla="*/ 3678269 h 3699583"/>
              <a:gd name="connsiteX192" fmla="*/ 8962133 w 11611708"/>
              <a:gd name="connsiteY192" fmla="*/ 3648609 h 3699583"/>
              <a:gd name="connsiteX193" fmla="*/ 9188592 w 11611708"/>
              <a:gd name="connsiteY193" fmla="*/ 3661791 h 3699583"/>
              <a:gd name="connsiteX194" fmla="*/ 9233884 w 11611708"/>
              <a:gd name="connsiteY194" fmla="*/ 3602470 h 3699583"/>
              <a:gd name="connsiteX195" fmla="*/ 8979117 w 11611708"/>
              <a:gd name="connsiteY195" fmla="*/ 3612357 h 3699583"/>
              <a:gd name="connsiteX196" fmla="*/ 8746996 w 11611708"/>
              <a:gd name="connsiteY196" fmla="*/ 3628835 h 3699583"/>
              <a:gd name="connsiteX197" fmla="*/ 8594136 w 11611708"/>
              <a:gd name="connsiteY197" fmla="*/ 3599175 h 3699583"/>
              <a:gd name="connsiteX198" fmla="*/ 8520537 w 11611708"/>
              <a:gd name="connsiteY198" fmla="*/ 3595879 h 3699583"/>
              <a:gd name="connsiteX199" fmla="*/ 8373338 w 11611708"/>
              <a:gd name="connsiteY199" fmla="*/ 3625540 h 3699583"/>
              <a:gd name="connsiteX200" fmla="*/ 8350692 w 11611708"/>
              <a:gd name="connsiteY200" fmla="*/ 3635426 h 3699583"/>
              <a:gd name="connsiteX201" fmla="*/ 8486568 w 11611708"/>
              <a:gd name="connsiteY201" fmla="*/ 3678269 h 3699583"/>
              <a:gd name="connsiteX202" fmla="*/ 8220478 w 11611708"/>
              <a:gd name="connsiteY202" fmla="*/ 3668382 h 3699583"/>
              <a:gd name="connsiteX203" fmla="*/ 8158202 w 11611708"/>
              <a:gd name="connsiteY203" fmla="*/ 3684860 h 3699583"/>
              <a:gd name="connsiteX204" fmla="*/ 8146878 w 11611708"/>
              <a:gd name="connsiteY204" fmla="*/ 3671678 h 3699583"/>
              <a:gd name="connsiteX205" fmla="*/ 8067618 w 11611708"/>
              <a:gd name="connsiteY205" fmla="*/ 3684860 h 3699583"/>
              <a:gd name="connsiteX206" fmla="*/ 8027988 w 11611708"/>
              <a:gd name="connsiteY206" fmla="*/ 3618948 h 3699583"/>
              <a:gd name="connsiteX207" fmla="*/ 7948727 w 11611708"/>
              <a:gd name="connsiteY207" fmla="*/ 3595879 h 3699583"/>
              <a:gd name="connsiteX208" fmla="*/ 7812851 w 11611708"/>
              <a:gd name="connsiteY208" fmla="*/ 3576106 h 3699583"/>
              <a:gd name="connsiteX209" fmla="*/ 7744913 w 11611708"/>
              <a:gd name="connsiteY209" fmla="*/ 3595879 h 3699583"/>
              <a:gd name="connsiteX210" fmla="*/ 7790205 w 11611708"/>
              <a:gd name="connsiteY210" fmla="*/ 3609062 h 3699583"/>
              <a:gd name="connsiteX211" fmla="*/ 7739252 w 11611708"/>
              <a:gd name="connsiteY211" fmla="*/ 3615653 h 3699583"/>
              <a:gd name="connsiteX212" fmla="*/ 7716606 w 11611708"/>
              <a:gd name="connsiteY212" fmla="*/ 3589288 h 3699583"/>
              <a:gd name="connsiteX213" fmla="*/ 7580730 w 11611708"/>
              <a:gd name="connsiteY213" fmla="*/ 3612357 h 3699583"/>
              <a:gd name="connsiteX214" fmla="*/ 7546761 w 11611708"/>
              <a:gd name="connsiteY214" fmla="*/ 3556332 h 3699583"/>
              <a:gd name="connsiteX215" fmla="*/ 7422209 w 11611708"/>
              <a:gd name="connsiteY215" fmla="*/ 3618948 h 3699583"/>
              <a:gd name="connsiteX216" fmla="*/ 7382578 w 11611708"/>
              <a:gd name="connsiteY216" fmla="*/ 3651904 h 3699583"/>
              <a:gd name="connsiteX217" fmla="*/ 7512792 w 11611708"/>
              <a:gd name="connsiteY217" fmla="*/ 3655200 h 3699583"/>
              <a:gd name="connsiteX218" fmla="*/ 7528361 w 11611708"/>
              <a:gd name="connsiteY218" fmla="*/ 3646137 h 3699583"/>
              <a:gd name="connsiteX219" fmla="*/ 7529777 w 11611708"/>
              <a:gd name="connsiteY219" fmla="*/ 3655200 h 3699583"/>
              <a:gd name="connsiteX220" fmla="*/ 7569407 w 11611708"/>
              <a:gd name="connsiteY220" fmla="*/ 3668382 h 3699583"/>
              <a:gd name="connsiteX221" fmla="*/ 7552423 w 11611708"/>
              <a:gd name="connsiteY221" fmla="*/ 3681564 h 3699583"/>
              <a:gd name="connsiteX222" fmla="*/ 7399563 w 11611708"/>
              <a:gd name="connsiteY222" fmla="*/ 3684860 h 3699583"/>
              <a:gd name="connsiteX223" fmla="*/ 7371255 w 11611708"/>
              <a:gd name="connsiteY223" fmla="*/ 3655200 h 3699583"/>
              <a:gd name="connsiteX224" fmla="*/ 7308979 w 11611708"/>
              <a:gd name="connsiteY224" fmla="*/ 3671678 h 3699583"/>
              <a:gd name="connsiteX225" fmla="*/ 7308979 w 11611708"/>
              <a:gd name="connsiteY225" fmla="*/ 3684860 h 3699583"/>
              <a:gd name="connsiteX226" fmla="*/ 7127811 w 11611708"/>
              <a:gd name="connsiteY226" fmla="*/ 3678269 h 3699583"/>
              <a:gd name="connsiteX227" fmla="*/ 7110827 w 11611708"/>
              <a:gd name="connsiteY227" fmla="*/ 3661791 h 3699583"/>
              <a:gd name="connsiteX228" fmla="*/ 6963628 w 11611708"/>
              <a:gd name="connsiteY228" fmla="*/ 3668382 h 3699583"/>
              <a:gd name="connsiteX229" fmla="*/ 6918336 w 11611708"/>
              <a:gd name="connsiteY229" fmla="*/ 3628835 h 3699583"/>
              <a:gd name="connsiteX230" fmla="*/ 6901352 w 11611708"/>
              <a:gd name="connsiteY230" fmla="*/ 3651904 h 3699583"/>
              <a:gd name="connsiteX231" fmla="*/ 6923998 w 11611708"/>
              <a:gd name="connsiteY231" fmla="*/ 3668382 h 3699583"/>
              <a:gd name="connsiteX232" fmla="*/ 6810768 w 11611708"/>
              <a:gd name="connsiteY232" fmla="*/ 3668382 h 3699583"/>
              <a:gd name="connsiteX233" fmla="*/ 6805107 w 11611708"/>
              <a:gd name="connsiteY233" fmla="*/ 3625540 h 3699583"/>
              <a:gd name="connsiteX234" fmla="*/ 6822091 w 11611708"/>
              <a:gd name="connsiteY234" fmla="*/ 3625540 h 3699583"/>
              <a:gd name="connsiteX235" fmla="*/ 6833414 w 11611708"/>
              <a:gd name="connsiteY235" fmla="*/ 3655200 h 3699583"/>
              <a:gd name="connsiteX236" fmla="*/ 6867383 w 11611708"/>
              <a:gd name="connsiteY236" fmla="*/ 3648609 h 3699583"/>
              <a:gd name="connsiteX237" fmla="*/ 6856060 w 11611708"/>
              <a:gd name="connsiteY237" fmla="*/ 3622244 h 3699583"/>
              <a:gd name="connsiteX238" fmla="*/ 7059873 w 11611708"/>
              <a:gd name="connsiteY238" fmla="*/ 3655200 h 3699583"/>
              <a:gd name="connsiteX239" fmla="*/ 7201411 w 11611708"/>
              <a:gd name="connsiteY239" fmla="*/ 3671678 h 3699583"/>
              <a:gd name="connsiteX240" fmla="*/ 7212734 w 11611708"/>
              <a:gd name="connsiteY240" fmla="*/ 3632131 h 3699583"/>
              <a:gd name="connsiteX241" fmla="*/ 7269348 w 11611708"/>
              <a:gd name="connsiteY241" fmla="*/ 3622244 h 3699583"/>
              <a:gd name="connsiteX242" fmla="*/ 7235379 w 11611708"/>
              <a:gd name="connsiteY242" fmla="*/ 3602470 h 3699583"/>
              <a:gd name="connsiteX243" fmla="*/ 7224057 w 11611708"/>
              <a:gd name="connsiteY243" fmla="*/ 3602470 h 3699583"/>
              <a:gd name="connsiteX244" fmla="*/ 7269348 w 11611708"/>
              <a:gd name="connsiteY244" fmla="*/ 3562923 h 3699583"/>
              <a:gd name="connsiteX245" fmla="*/ 7224057 w 11611708"/>
              <a:gd name="connsiteY245" fmla="*/ 3556332 h 3699583"/>
              <a:gd name="connsiteX246" fmla="*/ 7190088 w 11611708"/>
              <a:gd name="connsiteY246" fmla="*/ 3572810 h 3699583"/>
              <a:gd name="connsiteX247" fmla="*/ 7048550 w 11611708"/>
              <a:gd name="connsiteY247" fmla="*/ 3553037 h 3699583"/>
              <a:gd name="connsiteX248" fmla="*/ 7014582 w 11611708"/>
              <a:gd name="connsiteY248" fmla="*/ 3566219 h 3699583"/>
              <a:gd name="connsiteX249" fmla="*/ 6946644 w 11611708"/>
              <a:gd name="connsiteY249" fmla="*/ 3556332 h 3699583"/>
              <a:gd name="connsiteX250" fmla="*/ 6844737 w 11611708"/>
              <a:gd name="connsiteY250" fmla="*/ 3572810 h 3699583"/>
              <a:gd name="connsiteX251" fmla="*/ 6827752 w 11611708"/>
              <a:gd name="connsiteY251" fmla="*/ 3559628 h 3699583"/>
              <a:gd name="connsiteX252" fmla="*/ 6680554 w 11611708"/>
              <a:gd name="connsiteY252" fmla="*/ 3589288 h 3699583"/>
              <a:gd name="connsiteX253" fmla="*/ 6731507 w 11611708"/>
              <a:gd name="connsiteY253" fmla="*/ 3599175 h 3699583"/>
              <a:gd name="connsiteX254" fmla="*/ 6646585 w 11611708"/>
              <a:gd name="connsiteY254" fmla="*/ 3674973 h 3699583"/>
              <a:gd name="connsiteX255" fmla="*/ 6533355 w 11611708"/>
              <a:gd name="connsiteY255" fmla="*/ 3655200 h 3699583"/>
              <a:gd name="connsiteX256" fmla="*/ 6589970 w 11611708"/>
              <a:gd name="connsiteY256" fmla="*/ 3668382 h 3699583"/>
              <a:gd name="connsiteX257" fmla="*/ 6601293 w 11611708"/>
              <a:gd name="connsiteY257" fmla="*/ 3661791 h 3699583"/>
              <a:gd name="connsiteX258" fmla="*/ 6567324 w 11611708"/>
              <a:gd name="connsiteY258" fmla="*/ 3635426 h 3699583"/>
              <a:gd name="connsiteX259" fmla="*/ 6691877 w 11611708"/>
              <a:gd name="connsiteY259" fmla="*/ 3599175 h 3699583"/>
              <a:gd name="connsiteX260" fmla="*/ 6657908 w 11611708"/>
              <a:gd name="connsiteY260" fmla="*/ 3595879 h 3699583"/>
              <a:gd name="connsiteX261" fmla="*/ 6674892 w 11611708"/>
              <a:gd name="connsiteY261" fmla="*/ 3569515 h 3699583"/>
              <a:gd name="connsiteX262" fmla="*/ 6572986 w 11611708"/>
              <a:gd name="connsiteY262" fmla="*/ 3549741 h 3699583"/>
              <a:gd name="connsiteX263" fmla="*/ 6527694 w 11611708"/>
              <a:gd name="connsiteY263" fmla="*/ 3559628 h 3699583"/>
              <a:gd name="connsiteX264" fmla="*/ 6539017 w 11611708"/>
              <a:gd name="connsiteY264" fmla="*/ 3513490 h 3699583"/>
              <a:gd name="connsiteX265" fmla="*/ 6584309 w 11611708"/>
              <a:gd name="connsiteY265" fmla="*/ 3523376 h 3699583"/>
              <a:gd name="connsiteX266" fmla="*/ 6572986 w 11611708"/>
              <a:gd name="connsiteY266" fmla="*/ 3503603 h 3699583"/>
              <a:gd name="connsiteX267" fmla="*/ 6414464 w 11611708"/>
              <a:gd name="connsiteY267" fmla="*/ 3497012 h 3699583"/>
              <a:gd name="connsiteX268" fmla="*/ 6329542 w 11611708"/>
              <a:gd name="connsiteY268" fmla="*/ 3510194 h 3699583"/>
              <a:gd name="connsiteX269" fmla="*/ 6357849 w 11611708"/>
              <a:gd name="connsiteY269" fmla="*/ 3536559 h 3699583"/>
              <a:gd name="connsiteX270" fmla="*/ 6448433 w 11611708"/>
              <a:gd name="connsiteY270" fmla="*/ 3549741 h 3699583"/>
              <a:gd name="connsiteX271" fmla="*/ 6414464 w 11611708"/>
              <a:gd name="connsiteY271" fmla="*/ 3576106 h 3699583"/>
              <a:gd name="connsiteX272" fmla="*/ 6380495 w 11611708"/>
              <a:gd name="connsiteY272" fmla="*/ 3556332 h 3699583"/>
              <a:gd name="connsiteX273" fmla="*/ 6284250 w 11611708"/>
              <a:gd name="connsiteY273" fmla="*/ 3562923 h 3699583"/>
              <a:gd name="connsiteX274" fmla="*/ 6289911 w 11611708"/>
              <a:gd name="connsiteY274" fmla="*/ 3602470 h 3699583"/>
              <a:gd name="connsiteX275" fmla="*/ 6193666 w 11611708"/>
              <a:gd name="connsiteY275" fmla="*/ 3618948 h 3699583"/>
              <a:gd name="connsiteX276" fmla="*/ 6306896 w 11611708"/>
              <a:gd name="connsiteY276" fmla="*/ 3655200 h 3699583"/>
              <a:gd name="connsiteX277" fmla="*/ 6414464 w 11611708"/>
              <a:gd name="connsiteY277" fmla="*/ 3618948 h 3699583"/>
              <a:gd name="connsiteX278" fmla="*/ 6471079 w 11611708"/>
              <a:gd name="connsiteY278" fmla="*/ 3635426 h 3699583"/>
              <a:gd name="connsiteX279" fmla="*/ 6493725 w 11611708"/>
              <a:gd name="connsiteY279" fmla="*/ 3651904 h 3699583"/>
              <a:gd name="connsiteX280" fmla="*/ 6391818 w 11611708"/>
              <a:gd name="connsiteY280" fmla="*/ 3661791 h 3699583"/>
              <a:gd name="connsiteX281" fmla="*/ 6233296 w 11611708"/>
              <a:gd name="connsiteY281" fmla="*/ 3661791 h 3699583"/>
              <a:gd name="connsiteX282" fmla="*/ 6074775 w 11611708"/>
              <a:gd name="connsiteY282" fmla="*/ 3661791 h 3699583"/>
              <a:gd name="connsiteX283" fmla="*/ 6064941 w 11611708"/>
              <a:gd name="connsiteY283" fmla="*/ 3662506 h 3699583"/>
              <a:gd name="connsiteX284" fmla="*/ 6115113 w 11611708"/>
              <a:gd name="connsiteY284" fmla="*/ 3646549 h 3699583"/>
              <a:gd name="connsiteX285" fmla="*/ 6171020 w 11611708"/>
              <a:gd name="connsiteY285" fmla="*/ 3612357 h 3699583"/>
              <a:gd name="connsiteX286" fmla="*/ 6154036 w 11611708"/>
              <a:gd name="connsiteY286" fmla="*/ 3576106 h 3699583"/>
              <a:gd name="connsiteX287" fmla="*/ 6159697 w 11611708"/>
              <a:gd name="connsiteY287" fmla="*/ 3569515 h 3699583"/>
              <a:gd name="connsiteX288" fmla="*/ 6131390 w 11611708"/>
              <a:gd name="connsiteY288" fmla="*/ 3556332 h 3699583"/>
              <a:gd name="connsiteX289" fmla="*/ 6057790 w 11611708"/>
              <a:gd name="connsiteY289" fmla="*/ 3569515 h 3699583"/>
              <a:gd name="connsiteX290" fmla="*/ 5967207 w 11611708"/>
              <a:gd name="connsiteY290" fmla="*/ 3556332 h 3699583"/>
              <a:gd name="connsiteX291" fmla="*/ 5961545 w 11611708"/>
              <a:gd name="connsiteY291" fmla="*/ 3572810 h 3699583"/>
              <a:gd name="connsiteX292" fmla="*/ 5899269 w 11611708"/>
              <a:gd name="connsiteY292" fmla="*/ 3562923 h 3699583"/>
              <a:gd name="connsiteX293" fmla="*/ 5842654 w 11611708"/>
              <a:gd name="connsiteY293" fmla="*/ 3602470 h 3699583"/>
              <a:gd name="connsiteX294" fmla="*/ 5791701 w 11611708"/>
              <a:gd name="connsiteY294" fmla="*/ 3635426 h 3699583"/>
              <a:gd name="connsiteX295" fmla="*/ 5791701 w 11611708"/>
              <a:gd name="connsiteY295" fmla="*/ 3634757 h 3699583"/>
              <a:gd name="connsiteX296" fmla="*/ 5791701 w 11611708"/>
              <a:gd name="connsiteY296" fmla="*/ 3622244 h 3699583"/>
              <a:gd name="connsiteX297" fmla="*/ 5565241 w 11611708"/>
              <a:gd name="connsiteY297" fmla="*/ 3599175 h 3699583"/>
              <a:gd name="connsiteX298" fmla="*/ 5678471 w 11611708"/>
              <a:gd name="connsiteY298" fmla="*/ 3599175 h 3699583"/>
              <a:gd name="connsiteX299" fmla="*/ 5791701 w 11611708"/>
              <a:gd name="connsiteY299" fmla="*/ 3582697 h 3699583"/>
              <a:gd name="connsiteX300" fmla="*/ 5746409 w 11611708"/>
              <a:gd name="connsiteY300" fmla="*/ 3559628 h 3699583"/>
              <a:gd name="connsiteX301" fmla="*/ 5678471 w 11611708"/>
              <a:gd name="connsiteY301" fmla="*/ 3572810 h 3699583"/>
              <a:gd name="connsiteX302" fmla="*/ 5655825 w 11611708"/>
              <a:gd name="connsiteY302" fmla="*/ 3549741 h 3699583"/>
              <a:gd name="connsiteX303" fmla="*/ 5553919 w 11611708"/>
              <a:gd name="connsiteY303" fmla="*/ 3572810 h 3699583"/>
              <a:gd name="connsiteX304" fmla="*/ 5418042 w 11611708"/>
              <a:gd name="connsiteY304" fmla="*/ 3576106 h 3699583"/>
              <a:gd name="connsiteX305" fmla="*/ 5367089 w 11611708"/>
              <a:gd name="connsiteY305" fmla="*/ 3569515 h 3699583"/>
              <a:gd name="connsiteX306" fmla="*/ 5355766 w 11611708"/>
              <a:gd name="connsiteY306" fmla="*/ 3609062 h 3699583"/>
              <a:gd name="connsiteX307" fmla="*/ 5316136 w 11611708"/>
              <a:gd name="connsiteY307" fmla="*/ 3569515 h 3699583"/>
              <a:gd name="connsiteX308" fmla="*/ 5157614 w 11611708"/>
              <a:gd name="connsiteY308" fmla="*/ 3576106 h 3699583"/>
              <a:gd name="connsiteX309" fmla="*/ 5123645 w 11611708"/>
              <a:gd name="connsiteY309" fmla="*/ 3503603 h 3699583"/>
              <a:gd name="connsiteX310" fmla="*/ 5055707 w 11611708"/>
              <a:gd name="connsiteY310" fmla="*/ 3543150 h 3699583"/>
              <a:gd name="connsiteX311" fmla="*/ 5044384 w 11611708"/>
              <a:gd name="connsiteY311" fmla="*/ 3566219 h 3699583"/>
              <a:gd name="connsiteX312" fmla="*/ 4931155 w 11611708"/>
              <a:gd name="connsiteY312" fmla="*/ 3589288 h 3699583"/>
              <a:gd name="connsiteX313" fmla="*/ 4851894 w 11611708"/>
              <a:gd name="connsiteY313" fmla="*/ 3609062 h 3699583"/>
              <a:gd name="connsiteX314" fmla="*/ 4851894 w 11611708"/>
              <a:gd name="connsiteY314" fmla="*/ 3635426 h 3699583"/>
              <a:gd name="connsiteX315" fmla="*/ 4800940 w 11611708"/>
              <a:gd name="connsiteY315" fmla="*/ 3526672 h 3699583"/>
              <a:gd name="connsiteX316" fmla="*/ 4874540 w 11611708"/>
              <a:gd name="connsiteY316" fmla="*/ 3510194 h 3699583"/>
              <a:gd name="connsiteX317" fmla="*/ 4625434 w 11611708"/>
              <a:gd name="connsiteY317" fmla="*/ 3513490 h 3699583"/>
              <a:gd name="connsiteX318" fmla="*/ 4676388 w 11611708"/>
              <a:gd name="connsiteY318" fmla="*/ 3536559 h 3699583"/>
              <a:gd name="connsiteX319" fmla="*/ 4699034 w 11611708"/>
              <a:gd name="connsiteY319" fmla="*/ 3523376 h 3699583"/>
              <a:gd name="connsiteX320" fmla="*/ 4738664 w 11611708"/>
              <a:gd name="connsiteY320" fmla="*/ 3529968 h 3699583"/>
              <a:gd name="connsiteX321" fmla="*/ 4682049 w 11611708"/>
              <a:gd name="connsiteY321" fmla="*/ 3582697 h 3699583"/>
              <a:gd name="connsiteX322" fmla="*/ 4546174 w 11611708"/>
              <a:gd name="connsiteY322" fmla="*/ 3612357 h 3699583"/>
              <a:gd name="connsiteX323" fmla="*/ 4568820 w 11611708"/>
              <a:gd name="connsiteY323" fmla="*/ 3642017 h 3699583"/>
              <a:gd name="connsiteX324" fmla="*/ 4489559 w 11611708"/>
              <a:gd name="connsiteY324" fmla="*/ 3635426 h 3699583"/>
              <a:gd name="connsiteX325" fmla="*/ 4483898 w 11611708"/>
              <a:gd name="connsiteY325" fmla="*/ 3582697 h 3699583"/>
              <a:gd name="connsiteX326" fmla="*/ 4432944 w 11611708"/>
              <a:gd name="connsiteY326" fmla="*/ 3592584 h 3699583"/>
              <a:gd name="connsiteX327" fmla="*/ 4370668 w 11611708"/>
              <a:gd name="connsiteY327" fmla="*/ 3572810 h 3699583"/>
              <a:gd name="connsiteX328" fmla="*/ 4336699 w 11611708"/>
              <a:gd name="connsiteY328" fmla="*/ 3582697 h 3699583"/>
              <a:gd name="connsiteX329" fmla="*/ 4325376 w 11611708"/>
              <a:gd name="connsiteY329" fmla="*/ 3612357 h 3699583"/>
              <a:gd name="connsiteX330" fmla="*/ 4268761 w 11611708"/>
              <a:gd name="connsiteY330" fmla="*/ 3618948 h 3699583"/>
              <a:gd name="connsiteX331" fmla="*/ 4257438 w 11611708"/>
              <a:gd name="connsiteY331" fmla="*/ 3655200 h 3699583"/>
              <a:gd name="connsiteX332" fmla="*/ 4257438 w 11611708"/>
              <a:gd name="connsiteY332" fmla="*/ 3661791 h 3699583"/>
              <a:gd name="connsiteX333" fmla="*/ 4195162 w 11611708"/>
              <a:gd name="connsiteY333" fmla="*/ 3651904 h 3699583"/>
              <a:gd name="connsiteX334" fmla="*/ 4200823 w 11611708"/>
              <a:gd name="connsiteY334" fmla="*/ 3698042 h 3699583"/>
              <a:gd name="connsiteX335" fmla="*/ 4121562 w 11611708"/>
              <a:gd name="connsiteY335" fmla="*/ 3684860 h 3699583"/>
              <a:gd name="connsiteX336" fmla="*/ 4036640 w 11611708"/>
              <a:gd name="connsiteY336" fmla="*/ 3698042 h 3699583"/>
              <a:gd name="connsiteX337" fmla="*/ 4059286 w 11611708"/>
              <a:gd name="connsiteY337" fmla="*/ 3698042 h 3699583"/>
              <a:gd name="connsiteX338" fmla="*/ 4161192 w 11611708"/>
              <a:gd name="connsiteY338" fmla="*/ 3668382 h 3699583"/>
              <a:gd name="connsiteX339" fmla="*/ 4172515 w 11611708"/>
              <a:gd name="connsiteY339" fmla="*/ 3661791 h 3699583"/>
              <a:gd name="connsiteX340" fmla="*/ 4144208 w 11611708"/>
              <a:gd name="connsiteY340" fmla="*/ 3645313 h 3699583"/>
              <a:gd name="connsiteX341" fmla="*/ 4076271 w 11611708"/>
              <a:gd name="connsiteY341" fmla="*/ 3605766 h 3699583"/>
              <a:gd name="connsiteX342" fmla="*/ 4064947 w 11611708"/>
              <a:gd name="connsiteY342" fmla="*/ 3609062 h 3699583"/>
              <a:gd name="connsiteX343" fmla="*/ 3974363 w 11611708"/>
              <a:gd name="connsiteY343" fmla="*/ 3592584 h 3699583"/>
              <a:gd name="connsiteX344" fmla="*/ 3940394 w 11611708"/>
              <a:gd name="connsiteY344" fmla="*/ 3632131 h 3699583"/>
              <a:gd name="connsiteX345" fmla="*/ 3980025 w 11611708"/>
              <a:gd name="connsiteY345" fmla="*/ 3651904 h 3699583"/>
              <a:gd name="connsiteX346" fmla="*/ 3900764 w 11611708"/>
              <a:gd name="connsiteY346" fmla="*/ 3661791 h 3699583"/>
              <a:gd name="connsiteX347" fmla="*/ 3810181 w 11611708"/>
              <a:gd name="connsiteY347" fmla="*/ 3605766 h 3699583"/>
              <a:gd name="connsiteX348" fmla="*/ 3753566 w 11611708"/>
              <a:gd name="connsiteY348" fmla="*/ 3595879 h 3699583"/>
              <a:gd name="connsiteX349" fmla="*/ 3662982 w 11611708"/>
              <a:gd name="connsiteY349" fmla="*/ 3638722 h 3699583"/>
              <a:gd name="connsiteX350" fmla="*/ 3725258 w 11611708"/>
              <a:gd name="connsiteY350" fmla="*/ 3648609 h 3699583"/>
              <a:gd name="connsiteX351" fmla="*/ 3691289 w 11611708"/>
              <a:gd name="connsiteY351" fmla="*/ 3661791 h 3699583"/>
              <a:gd name="connsiteX352" fmla="*/ 3527106 w 11611708"/>
              <a:gd name="connsiteY352" fmla="*/ 3638722 h 3699583"/>
              <a:gd name="connsiteX353" fmla="*/ 3572398 w 11611708"/>
              <a:gd name="connsiteY353" fmla="*/ 3625540 h 3699583"/>
              <a:gd name="connsiteX354" fmla="*/ 3453507 w 11611708"/>
              <a:gd name="connsiteY354" fmla="*/ 3605766 h 3699583"/>
              <a:gd name="connsiteX355" fmla="*/ 3096833 w 11611708"/>
              <a:gd name="connsiteY355" fmla="*/ 3612357 h 3699583"/>
              <a:gd name="connsiteX356" fmla="*/ 2949635 w 11611708"/>
              <a:gd name="connsiteY356" fmla="*/ 3589288 h 3699583"/>
              <a:gd name="connsiteX357" fmla="*/ 2717514 w 11611708"/>
              <a:gd name="connsiteY357" fmla="*/ 3582697 h 3699583"/>
              <a:gd name="connsiteX358" fmla="*/ 2721494 w 11611708"/>
              <a:gd name="connsiteY358" fmla="*/ 3629968 h 3699583"/>
              <a:gd name="connsiteX359" fmla="*/ 2731121 w 11611708"/>
              <a:gd name="connsiteY359" fmla="*/ 3641328 h 3699583"/>
              <a:gd name="connsiteX360" fmla="*/ 2641437 w 11611708"/>
              <a:gd name="connsiteY360" fmla="*/ 3637126 h 3699583"/>
              <a:gd name="connsiteX361" fmla="*/ 2332533 w 11611708"/>
              <a:gd name="connsiteY361" fmla="*/ 3625540 h 3699583"/>
              <a:gd name="connsiteX362" fmla="*/ 1885275 w 11611708"/>
              <a:gd name="connsiteY362" fmla="*/ 3622244 h 3699583"/>
              <a:gd name="connsiteX363" fmla="*/ 1715430 w 11611708"/>
              <a:gd name="connsiteY363" fmla="*/ 3618948 h 3699583"/>
              <a:gd name="connsiteX364" fmla="*/ 1664477 w 11611708"/>
              <a:gd name="connsiteY364" fmla="*/ 3609062 h 3699583"/>
              <a:gd name="connsiteX365" fmla="*/ 1647493 w 11611708"/>
              <a:gd name="connsiteY365" fmla="*/ 3618948 h 3699583"/>
              <a:gd name="connsiteX366" fmla="*/ 1743738 w 11611708"/>
              <a:gd name="connsiteY366" fmla="*/ 3638722 h 3699583"/>
              <a:gd name="connsiteX367" fmla="*/ 1839983 w 11611708"/>
              <a:gd name="connsiteY367" fmla="*/ 3638722 h 3699583"/>
              <a:gd name="connsiteX368" fmla="*/ 1862629 w 11611708"/>
              <a:gd name="connsiteY368" fmla="*/ 3651904 h 3699583"/>
              <a:gd name="connsiteX369" fmla="*/ 1602201 w 11611708"/>
              <a:gd name="connsiteY369" fmla="*/ 3635426 h 3699583"/>
              <a:gd name="connsiteX370" fmla="*/ 1624847 w 11611708"/>
              <a:gd name="connsiteY370" fmla="*/ 3612357 h 3699583"/>
              <a:gd name="connsiteX371" fmla="*/ 1466325 w 11611708"/>
              <a:gd name="connsiteY371" fmla="*/ 3615653 h 3699583"/>
              <a:gd name="connsiteX372" fmla="*/ 1568232 w 11611708"/>
              <a:gd name="connsiteY372" fmla="*/ 3628835 h 3699583"/>
              <a:gd name="connsiteX373" fmla="*/ 911499 w 11611708"/>
              <a:gd name="connsiteY373" fmla="*/ 3615653 h 3699583"/>
              <a:gd name="connsiteX374" fmla="*/ 141537 w 11611708"/>
              <a:gd name="connsiteY374" fmla="*/ 3615653 h 3699583"/>
              <a:gd name="connsiteX375" fmla="*/ 28308 w 11611708"/>
              <a:gd name="connsiteY375" fmla="*/ 3286094 h 3699583"/>
              <a:gd name="connsiteX376" fmla="*/ 0 w 11611708"/>
              <a:gd name="connsiteY376" fmla="*/ 2956536 h 3699583"/>
              <a:gd name="connsiteX377" fmla="*/ 152860 w 11611708"/>
              <a:gd name="connsiteY377" fmla="*/ 2943354 h 3699583"/>
              <a:gd name="connsiteX378" fmla="*/ 113230 w 11611708"/>
              <a:gd name="connsiteY378" fmla="*/ 2600613 h 3699583"/>
              <a:gd name="connsiteX379" fmla="*/ 798270 w 11611708"/>
              <a:gd name="connsiteY379" fmla="*/ 2547884 h 3699583"/>
              <a:gd name="connsiteX380" fmla="*/ 752978 w 11611708"/>
              <a:gd name="connsiteY380" fmla="*/ 2165596 h 3699583"/>
              <a:gd name="connsiteX381" fmla="*/ 679379 w 11611708"/>
              <a:gd name="connsiteY381" fmla="*/ 2106276 h 3699583"/>
              <a:gd name="connsiteX382" fmla="*/ 560487 w 11611708"/>
              <a:gd name="connsiteY382" fmla="*/ 2093093 h 3699583"/>
              <a:gd name="connsiteX383" fmla="*/ 469904 w 11611708"/>
              <a:gd name="connsiteY383" fmla="*/ 1934905 h 3699583"/>
              <a:gd name="connsiteX384" fmla="*/ 481226 w 11611708"/>
              <a:gd name="connsiteY384" fmla="*/ 1934905 h 3699583"/>
              <a:gd name="connsiteX385" fmla="*/ 384981 w 11611708"/>
              <a:gd name="connsiteY385" fmla="*/ 1480115 h 3699583"/>
              <a:gd name="connsiteX386" fmla="*/ 826577 w 11611708"/>
              <a:gd name="connsiteY386" fmla="*/ 1447159 h 3699583"/>
              <a:gd name="connsiteX387" fmla="*/ 939807 w 11611708"/>
              <a:gd name="connsiteY387" fmla="*/ 1424090 h 3699583"/>
              <a:gd name="connsiteX388" fmla="*/ 900177 w 11611708"/>
              <a:gd name="connsiteY388" fmla="*/ 1269197 h 3699583"/>
              <a:gd name="connsiteX389" fmla="*/ 294397 w 11611708"/>
              <a:gd name="connsiteY389" fmla="*/ 1305449 h 3699583"/>
              <a:gd name="connsiteX390" fmla="*/ 283074 w 11611708"/>
              <a:gd name="connsiteY390" fmla="*/ 1256015 h 3699583"/>
              <a:gd name="connsiteX391" fmla="*/ 317044 w 11611708"/>
              <a:gd name="connsiteY391" fmla="*/ 1232946 h 3699583"/>
              <a:gd name="connsiteX392" fmla="*/ 260429 w 11611708"/>
              <a:gd name="connsiteY392" fmla="*/ 1180217 h 3699583"/>
              <a:gd name="connsiteX393" fmla="*/ 232121 w 11611708"/>
              <a:gd name="connsiteY393" fmla="*/ 1186808 h 3699583"/>
              <a:gd name="connsiteX394" fmla="*/ 243444 w 11611708"/>
              <a:gd name="connsiteY394" fmla="*/ 1104418 h 3699583"/>
              <a:gd name="connsiteX395" fmla="*/ 215137 w 11611708"/>
              <a:gd name="connsiteY395" fmla="*/ 1104418 h 3699583"/>
              <a:gd name="connsiteX396" fmla="*/ 254767 w 11611708"/>
              <a:gd name="connsiteY396" fmla="*/ 1015438 h 3699583"/>
              <a:gd name="connsiteX397" fmla="*/ 203814 w 11611708"/>
              <a:gd name="connsiteY397" fmla="*/ 989073 h 3699583"/>
              <a:gd name="connsiteX398" fmla="*/ 220798 w 11611708"/>
              <a:gd name="connsiteY398" fmla="*/ 956117 h 3699583"/>
              <a:gd name="connsiteX399" fmla="*/ 232121 w 11611708"/>
              <a:gd name="connsiteY399" fmla="*/ 903388 h 3699583"/>
              <a:gd name="connsiteX400" fmla="*/ 169845 w 11611708"/>
              <a:gd name="connsiteY400" fmla="*/ 755086 h 3699583"/>
              <a:gd name="connsiteX401" fmla="*/ 232121 w 11611708"/>
              <a:gd name="connsiteY401" fmla="*/ 590307 h 3699583"/>
              <a:gd name="connsiteX402" fmla="*/ 124553 w 11611708"/>
              <a:gd name="connsiteY402" fmla="*/ 395868 h 3699583"/>
              <a:gd name="connsiteX403" fmla="*/ 45292 w 11611708"/>
              <a:gd name="connsiteY403" fmla="*/ 376094 h 3699583"/>
              <a:gd name="connsiteX404" fmla="*/ 16985 w 11611708"/>
              <a:gd name="connsiteY404" fmla="*/ 382686 h 3699583"/>
              <a:gd name="connsiteX405" fmla="*/ 158522 w 11611708"/>
              <a:gd name="connsiteY405" fmla="*/ 306887 h 3699583"/>
              <a:gd name="connsiteX406" fmla="*/ 107568 w 11611708"/>
              <a:gd name="connsiteY406" fmla="*/ 63014 h 3699583"/>
              <a:gd name="connsiteX407" fmla="*/ 334028 w 11611708"/>
              <a:gd name="connsiteY407" fmla="*/ 63014 h 3699583"/>
              <a:gd name="connsiteX408" fmla="*/ 1183251 w 11611708"/>
              <a:gd name="connsiteY408" fmla="*/ 59718 h 3699583"/>
              <a:gd name="connsiteX409" fmla="*/ 1183251 w 11611708"/>
              <a:gd name="connsiteY409" fmla="*/ 82787 h 3699583"/>
              <a:gd name="connsiteX410" fmla="*/ 1228543 w 11611708"/>
              <a:gd name="connsiteY410" fmla="*/ 59718 h 3699583"/>
              <a:gd name="connsiteX411" fmla="*/ 1307804 w 11611708"/>
              <a:gd name="connsiteY411" fmla="*/ 63014 h 3699583"/>
              <a:gd name="connsiteX412" fmla="*/ 1307804 w 11611708"/>
              <a:gd name="connsiteY412" fmla="*/ 72901 h 3699583"/>
              <a:gd name="connsiteX413" fmla="*/ 1336111 w 11611708"/>
              <a:gd name="connsiteY413" fmla="*/ 82787 h 3699583"/>
              <a:gd name="connsiteX414" fmla="*/ 1347434 w 11611708"/>
              <a:gd name="connsiteY414" fmla="*/ 63014 h 3699583"/>
              <a:gd name="connsiteX415" fmla="*/ 1398387 w 11611708"/>
              <a:gd name="connsiteY415" fmla="*/ 56423 h 3699583"/>
              <a:gd name="connsiteX416" fmla="*/ 2009828 w 11611708"/>
              <a:gd name="connsiteY416" fmla="*/ 63014 h 3699583"/>
              <a:gd name="connsiteX417" fmla="*/ 2009828 w 11611708"/>
              <a:gd name="connsiteY417" fmla="*/ 92674 h 3699583"/>
              <a:gd name="connsiteX418" fmla="*/ 2060781 w 11611708"/>
              <a:gd name="connsiteY418" fmla="*/ 86083 h 3699583"/>
              <a:gd name="connsiteX419" fmla="*/ 2060781 w 11611708"/>
              <a:gd name="connsiteY419" fmla="*/ 59718 h 3699583"/>
              <a:gd name="connsiteX420" fmla="*/ 2117396 w 11611708"/>
              <a:gd name="connsiteY420" fmla="*/ 59718 h 3699583"/>
              <a:gd name="connsiteX421" fmla="*/ 2168350 w 11611708"/>
              <a:gd name="connsiteY421" fmla="*/ 89379 h 3699583"/>
              <a:gd name="connsiteX422" fmla="*/ 2377825 w 11611708"/>
              <a:gd name="connsiteY422" fmla="*/ 63014 h 3699583"/>
              <a:gd name="connsiteX423" fmla="*/ 2451424 w 11611708"/>
              <a:gd name="connsiteY423" fmla="*/ 95970 h 3699583"/>
              <a:gd name="connsiteX424" fmla="*/ 2479731 w 11611708"/>
              <a:gd name="connsiteY424" fmla="*/ 82787 h 3699583"/>
              <a:gd name="connsiteX425" fmla="*/ 2553331 w 11611708"/>
              <a:gd name="connsiteY425" fmla="*/ 53127 h 3699583"/>
              <a:gd name="connsiteX426" fmla="*/ 2592961 w 11611708"/>
              <a:gd name="connsiteY426" fmla="*/ 63014 h 3699583"/>
              <a:gd name="connsiteX427" fmla="*/ 2728837 w 11611708"/>
              <a:gd name="connsiteY427" fmla="*/ 86083 h 3699583"/>
              <a:gd name="connsiteX428" fmla="*/ 2762805 w 11611708"/>
              <a:gd name="connsiteY428" fmla="*/ 79492 h 3699583"/>
              <a:gd name="connsiteX429" fmla="*/ 2762805 w 11611708"/>
              <a:gd name="connsiteY429" fmla="*/ 76196 h 3699583"/>
              <a:gd name="connsiteX430" fmla="*/ 2813759 w 11611708"/>
              <a:gd name="connsiteY430" fmla="*/ 95970 h 3699583"/>
              <a:gd name="connsiteX431" fmla="*/ 2898681 w 11611708"/>
              <a:gd name="connsiteY431" fmla="*/ 63014 h 3699583"/>
              <a:gd name="connsiteX432" fmla="*/ 3000588 w 11611708"/>
              <a:gd name="connsiteY432" fmla="*/ 102561 h 3699583"/>
              <a:gd name="connsiteX433" fmla="*/ 3068526 w 11611708"/>
              <a:gd name="connsiteY433" fmla="*/ 89379 h 3699583"/>
              <a:gd name="connsiteX434" fmla="*/ 3187417 w 11611708"/>
              <a:gd name="connsiteY434" fmla="*/ 66310 h 3699583"/>
              <a:gd name="connsiteX435" fmla="*/ 3261016 w 11611708"/>
              <a:gd name="connsiteY435" fmla="*/ 76196 h 3699583"/>
              <a:gd name="connsiteX436" fmla="*/ 3311969 w 11611708"/>
              <a:gd name="connsiteY436" fmla="*/ 109152 h 3699583"/>
              <a:gd name="connsiteX437" fmla="*/ 3345939 w 11611708"/>
              <a:gd name="connsiteY437" fmla="*/ 95970 h 3699583"/>
              <a:gd name="connsiteX438" fmla="*/ 3436522 w 11611708"/>
              <a:gd name="connsiteY438" fmla="*/ 112448 h 3699583"/>
              <a:gd name="connsiteX439" fmla="*/ 3515783 w 11611708"/>
              <a:gd name="connsiteY439" fmla="*/ 95970 h 3699583"/>
              <a:gd name="connsiteX440" fmla="*/ 3544090 w 11611708"/>
              <a:gd name="connsiteY440" fmla="*/ 122334 h 3699583"/>
              <a:gd name="connsiteX441" fmla="*/ 3640336 w 11611708"/>
              <a:gd name="connsiteY441" fmla="*/ 63014 h 3699583"/>
              <a:gd name="connsiteX442" fmla="*/ 3713935 w 11611708"/>
              <a:gd name="connsiteY442" fmla="*/ 43240 h 3699583"/>
              <a:gd name="connsiteX443" fmla="*/ 3849811 w 11611708"/>
              <a:gd name="connsiteY443" fmla="*/ 92674 h 3699583"/>
              <a:gd name="connsiteX444" fmla="*/ 3923410 w 11611708"/>
              <a:gd name="connsiteY444" fmla="*/ 95970 h 3699583"/>
              <a:gd name="connsiteX445" fmla="*/ 3940394 w 11611708"/>
              <a:gd name="connsiteY445" fmla="*/ 72901 h 3699583"/>
              <a:gd name="connsiteX446" fmla="*/ 3923410 w 11611708"/>
              <a:gd name="connsiteY446" fmla="*/ 63014 h 3699583"/>
              <a:gd name="connsiteX447" fmla="*/ 3991348 w 11611708"/>
              <a:gd name="connsiteY447" fmla="*/ 49832 h 3699583"/>
              <a:gd name="connsiteX448" fmla="*/ 4008332 w 11611708"/>
              <a:gd name="connsiteY448" fmla="*/ 69605 h 3699583"/>
              <a:gd name="connsiteX449" fmla="*/ 3997009 w 11611708"/>
              <a:gd name="connsiteY449" fmla="*/ 89379 h 3699583"/>
              <a:gd name="connsiteX450" fmla="*/ 4013995 w 11611708"/>
              <a:gd name="connsiteY450" fmla="*/ 95970 h 3699583"/>
              <a:gd name="connsiteX451" fmla="*/ 4087593 w 11611708"/>
              <a:gd name="connsiteY451" fmla="*/ 56423 h 3699583"/>
              <a:gd name="connsiteX452" fmla="*/ 4223469 w 11611708"/>
              <a:gd name="connsiteY452" fmla="*/ 72901 h 3699583"/>
              <a:gd name="connsiteX453" fmla="*/ 4217807 w 11611708"/>
              <a:gd name="connsiteY453" fmla="*/ 72901 h 3699583"/>
              <a:gd name="connsiteX454" fmla="*/ 4217807 w 11611708"/>
              <a:gd name="connsiteY454" fmla="*/ 66310 h 3699583"/>
              <a:gd name="connsiteX455" fmla="*/ 4223469 w 11611708"/>
              <a:gd name="connsiteY455" fmla="*/ 66310 h 3699583"/>
              <a:gd name="connsiteX456" fmla="*/ 4240453 w 11611708"/>
              <a:gd name="connsiteY456" fmla="*/ 92674 h 3699583"/>
              <a:gd name="connsiteX457" fmla="*/ 4319714 w 11611708"/>
              <a:gd name="connsiteY457" fmla="*/ 49832 h 3699583"/>
              <a:gd name="connsiteX458" fmla="*/ 4398975 w 11611708"/>
              <a:gd name="connsiteY458" fmla="*/ 92674 h 3699583"/>
              <a:gd name="connsiteX459" fmla="*/ 4444267 w 11611708"/>
              <a:gd name="connsiteY459" fmla="*/ 95970 h 3699583"/>
              <a:gd name="connsiteX460" fmla="*/ 4415959 w 11611708"/>
              <a:gd name="connsiteY460" fmla="*/ 138812 h 3699583"/>
              <a:gd name="connsiteX461" fmla="*/ 4472574 w 11611708"/>
              <a:gd name="connsiteY461" fmla="*/ 155290 h 3699583"/>
              <a:gd name="connsiteX462" fmla="*/ 4512205 w 11611708"/>
              <a:gd name="connsiteY462" fmla="*/ 109152 h 3699583"/>
              <a:gd name="connsiteX463" fmla="*/ 4500882 w 11611708"/>
              <a:gd name="connsiteY463" fmla="*/ 95970 h 3699583"/>
              <a:gd name="connsiteX464" fmla="*/ 4676388 w 11611708"/>
              <a:gd name="connsiteY464" fmla="*/ 95970 h 3699583"/>
              <a:gd name="connsiteX465" fmla="*/ 4744326 w 11611708"/>
              <a:gd name="connsiteY465" fmla="*/ 63014 h 3699583"/>
              <a:gd name="connsiteX466" fmla="*/ 4755649 w 11611708"/>
              <a:gd name="connsiteY466" fmla="*/ 89379 h 3699583"/>
              <a:gd name="connsiteX467" fmla="*/ 4840571 w 11611708"/>
              <a:gd name="connsiteY467" fmla="*/ 102561 h 3699583"/>
              <a:gd name="connsiteX468" fmla="*/ 4868878 w 11611708"/>
              <a:gd name="connsiteY468" fmla="*/ 92674 h 3699583"/>
              <a:gd name="connsiteX469" fmla="*/ 4823586 w 11611708"/>
              <a:gd name="connsiteY469" fmla="*/ 63014 h 3699583"/>
              <a:gd name="connsiteX470" fmla="*/ 4880201 w 11611708"/>
              <a:gd name="connsiteY470" fmla="*/ 43240 h 3699583"/>
              <a:gd name="connsiteX471" fmla="*/ 4908509 w 11611708"/>
              <a:gd name="connsiteY471" fmla="*/ 102561 h 3699583"/>
              <a:gd name="connsiteX472" fmla="*/ 4948139 w 11611708"/>
              <a:gd name="connsiteY472" fmla="*/ 79492 h 3699583"/>
              <a:gd name="connsiteX473" fmla="*/ 5067030 w 11611708"/>
              <a:gd name="connsiteY473" fmla="*/ 102561 h 3699583"/>
              <a:gd name="connsiteX474" fmla="*/ 5095338 w 11611708"/>
              <a:gd name="connsiteY474" fmla="*/ 82787 h 3699583"/>
              <a:gd name="connsiteX475" fmla="*/ 5106661 w 11611708"/>
              <a:gd name="connsiteY475" fmla="*/ 92674 h 3699583"/>
              <a:gd name="connsiteX476" fmla="*/ 5140630 w 11611708"/>
              <a:gd name="connsiteY476" fmla="*/ 82787 h 3699583"/>
              <a:gd name="connsiteX477" fmla="*/ 5134968 w 11611708"/>
              <a:gd name="connsiteY477" fmla="*/ 36649 h 3699583"/>
              <a:gd name="connsiteX478" fmla="*/ 5163276 w 11611708"/>
              <a:gd name="connsiteY478" fmla="*/ 36649 h 3699583"/>
              <a:gd name="connsiteX479" fmla="*/ 5151953 w 11611708"/>
              <a:gd name="connsiteY479" fmla="*/ 49832 h 3699583"/>
              <a:gd name="connsiteX480" fmla="*/ 5180260 w 11611708"/>
              <a:gd name="connsiteY480" fmla="*/ 56423 h 3699583"/>
              <a:gd name="connsiteX481" fmla="*/ 5191583 w 11611708"/>
              <a:gd name="connsiteY481" fmla="*/ 39945 h 3699583"/>
              <a:gd name="connsiteX482" fmla="*/ 5157614 w 11611708"/>
              <a:gd name="connsiteY482" fmla="*/ 112448 h 3699583"/>
              <a:gd name="connsiteX483" fmla="*/ 4999092 w 11611708"/>
              <a:gd name="connsiteY483" fmla="*/ 95970 h 3699583"/>
              <a:gd name="connsiteX484" fmla="*/ 4885863 w 11611708"/>
              <a:gd name="connsiteY484" fmla="*/ 122334 h 3699583"/>
              <a:gd name="connsiteX485" fmla="*/ 4891525 w 11611708"/>
              <a:gd name="connsiteY485" fmla="*/ 151995 h 3699583"/>
              <a:gd name="connsiteX486" fmla="*/ 4868878 w 11611708"/>
              <a:gd name="connsiteY486" fmla="*/ 158586 h 3699583"/>
              <a:gd name="connsiteX487" fmla="*/ 4925493 w 11611708"/>
              <a:gd name="connsiteY487" fmla="*/ 175064 h 3699583"/>
              <a:gd name="connsiteX488" fmla="*/ 5044384 w 11611708"/>
              <a:gd name="connsiteY488" fmla="*/ 161881 h 3699583"/>
              <a:gd name="connsiteX489" fmla="*/ 5084015 w 11611708"/>
              <a:gd name="connsiteY489" fmla="*/ 175064 h 3699583"/>
              <a:gd name="connsiteX490" fmla="*/ 5106661 w 11611708"/>
              <a:gd name="connsiteY490" fmla="*/ 151995 h 3699583"/>
              <a:gd name="connsiteX491" fmla="*/ 5287828 w 11611708"/>
              <a:gd name="connsiteY491" fmla="*/ 171768 h 3699583"/>
              <a:gd name="connsiteX492" fmla="*/ 5559580 w 11611708"/>
              <a:gd name="connsiteY492" fmla="*/ 155290 h 3699583"/>
              <a:gd name="connsiteX493" fmla="*/ 6114405 w 11611708"/>
              <a:gd name="connsiteY493" fmla="*/ 132221 h 3699583"/>
              <a:gd name="connsiteX494" fmla="*/ 6125728 w 11611708"/>
              <a:gd name="connsiteY494" fmla="*/ 109152 h 3699583"/>
              <a:gd name="connsiteX495" fmla="*/ 6165359 w 11611708"/>
              <a:gd name="connsiteY495" fmla="*/ 151995 h 3699583"/>
              <a:gd name="connsiteX496" fmla="*/ 6306896 w 11611708"/>
              <a:gd name="connsiteY496" fmla="*/ 112448 h 3699583"/>
              <a:gd name="connsiteX497" fmla="*/ 6459756 w 11611708"/>
              <a:gd name="connsiteY497" fmla="*/ 109152 h 3699583"/>
              <a:gd name="connsiteX498" fmla="*/ 6510709 w 11611708"/>
              <a:gd name="connsiteY498" fmla="*/ 125630 h 3699583"/>
              <a:gd name="connsiteX499" fmla="*/ 6567324 w 11611708"/>
              <a:gd name="connsiteY499" fmla="*/ 122334 h 3699583"/>
              <a:gd name="connsiteX500" fmla="*/ 6680554 w 11611708"/>
              <a:gd name="connsiteY500" fmla="*/ 115743 h 3699583"/>
              <a:gd name="connsiteX501" fmla="*/ 6669231 w 11611708"/>
              <a:gd name="connsiteY501" fmla="*/ 151995 h 3699583"/>
              <a:gd name="connsiteX502" fmla="*/ 6788122 w 11611708"/>
              <a:gd name="connsiteY502" fmla="*/ 109152 h 3699583"/>
              <a:gd name="connsiteX503" fmla="*/ 6867383 w 11611708"/>
              <a:gd name="connsiteY503" fmla="*/ 115743 h 3699583"/>
              <a:gd name="connsiteX504" fmla="*/ 6856060 w 11611708"/>
              <a:gd name="connsiteY504" fmla="*/ 138812 h 3699583"/>
              <a:gd name="connsiteX505" fmla="*/ 6822091 w 11611708"/>
              <a:gd name="connsiteY505" fmla="*/ 151995 h 3699583"/>
              <a:gd name="connsiteX506" fmla="*/ 6901352 w 11611708"/>
              <a:gd name="connsiteY506" fmla="*/ 161881 h 3699583"/>
              <a:gd name="connsiteX507" fmla="*/ 6946644 w 11611708"/>
              <a:gd name="connsiteY507" fmla="*/ 119039 h 3699583"/>
              <a:gd name="connsiteX508" fmla="*/ 6940982 w 11611708"/>
              <a:gd name="connsiteY508" fmla="*/ 115743 h 3699583"/>
              <a:gd name="connsiteX509" fmla="*/ 7144796 w 11611708"/>
              <a:gd name="connsiteY509" fmla="*/ 112448 h 3699583"/>
              <a:gd name="connsiteX510" fmla="*/ 7161780 w 11611708"/>
              <a:gd name="connsiteY510" fmla="*/ 109152 h 3699583"/>
              <a:gd name="connsiteX511" fmla="*/ 7173103 w 11611708"/>
              <a:gd name="connsiteY511" fmla="*/ 109152 h 3699583"/>
              <a:gd name="connsiteX512" fmla="*/ 7116488 w 11611708"/>
              <a:gd name="connsiteY512" fmla="*/ 138812 h 3699583"/>
              <a:gd name="connsiteX513" fmla="*/ 7139134 w 11611708"/>
              <a:gd name="connsiteY513" fmla="*/ 158586 h 3699583"/>
              <a:gd name="connsiteX514" fmla="*/ 7258025 w 11611708"/>
              <a:gd name="connsiteY514" fmla="*/ 125630 h 3699583"/>
              <a:gd name="connsiteX515" fmla="*/ 7224057 w 11611708"/>
              <a:gd name="connsiteY515" fmla="*/ 122334 h 3699583"/>
              <a:gd name="connsiteX516" fmla="*/ 7258025 w 11611708"/>
              <a:gd name="connsiteY516" fmla="*/ 109152 h 3699583"/>
              <a:gd name="connsiteX517" fmla="*/ 7286333 w 11611708"/>
              <a:gd name="connsiteY517" fmla="*/ 142108 h 3699583"/>
              <a:gd name="connsiteX518" fmla="*/ 7297656 w 11611708"/>
              <a:gd name="connsiteY518" fmla="*/ 161881 h 3699583"/>
              <a:gd name="connsiteX519" fmla="*/ 7665652 w 11611708"/>
              <a:gd name="connsiteY519" fmla="*/ 132221 h 3699583"/>
              <a:gd name="connsiteX520" fmla="*/ 7569407 w 11611708"/>
              <a:gd name="connsiteY520" fmla="*/ 109152 h 3699583"/>
              <a:gd name="connsiteX521" fmla="*/ 7988357 w 11611708"/>
              <a:gd name="connsiteY521" fmla="*/ 109152 h 3699583"/>
              <a:gd name="connsiteX522" fmla="*/ 7988357 w 11611708"/>
              <a:gd name="connsiteY522" fmla="*/ 122334 h 3699583"/>
              <a:gd name="connsiteX523" fmla="*/ 7977034 w 11611708"/>
              <a:gd name="connsiteY523" fmla="*/ 128926 h 3699583"/>
              <a:gd name="connsiteX524" fmla="*/ 8039311 w 11611708"/>
              <a:gd name="connsiteY524" fmla="*/ 138812 h 3699583"/>
              <a:gd name="connsiteX525" fmla="*/ 8152540 w 11611708"/>
              <a:gd name="connsiteY525" fmla="*/ 161881 h 3699583"/>
              <a:gd name="connsiteX526" fmla="*/ 8163863 w 11611708"/>
              <a:gd name="connsiteY526" fmla="*/ 148699 h 3699583"/>
              <a:gd name="connsiteX527" fmla="*/ 8090264 w 11611708"/>
              <a:gd name="connsiteY527" fmla="*/ 112448 h 3699583"/>
              <a:gd name="connsiteX528" fmla="*/ 8277092 w 11611708"/>
              <a:gd name="connsiteY528" fmla="*/ 63014 h 3699583"/>
              <a:gd name="connsiteX529" fmla="*/ 8282754 w 11611708"/>
              <a:gd name="connsiteY529" fmla="*/ 30058 h 3699583"/>
              <a:gd name="connsiteX530" fmla="*/ 8611120 w 11611708"/>
              <a:gd name="connsiteY530" fmla="*/ 39945 h 3699583"/>
              <a:gd name="connsiteX531" fmla="*/ 8543183 w 11611708"/>
              <a:gd name="connsiteY531" fmla="*/ 79492 h 3699583"/>
              <a:gd name="connsiteX532" fmla="*/ 8645089 w 11611708"/>
              <a:gd name="connsiteY532" fmla="*/ 95970 h 3699583"/>
              <a:gd name="connsiteX533" fmla="*/ 8718689 w 11611708"/>
              <a:gd name="connsiteY533" fmla="*/ 59718 h 3699583"/>
              <a:gd name="connsiteX534" fmla="*/ 8741335 w 11611708"/>
              <a:gd name="connsiteY534" fmla="*/ 89379 h 3699583"/>
              <a:gd name="connsiteX535" fmla="*/ 8780965 w 11611708"/>
              <a:gd name="connsiteY535" fmla="*/ 76196 h 3699583"/>
              <a:gd name="connsiteX536" fmla="*/ 8775303 w 11611708"/>
              <a:gd name="connsiteY536" fmla="*/ 30058 h 3699583"/>
              <a:gd name="connsiteX537" fmla="*/ 9064039 w 11611708"/>
              <a:gd name="connsiteY537" fmla="*/ 43240 h 3699583"/>
              <a:gd name="connsiteX538" fmla="*/ 9256530 w 11611708"/>
              <a:gd name="connsiteY538" fmla="*/ 43240 h 3699583"/>
              <a:gd name="connsiteX539" fmla="*/ 9443359 w 11611708"/>
              <a:gd name="connsiteY539" fmla="*/ 36649 h 3699583"/>
              <a:gd name="connsiteX540" fmla="*/ 9652834 w 11611708"/>
              <a:gd name="connsiteY540" fmla="*/ 33354 h 3699583"/>
              <a:gd name="connsiteX541" fmla="*/ 9635849 w 11611708"/>
              <a:gd name="connsiteY541" fmla="*/ 56423 h 3699583"/>
              <a:gd name="connsiteX542" fmla="*/ 9811355 w 11611708"/>
              <a:gd name="connsiteY542" fmla="*/ 56423 h 3699583"/>
              <a:gd name="connsiteX543" fmla="*/ 9777387 w 11611708"/>
              <a:gd name="connsiteY543" fmla="*/ 36649 h 3699583"/>
              <a:gd name="connsiteX544" fmla="*/ 9896278 w 11611708"/>
              <a:gd name="connsiteY544" fmla="*/ 43240 h 3699583"/>
              <a:gd name="connsiteX545" fmla="*/ 9935908 w 11611708"/>
              <a:gd name="connsiteY545" fmla="*/ 63014 h 3699583"/>
              <a:gd name="connsiteX546" fmla="*/ 9952893 w 11611708"/>
              <a:gd name="connsiteY546" fmla="*/ 76196 h 3699583"/>
              <a:gd name="connsiteX547" fmla="*/ 10083107 w 11611708"/>
              <a:gd name="connsiteY547" fmla="*/ 30058 h 3699583"/>
              <a:gd name="connsiteX548" fmla="*/ 10569995 w 11611708"/>
              <a:gd name="connsiteY548" fmla="*/ 16876 h 3699583"/>
              <a:gd name="connsiteX549" fmla="*/ 10411473 w 11611708"/>
              <a:gd name="connsiteY549" fmla="*/ 86083 h 3699583"/>
              <a:gd name="connsiteX550" fmla="*/ 10462426 w 11611708"/>
              <a:gd name="connsiteY550" fmla="*/ 109152 h 3699583"/>
              <a:gd name="connsiteX551" fmla="*/ 10366181 w 11611708"/>
              <a:gd name="connsiteY551" fmla="*/ 115743 h 3699583"/>
              <a:gd name="connsiteX552" fmla="*/ 10400150 w 11611708"/>
              <a:gd name="connsiteY552" fmla="*/ 72901 h 3699583"/>
              <a:gd name="connsiteX553" fmla="*/ 10326551 w 11611708"/>
              <a:gd name="connsiteY553" fmla="*/ 56423 h 3699583"/>
              <a:gd name="connsiteX554" fmla="*/ 10258613 w 11611708"/>
              <a:gd name="connsiteY554" fmla="*/ 69605 h 3699583"/>
              <a:gd name="connsiteX555" fmla="*/ 10230305 w 11611708"/>
              <a:gd name="connsiteY555" fmla="*/ 56423 h 3699583"/>
              <a:gd name="connsiteX556" fmla="*/ 10173691 w 11611708"/>
              <a:gd name="connsiteY556" fmla="*/ 95970 h 3699583"/>
              <a:gd name="connsiteX557" fmla="*/ 10247290 w 11611708"/>
              <a:gd name="connsiteY557" fmla="*/ 112448 h 3699583"/>
              <a:gd name="connsiteX558" fmla="*/ 10303905 w 11611708"/>
              <a:gd name="connsiteY558" fmla="*/ 125630 h 3699583"/>
              <a:gd name="connsiteX559" fmla="*/ 10185014 w 11611708"/>
              <a:gd name="connsiteY559" fmla="*/ 175064 h 3699583"/>
              <a:gd name="connsiteX560" fmla="*/ 10349197 w 11611708"/>
              <a:gd name="connsiteY560" fmla="*/ 188246 h 3699583"/>
              <a:gd name="connsiteX561" fmla="*/ 10383166 w 11611708"/>
              <a:gd name="connsiteY561" fmla="*/ 237680 h 3699583"/>
              <a:gd name="connsiteX562" fmla="*/ 10615286 w 11611708"/>
              <a:gd name="connsiteY562" fmla="*/ 234384 h 3699583"/>
              <a:gd name="connsiteX563" fmla="*/ 10853069 w 11611708"/>
              <a:gd name="connsiteY563" fmla="*/ 198133 h 3699583"/>
              <a:gd name="connsiteX564" fmla="*/ 10841746 w 11611708"/>
              <a:gd name="connsiteY564" fmla="*/ 191542 h 3699583"/>
              <a:gd name="connsiteX565" fmla="*/ 10864392 w 11611708"/>
              <a:gd name="connsiteY565" fmla="*/ 181655 h 3699583"/>
              <a:gd name="connsiteX566" fmla="*/ 10841746 w 11611708"/>
              <a:gd name="connsiteY566" fmla="*/ 138812 h 3699583"/>
              <a:gd name="connsiteX567" fmla="*/ 10864392 w 11611708"/>
              <a:gd name="connsiteY567" fmla="*/ 138812 h 3699583"/>
              <a:gd name="connsiteX568" fmla="*/ 10841746 w 11611708"/>
              <a:gd name="connsiteY568" fmla="*/ 95970 h 3699583"/>
              <a:gd name="connsiteX569" fmla="*/ 10881376 w 11611708"/>
              <a:gd name="connsiteY569" fmla="*/ 72901 h 3699583"/>
              <a:gd name="connsiteX570" fmla="*/ 10841746 w 11611708"/>
              <a:gd name="connsiteY570" fmla="*/ 13580 h 3699583"/>
              <a:gd name="connsiteX571" fmla="*/ 10756824 w 11611708"/>
              <a:gd name="connsiteY571" fmla="*/ 30058 h 3699583"/>
              <a:gd name="connsiteX572" fmla="*/ 10705870 w 11611708"/>
              <a:gd name="connsiteY572" fmla="*/ 76196 h 3699583"/>
              <a:gd name="connsiteX573" fmla="*/ 10705870 w 11611708"/>
              <a:gd name="connsiteY573" fmla="*/ 43240 h 3699583"/>
              <a:gd name="connsiteX574" fmla="*/ 10711532 w 11611708"/>
              <a:gd name="connsiteY574" fmla="*/ 49832 h 3699583"/>
              <a:gd name="connsiteX575" fmla="*/ 10722855 w 11611708"/>
              <a:gd name="connsiteY575" fmla="*/ 33354 h 3699583"/>
              <a:gd name="connsiteX576" fmla="*/ 10643594 w 11611708"/>
              <a:gd name="connsiteY576" fmla="*/ 30058 h 3699583"/>
              <a:gd name="connsiteX577" fmla="*/ 10558672 w 11611708"/>
              <a:gd name="connsiteY577" fmla="*/ 72901 h 3699583"/>
              <a:gd name="connsiteX578" fmla="*/ 10615286 w 11611708"/>
              <a:gd name="connsiteY578" fmla="*/ 16876 h 3699583"/>
              <a:gd name="connsiteX579" fmla="*/ 10918176 w 11611708"/>
              <a:gd name="connsiteY579" fmla="*/ 398 h 369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Lst>
            <a:rect l="l" t="t" r="r" b="b"/>
            <a:pathLst>
              <a:path w="11611708" h="3699583">
                <a:moveTo>
                  <a:pt x="6061542" y="3663588"/>
                </a:moveTo>
                <a:lnTo>
                  <a:pt x="6052129" y="3668382"/>
                </a:lnTo>
                <a:cubicBezTo>
                  <a:pt x="6046467" y="3668382"/>
                  <a:pt x="6046467" y="3668382"/>
                  <a:pt x="6046467" y="3668382"/>
                </a:cubicBezTo>
                <a:close/>
                <a:moveTo>
                  <a:pt x="6064941" y="3662506"/>
                </a:moveTo>
                <a:lnTo>
                  <a:pt x="6061542" y="3663588"/>
                </a:lnTo>
                <a:lnTo>
                  <a:pt x="6063452" y="3662615"/>
                </a:lnTo>
                <a:close/>
                <a:moveTo>
                  <a:pt x="7535438" y="3642017"/>
                </a:moveTo>
                <a:cubicBezTo>
                  <a:pt x="7535438" y="3642017"/>
                  <a:pt x="7535438" y="3642017"/>
                  <a:pt x="7532607" y="3643665"/>
                </a:cubicBezTo>
                <a:lnTo>
                  <a:pt x="7528361" y="3646137"/>
                </a:lnTo>
                <a:lnTo>
                  <a:pt x="7528361" y="3646137"/>
                </a:lnTo>
                <a:cubicBezTo>
                  <a:pt x="7528361" y="3643665"/>
                  <a:pt x="7529777" y="3642017"/>
                  <a:pt x="7535438" y="3642017"/>
                </a:cubicBezTo>
                <a:close/>
                <a:moveTo>
                  <a:pt x="2731121" y="3641328"/>
                </a:moveTo>
                <a:lnTo>
                  <a:pt x="2745821" y="3642017"/>
                </a:lnTo>
                <a:cubicBezTo>
                  <a:pt x="2745821" y="3642017"/>
                  <a:pt x="2740160" y="3645313"/>
                  <a:pt x="2734498" y="3645313"/>
                </a:cubicBezTo>
                <a:close/>
                <a:moveTo>
                  <a:pt x="5791701" y="3635426"/>
                </a:moveTo>
                <a:cubicBezTo>
                  <a:pt x="5848315" y="3661791"/>
                  <a:pt x="5927576" y="3645313"/>
                  <a:pt x="5984191" y="3661791"/>
                </a:cubicBezTo>
                <a:cubicBezTo>
                  <a:pt x="5916253" y="3671678"/>
                  <a:pt x="5820008" y="3671678"/>
                  <a:pt x="5746409" y="3661791"/>
                </a:cubicBezTo>
                <a:cubicBezTo>
                  <a:pt x="5763393" y="3648609"/>
                  <a:pt x="5780378" y="3665087"/>
                  <a:pt x="5791701" y="3651904"/>
                </a:cubicBezTo>
                <a:close/>
                <a:moveTo>
                  <a:pt x="11124820" y="1849220"/>
                </a:moveTo>
                <a:cubicBezTo>
                  <a:pt x="11124820" y="1855811"/>
                  <a:pt x="11113497" y="1852516"/>
                  <a:pt x="11113497" y="1852516"/>
                </a:cubicBezTo>
                <a:lnTo>
                  <a:pt x="11109985" y="1850982"/>
                </a:lnTo>
                <a:close/>
                <a:moveTo>
                  <a:pt x="11095381" y="1844607"/>
                </a:moveTo>
                <a:lnTo>
                  <a:pt x="11109985" y="1850982"/>
                </a:lnTo>
                <a:lnTo>
                  <a:pt x="11107482" y="1851280"/>
                </a:lnTo>
                <a:cubicBezTo>
                  <a:pt x="11102882" y="1850456"/>
                  <a:pt x="11099344" y="1848396"/>
                  <a:pt x="11096513" y="1845924"/>
                </a:cubicBezTo>
                <a:close/>
                <a:moveTo>
                  <a:pt x="11085190" y="1832742"/>
                </a:moveTo>
                <a:lnTo>
                  <a:pt x="11095381" y="1844607"/>
                </a:lnTo>
                <a:lnTo>
                  <a:pt x="11093682" y="1843865"/>
                </a:lnTo>
                <a:cubicBezTo>
                  <a:pt x="11090851" y="1842629"/>
                  <a:pt x="11090851" y="1842629"/>
                  <a:pt x="11090851" y="1842629"/>
                </a:cubicBezTo>
                <a:cubicBezTo>
                  <a:pt x="11079528" y="1849220"/>
                  <a:pt x="11073867" y="1859107"/>
                  <a:pt x="11056882" y="1849220"/>
                </a:cubicBezTo>
                <a:cubicBezTo>
                  <a:pt x="11073867" y="1849220"/>
                  <a:pt x="11073867" y="1836038"/>
                  <a:pt x="11085190" y="1832742"/>
                </a:cubicBezTo>
                <a:close/>
                <a:moveTo>
                  <a:pt x="10918176" y="398"/>
                </a:moveTo>
                <a:cubicBezTo>
                  <a:pt x="11021498" y="-1250"/>
                  <a:pt x="11124820" y="2046"/>
                  <a:pt x="11221065" y="13580"/>
                </a:cubicBezTo>
                <a:cubicBezTo>
                  <a:pt x="11238050" y="39945"/>
                  <a:pt x="11272019" y="66310"/>
                  <a:pt x="11317311" y="89379"/>
                </a:cubicBezTo>
                <a:cubicBezTo>
                  <a:pt x="11294665" y="92674"/>
                  <a:pt x="11260696" y="82787"/>
                  <a:pt x="11226727" y="79492"/>
                </a:cubicBezTo>
                <a:cubicBezTo>
                  <a:pt x="11249373" y="66310"/>
                  <a:pt x="11243711" y="53127"/>
                  <a:pt x="11221065" y="43240"/>
                </a:cubicBezTo>
                <a:cubicBezTo>
                  <a:pt x="11204081" y="46536"/>
                  <a:pt x="11192758" y="56423"/>
                  <a:pt x="11181435" y="63014"/>
                </a:cubicBezTo>
                <a:cubicBezTo>
                  <a:pt x="11175774" y="56423"/>
                  <a:pt x="11175774" y="49832"/>
                  <a:pt x="11164451" y="46536"/>
                </a:cubicBezTo>
                <a:cubicBezTo>
                  <a:pt x="11119159" y="49832"/>
                  <a:pt x="11170112" y="89379"/>
                  <a:pt x="11113497" y="82787"/>
                </a:cubicBezTo>
                <a:cubicBezTo>
                  <a:pt x="11107836" y="99265"/>
                  <a:pt x="11096513" y="115743"/>
                  <a:pt x="11102174" y="135517"/>
                </a:cubicBezTo>
                <a:cubicBezTo>
                  <a:pt x="11085190" y="122334"/>
                  <a:pt x="11085190" y="102561"/>
                  <a:pt x="11056882" y="95970"/>
                </a:cubicBezTo>
                <a:cubicBezTo>
                  <a:pt x="11034236" y="109152"/>
                  <a:pt x="11039898" y="128926"/>
                  <a:pt x="11022913" y="142108"/>
                </a:cubicBezTo>
                <a:cubicBezTo>
                  <a:pt x="11017252" y="138812"/>
                  <a:pt x="11017252" y="132221"/>
                  <a:pt x="11005929" y="128926"/>
                </a:cubicBezTo>
                <a:cubicBezTo>
                  <a:pt x="10966299" y="151995"/>
                  <a:pt x="10966299" y="151995"/>
                  <a:pt x="10966299" y="151995"/>
                </a:cubicBezTo>
                <a:cubicBezTo>
                  <a:pt x="10994606" y="171768"/>
                  <a:pt x="11051221" y="175064"/>
                  <a:pt x="11079528" y="194837"/>
                </a:cubicBezTo>
                <a:cubicBezTo>
                  <a:pt x="11136143" y="201428"/>
                  <a:pt x="11158789" y="155290"/>
                  <a:pt x="11215404" y="175064"/>
                </a:cubicBezTo>
                <a:cubicBezTo>
                  <a:pt x="11209742" y="204724"/>
                  <a:pt x="11164451" y="191542"/>
                  <a:pt x="11130482" y="198133"/>
                </a:cubicBezTo>
                <a:cubicBezTo>
                  <a:pt x="11096513" y="204724"/>
                  <a:pt x="11068205" y="214611"/>
                  <a:pt x="11028575" y="214611"/>
                </a:cubicBezTo>
                <a:cubicBezTo>
                  <a:pt x="11062544" y="240975"/>
                  <a:pt x="11130482" y="244271"/>
                  <a:pt x="11164451" y="237680"/>
                </a:cubicBezTo>
                <a:cubicBezTo>
                  <a:pt x="11147466" y="247567"/>
                  <a:pt x="11147466" y="247567"/>
                  <a:pt x="11147466" y="247567"/>
                </a:cubicBezTo>
                <a:cubicBezTo>
                  <a:pt x="11153128" y="250862"/>
                  <a:pt x="11158789" y="250862"/>
                  <a:pt x="11164451" y="250862"/>
                </a:cubicBezTo>
                <a:cubicBezTo>
                  <a:pt x="11164451" y="254158"/>
                  <a:pt x="11164451" y="260749"/>
                  <a:pt x="11153128" y="267340"/>
                </a:cubicBezTo>
                <a:cubicBezTo>
                  <a:pt x="11153128" y="270636"/>
                  <a:pt x="11147466" y="250862"/>
                  <a:pt x="11130482" y="254158"/>
                </a:cubicBezTo>
                <a:cubicBezTo>
                  <a:pt x="11102174" y="264045"/>
                  <a:pt x="11085190" y="306887"/>
                  <a:pt x="11051221" y="277227"/>
                </a:cubicBezTo>
                <a:cubicBezTo>
                  <a:pt x="11011590" y="277227"/>
                  <a:pt x="11017252" y="300296"/>
                  <a:pt x="11000268" y="313478"/>
                </a:cubicBezTo>
                <a:cubicBezTo>
                  <a:pt x="11000268" y="323365"/>
                  <a:pt x="11005929" y="329956"/>
                  <a:pt x="11017252" y="333252"/>
                </a:cubicBezTo>
                <a:cubicBezTo>
                  <a:pt x="11039898" y="333252"/>
                  <a:pt x="11056882" y="329956"/>
                  <a:pt x="11073867" y="320069"/>
                </a:cubicBezTo>
                <a:cubicBezTo>
                  <a:pt x="11102174" y="339843"/>
                  <a:pt x="11102174" y="339843"/>
                  <a:pt x="11102174" y="339843"/>
                </a:cubicBezTo>
                <a:cubicBezTo>
                  <a:pt x="11102174" y="336547"/>
                  <a:pt x="11034236" y="339843"/>
                  <a:pt x="11022913" y="362912"/>
                </a:cubicBezTo>
                <a:cubicBezTo>
                  <a:pt x="11028575" y="376094"/>
                  <a:pt x="11000268" y="372799"/>
                  <a:pt x="10994606" y="382686"/>
                </a:cubicBezTo>
                <a:cubicBezTo>
                  <a:pt x="11034236" y="415641"/>
                  <a:pt x="10943653" y="451893"/>
                  <a:pt x="11017252" y="474962"/>
                </a:cubicBezTo>
                <a:cubicBezTo>
                  <a:pt x="11413556" y="474962"/>
                  <a:pt x="11413556" y="474962"/>
                  <a:pt x="11413556" y="474962"/>
                </a:cubicBezTo>
                <a:cubicBezTo>
                  <a:pt x="11430540" y="491440"/>
                  <a:pt x="11453186" y="514509"/>
                  <a:pt x="11492817" y="521100"/>
                </a:cubicBezTo>
                <a:cubicBezTo>
                  <a:pt x="11521124" y="530987"/>
                  <a:pt x="11560755" y="517804"/>
                  <a:pt x="11566416" y="544169"/>
                </a:cubicBezTo>
                <a:cubicBezTo>
                  <a:pt x="11515463" y="544169"/>
                  <a:pt x="11487155" y="577125"/>
                  <a:pt x="11470171" y="596898"/>
                </a:cubicBezTo>
                <a:cubicBezTo>
                  <a:pt x="11470171" y="610081"/>
                  <a:pt x="11470171" y="610081"/>
                  <a:pt x="11470171" y="610081"/>
                </a:cubicBezTo>
                <a:cubicBezTo>
                  <a:pt x="11487155" y="619968"/>
                  <a:pt x="11509801" y="603490"/>
                  <a:pt x="11526786" y="613376"/>
                </a:cubicBezTo>
                <a:cubicBezTo>
                  <a:pt x="11504140" y="629854"/>
                  <a:pt x="11464509" y="649628"/>
                  <a:pt x="11509801" y="669401"/>
                </a:cubicBezTo>
                <a:cubicBezTo>
                  <a:pt x="11504140" y="669401"/>
                  <a:pt x="11498478" y="675992"/>
                  <a:pt x="11498478" y="675992"/>
                </a:cubicBezTo>
                <a:cubicBezTo>
                  <a:pt x="11538109" y="692470"/>
                  <a:pt x="11543770" y="715539"/>
                  <a:pt x="11538109" y="741904"/>
                </a:cubicBezTo>
                <a:cubicBezTo>
                  <a:pt x="11515463" y="738609"/>
                  <a:pt x="11492817" y="748495"/>
                  <a:pt x="11492817" y="761678"/>
                </a:cubicBezTo>
                <a:cubicBezTo>
                  <a:pt x="11487155" y="784747"/>
                  <a:pt x="11504140" y="811111"/>
                  <a:pt x="11538109" y="814407"/>
                </a:cubicBezTo>
                <a:cubicBezTo>
                  <a:pt x="11538109" y="857250"/>
                  <a:pt x="11464509" y="903388"/>
                  <a:pt x="11538109" y="939639"/>
                </a:cubicBezTo>
                <a:cubicBezTo>
                  <a:pt x="11509801" y="982482"/>
                  <a:pt x="11498478" y="1031915"/>
                  <a:pt x="11509801" y="1081349"/>
                </a:cubicBezTo>
                <a:cubicBezTo>
                  <a:pt x="11475832" y="1081349"/>
                  <a:pt x="11453186" y="1094531"/>
                  <a:pt x="11441863" y="1107714"/>
                </a:cubicBezTo>
                <a:cubicBezTo>
                  <a:pt x="11407895" y="1157148"/>
                  <a:pt x="11475832" y="1196695"/>
                  <a:pt x="11447525" y="1242833"/>
                </a:cubicBezTo>
                <a:cubicBezTo>
                  <a:pt x="11464509" y="1252719"/>
                  <a:pt x="11492817" y="1249424"/>
                  <a:pt x="11481494" y="1269197"/>
                </a:cubicBezTo>
                <a:cubicBezTo>
                  <a:pt x="11441863" y="1308744"/>
                  <a:pt x="11226727" y="1259311"/>
                  <a:pt x="11322972" y="1341700"/>
                </a:cubicBezTo>
                <a:cubicBezTo>
                  <a:pt x="11328634" y="1354883"/>
                  <a:pt x="11317311" y="1368065"/>
                  <a:pt x="11294665" y="1374656"/>
                </a:cubicBezTo>
                <a:cubicBezTo>
                  <a:pt x="11090851" y="1404316"/>
                  <a:pt x="10841746" y="1374656"/>
                  <a:pt x="10643594" y="1410907"/>
                </a:cubicBezTo>
                <a:cubicBezTo>
                  <a:pt x="10660578" y="1430681"/>
                  <a:pt x="10705870" y="1427385"/>
                  <a:pt x="10722855" y="1447159"/>
                </a:cubicBezTo>
                <a:cubicBezTo>
                  <a:pt x="10734178" y="1440568"/>
                  <a:pt x="10739839" y="1437272"/>
                  <a:pt x="10734178" y="1430681"/>
                </a:cubicBezTo>
                <a:cubicBezTo>
                  <a:pt x="10711532" y="1417499"/>
                  <a:pt x="10711532" y="1417499"/>
                  <a:pt x="10711532" y="1417499"/>
                </a:cubicBezTo>
                <a:cubicBezTo>
                  <a:pt x="10756824" y="1417499"/>
                  <a:pt x="10796454" y="1420794"/>
                  <a:pt x="10830423" y="1440568"/>
                </a:cubicBezTo>
                <a:cubicBezTo>
                  <a:pt x="10841746" y="1433977"/>
                  <a:pt x="10847407" y="1427385"/>
                  <a:pt x="10841746" y="1417499"/>
                </a:cubicBezTo>
                <a:cubicBezTo>
                  <a:pt x="10864392" y="1420794"/>
                  <a:pt x="10887038" y="1410907"/>
                  <a:pt x="10904022" y="1424090"/>
                </a:cubicBezTo>
                <a:cubicBezTo>
                  <a:pt x="10892699" y="1424090"/>
                  <a:pt x="10881376" y="1420794"/>
                  <a:pt x="10875715" y="1427385"/>
                </a:cubicBezTo>
                <a:cubicBezTo>
                  <a:pt x="10926668" y="1450454"/>
                  <a:pt x="10858730" y="1493297"/>
                  <a:pt x="10932330" y="1509775"/>
                </a:cubicBezTo>
                <a:cubicBezTo>
                  <a:pt x="10943653" y="1532844"/>
                  <a:pt x="10926668" y="1559209"/>
                  <a:pt x="10949314" y="1582278"/>
                </a:cubicBezTo>
                <a:cubicBezTo>
                  <a:pt x="10960637" y="1569095"/>
                  <a:pt x="10988945" y="1578982"/>
                  <a:pt x="11011590" y="1575687"/>
                </a:cubicBezTo>
                <a:cubicBezTo>
                  <a:pt x="10994606" y="1585573"/>
                  <a:pt x="10977622" y="1598756"/>
                  <a:pt x="10949314" y="1598756"/>
                </a:cubicBezTo>
                <a:cubicBezTo>
                  <a:pt x="10949314" y="1605347"/>
                  <a:pt x="10960637" y="1611938"/>
                  <a:pt x="10966299" y="1615234"/>
                </a:cubicBezTo>
                <a:cubicBezTo>
                  <a:pt x="10977622" y="1611938"/>
                  <a:pt x="10977622" y="1611938"/>
                  <a:pt x="10977622" y="1611938"/>
                </a:cubicBezTo>
                <a:cubicBezTo>
                  <a:pt x="11000268" y="1641598"/>
                  <a:pt x="10887038" y="1654781"/>
                  <a:pt x="10949314" y="1684441"/>
                </a:cubicBezTo>
                <a:cubicBezTo>
                  <a:pt x="10904022" y="1697623"/>
                  <a:pt x="10932330" y="1730579"/>
                  <a:pt x="10943653" y="1750353"/>
                </a:cubicBezTo>
                <a:cubicBezTo>
                  <a:pt x="10966299" y="1763535"/>
                  <a:pt x="11000268" y="1780013"/>
                  <a:pt x="11039898" y="1770126"/>
                </a:cubicBezTo>
                <a:cubicBezTo>
                  <a:pt x="11045559" y="1770126"/>
                  <a:pt x="11045559" y="1770126"/>
                  <a:pt x="11045559" y="1770126"/>
                </a:cubicBezTo>
                <a:cubicBezTo>
                  <a:pt x="11056882" y="1766830"/>
                  <a:pt x="11051221" y="1776717"/>
                  <a:pt x="11051221" y="1780013"/>
                </a:cubicBezTo>
                <a:cubicBezTo>
                  <a:pt x="11017252" y="1776717"/>
                  <a:pt x="10994606" y="1796491"/>
                  <a:pt x="10966299" y="1809673"/>
                </a:cubicBezTo>
                <a:cubicBezTo>
                  <a:pt x="11011590" y="1806377"/>
                  <a:pt x="11028575" y="1836038"/>
                  <a:pt x="11056882" y="1849220"/>
                </a:cubicBezTo>
                <a:cubicBezTo>
                  <a:pt x="11022913" y="1849220"/>
                  <a:pt x="10994606" y="1829447"/>
                  <a:pt x="10954976" y="1842629"/>
                </a:cubicBezTo>
                <a:cubicBezTo>
                  <a:pt x="10898361" y="1872289"/>
                  <a:pt x="11005929" y="1921723"/>
                  <a:pt x="10909684" y="1934905"/>
                </a:cubicBezTo>
                <a:cubicBezTo>
                  <a:pt x="10921007" y="1941496"/>
                  <a:pt x="10943653" y="1944792"/>
                  <a:pt x="10954976" y="1954679"/>
                </a:cubicBezTo>
                <a:cubicBezTo>
                  <a:pt x="10887038" y="2000817"/>
                  <a:pt x="11045559" y="2046955"/>
                  <a:pt x="10921007" y="2079911"/>
                </a:cubicBezTo>
                <a:cubicBezTo>
                  <a:pt x="10932330" y="2086502"/>
                  <a:pt x="10932330" y="2086502"/>
                  <a:pt x="10932330" y="2086502"/>
                </a:cubicBezTo>
                <a:cubicBezTo>
                  <a:pt x="10898361" y="2096389"/>
                  <a:pt x="10887038" y="2122754"/>
                  <a:pt x="10847407" y="2126049"/>
                </a:cubicBezTo>
                <a:cubicBezTo>
                  <a:pt x="10819100" y="2106276"/>
                  <a:pt x="10819100" y="2106276"/>
                  <a:pt x="10819100" y="2106276"/>
                </a:cubicBezTo>
                <a:cubicBezTo>
                  <a:pt x="10779470" y="2149118"/>
                  <a:pt x="10683224" y="2089798"/>
                  <a:pt x="10666240" y="2142527"/>
                </a:cubicBezTo>
                <a:cubicBezTo>
                  <a:pt x="10688886" y="2152414"/>
                  <a:pt x="10722855" y="2159005"/>
                  <a:pt x="10756824" y="2159005"/>
                </a:cubicBezTo>
                <a:cubicBezTo>
                  <a:pt x="10705870" y="2159005"/>
                  <a:pt x="10649255" y="2145823"/>
                  <a:pt x="10626609" y="2178778"/>
                </a:cubicBezTo>
                <a:cubicBezTo>
                  <a:pt x="10643594" y="2208439"/>
                  <a:pt x="10688886" y="2188665"/>
                  <a:pt x="10728516" y="2195256"/>
                </a:cubicBezTo>
                <a:cubicBezTo>
                  <a:pt x="10705870" y="2198552"/>
                  <a:pt x="10683224" y="2218325"/>
                  <a:pt x="10666240" y="2231508"/>
                </a:cubicBezTo>
                <a:cubicBezTo>
                  <a:pt x="10643594" y="2271055"/>
                  <a:pt x="10683224" y="2310602"/>
                  <a:pt x="10671901" y="2353444"/>
                </a:cubicBezTo>
                <a:cubicBezTo>
                  <a:pt x="10728516" y="2386400"/>
                  <a:pt x="10819100" y="2350149"/>
                  <a:pt x="10887038" y="2376513"/>
                </a:cubicBezTo>
                <a:cubicBezTo>
                  <a:pt x="11011590" y="2369922"/>
                  <a:pt x="11147466" y="2386400"/>
                  <a:pt x="11255034" y="2363331"/>
                </a:cubicBezTo>
                <a:cubicBezTo>
                  <a:pt x="11266357" y="2366627"/>
                  <a:pt x="11260696" y="2373218"/>
                  <a:pt x="11260696" y="2379809"/>
                </a:cubicBezTo>
                <a:cubicBezTo>
                  <a:pt x="11221065" y="2389696"/>
                  <a:pt x="11170112" y="2383105"/>
                  <a:pt x="11124820" y="2396287"/>
                </a:cubicBezTo>
                <a:cubicBezTo>
                  <a:pt x="10807777" y="2406174"/>
                  <a:pt x="10807777" y="2406174"/>
                  <a:pt x="10807777" y="2406174"/>
                </a:cubicBezTo>
                <a:cubicBezTo>
                  <a:pt x="10796454" y="2419356"/>
                  <a:pt x="10768147" y="2419356"/>
                  <a:pt x="10768147" y="2432538"/>
                </a:cubicBezTo>
                <a:cubicBezTo>
                  <a:pt x="10739839" y="2435834"/>
                  <a:pt x="10722855" y="2416060"/>
                  <a:pt x="10705870" y="2406174"/>
                </a:cubicBezTo>
                <a:cubicBezTo>
                  <a:pt x="10683224" y="2432538"/>
                  <a:pt x="10643594" y="2449016"/>
                  <a:pt x="10654917" y="2481972"/>
                </a:cubicBezTo>
                <a:cubicBezTo>
                  <a:pt x="10847407" y="2544588"/>
                  <a:pt x="11107836" y="2485268"/>
                  <a:pt x="11322972" y="2518224"/>
                </a:cubicBezTo>
                <a:cubicBezTo>
                  <a:pt x="11351280" y="2541293"/>
                  <a:pt x="11300326" y="2594022"/>
                  <a:pt x="11373926" y="2597318"/>
                </a:cubicBezTo>
                <a:cubicBezTo>
                  <a:pt x="11351280" y="2610500"/>
                  <a:pt x="11385249" y="2623682"/>
                  <a:pt x="11385249" y="2633569"/>
                </a:cubicBezTo>
                <a:cubicBezTo>
                  <a:pt x="11390910" y="2706072"/>
                  <a:pt x="11390910" y="2706072"/>
                  <a:pt x="11390910" y="2706072"/>
                </a:cubicBezTo>
                <a:cubicBezTo>
                  <a:pt x="11430540" y="2699481"/>
                  <a:pt x="11487155" y="2692889"/>
                  <a:pt x="11526786" y="2699481"/>
                </a:cubicBezTo>
                <a:cubicBezTo>
                  <a:pt x="11555093" y="2706072"/>
                  <a:pt x="11577739" y="2706072"/>
                  <a:pt x="11611708" y="2706072"/>
                </a:cubicBezTo>
                <a:cubicBezTo>
                  <a:pt x="11532447" y="2719254"/>
                  <a:pt x="11441863" y="2709367"/>
                  <a:pt x="11385249" y="2748914"/>
                </a:cubicBezTo>
                <a:cubicBezTo>
                  <a:pt x="11419217" y="2755506"/>
                  <a:pt x="11453186" y="2771983"/>
                  <a:pt x="11498478" y="2775279"/>
                </a:cubicBezTo>
                <a:cubicBezTo>
                  <a:pt x="11475832" y="2785166"/>
                  <a:pt x="11453186" y="2788461"/>
                  <a:pt x="11424879" y="2785166"/>
                </a:cubicBezTo>
                <a:cubicBezTo>
                  <a:pt x="11424879" y="2775279"/>
                  <a:pt x="11402233" y="2778575"/>
                  <a:pt x="11385249" y="2778575"/>
                </a:cubicBezTo>
                <a:cubicBezTo>
                  <a:pt x="11379587" y="2781870"/>
                  <a:pt x="11379587" y="2785166"/>
                  <a:pt x="11373926" y="2791757"/>
                </a:cubicBezTo>
                <a:cubicBezTo>
                  <a:pt x="11385249" y="2798348"/>
                  <a:pt x="11396572" y="2801644"/>
                  <a:pt x="11413556" y="2798348"/>
                </a:cubicBezTo>
                <a:cubicBezTo>
                  <a:pt x="11402233" y="2808235"/>
                  <a:pt x="11390910" y="2818122"/>
                  <a:pt x="11419217" y="2828008"/>
                </a:cubicBezTo>
                <a:cubicBezTo>
                  <a:pt x="11441863" y="2831304"/>
                  <a:pt x="11481494" y="2821417"/>
                  <a:pt x="11492817" y="2837895"/>
                </a:cubicBezTo>
                <a:cubicBezTo>
                  <a:pt x="11447525" y="2844486"/>
                  <a:pt x="11413556" y="2874147"/>
                  <a:pt x="11396572" y="2897216"/>
                </a:cubicBezTo>
                <a:cubicBezTo>
                  <a:pt x="11390910" y="2913694"/>
                  <a:pt x="11407895" y="2920285"/>
                  <a:pt x="11424879" y="2930171"/>
                </a:cubicBezTo>
                <a:cubicBezTo>
                  <a:pt x="11453186" y="2940058"/>
                  <a:pt x="11475832" y="2923580"/>
                  <a:pt x="11498478" y="2913694"/>
                </a:cubicBezTo>
                <a:cubicBezTo>
                  <a:pt x="11498478" y="2903807"/>
                  <a:pt x="11498478" y="2903807"/>
                  <a:pt x="11498478" y="2903807"/>
                </a:cubicBezTo>
                <a:cubicBezTo>
                  <a:pt x="11526786" y="2923580"/>
                  <a:pt x="11526786" y="2923580"/>
                  <a:pt x="11526786" y="2923580"/>
                </a:cubicBezTo>
                <a:cubicBezTo>
                  <a:pt x="11487155" y="2926876"/>
                  <a:pt x="11458848" y="2949945"/>
                  <a:pt x="11424879" y="2963127"/>
                </a:cubicBezTo>
                <a:cubicBezTo>
                  <a:pt x="11436202" y="2956536"/>
                  <a:pt x="11424879" y="2949945"/>
                  <a:pt x="11419217" y="2943354"/>
                </a:cubicBezTo>
                <a:cubicBezTo>
                  <a:pt x="11402233" y="2940058"/>
                  <a:pt x="11390910" y="2956536"/>
                  <a:pt x="11373926" y="2956536"/>
                </a:cubicBezTo>
                <a:cubicBezTo>
                  <a:pt x="11373926" y="2969718"/>
                  <a:pt x="11385249" y="2979605"/>
                  <a:pt x="11402233" y="2982901"/>
                </a:cubicBezTo>
                <a:cubicBezTo>
                  <a:pt x="11481494" y="2989492"/>
                  <a:pt x="11481494" y="2989492"/>
                  <a:pt x="11481494" y="2989492"/>
                </a:cubicBezTo>
                <a:cubicBezTo>
                  <a:pt x="11481494" y="2996083"/>
                  <a:pt x="11481494" y="2996083"/>
                  <a:pt x="11481494" y="2996083"/>
                </a:cubicBezTo>
                <a:cubicBezTo>
                  <a:pt x="11453186" y="2996083"/>
                  <a:pt x="11436202" y="3002674"/>
                  <a:pt x="11407895" y="2999379"/>
                </a:cubicBezTo>
                <a:cubicBezTo>
                  <a:pt x="11424879" y="3025743"/>
                  <a:pt x="11419217" y="3068586"/>
                  <a:pt x="11413556" y="3101542"/>
                </a:cubicBezTo>
                <a:cubicBezTo>
                  <a:pt x="11424879" y="3121315"/>
                  <a:pt x="11453186" y="3131202"/>
                  <a:pt x="11481494" y="3134498"/>
                </a:cubicBezTo>
                <a:cubicBezTo>
                  <a:pt x="11470171" y="3150976"/>
                  <a:pt x="11396572" y="3154271"/>
                  <a:pt x="11424879" y="3177340"/>
                </a:cubicBezTo>
                <a:cubicBezTo>
                  <a:pt x="11441863" y="3177340"/>
                  <a:pt x="11453186" y="3160862"/>
                  <a:pt x="11470171" y="3164158"/>
                </a:cubicBezTo>
                <a:cubicBezTo>
                  <a:pt x="11481494" y="3187227"/>
                  <a:pt x="11481494" y="3187227"/>
                  <a:pt x="11481494" y="3187227"/>
                </a:cubicBezTo>
                <a:cubicBezTo>
                  <a:pt x="11453186" y="3197114"/>
                  <a:pt x="11413556" y="3187227"/>
                  <a:pt x="11390910" y="3203705"/>
                </a:cubicBezTo>
                <a:cubicBezTo>
                  <a:pt x="11430540" y="3213592"/>
                  <a:pt x="11385249" y="3230070"/>
                  <a:pt x="11390910" y="3246547"/>
                </a:cubicBezTo>
                <a:cubicBezTo>
                  <a:pt x="11300326" y="3286094"/>
                  <a:pt x="11198420" y="3203705"/>
                  <a:pt x="11119159" y="3266321"/>
                </a:cubicBezTo>
                <a:cubicBezTo>
                  <a:pt x="11017252" y="3236661"/>
                  <a:pt x="10898361" y="3272912"/>
                  <a:pt x="10785131" y="3259730"/>
                </a:cubicBezTo>
                <a:cubicBezTo>
                  <a:pt x="10751162" y="3282799"/>
                  <a:pt x="10751162" y="3282799"/>
                  <a:pt x="10751162" y="3282799"/>
                </a:cubicBezTo>
                <a:cubicBezTo>
                  <a:pt x="10762485" y="3292686"/>
                  <a:pt x="10779470" y="3305868"/>
                  <a:pt x="10802115" y="3305868"/>
                </a:cubicBezTo>
                <a:cubicBezTo>
                  <a:pt x="10807777" y="3302572"/>
                  <a:pt x="10807777" y="3302572"/>
                  <a:pt x="10807777" y="3302572"/>
                </a:cubicBezTo>
                <a:cubicBezTo>
                  <a:pt x="10700209" y="3381666"/>
                  <a:pt x="10870053" y="3454169"/>
                  <a:pt x="10807777" y="3533263"/>
                </a:cubicBezTo>
                <a:cubicBezTo>
                  <a:pt x="10762485" y="3539854"/>
                  <a:pt x="10762485" y="3566219"/>
                  <a:pt x="10739839" y="3582697"/>
                </a:cubicBezTo>
                <a:cubicBezTo>
                  <a:pt x="10649255" y="3628835"/>
                  <a:pt x="10536026" y="3638722"/>
                  <a:pt x="10434119" y="3661791"/>
                </a:cubicBezTo>
                <a:cubicBezTo>
                  <a:pt x="10315228" y="3681564"/>
                  <a:pt x="10156706" y="3701338"/>
                  <a:pt x="10032153" y="3668382"/>
                </a:cubicBezTo>
                <a:cubicBezTo>
                  <a:pt x="10043476" y="3645313"/>
                  <a:pt x="10100091" y="3651904"/>
                  <a:pt x="10134060" y="3642017"/>
                </a:cubicBezTo>
                <a:cubicBezTo>
                  <a:pt x="10145383" y="3638722"/>
                  <a:pt x="10156706" y="3645313"/>
                  <a:pt x="10162368" y="3651904"/>
                </a:cubicBezTo>
                <a:cubicBezTo>
                  <a:pt x="10168029" y="3648609"/>
                  <a:pt x="10173691" y="3642017"/>
                  <a:pt x="10185014" y="3638722"/>
                </a:cubicBezTo>
                <a:cubicBezTo>
                  <a:pt x="10162368" y="3599175"/>
                  <a:pt x="10066122" y="3622244"/>
                  <a:pt x="10026492" y="3618948"/>
                </a:cubicBezTo>
                <a:cubicBezTo>
                  <a:pt x="10003846" y="3625540"/>
                  <a:pt x="9992523" y="3632131"/>
                  <a:pt x="9975539" y="3638722"/>
                </a:cubicBezTo>
                <a:cubicBezTo>
                  <a:pt x="9981200" y="3642017"/>
                  <a:pt x="9992523" y="3648609"/>
                  <a:pt x="10003846" y="3651904"/>
                </a:cubicBezTo>
                <a:lnTo>
                  <a:pt x="10003846" y="3665756"/>
                </a:lnTo>
                <a:cubicBezTo>
                  <a:pt x="10003846" y="3678269"/>
                  <a:pt x="10003846" y="3678269"/>
                  <a:pt x="10003846" y="3678269"/>
                </a:cubicBezTo>
                <a:cubicBezTo>
                  <a:pt x="9850986" y="3668382"/>
                  <a:pt x="9850986" y="3668382"/>
                  <a:pt x="9850986" y="3668382"/>
                </a:cubicBezTo>
                <a:cubicBezTo>
                  <a:pt x="9850986" y="3651904"/>
                  <a:pt x="9890616" y="3661791"/>
                  <a:pt x="9913262" y="3655200"/>
                </a:cubicBezTo>
                <a:cubicBezTo>
                  <a:pt x="9930247" y="3645313"/>
                  <a:pt x="9907601" y="3632131"/>
                  <a:pt x="9890616" y="3628835"/>
                </a:cubicBezTo>
                <a:cubicBezTo>
                  <a:pt x="9850986" y="3632131"/>
                  <a:pt x="9794371" y="3622244"/>
                  <a:pt x="9760402" y="3635426"/>
                </a:cubicBezTo>
                <a:cubicBezTo>
                  <a:pt x="9777387" y="3642017"/>
                  <a:pt x="9794371" y="3655200"/>
                  <a:pt x="9817017" y="3655200"/>
                </a:cubicBezTo>
                <a:cubicBezTo>
                  <a:pt x="9828340" y="3661791"/>
                  <a:pt x="9817017" y="3678269"/>
                  <a:pt x="9794371" y="3681564"/>
                </a:cubicBezTo>
                <a:cubicBezTo>
                  <a:pt x="9482989" y="3678269"/>
                  <a:pt x="9482989" y="3678269"/>
                  <a:pt x="9482989" y="3678269"/>
                </a:cubicBezTo>
                <a:cubicBezTo>
                  <a:pt x="9482989" y="3678269"/>
                  <a:pt x="9488651" y="3674973"/>
                  <a:pt x="9482989" y="3671678"/>
                </a:cubicBezTo>
                <a:cubicBezTo>
                  <a:pt x="9466005" y="3655200"/>
                  <a:pt x="9449020" y="3681564"/>
                  <a:pt x="9432036" y="3678269"/>
                </a:cubicBezTo>
                <a:cubicBezTo>
                  <a:pt x="9392405" y="3681564"/>
                  <a:pt x="9369760" y="3674973"/>
                  <a:pt x="9347114" y="3661791"/>
                </a:cubicBezTo>
                <a:cubicBezTo>
                  <a:pt x="9369760" y="3632131"/>
                  <a:pt x="9432036" y="3668382"/>
                  <a:pt x="9460343" y="3645313"/>
                </a:cubicBezTo>
                <a:cubicBezTo>
                  <a:pt x="9449020" y="3628835"/>
                  <a:pt x="9420713" y="3628835"/>
                  <a:pt x="9392405" y="3628835"/>
                </a:cubicBezTo>
                <a:cubicBezTo>
                  <a:pt x="9398067" y="3625540"/>
                  <a:pt x="9403728" y="3622244"/>
                  <a:pt x="9403728" y="3618948"/>
                </a:cubicBezTo>
                <a:cubicBezTo>
                  <a:pt x="9392405" y="3602470"/>
                  <a:pt x="9358437" y="3609062"/>
                  <a:pt x="9335791" y="3612357"/>
                </a:cubicBezTo>
                <a:cubicBezTo>
                  <a:pt x="9301822" y="3618948"/>
                  <a:pt x="9284837" y="3642017"/>
                  <a:pt x="9301822" y="3661791"/>
                </a:cubicBezTo>
                <a:cubicBezTo>
                  <a:pt x="9313145" y="3661791"/>
                  <a:pt x="9301822" y="3671678"/>
                  <a:pt x="9307483" y="3674973"/>
                </a:cubicBezTo>
                <a:cubicBezTo>
                  <a:pt x="9222561" y="3691451"/>
                  <a:pt x="9109331" y="3688156"/>
                  <a:pt x="9030070" y="3668382"/>
                </a:cubicBezTo>
                <a:cubicBezTo>
                  <a:pt x="9018747" y="3681564"/>
                  <a:pt x="8984778" y="3684860"/>
                  <a:pt x="8967794" y="3678269"/>
                </a:cubicBezTo>
                <a:cubicBezTo>
                  <a:pt x="8956471" y="3674973"/>
                  <a:pt x="8950810" y="3665087"/>
                  <a:pt x="8939487" y="3668382"/>
                </a:cubicBezTo>
                <a:cubicBezTo>
                  <a:pt x="8928164" y="3668382"/>
                  <a:pt x="8933825" y="3674973"/>
                  <a:pt x="8928164" y="3678269"/>
                </a:cubicBezTo>
                <a:cubicBezTo>
                  <a:pt x="8916841" y="3678269"/>
                  <a:pt x="8916841" y="3678269"/>
                  <a:pt x="8916841" y="3678269"/>
                </a:cubicBezTo>
                <a:cubicBezTo>
                  <a:pt x="8905518" y="3655200"/>
                  <a:pt x="8945148" y="3655200"/>
                  <a:pt x="8962133" y="3648609"/>
                </a:cubicBezTo>
                <a:cubicBezTo>
                  <a:pt x="9035732" y="3665087"/>
                  <a:pt x="9120654" y="3635426"/>
                  <a:pt x="9188592" y="3661791"/>
                </a:cubicBezTo>
                <a:cubicBezTo>
                  <a:pt x="9216899" y="3645313"/>
                  <a:pt x="9228222" y="3625540"/>
                  <a:pt x="9233884" y="3602470"/>
                </a:cubicBezTo>
                <a:cubicBezTo>
                  <a:pt x="9143300" y="3589288"/>
                  <a:pt x="9069701" y="3632131"/>
                  <a:pt x="8979117" y="3612357"/>
                </a:cubicBezTo>
                <a:cubicBezTo>
                  <a:pt x="8905518" y="3635426"/>
                  <a:pt x="8809272" y="3576106"/>
                  <a:pt x="8746996" y="3628835"/>
                </a:cubicBezTo>
                <a:cubicBezTo>
                  <a:pt x="8701704" y="3605766"/>
                  <a:pt x="8599797" y="3651904"/>
                  <a:pt x="8594136" y="3599175"/>
                </a:cubicBezTo>
                <a:cubicBezTo>
                  <a:pt x="8577151" y="3589288"/>
                  <a:pt x="8543183" y="3592584"/>
                  <a:pt x="8520537" y="3595879"/>
                </a:cubicBezTo>
                <a:cubicBezTo>
                  <a:pt x="8475245" y="3609062"/>
                  <a:pt x="8435614" y="3655200"/>
                  <a:pt x="8373338" y="3625540"/>
                </a:cubicBezTo>
                <a:cubicBezTo>
                  <a:pt x="8367676" y="3628835"/>
                  <a:pt x="8356354" y="3628835"/>
                  <a:pt x="8350692" y="3635426"/>
                </a:cubicBezTo>
                <a:cubicBezTo>
                  <a:pt x="8379000" y="3665087"/>
                  <a:pt x="8486568" y="3625540"/>
                  <a:pt x="8486568" y="3678269"/>
                </a:cubicBezTo>
                <a:cubicBezTo>
                  <a:pt x="8395984" y="3684860"/>
                  <a:pt x="8294077" y="3698042"/>
                  <a:pt x="8220478" y="3668382"/>
                </a:cubicBezTo>
                <a:cubicBezTo>
                  <a:pt x="8209155" y="3678269"/>
                  <a:pt x="8186509" y="3691451"/>
                  <a:pt x="8158202" y="3684860"/>
                </a:cubicBezTo>
                <a:cubicBezTo>
                  <a:pt x="8163863" y="3681564"/>
                  <a:pt x="8152540" y="3674973"/>
                  <a:pt x="8146878" y="3671678"/>
                </a:cubicBezTo>
                <a:cubicBezTo>
                  <a:pt x="8124232" y="3681564"/>
                  <a:pt x="8101586" y="3688156"/>
                  <a:pt x="8067618" y="3684860"/>
                </a:cubicBezTo>
                <a:cubicBezTo>
                  <a:pt x="8061956" y="3661791"/>
                  <a:pt x="8056295" y="3635426"/>
                  <a:pt x="8027988" y="3618948"/>
                </a:cubicBezTo>
                <a:cubicBezTo>
                  <a:pt x="8011003" y="3595879"/>
                  <a:pt x="7954388" y="3622244"/>
                  <a:pt x="7948727" y="3595879"/>
                </a:cubicBezTo>
                <a:cubicBezTo>
                  <a:pt x="7914758" y="3572810"/>
                  <a:pt x="7858143" y="3572810"/>
                  <a:pt x="7812851" y="3576106"/>
                </a:cubicBezTo>
                <a:cubicBezTo>
                  <a:pt x="7744913" y="3595879"/>
                  <a:pt x="7744913" y="3595879"/>
                  <a:pt x="7744913" y="3595879"/>
                </a:cubicBezTo>
                <a:cubicBezTo>
                  <a:pt x="7761898" y="3602470"/>
                  <a:pt x="7773221" y="3609062"/>
                  <a:pt x="7790205" y="3609062"/>
                </a:cubicBezTo>
                <a:cubicBezTo>
                  <a:pt x="7778882" y="3612357"/>
                  <a:pt x="7761898" y="3618948"/>
                  <a:pt x="7739252" y="3615653"/>
                </a:cubicBezTo>
                <a:cubicBezTo>
                  <a:pt x="7739252" y="3605766"/>
                  <a:pt x="7727929" y="3595879"/>
                  <a:pt x="7716606" y="3589288"/>
                </a:cubicBezTo>
                <a:cubicBezTo>
                  <a:pt x="7682637" y="3615653"/>
                  <a:pt x="7626022" y="3618948"/>
                  <a:pt x="7580730" y="3612357"/>
                </a:cubicBezTo>
                <a:cubicBezTo>
                  <a:pt x="7580730" y="3589288"/>
                  <a:pt x="7569407" y="3569515"/>
                  <a:pt x="7546761" y="3556332"/>
                </a:cubicBezTo>
                <a:cubicBezTo>
                  <a:pt x="7473162" y="3562923"/>
                  <a:pt x="7512792" y="3651904"/>
                  <a:pt x="7422209" y="3618948"/>
                </a:cubicBezTo>
                <a:cubicBezTo>
                  <a:pt x="7422209" y="3635426"/>
                  <a:pt x="7280671" y="3625540"/>
                  <a:pt x="7382578" y="3651904"/>
                </a:cubicBezTo>
                <a:cubicBezTo>
                  <a:pt x="7422209" y="3661791"/>
                  <a:pt x="7478823" y="3642017"/>
                  <a:pt x="7512792" y="3655200"/>
                </a:cubicBezTo>
                <a:lnTo>
                  <a:pt x="7528361" y="3646137"/>
                </a:lnTo>
                <a:lnTo>
                  <a:pt x="7529777" y="3655200"/>
                </a:lnTo>
                <a:cubicBezTo>
                  <a:pt x="7535438" y="3661791"/>
                  <a:pt x="7552423" y="3661791"/>
                  <a:pt x="7569407" y="3668382"/>
                </a:cubicBezTo>
                <a:cubicBezTo>
                  <a:pt x="7569407" y="3671678"/>
                  <a:pt x="7563746" y="3681564"/>
                  <a:pt x="7552423" y="3681564"/>
                </a:cubicBezTo>
                <a:cubicBezTo>
                  <a:pt x="7501469" y="3678269"/>
                  <a:pt x="7450516" y="3688156"/>
                  <a:pt x="7399563" y="3684860"/>
                </a:cubicBezTo>
                <a:cubicBezTo>
                  <a:pt x="7399563" y="3671678"/>
                  <a:pt x="7393901" y="3655200"/>
                  <a:pt x="7371255" y="3655200"/>
                </a:cubicBezTo>
                <a:cubicBezTo>
                  <a:pt x="7354271" y="3661791"/>
                  <a:pt x="7325963" y="3658495"/>
                  <a:pt x="7308979" y="3671678"/>
                </a:cubicBezTo>
                <a:cubicBezTo>
                  <a:pt x="7308979" y="3684860"/>
                  <a:pt x="7308979" y="3684860"/>
                  <a:pt x="7308979" y="3684860"/>
                </a:cubicBezTo>
                <a:cubicBezTo>
                  <a:pt x="7127811" y="3678269"/>
                  <a:pt x="7127811" y="3678269"/>
                  <a:pt x="7127811" y="3678269"/>
                </a:cubicBezTo>
                <a:cubicBezTo>
                  <a:pt x="7133473" y="3671678"/>
                  <a:pt x="7116488" y="3668382"/>
                  <a:pt x="7110827" y="3661791"/>
                </a:cubicBezTo>
                <a:cubicBezTo>
                  <a:pt x="7059873" y="3665087"/>
                  <a:pt x="7014582" y="3671678"/>
                  <a:pt x="6963628" y="3668382"/>
                </a:cubicBezTo>
                <a:cubicBezTo>
                  <a:pt x="6940982" y="3658495"/>
                  <a:pt x="6969290" y="3625540"/>
                  <a:pt x="6918336" y="3628835"/>
                </a:cubicBezTo>
                <a:cubicBezTo>
                  <a:pt x="6912675" y="3635426"/>
                  <a:pt x="6884367" y="3642017"/>
                  <a:pt x="6901352" y="3651904"/>
                </a:cubicBezTo>
                <a:cubicBezTo>
                  <a:pt x="6901352" y="3661791"/>
                  <a:pt x="6935321" y="3651904"/>
                  <a:pt x="6923998" y="3668382"/>
                </a:cubicBezTo>
                <a:cubicBezTo>
                  <a:pt x="6810768" y="3668382"/>
                  <a:pt x="6810768" y="3668382"/>
                  <a:pt x="6810768" y="3668382"/>
                </a:cubicBezTo>
                <a:cubicBezTo>
                  <a:pt x="6799445" y="3655200"/>
                  <a:pt x="6805107" y="3635426"/>
                  <a:pt x="6805107" y="3625540"/>
                </a:cubicBezTo>
                <a:cubicBezTo>
                  <a:pt x="6822091" y="3625540"/>
                  <a:pt x="6822091" y="3625540"/>
                  <a:pt x="6822091" y="3625540"/>
                </a:cubicBezTo>
                <a:cubicBezTo>
                  <a:pt x="6810768" y="3635426"/>
                  <a:pt x="6822091" y="3645313"/>
                  <a:pt x="6833414" y="3655200"/>
                </a:cubicBezTo>
                <a:cubicBezTo>
                  <a:pt x="6844737" y="3655200"/>
                  <a:pt x="6856060" y="3655200"/>
                  <a:pt x="6867383" y="3648609"/>
                </a:cubicBezTo>
                <a:cubicBezTo>
                  <a:pt x="6856060" y="3622244"/>
                  <a:pt x="6856060" y="3622244"/>
                  <a:pt x="6856060" y="3622244"/>
                </a:cubicBezTo>
                <a:cubicBezTo>
                  <a:pt x="6901352" y="3638722"/>
                  <a:pt x="7042889" y="3595879"/>
                  <a:pt x="7059873" y="3655200"/>
                </a:cubicBezTo>
                <a:cubicBezTo>
                  <a:pt x="7110827" y="3648609"/>
                  <a:pt x="7150457" y="3671678"/>
                  <a:pt x="7201411" y="3671678"/>
                </a:cubicBezTo>
                <a:cubicBezTo>
                  <a:pt x="7229718" y="3661791"/>
                  <a:pt x="7195749" y="3645313"/>
                  <a:pt x="7212734" y="3632131"/>
                </a:cubicBezTo>
                <a:cubicBezTo>
                  <a:pt x="7229718" y="3628835"/>
                  <a:pt x="7269348" y="3638722"/>
                  <a:pt x="7269348" y="3622244"/>
                </a:cubicBezTo>
                <a:cubicBezTo>
                  <a:pt x="7275010" y="3609062"/>
                  <a:pt x="7246702" y="3605766"/>
                  <a:pt x="7235379" y="3602470"/>
                </a:cubicBezTo>
                <a:cubicBezTo>
                  <a:pt x="7224057" y="3602470"/>
                  <a:pt x="7224057" y="3602470"/>
                  <a:pt x="7224057" y="3602470"/>
                </a:cubicBezTo>
                <a:cubicBezTo>
                  <a:pt x="7229718" y="3589288"/>
                  <a:pt x="7241041" y="3572810"/>
                  <a:pt x="7269348" y="3562923"/>
                </a:cubicBezTo>
                <a:cubicBezTo>
                  <a:pt x="7258025" y="3549741"/>
                  <a:pt x="7241041" y="3556332"/>
                  <a:pt x="7224057" y="3556332"/>
                </a:cubicBezTo>
                <a:cubicBezTo>
                  <a:pt x="7207072" y="3559628"/>
                  <a:pt x="7218395" y="3585993"/>
                  <a:pt x="7190088" y="3572810"/>
                </a:cubicBezTo>
                <a:cubicBezTo>
                  <a:pt x="7150457" y="3553037"/>
                  <a:pt x="7105165" y="3543150"/>
                  <a:pt x="7048550" y="3553037"/>
                </a:cubicBezTo>
                <a:cubicBezTo>
                  <a:pt x="7037227" y="3556332"/>
                  <a:pt x="7025905" y="3556332"/>
                  <a:pt x="7014582" y="3566219"/>
                </a:cubicBezTo>
                <a:cubicBezTo>
                  <a:pt x="7003259" y="3553037"/>
                  <a:pt x="6969290" y="3549741"/>
                  <a:pt x="6946644" y="3556332"/>
                </a:cubicBezTo>
                <a:cubicBezTo>
                  <a:pt x="6918336" y="3569515"/>
                  <a:pt x="6878706" y="3582697"/>
                  <a:pt x="6844737" y="3572810"/>
                </a:cubicBezTo>
                <a:cubicBezTo>
                  <a:pt x="6827752" y="3559628"/>
                  <a:pt x="6827752" y="3559628"/>
                  <a:pt x="6827752" y="3559628"/>
                </a:cubicBezTo>
                <a:cubicBezTo>
                  <a:pt x="6793784" y="3589288"/>
                  <a:pt x="6708861" y="3556332"/>
                  <a:pt x="6680554" y="3589288"/>
                </a:cubicBezTo>
                <a:cubicBezTo>
                  <a:pt x="6731507" y="3599175"/>
                  <a:pt x="6731507" y="3599175"/>
                  <a:pt x="6731507" y="3599175"/>
                </a:cubicBezTo>
                <a:cubicBezTo>
                  <a:pt x="6714523" y="3628835"/>
                  <a:pt x="6703200" y="3658495"/>
                  <a:pt x="6646585" y="3674973"/>
                </a:cubicBezTo>
                <a:cubicBezTo>
                  <a:pt x="6606955" y="3665087"/>
                  <a:pt x="6556001" y="3688156"/>
                  <a:pt x="6533355" y="3655200"/>
                </a:cubicBezTo>
                <a:cubicBezTo>
                  <a:pt x="6556001" y="3655200"/>
                  <a:pt x="6567324" y="3665087"/>
                  <a:pt x="6589970" y="3668382"/>
                </a:cubicBezTo>
                <a:cubicBezTo>
                  <a:pt x="6601293" y="3661791"/>
                  <a:pt x="6601293" y="3661791"/>
                  <a:pt x="6601293" y="3661791"/>
                </a:cubicBezTo>
                <a:cubicBezTo>
                  <a:pt x="6567324" y="3635426"/>
                  <a:pt x="6567324" y="3635426"/>
                  <a:pt x="6567324" y="3635426"/>
                </a:cubicBezTo>
                <a:cubicBezTo>
                  <a:pt x="6606955" y="3632131"/>
                  <a:pt x="6680554" y="3632131"/>
                  <a:pt x="6691877" y="3599175"/>
                </a:cubicBezTo>
                <a:cubicBezTo>
                  <a:pt x="6686215" y="3595879"/>
                  <a:pt x="6669231" y="3595879"/>
                  <a:pt x="6657908" y="3595879"/>
                </a:cubicBezTo>
                <a:cubicBezTo>
                  <a:pt x="6652246" y="3582697"/>
                  <a:pt x="6697538" y="3582697"/>
                  <a:pt x="6674892" y="3569515"/>
                </a:cubicBezTo>
                <a:cubicBezTo>
                  <a:pt x="6646585" y="3553037"/>
                  <a:pt x="6612616" y="3546446"/>
                  <a:pt x="6572986" y="3549741"/>
                </a:cubicBezTo>
                <a:cubicBezTo>
                  <a:pt x="6567324" y="3559628"/>
                  <a:pt x="6544678" y="3566219"/>
                  <a:pt x="6527694" y="3559628"/>
                </a:cubicBezTo>
                <a:cubicBezTo>
                  <a:pt x="6505048" y="3543150"/>
                  <a:pt x="6527694" y="3529968"/>
                  <a:pt x="6539017" y="3513490"/>
                </a:cubicBezTo>
                <a:cubicBezTo>
                  <a:pt x="6561663" y="3510194"/>
                  <a:pt x="6567324" y="3526672"/>
                  <a:pt x="6584309" y="3523376"/>
                </a:cubicBezTo>
                <a:cubicBezTo>
                  <a:pt x="6589970" y="3513490"/>
                  <a:pt x="6595632" y="3506899"/>
                  <a:pt x="6572986" y="3503603"/>
                </a:cubicBezTo>
                <a:cubicBezTo>
                  <a:pt x="6516371" y="3487125"/>
                  <a:pt x="6459756" y="3529968"/>
                  <a:pt x="6414464" y="3497012"/>
                </a:cubicBezTo>
                <a:cubicBezTo>
                  <a:pt x="6386157" y="3516785"/>
                  <a:pt x="6352188" y="3483829"/>
                  <a:pt x="6329542" y="3510194"/>
                </a:cubicBezTo>
                <a:cubicBezTo>
                  <a:pt x="6329542" y="3520081"/>
                  <a:pt x="6340865" y="3533263"/>
                  <a:pt x="6357849" y="3536559"/>
                </a:cubicBezTo>
                <a:cubicBezTo>
                  <a:pt x="6391818" y="3539854"/>
                  <a:pt x="6437110" y="3526672"/>
                  <a:pt x="6448433" y="3549741"/>
                </a:cubicBezTo>
                <a:cubicBezTo>
                  <a:pt x="6448433" y="3559628"/>
                  <a:pt x="6420125" y="3569515"/>
                  <a:pt x="6414464" y="3576106"/>
                </a:cubicBezTo>
                <a:cubicBezTo>
                  <a:pt x="6386157" y="3576106"/>
                  <a:pt x="6403141" y="3559628"/>
                  <a:pt x="6380495" y="3556332"/>
                </a:cubicBezTo>
                <a:cubicBezTo>
                  <a:pt x="6346526" y="3553037"/>
                  <a:pt x="6318219" y="3572810"/>
                  <a:pt x="6284250" y="3562923"/>
                </a:cubicBezTo>
                <a:cubicBezTo>
                  <a:pt x="6244619" y="3572810"/>
                  <a:pt x="6289911" y="3589288"/>
                  <a:pt x="6289911" y="3602470"/>
                </a:cubicBezTo>
                <a:cubicBezTo>
                  <a:pt x="6250281" y="3609062"/>
                  <a:pt x="6204989" y="3589288"/>
                  <a:pt x="6193666" y="3618948"/>
                </a:cubicBezTo>
                <a:cubicBezTo>
                  <a:pt x="6227635" y="3632131"/>
                  <a:pt x="6261604" y="3665087"/>
                  <a:pt x="6306896" y="3655200"/>
                </a:cubicBezTo>
                <a:cubicBezTo>
                  <a:pt x="6346526" y="3648609"/>
                  <a:pt x="6363511" y="3609062"/>
                  <a:pt x="6414464" y="3618948"/>
                </a:cubicBezTo>
                <a:cubicBezTo>
                  <a:pt x="6437110" y="3618948"/>
                  <a:pt x="6437110" y="3651904"/>
                  <a:pt x="6471079" y="3635426"/>
                </a:cubicBezTo>
                <a:cubicBezTo>
                  <a:pt x="6493725" y="3651904"/>
                  <a:pt x="6493725" y="3651904"/>
                  <a:pt x="6493725" y="3651904"/>
                </a:cubicBezTo>
                <a:cubicBezTo>
                  <a:pt x="6448433" y="3645313"/>
                  <a:pt x="6425787" y="3694747"/>
                  <a:pt x="6391818" y="3661791"/>
                </a:cubicBezTo>
                <a:cubicBezTo>
                  <a:pt x="6346526" y="3678269"/>
                  <a:pt x="6289911" y="3671678"/>
                  <a:pt x="6233296" y="3661791"/>
                </a:cubicBezTo>
                <a:cubicBezTo>
                  <a:pt x="6182343" y="3671678"/>
                  <a:pt x="6125728" y="3674973"/>
                  <a:pt x="6074775" y="3661791"/>
                </a:cubicBezTo>
                <a:lnTo>
                  <a:pt x="6064941" y="3662506"/>
                </a:lnTo>
                <a:lnTo>
                  <a:pt x="6115113" y="3646549"/>
                </a:lnTo>
                <a:cubicBezTo>
                  <a:pt x="6138467" y="3638722"/>
                  <a:pt x="6159697" y="3628835"/>
                  <a:pt x="6171020" y="3612357"/>
                </a:cubicBezTo>
                <a:cubicBezTo>
                  <a:pt x="6142713" y="3609062"/>
                  <a:pt x="6148374" y="3589288"/>
                  <a:pt x="6154036" y="3576106"/>
                </a:cubicBezTo>
                <a:cubicBezTo>
                  <a:pt x="6159697" y="3576106"/>
                  <a:pt x="6159697" y="3572810"/>
                  <a:pt x="6159697" y="3569515"/>
                </a:cubicBezTo>
                <a:cubicBezTo>
                  <a:pt x="6131390" y="3556332"/>
                  <a:pt x="6131390" y="3556332"/>
                  <a:pt x="6131390" y="3556332"/>
                </a:cubicBezTo>
                <a:cubicBezTo>
                  <a:pt x="6120067" y="3569515"/>
                  <a:pt x="6086098" y="3576106"/>
                  <a:pt x="6057790" y="3569515"/>
                </a:cubicBezTo>
                <a:cubicBezTo>
                  <a:pt x="6029483" y="3556332"/>
                  <a:pt x="5995514" y="3549741"/>
                  <a:pt x="5967207" y="3556332"/>
                </a:cubicBezTo>
                <a:cubicBezTo>
                  <a:pt x="5955884" y="3559628"/>
                  <a:pt x="5955884" y="3566219"/>
                  <a:pt x="5961545" y="3572810"/>
                </a:cubicBezTo>
                <a:cubicBezTo>
                  <a:pt x="5944561" y="3562923"/>
                  <a:pt x="5921915" y="3559628"/>
                  <a:pt x="5899269" y="3562923"/>
                </a:cubicBezTo>
                <a:cubicBezTo>
                  <a:pt x="5825669" y="3576106"/>
                  <a:pt x="5950222" y="3648609"/>
                  <a:pt x="5842654" y="3602470"/>
                </a:cubicBezTo>
                <a:cubicBezTo>
                  <a:pt x="5825669" y="3609062"/>
                  <a:pt x="5803024" y="3622244"/>
                  <a:pt x="5791701" y="3635426"/>
                </a:cubicBezTo>
                <a:lnTo>
                  <a:pt x="5791701" y="3634757"/>
                </a:lnTo>
                <a:cubicBezTo>
                  <a:pt x="5791701" y="3622244"/>
                  <a:pt x="5791701" y="3622244"/>
                  <a:pt x="5791701" y="3622244"/>
                </a:cubicBezTo>
                <a:cubicBezTo>
                  <a:pt x="5712440" y="3609062"/>
                  <a:pt x="5610533" y="3648609"/>
                  <a:pt x="5565241" y="3599175"/>
                </a:cubicBezTo>
                <a:cubicBezTo>
                  <a:pt x="5604871" y="3582697"/>
                  <a:pt x="5644502" y="3635426"/>
                  <a:pt x="5678471" y="3599175"/>
                </a:cubicBezTo>
                <a:cubicBezTo>
                  <a:pt x="5723763" y="3599175"/>
                  <a:pt x="5769055" y="3602470"/>
                  <a:pt x="5791701" y="3582697"/>
                </a:cubicBezTo>
                <a:cubicBezTo>
                  <a:pt x="5791701" y="3569515"/>
                  <a:pt x="5763393" y="3566219"/>
                  <a:pt x="5746409" y="3559628"/>
                </a:cubicBezTo>
                <a:cubicBezTo>
                  <a:pt x="5723763" y="3553037"/>
                  <a:pt x="5689794" y="3556332"/>
                  <a:pt x="5678471" y="3572810"/>
                </a:cubicBezTo>
                <a:cubicBezTo>
                  <a:pt x="5672810" y="3569515"/>
                  <a:pt x="5684132" y="3549741"/>
                  <a:pt x="5655825" y="3549741"/>
                </a:cubicBezTo>
                <a:cubicBezTo>
                  <a:pt x="5621856" y="3556332"/>
                  <a:pt x="5599210" y="3572810"/>
                  <a:pt x="5553919" y="3572810"/>
                </a:cubicBezTo>
                <a:cubicBezTo>
                  <a:pt x="5508626" y="3579401"/>
                  <a:pt x="5452011" y="3536559"/>
                  <a:pt x="5418042" y="3576106"/>
                </a:cubicBezTo>
                <a:cubicBezTo>
                  <a:pt x="5412381" y="3579401"/>
                  <a:pt x="5389735" y="3556332"/>
                  <a:pt x="5367089" y="3569515"/>
                </a:cubicBezTo>
                <a:cubicBezTo>
                  <a:pt x="5316136" y="3579401"/>
                  <a:pt x="5378412" y="3595879"/>
                  <a:pt x="5355766" y="3609062"/>
                </a:cubicBezTo>
                <a:cubicBezTo>
                  <a:pt x="5316136" y="3569515"/>
                  <a:pt x="5316136" y="3569515"/>
                  <a:pt x="5316136" y="3569515"/>
                </a:cubicBezTo>
                <a:cubicBezTo>
                  <a:pt x="5276505" y="3595879"/>
                  <a:pt x="5214229" y="3572810"/>
                  <a:pt x="5157614" y="3576106"/>
                </a:cubicBezTo>
                <a:cubicBezTo>
                  <a:pt x="5146291" y="3549741"/>
                  <a:pt x="5163276" y="3520081"/>
                  <a:pt x="5123645" y="3503603"/>
                </a:cubicBezTo>
                <a:cubicBezTo>
                  <a:pt x="5078353" y="3510194"/>
                  <a:pt x="5117984" y="3553037"/>
                  <a:pt x="5055707" y="3543150"/>
                </a:cubicBezTo>
                <a:cubicBezTo>
                  <a:pt x="5050046" y="3549741"/>
                  <a:pt x="5038723" y="3556332"/>
                  <a:pt x="5044384" y="3566219"/>
                </a:cubicBezTo>
                <a:cubicBezTo>
                  <a:pt x="4999092" y="3556332"/>
                  <a:pt x="4982108" y="3595879"/>
                  <a:pt x="4931155" y="3589288"/>
                </a:cubicBezTo>
                <a:cubicBezTo>
                  <a:pt x="4897186" y="3589288"/>
                  <a:pt x="4863217" y="3592584"/>
                  <a:pt x="4851894" y="3609062"/>
                </a:cubicBezTo>
                <a:cubicBezTo>
                  <a:pt x="4851894" y="3635426"/>
                  <a:pt x="4851894" y="3635426"/>
                  <a:pt x="4851894" y="3635426"/>
                </a:cubicBezTo>
                <a:cubicBezTo>
                  <a:pt x="4806602" y="3605766"/>
                  <a:pt x="4800940" y="3566219"/>
                  <a:pt x="4800940" y="3526672"/>
                </a:cubicBezTo>
                <a:cubicBezTo>
                  <a:pt x="4829248" y="3529968"/>
                  <a:pt x="4857555" y="3523376"/>
                  <a:pt x="4874540" y="3510194"/>
                </a:cubicBezTo>
                <a:cubicBezTo>
                  <a:pt x="4800940" y="3500307"/>
                  <a:pt x="4699034" y="3490421"/>
                  <a:pt x="4625434" y="3513490"/>
                </a:cubicBezTo>
                <a:cubicBezTo>
                  <a:pt x="4642419" y="3523376"/>
                  <a:pt x="4653742" y="3536559"/>
                  <a:pt x="4676388" y="3536559"/>
                </a:cubicBezTo>
                <a:cubicBezTo>
                  <a:pt x="4699034" y="3523376"/>
                  <a:pt x="4699034" y="3523376"/>
                  <a:pt x="4699034" y="3523376"/>
                </a:cubicBezTo>
                <a:cubicBezTo>
                  <a:pt x="4704695" y="3536559"/>
                  <a:pt x="4727341" y="3529968"/>
                  <a:pt x="4738664" y="3529968"/>
                </a:cubicBezTo>
                <a:cubicBezTo>
                  <a:pt x="4721680" y="3549741"/>
                  <a:pt x="4659404" y="3556332"/>
                  <a:pt x="4682049" y="3582697"/>
                </a:cubicBezTo>
                <a:cubicBezTo>
                  <a:pt x="4636757" y="3609062"/>
                  <a:pt x="4512205" y="3546446"/>
                  <a:pt x="4546174" y="3612357"/>
                </a:cubicBezTo>
                <a:cubicBezTo>
                  <a:pt x="4568820" y="3642017"/>
                  <a:pt x="4568820" y="3642017"/>
                  <a:pt x="4568820" y="3642017"/>
                </a:cubicBezTo>
                <a:cubicBezTo>
                  <a:pt x="4546174" y="3642017"/>
                  <a:pt x="4517866" y="3635426"/>
                  <a:pt x="4489559" y="3635426"/>
                </a:cubicBezTo>
                <a:cubicBezTo>
                  <a:pt x="4483898" y="3622244"/>
                  <a:pt x="4534851" y="3595879"/>
                  <a:pt x="4483898" y="3582697"/>
                </a:cubicBezTo>
                <a:cubicBezTo>
                  <a:pt x="4466913" y="3582697"/>
                  <a:pt x="4449928" y="3592584"/>
                  <a:pt x="4432944" y="3592584"/>
                </a:cubicBezTo>
                <a:cubicBezTo>
                  <a:pt x="4421621" y="3579401"/>
                  <a:pt x="4393313" y="3572810"/>
                  <a:pt x="4370668" y="3572810"/>
                </a:cubicBezTo>
                <a:cubicBezTo>
                  <a:pt x="4359345" y="3566219"/>
                  <a:pt x="4342360" y="3572810"/>
                  <a:pt x="4336699" y="3582697"/>
                </a:cubicBezTo>
                <a:cubicBezTo>
                  <a:pt x="4331037" y="3592584"/>
                  <a:pt x="4348022" y="3605766"/>
                  <a:pt x="4325376" y="3612357"/>
                </a:cubicBezTo>
                <a:cubicBezTo>
                  <a:pt x="4302730" y="3618948"/>
                  <a:pt x="4280084" y="3599175"/>
                  <a:pt x="4268761" y="3618948"/>
                </a:cubicBezTo>
                <a:cubicBezTo>
                  <a:pt x="4268761" y="3632131"/>
                  <a:pt x="4297068" y="3651904"/>
                  <a:pt x="4257438" y="3655200"/>
                </a:cubicBezTo>
                <a:cubicBezTo>
                  <a:pt x="4257438" y="3661791"/>
                  <a:pt x="4257438" y="3661791"/>
                  <a:pt x="4257438" y="3661791"/>
                </a:cubicBezTo>
                <a:cubicBezTo>
                  <a:pt x="4240453" y="3651904"/>
                  <a:pt x="4217807" y="3648609"/>
                  <a:pt x="4195162" y="3651904"/>
                </a:cubicBezTo>
                <a:cubicBezTo>
                  <a:pt x="4161192" y="3665087"/>
                  <a:pt x="4195162" y="3681564"/>
                  <a:pt x="4200823" y="3698042"/>
                </a:cubicBezTo>
                <a:cubicBezTo>
                  <a:pt x="4166854" y="3704634"/>
                  <a:pt x="4149869" y="3688156"/>
                  <a:pt x="4121562" y="3684860"/>
                </a:cubicBezTo>
                <a:cubicBezTo>
                  <a:pt x="4110239" y="3707929"/>
                  <a:pt x="4064947" y="3694747"/>
                  <a:pt x="4036640" y="3698042"/>
                </a:cubicBezTo>
                <a:cubicBezTo>
                  <a:pt x="4047963" y="3688156"/>
                  <a:pt x="4047963" y="3688156"/>
                  <a:pt x="4059286" y="3698042"/>
                </a:cubicBezTo>
                <a:cubicBezTo>
                  <a:pt x="4081932" y="3681564"/>
                  <a:pt x="4115901" y="3655200"/>
                  <a:pt x="4161192" y="3668382"/>
                </a:cubicBezTo>
                <a:cubicBezTo>
                  <a:pt x="4172515" y="3668382"/>
                  <a:pt x="4172515" y="3661791"/>
                  <a:pt x="4172515" y="3661791"/>
                </a:cubicBezTo>
                <a:cubicBezTo>
                  <a:pt x="4144208" y="3645313"/>
                  <a:pt x="4144208" y="3645313"/>
                  <a:pt x="4144208" y="3645313"/>
                </a:cubicBezTo>
                <a:cubicBezTo>
                  <a:pt x="4115901" y="3642017"/>
                  <a:pt x="4087593" y="3625540"/>
                  <a:pt x="4076271" y="3605766"/>
                </a:cubicBezTo>
                <a:cubicBezTo>
                  <a:pt x="4070609" y="3605766"/>
                  <a:pt x="4070609" y="3609062"/>
                  <a:pt x="4064947" y="3609062"/>
                </a:cubicBezTo>
                <a:cubicBezTo>
                  <a:pt x="4042301" y="3595879"/>
                  <a:pt x="4008332" y="3585993"/>
                  <a:pt x="3974363" y="3592584"/>
                </a:cubicBezTo>
                <a:cubicBezTo>
                  <a:pt x="3951717" y="3602470"/>
                  <a:pt x="3934733" y="3615653"/>
                  <a:pt x="3940394" y="3632131"/>
                </a:cubicBezTo>
                <a:cubicBezTo>
                  <a:pt x="3951717" y="3638722"/>
                  <a:pt x="3968702" y="3642017"/>
                  <a:pt x="3980025" y="3651904"/>
                </a:cubicBezTo>
                <a:cubicBezTo>
                  <a:pt x="3951717" y="3661791"/>
                  <a:pt x="3912087" y="3635426"/>
                  <a:pt x="3900764" y="3661791"/>
                </a:cubicBezTo>
                <a:cubicBezTo>
                  <a:pt x="3878118" y="3635426"/>
                  <a:pt x="3832826" y="3632131"/>
                  <a:pt x="3810181" y="3605766"/>
                </a:cubicBezTo>
                <a:cubicBezTo>
                  <a:pt x="3787535" y="3602470"/>
                  <a:pt x="3776211" y="3612357"/>
                  <a:pt x="3753566" y="3595879"/>
                </a:cubicBezTo>
                <a:cubicBezTo>
                  <a:pt x="3730920" y="3618948"/>
                  <a:pt x="3668643" y="3605766"/>
                  <a:pt x="3662982" y="3638722"/>
                </a:cubicBezTo>
                <a:cubicBezTo>
                  <a:pt x="3679966" y="3645313"/>
                  <a:pt x="3702612" y="3655200"/>
                  <a:pt x="3725258" y="3648609"/>
                </a:cubicBezTo>
                <a:cubicBezTo>
                  <a:pt x="3736581" y="3661791"/>
                  <a:pt x="3702612" y="3658495"/>
                  <a:pt x="3691289" y="3661791"/>
                </a:cubicBezTo>
                <a:cubicBezTo>
                  <a:pt x="3640336" y="3635426"/>
                  <a:pt x="3527106" y="3707929"/>
                  <a:pt x="3527106" y="3638722"/>
                </a:cubicBezTo>
                <a:cubicBezTo>
                  <a:pt x="3544090" y="3635426"/>
                  <a:pt x="3561075" y="3635426"/>
                  <a:pt x="3572398" y="3625540"/>
                </a:cubicBezTo>
                <a:cubicBezTo>
                  <a:pt x="3544090" y="3602470"/>
                  <a:pt x="3493137" y="3599175"/>
                  <a:pt x="3453507" y="3605766"/>
                </a:cubicBezTo>
                <a:cubicBezTo>
                  <a:pt x="3340277" y="3622244"/>
                  <a:pt x="3210063" y="3615653"/>
                  <a:pt x="3096833" y="3612357"/>
                </a:cubicBezTo>
                <a:cubicBezTo>
                  <a:pt x="2949635" y="3589288"/>
                  <a:pt x="2949635" y="3589288"/>
                  <a:pt x="2949635" y="3589288"/>
                </a:cubicBezTo>
                <a:cubicBezTo>
                  <a:pt x="2876035" y="3615653"/>
                  <a:pt x="2802436" y="3582697"/>
                  <a:pt x="2717514" y="3582697"/>
                </a:cubicBezTo>
                <a:cubicBezTo>
                  <a:pt x="2687791" y="3597527"/>
                  <a:pt x="2705837" y="3614211"/>
                  <a:pt x="2721494" y="3629968"/>
                </a:cubicBezTo>
                <a:lnTo>
                  <a:pt x="2731121" y="3641328"/>
                </a:lnTo>
                <a:lnTo>
                  <a:pt x="2641437" y="3637126"/>
                </a:lnTo>
                <a:cubicBezTo>
                  <a:pt x="2535284" y="3639752"/>
                  <a:pt x="2425947" y="3657672"/>
                  <a:pt x="2332533" y="3625540"/>
                </a:cubicBezTo>
                <a:cubicBezTo>
                  <a:pt x="2190995" y="3651904"/>
                  <a:pt x="2043797" y="3612357"/>
                  <a:pt x="1885275" y="3622244"/>
                </a:cubicBezTo>
                <a:cubicBezTo>
                  <a:pt x="1834322" y="3615653"/>
                  <a:pt x="1772045" y="3609062"/>
                  <a:pt x="1715430" y="3618948"/>
                </a:cubicBezTo>
                <a:cubicBezTo>
                  <a:pt x="1709769" y="3618948"/>
                  <a:pt x="1687123" y="3605766"/>
                  <a:pt x="1664477" y="3609062"/>
                </a:cubicBezTo>
                <a:cubicBezTo>
                  <a:pt x="1647493" y="3618948"/>
                  <a:pt x="1647493" y="3618948"/>
                  <a:pt x="1647493" y="3618948"/>
                </a:cubicBezTo>
                <a:cubicBezTo>
                  <a:pt x="1664477" y="3638722"/>
                  <a:pt x="1709769" y="3645313"/>
                  <a:pt x="1743738" y="3638722"/>
                </a:cubicBezTo>
                <a:cubicBezTo>
                  <a:pt x="1777707" y="3638722"/>
                  <a:pt x="1811676" y="3622244"/>
                  <a:pt x="1839983" y="3638722"/>
                </a:cubicBezTo>
                <a:cubicBezTo>
                  <a:pt x="1862629" y="3651904"/>
                  <a:pt x="1862629" y="3651904"/>
                  <a:pt x="1862629" y="3651904"/>
                </a:cubicBezTo>
                <a:cubicBezTo>
                  <a:pt x="1602201" y="3635426"/>
                  <a:pt x="1602201" y="3635426"/>
                  <a:pt x="1602201" y="3635426"/>
                </a:cubicBezTo>
                <a:cubicBezTo>
                  <a:pt x="1596539" y="3622244"/>
                  <a:pt x="1619185" y="3618948"/>
                  <a:pt x="1624847" y="3612357"/>
                </a:cubicBezTo>
                <a:cubicBezTo>
                  <a:pt x="1573893" y="3599175"/>
                  <a:pt x="1511617" y="3595879"/>
                  <a:pt x="1466325" y="3615653"/>
                </a:cubicBezTo>
                <a:cubicBezTo>
                  <a:pt x="1488971" y="3642017"/>
                  <a:pt x="1545586" y="3609062"/>
                  <a:pt x="1568232" y="3628835"/>
                </a:cubicBezTo>
                <a:cubicBezTo>
                  <a:pt x="1347434" y="3635426"/>
                  <a:pt x="1126636" y="3618948"/>
                  <a:pt x="911499" y="3615653"/>
                </a:cubicBezTo>
                <a:cubicBezTo>
                  <a:pt x="141537" y="3615653"/>
                  <a:pt x="141537" y="3615653"/>
                  <a:pt x="141537" y="3615653"/>
                </a:cubicBezTo>
                <a:cubicBezTo>
                  <a:pt x="56615" y="3516785"/>
                  <a:pt x="90584" y="3391553"/>
                  <a:pt x="28308" y="3286094"/>
                </a:cubicBezTo>
                <a:cubicBezTo>
                  <a:pt x="28308" y="3180636"/>
                  <a:pt x="11323" y="3068586"/>
                  <a:pt x="0" y="2956536"/>
                </a:cubicBezTo>
                <a:cubicBezTo>
                  <a:pt x="45292" y="2943354"/>
                  <a:pt x="107568" y="2959832"/>
                  <a:pt x="152860" y="2943354"/>
                </a:cubicBezTo>
                <a:cubicBezTo>
                  <a:pt x="164183" y="2824713"/>
                  <a:pt x="84923" y="2722550"/>
                  <a:pt x="113230" y="2600613"/>
                </a:cubicBezTo>
                <a:cubicBezTo>
                  <a:pt x="339689" y="2577544"/>
                  <a:pt x="583133" y="2584135"/>
                  <a:pt x="798270" y="2547884"/>
                </a:cubicBezTo>
                <a:cubicBezTo>
                  <a:pt x="798270" y="2416060"/>
                  <a:pt x="786947" y="2287533"/>
                  <a:pt x="752978" y="2165596"/>
                </a:cubicBezTo>
                <a:cubicBezTo>
                  <a:pt x="679379" y="2106276"/>
                  <a:pt x="679379" y="2106276"/>
                  <a:pt x="679379" y="2106276"/>
                </a:cubicBezTo>
                <a:cubicBezTo>
                  <a:pt x="639748" y="2106276"/>
                  <a:pt x="594456" y="2106276"/>
                  <a:pt x="560487" y="2093093"/>
                </a:cubicBezTo>
                <a:cubicBezTo>
                  <a:pt x="498211" y="2050251"/>
                  <a:pt x="532180" y="1981043"/>
                  <a:pt x="469904" y="1934905"/>
                </a:cubicBezTo>
                <a:cubicBezTo>
                  <a:pt x="481226" y="1934905"/>
                  <a:pt x="481226" y="1934905"/>
                  <a:pt x="481226" y="1934905"/>
                </a:cubicBezTo>
                <a:cubicBezTo>
                  <a:pt x="486888" y="1776717"/>
                  <a:pt x="379320" y="1641598"/>
                  <a:pt x="384981" y="1480115"/>
                </a:cubicBezTo>
                <a:cubicBezTo>
                  <a:pt x="532180" y="1463637"/>
                  <a:pt x="673717" y="1433977"/>
                  <a:pt x="826577" y="1447159"/>
                </a:cubicBezTo>
                <a:cubicBezTo>
                  <a:pt x="854885" y="1420794"/>
                  <a:pt x="911499" y="1443863"/>
                  <a:pt x="939807" y="1424090"/>
                </a:cubicBezTo>
                <a:cubicBezTo>
                  <a:pt x="956791" y="1368065"/>
                  <a:pt x="900177" y="1321927"/>
                  <a:pt x="900177" y="1269197"/>
                </a:cubicBezTo>
                <a:cubicBezTo>
                  <a:pt x="702024" y="1265902"/>
                  <a:pt x="452919" y="1223059"/>
                  <a:pt x="294397" y="1305449"/>
                </a:cubicBezTo>
                <a:cubicBezTo>
                  <a:pt x="266090" y="1298858"/>
                  <a:pt x="277413" y="1269197"/>
                  <a:pt x="283074" y="1256015"/>
                </a:cubicBezTo>
                <a:cubicBezTo>
                  <a:pt x="288736" y="1246128"/>
                  <a:pt x="305720" y="1239537"/>
                  <a:pt x="317044" y="1232946"/>
                </a:cubicBezTo>
                <a:cubicBezTo>
                  <a:pt x="288736" y="1216468"/>
                  <a:pt x="305720" y="1176921"/>
                  <a:pt x="260429" y="1180217"/>
                </a:cubicBezTo>
                <a:cubicBezTo>
                  <a:pt x="232121" y="1186808"/>
                  <a:pt x="232121" y="1186808"/>
                  <a:pt x="232121" y="1186808"/>
                </a:cubicBezTo>
                <a:cubicBezTo>
                  <a:pt x="237783" y="1157148"/>
                  <a:pt x="277413" y="1130783"/>
                  <a:pt x="243444" y="1104418"/>
                </a:cubicBezTo>
                <a:cubicBezTo>
                  <a:pt x="215137" y="1104418"/>
                  <a:pt x="215137" y="1104418"/>
                  <a:pt x="215137" y="1104418"/>
                </a:cubicBezTo>
                <a:cubicBezTo>
                  <a:pt x="226460" y="1074758"/>
                  <a:pt x="277413" y="1048393"/>
                  <a:pt x="254767" y="1015438"/>
                </a:cubicBezTo>
                <a:cubicBezTo>
                  <a:pt x="243444" y="1005551"/>
                  <a:pt x="220798" y="992368"/>
                  <a:pt x="203814" y="989073"/>
                </a:cubicBezTo>
                <a:cubicBezTo>
                  <a:pt x="215137" y="979186"/>
                  <a:pt x="232121" y="969299"/>
                  <a:pt x="220798" y="956117"/>
                </a:cubicBezTo>
                <a:cubicBezTo>
                  <a:pt x="209475" y="942935"/>
                  <a:pt x="226460" y="919866"/>
                  <a:pt x="232121" y="903388"/>
                </a:cubicBezTo>
                <a:cubicBezTo>
                  <a:pt x="215137" y="853954"/>
                  <a:pt x="198152" y="804520"/>
                  <a:pt x="169845" y="755086"/>
                </a:cubicBezTo>
                <a:cubicBezTo>
                  <a:pt x="198152" y="699062"/>
                  <a:pt x="101907" y="613376"/>
                  <a:pt x="232121" y="590307"/>
                </a:cubicBezTo>
                <a:cubicBezTo>
                  <a:pt x="209475" y="527691"/>
                  <a:pt x="237783" y="435415"/>
                  <a:pt x="124553" y="395868"/>
                </a:cubicBezTo>
                <a:cubicBezTo>
                  <a:pt x="101907" y="382686"/>
                  <a:pt x="50954" y="399163"/>
                  <a:pt x="45292" y="376094"/>
                </a:cubicBezTo>
                <a:cubicBezTo>
                  <a:pt x="39631" y="382686"/>
                  <a:pt x="28308" y="382686"/>
                  <a:pt x="16985" y="382686"/>
                </a:cubicBezTo>
                <a:cubicBezTo>
                  <a:pt x="11323" y="323365"/>
                  <a:pt x="209475" y="385981"/>
                  <a:pt x="158522" y="306887"/>
                </a:cubicBezTo>
                <a:cubicBezTo>
                  <a:pt x="124553" y="227793"/>
                  <a:pt x="107568" y="148699"/>
                  <a:pt x="107568" y="63014"/>
                </a:cubicBezTo>
                <a:cubicBezTo>
                  <a:pt x="186829" y="53127"/>
                  <a:pt x="254767" y="53127"/>
                  <a:pt x="334028" y="63014"/>
                </a:cubicBezTo>
                <a:cubicBezTo>
                  <a:pt x="617102" y="72901"/>
                  <a:pt x="900177" y="59718"/>
                  <a:pt x="1183251" y="59718"/>
                </a:cubicBezTo>
                <a:cubicBezTo>
                  <a:pt x="1183251" y="66310"/>
                  <a:pt x="1177589" y="76196"/>
                  <a:pt x="1183251" y="82787"/>
                </a:cubicBezTo>
                <a:cubicBezTo>
                  <a:pt x="1211558" y="76196"/>
                  <a:pt x="1205897" y="63014"/>
                  <a:pt x="1228543" y="59718"/>
                </a:cubicBezTo>
                <a:cubicBezTo>
                  <a:pt x="1307804" y="63014"/>
                  <a:pt x="1307804" y="63014"/>
                  <a:pt x="1307804" y="63014"/>
                </a:cubicBezTo>
                <a:cubicBezTo>
                  <a:pt x="1302142" y="63014"/>
                  <a:pt x="1302142" y="69605"/>
                  <a:pt x="1307804" y="72901"/>
                </a:cubicBezTo>
                <a:cubicBezTo>
                  <a:pt x="1319126" y="76196"/>
                  <a:pt x="1324788" y="86083"/>
                  <a:pt x="1336111" y="82787"/>
                </a:cubicBezTo>
                <a:cubicBezTo>
                  <a:pt x="1353095" y="76196"/>
                  <a:pt x="1347434" y="69605"/>
                  <a:pt x="1347434" y="63014"/>
                </a:cubicBezTo>
                <a:cubicBezTo>
                  <a:pt x="1398387" y="56423"/>
                  <a:pt x="1398387" y="56423"/>
                  <a:pt x="1398387" y="56423"/>
                </a:cubicBezTo>
                <a:cubicBezTo>
                  <a:pt x="1607862" y="63014"/>
                  <a:pt x="1806014" y="56423"/>
                  <a:pt x="2009828" y="63014"/>
                </a:cubicBezTo>
                <a:cubicBezTo>
                  <a:pt x="2009828" y="92674"/>
                  <a:pt x="2009828" y="92674"/>
                  <a:pt x="2009828" y="92674"/>
                </a:cubicBezTo>
                <a:cubicBezTo>
                  <a:pt x="2026812" y="99265"/>
                  <a:pt x="2049458" y="92674"/>
                  <a:pt x="2060781" y="86083"/>
                </a:cubicBezTo>
                <a:cubicBezTo>
                  <a:pt x="2060781" y="59718"/>
                  <a:pt x="2060781" y="59718"/>
                  <a:pt x="2060781" y="59718"/>
                </a:cubicBezTo>
                <a:cubicBezTo>
                  <a:pt x="2117396" y="59718"/>
                  <a:pt x="2117396" y="59718"/>
                  <a:pt x="2117396" y="59718"/>
                </a:cubicBezTo>
                <a:cubicBezTo>
                  <a:pt x="2117396" y="76196"/>
                  <a:pt x="2151365" y="82787"/>
                  <a:pt x="2168350" y="89379"/>
                </a:cubicBezTo>
                <a:cubicBezTo>
                  <a:pt x="2247610" y="99265"/>
                  <a:pt x="2298563" y="56423"/>
                  <a:pt x="2377825" y="63014"/>
                </a:cubicBezTo>
                <a:cubicBezTo>
                  <a:pt x="2406132" y="72901"/>
                  <a:pt x="2400470" y="115743"/>
                  <a:pt x="2451424" y="95970"/>
                </a:cubicBezTo>
                <a:cubicBezTo>
                  <a:pt x="2462747" y="92674"/>
                  <a:pt x="2474070" y="86083"/>
                  <a:pt x="2479731" y="82787"/>
                </a:cubicBezTo>
                <a:cubicBezTo>
                  <a:pt x="2468408" y="49832"/>
                  <a:pt x="2530684" y="66310"/>
                  <a:pt x="2553331" y="53127"/>
                </a:cubicBezTo>
                <a:cubicBezTo>
                  <a:pt x="2564654" y="49832"/>
                  <a:pt x="2581638" y="59718"/>
                  <a:pt x="2592961" y="63014"/>
                </a:cubicBezTo>
                <a:cubicBezTo>
                  <a:pt x="2638253" y="69605"/>
                  <a:pt x="2734498" y="43240"/>
                  <a:pt x="2728837" y="86083"/>
                </a:cubicBezTo>
                <a:cubicBezTo>
                  <a:pt x="2740160" y="92674"/>
                  <a:pt x="2757144" y="82787"/>
                  <a:pt x="2762805" y="79492"/>
                </a:cubicBezTo>
                <a:cubicBezTo>
                  <a:pt x="2762805" y="76196"/>
                  <a:pt x="2762805" y="76196"/>
                  <a:pt x="2762805" y="76196"/>
                </a:cubicBezTo>
                <a:cubicBezTo>
                  <a:pt x="2779790" y="82787"/>
                  <a:pt x="2796775" y="86083"/>
                  <a:pt x="2813759" y="95970"/>
                </a:cubicBezTo>
                <a:cubicBezTo>
                  <a:pt x="2836405" y="86083"/>
                  <a:pt x="2859051" y="56423"/>
                  <a:pt x="2898681" y="63014"/>
                </a:cubicBezTo>
                <a:cubicBezTo>
                  <a:pt x="2932650" y="76196"/>
                  <a:pt x="2949635" y="122334"/>
                  <a:pt x="3000588" y="102561"/>
                </a:cubicBezTo>
                <a:cubicBezTo>
                  <a:pt x="3017572" y="92674"/>
                  <a:pt x="3040218" y="82787"/>
                  <a:pt x="3068526" y="89379"/>
                </a:cubicBezTo>
                <a:cubicBezTo>
                  <a:pt x="3108156" y="128926"/>
                  <a:pt x="3142125" y="66310"/>
                  <a:pt x="3187417" y="66310"/>
                </a:cubicBezTo>
                <a:cubicBezTo>
                  <a:pt x="3210063" y="56423"/>
                  <a:pt x="3238370" y="69605"/>
                  <a:pt x="3261016" y="76196"/>
                </a:cubicBezTo>
                <a:cubicBezTo>
                  <a:pt x="3266678" y="89379"/>
                  <a:pt x="3289324" y="102561"/>
                  <a:pt x="3311969" y="109152"/>
                </a:cubicBezTo>
                <a:cubicBezTo>
                  <a:pt x="3334616" y="115743"/>
                  <a:pt x="3328954" y="95970"/>
                  <a:pt x="3345939" y="95970"/>
                </a:cubicBezTo>
                <a:cubicBezTo>
                  <a:pt x="3379908" y="99265"/>
                  <a:pt x="3408215" y="109152"/>
                  <a:pt x="3436522" y="112448"/>
                </a:cubicBezTo>
                <a:cubicBezTo>
                  <a:pt x="3442184" y="82787"/>
                  <a:pt x="3493137" y="102561"/>
                  <a:pt x="3515783" y="95970"/>
                </a:cubicBezTo>
                <a:cubicBezTo>
                  <a:pt x="3527106" y="102561"/>
                  <a:pt x="3510122" y="132221"/>
                  <a:pt x="3544090" y="122334"/>
                </a:cubicBezTo>
                <a:cubicBezTo>
                  <a:pt x="3583721" y="105857"/>
                  <a:pt x="3572398" y="56423"/>
                  <a:pt x="3640336" y="63014"/>
                </a:cubicBezTo>
                <a:cubicBezTo>
                  <a:pt x="3662982" y="49832"/>
                  <a:pt x="3679966" y="39945"/>
                  <a:pt x="3713935" y="43240"/>
                </a:cubicBezTo>
                <a:cubicBezTo>
                  <a:pt x="3764889" y="56423"/>
                  <a:pt x="3776211" y="119039"/>
                  <a:pt x="3849811" y="92674"/>
                </a:cubicBezTo>
                <a:cubicBezTo>
                  <a:pt x="3866795" y="109152"/>
                  <a:pt x="3906426" y="99265"/>
                  <a:pt x="3923410" y="95970"/>
                </a:cubicBezTo>
                <a:cubicBezTo>
                  <a:pt x="3940394" y="92674"/>
                  <a:pt x="3957380" y="79492"/>
                  <a:pt x="3940394" y="72901"/>
                </a:cubicBezTo>
                <a:cubicBezTo>
                  <a:pt x="3923410" y="63014"/>
                  <a:pt x="3923410" y="63014"/>
                  <a:pt x="3923410" y="63014"/>
                </a:cubicBezTo>
                <a:cubicBezTo>
                  <a:pt x="3934733" y="53127"/>
                  <a:pt x="3968702" y="39945"/>
                  <a:pt x="3991348" y="49832"/>
                </a:cubicBezTo>
                <a:cubicBezTo>
                  <a:pt x="4002671" y="53127"/>
                  <a:pt x="4025317" y="63014"/>
                  <a:pt x="4008332" y="69605"/>
                </a:cubicBezTo>
                <a:cubicBezTo>
                  <a:pt x="4002671" y="76196"/>
                  <a:pt x="3991348" y="79492"/>
                  <a:pt x="3997009" y="89379"/>
                </a:cubicBezTo>
                <a:cubicBezTo>
                  <a:pt x="4013995" y="95970"/>
                  <a:pt x="4013995" y="95970"/>
                  <a:pt x="4013995" y="95970"/>
                </a:cubicBezTo>
                <a:cubicBezTo>
                  <a:pt x="4087593" y="56423"/>
                  <a:pt x="4087593" y="56423"/>
                  <a:pt x="4087593" y="56423"/>
                </a:cubicBezTo>
                <a:cubicBezTo>
                  <a:pt x="4138547" y="56423"/>
                  <a:pt x="4189501" y="119039"/>
                  <a:pt x="4223469" y="72901"/>
                </a:cubicBezTo>
                <a:cubicBezTo>
                  <a:pt x="4217807" y="72901"/>
                  <a:pt x="4217807" y="72901"/>
                  <a:pt x="4217807" y="72901"/>
                </a:cubicBezTo>
                <a:cubicBezTo>
                  <a:pt x="4217807" y="66310"/>
                  <a:pt x="4217807" y="66310"/>
                  <a:pt x="4217807" y="66310"/>
                </a:cubicBezTo>
                <a:cubicBezTo>
                  <a:pt x="4223469" y="66310"/>
                  <a:pt x="4223469" y="66310"/>
                  <a:pt x="4223469" y="66310"/>
                </a:cubicBezTo>
                <a:cubicBezTo>
                  <a:pt x="4223469" y="76196"/>
                  <a:pt x="4223469" y="86083"/>
                  <a:pt x="4240453" y="92674"/>
                </a:cubicBezTo>
                <a:cubicBezTo>
                  <a:pt x="4291407" y="102561"/>
                  <a:pt x="4291407" y="63014"/>
                  <a:pt x="4319714" y="49832"/>
                </a:cubicBezTo>
                <a:cubicBezTo>
                  <a:pt x="4319714" y="76196"/>
                  <a:pt x="4370668" y="82787"/>
                  <a:pt x="4398975" y="92674"/>
                </a:cubicBezTo>
                <a:cubicBezTo>
                  <a:pt x="4415959" y="92674"/>
                  <a:pt x="4432944" y="89379"/>
                  <a:pt x="4444267" y="95970"/>
                </a:cubicBezTo>
                <a:cubicBezTo>
                  <a:pt x="4427283" y="105857"/>
                  <a:pt x="4421621" y="122334"/>
                  <a:pt x="4415959" y="138812"/>
                </a:cubicBezTo>
                <a:cubicBezTo>
                  <a:pt x="4432944" y="145404"/>
                  <a:pt x="4444267" y="158586"/>
                  <a:pt x="4472574" y="155290"/>
                </a:cubicBezTo>
                <a:cubicBezTo>
                  <a:pt x="4534851" y="142108"/>
                  <a:pt x="4455590" y="122334"/>
                  <a:pt x="4512205" y="109152"/>
                </a:cubicBezTo>
                <a:cubicBezTo>
                  <a:pt x="4517866" y="105857"/>
                  <a:pt x="4506543" y="102561"/>
                  <a:pt x="4500882" y="95970"/>
                </a:cubicBezTo>
                <a:cubicBezTo>
                  <a:pt x="4557497" y="76196"/>
                  <a:pt x="4614111" y="109152"/>
                  <a:pt x="4676388" y="95970"/>
                </a:cubicBezTo>
                <a:cubicBezTo>
                  <a:pt x="4744326" y="63014"/>
                  <a:pt x="4744326" y="63014"/>
                  <a:pt x="4744326" y="63014"/>
                </a:cubicBezTo>
                <a:cubicBezTo>
                  <a:pt x="4744326" y="59718"/>
                  <a:pt x="4749987" y="82787"/>
                  <a:pt x="4755649" y="89379"/>
                </a:cubicBezTo>
                <a:cubicBezTo>
                  <a:pt x="4783956" y="102561"/>
                  <a:pt x="4812263" y="115743"/>
                  <a:pt x="4840571" y="102561"/>
                </a:cubicBezTo>
                <a:cubicBezTo>
                  <a:pt x="4851894" y="102561"/>
                  <a:pt x="4863217" y="95970"/>
                  <a:pt x="4868878" y="92674"/>
                </a:cubicBezTo>
                <a:cubicBezTo>
                  <a:pt x="4823586" y="63014"/>
                  <a:pt x="4823586" y="63014"/>
                  <a:pt x="4823586" y="63014"/>
                </a:cubicBezTo>
                <a:cubicBezTo>
                  <a:pt x="4880201" y="43240"/>
                  <a:pt x="4880201" y="43240"/>
                  <a:pt x="4880201" y="43240"/>
                </a:cubicBezTo>
                <a:cubicBezTo>
                  <a:pt x="4891525" y="63014"/>
                  <a:pt x="4885863" y="89379"/>
                  <a:pt x="4908509" y="102561"/>
                </a:cubicBezTo>
                <a:cubicBezTo>
                  <a:pt x="4925493" y="95970"/>
                  <a:pt x="4942478" y="86083"/>
                  <a:pt x="4948139" y="79492"/>
                </a:cubicBezTo>
                <a:cubicBezTo>
                  <a:pt x="4987770" y="82787"/>
                  <a:pt x="5033061" y="89379"/>
                  <a:pt x="5067030" y="102561"/>
                </a:cubicBezTo>
                <a:cubicBezTo>
                  <a:pt x="5084015" y="102561"/>
                  <a:pt x="5089676" y="89379"/>
                  <a:pt x="5095338" y="82787"/>
                </a:cubicBezTo>
                <a:cubicBezTo>
                  <a:pt x="5089676" y="86083"/>
                  <a:pt x="5100999" y="89379"/>
                  <a:pt x="5106661" y="92674"/>
                </a:cubicBezTo>
                <a:cubicBezTo>
                  <a:pt x="5123645" y="92674"/>
                  <a:pt x="5134968" y="89379"/>
                  <a:pt x="5140630" y="82787"/>
                </a:cubicBezTo>
                <a:cubicBezTo>
                  <a:pt x="5146291" y="66310"/>
                  <a:pt x="5117984" y="53127"/>
                  <a:pt x="5134968" y="36649"/>
                </a:cubicBezTo>
                <a:cubicBezTo>
                  <a:pt x="5163276" y="36649"/>
                  <a:pt x="5163276" y="36649"/>
                  <a:pt x="5163276" y="36649"/>
                </a:cubicBezTo>
                <a:cubicBezTo>
                  <a:pt x="5168937" y="43240"/>
                  <a:pt x="5157614" y="46536"/>
                  <a:pt x="5151953" y="49832"/>
                </a:cubicBezTo>
                <a:cubicBezTo>
                  <a:pt x="5157614" y="56423"/>
                  <a:pt x="5168937" y="56423"/>
                  <a:pt x="5180260" y="56423"/>
                </a:cubicBezTo>
                <a:cubicBezTo>
                  <a:pt x="5185922" y="49832"/>
                  <a:pt x="5197244" y="49832"/>
                  <a:pt x="5191583" y="39945"/>
                </a:cubicBezTo>
                <a:cubicBezTo>
                  <a:pt x="5202906" y="69605"/>
                  <a:pt x="5146291" y="82787"/>
                  <a:pt x="5157614" y="112448"/>
                </a:cubicBezTo>
                <a:cubicBezTo>
                  <a:pt x="5100999" y="102561"/>
                  <a:pt x="5016077" y="151995"/>
                  <a:pt x="4999092" y="95970"/>
                </a:cubicBezTo>
                <a:cubicBezTo>
                  <a:pt x="4965124" y="115743"/>
                  <a:pt x="4914170" y="99265"/>
                  <a:pt x="4885863" y="122334"/>
                </a:cubicBezTo>
                <a:cubicBezTo>
                  <a:pt x="4891525" y="151995"/>
                  <a:pt x="4891525" y="151995"/>
                  <a:pt x="4891525" y="151995"/>
                </a:cubicBezTo>
                <a:cubicBezTo>
                  <a:pt x="4885863" y="148699"/>
                  <a:pt x="4874540" y="155290"/>
                  <a:pt x="4868878" y="158586"/>
                </a:cubicBezTo>
                <a:cubicBezTo>
                  <a:pt x="4874540" y="171768"/>
                  <a:pt x="4908509" y="168473"/>
                  <a:pt x="4925493" y="175064"/>
                </a:cubicBezTo>
                <a:cubicBezTo>
                  <a:pt x="4965124" y="171768"/>
                  <a:pt x="5016077" y="178359"/>
                  <a:pt x="5044384" y="161881"/>
                </a:cubicBezTo>
                <a:cubicBezTo>
                  <a:pt x="5055707" y="161881"/>
                  <a:pt x="5061369" y="181655"/>
                  <a:pt x="5084015" y="175064"/>
                </a:cubicBezTo>
                <a:cubicBezTo>
                  <a:pt x="5106661" y="151995"/>
                  <a:pt x="5106661" y="151995"/>
                  <a:pt x="5106661" y="151995"/>
                </a:cubicBezTo>
                <a:cubicBezTo>
                  <a:pt x="5134968" y="171768"/>
                  <a:pt x="5225552" y="178359"/>
                  <a:pt x="5287828" y="171768"/>
                </a:cubicBezTo>
                <a:cubicBezTo>
                  <a:pt x="5384074" y="171768"/>
                  <a:pt x="5474657" y="135517"/>
                  <a:pt x="5559580" y="155290"/>
                </a:cubicBezTo>
                <a:cubicBezTo>
                  <a:pt x="5740747" y="148699"/>
                  <a:pt x="5927576" y="145404"/>
                  <a:pt x="6114405" y="132221"/>
                </a:cubicBezTo>
                <a:cubicBezTo>
                  <a:pt x="6120067" y="122334"/>
                  <a:pt x="6131390" y="115743"/>
                  <a:pt x="6125728" y="109152"/>
                </a:cubicBezTo>
                <a:cubicBezTo>
                  <a:pt x="6125728" y="125630"/>
                  <a:pt x="6154036" y="135517"/>
                  <a:pt x="6165359" y="151995"/>
                </a:cubicBezTo>
                <a:cubicBezTo>
                  <a:pt x="6199328" y="119039"/>
                  <a:pt x="6267265" y="135517"/>
                  <a:pt x="6306896" y="112448"/>
                </a:cubicBezTo>
                <a:cubicBezTo>
                  <a:pt x="6352188" y="122334"/>
                  <a:pt x="6420125" y="122334"/>
                  <a:pt x="6459756" y="109152"/>
                </a:cubicBezTo>
                <a:cubicBezTo>
                  <a:pt x="6476740" y="112448"/>
                  <a:pt x="6493725" y="122334"/>
                  <a:pt x="6510709" y="125630"/>
                </a:cubicBezTo>
                <a:cubicBezTo>
                  <a:pt x="6527694" y="109152"/>
                  <a:pt x="6544678" y="119039"/>
                  <a:pt x="6567324" y="122334"/>
                </a:cubicBezTo>
                <a:cubicBezTo>
                  <a:pt x="6680554" y="115743"/>
                  <a:pt x="6680554" y="115743"/>
                  <a:pt x="6680554" y="115743"/>
                </a:cubicBezTo>
                <a:cubicBezTo>
                  <a:pt x="6674892" y="128926"/>
                  <a:pt x="6663569" y="138812"/>
                  <a:pt x="6669231" y="151995"/>
                </a:cubicBezTo>
                <a:cubicBezTo>
                  <a:pt x="6725846" y="161881"/>
                  <a:pt x="6748492" y="122334"/>
                  <a:pt x="6788122" y="109152"/>
                </a:cubicBezTo>
                <a:cubicBezTo>
                  <a:pt x="6810768" y="125630"/>
                  <a:pt x="6844737" y="99265"/>
                  <a:pt x="6867383" y="115743"/>
                </a:cubicBezTo>
                <a:cubicBezTo>
                  <a:pt x="6844737" y="122334"/>
                  <a:pt x="6856060" y="132221"/>
                  <a:pt x="6856060" y="138812"/>
                </a:cubicBezTo>
                <a:cubicBezTo>
                  <a:pt x="6839075" y="135517"/>
                  <a:pt x="6833414" y="148699"/>
                  <a:pt x="6822091" y="151995"/>
                </a:cubicBezTo>
                <a:cubicBezTo>
                  <a:pt x="6833414" y="168473"/>
                  <a:pt x="6878706" y="158586"/>
                  <a:pt x="6901352" y="161881"/>
                </a:cubicBezTo>
                <a:cubicBezTo>
                  <a:pt x="6918336" y="148699"/>
                  <a:pt x="6963628" y="135517"/>
                  <a:pt x="6946644" y="119039"/>
                </a:cubicBezTo>
                <a:cubicBezTo>
                  <a:pt x="6940982" y="115743"/>
                  <a:pt x="6940982" y="115743"/>
                  <a:pt x="6940982" y="115743"/>
                </a:cubicBezTo>
                <a:cubicBezTo>
                  <a:pt x="7144796" y="112448"/>
                  <a:pt x="7144796" y="112448"/>
                  <a:pt x="7144796" y="112448"/>
                </a:cubicBezTo>
                <a:cubicBezTo>
                  <a:pt x="7150457" y="109152"/>
                  <a:pt x="7156119" y="105857"/>
                  <a:pt x="7161780" y="109152"/>
                </a:cubicBezTo>
                <a:cubicBezTo>
                  <a:pt x="7173103" y="109152"/>
                  <a:pt x="7173103" y="109152"/>
                  <a:pt x="7173103" y="109152"/>
                </a:cubicBezTo>
                <a:cubicBezTo>
                  <a:pt x="7150457" y="122334"/>
                  <a:pt x="7133473" y="125630"/>
                  <a:pt x="7116488" y="138812"/>
                </a:cubicBezTo>
                <a:cubicBezTo>
                  <a:pt x="7122150" y="145404"/>
                  <a:pt x="7122150" y="151995"/>
                  <a:pt x="7139134" y="158586"/>
                </a:cubicBezTo>
                <a:cubicBezTo>
                  <a:pt x="7173103" y="128926"/>
                  <a:pt x="7241041" y="165177"/>
                  <a:pt x="7258025" y="125630"/>
                </a:cubicBezTo>
                <a:cubicBezTo>
                  <a:pt x="7246702" y="122334"/>
                  <a:pt x="7235379" y="122334"/>
                  <a:pt x="7224057" y="122334"/>
                </a:cubicBezTo>
                <a:cubicBezTo>
                  <a:pt x="7241041" y="115743"/>
                  <a:pt x="7229718" y="105857"/>
                  <a:pt x="7258025" y="109152"/>
                </a:cubicBezTo>
                <a:cubicBezTo>
                  <a:pt x="7275010" y="122334"/>
                  <a:pt x="7241041" y="148699"/>
                  <a:pt x="7286333" y="142108"/>
                </a:cubicBezTo>
                <a:cubicBezTo>
                  <a:pt x="7286333" y="148699"/>
                  <a:pt x="7286333" y="155290"/>
                  <a:pt x="7297656" y="161881"/>
                </a:cubicBezTo>
                <a:cubicBezTo>
                  <a:pt x="7422209" y="151995"/>
                  <a:pt x="7580730" y="198133"/>
                  <a:pt x="7665652" y="132221"/>
                </a:cubicBezTo>
                <a:cubicBezTo>
                  <a:pt x="7648668" y="115743"/>
                  <a:pt x="7580730" y="128926"/>
                  <a:pt x="7569407" y="109152"/>
                </a:cubicBezTo>
                <a:cubicBezTo>
                  <a:pt x="7988357" y="109152"/>
                  <a:pt x="7988357" y="109152"/>
                  <a:pt x="7988357" y="109152"/>
                </a:cubicBezTo>
                <a:cubicBezTo>
                  <a:pt x="7988357" y="122334"/>
                  <a:pt x="7988357" y="122334"/>
                  <a:pt x="7988357" y="122334"/>
                </a:cubicBezTo>
                <a:cubicBezTo>
                  <a:pt x="7982696" y="122334"/>
                  <a:pt x="7977034" y="128926"/>
                  <a:pt x="7977034" y="128926"/>
                </a:cubicBezTo>
                <a:cubicBezTo>
                  <a:pt x="7982696" y="148699"/>
                  <a:pt x="8016665" y="135517"/>
                  <a:pt x="8039311" y="138812"/>
                </a:cubicBezTo>
                <a:cubicBezTo>
                  <a:pt x="8073279" y="151995"/>
                  <a:pt x="8112910" y="168473"/>
                  <a:pt x="8152540" y="161881"/>
                </a:cubicBezTo>
                <a:cubicBezTo>
                  <a:pt x="8158202" y="155290"/>
                  <a:pt x="8169524" y="155290"/>
                  <a:pt x="8163863" y="148699"/>
                </a:cubicBezTo>
                <a:cubicBezTo>
                  <a:pt x="8146878" y="125630"/>
                  <a:pt x="8084602" y="142108"/>
                  <a:pt x="8090264" y="112448"/>
                </a:cubicBezTo>
                <a:cubicBezTo>
                  <a:pt x="8158202" y="102561"/>
                  <a:pt x="8260108" y="115743"/>
                  <a:pt x="8277092" y="63014"/>
                </a:cubicBezTo>
                <a:cubicBezTo>
                  <a:pt x="8282754" y="30058"/>
                  <a:pt x="8282754" y="30058"/>
                  <a:pt x="8282754" y="30058"/>
                </a:cubicBezTo>
                <a:cubicBezTo>
                  <a:pt x="8384661" y="43240"/>
                  <a:pt x="8503552" y="33354"/>
                  <a:pt x="8611120" y="39945"/>
                </a:cubicBezTo>
                <a:cubicBezTo>
                  <a:pt x="8611120" y="66310"/>
                  <a:pt x="8548844" y="53127"/>
                  <a:pt x="8543183" y="79492"/>
                </a:cubicBezTo>
                <a:cubicBezTo>
                  <a:pt x="8571490" y="95970"/>
                  <a:pt x="8605459" y="102561"/>
                  <a:pt x="8645089" y="95970"/>
                </a:cubicBezTo>
                <a:cubicBezTo>
                  <a:pt x="8667735" y="79492"/>
                  <a:pt x="8724350" y="89379"/>
                  <a:pt x="8718689" y="59718"/>
                </a:cubicBezTo>
                <a:cubicBezTo>
                  <a:pt x="8713027" y="63014"/>
                  <a:pt x="8724350" y="79492"/>
                  <a:pt x="8741335" y="89379"/>
                </a:cubicBezTo>
                <a:cubicBezTo>
                  <a:pt x="8758319" y="89379"/>
                  <a:pt x="8769642" y="82787"/>
                  <a:pt x="8780965" y="76196"/>
                </a:cubicBezTo>
                <a:cubicBezTo>
                  <a:pt x="8797949" y="56423"/>
                  <a:pt x="8724350" y="43240"/>
                  <a:pt x="8775303" y="30058"/>
                </a:cubicBezTo>
                <a:cubicBezTo>
                  <a:pt x="8860226" y="63014"/>
                  <a:pt x="8967794" y="20171"/>
                  <a:pt x="9064039" y="43240"/>
                </a:cubicBezTo>
                <a:cubicBezTo>
                  <a:pt x="9137639" y="16876"/>
                  <a:pt x="9182930" y="56423"/>
                  <a:pt x="9256530" y="43240"/>
                </a:cubicBezTo>
                <a:cubicBezTo>
                  <a:pt x="9307483" y="36649"/>
                  <a:pt x="9381082" y="43240"/>
                  <a:pt x="9443359" y="36649"/>
                </a:cubicBezTo>
                <a:cubicBezTo>
                  <a:pt x="9511297" y="33354"/>
                  <a:pt x="9584896" y="20171"/>
                  <a:pt x="9652834" y="33354"/>
                </a:cubicBezTo>
                <a:cubicBezTo>
                  <a:pt x="9635849" y="56423"/>
                  <a:pt x="9635849" y="56423"/>
                  <a:pt x="9635849" y="56423"/>
                </a:cubicBezTo>
                <a:cubicBezTo>
                  <a:pt x="9698126" y="66310"/>
                  <a:pt x="9754741" y="66310"/>
                  <a:pt x="9811355" y="56423"/>
                </a:cubicBezTo>
                <a:cubicBezTo>
                  <a:pt x="9777387" y="36649"/>
                  <a:pt x="9777387" y="36649"/>
                  <a:pt x="9777387" y="36649"/>
                </a:cubicBezTo>
                <a:cubicBezTo>
                  <a:pt x="9817017" y="30058"/>
                  <a:pt x="9867970" y="23467"/>
                  <a:pt x="9896278" y="43240"/>
                </a:cubicBezTo>
                <a:cubicBezTo>
                  <a:pt x="9896278" y="59718"/>
                  <a:pt x="9924585" y="66310"/>
                  <a:pt x="9935908" y="63014"/>
                </a:cubicBezTo>
                <a:cubicBezTo>
                  <a:pt x="9930247" y="72901"/>
                  <a:pt x="9947231" y="72901"/>
                  <a:pt x="9952893" y="76196"/>
                </a:cubicBezTo>
                <a:cubicBezTo>
                  <a:pt x="9992523" y="56423"/>
                  <a:pt x="10105753" y="82787"/>
                  <a:pt x="10083107" y="30058"/>
                </a:cubicBezTo>
                <a:cubicBezTo>
                  <a:pt x="10569995" y="16876"/>
                  <a:pt x="10569995" y="16876"/>
                  <a:pt x="10569995" y="16876"/>
                </a:cubicBezTo>
                <a:cubicBezTo>
                  <a:pt x="10513380" y="33354"/>
                  <a:pt x="10422796" y="36649"/>
                  <a:pt x="10411473" y="86083"/>
                </a:cubicBezTo>
                <a:cubicBezTo>
                  <a:pt x="10422796" y="95970"/>
                  <a:pt x="10445442" y="102561"/>
                  <a:pt x="10462426" y="109152"/>
                </a:cubicBezTo>
                <a:cubicBezTo>
                  <a:pt x="10434119" y="115743"/>
                  <a:pt x="10400150" y="132221"/>
                  <a:pt x="10366181" y="115743"/>
                </a:cubicBezTo>
                <a:cubicBezTo>
                  <a:pt x="10388827" y="105857"/>
                  <a:pt x="10411473" y="89379"/>
                  <a:pt x="10400150" y="72901"/>
                </a:cubicBezTo>
                <a:cubicBezTo>
                  <a:pt x="10388827" y="56423"/>
                  <a:pt x="10349197" y="63014"/>
                  <a:pt x="10326551" y="56423"/>
                </a:cubicBezTo>
                <a:cubicBezTo>
                  <a:pt x="10320889" y="86083"/>
                  <a:pt x="10281259" y="46536"/>
                  <a:pt x="10258613" y="69605"/>
                </a:cubicBezTo>
                <a:cubicBezTo>
                  <a:pt x="10241628" y="72901"/>
                  <a:pt x="10230305" y="63014"/>
                  <a:pt x="10230305" y="56423"/>
                </a:cubicBezTo>
                <a:cubicBezTo>
                  <a:pt x="10201998" y="63014"/>
                  <a:pt x="10173691" y="79492"/>
                  <a:pt x="10173691" y="95970"/>
                </a:cubicBezTo>
                <a:cubicBezTo>
                  <a:pt x="10190675" y="112448"/>
                  <a:pt x="10247290" y="92674"/>
                  <a:pt x="10247290" y="112448"/>
                </a:cubicBezTo>
                <a:cubicBezTo>
                  <a:pt x="10258613" y="128926"/>
                  <a:pt x="10281259" y="128926"/>
                  <a:pt x="10303905" y="125630"/>
                </a:cubicBezTo>
                <a:cubicBezTo>
                  <a:pt x="10269936" y="145404"/>
                  <a:pt x="10247290" y="181655"/>
                  <a:pt x="10185014" y="175064"/>
                </a:cubicBezTo>
                <a:cubicBezTo>
                  <a:pt x="10235967" y="184951"/>
                  <a:pt x="10298243" y="184951"/>
                  <a:pt x="10349197" y="188246"/>
                </a:cubicBezTo>
                <a:cubicBezTo>
                  <a:pt x="10354858" y="208020"/>
                  <a:pt x="10332212" y="240975"/>
                  <a:pt x="10383166" y="237680"/>
                </a:cubicBezTo>
                <a:cubicBezTo>
                  <a:pt x="10468088" y="247567"/>
                  <a:pt x="10536026" y="208020"/>
                  <a:pt x="10615286" y="234384"/>
                </a:cubicBezTo>
                <a:cubicBezTo>
                  <a:pt x="10683224" y="201428"/>
                  <a:pt x="10796454" y="244271"/>
                  <a:pt x="10853069" y="198133"/>
                </a:cubicBezTo>
                <a:cubicBezTo>
                  <a:pt x="10841746" y="191542"/>
                  <a:pt x="10841746" y="191542"/>
                  <a:pt x="10841746" y="191542"/>
                </a:cubicBezTo>
                <a:cubicBezTo>
                  <a:pt x="10853069" y="191542"/>
                  <a:pt x="10858730" y="188246"/>
                  <a:pt x="10864392" y="181655"/>
                </a:cubicBezTo>
                <a:cubicBezTo>
                  <a:pt x="10870053" y="165177"/>
                  <a:pt x="10841746" y="155290"/>
                  <a:pt x="10841746" y="138812"/>
                </a:cubicBezTo>
                <a:cubicBezTo>
                  <a:pt x="10864392" y="138812"/>
                  <a:pt x="10864392" y="138812"/>
                  <a:pt x="10864392" y="138812"/>
                </a:cubicBezTo>
                <a:cubicBezTo>
                  <a:pt x="10881376" y="122334"/>
                  <a:pt x="10853069" y="112448"/>
                  <a:pt x="10841746" y="95970"/>
                </a:cubicBezTo>
                <a:cubicBezTo>
                  <a:pt x="10864392" y="95970"/>
                  <a:pt x="10875715" y="82787"/>
                  <a:pt x="10881376" y="72901"/>
                </a:cubicBezTo>
                <a:cubicBezTo>
                  <a:pt x="10864392" y="53127"/>
                  <a:pt x="10892699" y="16876"/>
                  <a:pt x="10841746" y="13580"/>
                </a:cubicBezTo>
                <a:cubicBezTo>
                  <a:pt x="10807777" y="13580"/>
                  <a:pt x="10785131" y="36649"/>
                  <a:pt x="10756824" y="30058"/>
                </a:cubicBezTo>
                <a:cubicBezTo>
                  <a:pt x="10705870" y="76196"/>
                  <a:pt x="10705870" y="76196"/>
                  <a:pt x="10705870" y="76196"/>
                </a:cubicBezTo>
                <a:cubicBezTo>
                  <a:pt x="10705870" y="43240"/>
                  <a:pt x="10705870" y="43240"/>
                  <a:pt x="10705870" y="43240"/>
                </a:cubicBezTo>
                <a:cubicBezTo>
                  <a:pt x="10711532" y="49832"/>
                  <a:pt x="10711532" y="49832"/>
                  <a:pt x="10711532" y="49832"/>
                </a:cubicBezTo>
                <a:cubicBezTo>
                  <a:pt x="10722855" y="46536"/>
                  <a:pt x="10728516" y="39945"/>
                  <a:pt x="10722855" y="33354"/>
                </a:cubicBezTo>
                <a:cubicBezTo>
                  <a:pt x="10705870" y="23467"/>
                  <a:pt x="10671901" y="30058"/>
                  <a:pt x="10643594" y="30058"/>
                </a:cubicBezTo>
                <a:cubicBezTo>
                  <a:pt x="10598302" y="36649"/>
                  <a:pt x="10609625" y="92674"/>
                  <a:pt x="10558672" y="72901"/>
                </a:cubicBezTo>
                <a:cubicBezTo>
                  <a:pt x="10569995" y="49832"/>
                  <a:pt x="10620948" y="33354"/>
                  <a:pt x="10615286" y="16876"/>
                </a:cubicBezTo>
                <a:cubicBezTo>
                  <a:pt x="10711531" y="8637"/>
                  <a:pt x="10814854" y="2046"/>
                  <a:pt x="10918176" y="398"/>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3250671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0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DDDEED7E-05C1-4981-A24F-99A92B25F5E7}"/>
              </a:ext>
            </a:extLst>
          </p:cNvPr>
          <p:cNvSpPr>
            <a:spLocks noGrp="1"/>
          </p:cNvSpPr>
          <p:nvPr>
            <p:ph type="pic" sz="quarter" idx="13"/>
          </p:nvPr>
        </p:nvSpPr>
        <p:spPr>
          <a:xfrm>
            <a:off x="1070117" y="5"/>
            <a:ext cx="14061799" cy="5733324"/>
          </a:xfrm>
          <a:custGeom>
            <a:avLst/>
            <a:gdLst>
              <a:gd name="connsiteX0" fmla="*/ 1945969 w 10581483"/>
              <a:gd name="connsiteY0" fmla="*/ 4309658 h 4368247"/>
              <a:gd name="connsiteX1" fmla="*/ 1995950 w 10581483"/>
              <a:gd name="connsiteY1" fmla="*/ 4328220 h 4368247"/>
              <a:gd name="connsiteX2" fmla="*/ 1995950 w 10581483"/>
              <a:gd name="connsiteY2" fmla="*/ 4351068 h 4368247"/>
              <a:gd name="connsiteX3" fmla="*/ 1961678 w 10581483"/>
              <a:gd name="connsiteY3" fmla="*/ 4351068 h 4368247"/>
              <a:gd name="connsiteX4" fmla="*/ 1904557 w 10581483"/>
              <a:gd name="connsiteY4" fmla="*/ 4351068 h 4368247"/>
              <a:gd name="connsiteX5" fmla="*/ 1945969 w 10581483"/>
              <a:gd name="connsiteY5" fmla="*/ 4309658 h 4368247"/>
              <a:gd name="connsiteX6" fmla="*/ 4122161 w 10581483"/>
              <a:gd name="connsiteY6" fmla="*/ 4258675 h 4368247"/>
              <a:gd name="connsiteX7" fmla="*/ 4148465 w 10581483"/>
              <a:gd name="connsiteY7" fmla="*/ 4279095 h 4368247"/>
              <a:gd name="connsiteX8" fmla="*/ 4148460 w 10581483"/>
              <a:gd name="connsiteY8" fmla="*/ 4279098 h 4368247"/>
              <a:gd name="connsiteX9" fmla="*/ 4148465 w 10581483"/>
              <a:gd name="connsiteY9" fmla="*/ 4279098 h 4368247"/>
              <a:gd name="connsiteX10" fmla="*/ 4136086 w 10581483"/>
              <a:gd name="connsiteY10" fmla="*/ 4304232 h 4368247"/>
              <a:gd name="connsiteX11" fmla="*/ 4086580 w 10581483"/>
              <a:gd name="connsiteY11" fmla="*/ 4266533 h 4368247"/>
              <a:gd name="connsiteX12" fmla="*/ 4086582 w 10581483"/>
              <a:gd name="connsiteY12" fmla="*/ 4266533 h 4368247"/>
              <a:gd name="connsiteX13" fmla="*/ 4086580 w 10581483"/>
              <a:gd name="connsiteY13" fmla="*/ 4266530 h 4368247"/>
              <a:gd name="connsiteX14" fmla="*/ 4122161 w 10581483"/>
              <a:gd name="connsiteY14" fmla="*/ 4258675 h 4368247"/>
              <a:gd name="connsiteX15" fmla="*/ 4537923 w 10581483"/>
              <a:gd name="connsiteY15" fmla="*/ 4255495 h 4368247"/>
              <a:gd name="connsiteX16" fmla="*/ 4582598 w 10581483"/>
              <a:gd name="connsiteY16" fmla="*/ 4256463 h 4368247"/>
              <a:gd name="connsiteX17" fmla="*/ 4646365 w 10581483"/>
              <a:gd name="connsiteY17" fmla="*/ 4292040 h 4368247"/>
              <a:gd name="connsiteX18" fmla="*/ 4646362 w 10581483"/>
              <a:gd name="connsiteY18" fmla="*/ 4292040 h 4368247"/>
              <a:gd name="connsiteX19" fmla="*/ 4646365 w 10581483"/>
              <a:gd name="connsiteY19" fmla="*/ 4292045 h 4368247"/>
              <a:gd name="connsiteX20" fmla="*/ 4492135 w 10581483"/>
              <a:gd name="connsiteY20" fmla="*/ 4267292 h 4368247"/>
              <a:gd name="connsiteX21" fmla="*/ 4492147 w 10581483"/>
              <a:gd name="connsiteY21" fmla="*/ 4267292 h 4368247"/>
              <a:gd name="connsiteX22" fmla="*/ 4492135 w 10581483"/>
              <a:gd name="connsiteY22" fmla="*/ 4267290 h 4368247"/>
              <a:gd name="connsiteX23" fmla="*/ 4537923 w 10581483"/>
              <a:gd name="connsiteY23" fmla="*/ 4255495 h 4368247"/>
              <a:gd name="connsiteX24" fmla="*/ 4292214 w 10581483"/>
              <a:gd name="connsiteY24" fmla="*/ 4219689 h 4368247"/>
              <a:gd name="connsiteX25" fmla="*/ 4468935 w 10581483"/>
              <a:gd name="connsiteY25" fmla="*/ 4244823 h 4368247"/>
              <a:gd name="connsiteX26" fmla="*/ 4480716 w 10581483"/>
              <a:gd name="connsiteY26" fmla="*/ 4269955 h 4368247"/>
              <a:gd name="connsiteX27" fmla="*/ 4480716 w 10581483"/>
              <a:gd name="connsiteY27" fmla="*/ 4269959 h 4368247"/>
              <a:gd name="connsiteX28" fmla="*/ 4457154 w 10581483"/>
              <a:gd name="connsiteY28" fmla="*/ 4282524 h 4368247"/>
              <a:gd name="connsiteX29" fmla="*/ 4292214 w 10581483"/>
              <a:gd name="connsiteY29" fmla="*/ 4219693 h 4368247"/>
              <a:gd name="connsiteX30" fmla="*/ 4292225 w 10581483"/>
              <a:gd name="connsiteY30" fmla="*/ 4219696 h 4368247"/>
              <a:gd name="connsiteX31" fmla="*/ 3507374 w 10581483"/>
              <a:gd name="connsiteY31" fmla="*/ 3888387 h 4368247"/>
              <a:gd name="connsiteX32" fmla="*/ 3519940 w 10581483"/>
              <a:gd name="connsiteY32" fmla="*/ 3911235 h 4368247"/>
              <a:gd name="connsiteX33" fmla="*/ 3519940 w 10581483"/>
              <a:gd name="connsiteY33" fmla="*/ 3911239 h 4368247"/>
              <a:gd name="connsiteX34" fmla="*/ 3482238 w 10581483"/>
              <a:gd name="connsiteY34" fmla="*/ 3934087 h 4368247"/>
              <a:gd name="connsiteX35" fmla="*/ 3469673 w 10581483"/>
              <a:gd name="connsiteY35" fmla="*/ 3922663 h 4368247"/>
              <a:gd name="connsiteX36" fmla="*/ 3469673 w 10581483"/>
              <a:gd name="connsiteY36" fmla="*/ 3922660 h 4368247"/>
              <a:gd name="connsiteX37" fmla="*/ 3507374 w 10581483"/>
              <a:gd name="connsiteY37" fmla="*/ 3888387 h 4368247"/>
              <a:gd name="connsiteX38" fmla="*/ 3326869 w 10581483"/>
              <a:gd name="connsiteY38" fmla="*/ 3625630 h 4368247"/>
              <a:gd name="connsiteX39" fmla="*/ 3338293 w 10581483"/>
              <a:gd name="connsiteY39" fmla="*/ 3625630 h 4368247"/>
              <a:gd name="connsiteX40" fmla="*/ 3338293 w 10581483"/>
              <a:gd name="connsiteY40" fmla="*/ 3625634 h 4368247"/>
              <a:gd name="connsiteX41" fmla="*/ 3338293 w 10581483"/>
              <a:gd name="connsiteY41" fmla="*/ 3637054 h 4368247"/>
              <a:gd name="connsiteX42" fmla="*/ 3338293 w 10581483"/>
              <a:gd name="connsiteY42" fmla="*/ 3637058 h 4368247"/>
              <a:gd name="connsiteX43" fmla="*/ 3326869 w 10581483"/>
              <a:gd name="connsiteY43" fmla="*/ 3625634 h 4368247"/>
              <a:gd name="connsiteX44" fmla="*/ 3326872 w 10581483"/>
              <a:gd name="connsiteY44" fmla="*/ 3625634 h 4368247"/>
              <a:gd name="connsiteX45" fmla="*/ 5501771 w 10581483"/>
              <a:gd name="connsiteY45" fmla="*/ 3534028 h 4368247"/>
              <a:gd name="connsiteX46" fmla="*/ 5551753 w 10581483"/>
              <a:gd name="connsiteY46" fmla="*/ 3552591 h 4368247"/>
              <a:gd name="connsiteX47" fmla="*/ 5551753 w 10581483"/>
              <a:gd name="connsiteY47" fmla="*/ 3575439 h 4368247"/>
              <a:gd name="connsiteX48" fmla="*/ 5517480 w 10581483"/>
              <a:gd name="connsiteY48" fmla="*/ 3575439 h 4368247"/>
              <a:gd name="connsiteX49" fmla="*/ 5460360 w 10581483"/>
              <a:gd name="connsiteY49" fmla="*/ 3575439 h 4368247"/>
              <a:gd name="connsiteX50" fmla="*/ 5501771 w 10581483"/>
              <a:gd name="connsiteY50" fmla="*/ 3534028 h 4368247"/>
              <a:gd name="connsiteX51" fmla="*/ 7677964 w 10581483"/>
              <a:gd name="connsiteY51" fmla="*/ 3483045 h 4368247"/>
              <a:gd name="connsiteX52" fmla="*/ 7704267 w 10581483"/>
              <a:gd name="connsiteY52" fmla="*/ 3503464 h 4368247"/>
              <a:gd name="connsiteX53" fmla="*/ 7704263 w 10581483"/>
              <a:gd name="connsiteY53" fmla="*/ 3503468 h 4368247"/>
              <a:gd name="connsiteX54" fmla="*/ 7704267 w 10581483"/>
              <a:gd name="connsiteY54" fmla="*/ 3503468 h 4368247"/>
              <a:gd name="connsiteX55" fmla="*/ 7691889 w 10581483"/>
              <a:gd name="connsiteY55" fmla="*/ 3528602 h 4368247"/>
              <a:gd name="connsiteX56" fmla="*/ 7642381 w 10581483"/>
              <a:gd name="connsiteY56" fmla="*/ 3490904 h 4368247"/>
              <a:gd name="connsiteX57" fmla="*/ 7642385 w 10581483"/>
              <a:gd name="connsiteY57" fmla="*/ 3490904 h 4368247"/>
              <a:gd name="connsiteX58" fmla="*/ 7642381 w 10581483"/>
              <a:gd name="connsiteY58" fmla="*/ 3490900 h 4368247"/>
              <a:gd name="connsiteX59" fmla="*/ 7677964 w 10581483"/>
              <a:gd name="connsiteY59" fmla="*/ 3483045 h 4368247"/>
              <a:gd name="connsiteX60" fmla="*/ 8093726 w 10581483"/>
              <a:gd name="connsiteY60" fmla="*/ 3479866 h 4368247"/>
              <a:gd name="connsiteX61" fmla="*/ 8138401 w 10581483"/>
              <a:gd name="connsiteY61" fmla="*/ 3480833 h 4368247"/>
              <a:gd name="connsiteX62" fmla="*/ 8202168 w 10581483"/>
              <a:gd name="connsiteY62" fmla="*/ 3516411 h 4368247"/>
              <a:gd name="connsiteX63" fmla="*/ 8202164 w 10581483"/>
              <a:gd name="connsiteY63" fmla="*/ 3516411 h 4368247"/>
              <a:gd name="connsiteX64" fmla="*/ 8202168 w 10581483"/>
              <a:gd name="connsiteY64" fmla="*/ 3516415 h 4368247"/>
              <a:gd name="connsiteX65" fmla="*/ 8047939 w 10581483"/>
              <a:gd name="connsiteY65" fmla="*/ 3491662 h 4368247"/>
              <a:gd name="connsiteX66" fmla="*/ 8047951 w 10581483"/>
              <a:gd name="connsiteY66" fmla="*/ 3491662 h 4368247"/>
              <a:gd name="connsiteX67" fmla="*/ 8047939 w 10581483"/>
              <a:gd name="connsiteY67" fmla="*/ 3491659 h 4368247"/>
              <a:gd name="connsiteX68" fmla="*/ 8093726 w 10581483"/>
              <a:gd name="connsiteY68" fmla="*/ 3479866 h 4368247"/>
              <a:gd name="connsiteX69" fmla="*/ 7848017 w 10581483"/>
              <a:gd name="connsiteY69" fmla="*/ 3444060 h 4368247"/>
              <a:gd name="connsiteX70" fmla="*/ 8024739 w 10581483"/>
              <a:gd name="connsiteY70" fmla="*/ 3469193 h 4368247"/>
              <a:gd name="connsiteX71" fmla="*/ 8036519 w 10581483"/>
              <a:gd name="connsiteY71" fmla="*/ 3494326 h 4368247"/>
              <a:gd name="connsiteX72" fmla="*/ 8036519 w 10581483"/>
              <a:gd name="connsiteY72" fmla="*/ 3494329 h 4368247"/>
              <a:gd name="connsiteX73" fmla="*/ 8012957 w 10581483"/>
              <a:gd name="connsiteY73" fmla="*/ 3506895 h 4368247"/>
              <a:gd name="connsiteX74" fmla="*/ 7848017 w 10581483"/>
              <a:gd name="connsiteY74" fmla="*/ 3444063 h 4368247"/>
              <a:gd name="connsiteX75" fmla="*/ 7848028 w 10581483"/>
              <a:gd name="connsiteY75" fmla="*/ 3444067 h 4368247"/>
              <a:gd name="connsiteX76" fmla="*/ 1128557 w 10581483"/>
              <a:gd name="connsiteY76" fmla="*/ 3403152 h 4368247"/>
              <a:gd name="connsiteX77" fmla="*/ 1178538 w 10581483"/>
              <a:gd name="connsiteY77" fmla="*/ 3421715 h 4368247"/>
              <a:gd name="connsiteX78" fmla="*/ 1178538 w 10581483"/>
              <a:gd name="connsiteY78" fmla="*/ 3444563 h 4368247"/>
              <a:gd name="connsiteX79" fmla="*/ 1144265 w 10581483"/>
              <a:gd name="connsiteY79" fmla="*/ 3444563 h 4368247"/>
              <a:gd name="connsiteX80" fmla="*/ 1087144 w 10581483"/>
              <a:gd name="connsiteY80" fmla="*/ 3444563 h 4368247"/>
              <a:gd name="connsiteX81" fmla="*/ 1128557 w 10581483"/>
              <a:gd name="connsiteY81" fmla="*/ 3403152 h 4368247"/>
              <a:gd name="connsiteX82" fmla="*/ 1332669 w 10581483"/>
              <a:gd name="connsiteY82" fmla="*/ 3344195 h 4368247"/>
              <a:gd name="connsiteX83" fmla="*/ 1300467 w 10581483"/>
              <a:gd name="connsiteY83" fmla="*/ 3364572 h 4368247"/>
              <a:gd name="connsiteX84" fmla="*/ 1309151 w 10581483"/>
              <a:gd name="connsiteY84" fmla="*/ 3418095 h 4368247"/>
              <a:gd name="connsiteX85" fmla="*/ 1332149 w 10581483"/>
              <a:gd name="connsiteY85" fmla="*/ 3408905 h 4368247"/>
              <a:gd name="connsiteX86" fmla="*/ 1342543 w 10581483"/>
              <a:gd name="connsiteY86" fmla="*/ 3376258 h 4368247"/>
              <a:gd name="connsiteX87" fmla="*/ 6693187 w 10581483"/>
              <a:gd name="connsiteY87" fmla="*/ 3341064 h 4368247"/>
              <a:gd name="connsiteX88" fmla="*/ 6677962 w 10581483"/>
              <a:gd name="connsiteY88" fmla="*/ 3344217 h 4368247"/>
              <a:gd name="connsiteX89" fmla="*/ 6676119 w 10581483"/>
              <a:gd name="connsiteY89" fmla="*/ 3347349 h 4368247"/>
              <a:gd name="connsiteX90" fmla="*/ 6719322 w 10581483"/>
              <a:gd name="connsiteY90" fmla="*/ 3347765 h 4368247"/>
              <a:gd name="connsiteX91" fmla="*/ 6710640 w 10581483"/>
              <a:gd name="connsiteY91" fmla="*/ 3345702 h 4368247"/>
              <a:gd name="connsiteX92" fmla="*/ 6693187 w 10581483"/>
              <a:gd name="connsiteY92" fmla="*/ 3341064 h 4368247"/>
              <a:gd name="connsiteX93" fmla="*/ 8919897 w 10581483"/>
              <a:gd name="connsiteY93" fmla="*/ 3314006 h 4368247"/>
              <a:gd name="connsiteX94" fmla="*/ 8946201 w 10581483"/>
              <a:gd name="connsiteY94" fmla="*/ 3334426 h 4368247"/>
              <a:gd name="connsiteX95" fmla="*/ 8946197 w 10581483"/>
              <a:gd name="connsiteY95" fmla="*/ 3334430 h 4368247"/>
              <a:gd name="connsiteX96" fmla="*/ 8946201 w 10581483"/>
              <a:gd name="connsiteY96" fmla="*/ 3334430 h 4368247"/>
              <a:gd name="connsiteX97" fmla="*/ 8933822 w 10581483"/>
              <a:gd name="connsiteY97" fmla="*/ 3359563 h 4368247"/>
              <a:gd name="connsiteX98" fmla="*/ 8884315 w 10581483"/>
              <a:gd name="connsiteY98" fmla="*/ 3321864 h 4368247"/>
              <a:gd name="connsiteX99" fmla="*/ 8884320 w 10581483"/>
              <a:gd name="connsiteY99" fmla="*/ 3321864 h 4368247"/>
              <a:gd name="connsiteX100" fmla="*/ 8884315 w 10581483"/>
              <a:gd name="connsiteY100" fmla="*/ 3321861 h 4368247"/>
              <a:gd name="connsiteX101" fmla="*/ 8919897 w 10581483"/>
              <a:gd name="connsiteY101" fmla="*/ 3314006 h 4368247"/>
              <a:gd name="connsiteX102" fmla="*/ 9335660 w 10581483"/>
              <a:gd name="connsiteY102" fmla="*/ 3310826 h 4368247"/>
              <a:gd name="connsiteX103" fmla="*/ 9380335 w 10581483"/>
              <a:gd name="connsiteY103" fmla="*/ 3311794 h 4368247"/>
              <a:gd name="connsiteX104" fmla="*/ 9444100 w 10581483"/>
              <a:gd name="connsiteY104" fmla="*/ 3347372 h 4368247"/>
              <a:gd name="connsiteX105" fmla="*/ 9444098 w 10581483"/>
              <a:gd name="connsiteY105" fmla="*/ 3347372 h 4368247"/>
              <a:gd name="connsiteX106" fmla="*/ 9444100 w 10581483"/>
              <a:gd name="connsiteY106" fmla="*/ 3347376 h 4368247"/>
              <a:gd name="connsiteX107" fmla="*/ 9289873 w 10581483"/>
              <a:gd name="connsiteY107" fmla="*/ 3322624 h 4368247"/>
              <a:gd name="connsiteX108" fmla="*/ 9289884 w 10581483"/>
              <a:gd name="connsiteY108" fmla="*/ 3322624 h 4368247"/>
              <a:gd name="connsiteX109" fmla="*/ 9289873 w 10581483"/>
              <a:gd name="connsiteY109" fmla="*/ 3322621 h 4368247"/>
              <a:gd name="connsiteX110" fmla="*/ 9335660 w 10581483"/>
              <a:gd name="connsiteY110" fmla="*/ 3310826 h 4368247"/>
              <a:gd name="connsiteX111" fmla="*/ 6410606 w 10581483"/>
              <a:gd name="connsiteY111" fmla="*/ 3302668 h 4368247"/>
              <a:gd name="connsiteX112" fmla="*/ 6413308 w 10581483"/>
              <a:gd name="connsiteY112" fmla="*/ 3320196 h 4368247"/>
              <a:gd name="connsiteX113" fmla="*/ 6434157 w 10581483"/>
              <a:gd name="connsiteY113" fmla="*/ 3321823 h 4368247"/>
              <a:gd name="connsiteX114" fmla="*/ 6490600 w 10581483"/>
              <a:gd name="connsiteY114" fmla="*/ 3336664 h 4368247"/>
              <a:gd name="connsiteX115" fmla="*/ 6617763 w 10581483"/>
              <a:gd name="connsiteY115" fmla="*/ 3345215 h 4368247"/>
              <a:gd name="connsiteX116" fmla="*/ 6603699 w 10581483"/>
              <a:gd name="connsiteY116" fmla="*/ 3310087 h 4368247"/>
              <a:gd name="connsiteX117" fmla="*/ 6606668 w 10581483"/>
              <a:gd name="connsiteY117" fmla="*/ 3335311 h 4368247"/>
              <a:gd name="connsiteX118" fmla="*/ 6606668 w 10581483"/>
              <a:gd name="connsiteY118" fmla="*/ 3335315 h 4368247"/>
              <a:gd name="connsiteX119" fmla="*/ 6591815 w 10581483"/>
              <a:gd name="connsiteY119" fmla="*/ 3333829 h 4368247"/>
              <a:gd name="connsiteX120" fmla="*/ 6449226 w 10581483"/>
              <a:gd name="connsiteY120" fmla="*/ 3321959 h 4368247"/>
              <a:gd name="connsiteX121" fmla="*/ 6425460 w 10581483"/>
              <a:gd name="connsiteY121" fmla="*/ 3310087 h 4368247"/>
              <a:gd name="connsiteX122" fmla="*/ 6960170 w 10581483"/>
              <a:gd name="connsiteY122" fmla="*/ 3298214 h 4368247"/>
              <a:gd name="connsiteX123" fmla="*/ 6915615 w 10581483"/>
              <a:gd name="connsiteY123" fmla="*/ 3326409 h 4368247"/>
              <a:gd name="connsiteX124" fmla="*/ 6921329 w 10581483"/>
              <a:gd name="connsiteY124" fmla="*/ 3361630 h 4368247"/>
              <a:gd name="connsiteX125" fmla="*/ 6939162 w 10581483"/>
              <a:gd name="connsiteY125" fmla="*/ 3362447 h 4368247"/>
              <a:gd name="connsiteX126" fmla="*/ 6983723 w 10581483"/>
              <a:gd name="connsiteY126" fmla="*/ 3358923 h 4368247"/>
              <a:gd name="connsiteX127" fmla="*/ 6999508 w 10581483"/>
              <a:gd name="connsiteY127" fmla="*/ 3360040 h 4368247"/>
              <a:gd name="connsiteX128" fmla="*/ 6972056 w 10581483"/>
              <a:gd name="connsiteY128" fmla="*/ 3347185 h 4368247"/>
              <a:gd name="connsiteX129" fmla="*/ 6960170 w 10581483"/>
              <a:gd name="connsiteY129" fmla="*/ 3298214 h 4368247"/>
              <a:gd name="connsiteX130" fmla="*/ 6827423 w 10581483"/>
              <a:gd name="connsiteY130" fmla="*/ 3293577 h 4368247"/>
              <a:gd name="connsiteX131" fmla="*/ 6805700 w 10581483"/>
              <a:gd name="connsiteY131" fmla="*/ 3321959 h 4368247"/>
              <a:gd name="connsiteX132" fmla="*/ 6785834 w 10581483"/>
              <a:gd name="connsiteY132" fmla="*/ 3342363 h 4368247"/>
              <a:gd name="connsiteX133" fmla="*/ 6771073 w 10581483"/>
              <a:gd name="connsiteY133" fmla="*/ 3348261 h 4368247"/>
              <a:gd name="connsiteX134" fmla="*/ 6799543 w 10581483"/>
              <a:gd name="connsiteY134" fmla="*/ 3348534 h 4368247"/>
              <a:gd name="connsiteX135" fmla="*/ 6851529 w 10581483"/>
              <a:gd name="connsiteY135" fmla="*/ 3354470 h 4368247"/>
              <a:gd name="connsiteX136" fmla="*/ 6853229 w 10581483"/>
              <a:gd name="connsiteY136" fmla="*/ 3354704 h 4368247"/>
              <a:gd name="connsiteX137" fmla="*/ 6853229 w 10581483"/>
              <a:gd name="connsiteY137" fmla="*/ 3345702 h 4368247"/>
              <a:gd name="connsiteX138" fmla="*/ 6841348 w 10581483"/>
              <a:gd name="connsiteY138" fmla="*/ 3298214 h 4368247"/>
              <a:gd name="connsiteX139" fmla="*/ 6827423 w 10581483"/>
              <a:gd name="connsiteY139" fmla="*/ 3293577 h 4368247"/>
              <a:gd name="connsiteX140" fmla="*/ 6164053 w 10581483"/>
              <a:gd name="connsiteY140" fmla="*/ 3286344 h 4368247"/>
              <a:gd name="connsiteX141" fmla="*/ 6210092 w 10581483"/>
              <a:gd name="connsiteY141" fmla="*/ 3307115 h 4368247"/>
              <a:gd name="connsiteX142" fmla="*/ 6219188 w 10581483"/>
              <a:gd name="connsiteY142" fmla="*/ 3319727 h 4368247"/>
              <a:gd name="connsiteX143" fmla="*/ 6219188 w 10581483"/>
              <a:gd name="connsiteY143" fmla="*/ 3319731 h 4368247"/>
              <a:gd name="connsiteX144" fmla="*/ 6206122 w 10581483"/>
              <a:gd name="connsiteY144" fmla="*/ 3330490 h 4368247"/>
              <a:gd name="connsiteX145" fmla="*/ 6191628 w 10581483"/>
              <a:gd name="connsiteY145" fmla="*/ 3337793 h 4368247"/>
              <a:gd name="connsiteX146" fmla="*/ 6199480 w 10581483"/>
              <a:gd name="connsiteY146" fmla="*/ 3341115 h 4368247"/>
              <a:gd name="connsiteX147" fmla="*/ 6252951 w 10581483"/>
              <a:gd name="connsiteY147" fmla="*/ 3324791 h 4368247"/>
              <a:gd name="connsiteX148" fmla="*/ 6336126 w 10581483"/>
              <a:gd name="connsiteY148" fmla="*/ 3336664 h 4368247"/>
              <a:gd name="connsiteX149" fmla="*/ 6387138 w 10581483"/>
              <a:gd name="connsiteY149" fmla="*/ 3338935 h 4368247"/>
              <a:gd name="connsiteX150" fmla="*/ 6393447 w 10581483"/>
              <a:gd name="connsiteY150" fmla="*/ 3328313 h 4368247"/>
              <a:gd name="connsiteX151" fmla="*/ 6377930 w 10581483"/>
              <a:gd name="connsiteY151" fmla="*/ 3314909 h 4368247"/>
              <a:gd name="connsiteX152" fmla="*/ 6270987 w 10581483"/>
              <a:gd name="connsiteY152" fmla="*/ 3298214 h 4368247"/>
              <a:gd name="connsiteX153" fmla="*/ 6217519 w 10581483"/>
              <a:gd name="connsiteY153" fmla="*/ 3287826 h 4368247"/>
              <a:gd name="connsiteX154" fmla="*/ 9089952 w 10581483"/>
              <a:gd name="connsiteY154" fmla="*/ 3275020 h 4368247"/>
              <a:gd name="connsiteX155" fmla="*/ 9266672 w 10581483"/>
              <a:gd name="connsiteY155" fmla="*/ 3300154 h 4368247"/>
              <a:gd name="connsiteX156" fmla="*/ 9278452 w 10581483"/>
              <a:gd name="connsiteY156" fmla="*/ 3325286 h 4368247"/>
              <a:gd name="connsiteX157" fmla="*/ 9278452 w 10581483"/>
              <a:gd name="connsiteY157" fmla="*/ 3325290 h 4368247"/>
              <a:gd name="connsiteX158" fmla="*/ 9254891 w 10581483"/>
              <a:gd name="connsiteY158" fmla="*/ 3337855 h 4368247"/>
              <a:gd name="connsiteX159" fmla="*/ 9089952 w 10581483"/>
              <a:gd name="connsiteY159" fmla="*/ 3275024 h 4368247"/>
              <a:gd name="connsiteX160" fmla="*/ 9089962 w 10581483"/>
              <a:gd name="connsiteY160" fmla="*/ 3275028 h 4368247"/>
              <a:gd name="connsiteX161" fmla="*/ 5626696 w 10581483"/>
              <a:gd name="connsiteY161" fmla="*/ 3184796 h 4368247"/>
              <a:gd name="connsiteX162" fmla="*/ 5625407 w 10581483"/>
              <a:gd name="connsiteY162" fmla="*/ 3185861 h 4368247"/>
              <a:gd name="connsiteX163" fmla="*/ 5611296 w 10581483"/>
              <a:gd name="connsiteY163" fmla="*/ 3206080 h 4368247"/>
              <a:gd name="connsiteX164" fmla="*/ 5551882 w 10581483"/>
              <a:gd name="connsiteY164" fmla="*/ 3241695 h 4368247"/>
              <a:gd name="connsiteX165" fmla="*/ 5468707 w 10581483"/>
              <a:gd name="connsiteY165" fmla="*/ 3229824 h 4368247"/>
              <a:gd name="connsiteX166" fmla="*/ 5456826 w 10581483"/>
              <a:gd name="connsiteY166" fmla="*/ 3241695 h 4368247"/>
              <a:gd name="connsiteX167" fmla="*/ 5468707 w 10581483"/>
              <a:gd name="connsiteY167" fmla="*/ 3253564 h 4368247"/>
              <a:gd name="connsiteX168" fmla="*/ 5623176 w 10581483"/>
              <a:gd name="connsiteY168" fmla="*/ 3265435 h 4368247"/>
              <a:gd name="connsiteX169" fmla="*/ 5628967 w 10581483"/>
              <a:gd name="connsiteY169" fmla="*/ 3263875 h 4368247"/>
              <a:gd name="connsiteX170" fmla="*/ 5627849 w 10581483"/>
              <a:gd name="connsiteY170" fmla="*/ 3195822 h 4368247"/>
              <a:gd name="connsiteX171" fmla="*/ 7274846 w 10581483"/>
              <a:gd name="connsiteY171" fmla="*/ 3134853 h 4368247"/>
              <a:gd name="connsiteX172" fmla="*/ 7284248 w 10581483"/>
              <a:gd name="connsiteY172" fmla="*/ 3148514 h 4368247"/>
              <a:gd name="connsiteX173" fmla="*/ 7298589 w 10581483"/>
              <a:gd name="connsiteY173" fmla="*/ 3145275 h 4368247"/>
              <a:gd name="connsiteX174" fmla="*/ 7907771 w 10581483"/>
              <a:gd name="connsiteY174" fmla="*/ 3108140 h 4368247"/>
              <a:gd name="connsiteX175" fmla="*/ 7900158 w 10581483"/>
              <a:gd name="connsiteY175" fmla="*/ 3114077 h 4368247"/>
              <a:gd name="connsiteX176" fmla="*/ 7892735 w 10581483"/>
              <a:gd name="connsiteY176" fmla="*/ 3134851 h 4368247"/>
              <a:gd name="connsiteX177" fmla="*/ 7916498 w 10581483"/>
              <a:gd name="connsiteY177" fmla="*/ 3158590 h 4368247"/>
              <a:gd name="connsiteX178" fmla="*/ 7964026 w 10581483"/>
              <a:gd name="connsiteY178" fmla="*/ 3170462 h 4368247"/>
              <a:gd name="connsiteX179" fmla="*/ 7964019 w 10581483"/>
              <a:gd name="connsiteY179" fmla="*/ 3170462 h 4368247"/>
              <a:gd name="connsiteX180" fmla="*/ 7964026 w 10581483"/>
              <a:gd name="connsiteY180" fmla="*/ 3170465 h 4368247"/>
              <a:gd name="connsiteX181" fmla="*/ 7892998 w 10581483"/>
              <a:gd name="connsiteY181" fmla="*/ 3178070 h 4368247"/>
              <a:gd name="connsiteX182" fmla="*/ 7992379 w 10581483"/>
              <a:gd name="connsiteY182" fmla="*/ 3179024 h 4368247"/>
              <a:gd name="connsiteX183" fmla="*/ 7983338 w 10581483"/>
              <a:gd name="connsiteY183" fmla="*/ 3174918 h 4368247"/>
              <a:gd name="connsiteX184" fmla="*/ 7975911 w 10581483"/>
              <a:gd name="connsiteY184" fmla="*/ 3158594 h 4368247"/>
              <a:gd name="connsiteX185" fmla="*/ 7916498 w 10581483"/>
              <a:gd name="connsiteY185" fmla="*/ 3111109 h 4368247"/>
              <a:gd name="connsiteX186" fmla="*/ 7907771 w 10581483"/>
              <a:gd name="connsiteY186" fmla="*/ 3108140 h 4368247"/>
              <a:gd name="connsiteX187" fmla="*/ 7173023 w 10581483"/>
              <a:gd name="connsiteY187" fmla="*/ 3102083 h 4368247"/>
              <a:gd name="connsiteX188" fmla="*/ 7163271 w 10581483"/>
              <a:gd name="connsiteY188" fmla="*/ 3103811 h 4368247"/>
              <a:gd name="connsiteX189" fmla="*/ 7157070 w 10581483"/>
              <a:gd name="connsiteY189" fmla="*/ 3108574 h 4368247"/>
              <a:gd name="connsiteX190" fmla="*/ 7184123 w 10581483"/>
              <a:gd name="connsiteY190" fmla="*/ 3118404 h 4368247"/>
              <a:gd name="connsiteX191" fmla="*/ 7179876 w 10581483"/>
              <a:gd name="connsiteY191" fmla="*/ 3106889 h 4368247"/>
              <a:gd name="connsiteX192" fmla="*/ 7173023 w 10581483"/>
              <a:gd name="connsiteY192" fmla="*/ 3102083 h 4368247"/>
              <a:gd name="connsiteX193" fmla="*/ 1095493 w 10581483"/>
              <a:gd name="connsiteY193" fmla="*/ 3098948 h 4368247"/>
              <a:gd name="connsiteX194" fmla="*/ 1083611 w 10581483"/>
              <a:gd name="connsiteY194" fmla="*/ 3110819 h 4368247"/>
              <a:gd name="connsiteX195" fmla="*/ 1095493 w 10581483"/>
              <a:gd name="connsiteY195" fmla="*/ 3122688 h 4368247"/>
              <a:gd name="connsiteX196" fmla="*/ 1168272 w 10581483"/>
              <a:gd name="connsiteY196" fmla="*/ 3133076 h 4368247"/>
              <a:gd name="connsiteX197" fmla="*/ 1191483 w 10581483"/>
              <a:gd name="connsiteY197" fmla="*/ 3135823 h 4368247"/>
              <a:gd name="connsiteX198" fmla="*/ 1188546 w 10581483"/>
              <a:gd name="connsiteY198" fmla="*/ 3107735 h 4368247"/>
              <a:gd name="connsiteX199" fmla="*/ 1186281 w 10581483"/>
              <a:gd name="connsiteY199" fmla="*/ 3108593 h 4368247"/>
              <a:gd name="connsiteX200" fmla="*/ 1178668 w 10581483"/>
              <a:gd name="connsiteY200" fmla="*/ 3110819 h 4368247"/>
              <a:gd name="connsiteX201" fmla="*/ 1095493 w 10581483"/>
              <a:gd name="connsiteY201" fmla="*/ 3098948 h 4368247"/>
              <a:gd name="connsiteX202" fmla="*/ 6765381 w 10581483"/>
              <a:gd name="connsiteY202" fmla="*/ 3074009 h 4368247"/>
              <a:gd name="connsiteX203" fmla="*/ 6740133 w 10581483"/>
              <a:gd name="connsiteY203" fmla="*/ 3087365 h 4368247"/>
              <a:gd name="connsiteX204" fmla="*/ 6740118 w 10581483"/>
              <a:gd name="connsiteY204" fmla="*/ 3087424 h 4368247"/>
              <a:gd name="connsiteX205" fmla="*/ 6746472 w 10581483"/>
              <a:gd name="connsiteY205" fmla="*/ 3088049 h 4368247"/>
              <a:gd name="connsiteX206" fmla="*/ 6783420 w 10581483"/>
              <a:gd name="connsiteY206" fmla="*/ 3094912 h 4368247"/>
              <a:gd name="connsiteX207" fmla="*/ 6793023 w 10581483"/>
              <a:gd name="connsiteY207" fmla="*/ 3096049 h 4368247"/>
              <a:gd name="connsiteX208" fmla="*/ 6797994 w 10581483"/>
              <a:gd name="connsiteY208" fmla="*/ 3089428 h 4368247"/>
              <a:gd name="connsiteX209" fmla="*/ 6792589 w 10581483"/>
              <a:gd name="connsiteY209" fmla="*/ 3089428 h 4368247"/>
              <a:gd name="connsiteX210" fmla="*/ 6780705 w 10581483"/>
              <a:gd name="connsiteY210" fmla="*/ 3089428 h 4368247"/>
              <a:gd name="connsiteX211" fmla="*/ 6768535 w 10581483"/>
              <a:gd name="connsiteY211" fmla="*/ 3075241 h 4368247"/>
              <a:gd name="connsiteX212" fmla="*/ 7116312 w 10581483"/>
              <a:gd name="connsiteY212" fmla="*/ 3068563 h 4368247"/>
              <a:gd name="connsiteX213" fmla="*/ 7102977 w 10581483"/>
              <a:gd name="connsiteY213" fmla="*/ 3072523 h 4368247"/>
              <a:gd name="connsiteX214" fmla="*/ 7085214 w 10581483"/>
              <a:gd name="connsiteY214" fmla="*/ 3074588 h 4368247"/>
              <a:gd name="connsiteX215" fmla="*/ 7086423 w 10581483"/>
              <a:gd name="connsiteY215" fmla="*/ 3075624 h 4368247"/>
              <a:gd name="connsiteX216" fmla="*/ 7090877 w 10581483"/>
              <a:gd name="connsiteY216" fmla="*/ 3120140 h 4368247"/>
              <a:gd name="connsiteX217" fmla="*/ 7090877 w 10581483"/>
              <a:gd name="connsiteY217" fmla="*/ 3120143 h 4368247"/>
              <a:gd name="connsiteX218" fmla="*/ 7124669 w 10581483"/>
              <a:gd name="connsiteY218" fmla="*/ 3111980 h 4368247"/>
              <a:gd name="connsiteX219" fmla="*/ 7132255 w 10581483"/>
              <a:gd name="connsiteY219" fmla="*/ 3111088 h 4368247"/>
              <a:gd name="connsiteX220" fmla="*/ 7132255 w 10581483"/>
              <a:gd name="connsiteY220" fmla="*/ 3099236 h 4368247"/>
              <a:gd name="connsiteX221" fmla="*/ 7133550 w 10581483"/>
              <a:gd name="connsiteY221" fmla="*/ 3086939 h 4368247"/>
              <a:gd name="connsiteX222" fmla="*/ 7129683 w 10581483"/>
              <a:gd name="connsiteY222" fmla="*/ 3087496 h 4368247"/>
              <a:gd name="connsiteX223" fmla="*/ 7119099 w 10581483"/>
              <a:gd name="connsiteY223" fmla="*/ 3081559 h 4368247"/>
              <a:gd name="connsiteX224" fmla="*/ 6813311 w 10581483"/>
              <a:gd name="connsiteY224" fmla="*/ 3065930 h 4368247"/>
              <a:gd name="connsiteX225" fmla="*/ 6812167 w 10581483"/>
              <a:gd name="connsiteY225" fmla="*/ 3066365 h 4368247"/>
              <a:gd name="connsiteX226" fmla="*/ 6821059 w 10581483"/>
              <a:gd name="connsiteY226" fmla="*/ 3099366 h 4368247"/>
              <a:gd name="connsiteX227" fmla="*/ 6822594 w 10581483"/>
              <a:gd name="connsiteY227" fmla="*/ 3099548 h 4368247"/>
              <a:gd name="connsiteX228" fmla="*/ 6865110 w 10581483"/>
              <a:gd name="connsiteY228" fmla="*/ 3096396 h 4368247"/>
              <a:gd name="connsiteX229" fmla="*/ 6886463 w 10581483"/>
              <a:gd name="connsiteY229" fmla="*/ 3090646 h 4368247"/>
              <a:gd name="connsiteX230" fmla="*/ 6888247 w 10581483"/>
              <a:gd name="connsiteY230" fmla="*/ 3090311 h 4368247"/>
              <a:gd name="connsiteX231" fmla="*/ 6858955 w 10581483"/>
              <a:gd name="connsiteY231" fmla="*/ 3075494 h 4368247"/>
              <a:gd name="connsiteX232" fmla="*/ 6855428 w 10581483"/>
              <a:gd name="connsiteY232" fmla="*/ 3070114 h 4368247"/>
              <a:gd name="connsiteX233" fmla="*/ 6848857 w 10581483"/>
              <a:gd name="connsiteY233" fmla="*/ 3068163 h 4368247"/>
              <a:gd name="connsiteX234" fmla="*/ 6848857 w 10581483"/>
              <a:gd name="connsiteY234" fmla="*/ 3069413 h 4368247"/>
              <a:gd name="connsiteX235" fmla="*/ 6814584 w 10581483"/>
              <a:gd name="connsiteY235" fmla="*/ 3069413 h 4368247"/>
              <a:gd name="connsiteX236" fmla="*/ 5482828 w 10581483"/>
              <a:gd name="connsiteY236" fmla="*/ 3052578 h 4368247"/>
              <a:gd name="connsiteX237" fmla="*/ 5480588 w 10581483"/>
              <a:gd name="connsiteY237" fmla="*/ 3063617 h 4368247"/>
              <a:gd name="connsiteX238" fmla="*/ 5477618 w 10581483"/>
              <a:gd name="connsiteY238" fmla="*/ 3079942 h 4368247"/>
              <a:gd name="connsiteX239" fmla="*/ 5483751 w 10581483"/>
              <a:gd name="connsiteY239" fmla="*/ 3083006 h 4368247"/>
              <a:gd name="connsiteX240" fmla="*/ 5497399 w 10581483"/>
              <a:gd name="connsiteY240" fmla="*/ 3077550 h 4368247"/>
              <a:gd name="connsiteX241" fmla="*/ 5502961 w 10581483"/>
              <a:gd name="connsiteY241" fmla="*/ 3078938 h 4368247"/>
              <a:gd name="connsiteX242" fmla="*/ 5504310 w 10581483"/>
              <a:gd name="connsiteY242" fmla="*/ 3064096 h 4368247"/>
              <a:gd name="connsiteX243" fmla="*/ 5485516 w 10581483"/>
              <a:gd name="connsiteY243" fmla="*/ 3055295 h 4368247"/>
              <a:gd name="connsiteX244" fmla="*/ 5206650 w 10581483"/>
              <a:gd name="connsiteY244" fmla="*/ 3049175 h 4368247"/>
              <a:gd name="connsiteX245" fmla="*/ 5191424 w 10581483"/>
              <a:gd name="connsiteY245" fmla="*/ 3052327 h 4368247"/>
              <a:gd name="connsiteX246" fmla="*/ 5183762 w 10581483"/>
              <a:gd name="connsiteY246" fmla="*/ 3065341 h 4368247"/>
              <a:gd name="connsiteX247" fmla="*/ 5247151 w 10581483"/>
              <a:gd name="connsiteY247" fmla="*/ 3059287 h 4368247"/>
              <a:gd name="connsiteX248" fmla="*/ 5224103 w 10581483"/>
              <a:gd name="connsiteY248" fmla="*/ 3053813 h 4368247"/>
              <a:gd name="connsiteX249" fmla="*/ 5206650 w 10581483"/>
              <a:gd name="connsiteY249" fmla="*/ 3049175 h 4368247"/>
              <a:gd name="connsiteX250" fmla="*/ 7757879 w 10581483"/>
              <a:gd name="connsiteY250" fmla="*/ 3046455 h 4368247"/>
              <a:gd name="connsiteX251" fmla="*/ 7742930 w 10581483"/>
              <a:gd name="connsiteY251" fmla="*/ 3054849 h 4368247"/>
              <a:gd name="connsiteX252" fmla="*/ 7726378 w 10581483"/>
              <a:gd name="connsiteY252" fmla="*/ 3057335 h 4368247"/>
              <a:gd name="connsiteX253" fmla="*/ 7726378 w 10581483"/>
              <a:gd name="connsiteY253" fmla="*/ 3075490 h 4368247"/>
              <a:gd name="connsiteX254" fmla="*/ 7726378 w 10581483"/>
              <a:gd name="connsiteY254" fmla="*/ 3108137 h 4368247"/>
              <a:gd name="connsiteX255" fmla="*/ 7726378 w 10581483"/>
              <a:gd name="connsiteY255" fmla="*/ 3108140 h 4368247"/>
              <a:gd name="connsiteX256" fmla="*/ 7690731 w 10581483"/>
              <a:gd name="connsiteY256" fmla="*/ 3122979 h 4368247"/>
              <a:gd name="connsiteX257" fmla="*/ 7666965 w 10581483"/>
              <a:gd name="connsiteY257" fmla="*/ 3146724 h 4368247"/>
              <a:gd name="connsiteX258" fmla="*/ 7664735 w 10581483"/>
              <a:gd name="connsiteY258" fmla="*/ 3151898 h 4368247"/>
              <a:gd name="connsiteX259" fmla="*/ 7676090 w 10581483"/>
              <a:gd name="connsiteY259" fmla="*/ 3152784 h 4368247"/>
              <a:gd name="connsiteX260" fmla="*/ 7732532 w 10581483"/>
              <a:gd name="connsiteY260" fmla="*/ 3167625 h 4368247"/>
              <a:gd name="connsiteX261" fmla="*/ 7836355 w 10581483"/>
              <a:gd name="connsiteY261" fmla="*/ 3174606 h 4368247"/>
              <a:gd name="connsiteX262" fmla="*/ 7797671 w 10581483"/>
              <a:gd name="connsiteY262" fmla="*/ 3170465 h 4368247"/>
              <a:gd name="connsiteX263" fmla="*/ 7797679 w 10581483"/>
              <a:gd name="connsiteY263" fmla="*/ 3170462 h 4368247"/>
              <a:gd name="connsiteX264" fmla="*/ 7797671 w 10581483"/>
              <a:gd name="connsiteY264" fmla="*/ 3170462 h 4368247"/>
              <a:gd name="connsiteX265" fmla="*/ 7868970 w 10581483"/>
              <a:gd name="connsiteY265" fmla="*/ 3128913 h 4368247"/>
              <a:gd name="connsiteX266" fmla="*/ 7868970 w 10581483"/>
              <a:gd name="connsiteY266" fmla="*/ 3051751 h 4368247"/>
              <a:gd name="connsiteX267" fmla="*/ 7854117 w 10581483"/>
              <a:gd name="connsiteY267" fmla="*/ 3102204 h 4368247"/>
              <a:gd name="connsiteX268" fmla="*/ 7821437 w 10581483"/>
              <a:gd name="connsiteY268" fmla="*/ 3134851 h 4368247"/>
              <a:gd name="connsiteX269" fmla="*/ 7821437 w 10581483"/>
              <a:gd name="connsiteY269" fmla="*/ 3134847 h 4368247"/>
              <a:gd name="connsiteX270" fmla="*/ 7821437 w 10581483"/>
              <a:gd name="connsiteY270" fmla="*/ 3051751 h 4368247"/>
              <a:gd name="connsiteX271" fmla="*/ 7769453 w 10581483"/>
              <a:gd name="connsiteY271" fmla="*/ 3053234 h 4368247"/>
              <a:gd name="connsiteX272" fmla="*/ 6854386 w 10581483"/>
              <a:gd name="connsiteY272" fmla="*/ 3035383 h 4368247"/>
              <a:gd name="connsiteX273" fmla="*/ 6853229 w 10581483"/>
              <a:gd name="connsiteY273" fmla="*/ 3037041 h 4368247"/>
              <a:gd name="connsiteX274" fmla="*/ 6844937 w 10581483"/>
              <a:gd name="connsiteY274" fmla="*/ 3043523 h 4368247"/>
              <a:gd name="connsiteX275" fmla="*/ 6848857 w 10581483"/>
              <a:gd name="connsiteY275" fmla="*/ 3046564 h 4368247"/>
              <a:gd name="connsiteX276" fmla="*/ 6848857 w 10581483"/>
              <a:gd name="connsiteY276" fmla="*/ 3047830 h 4368247"/>
              <a:gd name="connsiteX277" fmla="*/ 6854499 w 10581483"/>
              <a:gd name="connsiteY277" fmla="*/ 3035426 h 4368247"/>
              <a:gd name="connsiteX278" fmla="*/ 7536258 w 10581483"/>
              <a:gd name="connsiteY278" fmla="*/ 3017036 h 4368247"/>
              <a:gd name="connsiteX279" fmla="*/ 7536258 w 10581483"/>
              <a:gd name="connsiteY279" fmla="*/ 3111105 h 4368247"/>
              <a:gd name="connsiteX280" fmla="*/ 7543685 w 10581483"/>
              <a:gd name="connsiteY280" fmla="*/ 3133364 h 4368247"/>
              <a:gd name="connsiteX281" fmla="*/ 7543685 w 10581483"/>
              <a:gd name="connsiteY281" fmla="*/ 3133367 h 4368247"/>
              <a:gd name="connsiteX282" fmla="*/ 7527065 w 10581483"/>
              <a:gd name="connsiteY282" fmla="*/ 3144864 h 4368247"/>
              <a:gd name="connsiteX283" fmla="*/ 7528140 w 10581483"/>
              <a:gd name="connsiteY283" fmla="*/ 3151031 h 4368247"/>
              <a:gd name="connsiteX284" fmla="*/ 7522959 w 10581483"/>
              <a:gd name="connsiteY284" fmla="*/ 3151199 h 4368247"/>
              <a:gd name="connsiteX285" fmla="*/ 7521723 w 10581483"/>
              <a:gd name="connsiteY285" fmla="*/ 3155112 h 4368247"/>
              <a:gd name="connsiteX286" fmla="*/ 7532016 w 10581483"/>
              <a:gd name="connsiteY286" fmla="*/ 3157237 h 4368247"/>
              <a:gd name="connsiteX287" fmla="*/ 7578059 w 10581483"/>
              <a:gd name="connsiteY287" fmla="*/ 3167625 h 4368247"/>
              <a:gd name="connsiteX288" fmla="*/ 7621505 w 10581483"/>
              <a:gd name="connsiteY288" fmla="*/ 3177641 h 4368247"/>
              <a:gd name="connsiteX289" fmla="*/ 7622091 w 10581483"/>
              <a:gd name="connsiteY289" fmla="*/ 3177040 h 4368247"/>
              <a:gd name="connsiteX290" fmla="*/ 7607556 w 10581483"/>
              <a:gd name="connsiteY290" fmla="*/ 3170465 h 4368247"/>
              <a:gd name="connsiteX291" fmla="*/ 7579335 w 10581483"/>
              <a:gd name="connsiteY291" fmla="*/ 3134851 h 4368247"/>
              <a:gd name="connsiteX292" fmla="*/ 7579335 w 10581483"/>
              <a:gd name="connsiteY292" fmla="*/ 3134847 h 4368247"/>
              <a:gd name="connsiteX293" fmla="*/ 7595671 w 10581483"/>
              <a:gd name="connsiteY293" fmla="*/ 3099232 h 4368247"/>
              <a:gd name="connsiteX294" fmla="*/ 7609038 w 10581483"/>
              <a:gd name="connsiteY294" fmla="*/ 3087361 h 4368247"/>
              <a:gd name="connsiteX295" fmla="*/ 7595671 w 10581483"/>
              <a:gd name="connsiteY295" fmla="*/ 3075494 h 4368247"/>
              <a:gd name="connsiteX296" fmla="*/ 7561509 w 10581483"/>
              <a:gd name="connsiteY296" fmla="*/ 3054718 h 4368247"/>
              <a:gd name="connsiteX297" fmla="*/ 7536955 w 10581483"/>
              <a:gd name="connsiteY297" fmla="*/ 3017201 h 4368247"/>
              <a:gd name="connsiteX298" fmla="*/ 5473632 w 10581483"/>
              <a:gd name="connsiteY298" fmla="*/ 3006325 h 4368247"/>
              <a:gd name="connsiteX299" fmla="*/ 5429075 w 10581483"/>
              <a:gd name="connsiteY299" fmla="*/ 3034519 h 4368247"/>
              <a:gd name="connsiteX300" fmla="*/ 5429672 w 10581483"/>
              <a:gd name="connsiteY300" fmla="*/ 3038191 h 4368247"/>
              <a:gd name="connsiteX301" fmla="*/ 5444942 w 10581483"/>
              <a:gd name="connsiteY301" fmla="*/ 3039876 h 4368247"/>
              <a:gd name="connsiteX302" fmla="*/ 5472891 w 10581483"/>
              <a:gd name="connsiteY302" fmla="*/ 3042535 h 4368247"/>
              <a:gd name="connsiteX303" fmla="*/ 5469550 w 10581483"/>
              <a:gd name="connsiteY303" fmla="*/ 3039159 h 4368247"/>
              <a:gd name="connsiteX304" fmla="*/ 5473632 w 10581483"/>
              <a:gd name="connsiteY304" fmla="*/ 3006325 h 4368247"/>
              <a:gd name="connsiteX305" fmla="*/ 5340884 w 10581483"/>
              <a:gd name="connsiteY305" fmla="*/ 3001687 h 4368247"/>
              <a:gd name="connsiteX306" fmla="*/ 5319162 w 10581483"/>
              <a:gd name="connsiteY306" fmla="*/ 3030068 h 4368247"/>
              <a:gd name="connsiteX307" fmla="*/ 5299297 w 10581483"/>
              <a:gd name="connsiteY307" fmla="*/ 3050473 h 4368247"/>
              <a:gd name="connsiteX308" fmla="*/ 5286687 w 10581483"/>
              <a:gd name="connsiteY308" fmla="*/ 3055511 h 4368247"/>
              <a:gd name="connsiteX309" fmla="*/ 5326116 w 10581483"/>
              <a:gd name="connsiteY309" fmla="*/ 3051747 h 4368247"/>
              <a:gd name="connsiteX310" fmla="*/ 5354708 w 10581483"/>
              <a:gd name="connsiteY310" fmla="*/ 3048222 h 4368247"/>
              <a:gd name="connsiteX311" fmla="*/ 5361768 w 10581483"/>
              <a:gd name="connsiteY311" fmla="*/ 3046649 h 4368247"/>
              <a:gd name="connsiteX312" fmla="*/ 5358151 w 10581483"/>
              <a:gd name="connsiteY312" fmla="*/ 3041384 h 4368247"/>
              <a:gd name="connsiteX313" fmla="*/ 5354809 w 10581483"/>
              <a:gd name="connsiteY313" fmla="*/ 3006325 h 4368247"/>
              <a:gd name="connsiteX314" fmla="*/ 5340884 w 10581483"/>
              <a:gd name="connsiteY314" fmla="*/ 3001687 h 4368247"/>
              <a:gd name="connsiteX315" fmla="*/ 4677515 w 10581483"/>
              <a:gd name="connsiteY315" fmla="*/ 2994454 h 4368247"/>
              <a:gd name="connsiteX316" fmla="*/ 4723554 w 10581483"/>
              <a:gd name="connsiteY316" fmla="*/ 3015226 h 4368247"/>
              <a:gd name="connsiteX317" fmla="*/ 4732650 w 10581483"/>
              <a:gd name="connsiteY317" fmla="*/ 3027838 h 4368247"/>
              <a:gd name="connsiteX318" fmla="*/ 4732650 w 10581483"/>
              <a:gd name="connsiteY318" fmla="*/ 3027841 h 4368247"/>
              <a:gd name="connsiteX319" fmla="*/ 4689388 w 10581483"/>
              <a:gd name="connsiteY319" fmla="*/ 3053813 h 4368247"/>
              <a:gd name="connsiteX320" fmla="*/ 4689388 w 10581483"/>
              <a:gd name="connsiteY320" fmla="*/ 3073102 h 4368247"/>
              <a:gd name="connsiteX321" fmla="*/ 4689388 w 10581483"/>
              <a:gd name="connsiteY321" fmla="*/ 3101294 h 4368247"/>
              <a:gd name="connsiteX322" fmla="*/ 4689388 w 10581483"/>
              <a:gd name="connsiteY322" fmla="*/ 3101298 h 4368247"/>
              <a:gd name="connsiteX323" fmla="*/ 4665626 w 10581483"/>
              <a:gd name="connsiteY323" fmla="*/ 3077553 h 4368247"/>
              <a:gd name="connsiteX324" fmla="*/ 4650773 w 10581483"/>
              <a:gd name="connsiteY324" fmla="*/ 3050843 h 4368247"/>
              <a:gd name="connsiteX325" fmla="*/ 4622109 w 10581483"/>
              <a:gd name="connsiteY325" fmla="*/ 3043033 h 4368247"/>
              <a:gd name="connsiteX326" fmla="*/ 4622109 w 10581483"/>
              <a:gd name="connsiteY326" fmla="*/ 3126955 h 4368247"/>
              <a:gd name="connsiteX327" fmla="*/ 4622109 w 10581483"/>
              <a:gd name="connsiteY327" fmla="*/ 3126959 h 4368247"/>
              <a:gd name="connsiteX328" fmla="*/ 4623822 w 10581483"/>
              <a:gd name="connsiteY328" fmla="*/ 3146259 h 4368247"/>
              <a:gd name="connsiteX329" fmla="*/ 4625050 w 10581483"/>
              <a:gd name="connsiteY329" fmla="*/ 3146720 h 4368247"/>
              <a:gd name="connsiteX330" fmla="*/ 4672579 w 10581483"/>
              <a:gd name="connsiteY330" fmla="*/ 3146720 h 4368247"/>
              <a:gd name="connsiteX331" fmla="*/ 4731992 w 10581483"/>
              <a:gd name="connsiteY331" fmla="*/ 3206076 h 4368247"/>
              <a:gd name="connsiteX332" fmla="*/ 4827053 w 10581483"/>
              <a:gd name="connsiteY332" fmla="*/ 3122976 h 4368247"/>
              <a:gd name="connsiteX333" fmla="*/ 4874582 w 10581483"/>
              <a:gd name="connsiteY333" fmla="*/ 3115557 h 4368247"/>
              <a:gd name="connsiteX334" fmla="*/ 4881537 w 10581483"/>
              <a:gd name="connsiteY334" fmla="*/ 3113168 h 4368247"/>
              <a:gd name="connsiteX335" fmla="*/ 4760687 w 10581483"/>
              <a:gd name="connsiteY335" fmla="*/ 3113168 h 4368247"/>
              <a:gd name="connsiteX336" fmla="*/ 4736920 w 10581483"/>
              <a:gd name="connsiteY336" fmla="*/ 3101298 h 4368247"/>
              <a:gd name="connsiteX337" fmla="*/ 4736925 w 10581483"/>
              <a:gd name="connsiteY337" fmla="*/ 3101294 h 4368247"/>
              <a:gd name="connsiteX338" fmla="*/ 4736920 w 10581483"/>
              <a:gd name="connsiteY338" fmla="*/ 3101294 h 4368247"/>
              <a:gd name="connsiteX339" fmla="*/ 4772567 w 10581483"/>
              <a:gd name="connsiteY339" fmla="*/ 3065679 h 4368247"/>
              <a:gd name="connsiteX340" fmla="*/ 4915156 w 10581483"/>
              <a:gd name="connsiteY340" fmla="*/ 3065679 h 4368247"/>
              <a:gd name="connsiteX341" fmla="*/ 5063154 w 10581483"/>
              <a:gd name="connsiteY341" fmla="*/ 3075256 h 4368247"/>
              <a:gd name="connsiteX342" fmla="*/ 5067862 w 10581483"/>
              <a:gd name="connsiteY342" fmla="*/ 3078889 h 4368247"/>
              <a:gd name="connsiteX343" fmla="*/ 5124114 w 10581483"/>
              <a:gd name="connsiteY343" fmla="*/ 3071037 h 4368247"/>
              <a:gd name="connsiteX344" fmla="*/ 5137793 w 10581483"/>
              <a:gd name="connsiteY344" fmla="*/ 3069731 h 4368247"/>
              <a:gd name="connsiteX345" fmla="*/ 5117161 w 10581483"/>
              <a:gd name="connsiteY345" fmla="*/ 3018198 h 4368247"/>
              <a:gd name="connsiteX346" fmla="*/ 5120130 w 10581483"/>
              <a:gd name="connsiteY346" fmla="*/ 3043422 h 4368247"/>
              <a:gd name="connsiteX347" fmla="*/ 5120130 w 10581483"/>
              <a:gd name="connsiteY347" fmla="*/ 3043425 h 4368247"/>
              <a:gd name="connsiteX348" fmla="*/ 5105277 w 10581483"/>
              <a:gd name="connsiteY348" fmla="*/ 3041940 h 4368247"/>
              <a:gd name="connsiteX349" fmla="*/ 4962688 w 10581483"/>
              <a:gd name="connsiteY349" fmla="*/ 3030068 h 4368247"/>
              <a:gd name="connsiteX350" fmla="*/ 4938922 w 10581483"/>
              <a:gd name="connsiteY350" fmla="*/ 3018198 h 4368247"/>
              <a:gd name="connsiteX351" fmla="*/ 4924069 w 10581483"/>
              <a:gd name="connsiteY351" fmla="*/ 3010779 h 4368247"/>
              <a:gd name="connsiteX352" fmla="*/ 4927041 w 10581483"/>
              <a:gd name="connsiteY352" fmla="*/ 3030065 h 4368247"/>
              <a:gd name="connsiteX353" fmla="*/ 4927041 w 10581483"/>
              <a:gd name="connsiteY353" fmla="*/ 3030068 h 4368247"/>
              <a:gd name="connsiteX354" fmla="*/ 4927041 w 10581483"/>
              <a:gd name="connsiteY354" fmla="*/ 3053809 h 4368247"/>
              <a:gd name="connsiteX355" fmla="*/ 4927041 w 10581483"/>
              <a:gd name="connsiteY355" fmla="*/ 3053813 h 4368247"/>
              <a:gd name="connsiteX356" fmla="*/ 4784449 w 10581483"/>
              <a:gd name="connsiteY356" fmla="*/ 3006325 h 4368247"/>
              <a:gd name="connsiteX357" fmla="*/ 4730980 w 10581483"/>
              <a:gd name="connsiteY357" fmla="*/ 2995936 h 4368247"/>
              <a:gd name="connsiteX358" fmla="*/ 8975068 w 10581483"/>
              <a:gd name="connsiteY358" fmla="*/ 2977018 h 4368247"/>
              <a:gd name="connsiteX359" fmla="*/ 9001371 w 10581483"/>
              <a:gd name="connsiteY359" fmla="*/ 2997438 h 4368247"/>
              <a:gd name="connsiteX360" fmla="*/ 9001367 w 10581483"/>
              <a:gd name="connsiteY360" fmla="*/ 2997442 h 4368247"/>
              <a:gd name="connsiteX361" fmla="*/ 9001371 w 10581483"/>
              <a:gd name="connsiteY361" fmla="*/ 2997442 h 4368247"/>
              <a:gd name="connsiteX362" fmla="*/ 8988993 w 10581483"/>
              <a:gd name="connsiteY362" fmla="*/ 3022576 h 4368247"/>
              <a:gd name="connsiteX363" fmla="*/ 8939485 w 10581483"/>
              <a:gd name="connsiteY363" fmla="*/ 2984877 h 4368247"/>
              <a:gd name="connsiteX364" fmla="*/ 8939489 w 10581483"/>
              <a:gd name="connsiteY364" fmla="*/ 2984877 h 4368247"/>
              <a:gd name="connsiteX365" fmla="*/ 8939485 w 10581483"/>
              <a:gd name="connsiteY365" fmla="*/ 2984873 h 4368247"/>
              <a:gd name="connsiteX366" fmla="*/ 8975068 w 10581483"/>
              <a:gd name="connsiteY366" fmla="*/ 2977018 h 4368247"/>
              <a:gd name="connsiteX367" fmla="*/ 9302877 w 10581483"/>
              <a:gd name="connsiteY367" fmla="*/ 2937246 h 4368247"/>
              <a:gd name="connsiteX368" fmla="*/ 9301019 w 10581483"/>
              <a:gd name="connsiteY368" fmla="*/ 2942070 h 4368247"/>
              <a:gd name="connsiteX369" fmla="*/ 9268345 w 10581483"/>
              <a:gd name="connsiteY369" fmla="*/ 2956909 h 4368247"/>
              <a:gd name="connsiteX370" fmla="*/ 9266552 w 10581483"/>
              <a:gd name="connsiteY370" fmla="*/ 2957993 h 4368247"/>
              <a:gd name="connsiteX371" fmla="*/ 9312028 w 10581483"/>
              <a:gd name="connsiteY371" fmla="*/ 2962248 h 4368247"/>
              <a:gd name="connsiteX372" fmla="*/ 9312905 w 10581483"/>
              <a:gd name="connsiteY372" fmla="*/ 2953941 h 4368247"/>
              <a:gd name="connsiteX373" fmla="*/ 9306964 w 10581483"/>
              <a:gd name="connsiteY373" fmla="*/ 2939102 h 4368247"/>
              <a:gd name="connsiteX374" fmla="*/ 9302877 w 10581483"/>
              <a:gd name="connsiteY374" fmla="*/ 2937246 h 4368247"/>
              <a:gd name="connsiteX375" fmla="*/ 9110904 w 10581483"/>
              <a:gd name="connsiteY375" fmla="*/ 2882711 h 4368247"/>
              <a:gd name="connsiteX376" fmla="*/ 9096078 w 10581483"/>
              <a:gd name="connsiteY376" fmla="*/ 2933071 h 4368247"/>
              <a:gd name="connsiteX377" fmla="*/ 9105174 w 10581483"/>
              <a:gd name="connsiteY377" fmla="*/ 2934513 h 4368247"/>
              <a:gd name="connsiteX378" fmla="*/ 9110904 w 10581483"/>
              <a:gd name="connsiteY378" fmla="*/ 2940874 h 4368247"/>
              <a:gd name="connsiteX379" fmla="*/ 8968310 w 10581483"/>
              <a:gd name="connsiteY379" fmla="*/ 2858967 h 4368247"/>
              <a:gd name="connsiteX380" fmla="*/ 8968310 w 10581483"/>
              <a:gd name="connsiteY380" fmla="*/ 2906452 h 4368247"/>
              <a:gd name="connsiteX381" fmla="*/ 8968310 w 10581483"/>
              <a:gd name="connsiteY381" fmla="*/ 2924271 h 4368247"/>
              <a:gd name="connsiteX382" fmla="*/ 9035366 w 10581483"/>
              <a:gd name="connsiteY382" fmla="*/ 2937482 h 4368247"/>
              <a:gd name="connsiteX383" fmla="*/ 9054673 w 10581483"/>
              <a:gd name="connsiteY383" fmla="*/ 2937482 h 4368247"/>
              <a:gd name="connsiteX384" fmla="*/ 9063371 w 10581483"/>
              <a:gd name="connsiteY384" fmla="*/ 2937482 h 4368247"/>
              <a:gd name="connsiteX385" fmla="*/ 9063371 w 10581483"/>
              <a:gd name="connsiteY385" fmla="*/ 2882711 h 4368247"/>
              <a:gd name="connsiteX386" fmla="*/ 8968310 w 10581483"/>
              <a:gd name="connsiteY386" fmla="*/ 2858967 h 4368247"/>
              <a:gd name="connsiteX387" fmla="*/ 8778191 w 10581483"/>
              <a:gd name="connsiteY387" fmla="*/ 2847096 h 4368247"/>
              <a:gd name="connsiteX388" fmla="*/ 8778191 w 10581483"/>
              <a:gd name="connsiteY388" fmla="*/ 2909498 h 4368247"/>
              <a:gd name="connsiteX389" fmla="*/ 8833361 w 10581483"/>
              <a:gd name="connsiteY389" fmla="*/ 2913737 h 4368247"/>
              <a:gd name="connsiteX390" fmla="*/ 8844974 w 10581483"/>
              <a:gd name="connsiteY390" fmla="*/ 2912998 h 4368247"/>
              <a:gd name="connsiteX391" fmla="*/ 8837603 w 10581483"/>
              <a:gd name="connsiteY391" fmla="*/ 2906456 h 4368247"/>
              <a:gd name="connsiteX392" fmla="*/ 8778191 w 10581483"/>
              <a:gd name="connsiteY392" fmla="*/ 2847096 h 4368247"/>
              <a:gd name="connsiteX393" fmla="*/ 8105773 w 10581483"/>
              <a:gd name="connsiteY393" fmla="*/ 2763438 h 4368247"/>
              <a:gd name="connsiteX394" fmla="*/ 8082855 w 10581483"/>
              <a:gd name="connsiteY394" fmla="*/ 2778702 h 4368247"/>
              <a:gd name="connsiteX395" fmla="*/ 8103571 w 10581483"/>
              <a:gd name="connsiteY395" fmla="*/ 2782152 h 4368247"/>
              <a:gd name="connsiteX396" fmla="*/ 8112770 w 10581483"/>
              <a:gd name="connsiteY396" fmla="*/ 2775863 h 4368247"/>
              <a:gd name="connsiteX397" fmla="*/ 8322953 w 10581483"/>
              <a:gd name="connsiteY397" fmla="*/ 2643386 h 4368247"/>
              <a:gd name="connsiteX398" fmla="*/ 8282096 w 10581483"/>
              <a:gd name="connsiteY398" fmla="*/ 2649732 h 4368247"/>
              <a:gd name="connsiteX399" fmla="*/ 8272419 w 10581483"/>
              <a:gd name="connsiteY399" fmla="*/ 2654197 h 4368247"/>
              <a:gd name="connsiteX400" fmla="*/ 8262999 w 10581483"/>
              <a:gd name="connsiteY400" fmla="*/ 2676312 h 4368247"/>
              <a:gd name="connsiteX401" fmla="*/ 8227353 w 10581483"/>
              <a:gd name="connsiteY401" fmla="*/ 2688182 h 4368247"/>
              <a:gd name="connsiteX402" fmla="*/ 8211803 w 10581483"/>
              <a:gd name="connsiteY402" fmla="*/ 2690915 h 4368247"/>
              <a:gd name="connsiteX403" fmla="*/ 8195948 w 10581483"/>
              <a:gd name="connsiteY403" fmla="*/ 2704637 h 4368247"/>
              <a:gd name="connsiteX404" fmla="*/ 8186187 w 10581483"/>
              <a:gd name="connsiteY404" fmla="*/ 2697486 h 4368247"/>
              <a:gd name="connsiteX405" fmla="*/ 8185254 w 10581483"/>
              <a:gd name="connsiteY405" fmla="*/ 2698035 h 4368247"/>
              <a:gd name="connsiteX406" fmla="*/ 8181806 w 10581483"/>
              <a:gd name="connsiteY406" fmla="*/ 2698002 h 4368247"/>
              <a:gd name="connsiteX407" fmla="*/ 8181997 w 10581483"/>
              <a:gd name="connsiteY407" fmla="*/ 2699869 h 4368247"/>
              <a:gd name="connsiteX408" fmla="*/ 8171949 w 10581483"/>
              <a:gd name="connsiteY408" fmla="*/ 2726321 h 4368247"/>
              <a:gd name="connsiteX409" fmla="*/ 8206903 w 10581483"/>
              <a:gd name="connsiteY409" fmla="*/ 2733573 h 4368247"/>
              <a:gd name="connsiteX410" fmla="*/ 8469244 w 10581483"/>
              <a:gd name="connsiteY410" fmla="*/ 2740248 h 4368247"/>
              <a:gd name="connsiteX411" fmla="*/ 8495982 w 10581483"/>
              <a:gd name="connsiteY411" fmla="*/ 2719476 h 4368247"/>
              <a:gd name="connsiteX412" fmla="*/ 8503776 w 10581483"/>
              <a:gd name="connsiteY412" fmla="*/ 2685736 h 4368247"/>
              <a:gd name="connsiteX413" fmla="*/ 8460972 w 10581483"/>
              <a:gd name="connsiteY413" fmla="*/ 2680316 h 4368247"/>
              <a:gd name="connsiteX414" fmla="*/ 8451236 w 10581483"/>
              <a:gd name="connsiteY414" fmla="*/ 2690726 h 4368247"/>
              <a:gd name="connsiteX415" fmla="*/ 8457362 w 10581483"/>
              <a:gd name="connsiteY415" fmla="*/ 2716511 h 4368247"/>
              <a:gd name="connsiteX416" fmla="*/ 8350421 w 10581483"/>
              <a:gd name="connsiteY416" fmla="*/ 2657152 h 4368247"/>
              <a:gd name="connsiteX417" fmla="*/ 8340259 w 10581483"/>
              <a:gd name="connsiteY417" fmla="*/ 2651139 h 4368247"/>
              <a:gd name="connsiteX418" fmla="*/ 8335144 w 10581483"/>
              <a:gd name="connsiteY418" fmla="*/ 2652430 h 4368247"/>
              <a:gd name="connsiteX419" fmla="*/ 8324149 w 10581483"/>
              <a:gd name="connsiteY419" fmla="*/ 2651003 h 4368247"/>
              <a:gd name="connsiteX420" fmla="*/ 9358047 w 10581483"/>
              <a:gd name="connsiteY420" fmla="*/ 2600259 h 4368247"/>
              <a:gd name="connsiteX421" fmla="*/ 9356190 w 10581483"/>
              <a:gd name="connsiteY421" fmla="*/ 2605082 h 4368247"/>
              <a:gd name="connsiteX422" fmla="*/ 9345630 w 10581483"/>
              <a:gd name="connsiteY422" fmla="*/ 2613134 h 4368247"/>
              <a:gd name="connsiteX423" fmla="*/ 9368039 w 10581483"/>
              <a:gd name="connsiteY423" fmla="*/ 2616865 h 4368247"/>
              <a:gd name="connsiteX424" fmla="*/ 9362135 w 10581483"/>
              <a:gd name="connsiteY424" fmla="*/ 2602114 h 4368247"/>
              <a:gd name="connsiteX425" fmla="*/ 9358047 w 10581483"/>
              <a:gd name="connsiteY425" fmla="*/ 2600259 h 4368247"/>
              <a:gd name="connsiteX426" fmla="*/ 10173379 w 10581483"/>
              <a:gd name="connsiteY426" fmla="*/ 2417155 h 4368247"/>
              <a:gd name="connsiteX427" fmla="*/ 10218054 w 10581483"/>
              <a:gd name="connsiteY427" fmla="*/ 2418123 h 4368247"/>
              <a:gd name="connsiteX428" fmla="*/ 10281821 w 10581483"/>
              <a:gd name="connsiteY428" fmla="*/ 2453701 h 4368247"/>
              <a:gd name="connsiteX429" fmla="*/ 10281818 w 10581483"/>
              <a:gd name="connsiteY429" fmla="*/ 2453701 h 4368247"/>
              <a:gd name="connsiteX430" fmla="*/ 10281821 w 10581483"/>
              <a:gd name="connsiteY430" fmla="*/ 2453705 h 4368247"/>
              <a:gd name="connsiteX431" fmla="*/ 10127592 w 10581483"/>
              <a:gd name="connsiteY431" fmla="*/ 2428952 h 4368247"/>
              <a:gd name="connsiteX432" fmla="*/ 10127603 w 10581483"/>
              <a:gd name="connsiteY432" fmla="*/ 2428952 h 4368247"/>
              <a:gd name="connsiteX433" fmla="*/ 10127592 w 10581483"/>
              <a:gd name="connsiteY433" fmla="*/ 2428949 h 4368247"/>
              <a:gd name="connsiteX434" fmla="*/ 10173379 w 10581483"/>
              <a:gd name="connsiteY434" fmla="*/ 2417155 h 4368247"/>
              <a:gd name="connsiteX435" fmla="*/ 9927669 w 10581483"/>
              <a:gd name="connsiteY435" fmla="*/ 2381349 h 4368247"/>
              <a:gd name="connsiteX436" fmla="*/ 10104391 w 10581483"/>
              <a:gd name="connsiteY436" fmla="*/ 2406483 h 4368247"/>
              <a:gd name="connsiteX437" fmla="*/ 10116172 w 10581483"/>
              <a:gd name="connsiteY437" fmla="*/ 2431615 h 4368247"/>
              <a:gd name="connsiteX438" fmla="*/ 10116172 w 10581483"/>
              <a:gd name="connsiteY438" fmla="*/ 2431619 h 4368247"/>
              <a:gd name="connsiteX439" fmla="*/ 10092610 w 10581483"/>
              <a:gd name="connsiteY439" fmla="*/ 2444184 h 4368247"/>
              <a:gd name="connsiteX440" fmla="*/ 9927669 w 10581483"/>
              <a:gd name="connsiteY440" fmla="*/ 2381352 h 4368247"/>
              <a:gd name="connsiteX441" fmla="*/ 9927681 w 10581483"/>
              <a:gd name="connsiteY441" fmla="*/ 2381356 h 4368247"/>
              <a:gd name="connsiteX442" fmla="*/ 1842526 w 10581483"/>
              <a:gd name="connsiteY442" fmla="*/ 1876705 h 4368247"/>
              <a:gd name="connsiteX443" fmla="*/ 1788755 w 10581483"/>
              <a:gd name="connsiteY443" fmla="*/ 1881742 h 4368247"/>
              <a:gd name="connsiteX444" fmla="*/ 1699637 w 10581483"/>
              <a:gd name="connsiteY444" fmla="*/ 1895654 h 4368247"/>
              <a:gd name="connsiteX445" fmla="*/ 1644682 w 10581483"/>
              <a:gd name="connsiteY445" fmla="*/ 1907527 h 4368247"/>
              <a:gd name="connsiteX446" fmla="*/ 1637063 w 10581483"/>
              <a:gd name="connsiteY446" fmla="*/ 1909582 h 4368247"/>
              <a:gd name="connsiteX447" fmla="*/ 1701498 w 10581483"/>
              <a:gd name="connsiteY447" fmla="*/ 1899917 h 4368247"/>
              <a:gd name="connsiteX448" fmla="*/ 1808442 w 10581483"/>
              <a:gd name="connsiteY448" fmla="*/ 1888232 h 4368247"/>
              <a:gd name="connsiteX449" fmla="*/ 1953685 w 10581483"/>
              <a:gd name="connsiteY449" fmla="*/ 1867715 h 4368247"/>
              <a:gd name="connsiteX450" fmla="*/ 1877875 w 10581483"/>
              <a:gd name="connsiteY450" fmla="*/ 1873394 h 4368247"/>
              <a:gd name="connsiteX451" fmla="*/ 1847336 w 10581483"/>
              <a:gd name="connsiteY451" fmla="*/ 1876255 h 4368247"/>
              <a:gd name="connsiteX452" fmla="*/ 1867111 w 10581483"/>
              <a:gd name="connsiteY452" fmla="*/ 1876732 h 4368247"/>
              <a:gd name="connsiteX453" fmla="*/ 1927265 w 10581483"/>
              <a:gd name="connsiteY453" fmla="*/ 1911791 h 4368247"/>
              <a:gd name="connsiteX454" fmla="*/ 1942119 w 10581483"/>
              <a:gd name="connsiteY454" fmla="*/ 1904372 h 4368247"/>
              <a:gd name="connsiteX455" fmla="*/ 1939150 w 10581483"/>
              <a:gd name="connsiteY455" fmla="*/ 1888051 h 4368247"/>
              <a:gd name="connsiteX456" fmla="*/ 1939150 w 10581483"/>
              <a:gd name="connsiteY456" fmla="*/ 1888047 h 4368247"/>
              <a:gd name="connsiteX457" fmla="*/ 2161507 w 10581483"/>
              <a:gd name="connsiteY457" fmla="*/ 1849814 h 4368247"/>
              <a:gd name="connsiteX458" fmla="*/ 2056113 w 10581483"/>
              <a:gd name="connsiteY458" fmla="*/ 1860039 h 4368247"/>
              <a:gd name="connsiteX459" fmla="*/ 1987929 w 10581483"/>
              <a:gd name="connsiteY459" fmla="*/ 1865148 h 4368247"/>
              <a:gd name="connsiteX460" fmla="*/ 2004501 w 10581483"/>
              <a:gd name="connsiteY460" fmla="*/ 1876360 h 4368247"/>
              <a:gd name="connsiteX461" fmla="*/ 2057972 w 10581483"/>
              <a:gd name="connsiteY461" fmla="*/ 1888047 h 4368247"/>
              <a:gd name="connsiteX462" fmla="*/ 2105504 w 10581483"/>
              <a:gd name="connsiteY462" fmla="*/ 1876176 h 4368247"/>
              <a:gd name="connsiteX463" fmla="*/ 2141336 w 10581483"/>
              <a:gd name="connsiteY463" fmla="*/ 1855586 h 4368247"/>
              <a:gd name="connsiteX464" fmla="*/ 6185953 w 10581483"/>
              <a:gd name="connsiteY464" fmla="*/ 634403 h 4368247"/>
              <a:gd name="connsiteX465" fmla="*/ 5686898 w 10581483"/>
              <a:gd name="connsiteY465" fmla="*/ 646273 h 4368247"/>
              <a:gd name="connsiteX466" fmla="*/ 5401721 w 10581483"/>
              <a:gd name="connsiteY466" fmla="*/ 658144 h 4368247"/>
              <a:gd name="connsiteX467" fmla="*/ 4938300 w 10581483"/>
              <a:gd name="connsiteY467" fmla="*/ 693759 h 4368247"/>
              <a:gd name="connsiteX468" fmla="*/ 4925296 w 10581483"/>
              <a:gd name="connsiteY468" fmla="*/ 694481 h 4368247"/>
              <a:gd name="connsiteX469" fmla="*/ 4931672 w 10581483"/>
              <a:gd name="connsiteY469" fmla="*/ 708498 h 4368247"/>
              <a:gd name="connsiteX470" fmla="*/ 4937847 w 10581483"/>
              <a:gd name="connsiteY470" fmla="*/ 807195 h 4368247"/>
              <a:gd name="connsiteX471" fmla="*/ 5056013 w 10581483"/>
              <a:gd name="connsiteY471" fmla="*/ 789472 h 4368247"/>
              <a:gd name="connsiteX472" fmla="*/ 5520543 w 10581483"/>
              <a:gd name="connsiteY472" fmla="*/ 729370 h 4368247"/>
              <a:gd name="connsiteX473" fmla="*/ 5663135 w 10581483"/>
              <a:gd name="connsiteY473" fmla="*/ 705629 h 4368247"/>
              <a:gd name="connsiteX474" fmla="*/ 5746310 w 10581483"/>
              <a:gd name="connsiteY474" fmla="*/ 741245 h 4368247"/>
              <a:gd name="connsiteX475" fmla="*/ 5761164 w 10581483"/>
              <a:gd name="connsiteY475" fmla="*/ 733825 h 4368247"/>
              <a:gd name="connsiteX476" fmla="*/ 5758197 w 10581483"/>
              <a:gd name="connsiteY476" fmla="*/ 717503 h 4368247"/>
              <a:gd name="connsiteX477" fmla="*/ 5758197 w 10581483"/>
              <a:gd name="connsiteY477" fmla="*/ 717499 h 4368247"/>
              <a:gd name="connsiteX478" fmla="*/ 5805723 w 10581483"/>
              <a:gd name="connsiteY478" fmla="*/ 693755 h 4368247"/>
              <a:gd name="connsiteX479" fmla="*/ 5877017 w 10581483"/>
              <a:gd name="connsiteY479" fmla="*/ 717499 h 4368247"/>
              <a:gd name="connsiteX480" fmla="*/ 5924549 w 10581483"/>
              <a:gd name="connsiteY480" fmla="*/ 705629 h 4368247"/>
              <a:gd name="connsiteX481" fmla="*/ 6079019 w 10581483"/>
              <a:gd name="connsiteY481" fmla="*/ 670015 h 4368247"/>
              <a:gd name="connsiteX482" fmla="*/ 8403008 w 10581483"/>
              <a:gd name="connsiteY482" fmla="*/ 171 h 4368247"/>
              <a:gd name="connsiteX483" fmla="*/ 8488226 w 10581483"/>
              <a:gd name="connsiteY483" fmla="*/ 15197 h 4368247"/>
              <a:gd name="connsiteX484" fmla="*/ 8630814 w 10581483"/>
              <a:gd name="connsiteY484" fmla="*/ 15197 h 4368247"/>
              <a:gd name="connsiteX485" fmla="*/ 8725875 w 10581483"/>
              <a:gd name="connsiteY485" fmla="*/ 3324 h 4368247"/>
              <a:gd name="connsiteX486" fmla="*/ 9129881 w 10581483"/>
              <a:gd name="connsiteY486" fmla="*/ 3324 h 4368247"/>
              <a:gd name="connsiteX487" fmla="*/ 9617063 w 10581483"/>
              <a:gd name="connsiteY487" fmla="*/ 50809 h 4368247"/>
              <a:gd name="connsiteX488" fmla="*/ 9819064 w 10581483"/>
              <a:gd name="connsiteY488" fmla="*/ 74553 h 4368247"/>
              <a:gd name="connsiteX489" fmla="*/ 9842830 w 10581483"/>
              <a:gd name="connsiteY489" fmla="*/ 98297 h 4368247"/>
              <a:gd name="connsiteX490" fmla="*/ 9866596 w 10581483"/>
              <a:gd name="connsiteY490" fmla="*/ 335727 h 4368247"/>
              <a:gd name="connsiteX491" fmla="*/ 9866596 w 10581483"/>
              <a:gd name="connsiteY491" fmla="*/ 335731 h 4368247"/>
              <a:gd name="connsiteX492" fmla="*/ 9819064 w 10581483"/>
              <a:gd name="connsiteY492" fmla="*/ 383215 h 4368247"/>
              <a:gd name="connsiteX493" fmla="*/ 9688357 w 10581483"/>
              <a:gd name="connsiteY493" fmla="*/ 406959 h 4368247"/>
              <a:gd name="connsiteX494" fmla="*/ 9628948 w 10581483"/>
              <a:gd name="connsiteY494" fmla="*/ 430700 h 4368247"/>
              <a:gd name="connsiteX495" fmla="*/ 9676476 w 10581483"/>
              <a:gd name="connsiteY495" fmla="*/ 454442 h 4368247"/>
              <a:gd name="connsiteX496" fmla="*/ 9700242 w 10581483"/>
              <a:gd name="connsiteY496" fmla="*/ 442570 h 4368247"/>
              <a:gd name="connsiteX497" fmla="*/ 9850627 w 10581483"/>
              <a:gd name="connsiteY497" fmla="*/ 506010 h 4368247"/>
              <a:gd name="connsiteX498" fmla="*/ 9850627 w 10581483"/>
              <a:gd name="connsiteY498" fmla="*/ 506014 h 4368247"/>
              <a:gd name="connsiteX499" fmla="*/ 9842830 w 10581483"/>
              <a:gd name="connsiteY499" fmla="*/ 585033 h 4368247"/>
              <a:gd name="connsiteX500" fmla="*/ 9842830 w 10581483"/>
              <a:gd name="connsiteY500" fmla="*/ 616918 h 4368247"/>
              <a:gd name="connsiteX501" fmla="*/ 10031798 w 10581483"/>
              <a:gd name="connsiteY501" fmla="*/ 635680 h 4368247"/>
              <a:gd name="connsiteX502" fmla="*/ 10233799 w 10581483"/>
              <a:gd name="connsiteY502" fmla="*/ 659424 h 4368247"/>
              <a:gd name="connsiteX503" fmla="*/ 10257566 w 10581483"/>
              <a:gd name="connsiteY503" fmla="*/ 683168 h 4368247"/>
              <a:gd name="connsiteX504" fmla="*/ 10281331 w 10581483"/>
              <a:gd name="connsiteY504" fmla="*/ 920598 h 4368247"/>
              <a:gd name="connsiteX505" fmla="*/ 10281331 w 10581483"/>
              <a:gd name="connsiteY505" fmla="*/ 920602 h 4368247"/>
              <a:gd name="connsiteX506" fmla="*/ 10233799 w 10581483"/>
              <a:gd name="connsiteY506" fmla="*/ 968086 h 4368247"/>
              <a:gd name="connsiteX507" fmla="*/ 10103092 w 10581483"/>
              <a:gd name="connsiteY507" fmla="*/ 991831 h 4368247"/>
              <a:gd name="connsiteX508" fmla="*/ 10043682 w 10581483"/>
              <a:gd name="connsiteY508" fmla="*/ 1015571 h 4368247"/>
              <a:gd name="connsiteX509" fmla="*/ 10091210 w 10581483"/>
              <a:gd name="connsiteY509" fmla="*/ 1039313 h 4368247"/>
              <a:gd name="connsiteX510" fmla="*/ 10114976 w 10581483"/>
              <a:gd name="connsiteY510" fmla="*/ 1027442 h 4368247"/>
              <a:gd name="connsiteX511" fmla="*/ 10265362 w 10581483"/>
              <a:gd name="connsiteY511" fmla="*/ 1090881 h 4368247"/>
              <a:gd name="connsiteX512" fmla="*/ 10265362 w 10581483"/>
              <a:gd name="connsiteY512" fmla="*/ 1090885 h 4368247"/>
              <a:gd name="connsiteX513" fmla="*/ 10257566 w 10581483"/>
              <a:gd name="connsiteY513" fmla="*/ 1169904 h 4368247"/>
              <a:gd name="connsiteX514" fmla="*/ 10257566 w 10581483"/>
              <a:gd name="connsiteY514" fmla="*/ 1288615 h 4368247"/>
              <a:gd name="connsiteX515" fmla="*/ 10257566 w 10581483"/>
              <a:gd name="connsiteY515" fmla="*/ 1288619 h 4368247"/>
              <a:gd name="connsiteX516" fmla="*/ 10210037 w 10581483"/>
              <a:gd name="connsiteY516" fmla="*/ 1347978 h 4368247"/>
              <a:gd name="connsiteX517" fmla="*/ 10174390 w 10581483"/>
              <a:gd name="connsiteY517" fmla="*/ 1345009 h 4368247"/>
              <a:gd name="connsiteX518" fmla="*/ 10142251 w 10581483"/>
              <a:gd name="connsiteY518" fmla="*/ 1358388 h 4368247"/>
              <a:gd name="connsiteX519" fmla="*/ 10142089 w 10581483"/>
              <a:gd name="connsiteY519" fmla="*/ 1363190 h 4368247"/>
              <a:gd name="connsiteX520" fmla="*/ 10150624 w 10581483"/>
              <a:gd name="connsiteY520" fmla="*/ 1371716 h 4368247"/>
              <a:gd name="connsiteX521" fmla="*/ 10257566 w 10581483"/>
              <a:gd name="connsiteY521" fmla="*/ 1383589 h 4368247"/>
              <a:gd name="connsiteX522" fmla="*/ 10270932 w 10581483"/>
              <a:gd name="connsiteY522" fmla="*/ 1426624 h 4368247"/>
              <a:gd name="connsiteX523" fmla="*/ 10270932 w 10581483"/>
              <a:gd name="connsiteY523" fmla="*/ 1426627 h 4368247"/>
              <a:gd name="connsiteX524" fmla="*/ 10257566 w 10581483"/>
              <a:gd name="connsiteY524" fmla="*/ 1478564 h 4368247"/>
              <a:gd name="connsiteX525" fmla="*/ 10257566 w 10581483"/>
              <a:gd name="connsiteY525" fmla="*/ 1597275 h 4368247"/>
              <a:gd name="connsiteX526" fmla="*/ 10257566 w 10581483"/>
              <a:gd name="connsiteY526" fmla="*/ 1597278 h 4368247"/>
              <a:gd name="connsiteX527" fmla="*/ 10198152 w 10581483"/>
              <a:gd name="connsiteY527" fmla="*/ 1692251 h 4368247"/>
              <a:gd name="connsiteX528" fmla="*/ 10162509 w 10581483"/>
              <a:gd name="connsiteY528" fmla="*/ 1715993 h 4368247"/>
              <a:gd name="connsiteX529" fmla="*/ 10233799 w 10581483"/>
              <a:gd name="connsiteY529" fmla="*/ 1727862 h 4368247"/>
              <a:gd name="connsiteX530" fmla="*/ 10388273 w 10581483"/>
              <a:gd name="connsiteY530" fmla="*/ 1751604 h 4368247"/>
              <a:gd name="connsiteX531" fmla="*/ 10530862 w 10581483"/>
              <a:gd name="connsiteY531" fmla="*/ 1763477 h 4368247"/>
              <a:gd name="connsiteX532" fmla="*/ 10578393 w 10581483"/>
              <a:gd name="connsiteY532" fmla="*/ 1846577 h 4368247"/>
              <a:gd name="connsiteX533" fmla="*/ 10578393 w 10581483"/>
              <a:gd name="connsiteY533" fmla="*/ 1846581 h 4368247"/>
              <a:gd name="connsiteX534" fmla="*/ 10554627 w 10581483"/>
              <a:gd name="connsiteY534" fmla="*/ 2012784 h 4368247"/>
              <a:gd name="connsiteX535" fmla="*/ 10471451 w 10581483"/>
              <a:gd name="connsiteY535" fmla="*/ 2095884 h 4368247"/>
              <a:gd name="connsiteX536" fmla="*/ 10221918 w 10581483"/>
              <a:gd name="connsiteY536" fmla="*/ 2119628 h 4368247"/>
              <a:gd name="connsiteX537" fmla="*/ 10126859 w 10581483"/>
              <a:gd name="connsiteY537" fmla="*/ 2107754 h 4368247"/>
              <a:gd name="connsiteX538" fmla="*/ 10126861 w 10581483"/>
              <a:gd name="connsiteY538" fmla="*/ 2107751 h 4368247"/>
              <a:gd name="connsiteX539" fmla="*/ 10126859 w 10581483"/>
              <a:gd name="connsiteY539" fmla="*/ 2107751 h 4368247"/>
              <a:gd name="connsiteX540" fmla="*/ 10147651 w 10581483"/>
              <a:gd name="connsiteY540" fmla="*/ 2088461 h 4368247"/>
              <a:gd name="connsiteX541" fmla="*/ 10150624 w 10581483"/>
              <a:gd name="connsiteY541" fmla="*/ 2060269 h 4368247"/>
              <a:gd name="connsiteX542" fmla="*/ 10144684 w 10581483"/>
              <a:gd name="connsiteY542" fmla="*/ 2045431 h 4368247"/>
              <a:gd name="connsiteX543" fmla="*/ 10138739 w 10581483"/>
              <a:gd name="connsiteY543" fmla="*/ 2048399 h 4368247"/>
              <a:gd name="connsiteX544" fmla="*/ 10091210 w 10581483"/>
              <a:gd name="connsiteY544" fmla="*/ 2095884 h 4368247"/>
              <a:gd name="connsiteX545" fmla="*/ 10079330 w 10581483"/>
              <a:gd name="connsiteY545" fmla="*/ 2119628 h 4368247"/>
              <a:gd name="connsiteX546" fmla="*/ 10055564 w 10581483"/>
              <a:gd name="connsiteY546" fmla="*/ 2095884 h 4368247"/>
              <a:gd name="connsiteX547" fmla="*/ 9996152 w 10581483"/>
              <a:gd name="connsiteY547" fmla="*/ 2048399 h 4368247"/>
              <a:gd name="connsiteX548" fmla="*/ 9979811 w 10581483"/>
              <a:gd name="connsiteY548" fmla="*/ 2051367 h 4368247"/>
              <a:gd name="connsiteX549" fmla="*/ 9972388 w 10581483"/>
              <a:gd name="connsiteY549" fmla="*/ 2072140 h 4368247"/>
              <a:gd name="connsiteX550" fmla="*/ 9996152 w 10581483"/>
              <a:gd name="connsiteY550" fmla="*/ 2095880 h 4368247"/>
              <a:gd name="connsiteX551" fmla="*/ 10043680 w 10581483"/>
              <a:gd name="connsiteY551" fmla="*/ 2107751 h 4368247"/>
              <a:gd name="connsiteX552" fmla="*/ 10043672 w 10581483"/>
              <a:gd name="connsiteY552" fmla="*/ 2107751 h 4368247"/>
              <a:gd name="connsiteX553" fmla="*/ 10043680 w 10581483"/>
              <a:gd name="connsiteY553" fmla="*/ 2107754 h 4368247"/>
              <a:gd name="connsiteX554" fmla="*/ 9877325 w 10581483"/>
              <a:gd name="connsiteY554" fmla="*/ 2107754 h 4368247"/>
              <a:gd name="connsiteX555" fmla="*/ 9877332 w 10581483"/>
              <a:gd name="connsiteY555" fmla="*/ 2107751 h 4368247"/>
              <a:gd name="connsiteX556" fmla="*/ 9877325 w 10581483"/>
              <a:gd name="connsiteY556" fmla="*/ 2107751 h 4368247"/>
              <a:gd name="connsiteX557" fmla="*/ 9948623 w 10581483"/>
              <a:gd name="connsiteY557" fmla="*/ 2066202 h 4368247"/>
              <a:gd name="connsiteX558" fmla="*/ 9948623 w 10581483"/>
              <a:gd name="connsiteY558" fmla="*/ 1989040 h 4368247"/>
              <a:gd name="connsiteX559" fmla="*/ 9933770 w 10581483"/>
              <a:gd name="connsiteY559" fmla="*/ 2039493 h 4368247"/>
              <a:gd name="connsiteX560" fmla="*/ 9901091 w 10581483"/>
              <a:gd name="connsiteY560" fmla="*/ 2072140 h 4368247"/>
              <a:gd name="connsiteX561" fmla="*/ 9901091 w 10581483"/>
              <a:gd name="connsiteY561" fmla="*/ 2072136 h 4368247"/>
              <a:gd name="connsiteX562" fmla="*/ 9901091 w 10581483"/>
              <a:gd name="connsiteY562" fmla="*/ 1989040 h 4368247"/>
              <a:gd name="connsiteX563" fmla="*/ 9806031 w 10581483"/>
              <a:gd name="connsiteY563" fmla="*/ 1965295 h 4368247"/>
              <a:gd name="connsiteX564" fmla="*/ 9806031 w 10581483"/>
              <a:gd name="connsiteY564" fmla="*/ 2012781 h 4368247"/>
              <a:gd name="connsiteX565" fmla="*/ 9806031 w 10581483"/>
              <a:gd name="connsiteY565" fmla="*/ 2045427 h 4368247"/>
              <a:gd name="connsiteX566" fmla="*/ 9806031 w 10581483"/>
              <a:gd name="connsiteY566" fmla="*/ 2045431 h 4368247"/>
              <a:gd name="connsiteX567" fmla="*/ 9770384 w 10581483"/>
              <a:gd name="connsiteY567" fmla="*/ 2060269 h 4368247"/>
              <a:gd name="connsiteX568" fmla="*/ 9746617 w 10581483"/>
              <a:gd name="connsiteY568" fmla="*/ 2084013 h 4368247"/>
              <a:gd name="connsiteX569" fmla="*/ 9687208 w 10581483"/>
              <a:gd name="connsiteY569" fmla="*/ 2107754 h 4368247"/>
              <a:gd name="connsiteX570" fmla="*/ 9658987 w 10581483"/>
              <a:gd name="connsiteY570" fmla="*/ 2072140 h 4368247"/>
              <a:gd name="connsiteX571" fmla="*/ 9658987 w 10581483"/>
              <a:gd name="connsiteY571" fmla="*/ 2072136 h 4368247"/>
              <a:gd name="connsiteX572" fmla="*/ 9675324 w 10581483"/>
              <a:gd name="connsiteY572" fmla="*/ 2036521 h 4368247"/>
              <a:gd name="connsiteX573" fmla="*/ 9688690 w 10581483"/>
              <a:gd name="connsiteY573" fmla="*/ 2024651 h 4368247"/>
              <a:gd name="connsiteX574" fmla="*/ 9675324 w 10581483"/>
              <a:gd name="connsiteY574" fmla="*/ 2012784 h 4368247"/>
              <a:gd name="connsiteX575" fmla="*/ 9615910 w 10581483"/>
              <a:gd name="connsiteY575" fmla="*/ 1953425 h 4368247"/>
              <a:gd name="connsiteX576" fmla="*/ 9615910 w 10581483"/>
              <a:gd name="connsiteY576" fmla="*/ 2048394 h 4368247"/>
              <a:gd name="connsiteX577" fmla="*/ 9623336 w 10581483"/>
              <a:gd name="connsiteY577" fmla="*/ 2070654 h 4368247"/>
              <a:gd name="connsiteX578" fmla="*/ 9623336 w 10581483"/>
              <a:gd name="connsiteY578" fmla="*/ 2070657 h 4368247"/>
              <a:gd name="connsiteX579" fmla="*/ 9606717 w 10581483"/>
              <a:gd name="connsiteY579" fmla="*/ 2082153 h 4368247"/>
              <a:gd name="connsiteX580" fmla="*/ 9607792 w 10581483"/>
              <a:gd name="connsiteY580" fmla="*/ 2088321 h 4368247"/>
              <a:gd name="connsiteX581" fmla="*/ 9602611 w 10581483"/>
              <a:gd name="connsiteY581" fmla="*/ 2088489 h 4368247"/>
              <a:gd name="connsiteX582" fmla="*/ 9595116 w 10581483"/>
              <a:gd name="connsiteY582" fmla="*/ 2112209 h 4368247"/>
              <a:gd name="connsiteX583" fmla="*/ 9568378 w 10581483"/>
              <a:gd name="connsiteY583" fmla="*/ 2131499 h 4368247"/>
              <a:gd name="connsiteX584" fmla="*/ 9504883 w 10581483"/>
              <a:gd name="connsiteY584" fmla="*/ 2133910 h 4368247"/>
              <a:gd name="connsiteX585" fmla="*/ 9475017 w 10581483"/>
              <a:gd name="connsiteY585" fmla="*/ 2123222 h 4368247"/>
              <a:gd name="connsiteX586" fmla="*/ 9475017 w 10581483"/>
              <a:gd name="connsiteY586" fmla="*/ 2153958 h 4368247"/>
              <a:gd name="connsiteX587" fmla="*/ 9475017 w 10581483"/>
              <a:gd name="connsiteY587" fmla="*/ 2153961 h 4368247"/>
              <a:gd name="connsiteX588" fmla="*/ 9415603 w 10581483"/>
              <a:gd name="connsiteY588" fmla="*/ 2248935 h 4368247"/>
              <a:gd name="connsiteX589" fmla="*/ 9391216 w 10581483"/>
              <a:gd name="connsiteY589" fmla="*/ 2265178 h 4368247"/>
              <a:gd name="connsiteX590" fmla="*/ 9393111 w 10581483"/>
              <a:gd name="connsiteY590" fmla="*/ 2265388 h 4368247"/>
              <a:gd name="connsiteX591" fmla="*/ 9419846 w 10581483"/>
              <a:gd name="connsiteY591" fmla="*/ 2277260 h 4368247"/>
              <a:gd name="connsiteX592" fmla="*/ 9421630 w 10581483"/>
              <a:gd name="connsiteY592" fmla="*/ 2279614 h 4368247"/>
              <a:gd name="connsiteX593" fmla="*/ 9451250 w 10581483"/>
              <a:gd name="connsiteY593" fmla="*/ 2284546 h 4368247"/>
              <a:gd name="connsiteX594" fmla="*/ 9605724 w 10581483"/>
              <a:gd name="connsiteY594" fmla="*/ 2308287 h 4368247"/>
              <a:gd name="connsiteX595" fmla="*/ 9748312 w 10581483"/>
              <a:gd name="connsiteY595" fmla="*/ 2320161 h 4368247"/>
              <a:gd name="connsiteX596" fmla="*/ 9798442 w 10581483"/>
              <a:gd name="connsiteY596" fmla="*/ 2371913 h 4368247"/>
              <a:gd name="connsiteX597" fmla="*/ 9798031 w 10581483"/>
              <a:gd name="connsiteY597" fmla="*/ 2376881 h 4368247"/>
              <a:gd name="connsiteX598" fmla="*/ 9817915 w 10581483"/>
              <a:gd name="connsiteY598" fmla="*/ 2380797 h 4368247"/>
              <a:gd name="connsiteX599" fmla="*/ 9865443 w 10581483"/>
              <a:gd name="connsiteY599" fmla="*/ 2380797 h 4368247"/>
              <a:gd name="connsiteX600" fmla="*/ 9901091 w 10581483"/>
              <a:gd name="connsiteY600" fmla="*/ 2392669 h 4368247"/>
              <a:gd name="connsiteX601" fmla="*/ 9901091 w 10581483"/>
              <a:gd name="connsiteY601" fmla="*/ 2392672 h 4368247"/>
              <a:gd name="connsiteX602" fmla="*/ 9865443 w 10581483"/>
              <a:gd name="connsiteY602" fmla="*/ 2416416 h 4368247"/>
              <a:gd name="connsiteX603" fmla="*/ 9799346 w 10581483"/>
              <a:gd name="connsiteY603" fmla="*/ 2400835 h 4368247"/>
              <a:gd name="connsiteX604" fmla="*/ 9796054 w 10581483"/>
              <a:gd name="connsiteY604" fmla="*/ 2400731 h 4368247"/>
              <a:gd name="connsiteX605" fmla="*/ 9795844 w 10581483"/>
              <a:gd name="connsiteY605" fmla="*/ 2403260 h 4368247"/>
              <a:gd name="connsiteX606" fmla="*/ 9795844 w 10581483"/>
              <a:gd name="connsiteY606" fmla="*/ 2403265 h 4368247"/>
              <a:gd name="connsiteX607" fmla="*/ 9784731 w 10581483"/>
              <a:gd name="connsiteY607" fmla="*/ 2445294 h 4368247"/>
              <a:gd name="connsiteX608" fmla="*/ 9787013 w 10581483"/>
              <a:gd name="connsiteY608" fmla="*/ 2458037 h 4368247"/>
              <a:gd name="connsiteX609" fmla="*/ 9780486 w 10581483"/>
              <a:gd name="connsiteY609" fmla="*/ 2461350 h 4368247"/>
              <a:gd name="connsiteX610" fmla="*/ 9775050 w 10581483"/>
              <a:gd name="connsiteY610" fmla="*/ 2481914 h 4368247"/>
              <a:gd name="connsiteX611" fmla="*/ 9772078 w 10581483"/>
              <a:gd name="connsiteY611" fmla="*/ 2569468 h 4368247"/>
              <a:gd name="connsiteX612" fmla="*/ 9688902 w 10581483"/>
              <a:gd name="connsiteY612" fmla="*/ 2652568 h 4368247"/>
              <a:gd name="connsiteX613" fmla="*/ 9668814 w 10581483"/>
              <a:gd name="connsiteY613" fmla="*/ 2653762 h 4368247"/>
              <a:gd name="connsiteX614" fmla="*/ 9693142 w 10581483"/>
              <a:gd name="connsiteY614" fmla="*/ 2657149 h 4368247"/>
              <a:gd name="connsiteX615" fmla="*/ 9740673 w 10581483"/>
              <a:gd name="connsiteY615" fmla="*/ 2740248 h 4368247"/>
              <a:gd name="connsiteX616" fmla="*/ 9740673 w 10581483"/>
              <a:gd name="connsiteY616" fmla="*/ 2740252 h 4368247"/>
              <a:gd name="connsiteX617" fmla="*/ 9716908 w 10581483"/>
              <a:gd name="connsiteY617" fmla="*/ 2906456 h 4368247"/>
              <a:gd name="connsiteX618" fmla="*/ 9633733 w 10581483"/>
              <a:gd name="connsiteY618" fmla="*/ 2989555 h 4368247"/>
              <a:gd name="connsiteX619" fmla="*/ 9508964 w 10581483"/>
              <a:gd name="connsiteY619" fmla="*/ 3001427 h 4368247"/>
              <a:gd name="connsiteX620" fmla="*/ 9491762 w 10581483"/>
              <a:gd name="connsiteY620" fmla="*/ 3003677 h 4368247"/>
              <a:gd name="connsiteX621" fmla="*/ 9499272 w 10581483"/>
              <a:gd name="connsiteY621" fmla="*/ 3010385 h 4368247"/>
              <a:gd name="connsiteX622" fmla="*/ 9499268 w 10581483"/>
              <a:gd name="connsiteY622" fmla="*/ 3010385 h 4368247"/>
              <a:gd name="connsiteX623" fmla="*/ 9499272 w 10581483"/>
              <a:gd name="connsiteY623" fmla="*/ 3010388 h 4368247"/>
              <a:gd name="connsiteX624" fmla="*/ 9458490 w 10581483"/>
              <a:gd name="connsiteY624" fmla="*/ 3016963 h 4368247"/>
              <a:gd name="connsiteX625" fmla="*/ 9433668 w 10581483"/>
              <a:gd name="connsiteY625" fmla="*/ 3010357 h 4368247"/>
              <a:gd name="connsiteX626" fmla="*/ 9384198 w 10581483"/>
              <a:gd name="connsiteY626" fmla="*/ 3013299 h 4368247"/>
              <a:gd name="connsiteX627" fmla="*/ 9289139 w 10581483"/>
              <a:gd name="connsiteY627" fmla="*/ 3001426 h 4368247"/>
              <a:gd name="connsiteX628" fmla="*/ 9289143 w 10581483"/>
              <a:gd name="connsiteY628" fmla="*/ 3001422 h 4368247"/>
              <a:gd name="connsiteX629" fmla="*/ 9289139 w 10581483"/>
              <a:gd name="connsiteY629" fmla="*/ 3001422 h 4368247"/>
              <a:gd name="connsiteX630" fmla="*/ 9292929 w 10581483"/>
              <a:gd name="connsiteY630" fmla="*/ 2994746 h 4368247"/>
              <a:gd name="connsiteX631" fmla="*/ 9272692 w 10581483"/>
              <a:gd name="connsiteY631" fmla="*/ 2987516 h 4368247"/>
              <a:gd name="connsiteX632" fmla="*/ 9253679 w 10581483"/>
              <a:gd name="connsiteY632" fmla="*/ 2983478 h 4368247"/>
              <a:gd name="connsiteX633" fmla="*/ 9253491 w 10581483"/>
              <a:gd name="connsiteY633" fmla="*/ 2989555 h 4368247"/>
              <a:gd name="connsiteX634" fmla="*/ 9241611 w 10581483"/>
              <a:gd name="connsiteY634" fmla="*/ 3013299 h 4368247"/>
              <a:gd name="connsiteX635" fmla="*/ 9217844 w 10581483"/>
              <a:gd name="connsiteY635" fmla="*/ 2989555 h 4368247"/>
              <a:gd name="connsiteX636" fmla="*/ 9212562 w 10581483"/>
              <a:gd name="connsiteY636" fmla="*/ 2972822 h 4368247"/>
              <a:gd name="connsiteX637" fmla="*/ 9189117 w 10581483"/>
              <a:gd name="connsiteY637" fmla="*/ 2965526 h 4368247"/>
              <a:gd name="connsiteX638" fmla="*/ 9148426 w 10581483"/>
              <a:gd name="connsiteY638" fmla="*/ 2940101 h 4368247"/>
              <a:gd name="connsiteX639" fmla="*/ 9142092 w 10581483"/>
              <a:gd name="connsiteY639" fmla="*/ 2945038 h 4368247"/>
              <a:gd name="connsiteX640" fmla="*/ 9134669 w 10581483"/>
              <a:gd name="connsiteY640" fmla="*/ 2965811 h 4368247"/>
              <a:gd name="connsiteX641" fmla="*/ 9158432 w 10581483"/>
              <a:gd name="connsiteY641" fmla="*/ 2989552 h 4368247"/>
              <a:gd name="connsiteX642" fmla="*/ 9205960 w 10581483"/>
              <a:gd name="connsiteY642" fmla="*/ 3001422 h 4368247"/>
              <a:gd name="connsiteX643" fmla="*/ 9205952 w 10581483"/>
              <a:gd name="connsiteY643" fmla="*/ 3001422 h 4368247"/>
              <a:gd name="connsiteX644" fmla="*/ 9205960 w 10581483"/>
              <a:gd name="connsiteY644" fmla="*/ 3001426 h 4368247"/>
              <a:gd name="connsiteX645" fmla="*/ 9039605 w 10581483"/>
              <a:gd name="connsiteY645" fmla="*/ 3001426 h 4368247"/>
              <a:gd name="connsiteX646" fmla="*/ 9039613 w 10581483"/>
              <a:gd name="connsiteY646" fmla="*/ 3001422 h 4368247"/>
              <a:gd name="connsiteX647" fmla="*/ 9039605 w 10581483"/>
              <a:gd name="connsiteY647" fmla="*/ 3001422 h 4368247"/>
              <a:gd name="connsiteX648" fmla="*/ 9084165 w 10581483"/>
              <a:gd name="connsiteY648" fmla="*/ 2986214 h 4368247"/>
              <a:gd name="connsiteX649" fmla="*/ 9092987 w 10581483"/>
              <a:gd name="connsiteY649" fmla="*/ 2977523 h 4368247"/>
              <a:gd name="connsiteX650" fmla="*/ 9082894 w 10581483"/>
              <a:gd name="connsiteY650" fmla="*/ 2973100 h 4368247"/>
              <a:gd name="connsiteX651" fmla="*/ 8946245 w 10581483"/>
              <a:gd name="connsiteY651" fmla="*/ 2955293 h 4368247"/>
              <a:gd name="connsiteX652" fmla="*/ 8931445 w 10581483"/>
              <a:gd name="connsiteY652" fmla="*/ 2954826 h 4368247"/>
              <a:gd name="connsiteX653" fmla="*/ 8916325 w 10581483"/>
              <a:gd name="connsiteY653" fmla="*/ 2965811 h 4368247"/>
              <a:gd name="connsiteX654" fmla="*/ 8908898 w 10581483"/>
              <a:gd name="connsiteY654" fmla="*/ 2977684 h 4368247"/>
              <a:gd name="connsiteX655" fmla="*/ 8849488 w 10581483"/>
              <a:gd name="connsiteY655" fmla="*/ 3001426 h 4368247"/>
              <a:gd name="connsiteX656" fmla="*/ 8821268 w 10581483"/>
              <a:gd name="connsiteY656" fmla="*/ 2965811 h 4368247"/>
              <a:gd name="connsiteX657" fmla="*/ 8821268 w 10581483"/>
              <a:gd name="connsiteY657" fmla="*/ 2965807 h 4368247"/>
              <a:gd name="connsiteX658" fmla="*/ 8821081 w 10581483"/>
              <a:gd name="connsiteY658" fmla="*/ 2948001 h 4368247"/>
              <a:gd name="connsiteX659" fmla="*/ 8827025 w 10581483"/>
              <a:gd name="connsiteY659" fmla="*/ 2941594 h 4368247"/>
              <a:gd name="connsiteX660" fmla="*/ 8809595 w 10581483"/>
              <a:gd name="connsiteY660" fmla="*/ 2937486 h 4368247"/>
              <a:gd name="connsiteX661" fmla="*/ 8778191 w 10581483"/>
              <a:gd name="connsiteY661" fmla="*/ 2932175 h 4368247"/>
              <a:gd name="connsiteX662" fmla="*/ 8778191 w 10581483"/>
              <a:gd name="connsiteY662" fmla="*/ 2942067 h 4368247"/>
              <a:gd name="connsiteX663" fmla="*/ 8785617 w 10581483"/>
              <a:gd name="connsiteY663" fmla="*/ 2964325 h 4368247"/>
              <a:gd name="connsiteX664" fmla="*/ 8785617 w 10581483"/>
              <a:gd name="connsiteY664" fmla="*/ 2964328 h 4368247"/>
              <a:gd name="connsiteX665" fmla="*/ 8768997 w 10581483"/>
              <a:gd name="connsiteY665" fmla="*/ 2975825 h 4368247"/>
              <a:gd name="connsiteX666" fmla="*/ 8770073 w 10581483"/>
              <a:gd name="connsiteY666" fmla="*/ 2981992 h 4368247"/>
              <a:gd name="connsiteX667" fmla="*/ 8764892 w 10581483"/>
              <a:gd name="connsiteY667" fmla="*/ 2982161 h 4368247"/>
              <a:gd name="connsiteX668" fmla="*/ 8757396 w 10581483"/>
              <a:gd name="connsiteY668" fmla="*/ 3005880 h 4368247"/>
              <a:gd name="connsiteX669" fmla="*/ 8730659 w 10581483"/>
              <a:gd name="connsiteY669" fmla="*/ 3025170 h 4368247"/>
              <a:gd name="connsiteX670" fmla="*/ 8667164 w 10581483"/>
              <a:gd name="connsiteY670" fmla="*/ 3027581 h 4368247"/>
              <a:gd name="connsiteX671" fmla="*/ 8618640 w 10581483"/>
              <a:gd name="connsiteY671" fmla="*/ 3010218 h 4368247"/>
              <a:gd name="connsiteX672" fmla="*/ 8619475 w 10581483"/>
              <a:gd name="connsiteY672" fmla="*/ 3020585 h 4368247"/>
              <a:gd name="connsiteX673" fmla="*/ 8619475 w 10581483"/>
              <a:gd name="connsiteY673" fmla="*/ 3032452 h 4368247"/>
              <a:gd name="connsiteX674" fmla="*/ 8619475 w 10581483"/>
              <a:gd name="connsiteY674" fmla="*/ 3032456 h 4368247"/>
              <a:gd name="connsiteX675" fmla="*/ 8545722 w 10581483"/>
              <a:gd name="connsiteY675" fmla="*/ 3036677 h 4368247"/>
              <a:gd name="connsiteX676" fmla="*/ 8537687 w 10581483"/>
              <a:gd name="connsiteY676" fmla="*/ 3022954 h 4368247"/>
              <a:gd name="connsiteX677" fmla="*/ 8529587 w 10581483"/>
              <a:gd name="connsiteY677" fmla="*/ 3024985 h 4368247"/>
              <a:gd name="connsiteX678" fmla="*/ 8479644 w 10581483"/>
              <a:gd name="connsiteY678" fmla="*/ 3026653 h 4368247"/>
              <a:gd name="connsiteX679" fmla="*/ 8476645 w 10581483"/>
              <a:gd name="connsiteY679" fmla="*/ 3026274 h 4368247"/>
              <a:gd name="connsiteX680" fmla="*/ 8474974 w 10581483"/>
              <a:gd name="connsiteY680" fmla="*/ 3075494 h 4368247"/>
              <a:gd name="connsiteX681" fmla="*/ 8391799 w 10581483"/>
              <a:gd name="connsiteY681" fmla="*/ 3158594 h 4368247"/>
              <a:gd name="connsiteX682" fmla="*/ 8142265 w 10581483"/>
              <a:gd name="connsiteY682" fmla="*/ 3182338 h 4368247"/>
              <a:gd name="connsiteX683" fmla="*/ 8047205 w 10581483"/>
              <a:gd name="connsiteY683" fmla="*/ 3170465 h 4368247"/>
              <a:gd name="connsiteX684" fmla="*/ 8047208 w 10581483"/>
              <a:gd name="connsiteY684" fmla="*/ 3170462 h 4368247"/>
              <a:gd name="connsiteX685" fmla="*/ 8047205 w 10581483"/>
              <a:gd name="connsiteY685" fmla="*/ 3170462 h 4368247"/>
              <a:gd name="connsiteX686" fmla="*/ 8067999 w 10581483"/>
              <a:gd name="connsiteY686" fmla="*/ 3151171 h 4368247"/>
              <a:gd name="connsiteX687" fmla="*/ 8070971 w 10581483"/>
              <a:gd name="connsiteY687" fmla="*/ 3122979 h 4368247"/>
              <a:gd name="connsiteX688" fmla="*/ 8065031 w 10581483"/>
              <a:gd name="connsiteY688" fmla="*/ 3108140 h 4368247"/>
              <a:gd name="connsiteX689" fmla="*/ 8059086 w 10581483"/>
              <a:gd name="connsiteY689" fmla="*/ 3111109 h 4368247"/>
              <a:gd name="connsiteX690" fmla="*/ 8011558 w 10581483"/>
              <a:gd name="connsiteY690" fmla="*/ 3158594 h 4368247"/>
              <a:gd name="connsiteX691" fmla="*/ 8014528 w 10581483"/>
              <a:gd name="connsiteY691" fmla="*/ 3174918 h 4368247"/>
              <a:gd name="connsiteX692" fmla="*/ 8006047 w 10581483"/>
              <a:gd name="connsiteY692" fmla="*/ 3179155 h 4368247"/>
              <a:gd name="connsiteX693" fmla="*/ 8041475 w 10581483"/>
              <a:gd name="connsiteY693" fmla="*/ 3179496 h 4368247"/>
              <a:gd name="connsiteX694" fmla="*/ 8136535 w 10581483"/>
              <a:gd name="connsiteY694" fmla="*/ 3191366 h 4368247"/>
              <a:gd name="connsiteX695" fmla="*/ 8314775 w 10581483"/>
              <a:gd name="connsiteY695" fmla="*/ 3215111 h 4368247"/>
              <a:gd name="connsiteX696" fmla="*/ 8778191 w 10581483"/>
              <a:gd name="connsiteY696" fmla="*/ 3250725 h 4368247"/>
              <a:gd name="connsiteX697" fmla="*/ 8980197 w 10581483"/>
              <a:gd name="connsiteY697" fmla="*/ 3274469 h 4368247"/>
              <a:gd name="connsiteX698" fmla="*/ 9027725 w 10581483"/>
              <a:gd name="connsiteY698" fmla="*/ 3274469 h 4368247"/>
              <a:gd name="connsiteX699" fmla="*/ 9063371 w 10581483"/>
              <a:gd name="connsiteY699" fmla="*/ 3286340 h 4368247"/>
              <a:gd name="connsiteX700" fmla="*/ 9063371 w 10581483"/>
              <a:gd name="connsiteY700" fmla="*/ 3286344 h 4368247"/>
              <a:gd name="connsiteX701" fmla="*/ 9027725 w 10581483"/>
              <a:gd name="connsiteY701" fmla="*/ 3310087 h 4368247"/>
              <a:gd name="connsiteX702" fmla="*/ 8754425 w 10581483"/>
              <a:gd name="connsiteY702" fmla="*/ 3274473 h 4368247"/>
              <a:gd name="connsiteX703" fmla="*/ 8528658 w 10581483"/>
              <a:gd name="connsiteY703" fmla="*/ 3262599 h 4368247"/>
              <a:gd name="connsiteX704" fmla="*/ 8528658 w 10581483"/>
              <a:gd name="connsiteY704" fmla="*/ 3263599 h 4368247"/>
              <a:gd name="connsiteX705" fmla="*/ 8528658 w 10581483"/>
              <a:gd name="connsiteY705" fmla="*/ 3293760 h 4368247"/>
              <a:gd name="connsiteX706" fmla="*/ 8564305 w 10581483"/>
              <a:gd name="connsiteY706" fmla="*/ 3298210 h 4368247"/>
              <a:gd name="connsiteX707" fmla="*/ 8695012 w 10581483"/>
              <a:gd name="connsiteY707" fmla="*/ 3321955 h 4368247"/>
              <a:gd name="connsiteX708" fmla="*/ 8695008 w 10581483"/>
              <a:gd name="connsiteY708" fmla="*/ 3321955 h 4368247"/>
              <a:gd name="connsiteX709" fmla="*/ 8695012 w 10581483"/>
              <a:gd name="connsiteY709" fmla="*/ 3321959 h 4368247"/>
              <a:gd name="connsiteX710" fmla="*/ 8611836 w 10581483"/>
              <a:gd name="connsiteY710" fmla="*/ 3321959 h 4368247"/>
              <a:gd name="connsiteX711" fmla="*/ 8564305 w 10581483"/>
              <a:gd name="connsiteY711" fmla="*/ 3357573 h 4368247"/>
              <a:gd name="connsiteX712" fmla="*/ 8564305 w 10581483"/>
              <a:gd name="connsiteY712" fmla="*/ 3369440 h 4368247"/>
              <a:gd name="connsiteX713" fmla="*/ 8564305 w 10581483"/>
              <a:gd name="connsiteY713" fmla="*/ 3369444 h 4368247"/>
              <a:gd name="connsiteX714" fmla="*/ 8481128 w 10581483"/>
              <a:gd name="connsiteY714" fmla="*/ 3357573 h 4368247"/>
              <a:gd name="connsiteX715" fmla="*/ 8469244 w 10581483"/>
              <a:gd name="connsiteY715" fmla="*/ 3345702 h 4368247"/>
              <a:gd name="connsiteX716" fmla="*/ 8362303 w 10581483"/>
              <a:gd name="connsiteY716" fmla="*/ 3321959 h 4368247"/>
              <a:gd name="connsiteX717" fmla="*/ 8362305 w 10581483"/>
              <a:gd name="connsiteY717" fmla="*/ 3321955 h 4368247"/>
              <a:gd name="connsiteX718" fmla="*/ 8362303 w 10581483"/>
              <a:gd name="connsiteY718" fmla="*/ 3321955 h 4368247"/>
              <a:gd name="connsiteX719" fmla="*/ 8384583 w 10581483"/>
              <a:gd name="connsiteY719" fmla="*/ 3296729 h 4368247"/>
              <a:gd name="connsiteX720" fmla="*/ 8397949 w 10581483"/>
              <a:gd name="connsiteY720" fmla="*/ 3262599 h 4368247"/>
              <a:gd name="connsiteX721" fmla="*/ 8374188 w 10581483"/>
              <a:gd name="connsiteY721" fmla="*/ 3250729 h 4368247"/>
              <a:gd name="connsiteX722" fmla="*/ 8362303 w 10581483"/>
              <a:gd name="connsiteY722" fmla="*/ 3250729 h 4368247"/>
              <a:gd name="connsiteX723" fmla="*/ 8313288 w 10581483"/>
              <a:gd name="connsiteY723" fmla="*/ 3307119 h 4368247"/>
              <a:gd name="connsiteX724" fmla="*/ 8287109 w 10581483"/>
              <a:gd name="connsiteY724" fmla="*/ 3334199 h 4368247"/>
              <a:gd name="connsiteX725" fmla="*/ 8291009 w 10581483"/>
              <a:gd name="connsiteY725" fmla="*/ 3381314 h 4368247"/>
              <a:gd name="connsiteX726" fmla="*/ 8291009 w 10581483"/>
              <a:gd name="connsiteY726" fmla="*/ 3381317 h 4368247"/>
              <a:gd name="connsiteX727" fmla="*/ 8267242 w 10581483"/>
              <a:gd name="connsiteY727" fmla="*/ 3381317 h 4368247"/>
              <a:gd name="connsiteX728" fmla="*/ 8195948 w 10581483"/>
              <a:gd name="connsiteY728" fmla="*/ 3298214 h 4368247"/>
              <a:gd name="connsiteX729" fmla="*/ 8136535 w 10581483"/>
              <a:gd name="connsiteY729" fmla="*/ 3298214 h 4368247"/>
              <a:gd name="connsiteX730" fmla="*/ 8140994 w 10581483"/>
              <a:gd name="connsiteY730" fmla="*/ 3320468 h 4368247"/>
              <a:gd name="connsiteX731" fmla="*/ 8172183 w 10581483"/>
              <a:gd name="connsiteY731" fmla="*/ 3333825 h 4368247"/>
              <a:gd name="connsiteX732" fmla="*/ 8172183 w 10581483"/>
              <a:gd name="connsiteY732" fmla="*/ 3333829 h 4368247"/>
              <a:gd name="connsiteX733" fmla="*/ 8172183 w 10581483"/>
              <a:gd name="connsiteY733" fmla="*/ 3357569 h 4368247"/>
              <a:gd name="connsiteX734" fmla="*/ 8172183 w 10581483"/>
              <a:gd name="connsiteY734" fmla="*/ 3357573 h 4368247"/>
              <a:gd name="connsiteX735" fmla="*/ 8136535 w 10581483"/>
              <a:gd name="connsiteY735" fmla="*/ 3345702 h 4368247"/>
              <a:gd name="connsiteX736" fmla="*/ 8100887 w 10581483"/>
              <a:gd name="connsiteY736" fmla="*/ 3286344 h 4368247"/>
              <a:gd name="connsiteX737" fmla="*/ 8053361 w 10581483"/>
              <a:gd name="connsiteY737" fmla="*/ 3333829 h 4368247"/>
              <a:gd name="connsiteX738" fmla="*/ 7922653 w 10581483"/>
              <a:gd name="connsiteY738" fmla="*/ 3357573 h 4368247"/>
              <a:gd name="connsiteX739" fmla="*/ 7887006 w 10581483"/>
              <a:gd name="connsiteY739" fmla="*/ 3357573 h 4368247"/>
              <a:gd name="connsiteX740" fmla="*/ 7815709 w 10581483"/>
              <a:gd name="connsiteY740" fmla="*/ 3369444 h 4368247"/>
              <a:gd name="connsiteX741" fmla="*/ 7791945 w 10581483"/>
              <a:gd name="connsiteY741" fmla="*/ 3369444 h 4368247"/>
              <a:gd name="connsiteX742" fmla="*/ 7720651 w 10581483"/>
              <a:gd name="connsiteY742" fmla="*/ 3369444 h 4368247"/>
              <a:gd name="connsiteX743" fmla="*/ 7649354 w 10581483"/>
              <a:gd name="connsiteY743" fmla="*/ 3310087 h 4368247"/>
              <a:gd name="connsiteX744" fmla="*/ 7613707 w 10581483"/>
              <a:gd name="connsiteY744" fmla="*/ 3286344 h 4368247"/>
              <a:gd name="connsiteX745" fmla="*/ 7601825 w 10581483"/>
              <a:gd name="connsiteY745" fmla="*/ 3250729 h 4368247"/>
              <a:gd name="connsiteX746" fmla="*/ 7554298 w 10581483"/>
              <a:gd name="connsiteY746" fmla="*/ 3286344 h 4368247"/>
              <a:gd name="connsiteX747" fmla="*/ 7483000 w 10581483"/>
              <a:gd name="connsiteY747" fmla="*/ 3298214 h 4368247"/>
              <a:gd name="connsiteX748" fmla="*/ 7423590 w 10581483"/>
              <a:gd name="connsiteY748" fmla="*/ 3310087 h 4368247"/>
              <a:gd name="connsiteX749" fmla="*/ 7352292 w 10581483"/>
              <a:gd name="connsiteY749" fmla="*/ 3357573 h 4368247"/>
              <a:gd name="connsiteX750" fmla="*/ 7304765 w 10581483"/>
              <a:gd name="connsiteY750" fmla="*/ 3333829 h 4368247"/>
              <a:gd name="connsiteX751" fmla="*/ 7280998 w 10581483"/>
              <a:gd name="connsiteY751" fmla="*/ 3310087 h 4368247"/>
              <a:gd name="connsiteX752" fmla="*/ 7233470 w 10581483"/>
              <a:gd name="connsiteY752" fmla="*/ 3321959 h 4368247"/>
              <a:gd name="connsiteX753" fmla="*/ 7162175 w 10581483"/>
              <a:gd name="connsiteY753" fmla="*/ 3357573 h 4368247"/>
              <a:gd name="connsiteX754" fmla="*/ 7114643 w 10581483"/>
              <a:gd name="connsiteY754" fmla="*/ 3362024 h 4368247"/>
              <a:gd name="connsiteX755" fmla="*/ 7067126 w 10581483"/>
              <a:gd name="connsiteY755" fmla="*/ 3357573 h 4368247"/>
              <a:gd name="connsiteX756" fmla="*/ 7126993 w 10581483"/>
              <a:gd name="connsiteY756" fmla="*/ 3379207 h 4368247"/>
              <a:gd name="connsiteX757" fmla="*/ 7130768 w 10581483"/>
              <a:gd name="connsiteY757" fmla="*/ 3378863 h 4368247"/>
              <a:gd name="connsiteX758" fmla="*/ 7188695 w 10581483"/>
              <a:gd name="connsiteY758" fmla="*/ 3379697 h 4368247"/>
              <a:gd name="connsiteX759" fmla="*/ 7202718 w 10581483"/>
              <a:gd name="connsiteY759" fmla="*/ 3381314 h 4368247"/>
              <a:gd name="connsiteX760" fmla="*/ 7249808 w 10581483"/>
              <a:gd name="connsiteY760" fmla="*/ 3381314 h 4368247"/>
              <a:gd name="connsiteX761" fmla="*/ 7292882 w 10581483"/>
              <a:gd name="connsiteY761" fmla="*/ 3381314 h 4368247"/>
              <a:gd name="connsiteX762" fmla="*/ 7309220 w 10581483"/>
              <a:gd name="connsiteY762" fmla="*/ 3388732 h 4368247"/>
              <a:gd name="connsiteX763" fmla="*/ 7311684 w 10581483"/>
              <a:gd name="connsiteY763" fmla="*/ 3394150 h 4368247"/>
              <a:gd name="connsiteX764" fmla="*/ 7420403 w 10581483"/>
              <a:gd name="connsiteY764" fmla="*/ 3410860 h 4368247"/>
              <a:gd name="connsiteX765" fmla="*/ 7536258 w 10581483"/>
              <a:gd name="connsiteY765" fmla="*/ 3419764 h 4368247"/>
              <a:gd name="connsiteX766" fmla="*/ 7738262 w 10581483"/>
              <a:gd name="connsiteY766" fmla="*/ 3443508 h 4368247"/>
              <a:gd name="connsiteX767" fmla="*/ 7785790 w 10581483"/>
              <a:gd name="connsiteY767" fmla="*/ 3443508 h 4368247"/>
              <a:gd name="connsiteX768" fmla="*/ 7821437 w 10581483"/>
              <a:gd name="connsiteY768" fmla="*/ 3455379 h 4368247"/>
              <a:gd name="connsiteX769" fmla="*/ 7821437 w 10581483"/>
              <a:gd name="connsiteY769" fmla="*/ 3455382 h 4368247"/>
              <a:gd name="connsiteX770" fmla="*/ 7785790 w 10581483"/>
              <a:gd name="connsiteY770" fmla="*/ 3479127 h 4368247"/>
              <a:gd name="connsiteX771" fmla="*/ 7512492 w 10581483"/>
              <a:gd name="connsiteY771" fmla="*/ 3443512 h 4368247"/>
              <a:gd name="connsiteX772" fmla="*/ 7286725 w 10581483"/>
              <a:gd name="connsiteY772" fmla="*/ 3431639 h 4368247"/>
              <a:gd name="connsiteX773" fmla="*/ 7286725 w 10581483"/>
              <a:gd name="connsiteY773" fmla="*/ 3432639 h 4368247"/>
              <a:gd name="connsiteX774" fmla="*/ 7286725 w 10581483"/>
              <a:gd name="connsiteY774" fmla="*/ 3462799 h 4368247"/>
              <a:gd name="connsiteX775" fmla="*/ 7322371 w 10581483"/>
              <a:gd name="connsiteY775" fmla="*/ 3467249 h 4368247"/>
              <a:gd name="connsiteX776" fmla="*/ 7453079 w 10581483"/>
              <a:gd name="connsiteY776" fmla="*/ 3490994 h 4368247"/>
              <a:gd name="connsiteX777" fmla="*/ 7453075 w 10581483"/>
              <a:gd name="connsiteY777" fmla="*/ 3490994 h 4368247"/>
              <a:gd name="connsiteX778" fmla="*/ 7453079 w 10581483"/>
              <a:gd name="connsiteY778" fmla="*/ 3490997 h 4368247"/>
              <a:gd name="connsiteX779" fmla="*/ 7369903 w 10581483"/>
              <a:gd name="connsiteY779" fmla="*/ 3490997 h 4368247"/>
              <a:gd name="connsiteX780" fmla="*/ 7322371 w 10581483"/>
              <a:gd name="connsiteY780" fmla="*/ 3526612 h 4368247"/>
              <a:gd name="connsiteX781" fmla="*/ 7322371 w 10581483"/>
              <a:gd name="connsiteY781" fmla="*/ 3538479 h 4368247"/>
              <a:gd name="connsiteX782" fmla="*/ 7322371 w 10581483"/>
              <a:gd name="connsiteY782" fmla="*/ 3538482 h 4368247"/>
              <a:gd name="connsiteX783" fmla="*/ 7239196 w 10581483"/>
              <a:gd name="connsiteY783" fmla="*/ 3526612 h 4368247"/>
              <a:gd name="connsiteX784" fmla="*/ 7227312 w 10581483"/>
              <a:gd name="connsiteY784" fmla="*/ 3514742 h 4368247"/>
              <a:gd name="connsiteX785" fmla="*/ 7120370 w 10581483"/>
              <a:gd name="connsiteY785" fmla="*/ 3490997 h 4368247"/>
              <a:gd name="connsiteX786" fmla="*/ 7120374 w 10581483"/>
              <a:gd name="connsiteY786" fmla="*/ 3490994 h 4368247"/>
              <a:gd name="connsiteX787" fmla="*/ 7120370 w 10581483"/>
              <a:gd name="connsiteY787" fmla="*/ 3490994 h 4368247"/>
              <a:gd name="connsiteX788" fmla="*/ 7142650 w 10581483"/>
              <a:gd name="connsiteY788" fmla="*/ 3465767 h 4368247"/>
              <a:gd name="connsiteX789" fmla="*/ 7156017 w 10581483"/>
              <a:gd name="connsiteY789" fmla="*/ 3431639 h 4368247"/>
              <a:gd name="connsiteX790" fmla="*/ 7132255 w 10581483"/>
              <a:gd name="connsiteY790" fmla="*/ 3419768 h 4368247"/>
              <a:gd name="connsiteX791" fmla="*/ 7120370 w 10581483"/>
              <a:gd name="connsiteY791" fmla="*/ 3419768 h 4368247"/>
              <a:gd name="connsiteX792" fmla="*/ 7071356 w 10581483"/>
              <a:gd name="connsiteY792" fmla="*/ 3476158 h 4368247"/>
              <a:gd name="connsiteX793" fmla="*/ 7045175 w 10581483"/>
              <a:gd name="connsiteY793" fmla="*/ 3503238 h 4368247"/>
              <a:gd name="connsiteX794" fmla="*/ 7049076 w 10581483"/>
              <a:gd name="connsiteY794" fmla="*/ 3550354 h 4368247"/>
              <a:gd name="connsiteX795" fmla="*/ 7049076 w 10581483"/>
              <a:gd name="connsiteY795" fmla="*/ 3550356 h 4368247"/>
              <a:gd name="connsiteX796" fmla="*/ 7025310 w 10581483"/>
              <a:gd name="connsiteY796" fmla="*/ 3550356 h 4368247"/>
              <a:gd name="connsiteX797" fmla="*/ 6954015 w 10581483"/>
              <a:gd name="connsiteY797" fmla="*/ 3467254 h 4368247"/>
              <a:gd name="connsiteX798" fmla="*/ 6894603 w 10581483"/>
              <a:gd name="connsiteY798" fmla="*/ 3467254 h 4368247"/>
              <a:gd name="connsiteX799" fmla="*/ 6899061 w 10581483"/>
              <a:gd name="connsiteY799" fmla="*/ 3489508 h 4368247"/>
              <a:gd name="connsiteX800" fmla="*/ 6930250 w 10581483"/>
              <a:gd name="connsiteY800" fmla="*/ 3502864 h 4368247"/>
              <a:gd name="connsiteX801" fmla="*/ 6930250 w 10581483"/>
              <a:gd name="connsiteY801" fmla="*/ 3502868 h 4368247"/>
              <a:gd name="connsiteX802" fmla="*/ 6930250 w 10581483"/>
              <a:gd name="connsiteY802" fmla="*/ 3526608 h 4368247"/>
              <a:gd name="connsiteX803" fmla="*/ 6930250 w 10581483"/>
              <a:gd name="connsiteY803" fmla="*/ 3526612 h 4368247"/>
              <a:gd name="connsiteX804" fmla="*/ 6894603 w 10581483"/>
              <a:gd name="connsiteY804" fmla="*/ 3514742 h 4368247"/>
              <a:gd name="connsiteX805" fmla="*/ 6858955 w 10581483"/>
              <a:gd name="connsiteY805" fmla="*/ 3455382 h 4368247"/>
              <a:gd name="connsiteX806" fmla="*/ 6811427 w 10581483"/>
              <a:gd name="connsiteY806" fmla="*/ 3502868 h 4368247"/>
              <a:gd name="connsiteX807" fmla="*/ 6680720 w 10581483"/>
              <a:gd name="connsiteY807" fmla="*/ 3526612 h 4368247"/>
              <a:gd name="connsiteX808" fmla="*/ 6645073 w 10581483"/>
              <a:gd name="connsiteY808" fmla="*/ 3526612 h 4368247"/>
              <a:gd name="connsiteX809" fmla="*/ 6573775 w 10581483"/>
              <a:gd name="connsiteY809" fmla="*/ 3538482 h 4368247"/>
              <a:gd name="connsiteX810" fmla="*/ 6550012 w 10581483"/>
              <a:gd name="connsiteY810" fmla="*/ 3538482 h 4368247"/>
              <a:gd name="connsiteX811" fmla="*/ 6478718 w 10581483"/>
              <a:gd name="connsiteY811" fmla="*/ 3538482 h 4368247"/>
              <a:gd name="connsiteX812" fmla="*/ 6407420 w 10581483"/>
              <a:gd name="connsiteY812" fmla="*/ 3479127 h 4368247"/>
              <a:gd name="connsiteX813" fmla="*/ 6371773 w 10581483"/>
              <a:gd name="connsiteY813" fmla="*/ 3455382 h 4368247"/>
              <a:gd name="connsiteX814" fmla="*/ 6359892 w 10581483"/>
              <a:gd name="connsiteY814" fmla="*/ 3419768 h 4368247"/>
              <a:gd name="connsiteX815" fmla="*/ 6312365 w 10581483"/>
              <a:gd name="connsiteY815" fmla="*/ 3455382 h 4368247"/>
              <a:gd name="connsiteX816" fmla="*/ 6241066 w 10581483"/>
              <a:gd name="connsiteY816" fmla="*/ 3467254 h 4368247"/>
              <a:gd name="connsiteX817" fmla="*/ 6181657 w 10581483"/>
              <a:gd name="connsiteY817" fmla="*/ 3479127 h 4368247"/>
              <a:gd name="connsiteX818" fmla="*/ 6110358 w 10581483"/>
              <a:gd name="connsiteY818" fmla="*/ 3526612 h 4368247"/>
              <a:gd name="connsiteX819" fmla="*/ 6062831 w 10581483"/>
              <a:gd name="connsiteY819" fmla="*/ 3502868 h 4368247"/>
              <a:gd name="connsiteX820" fmla="*/ 6039064 w 10581483"/>
              <a:gd name="connsiteY820" fmla="*/ 3479127 h 4368247"/>
              <a:gd name="connsiteX821" fmla="*/ 5991537 w 10581483"/>
              <a:gd name="connsiteY821" fmla="*/ 3490997 h 4368247"/>
              <a:gd name="connsiteX822" fmla="*/ 5920241 w 10581483"/>
              <a:gd name="connsiteY822" fmla="*/ 3526612 h 4368247"/>
              <a:gd name="connsiteX823" fmla="*/ 5872710 w 10581483"/>
              <a:gd name="connsiteY823" fmla="*/ 3531062 h 4368247"/>
              <a:gd name="connsiteX824" fmla="*/ 5825193 w 10581483"/>
              <a:gd name="connsiteY824" fmla="*/ 3526612 h 4368247"/>
              <a:gd name="connsiteX825" fmla="*/ 5894990 w 10581483"/>
              <a:gd name="connsiteY825" fmla="*/ 3551836 h 4368247"/>
              <a:gd name="connsiteX826" fmla="*/ 5955890 w 10581483"/>
              <a:gd name="connsiteY826" fmla="*/ 3550354 h 4368247"/>
              <a:gd name="connsiteX827" fmla="*/ 6050949 w 10581483"/>
              <a:gd name="connsiteY827" fmla="*/ 3550354 h 4368247"/>
              <a:gd name="connsiteX828" fmla="*/ 6074713 w 10581483"/>
              <a:gd name="connsiteY828" fmla="*/ 3574093 h 4368247"/>
              <a:gd name="connsiteX829" fmla="*/ 6074713 w 10581483"/>
              <a:gd name="connsiteY829" fmla="*/ 3574097 h 4368247"/>
              <a:gd name="connsiteX830" fmla="*/ 6050949 w 10581483"/>
              <a:gd name="connsiteY830" fmla="*/ 3574097 h 4368247"/>
              <a:gd name="connsiteX831" fmla="*/ 5955890 w 10581483"/>
              <a:gd name="connsiteY831" fmla="*/ 3585971 h 4368247"/>
              <a:gd name="connsiteX832" fmla="*/ 5860829 w 10581483"/>
              <a:gd name="connsiteY832" fmla="*/ 3562227 h 4368247"/>
              <a:gd name="connsiteX833" fmla="*/ 5742004 w 10581483"/>
              <a:gd name="connsiteY833" fmla="*/ 3585971 h 4368247"/>
              <a:gd name="connsiteX834" fmla="*/ 5706357 w 10581483"/>
              <a:gd name="connsiteY834" fmla="*/ 3574097 h 4368247"/>
              <a:gd name="connsiteX835" fmla="*/ 5706357 w 10581483"/>
              <a:gd name="connsiteY835" fmla="*/ 3574093 h 4368247"/>
              <a:gd name="connsiteX836" fmla="*/ 5742004 w 10581483"/>
              <a:gd name="connsiteY836" fmla="*/ 3538479 h 4368247"/>
              <a:gd name="connsiteX837" fmla="*/ 5759829 w 10581483"/>
              <a:gd name="connsiteY837" fmla="*/ 3542930 h 4368247"/>
              <a:gd name="connsiteX838" fmla="*/ 5777646 w 10581483"/>
              <a:gd name="connsiteY838" fmla="*/ 3538479 h 4368247"/>
              <a:gd name="connsiteX839" fmla="*/ 5730122 w 10581483"/>
              <a:gd name="connsiteY839" fmla="*/ 3516224 h 4368247"/>
              <a:gd name="connsiteX840" fmla="*/ 5718237 w 10581483"/>
              <a:gd name="connsiteY840" fmla="*/ 3467254 h 4368247"/>
              <a:gd name="connsiteX841" fmla="*/ 5673682 w 10581483"/>
              <a:gd name="connsiteY841" fmla="*/ 3495448 h 4368247"/>
              <a:gd name="connsiteX842" fmla="*/ 5682590 w 10581483"/>
              <a:gd name="connsiteY842" fmla="*/ 3550354 h 4368247"/>
              <a:gd name="connsiteX843" fmla="*/ 5682590 w 10581483"/>
              <a:gd name="connsiteY843" fmla="*/ 3550356 h 4368247"/>
              <a:gd name="connsiteX844" fmla="*/ 5658828 w 10581483"/>
              <a:gd name="connsiteY844" fmla="*/ 3574097 h 4368247"/>
              <a:gd name="connsiteX845" fmla="*/ 5587530 w 10581483"/>
              <a:gd name="connsiteY845" fmla="*/ 3574097 h 4368247"/>
              <a:gd name="connsiteX846" fmla="*/ 5586048 w 10581483"/>
              <a:gd name="connsiteY846" fmla="*/ 3551839 h 4368247"/>
              <a:gd name="connsiteX847" fmla="*/ 5586048 w 10581483"/>
              <a:gd name="connsiteY847" fmla="*/ 3551836 h 4368247"/>
              <a:gd name="connsiteX848" fmla="*/ 5611296 w 10581483"/>
              <a:gd name="connsiteY848" fmla="*/ 3538479 h 4368247"/>
              <a:gd name="connsiteX849" fmla="*/ 5611296 w 10581483"/>
              <a:gd name="connsiteY849" fmla="*/ 3514742 h 4368247"/>
              <a:gd name="connsiteX850" fmla="*/ 5599414 w 10581483"/>
              <a:gd name="connsiteY850" fmla="*/ 3467254 h 4368247"/>
              <a:gd name="connsiteX851" fmla="*/ 5563767 w 10581483"/>
              <a:gd name="connsiteY851" fmla="*/ 3490997 h 4368247"/>
              <a:gd name="connsiteX852" fmla="*/ 5468707 w 10581483"/>
              <a:gd name="connsiteY852" fmla="*/ 3514742 h 4368247"/>
              <a:gd name="connsiteX853" fmla="*/ 5421175 w 10581483"/>
              <a:gd name="connsiteY853" fmla="*/ 3538482 h 4368247"/>
              <a:gd name="connsiteX854" fmla="*/ 5349881 w 10581483"/>
              <a:gd name="connsiteY854" fmla="*/ 3574097 h 4368247"/>
              <a:gd name="connsiteX855" fmla="*/ 5005291 w 10581483"/>
              <a:gd name="connsiteY855" fmla="*/ 3574097 h 4368247"/>
              <a:gd name="connsiteX856" fmla="*/ 4981525 w 10581483"/>
              <a:gd name="connsiteY856" fmla="*/ 3562227 h 4368247"/>
              <a:gd name="connsiteX857" fmla="*/ 4981529 w 10581483"/>
              <a:gd name="connsiteY857" fmla="*/ 3562223 h 4368247"/>
              <a:gd name="connsiteX858" fmla="*/ 4981525 w 10581483"/>
              <a:gd name="connsiteY858" fmla="*/ 3562223 h 4368247"/>
              <a:gd name="connsiteX859" fmla="*/ 5017172 w 10581483"/>
              <a:gd name="connsiteY859" fmla="*/ 3526608 h 4368247"/>
              <a:gd name="connsiteX860" fmla="*/ 5159762 w 10581483"/>
              <a:gd name="connsiteY860" fmla="*/ 3526608 h 4368247"/>
              <a:gd name="connsiteX861" fmla="*/ 5326116 w 10581483"/>
              <a:gd name="connsiteY861" fmla="*/ 3550354 h 4368247"/>
              <a:gd name="connsiteX862" fmla="*/ 5355821 w 10581483"/>
              <a:gd name="connsiteY862" fmla="*/ 3539965 h 4368247"/>
              <a:gd name="connsiteX863" fmla="*/ 5385530 w 10581483"/>
              <a:gd name="connsiteY863" fmla="*/ 3538479 h 4368247"/>
              <a:gd name="connsiteX864" fmla="*/ 5361766 w 10581483"/>
              <a:gd name="connsiteY864" fmla="*/ 3479127 h 4368247"/>
              <a:gd name="connsiteX865" fmla="*/ 5364734 w 10581483"/>
              <a:gd name="connsiteY865" fmla="*/ 3504350 h 4368247"/>
              <a:gd name="connsiteX866" fmla="*/ 5364734 w 10581483"/>
              <a:gd name="connsiteY866" fmla="*/ 3504354 h 4368247"/>
              <a:gd name="connsiteX867" fmla="*/ 5349881 w 10581483"/>
              <a:gd name="connsiteY867" fmla="*/ 3502868 h 4368247"/>
              <a:gd name="connsiteX868" fmla="*/ 5207294 w 10581483"/>
              <a:gd name="connsiteY868" fmla="*/ 3490997 h 4368247"/>
              <a:gd name="connsiteX869" fmla="*/ 5183527 w 10581483"/>
              <a:gd name="connsiteY869" fmla="*/ 3479127 h 4368247"/>
              <a:gd name="connsiteX870" fmla="*/ 5168673 w 10581483"/>
              <a:gd name="connsiteY870" fmla="*/ 3471708 h 4368247"/>
              <a:gd name="connsiteX871" fmla="*/ 5171646 w 10581483"/>
              <a:gd name="connsiteY871" fmla="*/ 3490994 h 4368247"/>
              <a:gd name="connsiteX872" fmla="*/ 5171646 w 10581483"/>
              <a:gd name="connsiteY872" fmla="*/ 3490997 h 4368247"/>
              <a:gd name="connsiteX873" fmla="*/ 5171646 w 10581483"/>
              <a:gd name="connsiteY873" fmla="*/ 3514738 h 4368247"/>
              <a:gd name="connsiteX874" fmla="*/ 5171646 w 10581483"/>
              <a:gd name="connsiteY874" fmla="*/ 3514742 h 4368247"/>
              <a:gd name="connsiteX875" fmla="*/ 5029054 w 10581483"/>
              <a:gd name="connsiteY875" fmla="*/ 3467254 h 4368247"/>
              <a:gd name="connsiteX876" fmla="*/ 4975585 w 10581483"/>
              <a:gd name="connsiteY876" fmla="*/ 3456865 h 4368247"/>
              <a:gd name="connsiteX877" fmla="*/ 4922121 w 10581483"/>
              <a:gd name="connsiteY877" fmla="*/ 3455382 h 4368247"/>
              <a:gd name="connsiteX878" fmla="*/ 4968159 w 10581483"/>
              <a:gd name="connsiteY878" fmla="*/ 3476155 h 4368247"/>
              <a:gd name="connsiteX879" fmla="*/ 4977255 w 10581483"/>
              <a:gd name="connsiteY879" fmla="*/ 3488766 h 4368247"/>
              <a:gd name="connsiteX880" fmla="*/ 4977255 w 10581483"/>
              <a:gd name="connsiteY880" fmla="*/ 3488770 h 4368247"/>
              <a:gd name="connsiteX881" fmla="*/ 4933994 w 10581483"/>
              <a:gd name="connsiteY881" fmla="*/ 3514742 h 4368247"/>
              <a:gd name="connsiteX882" fmla="*/ 4933994 w 10581483"/>
              <a:gd name="connsiteY882" fmla="*/ 3534031 h 4368247"/>
              <a:gd name="connsiteX883" fmla="*/ 4933994 w 10581483"/>
              <a:gd name="connsiteY883" fmla="*/ 3562223 h 4368247"/>
              <a:gd name="connsiteX884" fmla="*/ 4933994 w 10581483"/>
              <a:gd name="connsiteY884" fmla="*/ 3562227 h 4368247"/>
              <a:gd name="connsiteX885" fmla="*/ 4910231 w 10581483"/>
              <a:gd name="connsiteY885" fmla="*/ 3538482 h 4368247"/>
              <a:gd name="connsiteX886" fmla="*/ 4862699 w 10581483"/>
              <a:gd name="connsiteY886" fmla="*/ 3502868 h 4368247"/>
              <a:gd name="connsiteX887" fmla="*/ 4838933 w 10581483"/>
              <a:gd name="connsiteY887" fmla="*/ 3538482 h 4368247"/>
              <a:gd name="connsiteX888" fmla="*/ 4803286 w 10581483"/>
              <a:gd name="connsiteY888" fmla="*/ 3562227 h 4368247"/>
              <a:gd name="connsiteX889" fmla="*/ 4553756 w 10581483"/>
              <a:gd name="connsiteY889" fmla="*/ 3538482 h 4368247"/>
              <a:gd name="connsiteX890" fmla="*/ 4551429 w 10581483"/>
              <a:gd name="connsiteY890" fmla="*/ 3538094 h 4368247"/>
              <a:gd name="connsiteX891" fmla="*/ 4527053 w 10581483"/>
              <a:gd name="connsiteY891" fmla="*/ 3554332 h 4368247"/>
              <a:gd name="connsiteX892" fmla="*/ 4598344 w 10581483"/>
              <a:gd name="connsiteY892" fmla="*/ 3566203 h 4368247"/>
              <a:gd name="connsiteX893" fmla="*/ 4752818 w 10581483"/>
              <a:gd name="connsiteY893" fmla="*/ 3589942 h 4368247"/>
              <a:gd name="connsiteX894" fmla="*/ 4895405 w 10581483"/>
              <a:gd name="connsiteY894" fmla="*/ 3601817 h 4368247"/>
              <a:gd name="connsiteX895" fmla="*/ 4942937 w 10581483"/>
              <a:gd name="connsiteY895" fmla="*/ 3684917 h 4368247"/>
              <a:gd name="connsiteX896" fmla="*/ 4942937 w 10581483"/>
              <a:gd name="connsiteY896" fmla="*/ 3684921 h 4368247"/>
              <a:gd name="connsiteX897" fmla="*/ 4919172 w 10581483"/>
              <a:gd name="connsiteY897" fmla="*/ 3851123 h 4368247"/>
              <a:gd name="connsiteX898" fmla="*/ 4835996 w 10581483"/>
              <a:gd name="connsiteY898" fmla="*/ 3934224 h 4368247"/>
              <a:gd name="connsiteX899" fmla="*/ 4586461 w 10581483"/>
              <a:gd name="connsiteY899" fmla="*/ 3957968 h 4368247"/>
              <a:gd name="connsiteX900" fmla="*/ 4491403 w 10581483"/>
              <a:gd name="connsiteY900" fmla="*/ 3946095 h 4368247"/>
              <a:gd name="connsiteX901" fmla="*/ 4491407 w 10581483"/>
              <a:gd name="connsiteY901" fmla="*/ 3946091 h 4368247"/>
              <a:gd name="connsiteX902" fmla="*/ 4491403 w 10581483"/>
              <a:gd name="connsiteY902" fmla="*/ 3946091 h 4368247"/>
              <a:gd name="connsiteX903" fmla="*/ 4512195 w 10581483"/>
              <a:gd name="connsiteY903" fmla="*/ 3926801 h 4368247"/>
              <a:gd name="connsiteX904" fmla="*/ 4515167 w 10581483"/>
              <a:gd name="connsiteY904" fmla="*/ 3898609 h 4368247"/>
              <a:gd name="connsiteX905" fmla="*/ 4509228 w 10581483"/>
              <a:gd name="connsiteY905" fmla="*/ 3883771 h 4368247"/>
              <a:gd name="connsiteX906" fmla="*/ 4503284 w 10581483"/>
              <a:gd name="connsiteY906" fmla="*/ 3886738 h 4368247"/>
              <a:gd name="connsiteX907" fmla="*/ 4455754 w 10581483"/>
              <a:gd name="connsiteY907" fmla="*/ 3934224 h 4368247"/>
              <a:gd name="connsiteX908" fmla="*/ 4443873 w 10581483"/>
              <a:gd name="connsiteY908" fmla="*/ 3957968 h 4368247"/>
              <a:gd name="connsiteX909" fmla="*/ 4420108 w 10581483"/>
              <a:gd name="connsiteY909" fmla="*/ 3934224 h 4368247"/>
              <a:gd name="connsiteX910" fmla="*/ 4360694 w 10581483"/>
              <a:gd name="connsiteY910" fmla="*/ 3886738 h 4368247"/>
              <a:gd name="connsiteX911" fmla="*/ 4344356 w 10581483"/>
              <a:gd name="connsiteY911" fmla="*/ 3889707 h 4368247"/>
              <a:gd name="connsiteX912" fmla="*/ 4336932 w 10581483"/>
              <a:gd name="connsiteY912" fmla="*/ 3910480 h 4368247"/>
              <a:gd name="connsiteX913" fmla="*/ 4360694 w 10581483"/>
              <a:gd name="connsiteY913" fmla="*/ 3934220 h 4368247"/>
              <a:gd name="connsiteX914" fmla="*/ 4408223 w 10581483"/>
              <a:gd name="connsiteY914" fmla="*/ 3946091 h 4368247"/>
              <a:gd name="connsiteX915" fmla="*/ 4408216 w 10581483"/>
              <a:gd name="connsiteY915" fmla="*/ 3946091 h 4368247"/>
              <a:gd name="connsiteX916" fmla="*/ 4408223 w 10581483"/>
              <a:gd name="connsiteY916" fmla="*/ 3946095 h 4368247"/>
              <a:gd name="connsiteX917" fmla="*/ 4241869 w 10581483"/>
              <a:gd name="connsiteY917" fmla="*/ 3946095 h 4368247"/>
              <a:gd name="connsiteX918" fmla="*/ 4241876 w 10581483"/>
              <a:gd name="connsiteY918" fmla="*/ 3946091 h 4368247"/>
              <a:gd name="connsiteX919" fmla="*/ 4241869 w 10581483"/>
              <a:gd name="connsiteY919" fmla="*/ 3946091 h 4368247"/>
              <a:gd name="connsiteX920" fmla="*/ 4313167 w 10581483"/>
              <a:gd name="connsiteY920" fmla="*/ 3904542 h 4368247"/>
              <a:gd name="connsiteX921" fmla="*/ 4313167 w 10581483"/>
              <a:gd name="connsiteY921" fmla="*/ 3827380 h 4368247"/>
              <a:gd name="connsiteX922" fmla="*/ 4298313 w 10581483"/>
              <a:gd name="connsiteY922" fmla="*/ 3877834 h 4368247"/>
              <a:gd name="connsiteX923" fmla="*/ 4265635 w 10581483"/>
              <a:gd name="connsiteY923" fmla="*/ 3910480 h 4368247"/>
              <a:gd name="connsiteX924" fmla="*/ 4265635 w 10581483"/>
              <a:gd name="connsiteY924" fmla="*/ 3910476 h 4368247"/>
              <a:gd name="connsiteX925" fmla="*/ 4265635 w 10581483"/>
              <a:gd name="connsiteY925" fmla="*/ 3827380 h 4368247"/>
              <a:gd name="connsiteX926" fmla="*/ 4170575 w 10581483"/>
              <a:gd name="connsiteY926" fmla="*/ 3803635 h 4368247"/>
              <a:gd name="connsiteX927" fmla="*/ 4170575 w 10581483"/>
              <a:gd name="connsiteY927" fmla="*/ 3851120 h 4368247"/>
              <a:gd name="connsiteX928" fmla="*/ 4170575 w 10581483"/>
              <a:gd name="connsiteY928" fmla="*/ 3883767 h 4368247"/>
              <a:gd name="connsiteX929" fmla="*/ 4170575 w 10581483"/>
              <a:gd name="connsiteY929" fmla="*/ 3883771 h 4368247"/>
              <a:gd name="connsiteX930" fmla="*/ 4134926 w 10581483"/>
              <a:gd name="connsiteY930" fmla="*/ 3898609 h 4368247"/>
              <a:gd name="connsiteX931" fmla="*/ 4111161 w 10581483"/>
              <a:gd name="connsiteY931" fmla="*/ 3922353 h 4368247"/>
              <a:gd name="connsiteX932" fmla="*/ 4051752 w 10581483"/>
              <a:gd name="connsiteY932" fmla="*/ 3946095 h 4368247"/>
              <a:gd name="connsiteX933" fmla="*/ 4023532 w 10581483"/>
              <a:gd name="connsiteY933" fmla="*/ 3910480 h 4368247"/>
              <a:gd name="connsiteX934" fmla="*/ 4023532 w 10581483"/>
              <a:gd name="connsiteY934" fmla="*/ 3910476 h 4368247"/>
              <a:gd name="connsiteX935" fmla="*/ 4039868 w 10581483"/>
              <a:gd name="connsiteY935" fmla="*/ 3874861 h 4368247"/>
              <a:gd name="connsiteX936" fmla="*/ 4053234 w 10581483"/>
              <a:gd name="connsiteY936" fmla="*/ 3862991 h 4368247"/>
              <a:gd name="connsiteX937" fmla="*/ 4039868 w 10581483"/>
              <a:gd name="connsiteY937" fmla="*/ 3851123 h 4368247"/>
              <a:gd name="connsiteX938" fmla="*/ 3980455 w 10581483"/>
              <a:gd name="connsiteY938" fmla="*/ 3791765 h 4368247"/>
              <a:gd name="connsiteX939" fmla="*/ 3980455 w 10581483"/>
              <a:gd name="connsiteY939" fmla="*/ 3886734 h 4368247"/>
              <a:gd name="connsiteX940" fmla="*/ 3987882 w 10581483"/>
              <a:gd name="connsiteY940" fmla="*/ 3908994 h 4368247"/>
              <a:gd name="connsiteX941" fmla="*/ 3987882 w 10581483"/>
              <a:gd name="connsiteY941" fmla="*/ 3908997 h 4368247"/>
              <a:gd name="connsiteX942" fmla="*/ 3971261 w 10581483"/>
              <a:gd name="connsiteY942" fmla="*/ 3920493 h 4368247"/>
              <a:gd name="connsiteX943" fmla="*/ 3972336 w 10581483"/>
              <a:gd name="connsiteY943" fmla="*/ 3926661 h 4368247"/>
              <a:gd name="connsiteX944" fmla="*/ 3967154 w 10581483"/>
              <a:gd name="connsiteY944" fmla="*/ 3926829 h 4368247"/>
              <a:gd name="connsiteX945" fmla="*/ 3959660 w 10581483"/>
              <a:gd name="connsiteY945" fmla="*/ 3950549 h 4368247"/>
              <a:gd name="connsiteX946" fmla="*/ 3932923 w 10581483"/>
              <a:gd name="connsiteY946" fmla="*/ 3969839 h 4368247"/>
              <a:gd name="connsiteX947" fmla="*/ 3817067 w 10581483"/>
              <a:gd name="connsiteY947" fmla="*/ 3953513 h 4368247"/>
              <a:gd name="connsiteX948" fmla="*/ 3719045 w 10581483"/>
              <a:gd name="connsiteY948" fmla="*/ 3910483 h 4368247"/>
              <a:gd name="connsiteX949" fmla="*/ 3735379 w 10581483"/>
              <a:gd name="connsiteY949" fmla="*/ 3934220 h 4368247"/>
              <a:gd name="connsiteX950" fmla="*/ 3778452 w 10581483"/>
              <a:gd name="connsiteY950" fmla="*/ 3957964 h 4368247"/>
              <a:gd name="connsiteX951" fmla="*/ 3778445 w 10581483"/>
              <a:gd name="connsiteY951" fmla="*/ 3957964 h 4368247"/>
              <a:gd name="connsiteX952" fmla="*/ 3778452 w 10581483"/>
              <a:gd name="connsiteY952" fmla="*/ 3957968 h 4368247"/>
              <a:gd name="connsiteX953" fmla="*/ 3576452 w 10581483"/>
              <a:gd name="connsiteY953" fmla="*/ 3957968 h 4368247"/>
              <a:gd name="connsiteX954" fmla="*/ 3576459 w 10581483"/>
              <a:gd name="connsiteY954" fmla="*/ 3957964 h 4368247"/>
              <a:gd name="connsiteX955" fmla="*/ 3576452 w 10581483"/>
              <a:gd name="connsiteY955" fmla="*/ 3957964 h 4368247"/>
              <a:gd name="connsiteX956" fmla="*/ 3621009 w 10581483"/>
              <a:gd name="connsiteY956" fmla="*/ 3941640 h 4368247"/>
              <a:gd name="connsiteX957" fmla="*/ 3647743 w 10581483"/>
              <a:gd name="connsiteY957" fmla="*/ 3934220 h 4368247"/>
              <a:gd name="connsiteX958" fmla="*/ 3636607 w 10581483"/>
              <a:gd name="connsiteY958" fmla="*/ 3927175 h 4368247"/>
              <a:gd name="connsiteX959" fmla="*/ 3576452 w 10581483"/>
              <a:gd name="connsiteY959" fmla="*/ 3910480 h 4368247"/>
              <a:gd name="connsiteX960" fmla="*/ 3576452 w 10581483"/>
              <a:gd name="connsiteY960" fmla="*/ 3910476 h 4368247"/>
              <a:gd name="connsiteX961" fmla="*/ 3576452 w 10581483"/>
              <a:gd name="connsiteY961" fmla="*/ 3874865 h 4368247"/>
              <a:gd name="connsiteX962" fmla="*/ 3564568 w 10581483"/>
              <a:gd name="connsiteY962" fmla="*/ 3827380 h 4368247"/>
              <a:gd name="connsiteX963" fmla="*/ 3528921 w 10581483"/>
              <a:gd name="connsiteY963" fmla="*/ 3839250 h 4368247"/>
              <a:gd name="connsiteX964" fmla="*/ 3410094 w 10581483"/>
              <a:gd name="connsiteY964" fmla="*/ 3957968 h 4368247"/>
              <a:gd name="connsiteX965" fmla="*/ 3374448 w 10581483"/>
              <a:gd name="connsiteY965" fmla="*/ 3969839 h 4368247"/>
              <a:gd name="connsiteX966" fmla="*/ 3355140 w 10581483"/>
              <a:gd name="connsiteY966" fmla="*/ 3966870 h 4368247"/>
              <a:gd name="connsiteX967" fmla="*/ 3355140 w 10581483"/>
              <a:gd name="connsiteY967" fmla="*/ 3966867 h 4368247"/>
              <a:gd name="connsiteX968" fmla="*/ 3362566 w 10581483"/>
              <a:gd name="connsiteY968" fmla="*/ 3946095 h 4368247"/>
              <a:gd name="connsiteX969" fmla="*/ 3350685 w 10581483"/>
              <a:gd name="connsiteY969" fmla="*/ 3889707 h 4368247"/>
              <a:gd name="connsiteX970" fmla="*/ 3303153 w 10581483"/>
              <a:gd name="connsiteY970" fmla="*/ 3851123 h 4368247"/>
              <a:gd name="connsiteX971" fmla="*/ 3291272 w 10581483"/>
              <a:gd name="connsiteY971" fmla="*/ 3827380 h 4368247"/>
              <a:gd name="connsiteX972" fmla="*/ 3279387 w 10581483"/>
              <a:gd name="connsiteY972" fmla="*/ 3803635 h 4368247"/>
              <a:gd name="connsiteX973" fmla="*/ 3255624 w 10581483"/>
              <a:gd name="connsiteY973" fmla="*/ 3839250 h 4368247"/>
              <a:gd name="connsiteX974" fmla="*/ 3266020 w 10581483"/>
              <a:gd name="connsiteY974" fmla="*/ 3877830 h 4368247"/>
              <a:gd name="connsiteX975" fmla="*/ 3303153 w 10581483"/>
              <a:gd name="connsiteY975" fmla="*/ 3898606 h 4368247"/>
              <a:gd name="connsiteX976" fmla="*/ 3303149 w 10581483"/>
              <a:gd name="connsiteY976" fmla="*/ 3898606 h 4368247"/>
              <a:gd name="connsiteX977" fmla="*/ 3303153 w 10581483"/>
              <a:gd name="connsiteY977" fmla="*/ 3898609 h 4368247"/>
              <a:gd name="connsiteX978" fmla="*/ 3208093 w 10581483"/>
              <a:gd name="connsiteY978" fmla="*/ 3910480 h 4368247"/>
              <a:gd name="connsiteX979" fmla="*/ 3208096 w 10581483"/>
              <a:gd name="connsiteY979" fmla="*/ 3910476 h 4368247"/>
              <a:gd name="connsiteX980" fmla="*/ 3208093 w 10581483"/>
              <a:gd name="connsiteY980" fmla="*/ 3910476 h 4368247"/>
              <a:gd name="connsiteX981" fmla="*/ 3243740 w 10581483"/>
              <a:gd name="connsiteY981" fmla="*/ 3862995 h 4368247"/>
              <a:gd name="connsiteX982" fmla="*/ 3209579 w 10581483"/>
              <a:gd name="connsiteY982" fmla="*/ 3849638 h 4368247"/>
              <a:gd name="connsiteX983" fmla="*/ 3184330 w 10581483"/>
              <a:gd name="connsiteY983" fmla="*/ 3862995 h 4368247"/>
              <a:gd name="connsiteX984" fmla="*/ 3183765 w 10581483"/>
              <a:gd name="connsiteY984" fmla="*/ 3865243 h 4368247"/>
              <a:gd name="connsiteX985" fmla="*/ 3172446 w 10581483"/>
              <a:gd name="connsiteY985" fmla="*/ 3910480 h 4368247"/>
              <a:gd name="connsiteX986" fmla="*/ 3124917 w 10581483"/>
              <a:gd name="connsiteY986" fmla="*/ 3815509 h 4368247"/>
              <a:gd name="connsiteX987" fmla="*/ 3101152 w 10581483"/>
              <a:gd name="connsiteY987" fmla="*/ 3827380 h 4368247"/>
              <a:gd name="connsiteX988" fmla="*/ 3053623 w 10581483"/>
              <a:gd name="connsiteY988" fmla="*/ 3851123 h 4368247"/>
              <a:gd name="connsiteX989" fmla="*/ 3029857 w 10581483"/>
              <a:gd name="connsiteY989" fmla="*/ 3851123 h 4368247"/>
              <a:gd name="connsiteX990" fmla="*/ 2982326 w 10581483"/>
              <a:gd name="connsiteY990" fmla="*/ 3969839 h 4368247"/>
              <a:gd name="connsiteX991" fmla="*/ 2899150 w 10581483"/>
              <a:gd name="connsiteY991" fmla="*/ 3993582 h 4368247"/>
              <a:gd name="connsiteX992" fmla="*/ 2887269 w 10581483"/>
              <a:gd name="connsiteY992" fmla="*/ 3957968 h 4368247"/>
              <a:gd name="connsiteX993" fmla="*/ 2887269 w 10581483"/>
              <a:gd name="connsiteY993" fmla="*/ 3957964 h 4368247"/>
              <a:gd name="connsiteX994" fmla="*/ 2911032 w 10581483"/>
              <a:gd name="connsiteY994" fmla="*/ 3946091 h 4368247"/>
              <a:gd name="connsiteX995" fmla="*/ 2946678 w 10581483"/>
              <a:gd name="connsiteY995" fmla="*/ 3934220 h 4368247"/>
              <a:gd name="connsiteX996" fmla="*/ 2970441 w 10581483"/>
              <a:gd name="connsiteY996" fmla="*/ 3910480 h 4368247"/>
              <a:gd name="connsiteX997" fmla="*/ 2957077 w 10581483"/>
              <a:gd name="connsiteY997" fmla="*/ 3891190 h 4368247"/>
              <a:gd name="connsiteX998" fmla="*/ 2934797 w 10581483"/>
              <a:gd name="connsiteY998" fmla="*/ 3898609 h 4368247"/>
              <a:gd name="connsiteX999" fmla="*/ 2899150 w 10581483"/>
              <a:gd name="connsiteY999" fmla="*/ 3910480 h 4368247"/>
              <a:gd name="connsiteX1000" fmla="*/ 2851618 w 10581483"/>
              <a:gd name="connsiteY1000" fmla="*/ 3886738 h 4368247"/>
              <a:gd name="connsiteX1001" fmla="*/ 2804089 w 10581483"/>
              <a:gd name="connsiteY1001" fmla="*/ 3874865 h 4368247"/>
              <a:gd name="connsiteX1002" fmla="*/ 2744677 w 10581483"/>
              <a:gd name="connsiteY1002" fmla="*/ 3934224 h 4368247"/>
              <a:gd name="connsiteX1003" fmla="*/ 2709030 w 10581483"/>
              <a:gd name="connsiteY1003" fmla="*/ 3934224 h 4368247"/>
              <a:gd name="connsiteX1004" fmla="*/ 2697148 w 10581483"/>
              <a:gd name="connsiteY1004" fmla="*/ 3993582 h 4368247"/>
              <a:gd name="connsiteX1005" fmla="*/ 2697148 w 10581483"/>
              <a:gd name="connsiteY1005" fmla="*/ 3993579 h 4368247"/>
              <a:gd name="connsiteX1006" fmla="*/ 2697148 w 10581483"/>
              <a:gd name="connsiteY1006" fmla="*/ 3886738 h 4368247"/>
              <a:gd name="connsiteX1007" fmla="*/ 2685264 w 10581483"/>
              <a:gd name="connsiteY1007" fmla="*/ 3862995 h 4368247"/>
              <a:gd name="connsiteX1008" fmla="*/ 2673382 w 10581483"/>
              <a:gd name="connsiteY1008" fmla="*/ 3874865 h 4368247"/>
              <a:gd name="connsiteX1009" fmla="*/ 2613968 w 10581483"/>
              <a:gd name="connsiteY1009" fmla="*/ 3946095 h 4368247"/>
              <a:gd name="connsiteX1010" fmla="*/ 2613968 w 10581483"/>
              <a:gd name="connsiteY1010" fmla="*/ 3957964 h 4368247"/>
              <a:gd name="connsiteX1011" fmla="*/ 2631795 w 10581483"/>
              <a:gd name="connsiteY1011" fmla="*/ 3995433 h 4368247"/>
              <a:gd name="connsiteX1012" fmla="*/ 2631791 w 10581483"/>
              <a:gd name="connsiteY1012" fmla="*/ 3995436 h 4368247"/>
              <a:gd name="connsiteX1013" fmla="*/ 2631795 w 10581483"/>
              <a:gd name="connsiteY1013" fmla="*/ 3995436 h 4368247"/>
              <a:gd name="connsiteX1014" fmla="*/ 2578323 w 10581483"/>
              <a:gd name="connsiteY1014" fmla="*/ 4005454 h 4368247"/>
              <a:gd name="connsiteX1015" fmla="*/ 2518909 w 10581483"/>
              <a:gd name="connsiteY1015" fmla="*/ 4005454 h 4368247"/>
              <a:gd name="connsiteX1016" fmla="*/ 2518914 w 10581483"/>
              <a:gd name="connsiteY1016" fmla="*/ 4005450 h 4368247"/>
              <a:gd name="connsiteX1017" fmla="*/ 2518909 w 10581483"/>
              <a:gd name="connsiteY1017" fmla="*/ 4005450 h 4368247"/>
              <a:gd name="connsiteX1018" fmla="*/ 2535249 w 10581483"/>
              <a:gd name="connsiteY1018" fmla="*/ 3984674 h 4368247"/>
              <a:gd name="connsiteX1019" fmla="*/ 2578318 w 10581483"/>
              <a:gd name="connsiteY1019" fmla="*/ 3981706 h 4368247"/>
              <a:gd name="connsiteX1020" fmla="*/ 2526337 w 10581483"/>
              <a:gd name="connsiteY1020" fmla="*/ 3940160 h 4368247"/>
              <a:gd name="connsiteX1021" fmla="*/ 2483262 w 10581483"/>
              <a:gd name="connsiteY1021" fmla="*/ 3898609 h 4368247"/>
              <a:gd name="connsiteX1022" fmla="*/ 2459496 w 10581483"/>
              <a:gd name="connsiteY1022" fmla="*/ 3891190 h 4368247"/>
              <a:gd name="connsiteX1023" fmla="*/ 2435733 w 10581483"/>
              <a:gd name="connsiteY1023" fmla="*/ 3910480 h 4368247"/>
              <a:gd name="connsiteX1024" fmla="*/ 2459496 w 10581483"/>
              <a:gd name="connsiteY1024" fmla="*/ 3922349 h 4368247"/>
              <a:gd name="connsiteX1025" fmla="*/ 2483262 w 10581483"/>
              <a:gd name="connsiteY1025" fmla="*/ 3957964 h 4368247"/>
              <a:gd name="connsiteX1026" fmla="*/ 2483262 w 10581483"/>
              <a:gd name="connsiteY1026" fmla="*/ 3957968 h 4368247"/>
              <a:gd name="connsiteX1027" fmla="*/ 2447615 w 10581483"/>
              <a:gd name="connsiteY1027" fmla="*/ 3969839 h 4368247"/>
              <a:gd name="connsiteX1028" fmla="*/ 2423849 w 10581483"/>
              <a:gd name="connsiteY1028" fmla="*/ 3957968 h 4368247"/>
              <a:gd name="connsiteX1029" fmla="*/ 2364440 w 10581483"/>
              <a:gd name="connsiteY1029" fmla="*/ 3946095 h 4368247"/>
              <a:gd name="connsiteX1030" fmla="*/ 2336219 w 10581483"/>
              <a:gd name="connsiteY1030" fmla="*/ 3983191 h 4368247"/>
              <a:gd name="connsiteX1031" fmla="*/ 2352555 w 10581483"/>
              <a:gd name="connsiteY1031" fmla="*/ 4029193 h 4368247"/>
              <a:gd name="connsiteX1032" fmla="*/ 2352555 w 10581483"/>
              <a:gd name="connsiteY1032" fmla="*/ 4029197 h 4368247"/>
              <a:gd name="connsiteX1033" fmla="*/ 2316908 w 10581483"/>
              <a:gd name="connsiteY1033" fmla="*/ 4005454 h 4368247"/>
              <a:gd name="connsiteX1034" fmla="*/ 2293142 w 10581483"/>
              <a:gd name="connsiteY1034" fmla="*/ 3981709 h 4368247"/>
              <a:gd name="connsiteX1035" fmla="*/ 2126787 w 10581483"/>
              <a:gd name="connsiteY1035" fmla="*/ 3981709 h 4368247"/>
              <a:gd name="connsiteX1036" fmla="*/ 2103025 w 10581483"/>
              <a:gd name="connsiteY1036" fmla="*/ 3969839 h 4368247"/>
              <a:gd name="connsiteX1037" fmla="*/ 2055493 w 10581483"/>
              <a:gd name="connsiteY1037" fmla="*/ 3981709 h 4368247"/>
              <a:gd name="connsiteX1038" fmla="*/ 1996079 w 10581483"/>
              <a:gd name="connsiteY1038" fmla="*/ 4017324 h 4368247"/>
              <a:gd name="connsiteX1039" fmla="*/ 1912905 w 10581483"/>
              <a:gd name="connsiteY1039" fmla="*/ 4005454 h 4368247"/>
              <a:gd name="connsiteX1040" fmla="*/ 1901023 w 10581483"/>
              <a:gd name="connsiteY1040" fmla="*/ 4017324 h 4368247"/>
              <a:gd name="connsiteX1041" fmla="*/ 1912905 w 10581483"/>
              <a:gd name="connsiteY1041" fmla="*/ 4029193 h 4368247"/>
              <a:gd name="connsiteX1042" fmla="*/ 2067375 w 10581483"/>
              <a:gd name="connsiteY1042" fmla="*/ 4041065 h 4368247"/>
              <a:gd name="connsiteX1043" fmla="*/ 2150553 w 10581483"/>
              <a:gd name="connsiteY1043" fmla="*/ 3993579 h 4368247"/>
              <a:gd name="connsiteX1044" fmla="*/ 2257494 w 10581483"/>
              <a:gd name="connsiteY1044" fmla="*/ 3993579 h 4368247"/>
              <a:gd name="connsiteX1045" fmla="*/ 2257574 w 10581483"/>
              <a:gd name="connsiteY1045" fmla="*/ 3993648 h 4368247"/>
              <a:gd name="connsiteX1046" fmla="*/ 2288688 w 10581483"/>
              <a:gd name="connsiteY1046" fmla="*/ 4020293 h 4368247"/>
              <a:gd name="connsiteX1047" fmla="*/ 2293142 w 10581483"/>
              <a:gd name="connsiteY1047" fmla="*/ 4064809 h 4368247"/>
              <a:gd name="connsiteX1048" fmla="*/ 2293142 w 10581483"/>
              <a:gd name="connsiteY1048" fmla="*/ 4064812 h 4368247"/>
              <a:gd name="connsiteX1049" fmla="*/ 2358496 w 10581483"/>
              <a:gd name="connsiteY1049" fmla="*/ 4052939 h 4368247"/>
              <a:gd name="connsiteX1050" fmla="*/ 2423691 w 10581483"/>
              <a:gd name="connsiteY1050" fmla="*/ 4076625 h 4368247"/>
              <a:gd name="connsiteX1051" fmla="*/ 2423849 w 10581483"/>
              <a:gd name="connsiteY1051" fmla="*/ 4076679 h 4368247"/>
              <a:gd name="connsiteX1052" fmla="*/ 2507028 w 10581483"/>
              <a:gd name="connsiteY1052" fmla="*/ 4088550 h 4368247"/>
              <a:gd name="connsiteX1053" fmla="*/ 2590204 w 10581483"/>
              <a:gd name="connsiteY1053" fmla="*/ 4088550 h 4368247"/>
              <a:gd name="connsiteX1054" fmla="*/ 2697148 w 10581483"/>
              <a:gd name="connsiteY1054" fmla="*/ 4100420 h 4368247"/>
              <a:gd name="connsiteX1055" fmla="*/ 2780325 w 10581483"/>
              <a:gd name="connsiteY1055" fmla="*/ 4112293 h 4368247"/>
              <a:gd name="connsiteX1056" fmla="*/ 2839736 w 10581483"/>
              <a:gd name="connsiteY1056" fmla="*/ 4100420 h 4368247"/>
              <a:gd name="connsiteX1057" fmla="*/ 2934797 w 10581483"/>
              <a:gd name="connsiteY1057" fmla="*/ 4112293 h 4368247"/>
              <a:gd name="connsiteX1058" fmla="*/ 3243740 w 10581483"/>
              <a:gd name="connsiteY1058" fmla="*/ 4124165 h 4368247"/>
              <a:gd name="connsiteX1059" fmla="*/ 3338800 w 10581483"/>
              <a:gd name="connsiteY1059" fmla="*/ 4136035 h 4368247"/>
              <a:gd name="connsiteX1060" fmla="*/ 3517039 w 10581483"/>
              <a:gd name="connsiteY1060" fmla="*/ 4159779 h 4368247"/>
              <a:gd name="connsiteX1061" fmla="*/ 3980455 w 10581483"/>
              <a:gd name="connsiteY1061" fmla="*/ 4195394 h 4368247"/>
              <a:gd name="connsiteX1062" fmla="*/ 4182460 w 10581483"/>
              <a:gd name="connsiteY1062" fmla="*/ 4219138 h 4368247"/>
              <a:gd name="connsiteX1063" fmla="*/ 4229988 w 10581483"/>
              <a:gd name="connsiteY1063" fmla="*/ 4219138 h 4368247"/>
              <a:gd name="connsiteX1064" fmla="*/ 4265635 w 10581483"/>
              <a:gd name="connsiteY1064" fmla="*/ 4231009 h 4368247"/>
              <a:gd name="connsiteX1065" fmla="*/ 4265635 w 10581483"/>
              <a:gd name="connsiteY1065" fmla="*/ 4231013 h 4368247"/>
              <a:gd name="connsiteX1066" fmla="*/ 4229988 w 10581483"/>
              <a:gd name="connsiteY1066" fmla="*/ 4254756 h 4368247"/>
              <a:gd name="connsiteX1067" fmla="*/ 3956688 w 10581483"/>
              <a:gd name="connsiteY1067" fmla="*/ 4219141 h 4368247"/>
              <a:gd name="connsiteX1068" fmla="*/ 3730923 w 10581483"/>
              <a:gd name="connsiteY1068" fmla="*/ 4207268 h 4368247"/>
              <a:gd name="connsiteX1069" fmla="*/ 3730923 w 10581483"/>
              <a:gd name="connsiteY1069" fmla="*/ 4208268 h 4368247"/>
              <a:gd name="connsiteX1070" fmla="*/ 3730923 w 10581483"/>
              <a:gd name="connsiteY1070" fmla="*/ 4238429 h 4368247"/>
              <a:gd name="connsiteX1071" fmla="*/ 3766568 w 10581483"/>
              <a:gd name="connsiteY1071" fmla="*/ 4242879 h 4368247"/>
              <a:gd name="connsiteX1072" fmla="*/ 3897275 w 10581483"/>
              <a:gd name="connsiteY1072" fmla="*/ 4266624 h 4368247"/>
              <a:gd name="connsiteX1073" fmla="*/ 3897271 w 10581483"/>
              <a:gd name="connsiteY1073" fmla="*/ 4266624 h 4368247"/>
              <a:gd name="connsiteX1074" fmla="*/ 3897275 w 10581483"/>
              <a:gd name="connsiteY1074" fmla="*/ 4266627 h 4368247"/>
              <a:gd name="connsiteX1075" fmla="*/ 3814100 w 10581483"/>
              <a:gd name="connsiteY1075" fmla="*/ 4266627 h 4368247"/>
              <a:gd name="connsiteX1076" fmla="*/ 3766568 w 10581483"/>
              <a:gd name="connsiteY1076" fmla="*/ 4302241 h 4368247"/>
              <a:gd name="connsiteX1077" fmla="*/ 3766568 w 10581483"/>
              <a:gd name="connsiteY1077" fmla="*/ 4314109 h 4368247"/>
              <a:gd name="connsiteX1078" fmla="*/ 3766568 w 10581483"/>
              <a:gd name="connsiteY1078" fmla="*/ 4314113 h 4368247"/>
              <a:gd name="connsiteX1079" fmla="*/ 3683394 w 10581483"/>
              <a:gd name="connsiteY1079" fmla="*/ 4302241 h 4368247"/>
              <a:gd name="connsiteX1080" fmla="*/ 3671509 w 10581483"/>
              <a:gd name="connsiteY1080" fmla="*/ 4290371 h 4368247"/>
              <a:gd name="connsiteX1081" fmla="*/ 3564568 w 10581483"/>
              <a:gd name="connsiteY1081" fmla="*/ 4266627 h 4368247"/>
              <a:gd name="connsiteX1082" fmla="*/ 3564571 w 10581483"/>
              <a:gd name="connsiteY1082" fmla="*/ 4266624 h 4368247"/>
              <a:gd name="connsiteX1083" fmla="*/ 3564568 w 10581483"/>
              <a:gd name="connsiteY1083" fmla="*/ 4266624 h 4368247"/>
              <a:gd name="connsiteX1084" fmla="*/ 3586846 w 10581483"/>
              <a:gd name="connsiteY1084" fmla="*/ 4241396 h 4368247"/>
              <a:gd name="connsiteX1085" fmla="*/ 3600214 w 10581483"/>
              <a:gd name="connsiteY1085" fmla="*/ 4207268 h 4368247"/>
              <a:gd name="connsiteX1086" fmla="*/ 3576452 w 10581483"/>
              <a:gd name="connsiteY1086" fmla="*/ 4195398 h 4368247"/>
              <a:gd name="connsiteX1087" fmla="*/ 3564568 w 10581483"/>
              <a:gd name="connsiteY1087" fmla="*/ 4195398 h 4368247"/>
              <a:gd name="connsiteX1088" fmla="*/ 3515553 w 10581483"/>
              <a:gd name="connsiteY1088" fmla="*/ 4251788 h 4368247"/>
              <a:gd name="connsiteX1089" fmla="*/ 3489372 w 10581483"/>
              <a:gd name="connsiteY1089" fmla="*/ 4278868 h 4368247"/>
              <a:gd name="connsiteX1090" fmla="*/ 3493273 w 10581483"/>
              <a:gd name="connsiteY1090" fmla="*/ 4325983 h 4368247"/>
              <a:gd name="connsiteX1091" fmla="*/ 3493273 w 10581483"/>
              <a:gd name="connsiteY1091" fmla="*/ 4325986 h 4368247"/>
              <a:gd name="connsiteX1092" fmla="*/ 3469507 w 10581483"/>
              <a:gd name="connsiteY1092" fmla="*/ 4325986 h 4368247"/>
              <a:gd name="connsiteX1093" fmla="*/ 3398213 w 10581483"/>
              <a:gd name="connsiteY1093" fmla="*/ 4242883 h 4368247"/>
              <a:gd name="connsiteX1094" fmla="*/ 3338800 w 10581483"/>
              <a:gd name="connsiteY1094" fmla="*/ 4242883 h 4368247"/>
              <a:gd name="connsiteX1095" fmla="*/ 3343258 w 10581483"/>
              <a:gd name="connsiteY1095" fmla="*/ 4265137 h 4368247"/>
              <a:gd name="connsiteX1096" fmla="*/ 3374448 w 10581483"/>
              <a:gd name="connsiteY1096" fmla="*/ 4278494 h 4368247"/>
              <a:gd name="connsiteX1097" fmla="*/ 3374448 w 10581483"/>
              <a:gd name="connsiteY1097" fmla="*/ 4278498 h 4368247"/>
              <a:gd name="connsiteX1098" fmla="*/ 3374448 w 10581483"/>
              <a:gd name="connsiteY1098" fmla="*/ 4302238 h 4368247"/>
              <a:gd name="connsiteX1099" fmla="*/ 3374448 w 10581483"/>
              <a:gd name="connsiteY1099" fmla="*/ 4302241 h 4368247"/>
              <a:gd name="connsiteX1100" fmla="*/ 3338800 w 10581483"/>
              <a:gd name="connsiteY1100" fmla="*/ 4290371 h 4368247"/>
              <a:gd name="connsiteX1101" fmla="*/ 3303153 w 10581483"/>
              <a:gd name="connsiteY1101" fmla="*/ 4231013 h 4368247"/>
              <a:gd name="connsiteX1102" fmla="*/ 3255624 w 10581483"/>
              <a:gd name="connsiteY1102" fmla="*/ 4278498 h 4368247"/>
              <a:gd name="connsiteX1103" fmla="*/ 3124917 w 10581483"/>
              <a:gd name="connsiteY1103" fmla="*/ 4302241 h 4368247"/>
              <a:gd name="connsiteX1104" fmla="*/ 3089270 w 10581483"/>
              <a:gd name="connsiteY1104" fmla="*/ 4302241 h 4368247"/>
              <a:gd name="connsiteX1105" fmla="*/ 3017972 w 10581483"/>
              <a:gd name="connsiteY1105" fmla="*/ 4314113 h 4368247"/>
              <a:gd name="connsiteX1106" fmla="*/ 2994210 w 10581483"/>
              <a:gd name="connsiteY1106" fmla="*/ 4314113 h 4368247"/>
              <a:gd name="connsiteX1107" fmla="*/ 2922916 w 10581483"/>
              <a:gd name="connsiteY1107" fmla="*/ 4314113 h 4368247"/>
              <a:gd name="connsiteX1108" fmla="*/ 2851618 w 10581483"/>
              <a:gd name="connsiteY1108" fmla="*/ 4254756 h 4368247"/>
              <a:gd name="connsiteX1109" fmla="*/ 2815971 w 10581483"/>
              <a:gd name="connsiteY1109" fmla="*/ 4231013 h 4368247"/>
              <a:gd name="connsiteX1110" fmla="*/ 2804089 w 10581483"/>
              <a:gd name="connsiteY1110" fmla="*/ 4195398 h 4368247"/>
              <a:gd name="connsiteX1111" fmla="*/ 2756562 w 10581483"/>
              <a:gd name="connsiteY1111" fmla="*/ 4231013 h 4368247"/>
              <a:gd name="connsiteX1112" fmla="*/ 2685264 w 10581483"/>
              <a:gd name="connsiteY1112" fmla="*/ 4242883 h 4368247"/>
              <a:gd name="connsiteX1113" fmla="*/ 2625854 w 10581483"/>
              <a:gd name="connsiteY1113" fmla="*/ 4254756 h 4368247"/>
              <a:gd name="connsiteX1114" fmla="*/ 2554557 w 10581483"/>
              <a:gd name="connsiteY1114" fmla="*/ 4302241 h 4368247"/>
              <a:gd name="connsiteX1115" fmla="*/ 2507028 w 10581483"/>
              <a:gd name="connsiteY1115" fmla="*/ 4278498 h 4368247"/>
              <a:gd name="connsiteX1116" fmla="*/ 2483262 w 10581483"/>
              <a:gd name="connsiteY1116" fmla="*/ 4254756 h 4368247"/>
              <a:gd name="connsiteX1117" fmla="*/ 2435733 w 10581483"/>
              <a:gd name="connsiteY1117" fmla="*/ 4266627 h 4368247"/>
              <a:gd name="connsiteX1118" fmla="*/ 2364440 w 10581483"/>
              <a:gd name="connsiteY1118" fmla="*/ 4302241 h 4368247"/>
              <a:gd name="connsiteX1119" fmla="*/ 2316908 w 10581483"/>
              <a:gd name="connsiteY1119" fmla="*/ 4306693 h 4368247"/>
              <a:gd name="connsiteX1120" fmla="*/ 2269390 w 10581483"/>
              <a:gd name="connsiteY1120" fmla="*/ 4302241 h 4368247"/>
              <a:gd name="connsiteX1121" fmla="*/ 2339188 w 10581483"/>
              <a:gd name="connsiteY1121" fmla="*/ 4327465 h 4368247"/>
              <a:gd name="connsiteX1122" fmla="*/ 2400087 w 10581483"/>
              <a:gd name="connsiteY1122" fmla="*/ 4325983 h 4368247"/>
              <a:gd name="connsiteX1123" fmla="*/ 2495147 w 10581483"/>
              <a:gd name="connsiteY1123" fmla="*/ 4325983 h 4368247"/>
              <a:gd name="connsiteX1124" fmla="*/ 2518909 w 10581483"/>
              <a:gd name="connsiteY1124" fmla="*/ 4349724 h 4368247"/>
              <a:gd name="connsiteX1125" fmla="*/ 2518909 w 10581483"/>
              <a:gd name="connsiteY1125" fmla="*/ 4349727 h 4368247"/>
              <a:gd name="connsiteX1126" fmla="*/ 2495147 w 10581483"/>
              <a:gd name="connsiteY1126" fmla="*/ 4349727 h 4368247"/>
              <a:gd name="connsiteX1127" fmla="*/ 2400087 w 10581483"/>
              <a:gd name="connsiteY1127" fmla="*/ 4361600 h 4368247"/>
              <a:gd name="connsiteX1128" fmla="*/ 2305027 w 10581483"/>
              <a:gd name="connsiteY1128" fmla="*/ 4337856 h 4368247"/>
              <a:gd name="connsiteX1129" fmla="*/ 2186200 w 10581483"/>
              <a:gd name="connsiteY1129" fmla="*/ 4361600 h 4368247"/>
              <a:gd name="connsiteX1130" fmla="*/ 2150553 w 10581483"/>
              <a:gd name="connsiteY1130" fmla="*/ 4349727 h 4368247"/>
              <a:gd name="connsiteX1131" fmla="*/ 2150553 w 10581483"/>
              <a:gd name="connsiteY1131" fmla="*/ 4349724 h 4368247"/>
              <a:gd name="connsiteX1132" fmla="*/ 2186200 w 10581483"/>
              <a:gd name="connsiteY1132" fmla="*/ 4314109 h 4368247"/>
              <a:gd name="connsiteX1133" fmla="*/ 2204026 w 10581483"/>
              <a:gd name="connsiteY1133" fmla="*/ 4318559 h 4368247"/>
              <a:gd name="connsiteX1134" fmla="*/ 2221844 w 10581483"/>
              <a:gd name="connsiteY1134" fmla="*/ 4314109 h 4368247"/>
              <a:gd name="connsiteX1135" fmla="*/ 2174319 w 10581483"/>
              <a:gd name="connsiteY1135" fmla="*/ 4291854 h 4368247"/>
              <a:gd name="connsiteX1136" fmla="*/ 2162435 w 10581483"/>
              <a:gd name="connsiteY1136" fmla="*/ 4242883 h 4368247"/>
              <a:gd name="connsiteX1137" fmla="*/ 2117879 w 10581483"/>
              <a:gd name="connsiteY1137" fmla="*/ 4271078 h 4368247"/>
              <a:gd name="connsiteX1138" fmla="*/ 2126787 w 10581483"/>
              <a:gd name="connsiteY1138" fmla="*/ 4325983 h 4368247"/>
              <a:gd name="connsiteX1139" fmla="*/ 2126787 w 10581483"/>
              <a:gd name="connsiteY1139" fmla="*/ 4325986 h 4368247"/>
              <a:gd name="connsiteX1140" fmla="*/ 2103025 w 10581483"/>
              <a:gd name="connsiteY1140" fmla="*/ 4349727 h 4368247"/>
              <a:gd name="connsiteX1141" fmla="*/ 2031727 w 10581483"/>
              <a:gd name="connsiteY1141" fmla="*/ 4349727 h 4368247"/>
              <a:gd name="connsiteX1142" fmla="*/ 2030244 w 10581483"/>
              <a:gd name="connsiteY1142" fmla="*/ 4327470 h 4368247"/>
              <a:gd name="connsiteX1143" fmla="*/ 2030244 w 10581483"/>
              <a:gd name="connsiteY1143" fmla="*/ 4327465 h 4368247"/>
              <a:gd name="connsiteX1144" fmla="*/ 2055493 w 10581483"/>
              <a:gd name="connsiteY1144" fmla="*/ 4314109 h 4368247"/>
              <a:gd name="connsiteX1145" fmla="*/ 2055493 w 10581483"/>
              <a:gd name="connsiteY1145" fmla="*/ 4290371 h 4368247"/>
              <a:gd name="connsiteX1146" fmla="*/ 2043612 w 10581483"/>
              <a:gd name="connsiteY1146" fmla="*/ 4242883 h 4368247"/>
              <a:gd name="connsiteX1147" fmla="*/ 2007965 w 10581483"/>
              <a:gd name="connsiteY1147" fmla="*/ 4266627 h 4368247"/>
              <a:gd name="connsiteX1148" fmla="*/ 1912905 w 10581483"/>
              <a:gd name="connsiteY1148" fmla="*/ 4290371 h 4368247"/>
              <a:gd name="connsiteX1149" fmla="*/ 1865373 w 10581483"/>
              <a:gd name="connsiteY1149" fmla="*/ 4314113 h 4368247"/>
              <a:gd name="connsiteX1150" fmla="*/ 1794078 w 10581483"/>
              <a:gd name="connsiteY1150" fmla="*/ 4349727 h 4368247"/>
              <a:gd name="connsiteX1151" fmla="*/ 1449488 w 10581483"/>
              <a:gd name="connsiteY1151" fmla="*/ 4349727 h 4368247"/>
              <a:gd name="connsiteX1152" fmla="*/ 1425722 w 10581483"/>
              <a:gd name="connsiteY1152" fmla="*/ 4337856 h 4368247"/>
              <a:gd name="connsiteX1153" fmla="*/ 1425726 w 10581483"/>
              <a:gd name="connsiteY1153" fmla="*/ 4337852 h 4368247"/>
              <a:gd name="connsiteX1154" fmla="*/ 1425722 w 10581483"/>
              <a:gd name="connsiteY1154" fmla="*/ 4337852 h 4368247"/>
              <a:gd name="connsiteX1155" fmla="*/ 1461370 w 10581483"/>
              <a:gd name="connsiteY1155" fmla="*/ 4302238 h 4368247"/>
              <a:gd name="connsiteX1156" fmla="*/ 1603958 w 10581483"/>
              <a:gd name="connsiteY1156" fmla="*/ 4302238 h 4368247"/>
              <a:gd name="connsiteX1157" fmla="*/ 1770312 w 10581483"/>
              <a:gd name="connsiteY1157" fmla="*/ 4325983 h 4368247"/>
              <a:gd name="connsiteX1158" fmla="*/ 1800020 w 10581483"/>
              <a:gd name="connsiteY1158" fmla="*/ 4315595 h 4368247"/>
              <a:gd name="connsiteX1159" fmla="*/ 1829725 w 10581483"/>
              <a:gd name="connsiteY1159" fmla="*/ 4314109 h 4368247"/>
              <a:gd name="connsiteX1160" fmla="*/ 1805962 w 10581483"/>
              <a:gd name="connsiteY1160" fmla="*/ 4254756 h 4368247"/>
              <a:gd name="connsiteX1161" fmla="*/ 1808931 w 10581483"/>
              <a:gd name="connsiteY1161" fmla="*/ 4279980 h 4368247"/>
              <a:gd name="connsiteX1162" fmla="*/ 1808931 w 10581483"/>
              <a:gd name="connsiteY1162" fmla="*/ 4279983 h 4368247"/>
              <a:gd name="connsiteX1163" fmla="*/ 1794078 w 10581483"/>
              <a:gd name="connsiteY1163" fmla="*/ 4278498 h 4368247"/>
              <a:gd name="connsiteX1164" fmla="*/ 1651490 w 10581483"/>
              <a:gd name="connsiteY1164" fmla="*/ 4266627 h 4368247"/>
              <a:gd name="connsiteX1165" fmla="*/ 1627724 w 10581483"/>
              <a:gd name="connsiteY1165" fmla="*/ 4254756 h 4368247"/>
              <a:gd name="connsiteX1166" fmla="*/ 1612871 w 10581483"/>
              <a:gd name="connsiteY1166" fmla="*/ 4247337 h 4368247"/>
              <a:gd name="connsiteX1167" fmla="*/ 1615843 w 10581483"/>
              <a:gd name="connsiteY1167" fmla="*/ 4266624 h 4368247"/>
              <a:gd name="connsiteX1168" fmla="*/ 1615843 w 10581483"/>
              <a:gd name="connsiteY1168" fmla="*/ 4266627 h 4368247"/>
              <a:gd name="connsiteX1169" fmla="*/ 1615843 w 10581483"/>
              <a:gd name="connsiteY1169" fmla="*/ 4290367 h 4368247"/>
              <a:gd name="connsiteX1170" fmla="*/ 1615843 w 10581483"/>
              <a:gd name="connsiteY1170" fmla="*/ 4290371 h 4368247"/>
              <a:gd name="connsiteX1171" fmla="*/ 1473250 w 10581483"/>
              <a:gd name="connsiteY1171" fmla="*/ 4242883 h 4368247"/>
              <a:gd name="connsiteX1172" fmla="*/ 1419782 w 10581483"/>
              <a:gd name="connsiteY1172" fmla="*/ 4232495 h 4368247"/>
              <a:gd name="connsiteX1173" fmla="*/ 1366317 w 10581483"/>
              <a:gd name="connsiteY1173" fmla="*/ 4231013 h 4368247"/>
              <a:gd name="connsiteX1174" fmla="*/ 1412355 w 10581483"/>
              <a:gd name="connsiteY1174" fmla="*/ 4251784 h 4368247"/>
              <a:gd name="connsiteX1175" fmla="*/ 1421451 w 10581483"/>
              <a:gd name="connsiteY1175" fmla="*/ 4264396 h 4368247"/>
              <a:gd name="connsiteX1176" fmla="*/ 1421451 w 10581483"/>
              <a:gd name="connsiteY1176" fmla="*/ 4264399 h 4368247"/>
              <a:gd name="connsiteX1177" fmla="*/ 1378191 w 10581483"/>
              <a:gd name="connsiteY1177" fmla="*/ 4290371 h 4368247"/>
              <a:gd name="connsiteX1178" fmla="*/ 1378191 w 10581483"/>
              <a:gd name="connsiteY1178" fmla="*/ 4309661 h 4368247"/>
              <a:gd name="connsiteX1179" fmla="*/ 1378191 w 10581483"/>
              <a:gd name="connsiteY1179" fmla="*/ 4337852 h 4368247"/>
              <a:gd name="connsiteX1180" fmla="*/ 1378191 w 10581483"/>
              <a:gd name="connsiteY1180" fmla="*/ 4337856 h 4368247"/>
              <a:gd name="connsiteX1181" fmla="*/ 1354429 w 10581483"/>
              <a:gd name="connsiteY1181" fmla="*/ 4314113 h 4368247"/>
              <a:gd name="connsiteX1182" fmla="*/ 1306896 w 10581483"/>
              <a:gd name="connsiteY1182" fmla="*/ 4278498 h 4368247"/>
              <a:gd name="connsiteX1183" fmla="*/ 1283130 w 10581483"/>
              <a:gd name="connsiteY1183" fmla="*/ 4314113 h 4368247"/>
              <a:gd name="connsiteX1184" fmla="*/ 1247484 w 10581483"/>
              <a:gd name="connsiteY1184" fmla="*/ 4337856 h 4368247"/>
              <a:gd name="connsiteX1185" fmla="*/ 997953 w 10581483"/>
              <a:gd name="connsiteY1185" fmla="*/ 4314113 h 4368247"/>
              <a:gd name="connsiteX1186" fmla="*/ 926659 w 10581483"/>
              <a:gd name="connsiteY1186" fmla="*/ 4302241 h 4368247"/>
              <a:gd name="connsiteX1187" fmla="*/ 831599 w 10581483"/>
              <a:gd name="connsiteY1187" fmla="*/ 4231013 h 4368247"/>
              <a:gd name="connsiteX1188" fmla="*/ 819714 w 10581483"/>
              <a:gd name="connsiteY1188" fmla="*/ 4041068 h 4368247"/>
              <a:gd name="connsiteX1189" fmla="*/ 819714 w 10581483"/>
              <a:gd name="connsiteY1189" fmla="*/ 4041065 h 4368247"/>
              <a:gd name="connsiteX1190" fmla="*/ 891008 w 10581483"/>
              <a:gd name="connsiteY1190" fmla="*/ 3946091 h 4368247"/>
              <a:gd name="connsiteX1191" fmla="*/ 1021716 w 10581483"/>
              <a:gd name="connsiteY1191" fmla="*/ 3922349 h 4368247"/>
              <a:gd name="connsiteX1192" fmla="*/ 1069248 w 10581483"/>
              <a:gd name="connsiteY1192" fmla="*/ 3922349 h 4368247"/>
              <a:gd name="connsiteX1193" fmla="*/ 1116776 w 10581483"/>
              <a:gd name="connsiteY1193" fmla="*/ 3922349 h 4368247"/>
              <a:gd name="connsiteX1194" fmla="*/ 1176189 w 10581483"/>
              <a:gd name="connsiteY1194" fmla="*/ 3981706 h 4368247"/>
              <a:gd name="connsiteX1195" fmla="*/ 1271249 w 10581483"/>
              <a:gd name="connsiteY1195" fmla="*/ 3898606 h 4368247"/>
              <a:gd name="connsiteX1196" fmla="*/ 1366309 w 10581483"/>
              <a:gd name="connsiteY1196" fmla="*/ 3874861 h 4368247"/>
              <a:gd name="connsiteX1197" fmla="*/ 1770312 w 10581483"/>
              <a:gd name="connsiteY1197" fmla="*/ 3827376 h 4368247"/>
              <a:gd name="connsiteX1198" fmla="*/ 1889139 w 10581483"/>
              <a:gd name="connsiteY1198" fmla="*/ 3815505 h 4368247"/>
              <a:gd name="connsiteX1199" fmla="*/ 1924785 w 10581483"/>
              <a:gd name="connsiteY1199" fmla="*/ 3839247 h 4368247"/>
              <a:gd name="connsiteX1200" fmla="*/ 1936666 w 10581483"/>
              <a:gd name="connsiteY1200" fmla="*/ 3862991 h 4368247"/>
              <a:gd name="connsiteX1201" fmla="*/ 1948552 w 10581483"/>
              <a:gd name="connsiteY1201" fmla="*/ 3839247 h 4368247"/>
              <a:gd name="connsiteX1202" fmla="*/ 1972319 w 10581483"/>
              <a:gd name="connsiteY1202" fmla="*/ 3803632 h 4368247"/>
              <a:gd name="connsiteX1203" fmla="*/ 2245614 w 10581483"/>
              <a:gd name="connsiteY1203" fmla="*/ 3779891 h 4368247"/>
              <a:gd name="connsiteX1204" fmla="*/ 2281261 w 10581483"/>
              <a:gd name="connsiteY1204" fmla="*/ 3779891 h 4368247"/>
              <a:gd name="connsiteX1205" fmla="*/ 2364440 w 10581483"/>
              <a:gd name="connsiteY1205" fmla="*/ 3815505 h 4368247"/>
              <a:gd name="connsiteX1206" fmla="*/ 2423849 w 10581483"/>
              <a:gd name="connsiteY1206" fmla="*/ 3862991 h 4368247"/>
              <a:gd name="connsiteX1207" fmla="*/ 2435733 w 10581483"/>
              <a:gd name="connsiteY1207" fmla="*/ 3768020 h 4368247"/>
              <a:gd name="connsiteX1208" fmla="*/ 2530794 w 10581483"/>
              <a:gd name="connsiteY1208" fmla="*/ 3779891 h 4368247"/>
              <a:gd name="connsiteX1209" fmla="*/ 2530794 w 10581483"/>
              <a:gd name="connsiteY1209" fmla="*/ 3779895 h 4368247"/>
              <a:gd name="connsiteX1210" fmla="*/ 2530794 w 10581483"/>
              <a:gd name="connsiteY1210" fmla="*/ 3803632 h 4368247"/>
              <a:gd name="connsiteX1211" fmla="*/ 2554557 w 10581483"/>
              <a:gd name="connsiteY1211" fmla="*/ 3779891 h 4368247"/>
              <a:gd name="connsiteX1212" fmla="*/ 2602089 w 10581483"/>
              <a:gd name="connsiteY1212" fmla="*/ 3756147 h 4368247"/>
              <a:gd name="connsiteX1213" fmla="*/ 2613968 w 10581483"/>
              <a:gd name="connsiteY1213" fmla="*/ 3791761 h 4368247"/>
              <a:gd name="connsiteX1214" fmla="*/ 2613968 w 10581483"/>
              <a:gd name="connsiteY1214" fmla="*/ 3791765 h 4368247"/>
              <a:gd name="connsiteX1215" fmla="*/ 2612484 w 10581483"/>
              <a:gd name="connsiteY1215" fmla="*/ 3824408 h 4368247"/>
              <a:gd name="connsiteX1216" fmla="*/ 2637735 w 10581483"/>
              <a:gd name="connsiteY1216" fmla="*/ 3839247 h 4368247"/>
              <a:gd name="connsiteX1217" fmla="*/ 2685264 w 10581483"/>
              <a:gd name="connsiteY1217" fmla="*/ 3803632 h 4368247"/>
              <a:gd name="connsiteX1218" fmla="*/ 2792209 w 10581483"/>
              <a:gd name="connsiteY1218" fmla="*/ 3732405 h 4368247"/>
              <a:gd name="connsiteX1219" fmla="*/ 2875384 w 10581483"/>
              <a:gd name="connsiteY1219" fmla="*/ 3744276 h 4368247"/>
              <a:gd name="connsiteX1220" fmla="*/ 2875384 w 10581483"/>
              <a:gd name="connsiteY1220" fmla="*/ 3744280 h 4368247"/>
              <a:gd name="connsiteX1221" fmla="*/ 2887265 w 10581483"/>
              <a:gd name="connsiteY1221" fmla="*/ 3744280 h 4368247"/>
              <a:gd name="connsiteX1222" fmla="*/ 2887269 w 10581483"/>
              <a:gd name="connsiteY1222" fmla="*/ 3744276 h 4368247"/>
              <a:gd name="connsiteX1223" fmla="*/ 2970445 w 10581483"/>
              <a:gd name="connsiteY1223" fmla="*/ 3732405 h 4368247"/>
              <a:gd name="connsiteX1224" fmla="*/ 3208093 w 10581483"/>
              <a:gd name="connsiteY1224" fmla="*/ 3732405 h 4368247"/>
              <a:gd name="connsiteX1225" fmla="*/ 3231859 w 10581483"/>
              <a:gd name="connsiteY1225" fmla="*/ 3720532 h 4368247"/>
              <a:gd name="connsiteX1226" fmla="*/ 3219978 w 10581483"/>
              <a:gd name="connsiteY1226" fmla="*/ 3673051 h 4368247"/>
              <a:gd name="connsiteX1227" fmla="*/ 3219978 w 10581483"/>
              <a:gd name="connsiteY1227" fmla="*/ 3673047 h 4368247"/>
              <a:gd name="connsiteX1228" fmla="*/ 3260080 w 10581483"/>
              <a:gd name="connsiteY1228" fmla="*/ 3664141 h 4368247"/>
              <a:gd name="connsiteX1229" fmla="*/ 3260080 w 10581483"/>
              <a:gd name="connsiteY1229" fmla="*/ 3664145 h 4368247"/>
              <a:gd name="connsiteX1230" fmla="*/ 3255624 w 10581483"/>
              <a:gd name="connsiteY1230" fmla="*/ 3708662 h 4368247"/>
              <a:gd name="connsiteX1231" fmla="*/ 3267506 w 10581483"/>
              <a:gd name="connsiteY1231" fmla="*/ 3768020 h 4368247"/>
              <a:gd name="connsiteX1232" fmla="*/ 3286813 w 10581483"/>
              <a:gd name="connsiteY1232" fmla="*/ 3739825 h 4368247"/>
              <a:gd name="connsiteX1233" fmla="*/ 3315035 w 10581483"/>
              <a:gd name="connsiteY1233" fmla="*/ 3720532 h 4368247"/>
              <a:gd name="connsiteX1234" fmla="*/ 3301666 w 10581483"/>
              <a:gd name="connsiteY1234" fmla="*/ 3696794 h 4368247"/>
              <a:gd name="connsiteX1235" fmla="*/ 3279387 w 10581483"/>
              <a:gd name="connsiteY1235" fmla="*/ 3673051 h 4368247"/>
              <a:gd name="connsiteX1236" fmla="*/ 3279390 w 10581483"/>
              <a:gd name="connsiteY1236" fmla="*/ 3673051 h 4368247"/>
              <a:gd name="connsiteX1237" fmla="*/ 3279387 w 10581483"/>
              <a:gd name="connsiteY1237" fmla="*/ 3673047 h 4368247"/>
              <a:gd name="connsiteX1238" fmla="*/ 3326920 w 10581483"/>
              <a:gd name="connsiteY1238" fmla="*/ 3661176 h 4368247"/>
              <a:gd name="connsiteX1239" fmla="*/ 3671509 w 10581483"/>
              <a:gd name="connsiteY1239" fmla="*/ 3684917 h 4368247"/>
              <a:gd name="connsiteX1240" fmla="*/ 3698247 w 10581483"/>
              <a:gd name="connsiteY1240" fmla="*/ 3664145 h 4368247"/>
              <a:gd name="connsiteX1241" fmla="*/ 3707160 w 10581483"/>
              <a:gd name="connsiteY1241" fmla="*/ 3625561 h 4368247"/>
              <a:gd name="connsiteX1242" fmla="*/ 3701217 w 10581483"/>
              <a:gd name="connsiteY1242" fmla="*/ 3615178 h 4368247"/>
              <a:gd name="connsiteX1243" fmla="*/ 3695275 w 10581483"/>
              <a:gd name="connsiteY1243" fmla="*/ 3613691 h 4368247"/>
              <a:gd name="connsiteX1244" fmla="*/ 3659628 w 10581483"/>
              <a:gd name="connsiteY1244" fmla="*/ 3661179 h 4368247"/>
              <a:gd name="connsiteX1245" fmla="*/ 3552686 w 10581483"/>
              <a:gd name="connsiteY1245" fmla="*/ 3601821 h 4368247"/>
              <a:gd name="connsiteX1246" fmla="*/ 3398213 w 10581483"/>
              <a:gd name="connsiteY1246" fmla="*/ 3649306 h 4368247"/>
              <a:gd name="connsiteX1247" fmla="*/ 3326920 w 10581483"/>
              <a:gd name="connsiteY1247" fmla="*/ 3589947 h 4368247"/>
              <a:gd name="connsiteX1248" fmla="*/ 3267506 w 10581483"/>
              <a:gd name="connsiteY1248" fmla="*/ 3637436 h 4368247"/>
              <a:gd name="connsiteX1249" fmla="*/ 3041739 w 10581483"/>
              <a:gd name="connsiteY1249" fmla="*/ 3625561 h 4368247"/>
              <a:gd name="connsiteX1250" fmla="*/ 2982326 w 10581483"/>
              <a:gd name="connsiteY1250" fmla="*/ 3613691 h 4368247"/>
              <a:gd name="connsiteX1251" fmla="*/ 2899150 w 10581483"/>
              <a:gd name="connsiteY1251" fmla="*/ 3613691 h 4368247"/>
              <a:gd name="connsiteX1252" fmla="*/ 2863502 w 10581483"/>
              <a:gd name="connsiteY1252" fmla="*/ 3625561 h 4368247"/>
              <a:gd name="connsiteX1253" fmla="*/ 2815971 w 10581483"/>
              <a:gd name="connsiteY1253" fmla="*/ 3612208 h 4368247"/>
              <a:gd name="connsiteX1254" fmla="*/ 2800006 w 10581483"/>
              <a:gd name="connsiteY1254" fmla="*/ 3620553 h 4368247"/>
              <a:gd name="connsiteX1255" fmla="*/ 2804089 w 10581483"/>
              <a:gd name="connsiteY1255" fmla="*/ 3661176 h 4368247"/>
              <a:gd name="connsiteX1256" fmla="*/ 2804089 w 10581483"/>
              <a:gd name="connsiteY1256" fmla="*/ 3661179 h 4368247"/>
              <a:gd name="connsiteX1257" fmla="*/ 2780325 w 10581483"/>
              <a:gd name="connsiteY1257" fmla="*/ 3661179 h 4368247"/>
              <a:gd name="connsiteX1258" fmla="*/ 2768442 w 10581483"/>
              <a:gd name="connsiteY1258" fmla="*/ 3649306 h 4368247"/>
              <a:gd name="connsiteX1259" fmla="*/ 2732796 w 10581483"/>
              <a:gd name="connsiteY1259" fmla="*/ 3613691 h 4368247"/>
              <a:gd name="connsiteX1260" fmla="*/ 2340673 w 10581483"/>
              <a:gd name="connsiteY1260" fmla="*/ 3625561 h 4368247"/>
              <a:gd name="connsiteX1261" fmla="*/ 2198082 w 10581483"/>
              <a:gd name="connsiteY1261" fmla="*/ 3637436 h 4368247"/>
              <a:gd name="connsiteX1262" fmla="*/ 1746550 w 10581483"/>
              <a:gd name="connsiteY1262" fmla="*/ 3673051 h 4368247"/>
              <a:gd name="connsiteX1263" fmla="*/ 1390076 w 10581483"/>
              <a:gd name="connsiteY1263" fmla="*/ 3708665 h 4368247"/>
              <a:gd name="connsiteX1264" fmla="*/ 1271249 w 10581483"/>
              <a:gd name="connsiteY1264" fmla="*/ 3732409 h 4368247"/>
              <a:gd name="connsiteX1265" fmla="*/ 1176189 w 10581483"/>
              <a:gd name="connsiteY1265" fmla="*/ 3649306 h 4368247"/>
              <a:gd name="connsiteX1266" fmla="*/ 1176189 w 10581483"/>
              <a:gd name="connsiteY1266" fmla="*/ 3649302 h 4368247"/>
              <a:gd name="connsiteX1267" fmla="*/ 1176189 w 10581483"/>
              <a:gd name="connsiteY1267" fmla="*/ 3494977 h 4368247"/>
              <a:gd name="connsiteX1268" fmla="*/ 1176189 w 10581483"/>
              <a:gd name="connsiteY1268" fmla="*/ 3494973 h 4368247"/>
              <a:gd name="connsiteX1269" fmla="*/ 1211281 w 10581483"/>
              <a:gd name="connsiteY1269" fmla="*/ 3423188 h 4368247"/>
              <a:gd name="connsiteX1270" fmla="*/ 1211987 w 10581483"/>
              <a:gd name="connsiteY1270" fmla="*/ 3423198 h 4368247"/>
              <a:gd name="connsiteX1271" fmla="*/ 1212832 w 10581483"/>
              <a:gd name="connsiteY1271" fmla="*/ 3420963 h 4368247"/>
              <a:gd name="connsiteX1272" fmla="*/ 1212832 w 10581483"/>
              <a:gd name="connsiteY1272" fmla="*/ 3420960 h 4368247"/>
              <a:gd name="connsiteX1273" fmla="*/ 1238081 w 10581483"/>
              <a:gd name="connsiteY1273" fmla="*/ 3407603 h 4368247"/>
              <a:gd name="connsiteX1274" fmla="*/ 1238081 w 10581483"/>
              <a:gd name="connsiteY1274" fmla="*/ 3383866 h 4368247"/>
              <a:gd name="connsiteX1275" fmla="*/ 1226200 w 10581483"/>
              <a:gd name="connsiteY1275" fmla="*/ 3336378 h 4368247"/>
              <a:gd name="connsiteX1276" fmla="*/ 1190553 w 10581483"/>
              <a:gd name="connsiteY1276" fmla="*/ 3360121 h 4368247"/>
              <a:gd name="connsiteX1277" fmla="*/ 1095493 w 10581483"/>
              <a:gd name="connsiteY1277" fmla="*/ 3383866 h 4368247"/>
              <a:gd name="connsiteX1278" fmla="*/ 1047961 w 10581483"/>
              <a:gd name="connsiteY1278" fmla="*/ 3407606 h 4368247"/>
              <a:gd name="connsiteX1279" fmla="*/ 976667 w 10581483"/>
              <a:gd name="connsiteY1279" fmla="*/ 3443221 h 4368247"/>
              <a:gd name="connsiteX1280" fmla="*/ 632076 w 10581483"/>
              <a:gd name="connsiteY1280" fmla="*/ 3443221 h 4368247"/>
              <a:gd name="connsiteX1281" fmla="*/ 608311 w 10581483"/>
              <a:gd name="connsiteY1281" fmla="*/ 3431351 h 4368247"/>
              <a:gd name="connsiteX1282" fmla="*/ 608315 w 10581483"/>
              <a:gd name="connsiteY1282" fmla="*/ 3431347 h 4368247"/>
              <a:gd name="connsiteX1283" fmla="*/ 608311 w 10581483"/>
              <a:gd name="connsiteY1283" fmla="*/ 3431347 h 4368247"/>
              <a:gd name="connsiteX1284" fmla="*/ 643958 w 10581483"/>
              <a:gd name="connsiteY1284" fmla="*/ 3395732 h 4368247"/>
              <a:gd name="connsiteX1285" fmla="*/ 786547 w 10581483"/>
              <a:gd name="connsiteY1285" fmla="*/ 3395732 h 4368247"/>
              <a:gd name="connsiteX1286" fmla="*/ 952901 w 10581483"/>
              <a:gd name="connsiteY1286" fmla="*/ 3419478 h 4368247"/>
              <a:gd name="connsiteX1287" fmla="*/ 982607 w 10581483"/>
              <a:gd name="connsiteY1287" fmla="*/ 3409089 h 4368247"/>
              <a:gd name="connsiteX1288" fmla="*/ 1012313 w 10581483"/>
              <a:gd name="connsiteY1288" fmla="*/ 3407603 h 4368247"/>
              <a:gd name="connsiteX1289" fmla="*/ 988551 w 10581483"/>
              <a:gd name="connsiteY1289" fmla="*/ 3348251 h 4368247"/>
              <a:gd name="connsiteX1290" fmla="*/ 991520 w 10581483"/>
              <a:gd name="connsiteY1290" fmla="*/ 3373475 h 4368247"/>
              <a:gd name="connsiteX1291" fmla="*/ 991520 w 10581483"/>
              <a:gd name="connsiteY1291" fmla="*/ 3373478 h 4368247"/>
              <a:gd name="connsiteX1292" fmla="*/ 976667 w 10581483"/>
              <a:gd name="connsiteY1292" fmla="*/ 3371993 h 4368247"/>
              <a:gd name="connsiteX1293" fmla="*/ 834078 w 10581483"/>
              <a:gd name="connsiteY1293" fmla="*/ 3360121 h 4368247"/>
              <a:gd name="connsiteX1294" fmla="*/ 810312 w 10581483"/>
              <a:gd name="connsiteY1294" fmla="*/ 3348251 h 4368247"/>
              <a:gd name="connsiteX1295" fmla="*/ 795459 w 10581483"/>
              <a:gd name="connsiteY1295" fmla="*/ 3340832 h 4368247"/>
              <a:gd name="connsiteX1296" fmla="*/ 798432 w 10581483"/>
              <a:gd name="connsiteY1296" fmla="*/ 3360118 h 4368247"/>
              <a:gd name="connsiteX1297" fmla="*/ 798432 w 10581483"/>
              <a:gd name="connsiteY1297" fmla="*/ 3360121 h 4368247"/>
              <a:gd name="connsiteX1298" fmla="*/ 798432 w 10581483"/>
              <a:gd name="connsiteY1298" fmla="*/ 3383862 h 4368247"/>
              <a:gd name="connsiteX1299" fmla="*/ 798432 w 10581483"/>
              <a:gd name="connsiteY1299" fmla="*/ 3383866 h 4368247"/>
              <a:gd name="connsiteX1300" fmla="*/ 655838 w 10581483"/>
              <a:gd name="connsiteY1300" fmla="*/ 3336378 h 4368247"/>
              <a:gd name="connsiteX1301" fmla="*/ 602370 w 10581483"/>
              <a:gd name="connsiteY1301" fmla="*/ 3325989 h 4368247"/>
              <a:gd name="connsiteX1302" fmla="*/ 548905 w 10581483"/>
              <a:gd name="connsiteY1302" fmla="*/ 3324507 h 4368247"/>
              <a:gd name="connsiteX1303" fmla="*/ 594943 w 10581483"/>
              <a:gd name="connsiteY1303" fmla="*/ 3345279 h 4368247"/>
              <a:gd name="connsiteX1304" fmla="*/ 604039 w 10581483"/>
              <a:gd name="connsiteY1304" fmla="*/ 3357890 h 4368247"/>
              <a:gd name="connsiteX1305" fmla="*/ 604039 w 10581483"/>
              <a:gd name="connsiteY1305" fmla="*/ 3357894 h 4368247"/>
              <a:gd name="connsiteX1306" fmla="*/ 560779 w 10581483"/>
              <a:gd name="connsiteY1306" fmla="*/ 3383866 h 4368247"/>
              <a:gd name="connsiteX1307" fmla="*/ 560779 w 10581483"/>
              <a:gd name="connsiteY1307" fmla="*/ 3403155 h 4368247"/>
              <a:gd name="connsiteX1308" fmla="*/ 560779 w 10581483"/>
              <a:gd name="connsiteY1308" fmla="*/ 3431347 h 4368247"/>
              <a:gd name="connsiteX1309" fmla="*/ 560779 w 10581483"/>
              <a:gd name="connsiteY1309" fmla="*/ 3431351 h 4368247"/>
              <a:gd name="connsiteX1310" fmla="*/ 537017 w 10581483"/>
              <a:gd name="connsiteY1310" fmla="*/ 3407606 h 4368247"/>
              <a:gd name="connsiteX1311" fmla="*/ 489485 w 10581483"/>
              <a:gd name="connsiteY1311" fmla="*/ 3371993 h 4368247"/>
              <a:gd name="connsiteX1312" fmla="*/ 465719 w 10581483"/>
              <a:gd name="connsiteY1312" fmla="*/ 3407606 h 4368247"/>
              <a:gd name="connsiteX1313" fmla="*/ 430072 w 10581483"/>
              <a:gd name="connsiteY1313" fmla="*/ 3431351 h 4368247"/>
              <a:gd name="connsiteX1314" fmla="*/ 180542 w 10581483"/>
              <a:gd name="connsiteY1314" fmla="*/ 3407606 h 4368247"/>
              <a:gd name="connsiteX1315" fmla="*/ 109248 w 10581483"/>
              <a:gd name="connsiteY1315" fmla="*/ 3395736 h 4368247"/>
              <a:gd name="connsiteX1316" fmla="*/ 14187 w 10581483"/>
              <a:gd name="connsiteY1316" fmla="*/ 3324507 h 4368247"/>
              <a:gd name="connsiteX1317" fmla="*/ 2303 w 10581483"/>
              <a:gd name="connsiteY1317" fmla="*/ 3134562 h 4368247"/>
              <a:gd name="connsiteX1318" fmla="*/ 2303 w 10581483"/>
              <a:gd name="connsiteY1318" fmla="*/ 3134559 h 4368247"/>
              <a:gd name="connsiteX1319" fmla="*/ 73597 w 10581483"/>
              <a:gd name="connsiteY1319" fmla="*/ 3039586 h 4368247"/>
              <a:gd name="connsiteX1320" fmla="*/ 204304 w 10581483"/>
              <a:gd name="connsiteY1320" fmla="*/ 3015844 h 4368247"/>
              <a:gd name="connsiteX1321" fmla="*/ 251836 w 10581483"/>
              <a:gd name="connsiteY1321" fmla="*/ 3015844 h 4368247"/>
              <a:gd name="connsiteX1322" fmla="*/ 299364 w 10581483"/>
              <a:gd name="connsiteY1322" fmla="*/ 3015844 h 4368247"/>
              <a:gd name="connsiteX1323" fmla="*/ 358778 w 10581483"/>
              <a:gd name="connsiteY1323" fmla="*/ 3075200 h 4368247"/>
              <a:gd name="connsiteX1324" fmla="*/ 453838 w 10581483"/>
              <a:gd name="connsiteY1324" fmla="*/ 2992101 h 4368247"/>
              <a:gd name="connsiteX1325" fmla="*/ 548898 w 10581483"/>
              <a:gd name="connsiteY1325" fmla="*/ 2968356 h 4368247"/>
              <a:gd name="connsiteX1326" fmla="*/ 952901 w 10581483"/>
              <a:gd name="connsiteY1326" fmla="*/ 2920871 h 4368247"/>
              <a:gd name="connsiteX1327" fmla="*/ 1071726 w 10581483"/>
              <a:gd name="connsiteY1327" fmla="*/ 2909000 h 4368247"/>
              <a:gd name="connsiteX1328" fmla="*/ 1107374 w 10581483"/>
              <a:gd name="connsiteY1328" fmla="*/ 2932741 h 4368247"/>
              <a:gd name="connsiteX1329" fmla="*/ 1119255 w 10581483"/>
              <a:gd name="connsiteY1329" fmla="*/ 2956486 h 4368247"/>
              <a:gd name="connsiteX1330" fmla="*/ 1131140 w 10581483"/>
              <a:gd name="connsiteY1330" fmla="*/ 2932741 h 4368247"/>
              <a:gd name="connsiteX1331" fmla="*/ 1154907 w 10581483"/>
              <a:gd name="connsiteY1331" fmla="*/ 2897127 h 4368247"/>
              <a:gd name="connsiteX1332" fmla="*/ 1428201 w 10581483"/>
              <a:gd name="connsiteY1332" fmla="*/ 2873385 h 4368247"/>
              <a:gd name="connsiteX1333" fmla="*/ 1463849 w 10581483"/>
              <a:gd name="connsiteY1333" fmla="*/ 2873385 h 4368247"/>
              <a:gd name="connsiteX1334" fmla="*/ 1547028 w 10581483"/>
              <a:gd name="connsiteY1334" fmla="*/ 2909000 h 4368247"/>
              <a:gd name="connsiteX1335" fmla="*/ 1552894 w 10581483"/>
              <a:gd name="connsiteY1335" fmla="*/ 2917526 h 4368247"/>
              <a:gd name="connsiteX1336" fmla="*/ 1600407 w 10581483"/>
              <a:gd name="connsiteY1336" fmla="*/ 2914311 h 4368247"/>
              <a:gd name="connsiteX1337" fmla="*/ 1599013 w 10581483"/>
              <a:gd name="connsiteY1337" fmla="*/ 2904547 h 4368247"/>
              <a:gd name="connsiteX1338" fmla="*/ 1618322 w 10581483"/>
              <a:gd name="connsiteY1338" fmla="*/ 2861515 h 4368247"/>
              <a:gd name="connsiteX1339" fmla="*/ 1713383 w 10581483"/>
              <a:gd name="connsiteY1339" fmla="*/ 2873385 h 4368247"/>
              <a:gd name="connsiteX1340" fmla="*/ 1713383 w 10581483"/>
              <a:gd name="connsiteY1340" fmla="*/ 2873389 h 4368247"/>
              <a:gd name="connsiteX1341" fmla="*/ 1713383 w 10581483"/>
              <a:gd name="connsiteY1341" fmla="*/ 2897127 h 4368247"/>
              <a:gd name="connsiteX1342" fmla="*/ 1737145 w 10581483"/>
              <a:gd name="connsiteY1342" fmla="*/ 2873385 h 4368247"/>
              <a:gd name="connsiteX1343" fmla="*/ 1784676 w 10581483"/>
              <a:gd name="connsiteY1343" fmla="*/ 2849642 h 4368247"/>
              <a:gd name="connsiteX1344" fmla="*/ 1796557 w 10581483"/>
              <a:gd name="connsiteY1344" fmla="*/ 2885256 h 4368247"/>
              <a:gd name="connsiteX1345" fmla="*/ 1796557 w 10581483"/>
              <a:gd name="connsiteY1345" fmla="*/ 2885260 h 4368247"/>
              <a:gd name="connsiteX1346" fmla="*/ 1796194 w 10581483"/>
              <a:gd name="connsiteY1346" fmla="*/ 2893253 h 4368247"/>
              <a:gd name="connsiteX1347" fmla="*/ 1874383 w 10581483"/>
              <a:gd name="connsiteY1347" fmla="*/ 2882339 h 4368247"/>
              <a:gd name="connsiteX1348" fmla="*/ 1884563 w 10581483"/>
              <a:gd name="connsiteY1348" fmla="*/ 2859287 h 4368247"/>
              <a:gd name="connsiteX1349" fmla="*/ 1974798 w 10581483"/>
              <a:gd name="connsiteY1349" fmla="*/ 2825900 h 4368247"/>
              <a:gd name="connsiteX1350" fmla="*/ 2057972 w 10581483"/>
              <a:gd name="connsiteY1350" fmla="*/ 2837770 h 4368247"/>
              <a:gd name="connsiteX1351" fmla="*/ 2057972 w 10581483"/>
              <a:gd name="connsiteY1351" fmla="*/ 2837774 h 4368247"/>
              <a:gd name="connsiteX1352" fmla="*/ 2069854 w 10581483"/>
              <a:gd name="connsiteY1352" fmla="*/ 2837774 h 4368247"/>
              <a:gd name="connsiteX1353" fmla="*/ 2069857 w 10581483"/>
              <a:gd name="connsiteY1353" fmla="*/ 2837770 h 4368247"/>
              <a:gd name="connsiteX1354" fmla="*/ 2153033 w 10581483"/>
              <a:gd name="connsiteY1354" fmla="*/ 2825900 h 4368247"/>
              <a:gd name="connsiteX1355" fmla="*/ 2330155 w 10581483"/>
              <a:gd name="connsiteY1355" fmla="*/ 2814213 h 4368247"/>
              <a:gd name="connsiteX1356" fmla="*/ 2382169 w 10581483"/>
              <a:gd name="connsiteY1356" fmla="*/ 2824257 h 4368247"/>
              <a:gd name="connsiteX1357" fmla="*/ 2399131 w 10581483"/>
              <a:gd name="connsiteY1357" fmla="*/ 2821678 h 4368247"/>
              <a:gd name="connsiteX1358" fmla="*/ 2414447 w 10581483"/>
              <a:gd name="connsiteY1358" fmla="*/ 2814027 h 4368247"/>
              <a:gd name="connsiteX1359" fmla="*/ 2402565 w 10581483"/>
              <a:gd name="connsiteY1359" fmla="*/ 2766545 h 4368247"/>
              <a:gd name="connsiteX1360" fmla="*/ 2402565 w 10581483"/>
              <a:gd name="connsiteY1360" fmla="*/ 2766542 h 4368247"/>
              <a:gd name="connsiteX1361" fmla="*/ 2442668 w 10581483"/>
              <a:gd name="connsiteY1361" fmla="*/ 2757636 h 4368247"/>
              <a:gd name="connsiteX1362" fmla="*/ 2442668 w 10581483"/>
              <a:gd name="connsiteY1362" fmla="*/ 2757640 h 4368247"/>
              <a:gd name="connsiteX1363" fmla="*/ 2438213 w 10581483"/>
              <a:gd name="connsiteY1363" fmla="*/ 2802156 h 4368247"/>
              <a:gd name="connsiteX1364" fmla="*/ 2440851 w 10581483"/>
              <a:gd name="connsiteY1364" fmla="*/ 2815336 h 4368247"/>
              <a:gd name="connsiteX1365" fmla="*/ 2473698 w 10581483"/>
              <a:gd name="connsiteY1365" fmla="*/ 2810342 h 4368247"/>
              <a:gd name="connsiteX1366" fmla="*/ 2494513 w 10581483"/>
              <a:gd name="connsiteY1366" fmla="*/ 2808505 h 4368247"/>
              <a:gd name="connsiteX1367" fmla="*/ 2484255 w 10581483"/>
              <a:gd name="connsiteY1367" fmla="*/ 2790289 h 4368247"/>
              <a:gd name="connsiteX1368" fmla="*/ 2461975 w 10581483"/>
              <a:gd name="connsiteY1368" fmla="*/ 2766545 h 4368247"/>
              <a:gd name="connsiteX1369" fmla="*/ 2461980 w 10581483"/>
              <a:gd name="connsiteY1369" fmla="*/ 2766545 h 4368247"/>
              <a:gd name="connsiteX1370" fmla="*/ 2461975 w 10581483"/>
              <a:gd name="connsiteY1370" fmla="*/ 2766542 h 4368247"/>
              <a:gd name="connsiteX1371" fmla="*/ 2509508 w 10581483"/>
              <a:gd name="connsiteY1371" fmla="*/ 2754670 h 4368247"/>
              <a:gd name="connsiteX1372" fmla="*/ 2765165 w 10581483"/>
              <a:gd name="connsiteY1372" fmla="*/ 2774702 h 4368247"/>
              <a:gd name="connsiteX1373" fmla="*/ 2770590 w 10581483"/>
              <a:gd name="connsiteY1373" fmla="*/ 2774929 h 4368247"/>
              <a:gd name="connsiteX1374" fmla="*/ 2771413 w 10581483"/>
              <a:gd name="connsiteY1374" fmla="*/ 2773777 h 4368247"/>
              <a:gd name="connsiteX1375" fmla="*/ 2804089 w 10581483"/>
              <a:gd name="connsiteY1375" fmla="*/ 2770807 h 4368247"/>
              <a:gd name="connsiteX1376" fmla="*/ 2812782 w 10581483"/>
              <a:gd name="connsiteY1376" fmla="*/ 2776689 h 4368247"/>
              <a:gd name="connsiteX1377" fmla="*/ 2854097 w 10581483"/>
              <a:gd name="connsiteY1377" fmla="*/ 2778412 h 4368247"/>
              <a:gd name="connsiteX1378" fmla="*/ 2880835 w 10581483"/>
              <a:gd name="connsiteY1378" fmla="*/ 2757640 h 4368247"/>
              <a:gd name="connsiteX1379" fmla="*/ 2889749 w 10581483"/>
              <a:gd name="connsiteY1379" fmla="*/ 2719056 h 4368247"/>
              <a:gd name="connsiteX1380" fmla="*/ 2889413 w 10581483"/>
              <a:gd name="connsiteY1380" fmla="*/ 2718470 h 4368247"/>
              <a:gd name="connsiteX1381" fmla="*/ 2844842 w 10581483"/>
              <a:gd name="connsiteY1381" fmla="*/ 2719530 h 4368247"/>
              <a:gd name="connsiteX1382" fmla="*/ 2836089 w 10581483"/>
              <a:gd name="connsiteY1382" fmla="*/ 2728889 h 4368247"/>
              <a:gd name="connsiteX1383" fmla="*/ 2842216 w 10581483"/>
              <a:gd name="connsiteY1383" fmla="*/ 2754674 h 4368247"/>
              <a:gd name="connsiteX1384" fmla="*/ 2755328 w 10581483"/>
              <a:gd name="connsiteY1384" fmla="*/ 2722954 h 4368247"/>
              <a:gd name="connsiteX1385" fmla="*/ 2754404 w 10581483"/>
              <a:gd name="connsiteY1385" fmla="*/ 2721681 h 4368247"/>
              <a:gd name="connsiteX1386" fmla="*/ 2685264 w 10581483"/>
              <a:gd name="connsiteY1386" fmla="*/ 2723326 h 4368247"/>
              <a:gd name="connsiteX1387" fmla="*/ 2599160 w 10581483"/>
              <a:gd name="connsiteY1387" fmla="*/ 2726910 h 4368247"/>
              <a:gd name="connsiteX1388" fmla="*/ 2580802 w 10581483"/>
              <a:gd name="connsiteY1388" fmla="*/ 2742801 h 4368247"/>
              <a:gd name="connsiteX1389" fmla="*/ 2561307 w 10581483"/>
              <a:gd name="connsiteY1389" fmla="*/ 2728518 h 4368247"/>
              <a:gd name="connsiteX1390" fmla="*/ 2561288 w 10581483"/>
              <a:gd name="connsiteY1390" fmla="*/ 2728486 h 4368247"/>
              <a:gd name="connsiteX1391" fmla="*/ 2542675 w 10581483"/>
              <a:gd name="connsiteY1391" fmla="*/ 2729261 h 4368247"/>
              <a:gd name="connsiteX1392" fmla="*/ 2520880 w 10581483"/>
              <a:gd name="connsiteY1392" fmla="*/ 2730169 h 4368247"/>
              <a:gd name="connsiteX1393" fmla="*/ 2520880 w 10581483"/>
              <a:gd name="connsiteY1393" fmla="*/ 2730549 h 4368247"/>
              <a:gd name="connsiteX1394" fmla="*/ 2520880 w 10581483"/>
              <a:gd name="connsiteY1394" fmla="*/ 2730553 h 4368247"/>
              <a:gd name="connsiteX1395" fmla="*/ 2519565 w 10581483"/>
              <a:gd name="connsiteY1395" fmla="*/ 2730223 h 4368247"/>
              <a:gd name="connsiteX1396" fmla="*/ 2400087 w 10581483"/>
              <a:gd name="connsiteY1396" fmla="*/ 2735196 h 4368247"/>
              <a:gd name="connsiteX1397" fmla="*/ 1936666 w 10581483"/>
              <a:gd name="connsiteY1397" fmla="*/ 2770811 h 4368247"/>
              <a:gd name="connsiteX1398" fmla="*/ 1843095 w 10581483"/>
              <a:gd name="connsiteY1398" fmla="*/ 2737424 h 4368247"/>
              <a:gd name="connsiteX1399" fmla="*/ 1838053 w 10581483"/>
              <a:gd name="connsiteY1399" fmla="*/ 2723154 h 4368247"/>
              <a:gd name="connsiteX1400" fmla="*/ 1754809 w 10581483"/>
              <a:gd name="connsiteY1400" fmla="*/ 2736150 h 4368247"/>
              <a:gd name="connsiteX1401" fmla="*/ 1635983 w 10581483"/>
              <a:gd name="connsiteY1401" fmla="*/ 2759893 h 4368247"/>
              <a:gd name="connsiteX1402" fmla="*/ 1575087 w 10581483"/>
              <a:gd name="connsiteY1402" fmla="*/ 2736149 h 4368247"/>
              <a:gd name="connsiteX1403" fmla="*/ 1558522 w 10581483"/>
              <a:gd name="connsiteY1403" fmla="*/ 2717989 h 4368247"/>
              <a:gd name="connsiteX1404" fmla="*/ 1523262 w 10581483"/>
              <a:gd name="connsiteY1404" fmla="*/ 2719056 h 4368247"/>
              <a:gd name="connsiteX1405" fmla="*/ 1380671 w 10581483"/>
              <a:gd name="connsiteY1405" fmla="*/ 2730931 h 4368247"/>
              <a:gd name="connsiteX1406" fmla="*/ 929138 w 10581483"/>
              <a:gd name="connsiteY1406" fmla="*/ 2766545 h 4368247"/>
              <a:gd name="connsiteX1407" fmla="*/ 572663 w 10581483"/>
              <a:gd name="connsiteY1407" fmla="*/ 2802160 h 4368247"/>
              <a:gd name="connsiteX1408" fmla="*/ 453838 w 10581483"/>
              <a:gd name="connsiteY1408" fmla="*/ 2825904 h 4368247"/>
              <a:gd name="connsiteX1409" fmla="*/ 358778 w 10581483"/>
              <a:gd name="connsiteY1409" fmla="*/ 2742801 h 4368247"/>
              <a:gd name="connsiteX1410" fmla="*/ 358778 w 10581483"/>
              <a:gd name="connsiteY1410" fmla="*/ 2742797 h 4368247"/>
              <a:gd name="connsiteX1411" fmla="*/ 358778 w 10581483"/>
              <a:gd name="connsiteY1411" fmla="*/ 2588472 h 4368247"/>
              <a:gd name="connsiteX1412" fmla="*/ 358778 w 10581483"/>
              <a:gd name="connsiteY1412" fmla="*/ 2588468 h 4368247"/>
              <a:gd name="connsiteX1413" fmla="*/ 430072 w 10581483"/>
              <a:gd name="connsiteY1413" fmla="*/ 2517238 h 4368247"/>
              <a:gd name="connsiteX1414" fmla="*/ 477603 w 10581483"/>
              <a:gd name="connsiteY1414" fmla="*/ 2517238 h 4368247"/>
              <a:gd name="connsiteX1415" fmla="*/ 514736 w 10581483"/>
              <a:gd name="connsiteY1415" fmla="*/ 2502399 h 4368247"/>
              <a:gd name="connsiteX1416" fmla="*/ 525131 w 10581483"/>
              <a:gd name="connsiteY1416" fmla="*/ 2469753 h 4368247"/>
              <a:gd name="connsiteX1417" fmla="*/ 477603 w 10581483"/>
              <a:gd name="connsiteY1417" fmla="*/ 2315428 h 4368247"/>
              <a:gd name="connsiteX1418" fmla="*/ 453838 w 10581483"/>
              <a:gd name="connsiteY1418" fmla="*/ 2184839 h 4368247"/>
              <a:gd name="connsiteX1419" fmla="*/ 453838 w 10581483"/>
              <a:gd name="connsiteY1419" fmla="*/ 2184835 h 4368247"/>
              <a:gd name="connsiteX1420" fmla="*/ 465719 w 10581483"/>
              <a:gd name="connsiteY1420" fmla="*/ 2054250 h 4368247"/>
              <a:gd name="connsiteX1421" fmla="*/ 513251 w 10581483"/>
              <a:gd name="connsiteY1421" fmla="*/ 2030506 h 4368247"/>
              <a:gd name="connsiteX1422" fmla="*/ 1083608 w 10581483"/>
              <a:gd name="connsiteY1422" fmla="*/ 1983021 h 4368247"/>
              <a:gd name="connsiteX1423" fmla="*/ 1548140 w 10581483"/>
              <a:gd name="connsiteY1423" fmla="*/ 1922919 h 4368247"/>
              <a:gd name="connsiteX1424" fmla="*/ 1577677 w 10581483"/>
              <a:gd name="connsiteY1424" fmla="*/ 1918488 h 4368247"/>
              <a:gd name="connsiteX1425" fmla="*/ 1547579 w 10581483"/>
              <a:gd name="connsiteY1425" fmla="*/ 1909753 h 4368247"/>
              <a:gd name="connsiteX1426" fmla="*/ 1485751 w 10581483"/>
              <a:gd name="connsiteY1426" fmla="*/ 1836296 h 4368247"/>
              <a:gd name="connsiteX1427" fmla="*/ 1485751 w 10581483"/>
              <a:gd name="connsiteY1427" fmla="*/ 1836292 h 4368247"/>
              <a:gd name="connsiteX1428" fmla="*/ 1485751 w 10581483"/>
              <a:gd name="connsiteY1428" fmla="*/ 1832415 h 4368247"/>
              <a:gd name="connsiteX1429" fmla="*/ 1350965 w 10581483"/>
              <a:gd name="connsiteY1429" fmla="*/ 1837596 h 4368247"/>
              <a:gd name="connsiteX1430" fmla="*/ 1119255 w 10581483"/>
              <a:gd name="connsiteY1430" fmla="*/ 1864306 h 4368247"/>
              <a:gd name="connsiteX1431" fmla="*/ 1012313 w 10581483"/>
              <a:gd name="connsiteY1431" fmla="*/ 1793080 h 4368247"/>
              <a:gd name="connsiteX1432" fmla="*/ 1000433 w 10581483"/>
              <a:gd name="connsiteY1432" fmla="*/ 1757465 h 4368247"/>
              <a:gd name="connsiteX1433" fmla="*/ 991890 w 10581483"/>
              <a:gd name="connsiteY1433" fmla="*/ 1691616 h 4368247"/>
              <a:gd name="connsiteX1434" fmla="*/ 991890 w 10581483"/>
              <a:gd name="connsiteY1434" fmla="*/ 1691613 h 4368247"/>
              <a:gd name="connsiteX1435" fmla="*/ 1095493 w 10581483"/>
              <a:gd name="connsiteY1435" fmla="*/ 1603130 h 4368247"/>
              <a:gd name="connsiteX1436" fmla="*/ 1356908 w 10581483"/>
              <a:gd name="connsiteY1436" fmla="*/ 1579388 h 4368247"/>
              <a:gd name="connsiteX1437" fmla="*/ 1558909 w 10581483"/>
              <a:gd name="connsiteY1437" fmla="*/ 1543773 h 4368247"/>
              <a:gd name="connsiteX1438" fmla="*/ 1643856 w 10581483"/>
              <a:gd name="connsiteY1438" fmla="*/ 1536458 h 4368247"/>
              <a:gd name="connsiteX1439" fmla="*/ 1604578 w 10581483"/>
              <a:gd name="connsiteY1439" fmla="*/ 1408922 h 4368247"/>
              <a:gd name="connsiteX1440" fmla="*/ 1580811 w 10581483"/>
              <a:gd name="connsiteY1440" fmla="*/ 1278334 h 4368247"/>
              <a:gd name="connsiteX1441" fmla="*/ 1580811 w 10581483"/>
              <a:gd name="connsiteY1441" fmla="*/ 1278330 h 4368247"/>
              <a:gd name="connsiteX1442" fmla="*/ 1592693 w 10581483"/>
              <a:gd name="connsiteY1442" fmla="*/ 1147745 h 4368247"/>
              <a:gd name="connsiteX1443" fmla="*/ 1640224 w 10581483"/>
              <a:gd name="connsiteY1443" fmla="*/ 1124001 h 4368247"/>
              <a:gd name="connsiteX1444" fmla="*/ 2210583 w 10581483"/>
              <a:gd name="connsiteY1444" fmla="*/ 1076517 h 4368247"/>
              <a:gd name="connsiteX1445" fmla="*/ 2828471 w 10581483"/>
              <a:gd name="connsiteY1445" fmla="*/ 993413 h 4368247"/>
              <a:gd name="connsiteX1446" fmla="*/ 2971065 w 10581483"/>
              <a:gd name="connsiteY1446" fmla="*/ 969672 h 4368247"/>
              <a:gd name="connsiteX1447" fmla="*/ 3054240 w 10581483"/>
              <a:gd name="connsiteY1447" fmla="*/ 1005287 h 4368247"/>
              <a:gd name="connsiteX1448" fmla="*/ 3069092 w 10581483"/>
              <a:gd name="connsiteY1448" fmla="*/ 997867 h 4368247"/>
              <a:gd name="connsiteX1449" fmla="*/ 3066125 w 10581483"/>
              <a:gd name="connsiteY1449" fmla="*/ 981545 h 4368247"/>
              <a:gd name="connsiteX1450" fmla="*/ 3066125 w 10581483"/>
              <a:gd name="connsiteY1450" fmla="*/ 981542 h 4368247"/>
              <a:gd name="connsiteX1451" fmla="*/ 3113653 w 10581483"/>
              <a:gd name="connsiteY1451" fmla="*/ 957798 h 4368247"/>
              <a:gd name="connsiteX1452" fmla="*/ 3184947 w 10581483"/>
              <a:gd name="connsiteY1452" fmla="*/ 981542 h 4368247"/>
              <a:gd name="connsiteX1453" fmla="*/ 3232479 w 10581483"/>
              <a:gd name="connsiteY1453" fmla="*/ 969672 h 4368247"/>
              <a:gd name="connsiteX1454" fmla="*/ 3386950 w 10581483"/>
              <a:gd name="connsiteY1454" fmla="*/ 934057 h 4368247"/>
              <a:gd name="connsiteX1455" fmla="*/ 3493883 w 10581483"/>
              <a:gd name="connsiteY1455" fmla="*/ 898446 h 4368247"/>
              <a:gd name="connsiteX1456" fmla="*/ 2994826 w 10581483"/>
              <a:gd name="connsiteY1456" fmla="*/ 910316 h 4368247"/>
              <a:gd name="connsiteX1457" fmla="*/ 2709650 w 10581483"/>
              <a:gd name="connsiteY1457" fmla="*/ 922187 h 4368247"/>
              <a:gd name="connsiteX1458" fmla="*/ 2246230 w 10581483"/>
              <a:gd name="connsiteY1458" fmla="*/ 957802 h 4368247"/>
              <a:gd name="connsiteX1459" fmla="*/ 2139289 w 10581483"/>
              <a:gd name="connsiteY1459" fmla="*/ 886576 h 4368247"/>
              <a:gd name="connsiteX1460" fmla="*/ 2127406 w 10581483"/>
              <a:gd name="connsiteY1460" fmla="*/ 850960 h 4368247"/>
              <a:gd name="connsiteX1461" fmla="*/ 2118866 w 10581483"/>
              <a:gd name="connsiteY1461" fmla="*/ 785110 h 4368247"/>
              <a:gd name="connsiteX1462" fmla="*/ 2118866 w 10581483"/>
              <a:gd name="connsiteY1462" fmla="*/ 785107 h 4368247"/>
              <a:gd name="connsiteX1463" fmla="*/ 2222467 w 10581483"/>
              <a:gd name="connsiteY1463" fmla="*/ 696624 h 4368247"/>
              <a:gd name="connsiteX1464" fmla="*/ 2483882 w 10581483"/>
              <a:gd name="connsiteY1464" fmla="*/ 672884 h 4368247"/>
              <a:gd name="connsiteX1465" fmla="*/ 2685884 w 10581483"/>
              <a:gd name="connsiteY1465" fmla="*/ 637268 h 4368247"/>
              <a:gd name="connsiteX1466" fmla="*/ 3030473 w 10581483"/>
              <a:gd name="connsiteY1466" fmla="*/ 625399 h 4368247"/>
              <a:gd name="connsiteX1467" fmla="*/ 3232479 w 10581483"/>
              <a:gd name="connsiteY1467" fmla="*/ 613524 h 4368247"/>
              <a:gd name="connsiteX1468" fmla="*/ 3375067 w 10581483"/>
              <a:gd name="connsiteY1468" fmla="*/ 625399 h 4368247"/>
              <a:gd name="connsiteX1469" fmla="*/ 3470127 w 10581483"/>
              <a:gd name="connsiteY1469" fmla="*/ 613524 h 4368247"/>
              <a:gd name="connsiteX1470" fmla="*/ 3577068 w 10581483"/>
              <a:gd name="connsiteY1470" fmla="*/ 625399 h 4368247"/>
              <a:gd name="connsiteX1471" fmla="*/ 3719657 w 10581483"/>
              <a:gd name="connsiteY1471" fmla="*/ 625399 h 4368247"/>
              <a:gd name="connsiteX1472" fmla="*/ 3814717 w 10581483"/>
              <a:gd name="connsiteY1472" fmla="*/ 613524 h 4368247"/>
              <a:gd name="connsiteX1473" fmla="*/ 4218722 w 10581483"/>
              <a:gd name="connsiteY1473" fmla="*/ 613524 h 4368247"/>
              <a:gd name="connsiteX1474" fmla="*/ 4705904 w 10581483"/>
              <a:gd name="connsiteY1474" fmla="*/ 661010 h 4368247"/>
              <a:gd name="connsiteX1475" fmla="*/ 4806905 w 10581483"/>
              <a:gd name="connsiteY1475" fmla="*/ 668431 h 4368247"/>
              <a:gd name="connsiteX1476" fmla="*/ 4859847 w 10581483"/>
              <a:gd name="connsiteY1476" fmla="*/ 676986 h 4368247"/>
              <a:gd name="connsiteX1477" fmla="*/ 4844729 w 10581483"/>
              <a:gd name="connsiteY1477" fmla="*/ 660373 h 4368247"/>
              <a:gd name="connsiteX1478" fmla="*/ 4831360 w 10581483"/>
              <a:gd name="connsiteY1478" fmla="*/ 622534 h 4368247"/>
              <a:gd name="connsiteX1479" fmla="*/ 4819479 w 10581483"/>
              <a:gd name="connsiteY1479" fmla="*/ 586918 h 4368247"/>
              <a:gd name="connsiteX1480" fmla="*/ 4810938 w 10581483"/>
              <a:gd name="connsiteY1480" fmla="*/ 521069 h 4368247"/>
              <a:gd name="connsiteX1481" fmla="*/ 4810938 w 10581483"/>
              <a:gd name="connsiteY1481" fmla="*/ 521065 h 4368247"/>
              <a:gd name="connsiteX1482" fmla="*/ 4914540 w 10581483"/>
              <a:gd name="connsiteY1482" fmla="*/ 432581 h 4368247"/>
              <a:gd name="connsiteX1483" fmla="*/ 5175953 w 10581483"/>
              <a:gd name="connsiteY1483" fmla="*/ 408840 h 4368247"/>
              <a:gd name="connsiteX1484" fmla="*/ 5377955 w 10581483"/>
              <a:gd name="connsiteY1484" fmla="*/ 373226 h 4368247"/>
              <a:gd name="connsiteX1485" fmla="*/ 5722545 w 10581483"/>
              <a:gd name="connsiteY1485" fmla="*/ 361356 h 4368247"/>
              <a:gd name="connsiteX1486" fmla="*/ 5924549 w 10581483"/>
              <a:gd name="connsiteY1486" fmla="*/ 349481 h 4368247"/>
              <a:gd name="connsiteX1487" fmla="*/ 6067139 w 10581483"/>
              <a:gd name="connsiteY1487" fmla="*/ 361356 h 4368247"/>
              <a:gd name="connsiteX1488" fmla="*/ 6162198 w 10581483"/>
              <a:gd name="connsiteY1488" fmla="*/ 349481 h 4368247"/>
              <a:gd name="connsiteX1489" fmla="*/ 6183921 w 10581483"/>
              <a:gd name="connsiteY1489" fmla="*/ 346328 h 4368247"/>
              <a:gd name="connsiteX1490" fmla="*/ 6269140 w 10581483"/>
              <a:gd name="connsiteY1490" fmla="*/ 361356 h 4368247"/>
              <a:gd name="connsiteX1491" fmla="*/ 6411727 w 10581483"/>
              <a:gd name="connsiteY1491" fmla="*/ 361356 h 4368247"/>
              <a:gd name="connsiteX1492" fmla="*/ 6506788 w 10581483"/>
              <a:gd name="connsiteY1492" fmla="*/ 349481 h 4368247"/>
              <a:gd name="connsiteX1493" fmla="*/ 6910794 w 10581483"/>
              <a:gd name="connsiteY1493" fmla="*/ 349481 h 4368247"/>
              <a:gd name="connsiteX1494" fmla="*/ 7397977 w 10581483"/>
              <a:gd name="connsiteY1494" fmla="*/ 396967 h 4368247"/>
              <a:gd name="connsiteX1495" fmla="*/ 7498977 w 10581483"/>
              <a:gd name="connsiteY1495" fmla="*/ 404388 h 4368247"/>
              <a:gd name="connsiteX1496" fmla="*/ 7542538 w 10581483"/>
              <a:gd name="connsiteY1496" fmla="*/ 411428 h 4368247"/>
              <a:gd name="connsiteX1497" fmla="*/ 7586271 w 10581483"/>
              <a:gd name="connsiteY1497" fmla="*/ 406213 h 4368247"/>
              <a:gd name="connsiteX1498" fmla="*/ 7739629 w 10581483"/>
              <a:gd name="connsiteY1498" fmla="*/ 383212 h 4368247"/>
              <a:gd name="connsiteX1499" fmla="*/ 7882221 w 10581483"/>
              <a:gd name="connsiteY1499" fmla="*/ 359471 h 4368247"/>
              <a:gd name="connsiteX1500" fmla="*/ 7965396 w 10581483"/>
              <a:gd name="connsiteY1500" fmla="*/ 395085 h 4368247"/>
              <a:gd name="connsiteX1501" fmla="*/ 7980250 w 10581483"/>
              <a:gd name="connsiteY1501" fmla="*/ 387666 h 4368247"/>
              <a:gd name="connsiteX1502" fmla="*/ 7977281 w 10581483"/>
              <a:gd name="connsiteY1502" fmla="*/ 371345 h 4368247"/>
              <a:gd name="connsiteX1503" fmla="*/ 7977281 w 10581483"/>
              <a:gd name="connsiteY1503" fmla="*/ 371341 h 4368247"/>
              <a:gd name="connsiteX1504" fmla="*/ 8024809 w 10581483"/>
              <a:gd name="connsiteY1504" fmla="*/ 347597 h 4368247"/>
              <a:gd name="connsiteX1505" fmla="*/ 8096103 w 10581483"/>
              <a:gd name="connsiteY1505" fmla="*/ 371341 h 4368247"/>
              <a:gd name="connsiteX1506" fmla="*/ 8143636 w 10581483"/>
              <a:gd name="connsiteY1506" fmla="*/ 359471 h 4368247"/>
              <a:gd name="connsiteX1507" fmla="*/ 8298106 w 10581483"/>
              <a:gd name="connsiteY1507" fmla="*/ 323856 h 4368247"/>
              <a:gd name="connsiteX1508" fmla="*/ 8405040 w 10581483"/>
              <a:gd name="connsiteY1508" fmla="*/ 288245 h 4368247"/>
              <a:gd name="connsiteX1509" fmla="*/ 7905983 w 10581483"/>
              <a:gd name="connsiteY1509" fmla="*/ 300116 h 4368247"/>
              <a:gd name="connsiteX1510" fmla="*/ 7620807 w 10581483"/>
              <a:gd name="connsiteY1510" fmla="*/ 311985 h 4368247"/>
              <a:gd name="connsiteX1511" fmla="*/ 7157388 w 10581483"/>
              <a:gd name="connsiteY1511" fmla="*/ 347600 h 4368247"/>
              <a:gd name="connsiteX1512" fmla="*/ 7050447 w 10581483"/>
              <a:gd name="connsiteY1512" fmla="*/ 276374 h 4368247"/>
              <a:gd name="connsiteX1513" fmla="*/ 7038565 w 10581483"/>
              <a:gd name="connsiteY1513" fmla="*/ 240760 h 4368247"/>
              <a:gd name="connsiteX1514" fmla="*/ 7030023 w 10581483"/>
              <a:gd name="connsiteY1514" fmla="*/ 174909 h 4368247"/>
              <a:gd name="connsiteX1515" fmla="*/ 7030023 w 10581483"/>
              <a:gd name="connsiteY1515" fmla="*/ 174906 h 4368247"/>
              <a:gd name="connsiteX1516" fmla="*/ 7133626 w 10581483"/>
              <a:gd name="connsiteY1516" fmla="*/ 86424 h 4368247"/>
              <a:gd name="connsiteX1517" fmla="*/ 7395040 w 10581483"/>
              <a:gd name="connsiteY1517" fmla="*/ 62682 h 4368247"/>
              <a:gd name="connsiteX1518" fmla="*/ 7597041 w 10581483"/>
              <a:gd name="connsiteY1518" fmla="*/ 27067 h 4368247"/>
              <a:gd name="connsiteX1519" fmla="*/ 7941631 w 10581483"/>
              <a:gd name="connsiteY1519" fmla="*/ 15197 h 4368247"/>
              <a:gd name="connsiteX1520" fmla="*/ 8143636 w 10581483"/>
              <a:gd name="connsiteY1520" fmla="*/ 3324 h 4368247"/>
              <a:gd name="connsiteX1521" fmla="*/ 8286225 w 10581483"/>
              <a:gd name="connsiteY1521" fmla="*/ 15197 h 4368247"/>
              <a:gd name="connsiteX1522" fmla="*/ 8381285 w 10581483"/>
              <a:gd name="connsiteY1522" fmla="*/ 3324 h 4368247"/>
              <a:gd name="connsiteX1523" fmla="*/ 8403008 w 10581483"/>
              <a:gd name="connsiteY1523" fmla="*/ 171 h 4368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Lst>
            <a:rect l="l" t="t" r="r" b="b"/>
            <a:pathLst>
              <a:path w="10581483" h="4368247">
                <a:moveTo>
                  <a:pt x="1945969" y="4309658"/>
                </a:moveTo>
                <a:cubicBezTo>
                  <a:pt x="1964535" y="4305372"/>
                  <a:pt x="1984527" y="4311086"/>
                  <a:pt x="1995950" y="4328220"/>
                </a:cubicBezTo>
                <a:cubicBezTo>
                  <a:pt x="1995950" y="4328220"/>
                  <a:pt x="1995950" y="4339645"/>
                  <a:pt x="1995950" y="4351068"/>
                </a:cubicBezTo>
                <a:cubicBezTo>
                  <a:pt x="1984527" y="4351068"/>
                  <a:pt x="1961678" y="4351068"/>
                  <a:pt x="1961678" y="4351068"/>
                </a:cubicBezTo>
                <a:cubicBezTo>
                  <a:pt x="1950253" y="4305372"/>
                  <a:pt x="1927405" y="4351068"/>
                  <a:pt x="1904557" y="4351068"/>
                </a:cubicBezTo>
                <a:cubicBezTo>
                  <a:pt x="1910268" y="4328220"/>
                  <a:pt x="1927405" y="4313939"/>
                  <a:pt x="1945969" y="4309658"/>
                </a:cubicBezTo>
                <a:close/>
                <a:moveTo>
                  <a:pt x="4122161" y="4258675"/>
                </a:moveTo>
                <a:cubicBezTo>
                  <a:pt x="4132991" y="4260245"/>
                  <a:pt x="4142274" y="4266530"/>
                  <a:pt x="4148465" y="4279095"/>
                </a:cubicBezTo>
                <a:lnTo>
                  <a:pt x="4148460" y="4279098"/>
                </a:lnTo>
                <a:lnTo>
                  <a:pt x="4148465" y="4279098"/>
                </a:lnTo>
                <a:cubicBezTo>
                  <a:pt x="4160837" y="4291664"/>
                  <a:pt x="4148465" y="4304232"/>
                  <a:pt x="4136086" y="4304232"/>
                </a:cubicBezTo>
                <a:cubicBezTo>
                  <a:pt x="4111335" y="4316797"/>
                  <a:pt x="4098957" y="4291664"/>
                  <a:pt x="4086580" y="4266533"/>
                </a:cubicBezTo>
                <a:lnTo>
                  <a:pt x="4086582" y="4266533"/>
                </a:lnTo>
                <a:lnTo>
                  <a:pt x="4086580" y="4266530"/>
                </a:lnTo>
                <a:cubicBezTo>
                  <a:pt x="4098957" y="4260245"/>
                  <a:pt x="4111335" y="4257103"/>
                  <a:pt x="4122161" y="4258675"/>
                </a:cubicBezTo>
                <a:close/>
                <a:moveTo>
                  <a:pt x="4537923" y="4255495"/>
                </a:moveTo>
                <a:cubicBezTo>
                  <a:pt x="4553308" y="4253755"/>
                  <a:pt x="4568509" y="4254142"/>
                  <a:pt x="4582598" y="4256463"/>
                </a:cubicBezTo>
                <a:cubicBezTo>
                  <a:pt x="4610774" y="4261101"/>
                  <a:pt x="4634502" y="4273478"/>
                  <a:pt x="4646365" y="4292040"/>
                </a:cubicBezTo>
                <a:lnTo>
                  <a:pt x="4646362" y="4292040"/>
                </a:lnTo>
                <a:lnTo>
                  <a:pt x="4646365" y="4292045"/>
                </a:lnTo>
                <a:cubicBezTo>
                  <a:pt x="4587045" y="4316797"/>
                  <a:pt x="4551456" y="4267292"/>
                  <a:pt x="4492135" y="4267292"/>
                </a:cubicBezTo>
                <a:lnTo>
                  <a:pt x="4492147" y="4267292"/>
                </a:lnTo>
                <a:lnTo>
                  <a:pt x="4492135" y="4267290"/>
                </a:lnTo>
                <a:cubicBezTo>
                  <a:pt x="4506967" y="4261103"/>
                  <a:pt x="4522537" y="4257235"/>
                  <a:pt x="4537923" y="4255495"/>
                </a:cubicBezTo>
                <a:close/>
                <a:moveTo>
                  <a:pt x="4292214" y="4219689"/>
                </a:moveTo>
                <a:cubicBezTo>
                  <a:pt x="4362905" y="4232258"/>
                  <a:pt x="4410031" y="4244823"/>
                  <a:pt x="4468935" y="4244823"/>
                </a:cubicBezTo>
                <a:cubicBezTo>
                  <a:pt x="4468935" y="4244823"/>
                  <a:pt x="4480716" y="4257386"/>
                  <a:pt x="4480716" y="4269955"/>
                </a:cubicBezTo>
                <a:lnTo>
                  <a:pt x="4480716" y="4269959"/>
                </a:lnTo>
                <a:cubicBezTo>
                  <a:pt x="4480716" y="4282524"/>
                  <a:pt x="4468935" y="4282524"/>
                  <a:pt x="4457154" y="4282524"/>
                </a:cubicBezTo>
                <a:cubicBezTo>
                  <a:pt x="4410031" y="4257390"/>
                  <a:pt x="4351120" y="4269959"/>
                  <a:pt x="4292214" y="4219693"/>
                </a:cubicBezTo>
                <a:lnTo>
                  <a:pt x="4292225" y="4219696"/>
                </a:lnTo>
                <a:close/>
                <a:moveTo>
                  <a:pt x="3507374" y="3888387"/>
                </a:moveTo>
                <a:cubicBezTo>
                  <a:pt x="3519940" y="3888387"/>
                  <a:pt x="3532508" y="3899812"/>
                  <a:pt x="3519940" y="3911235"/>
                </a:cubicBezTo>
                <a:lnTo>
                  <a:pt x="3519940" y="3911239"/>
                </a:lnTo>
                <a:cubicBezTo>
                  <a:pt x="3519940" y="3922663"/>
                  <a:pt x="3507374" y="3934087"/>
                  <a:pt x="3482238" y="3934087"/>
                </a:cubicBezTo>
                <a:cubicBezTo>
                  <a:pt x="3469673" y="3934087"/>
                  <a:pt x="3469673" y="3934087"/>
                  <a:pt x="3469673" y="3922663"/>
                </a:cubicBezTo>
                <a:lnTo>
                  <a:pt x="3469673" y="3922660"/>
                </a:lnTo>
                <a:cubicBezTo>
                  <a:pt x="3469673" y="3899812"/>
                  <a:pt x="3494806" y="3899812"/>
                  <a:pt x="3507374" y="3888387"/>
                </a:cubicBezTo>
                <a:close/>
                <a:moveTo>
                  <a:pt x="3326869" y="3625630"/>
                </a:moveTo>
                <a:cubicBezTo>
                  <a:pt x="3338293" y="3625630"/>
                  <a:pt x="3338293" y="3625630"/>
                  <a:pt x="3338293" y="3625630"/>
                </a:cubicBezTo>
                <a:lnTo>
                  <a:pt x="3338293" y="3625634"/>
                </a:lnTo>
                <a:lnTo>
                  <a:pt x="3338293" y="3637054"/>
                </a:lnTo>
                <a:lnTo>
                  <a:pt x="3338293" y="3637058"/>
                </a:lnTo>
                <a:cubicBezTo>
                  <a:pt x="3338293" y="3637058"/>
                  <a:pt x="3326869" y="3637058"/>
                  <a:pt x="3326869" y="3625634"/>
                </a:cubicBezTo>
                <a:lnTo>
                  <a:pt x="3326872" y="3625634"/>
                </a:lnTo>
                <a:close/>
                <a:moveTo>
                  <a:pt x="5501771" y="3534028"/>
                </a:moveTo>
                <a:cubicBezTo>
                  <a:pt x="5520336" y="3529743"/>
                  <a:pt x="5540329" y="3535456"/>
                  <a:pt x="5551753" y="3552591"/>
                </a:cubicBezTo>
                <a:cubicBezTo>
                  <a:pt x="5551753" y="3552591"/>
                  <a:pt x="5551753" y="3564016"/>
                  <a:pt x="5551753" y="3575439"/>
                </a:cubicBezTo>
                <a:cubicBezTo>
                  <a:pt x="5540329" y="3575439"/>
                  <a:pt x="5517480" y="3575439"/>
                  <a:pt x="5517480" y="3575439"/>
                </a:cubicBezTo>
                <a:cubicBezTo>
                  <a:pt x="5506057" y="3529743"/>
                  <a:pt x="5483208" y="3575439"/>
                  <a:pt x="5460360" y="3575439"/>
                </a:cubicBezTo>
                <a:cubicBezTo>
                  <a:pt x="5466070" y="3552591"/>
                  <a:pt x="5483208" y="3538310"/>
                  <a:pt x="5501771" y="3534028"/>
                </a:cubicBezTo>
                <a:close/>
                <a:moveTo>
                  <a:pt x="7677964" y="3483045"/>
                </a:moveTo>
                <a:cubicBezTo>
                  <a:pt x="7688795" y="3484614"/>
                  <a:pt x="7698077" y="3490900"/>
                  <a:pt x="7704267" y="3503464"/>
                </a:cubicBezTo>
                <a:lnTo>
                  <a:pt x="7704263" y="3503468"/>
                </a:lnTo>
                <a:lnTo>
                  <a:pt x="7704267" y="3503468"/>
                </a:lnTo>
                <a:cubicBezTo>
                  <a:pt x="7716641" y="3516033"/>
                  <a:pt x="7704267" y="3528602"/>
                  <a:pt x="7691889" y="3528602"/>
                </a:cubicBezTo>
                <a:cubicBezTo>
                  <a:pt x="7667137" y="3541167"/>
                  <a:pt x="7654759" y="3516033"/>
                  <a:pt x="7642381" y="3490904"/>
                </a:cubicBezTo>
                <a:lnTo>
                  <a:pt x="7642385" y="3490904"/>
                </a:lnTo>
                <a:lnTo>
                  <a:pt x="7642381" y="3490900"/>
                </a:lnTo>
                <a:cubicBezTo>
                  <a:pt x="7654759" y="3484614"/>
                  <a:pt x="7667137" y="3481473"/>
                  <a:pt x="7677964" y="3483045"/>
                </a:cubicBezTo>
                <a:close/>
                <a:moveTo>
                  <a:pt x="8093726" y="3479866"/>
                </a:moveTo>
                <a:cubicBezTo>
                  <a:pt x="8109111" y="3478125"/>
                  <a:pt x="8124312" y="3478512"/>
                  <a:pt x="8138401" y="3480833"/>
                </a:cubicBezTo>
                <a:cubicBezTo>
                  <a:pt x="8166577" y="3485471"/>
                  <a:pt x="8190304" y="3497848"/>
                  <a:pt x="8202168" y="3516411"/>
                </a:cubicBezTo>
                <a:lnTo>
                  <a:pt x="8202164" y="3516411"/>
                </a:lnTo>
                <a:lnTo>
                  <a:pt x="8202168" y="3516415"/>
                </a:lnTo>
                <a:cubicBezTo>
                  <a:pt x="8142848" y="3541167"/>
                  <a:pt x="8107259" y="3491662"/>
                  <a:pt x="8047939" y="3491662"/>
                </a:cubicBezTo>
                <a:lnTo>
                  <a:pt x="8047951" y="3491662"/>
                </a:lnTo>
                <a:lnTo>
                  <a:pt x="8047939" y="3491659"/>
                </a:lnTo>
                <a:cubicBezTo>
                  <a:pt x="8062769" y="3485472"/>
                  <a:pt x="8078341" y="3481605"/>
                  <a:pt x="8093726" y="3479866"/>
                </a:cubicBezTo>
                <a:close/>
                <a:moveTo>
                  <a:pt x="7848017" y="3444060"/>
                </a:moveTo>
                <a:cubicBezTo>
                  <a:pt x="7918707" y="3456628"/>
                  <a:pt x="7965831" y="3469193"/>
                  <a:pt x="8024739" y="3469193"/>
                </a:cubicBezTo>
                <a:cubicBezTo>
                  <a:pt x="8024739" y="3469193"/>
                  <a:pt x="8036519" y="3481757"/>
                  <a:pt x="8036519" y="3494326"/>
                </a:cubicBezTo>
                <a:lnTo>
                  <a:pt x="8036519" y="3494329"/>
                </a:lnTo>
                <a:cubicBezTo>
                  <a:pt x="8036519" y="3506895"/>
                  <a:pt x="8024739" y="3506895"/>
                  <a:pt x="8012957" y="3506895"/>
                </a:cubicBezTo>
                <a:cubicBezTo>
                  <a:pt x="7965831" y="3481761"/>
                  <a:pt x="7906923" y="3494329"/>
                  <a:pt x="7848017" y="3444063"/>
                </a:cubicBezTo>
                <a:lnTo>
                  <a:pt x="7848028" y="3444067"/>
                </a:lnTo>
                <a:close/>
                <a:moveTo>
                  <a:pt x="1128557" y="3403152"/>
                </a:moveTo>
                <a:cubicBezTo>
                  <a:pt x="1147123" y="3398867"/>
                  <a:pt x="1167114" y="3404580"/>
                  <a:pt x="1178538" y="3421715"/>
                </a:cubicBezTo>
                <a:cubicBezTo>
                  <a:pt x="1178538" y="3421715"/>
                  <a:pt x="1178538" y="3433140"/>
                  <a:pt x="1178538" y="3444563"/>
                </a:cubicBezTo>
                <a:cubicBezTo>
                  <a:pt x="1167114" y="3444563"/>
                  <a:pt x="1144265" y="3444563"/>
                  <a:pt x="1144265" y="3444563"/>
                </a:cubicBezTo>
                <a:cubicBezTo>
                  <a:pt x="1132842" y="3398867"/>
                  <a:pt x="1109993" y="3444563"/>
                  <a:pt x="1087144" y="3444563"/>
                </a:cubicBezTo>
                <a:cubicBezTo>
                  <a:pt x="1092856" y="3421715"/>
                  <a:pt x="1109993" y="3407434"/>
                  <a:pt x="1128557" y="3403152"/>
                </a:cubicBezTo>
                <a:close/>
                <a:moveTo>
                  <a:pt x="1332669" y="3344195"/>
                </a:moveTo>
                <a:lnTo>
                  <a:pt x="1300467" y="3364572"/>
                </a:lnTo>
                <a:lnTo>
                  <a:pt x="1309151" y="3418095"/>
                </a:lnTo>
                <a:lnTo>
                  <a:pt x="1332149" y="3408905"/>
                </a:lnTo>
                <a:lnTo>
                  <a:pt x="1342543" y="3376258"/>
                </a:lnTo>
                <a:close/>
                <a:moveTo>
                  <a:pt x="6693187" y="3341064"/>
                </a:moveTo>
                <a:cubicBezTo>
                  <a:pt x="6687617" y="3340879"/>
                  <a:pt x="6682418" y="3341991"/>
                  <a:pt x="6677962" y="3344217"/>
                </a:cubicBezTo>
                <a:lnTo>
                  <a:pt x="6676119" y="3347349"/>
                </a:lnTo>
                <a:lnTo>
                  <a:pt x="6719322" y="3347765"/>
                </a:lnTo>
                <a:lnTo>
                  <a:pt x="6710640" y="3345702"/>
                </a:lnTo>
                <a:cubicBezTo>
                  <a:pt x="6704700" y="3342734"/>
                  <a:pt x="6698758" y="3341250"/>
                  <a:pt x="6693187" y="3341064"/>
                </a:cubicBezTo>
                <a:close/>
                <a:moveTo>
                  <a:pt x="8919897" y="3314006"/>
                </a:moveTo>
                <a:cubicBezTo>
                  <a:pt x="8930728" y="3315576"/>
                  <a:pt x="8940012" y="3321861"/>
                  <a:pt x="8946201" y="3334426"/>
                </a:cubicBezTo>
                <a:lnTo>
                  <a:pt x="8946197" y="3334430"/>
                </a:lnTo>
                <a:lnTo>
                  <a:pt x="8946201" y="3334430"/>
                </a:lnTo>
                <a:cubicBezTo>
                  <a:pt x="8958575" y="3346995"/>
                  <a:pt x="8946201" y="3359563"/>
                  <a:pt x="8933822" y="3359563"/>
                </a:cubicBezTo>
                <a:cubicBezTo>
                  <a:pt x="8909071" y="3372128"/>
                  <a:pt x="8896693" y="3346995"/>
                  <a:pt x="8884315" y="3321864"/>
                </a:cubicBezTo>
                <a:lnTo>
                  <a:pt x="8884320" y="3321864"/>
                </a:lnTo>
                <a:lnTo>
                  <a:pt x="8884315" y="3321861"/>
                </a:lnTo>
                <a:cubicBezTo>
                  <a:pt x="8896693" y="3315576"/>
                  <a:pt x="8909071" y="3312434"/>
                  <a:pt x="8919897" y="3314006"/>
                </a:cubicBezTo>
                <a:close/>
                <a:moveTo>
                  <a:pt x="9335660" y="3310826"/>
                </a:moveTo>
                <a:cubicBezTo>
                  <a:pt x="9351045" y="3309086"/>
                  <a:pt x="9366245" y="3309473"/>
                  <a:pt x="9380335" y="3311794"/>
                </a:cubicBezTo>
                <a:cubicBezTo>
                  <a:pt x="9408512" y="3316432"/>
                  <a:pt x="9432238" y="3328810"/>
                  <a:pt x="9444100" y="3347372"/>
                </a:cubicBezTo>
                <a:lnTo>
                  <a:pt x="9444098" y="3347372"/>
                </a:lnTo>
                <a:lnTo>
                  <a:pt x="9444100" y="3347376"/>
                </a:lnTo>
                <a:cubicBezTo>
                  <a:pt x="9384782" y="3372128"/>
                  <a:pt x="9349192" y="3322624"/>
                  <a:pt x="9289873" y="3322624"/>
                </a:cubicBezTo>
                <a:lnTo>
                  <a:pt x="9289884" y="3322624"/>
                </a:lnTo>
                <a:lnTo>
                  <a:pt x="9289873" y="3322621"/>
                </a:lnTo>
                <a:cubicBezTo>
                  <a:pt x="9304702" y="3316433"/>
                  <a:pt x="9320274" y="3312566"/>
                  <a:pt x="9335660" y="3310826"/>
                </a:cubicBezTo>
                <a:close/>
                <a:moveTo>
                  <a:pt x="6410606" y="3302668"/>
                </a:moveTo>
                <a:lnTo>
                  <a:pt x="6413308" y="3320196"/>
                </a:lnTo>
                <a:lnTo>
                  <a:pt x="6434157" y="3321823"/>
                </a:lnTo>
                <a:cubicBezTo>
                  <a:pt x="6451981" y="3324792"/>
                  <a:pt x="6472776" y="3330727"/>
                  <a:pt x="6490600" y="3336664"/>
                </a:cubicBezTo>
                <a:lnTo>
                  <a:pt x="6617763" y="3345215"/>
                </a:lnTo>
                <a:lnTo>
                  <a:pt x="6603699" y="3310087"/>
                </a:lnTo>
                <a:lnTo>
                  <a:pt x="6606668" y="3335311"/>
                </a:lnTo>
                <a:lnTo>
                  <a:pt x="6606668" y="3335315"/>
                </a:lnTo>
                <a:cubicBezTo>
                  <a:pt x="6606668" y="3342734"/>
                  <a:pt x="6603699" y="3345698"/>
                  <a:pt x="6591815" y="3333829"/>
                </a:cubicBezTo>
                <a:cubicBezTo>
                  <a:pt x="6544286" y="3310087"/>
                  <a:pt x="6496754" y="3321959"/>
                  <a:pt x="6449226" y="3321959"/>
                </a:cubicBezTo>
                <a:cubicBezTo>
                  <a:pt x="6437342" y="3321959"/>
                  <a:pt x="6437342" y="3321959"/>
                  <a:pt x="6425460" y="3310087"/>
                </a:cubicBezTo>
                <a:close/>
                <a:moveTo>
                  <a:pt x="6960170" y="3298214"/>
                </a:moveTo>
                <a:lnTo>
                  <a:pt x="6915615" y="3326409"/>
                </a:lnTo>
                <a:lnTo>
                  <a:pt x="6921329" y="3361630"/>
                </a:lnTo>
                <a:lnTo>
                  <a:pt x="6939162" y="3362447"/>
                </a:lnTo>
                <a:cubicBezTo>
                  <a:pt x="6954015" y="3361519"/>
                  <a:pt x="6968870" y="3359665"/>
                  <a:pt x="6983723" y="3358923"/>
                </a:cubicBezTo>
                <a:lnTo>
                  <a:pt x="6999508" y="3360040"/>
                </a:lnTo>
                <a:lnTo>
                  <a:pt x="6972056" y="3347185"/>
                </a:lnTo>
                <a:cubicBezTo>
                  <a:pt x="6957202" y="3339766"/>
                  <a:pt x="6948290" y="3327895"/>
                  <a:pt x="6960170" y="3298214"/>
                </a:cubicBezTo>
                <a:close/>
                <a:moveTo>
                  <a:pt x="6827423" y="3293577"/>
                </a:moveTo>
                <a:cubicBezTo>
                  <a:pt x="6816839" y="3293020"/>
                  <a:pt x="6814612" y="3304150"/>
                  <a:pt x="6805700" y="3321959"/>
                </a:cubicBezTo>
                <a:cubicBezTo>
                  <a:pt x="6799759" y="3330862"/>
                  <a:pt x="6793075" y="3337539"/>
                  <a:pt x="6785834" y="3342363"/>
                </a:cubicBezTo>
                <a:lnTo>
                  <a:pt x="6771073" y="3348261"/>
                </a:lnTo>
                <a:lnTo>
                  <a:pt x="6799543" y="3348534"/>
                </a:lnTo>
                <a:cubicBezTo>
                  <a:pt x="6817366" y="3348534"/>
                  <a:pt x="6835190" y="3351502"/>
                  <a:pt x="6851529" y="3354470"/>
                </a:cubicBezTo>
                <a:lnTo>
                  <a:pt x="6853229" y="3354704"/>
                </a:lnTo>
                <a:lnTo>
                  <a:pt x="6853229" y="3345702"/>
                </a:lnTo>
                <a:cubicBezTo>
                  <a:pt x="6829463" y="3333829"/>
                  <a:pt x="6865110" y="3298214"/>
                  <a:pt x="6841348" y="3298214"/>
                </a:cubicBezTo>
                <a:cubicBezTo>
                  <a:pt x="6835407" y="3295246"/>
                  <a:pt x="6830951" y="3293763"/>
                  <a:pt x="6827423" y="3293577"/>
                </a:cubicBezTo>
                <a:close/>
                <a:moveTo>
                  <a:pt x="6164053" y="3286344"/>
                </a:moveTo>
                <a:lnTo>
                  <a:pt x="6210092" y="3307115"/>
                </a:lnTo>
                <a:cubicBezTo>
                  <a:pt x="6218259" y="3310084"/>
                  <a:pt x="6223088" y="3313795"/>
                  <a:pt x="6219188" y="3319727"/>
                </a:cubicBezTo>
                <a:lnTo>
                  <a:pt x="6219188" y="3319731"/>
                </a:lnTo>
                <a:cubicBezTo>
                  <a:pt x="6217237" y="3322699"/>
                  <a:pt x="6213107" y="3326223"/>
                  <a:pt x="6206122" y="3330490"/>
                </a:cubicBezTo>
                <a:lnTo>
                  <a:pt x="6191628" y="3337793"/>
                </a:lnTo>
                <a:lnTo>
                  <a:pt x="6199480" y="3341115"/>
                </a:lnTo>
                <a:cubicBezTo>
                  <a:pt x="6217304" y="3345567"/>
                  <a:pt x="6235128" y="3342598"/>
                  <a:pt x="6252951" y="3324791"/>
                </a:cubicBezTo>
                <a:cubicBezTo>
                  <a:pt x="6264832" y="3312920"/>
                  <a:pt x="6312365" y="3336664"/>
                  <a:pt x="6336126" y="3336664"/>
                </a:cubicBezTo>
                <a:cubicBezTo>
                  <a:pt x="6356921" y="3336664"/>
                  <a:pt x="6368617" y="3363932"/>
                  <a:pt x="6387138" y="3338935"/>
                </a:cubicBezTo>
                <a:lnTo>
                  <a:pt x="6393447" y="3328313"/>
                </a:lnTo>
                <a:lnTo>
                  <a:pt x="6377930" y="3314909"/>
                </a:lnTo>
                <a:cubicBezTo>
                  <a:pt x="6342283" y="3289311"/>
                  <a:pt x="6306636" y="3280408"/>
                  <a:pt x="6270987" y="3298214"/>
                </a:cubicBezTo>
                <a:cubicBezTo>
                  <a:pt x="6253165" y="3304151"/>
                  <a:pt x="6235340" y="3295246"/>
                  <a:pt x="6217519" y="3287826"/>
                </a:cubicBezTo>
                <a:close/>
                <a:moveTo>
                  <a:pt x="9089952" y="3275020"/>
                </a:moveTo>
                <a:cubicBezTo>
                  <a:pt x="9160641" y="3287589"/>
                  <a:pt x="9207766" y="3300154"/>
                  <a:pt x="9266672" y="3300154"/>
                </a:cubicBezTo>
                <a:cubicBezTo>
                  <a:pt x="9266672" y="3300154"/>
                  <a:pt x="9278452" y="3312717"/>
                  <a:pt x="9278452" y="3325286"/>
                </a:cubicBezTo>
                <a:lnTo>
                  <a:pt x="9278452" y="3325290"/>
                </a:lnTo>
                <a:cubicBezTo>
                  <a:pt x="9278452" y="3337855"/>
                  <a:pt x="9266672" y="3337855"/>
                  <a:pt x="9254891" y="3337855"/>
                </a:cubicBezTo>
                <a:cubicBezTo>
                  <a:pt x="9207766" y="3312721"/>
                  <a:pt x="9148856" y="3325290"/>
                  <a:pt x="9089952" y="3275024"/>
                </a:cubicBezTo>
                <a:lnTo>
                  <a:pt x="9089962" y="3275028"/>
                </a:lnTo>
                <a:close/>
                <a:moveTo>
                  <a:pt x="5626696" y="3184796"/>
                </a:moveTo>
                <a:lnTo>
                  <a:pt x="5625407" y="3185861"/>
                </a:lnTo>
                <a:cubicBezTo>
                  <a:pt x="5621693" y="3190498"/>
                  <a:pt x="5617238" y="3197175"/>
                  <a:pt x="5611296" y="3206080"/>
                </a:cubicBezTo>
                <a:cubicBezTo>
                  <a:pt x="5599414" y="3229824"/>
                  <a:pt x="5551882" y="3241695"/>
                  <a:pt x="5551882" y="3241695"/>
                </a:cubicBezTo>
                <a:cubicBezTo>
                  <a:pt x="5516236" y="3217953"/>
                  <a:pt x="5492469" y="3253568"/>
                  <a:pt x="5468707" y="3229824"/>
                </a:cubicBezTo>
                <a:lnTo>
                  <a:pt x="5456826" y="3241695"/>
                </a:lnTo>
                <a:lnTo>
                  <a:pt x="5468707" y="3253564"/>
                </a:lnTo>
                <a:cubicBezTo>
                  <a:pt x="5516236" y="3253564"/>
                  <a:pt x="5563767" y="3277305"/>
                  <a:pt x="5623176" y="3265435"/>
                </a:cubicBezTo>
                <a:lnTo>
                  <a:pt x="5628967" y="3263875"/>
                </a:lnTo>
                <a:lnTo>
                  <a:pt x="5627849" y="3195822"/>
                </a:lnTo>
                <a:close/>
                <a:moveTo>
                  <a:pt x="7274846" y="3134853"/>
                </a:moveTo>
                <a:lnTo>
                  <a:pt x="7284248" y="3148514"/>
                </a:lnTo>
                <a:lnTo>
                  <a:pt x="7298589" y="3145275"/>
                </a:lnTo>
                <a:close/>
                <a:moveTo>
                  <a:pt x="7907771" y="3108140"/>
                </a:moveTo>
                <a:cubicBezTo>
                  <a:pt x="7904987" y="3108883"/>
                  <a:pt x="7902387" y="3111109"/>
                  <a:pt x="7900158" y="3114077"/>
                </a:cubicBezTo>
                <a:lnTo>
                  <a:pt x="7892735" y="3134851"/>
                </a:lnTo>
                <a:lnTo>
                  <a:pt x="7916498" y="3158590"/>
                </a:lnTo>
                <a:cubicBezTo>
                  <a:pt x="7928379" y="3158590"/>
                  <a:pt x="7940264" y="3146720"/>
                  <a:pt x="7964026" y="3170462"/>
                </a:cubicBezTo>
                <a:lnTo>
                  <a:pt x="7964019" y="3170462"/>
                </a:lnTo>
                <a:lnTo>
                  <a:pt x="7964026" y="3170465"/>
                </a:lnTo>
                <a:lnTo>
                  <a:pt x="7892998" y="3178070"/>
                </a:lnTo>
                <a:lnTo>
                  <a:pt x="7992379" y="3179024"/>
                </a:lnTo>
                <a:lnTo>
                  <a:pt x="7983338" y="3174918"/>
                </a:lnTo>
                <a:cubicBezTo>
                  <a:pt x="7978882" y="3170466"/>
                  <a:pt x="7975911" y="3164529"/>
                  <a:pt x="7975911" y="3158594"/>
                </a:cubicBezTo>
                <a:cubicBezTo>
                  <a:pt x="7975911" y="3111109"/>
                  <a:pt x="7928379" y="3134851"/>
                  <a:pt x="7916498" y="3111109"/>
                </a:cubicBezTo>
                <a:cubicBezTo>
                  <a:pt x="7913528" y="3108140"/>
                  <a:pt x="7910557" y="3107399"/>
                  <a:pt x="7907771" y="3108140"/>
                </a:cubicBezTo>
                <a:close/>
                <a:moveTo>
                  <a:pt x="7173023" y="3102083"/>
                </a:moveTo>
                <a:cubicBezTo>
                  <a:pt x="7170294" y="3101459"/>
                  <a:pt x="7167083" y="3101924"/>
                  <a:pt x="7163271" y="3103811"/>
                </a:cubicBezTo>
                <a:lnTo>
                  <a:pt x="7157070" y="3108574"/>
                </a:lnTo>
                <a:lnTo>
                  <a:pt x="7184123" y="3118404"/>
                </a:lnTo>
                <a:lnTo>
                  <a:pt x="7179876" y="3106889"/>
                </a:lnTo>
                <a:cubicBezTo>
                  <a:pt x="7177996" y="3104420"/>
                  <a:pt x="7175750" y="3102707"/>
                  <a:pt x="7173023" y="3102083"/>
                </a:cubicBezTo>
                <a:close/>
                <a:moveTo>
                  <a:pt x="1095493" y="3098948"/>
                </a:moveTo>
                <a:lnTo>
                  <a:pt x="1083611" y="3110819"/>
                </a:lnTo>
                <a:lnTo>
                  <a:pt x="1095493" y="3122688"/>
                </a:lnTo>
                <a:cubicBezTo>
                  <a:pt x="1119257" y="3122688"/>
                  <a:pt x="1143021" y="3128624"/>
                  <a:pt x="1168272" y="3133076"/>
                </a:cubicBezTo>
                <a:lnTo>
                  <a:pt x="1191483" y="3135823"/>
                </a:lnTo>
                <a:lnTo>
                  <a:pt x="1188546" y="3107735"/>
                </a:lnTo>
                <a:lnTo>
                  <a:pt x="1186281" y="3108593"/>
                </a:lnTo>
                <a:cubicBezTo>
                  <a:pt x="1181639" y="3110077"/>
                  <a:pt x="1178668" y="3110819"/>
                  <a:pt x="1178668" y="3110819"/>
                </a:cubicBezTo>
                <a:cubicBezTo>
                  <a:pt x="1143020" y="3087077"/>
                  <a:pt x="1119255" y="3122692"/>
                  <a:pt x="1095493" y="3098948"/>
                </a:cubicBezTo>
                <a:close/>
                <a:moveTo>
                  <a:pt x="6765381" y="3074009"/>
                </a:moveTo>
                <a:cubicBezTo>
                  <a:pt x="6754983" y="3078463"/>
                  <a:pt x="6746073" y="3087365"/>
                  <a:pt x="6740133" y="3087365"/>
                </a:cubicBezTo>
                <a:lnTo>
                  <a:pt x="6740118" y="3087424"/>
                </a:lnTo>
                <a:lnTo>
                  <a:pt x="6746472" y="3088049"/>
                </a:lnTo>
                <a:cubicBezTo>
                  <a:pt x="6758541" y="3090090"/>
                  <a:pt x="6770795" y="3092686"/>
                  <a:pt x="6783420" y="3094912"/>
                </a:cubicBezTo>
                <a:lnTo>
                  <a:pt x="6793023" y="3096049"/>
                </a:lnTo>
                <a:lnTo>
                  <a:pt x="6797994" y="3089428"/>
                </a:lnTo>
                <a:lnTo>
                  <a:pt x="6792589" y="3089428"/>
                </a:lnTo>
                <a:cubicBezTo>
                  <a:pt x="6789618" y="3089428"/>
                  <a:pt x="6786647" y="3089428"/>
                  <a:pt x="6780705" y="3089428"/>
                </a:cubicBezTo>
                <a:lnTo>
                  <a:pt x="6768535" y="3075241"/>
                </a:lnTo>
                <a:close/>
                <a:moveTo>
                  <a:pt x="7116312" y="3068563"/>
                </a:moveTo>
                <a:lnTo>
                  <a:pt x="7102977" y="3072523"/>
                </a:lnTo>
                <a:lnTo>
                  <a:pt x="7085214" y="3074588"/>
                </a:lnTo>
                <a:lnTo>
                  <a:pt x="7086423" y="3075624"/>
                </a:lnTo>
                <a:lnTo>
                  <a:pt x="7090877" y="3120140"/>
                </a:lnTo>
                <a:lnTo>
                  <a:pt x="7090877" y="3120143"/>
                </a:lnTo>
                <a:cubicBezTo>
                  <a:pt x="7102761" y="3117175"/>
                  <a:pt x="7113900" y="3114207"/>
                  <a:pt x="7124669" y="3111980"/>
                </a:cubicBezTo>
                <a:lnTo>
                  <a:pt x="7132255" y="3111088"/>
                </a:lnTo>
                <a:lnTo>
                  <a:pt x="7132255" y="3099236"/>
                </a:lnTo>
                <a:lnTo>
                  <a:pt x="7133550" y="3086939"/>
                </a:lnTo>
                <a:lnTo>
                  <a:pt x="7129683" y="3087496"/>
                </a:lnTo>
                <a:cubicBezTo>
                  <a:pt x="7124669" y="3086754"/>
                  <a:pt x="7121327" y="3084528"/>
                  <a:pt x="7119099" y="3081559"/>
                </a:cubicBezTo>
                <a:close/>
                <a:moveTo>
                  <a:pt x="6813311" y="3065930"/>
                </a:moveTo>
                <a:lnTo>
                  <a:pt x="6812167" y="3066365"/>
                </a:lnTo>
                <a:lnTo>
                  <a:pt x="6821059" y="3099366"/>
                </a:lnTo>
                <a:lnTo>
                  <a:pt x="6822594" y="3099548"/>
                </a:lnTo>
                <a:cubicBezTo>
                  <a:pt x="6836148" y="3100105"/>
                  <a:pt x="6850258" y="3099363"/>
                  <a:pt x="6865110" y="3096396"/>
                </a:cubicBezTo>
                <a:cubicBezTo>
                  <a:pt x="6871051" y="3093428"/>
                  <a:pt x="6878479" y="3091944"/>
                  <a:pt x="6886463" y="3090646"/>
                </a:cubicBezTo>
                <a:lnTo>
                  <a:pt x="6888247" y="3090311"/>
                </a:lnTo>
                <a:lnTo>
                  <a:pt x="6858955" y="3075494"/>
                </a:lnTo>
                <a:cubicBezTo>
                  <a:pt x="6858955" y="3072526"/>
                  <a:pt x="6857471" y="3071042"/>
                  <a:pt x="6855428" y="3070114"/>
                </a:cubicBezTo>
                <a:lnTo>
                  <a:pt x="6848857" y="3068163"/>
                </a:lnTo>
                <a:lnTo>
                  <a:pt x="6848857" y="3069413"/>
                </a:lnTo>
                <a:cubicBezTo>
                  <a:pt x="6837432" y="3069413"/>
                  <a:pt x="6814584" y="3069413"/>
                  <a:pt x="6814584" y="3069413"/>
                </a:cubicBezTo>
                <a:close/>
                <a:moveTo>
                  <a:pt x="5482828" y="3052578"/>
                </a:moveTo>
                <a:lnTo>
                  <a:pt x="5480588" y="3063617"/>
                </a:lnTo>
                <a:cubicBezTo>
                  <a:pt x="5474649" y="3069553"/>
                  <a:pt x="5474649" y="3075490"/>
                  <a:pt x="5477618" y="3079942"/>
                </a:cubicBezTo>
                <a:lnTo>
                  <a:pt x="5483751" y="3083006"/>
                </a:lnTo>
                <a:lnTo>
                  <a:pt x="5497399" y="3077550"/>
                </a:lnTo>
                <a:lnTo>
                  <a:pt x="5502961" y="3078938"/>
                </a:lnTo>
                <a:lnTo>
                  <a:pt x="5504310" y="3064096"/>
                </a:lnTo>
                <a:lnTo>
                  <a:pt x="5485516" y="3055295"/>
                </a:lnTo>
                <a:close/>
                <a:moveTo>
                  <a:pt x="5206650" y="3049175"/>
                </a:moveTo>
                <a:cubicBezTo>
                  <a:pt x="5201079" y="3048989"/>
                  <a:pt x="5195881" y="3050101"/>
                  <a:pt x="5191424" y="3052327"/>
                </a:cubicBezTo>
                <a:lnTo>
                  <a:pt x="5183762" y="3065341"/>
                </a:lnTo>
                <a:lnTo>
                  <a:pt x="5247151" y="3059287"/>
                </a:lnTo>
                <a:lnTo>
                  <a:pt x="5224103" y="3053813"/>
                </a:lnTo>
                <a:cubicBezTo>
                  <a:pt x="5218161" y="3050844"/>
                  <a:pt x="5212220" y="3049360"/>
                  <a:pt x="5206650" y="3049175"/>
                </a:cubicBezTo>
                <a:close/>
                <a:moveTo>
                  <a:pt x="7757879" y="3046455"/>
                </a:moveTo>
                <a:lnTo>
                  <a:pt x="7742930" y="3054849"/>
                </a:lnTo>
                <a:lnTo>
                  <a:pt x="7726378" y="3057335"/>
                </a:lnTo>
                <a:lnTo>
                  <a:pt x="7726378" y="3075490"/>
                </a:lnTo>
                <a:cubicBezTo>
                  <a:pt x="7732323" y="3087361"/>
                  <a:pt x="7732323" y="3099232"/>
                  <a:pt x="7726378" y="3108137"/>
                </a:cubicBezTo>
                <a:lnTo>
                  <a:pt x="7726378" y="3108140"/>
                </a:lnTo>
                <a:cubicBezTo>
                  <a:pt x="7720438" y="3117043"/>
                  <a:pt x="7708555" y="3122979"/>
                  <a:pt x="7690731" y="3122979"/>
                </a:cubicBezTo>
                <a:cubicBezTo>
                  <a:pt x="7678849" y="3134851"/>
                  <a:pt x="7666965" y="3134851"/>
                  <a:pt x="7666965" y="3146724"/>
                </a:cubicBezTo>
                <a:lnTo>
                  <a:pt x="7664735" y="3151898"/>
                </a:lnTo>
                <a:lnTo>
                  <a:pt x="7676090" y="3152784"/>
                </a:lnTo>
                <a:cubicBezTo>
                  <a:pt x="7693915" y="3155752"/>
                  <a:pt x="7714709" y="3161688"/>
                  <a:pt x="7732532" y="3167625"/>
                </a:cubicBezTo>
                <a:lnTo>
                  <a:pt x="7836355" y="3174606"/>
                </a:lnTo>
                <a:lnTo>
                  <a:pt x="7797671" y="3170465"/>
                </a:lnTo>
                <a:lnTo>
                  <a:pt x="7797679" y="3170462"/>
                </a:lnTo>
                <a:lnTo>
                  <a:pt x="7797671" y="3170462"/>
                </a:lnTo>
                <a:cubicBezTo>
                  <a:pt x="7833318" y="3164527"/>
                  <a:pt x="7857085" y="3149689"/>
                  <a:pt x="7868970" y="3128913"/>
                </a:cubicBezTo>
                <a:lnTo>
                  <a:pt x="7868970" y="3051751"/>
                </a:lnTo>
                <a:lnTo>
                  <a:pt x="7854117" y="3102204"/>
                </a:lnTo>
                <a:cubicBezTo>
                  <a:pt x="7848177" y="3117043"/>
                  <a:pt x="7839263" y="3128916"/>
                  <a:pt x="7821437" y="3134851"/>
                </a:cubicBezTo>
                <a:lnTo>
                  <a:pt x="7821437" y="3134847"/>
                </a:lnTo>
                <a:lnTo>
                  <a:pt x="7821437" y="3051751"/>
                </a:lnTo>
                <a:cubicBezTo>
                  <a:pt x="7803613" y="3057685"/>
                  <a:pt x="7785790" y="3057685"/>
                  <a:pt x="7769453" y="3053234"/>
                </a:cubicBezTo>
                <a:close/>
                <a:moveTo>
                  <a:pt x="6854386" y="3035383"/>
                </a:moveTo>
                <a:lnTo>
                  <a:pt x="6853229" y="3037041"/>
                </a:lnTo>
                <a:lnTo>
                  <a:pt x="6844937" y="3043523"/>
                </a:lnTo>
                <a:lnTo>
                  <a:pt x="6848857" y="3046564"/>
                </a:lnTo>
                <a:lnTo>
                  <a:pt x="6848857" y="3047830"/>
                </a:lnTo>
                <a:lnTo>
                  <a:pt x="6854499" y="3035426"/>
                </a:lnTo>
                <a:close/>
                <a:moveTo>
                  <a:pt x="7536258" y="3017036"/>
                </a:moveTo>
                <a:lnTo>
                  <a:pt x="7536258" y="3111105"/>
                </a:lnTo>
                <a:cubicBezTo>
                  <a:pt x="7542198" y="3117039"/>
                  <a:pt x="7545171" y="3125944"/>
                  <a:pt x="7543685" y="3133364"/>
                </a:cubicBezTo>
                <a:lnTo>
                  <a:pt x="7543685" y="3133367"/>
                </a:lnTo>
                <a:lnTo>
                  <a:pt x="7527065" y="3144864"/>
                </a:lnTo>
                <a:lnTo>
                  <a:pt x="7528140" y="3151031"/>
                </a:lnTo>
                <a:lnTo>
                  <a:pt x="7522959" y="3151199"/>
                </a:lnTo>
                <a:lnTo>
                  <a:pt x="7521723" y="3155112"/>
                </a:lnTo>
                <a:lnTo>
                  <a:pt x="7532016" y="3157237"/>
                </a:lnTo>
                <a:cubicBezTo>
                  <a:pt x="7548356" y="3161689"/>
                  <a:pt x="7566179" y="3167625"/>
                  <a:pt x="7578059" y="3167625"/>
                </a:cubicBezTo>
                <a:cubicBezTo>
                  <a:pt x="7595883" y="3167625"/>
                  <a:pt x="7607023" y="3187659"/>
                  <a:pt x="7621505" y="3177641"/>
                </a:cubicBezTo>
                <a:lnTo>
                  <a:pt x="7622091" y="3177040"/>
                </a:lnTo>
                <a:lnTo>
                  <a:pt x="7607556" y="3170465"/>
                </a:lnTo>
                <a:cubicBezTo>
                  <a:pt x="7595671" y="3158594"/>
                  <a:pt x="7583789" y="3146724"/>
                  <a:pt x="7579335" y="3134851"/>
                </a:cubicBezTo>
                <a:lnTo>
                  <a:pt x="7579335" y="3134847"/>
                </a:lnTo>
                <a:cubicBezTo>
                  <a:pt x="7574876" y="3122976"/>
                  <a:pt x="7577849" y="3111105"/>
                  <a:pt x="7595671" y="3099232"/>
                </a:cubicBezTo>
                <a:lnTo>
                  <a:pt x="7609038" y="3087361"/>
                </a:lnTo>
                <a:lnTo>
                  <a:pt x="7595671" y="3075494"/>
                </a:lnTo>
                <a:cubicBezTo>
                  <a:pt x="7577848" y="3075494"/>
                  <a:pt x="7568936" y="3066591"/>
                  <a:pt x="7561509" y="3054718"/>
                </a:cubicBezTo>
                <a:lnTo>
                  <a:pt x="7536955" y="3017201"/>
                </a:lnTo>
                <a:close/>
                <a:moveTo>
                  <a:pt x="5473632" y="3006325"/>
                </a:moveTo>
                <a:lnTo>
                  <a:pt x="5429075" y="3034519"/>
                </a:lnTo>
                <a:lnTo>
                  <a:pt x="5429672" y="3038191"/>
                </a:lnTo>
                <a:lnTo>
                  <a:pt x="5444942" y="3039876"/>
                </a:lnTo>
                <a:lnTo>
                  <a:pt x="5472891" y="3042535"/>
                </a:lnTo>
                <a:lnTo>
                  <a:pt x="5469550" y="3039159"/>
                </a:lnTo>
                <a:cubicBezTo>
                  <a:pt x="5466950" y="3031553"/>
                  <a:pt x="5467692" y="3021165"/>
                  <a:pt x="5473632" y="3006325"/>
                </a:cubicBezTo>
                <a:close/>
                <a:moveTo>
                  <a:pt x="5340884" y="3001687"/>
                </a:moveTo>
                <a:cubicBezTo>
                  <a:pt x="5330302" y="3001131"/>
                  <a:pt x="5328075" y="3012260"/>
                  <a:pt x="5319162" y="3030068"/>
                </a:cubicBezTo>
                <a:cubicBezTo>
                  <a:pt x="5313222" y="3038973"/>
                  <a:pt x="5306537" y="3045650"/>
                  <a:pt x="5299297" y="3050473"/>
                </a:cubicBezTo>
                <a:lnTo>
                  <a:pt x="5286687" y="3055511"/>
                </a:lnTo>
                <a:lnTo>
                  <a:pt x="5326116" y="3051747"/>
                </a:lnTo>
                <a:cubicBezTo>
                  <a:pt x="5335028" y="3051747"/>
                  <a:pt x="5344682" y="3050262"/>
                  <a:pt x="5354708" y="3048222"/>
                </a:cubicBezTo>
                <a:lnTo>
                  <a:pt x="5361768" y="3046649"/>
                </a:lnTo>
                <a:lnTo>
                  <a:pt x="5358151" y="3041384"/>
                </a:lnTo>
                <a:cubicBezTo>
                  <a:pt x="5357034" y="3026357"/>
                  <a:pt x="5372631" y="3006325"/>
                  <a:pt x="5354809" y="3006325"/>
                </a:cubicBezTo>
                <a:cubicBezTo>
                  <a:pt x="5348869" y="3003356"/>
                  <a:pt x="5344412" y="3001873"/>
                  <a:pt x="5340884" y="3001687"/>
                </a:cubicBezTo>
                <a:close/>
                <a:moveTo>
                  <a:pt x="4677515" y="2994454"/>
                </a:moveTo>
                <a:lnTo>
                  <a:pt x="4723554" y="3015226"/>
                </a:lnTo>
                <a:cubicBezTo>
                  <a:pt x="4731721" y="3018194"/>
                  <a:pt x="4736550" y="3021904"/>
                  <a:pt x="4732650" y="3027838"/>
                </a:cubicBezTo>
                <a:lnTo>
                  <a:pt x="4732650" y="3027841"/>
                </a:lnTo>
                <a:cubicBezTo>
                  <a:pt x="4728748" y="3033778"/>
                  <a:pt x="4716127" y="3041940"/>
                  <a:pt x="4689388" y="3053813"/>
                </a:cubicBezTo>
                <a:lnTo>
                  <a:pt x="4689388" y="3073102"/>
                </a:lnTo>
                <a:lnTo>
                  <a:pt x="4689388" y="3101294"/>
                </a:lnTo>
                <a:lnTo>
                  <a:pt x="4689388" y="3101298"/>
                </a:lnTo>
                <a:cubicBezTo>
                  <a:pt x="4665626" y="3101298"/>
                  <a:pt x="4665626" y="3089428"/>
                  <a:pt x="4665626" y="3077553"/>
                </a:cubicBezTo>
                <a:cubicBezTo>
                  <a:pt x="4659685" y="3065683"/>
                  <a:pt x="4656712" y="3056779"/>
                  <a:pt x="4650773" y="3050843"/>
                </a:cubicBezTo>
                <a:lnTo>
                  <a:pt x="4622109" y="3043033"/>
                </a:lnTo>
                <a:lnTo>
                  <a:pt x="4622109" y="3126955"/>
                </a:lnTo>
                <a:lnTo>
                  <a:pt x="4622109" y="3126959"/>
                </a:lnTo>
                <a:lnTo>
                  <a:pt x="4623822" y="3146259"/>
                </a:lnTo>
                <a:lnTo>
                  <a:pt x="4625050" y="3146720"/>
                </a:lnTo>
                <a:cubicBezTo>
                  <a:pt x="4648817" y="3170462"/>
                  <a:pt x="4648817" y="3170462"/>
                  <a:pt x="4672579" y="3146720"/>
                </a:cubicBezTo>
                <a:cubicBezTo>
                  <a:pt x="4720111" y="3111105"/>
                  <a:pt x="4720111" y="3170462"/>
                  <a:pt x="4731992" y="3206076"/>
                </a:cubicBezTo>
                <a:cubicBezTo>
                  <a:pt x="4743876" y="3134847"/>
                  <a:pt x="4779524" y="3111105"/>
                  <a:pt x="4827053" y="3122976"/>
                </a:cubicBezTo>
                <a:cubicBezTo>
                  <a:pt x="4844876" y="3122976"/>
                  <a:pt x="4859729" y="3120009"/>
                  <a:pt x="4874582" y="3115557"/>
                </a:cubicBezTo>
                <a:lnTo>
                  <a:pt x="4881537" y="3113168"/>
                </a:lnTo>
                <a:lnTo>
                  <a:pt x="4760687" y="3113168"/>
                </a:lnTo>
                <a:cubicBezTo>
                  <a:pt x="4748802" y="3113168"/>
                  <a:pt x="4736920" y="3113168"/>
                  <a:pt x="4736920" y="3101298"/>
                </a:cubicBezTo>
                <a:lnTo>
                  <a:pt x="4736925" y="3101294"/>
                </a:lnTo>
                <a:lnTo>
                  <a:pt x="4736920" y="3101294"/>
                </a:lnTo>
                <a:cubicBezTo>
                  <a:pt x="4736920" y="3077550"/>
                  <a:pt x="4748802" y="3065679"/>
                  <a:pt x="4772567" y="3065679"/>
                </a:cubicBezTo>
                <a:cubicBezTo>
                  <a:pt x="4820096" y="3065679"/>
                  <a:pt x="4867628" y="3065679"/>
                  <a:pt x="4915156" y="3065679"/>
                </a:cubicBezTo>
                <a:cubicBezTo>
                  <a:pt x="4967142" y="3076066"/>
                  <a:pt x="5019130" y="3050097"/>
                  <a:pt x="5063154" y="3075256"/>
                </a:cubicBezTo>
                <a:lnTo>
                  <a:pt x="5067862" y="3078889"/>
                </a:lnTo>
                <a:lnTo>
                  <a:pt x="5124114" y="3071037"/>
                </a:lnTo>
                <a:lnTo>
                  <a:pt x="5137793" y="3069731"/>
                </a:lnTo>
                <a:lnTo>
                  <a:pt x="5117161" y="3018198"/>
                </a:lnTo>
                <a:lnTo>
                  <a:pt x="5120130" y="3043422"/>
                </a:lnTo>
                <a:lnTo>
                  <a:pt x="5120130" y="3043425"/>
                </a:lnTo>
                <a:cubicBezTo>
                  <a:pt x="5120130" y="3050844"/>
                  <a:pt x="5117161" y="3053809"/>
                  <a:pt x="5105277" y="3041940"/>
                </a:cubicBezTo>
                <a:cubicBezTo>
                  <a:pt x="5057748" y="3018198"/>
                  <a:pt x="5010216" y="3030068"/>
                  <a:pt x="4962688" y="3030068"/>
                </a:cubicBezTo>
                <a:cubicBezTo>
                  <a:pt x="4950804" y="3030068"/>
                  <a:pt x="4950804" y="3030068"/>
                  <a:pt x="4938922" y="3018198"/>
                </a:cubicBezTo>
                <a:lnTo>
                  <a:pt x="4924069" y="3010779"/>
                </a:lnTo>
                <a:lnTo>
                  <a:pt x="4927041" y="3030065"/>
                </a:lnTo>
                <a:lnTo>
                  <a:pt x="4927041" y="3030068"/>
                </a:lnTo>
                <a:lnTo>
                  <a:pt x="4927041" y="3053809"/>
                </a:lnTo>
                <a:lnTo>
                  <a:pt x="4927041" y="3053813"/>
                </a:lnTo>
                <a:cubicBezTo>
                  <a:pt x="4879510" y="3006325"/>
                  <a:pt x="4831981" y="2982583"/>
                  <a:pt x="4784449" y="3006325"/>
                </a:cubicBezTo>
                <a:cubicBezTo>
                  <a:pt x="4766627" y="3012261"/>
                  <a:pt x="4748802" y="3003356"/>
                  <a:pt x="4730980" y="2995936"/>
                </a:cubicBezTo>
                <a:close/>
                <a:moveTo>
                  <a:pt x="8975068" y="2977018"/>
                </a:moveTo>
                <a:cubicBezTo>
                  <a:pt x="8985899" y="2978588"/>
                  <a:pt x="8995181" y="2984873"/>
                  <a:pt x="9001371" y="2997438"/>
                </a:cubicBezTo>
                <a:lnTo>
                  <a:pt x="9001367" y="2997442"/>
                </a:lnTo>
                <a:lnTo>
                  <a:pt x="9001371" y="2997442"/>
                </a:lnTo>
                <a:cubicBezTo>
                  <a:pt x="9013745" y="3010007"/>
                  <a:pt x="9001371" y="3022576"/>
                  <a:pt x="8988993" y="3022576"/>
                </a:cubicBezTo>
                <a:cubicBezTo>
                  <a:pt x="8964241" y="3035141"/>
                  <a:pt x="8951864" y="3010007"/>
                  <a:pt x="8939485" y="2984877"/>
                </a:cubicBezTo>
                <a:lnTo>
                  <a:pt x="8939489" y="2984877"/>
                </a:lnTo>
                <a:lnTo>
                  <a:pt x="8939485" y="2984873"/>
                </a:lnTo>
                <a:cubicBezTo>
                  <a:pt x="8951864" y="2978588"/>
                  <a:pt x="8964241" y="2975446"/>
                  <a:pt x="8975068" y="2977018"/>
                </a:cubicBezTo>
                <a:close/>
                <a:moveTo>
                  <a:pt x="9302877" y="2937246"/>
                </a:moveTo>
                <a:cubicBezTo>
                  <a:pt x="9301763" y="2937617"/>
                  <a:pt x="9301019" y="2939102"/>
                  <a:pt x="9301019" y="2942070"/>
                </a:cubicBezTo>
                <a:cubicBezTo>
                  <a:pt x="9295080" y="2953941"/>
                  <a:pt x="9280228" y="2953941"/>
                  <a:pt x="9268345" y="2956909"/>
                </a:cubicBezTo>
                <a:lnTo>
                  <a:pt x="9266552" y="2957993"/>
                </a:lnTo>
                <a:lnTo>
                  <a:pt x="9312028" y="2962248"/>
                </a:lnTo>
                <a:lnTo>
                  <a:pt x="9312905" y="2953941"/>
                </a:lnTo>
                <a:lnTo>
                  <a:pt x="9306964" y="2939102"/>
                </a:lnTo>
                <a:cubicBezTo>
                  <a:pt x="9305478" y="2937617"/>
                  <a:pt x="9303992" y="2936876"/>
                  <a:pt x="9302877" y="2937246"/>
                </a:cubicBezTo>
                <a:close/>
                <a:moveTo>
                  <a:pt x="9110904" y="2882711"/>
                </a:moveTo>
                <a:lnTo>
                  <a:pt x="9096078" y="2933071"/>
                </a:lnTo>
                <a:lnTo>
                  <a:pt x="9105174" y="2934513"/>
                </a:lnTo>
                <a:lnTo>
                  <a:pt x="9110904" y="2940874"/>
                </a:lnTo>
                <a:close/>
                <a:moveTo>
                  <a:pt x="8968310" y="2858967"/>
                </a:moveTo>
                <a:lnTo>
                  <a:pt x="8968310" y="2906452"/>
                </a:lnTo>
                <a:lnTo>
                  <a:pt x="8968310" y="2924271"/>
                </a:lnTo>
                <a:lnTo>
                  <a:pt x="9035366" y="2937482"/>
                </a:lnTo>
                <a:cubicBezTo>
                  <a:pt x="9041307" y="2937482"/>
                  <a:pt x="9047248" y="2937482"/>
                  <a:pt x="9054673" y="2937482"/>
                </a:cubicBezTo>
                <a:lnTo>
                  <a:pt x="9063371" y="2937482"/>
                </a:lnTo>
                <a:lnTo>
                  <a:pt x="9063371" y="2882711"/>
                </a:lnTo>
                <a:cubicBezTo>
                  <a:pt x="9027725" y="2894582"/>
                  <a:pt x="8992077" y="2882711"/>
                  <a:pt x="8968310" y="2858967"/>
                </a:cubicBezTo>
                <a:close/>
                <a:moveTo>
                  <a:pt x="8778191" y="2847096"/>
                </a:moveTo>
                <a:lnTo>
                  <a:pt x="8778191" y="2909498"/>
                </a:lnTo>
                <a:lnTo>
                  <a:pt x="8833361" y="2913737"/>
                </a:lnTo>
                <a:lnTo>
                  <a:pt x="8844974" y="2912998"/>
                </a:lnTo>
                <a:lnTo>
                  <a:pt x="8837603" y="2906456"/>
                </a:lnTo>
                <a:cubicBezTo>
                  <a:pt x="8801957" y="2906456"/>
                  <a:pt x="8801957" y="2870841"/>
                  <a:pt x="8778191" y="2847096"/>
                </a:cubicBezTo>
                <a:close/>
                <a:moveTo>
                  <a:pt x="8105773" y="2763438"/>
                </a:moveTo>
                <a:lnTo>
                  <a:pt x="8082855" y="2778702"/>
                </a:lnTo>
                <a:lnTo>
                  <a:pt x="8103571" y="2782152"/>
                </a:lnTo>
                <a:lnTo>
                  <a:pt x="8112770" y="2775863"/>
                </a:lnTo>
                <a:close/>
                <a:moveTo>
                  <a:pt x="8322953" y="2643386"/>
                </a:moveTo>
                <a:lnTo>
                  <a:pt x="8282096" y="2649732"/>
                </a:lnTo>
                <a:lnTo>
                  <a:pt x="8272419" y="2654197"/>
                </a:lnTo>
                <a:lnTo>
                  <a:pt x="8262999" y="2676312"/>
                </a:lnTo>
                <a:cubicBezTo>
                  <a:pt x="8262999" y="2700053"/>
                  <a:pt x="8239237" y="2688182"/>
                  <a:pt x="8227353" y="2688182"/>
                </a:cubicBezTo>
                <a:lnTo>
                  <a:pt x="8211803" y="2690915"/>
                </a:lnTo>
                <a:lnTo>
                  <a:pt x="8195948" y="2704637"/>
                </a:lnTo>
                <a:lnTo>
                  <a:pt x="8186187" y="2697486"/>
                </a:lnTo>
                <a:lnTo>
                  <a:pt x="8185254" y="2698035"/>
                </a:lnTo>
                <a:lnTo>
                  <a:pt x="8181806" y="2698002"/>
                </a:lnTo>
                <a:lnTo>
                  <a:pt x="8181997" y="2699869"/>
                </a:lnTo>
                <a:lnTo>
                  <a:pt x="8171949" y="2726321"/>
                </a:lnTo>
                <a:lnTo>
                  <a:pt x="8206903" y="2733573"/>
                </a:lnTo>
                <a:cubicBezTo>
                  <a:pt x="8291008" y="2742476"/>
                  <a:pt x="8380127" y="2731346"/>
                  <a:pt x="8469244" y="2740248"/>
                </a:cubicBezTo>
                <a:cubicBezTo>
                  <a:pt x="8493010" y="2746185"/>
                  <a:pt x="8495982" y="2734315"/>
                  <a:pt x="8495982" y="2719476"/>
                </a:cubicBezTo>
                <a:lnTo>
                  <a:pt x="8503776" y="2685736"/>
                </a:lnTo>
                <a:lnTo>
                  <a:pt x="8460972" y="2680316"/>
                </a:lnTo>
                <a:lnTo>
                  <a:pt x="8451236" y="2690726"/>
                </a:lnTo>
                <a:cubicBezTo>
                  <a:pt x="8449936" y="2696476"/>
                  <a:pt x="8451422" y="2704639"/>
                  <a:pt x="8457362" y="2716511"/>
                </a:cubicBezTo>
                <a:cubicBezTo>
                  <a:pt x="8409835" y="2704637"/>
                  <a:pt x="8374188" y="2704637"/>
                  <a:pt x="8350421" y="2657152"/>
                </a:cubicBezTo>
                <a:lnTo>
                  <a:pt x="8340259" y="2651139"/>
                </a:lnTo>
                <a:lnTo>
                  <a:pt x="8335144" y="2652430"/>
                </a:lnTo>
                <a:cubicBezTo>
                  <a:pt x="8328861" y="2652430"/>
                  <a:pt x="8325720" y="2652430"/>
                  <a:pt x="8324149" y="2651003"/>
                </a:cubicBezTo>
                <a:close/>
                <a:moveTo>
                  <a:pt x="9358047" y="2600259"/>
                </a:moveTo>
                <a:cubicBezTo>
                  <a:pt x="9356933" y="2600630"/>
                  <a:pt x="9356190" y="2602114"/>
                  <a:pt x="9356190" y="2605082"/>
                </a:cubicBezTo>
                <a:lnTo>
                  <a:pt x="9345630" y="2613134"/>
                </a:lnTo>
                <a:lnTo>
                  <a:pt x="9368039" y="2616865"/>
                </a:lnTo>
                <a:lnTo>
                  <a:pt x="9362135" y="2602114"/>
                </a:lnTo>
                <a:cubicBezTo>
                  <a:pt x="9360648" y="2600630"/>
                  <a:pt x="9359162" y="2599888"/>
                  <a:pt x="9358047" y="2600259"/>
                </a:cubicBezTo>
                <a:close/>
                <a:moveTo>
                  <a:pt x="10173379" y="2417155"/>
                </a:moveTo>
                <a:cubicBezTo>
                  <a:pt x="10188765" y="2415414"/>
                  <a:pt x="10203965" y="2415801"/>
                  <a:pt x="10218054" y="2418123"/>
                </a:cubicBezTo>
                <a:cubicBezTo>
                  <a:pt x="10246231" y="2422761"/>
                  <a:pt x="10269957" y="2435138"/>
                  <a:pt x="10281821" y="2453701"/>
                </a:cubicBezTo>
                <a:lnTo>
                  <a:pt x="10281818" y="2453701"/>
                </a:lnTo>
                <a:lnTo>
                  <a:pt x="10281821" y="2453705"/>
                </a:lnTo>
                <a:cubicBezTo>
                  <a:pt x="10222500" y="2478456"/>
                  <a:pt x="10186912" y="2428952"/>
                  <a:pt x="10127592" y="2428952"/>
                </a:cubicBezTo>
                <a:lnTo>
                  <a:pt x="10127603" y="2428952"/>
                </a:lnTo>
                <a:lnTo>
                  <a:pt x="10127592" y="2428949"/>
                </a:lnTo>
                <a:cubicBezTo>
                  <a:pt x="10142422" y="2422762"/>
                  <a:pt x="10157993" y="2418895"/>
                  <a:pt x="10173379" y="2417155"/>
                </a:cubicBezTo>
                <a:close/>
                <a:moveTo>
                  <a:pt x="9927669" y="2381349"/>
                </a:moveTo>
                <a:cubicBezTo>
                  <a:pt x="9998360" y="2393918"/>
                  <a:pt x="10045485" y="2406483"/>
                  <a:pt x="10104391" y="2406483"/>
                </a:cubicBezTo>
                <a:cubicBezTo>
                  <a:pt x="10104391" y="2406483"/>
                  <a:pt x="10116172" y="2419046"/>
                  <a:pt x="10116172" y="2431615"/>
                </a:cubicBezTo>
                <a:lnTo>
                  <a:pt x="10116172" y="2431619"/>
                </a:lnTo>
                <a:cubicBezTo>
                  <a:pt x="10116172" y="2444184"/>
                  <a:pt x="10104391" y="2444184"/>
                  <a:pt x="10092610" y="2444184"/>
                </a:cubicBezTo>
                <a:cubicBezTo>
                  <a:pt x="10045485" y="2419050"/>
                  <a:pt x="9986576" y="2431619"/>
                  <a:pt x="9927669" y="2381352"/>
                </a:cubicBezTo>
                <a:lnTo>
                  <a:pt x="9927681" y="2381356"/>
                </a:lnTo>
                <a:close/>
                <a:moveTo>
                  <a:pt x="1842526" y="1876705"/>
                </a:moveTo>
                <a:lnTo>
                  <a:pt x="1788755" y="1881742"/>
                </a:lnTo>
                <a:cubicBezTo>
                  <a:pt x="1759050" y="1885267"/>
                  <a:pt x="1729344" y="1889719"/>
                  <a:pt x="1699637" y="1895654"/>
                </a:cubicBezTo>
                <a:cubicBezTo>
                  <a:pt x="1681814" y="1895654"/>
                  <a:pt x="1663991" y="1901590"/>
                  <a:pt x="1644682" y="1907527"/>
                </a:cubicBezTo>
                <a:lnTo>
                  <a:pt x="1637063" y="1909582"/>
                </a:lnTo>
                <a:lnTo>
                  <a:pt x="1701498" y="1899917"/>
                </a:lnTo>
                <a:cubicBezTo>
                  <a:pt x="1737147" y="1891014"/>
                  <a:pt x="1772793" y="1895467"/>
                  <a:pt x="1808442" y="1888232"/>
                </a:cubicBezTo>
                <a:close/>
                <a:moveTo>
                  <a:pt x="1953685" y="1867715"/>
                </a:moveTo>
                <a:lnTo>
                  <a:pt x="1877875" y="1873394"/>
                </a:lnTo>
                <a:lnTo>
                  <a:pt x="1847336" y="1876255"/>
                </a:lnTo>
                <a:lnTo>
                  <a:pt x="1867111" y="1876732"/>
                </a:lnTo>
                <a:cubicBezTo>
                  <a:pt x="1887163" y="1885079"/>
                  <a:pt x="1900530" y="1911791"/>
                  <a:pt x="1927265" y="1911791"/>
                </a:cubicBezTo>
                <a:lnTo>
                  <a:pt x="1942119" y="1904372"/>
                </a:lnTo>
                <a:lnTo>
                  <a:pt x="1939150" y="1888051"/>
                </a:lnTo>
                <a:lnTo>
                  <a:pt x="1939150" y="1888047"/>
                </a:lnTo>
                <a:close/>
                <a:moveTo>
                  <a:pt x="2161507" y="1849814"/>
                </a:moveTo>
                <a:lnTo>
                  <a:pt x="2056113" y="1860039"/>
                </a:lnTo>
                <a:lnTo>
                  <a:pt x="1987929" y="1865148"/>
                </a:lnTo>
                <a:lnTo>
                  <a:pt x="2004501" y="1876360"/>
                </a:lnTo>
                <a:cubicBezTo>
                  <a:pt x="2022325" y="1883595"/>
                  <a:pt x="2040148" y="1879144"/>
                  <a:pt x="2057972" y="1888047"/>
                </a:cubicBezTo>
                <a:cubicBezTo>
                  <a:pt x="2069857" y="1888047"/>
                  <a:pt x="2093620" y="1888047"/>
                  <a:pt x="2105504" y="1876176"/>
                </a:cubicBezTo>
                <a:cubicBezTo>
                  <a:pt x="2117386" y="1867273"/>
                  <a:pt x="2129269" y="1860595"/>
                  <a:pt x="2141336" y="1855586"/>
                </a:cubicBezTo>
                <a:close/>
                <a:moveTo>
                  <a:pt x="6185953" y="634403"/>
                </a:moveTo>
                <a:lnTo>
                  <a:pt x="5686898" y="646273"/>
                </a:lnTo>
                <a:cubicBezTo>
                  <a:pt x="5591837" y="646273"/>
                  <a:pt x="5496780" y="658144"/>
                  <a:pt x="5401721" y="658144"/>
                </a:cubicBezTo>
                <a:cubicBezTo>
                  <a:pt x="5247247" y="658144"/>
                  <a:pt x="5092775" y="670018"/>
                  <a:pt x="4938300" y="693759"/>
                </a:cubicBezTo>
                <a:lnTo>
                  <a:pt x="4925296" y="694481"/>
                </a:lnTo>
                <a:lnTo>
                  <a:pt x="4931672" y="708498"/>
                </a:lnTo>
                <a:lnTo>
                  <a:pt x="4937847" y="807195"/>
                </a:lnTo>
                <a:lnTo>
                  <a:pt x="5056013" y="789472"/>
                </a:lnTo>
                <a:cubicBezTo>
                  <a:pt x="5210858" y="769438"/>
                  <a:pt x="5369041" y="756082"/>
                  <a:pt x="5520543" y="729370"/>
                </a:cubicBezTo>
                <a:cubicBezTo>
                  <a:pt x="5568075" y="717499"/>
                  <a:pt x="5615603" y="729370"/>
                  <a:pt x="5663135" y="705629"/>
                </a:cubicBezTo>
                <a:cubicBezTo>
                  <a:pt x="5698783" y="693755"/>
                  <a:pt x="5710663" y="741245"/>
                  <a:pt x="5746310" y="741245"/>
                </a:cubicBezTo>
                <a:lnTo>
                  <a:pt x="5761164" y="733825"/>
                </a:lnTo>
                <a:lnTo>
                  <a:pt x="5758197" y="717503"/>
                </a:lnTo>
                <a:lnTo>
                  <a:pt x="5758197" y="717499"/>
                </a:lnTo>
                <a:cubicBezTo>
                  <a:pt x="5758197" y="705629"/>
                  <a:pt x="5781958" y="681884"/>
                  <a:pt x="5805723" y="693755"/>
                </a:cubicBezTo>
                <a:cubicBezTo>
                  <a:pt x="5829490" y="717499"/>
                  <a:pt x="5853252" y="705629"/>
                  <a:pt x="5877017" y="717499"/>
                </a:cubicBezTo>
                <a:cubicBezTo>
                  <a:pt x="5888903" y="717499"/>
                  <a:pt x="5912665" y="717499"/>
                  <a:pt x="5924549" y="705629"/>
                </a:cubicBezTo>
                <a:cubicBezTo>
                  <a:pt x="5972077" y="670015"/>
                  <a:pt x="6019606" y="670015"/>
                  <a:pt x="6079019" y="670015"/>
                </a:cubicBezTo>
                <a:close/>
                <a:moveTo>
                  <a:pt x="8403008" y="171"/>
                </a:moveTo>
                <a:cubicBezTo>
                  <a:pt x="8428073" y="1841"/>
                  <a:pt x="8461490" y="15197"/>
                  <a:pt x="8488226" y="15197"/>
                </a:cubicBezTo>
                <a:cubicBezTo>
                  <a:pt x="8535758" y="27067"/>
                  <a:pt x="8583285" y="50809"/>
                  <a:pt x="8630814" y="15197"/>
                </a:cubicBezTo>
                <a:cubicBezTo>
                  <a:pt x="8642699" y="3324"/>
                  <a:pt x="8690227" y="3324"/>
                  <a:pt x="8725875" y="3324"/>
                </a:cubicBezTo>
                <a:cubicBezTo>
                  <a:pt x="8856582" y="3324"/>
                  <a:pt x="8999173" y="3324"/>
                  <a:pt x="9129881" y="3324"/>
                </a:cubicBezTo>
                <a:cubicBezTo>
                  <a:pt x="9296236" y="15197"/>
                  <a:pt x="9462590" y="38939"/>
                  <a:pt x="9617063" y="50809"/>
                </a:cubicBezTo>
                <a:cubicBezTo>
                  <a:pt x="9688357" y="50809"/>
                  <a:pt x="9747772" y="62682"/>
                  <a:pt x="9819064" y="74553"/>
                </a:cubicBezTo>
                <a:cubicBezTo>
                  <a:pt x="9830950" y="74553"/>
                  <a:pt x="9842830" y="86424"/>
                  <a:pt x="9842830" y="98297"/>
                </a:cubicBezTo>
                <a:cubicBezTo>
                  <a:pt x="9854712" y="181397"/>
                  <a:pt x="9842830" y="252626"/>
                  <a:pt x="9866596" y="335727"/>
                </a:cubicBezTo>
                <a:lnTo>
                  <a:pt x="9866596" y="335731"/>
                </a:lnTo>
                <a:cubicBezTo>
                  <a:pt x="9866596" y="359474"/>
                  <a:pt x="9842830" y="371345"/>
                  <a:pt x="9819064" y="383215"/>
                </a:cubicBezTo>
                <a:cubicBezTo>
                  <a:pt x="9771536" y="395089"/>
                  <a:pt x="9735889" y="418830"/>
                  <a:pt x="9688357" y="406959"/>
                </a:cubicBezTo>
                <a:lnTo>
                  <a:pt x="9628948" y="430700"/>
                </a:lnTo>
                <a:lnTo>
                  <a:pt x="9676476" y="454442"/>
                </a:lnTo>
                <a:cubicBezTo>
                  <a:pt x="9688357" y="442570"/>
                  <a:pt x="9700242" y="442570"/>
                  <a:pt x="9700242" y="442570"/>
                </a:cubicBezTo>
                <a:cubicBezTo>
                  <a:pt x="9807183" y="433669"/>
                  <a:pt x="9847285" y="444798"/>
                  <a:pt x="9850627" y="506010"/>
                </a:cubicBezTo>
                <a:lnTo>
                  <a:pt x="9850627" y="506014"/>
                </a:lnTo>
                <a:cubicBezTo>
                  <a:pt x="9851743" y="526415"/>
                  <a:pt x="9848771" y="552387"/>
                  <a:pt x="9842830" y="585033"/>
                </a:cubicBezTo>
                <a:lnTo>
                  <a:pt x="9842830" y="616918"/>
                </a:lnTo>
                <a:lnTo>
                  <a:pt x="10031798" y="635680"/>
                </a:lnTo>
                <a:cubicBezTo>
                  <a:pt x="10103092" y="635680"/>
                  <a:pt x="10162506" y="647553"/>
                  <a:pt x="10233799" y="659424"/>
                </a:cubicBezTo>
                <a:cubicBezTo>
                  <a:pt x="10245684" y="659424"/>
                  <a:pt x="10257566" y="671295"/>
                  <a:pt x="10257566" y="683168"/>
                </a:cubicBezTo>
                <a:cubicBezTo>
                  <a:pt x="10269446" y="766269"/>
                  <a:pt x="10257566" y="837498"/>
                  <a:pt x="10281331" y="920598"/>
                </a:cubicBezTo>
                <a:lnTo>
                  <a:pt x="10281331" y="920602"/>
                </a:lnTo>
                <a:cubicBezTo>
                  <a:pt x="10281331" y="944345"/>
                  <a:pt x="10257566" y="956216"/>
                  <a:pt x="10233799" y="968086"/>
                </a:cubicBezTo>
                <a:cubicBezTo>
                  <a:pt x="10186271" y="979960"/>
                  <a:pt x="10150624" y="1003702"/>
                  <a:pt x="10103092" y="991831"/>
                </a:cubicBezTo>
                <a:lnTo>
                  <a:pt x="10043682" y="1015571"/>
                </a:lnTo>
                <a:lnTo>
                  <a:pt x="10091210" y="1039313"/>
                </a:lnTo>
                <a:cubicBezTo>
                  <a:pt x="10103092" y="1027442"/>
                  <a:pt x="10114976" y="1027442"/>
                  <a:pt x="10114976" y="1027442"/>
                </a:cubicBezTo>
                <a:cubicBezTo>
                  <a:pt x="10221918" y="1018539"/>
                  <a:pt x="10262020" y="1029669"/>
                  <a:pt x="10265362" y="1090881"/>
                </a:cubicBezTo>
                <a:lnTo>
                  <a:pt x="10265362" y="1090885"/>
                </a:lnTo>
                <a:cubicBezTo>
                  <a:pt x="10266478" y="1111286"/>
                  <a:pt x="10263506" y="1137258"/>
                  <a:pt x="10257566" y="1169904"/>
                </a:cubicBezTo>
                <a:lnTo>
                  <a:pt x="10257566" y="1288615"/>
                </a:lnTo>
                <a:lnTo>
                  <a:pt x="10257566" y="1288619"/>
                </a:lnTo>
                <a:cubicBezTo>
                  <a:pt x="10269446" y="1336105"/>
                  <a:pt x="10245684" y="1347978"/>
                  <a:pt x="10210037" y="1347978"/>
                </a:cubicBezTo>
                <a:cubicBezTo>
                  <a:pt x="10198152" y="1347978"/>
                  <a:pt x="10186271" y="1345009"/>
                  <a:pt x="10174390" y="1345009"/>
                </a:cubicBezTo>
                <a:lnTo>
                  <a:pt x="10142251" y="1358388"/>
                </a:lnTo>
                <a:lnTo>
                  <a:pt x="10142089" y="1363190"/>
                </a:lnTo>
                <a:lnTo>
                  <a:pt x="10150624" y="1371716"/>
                </a:lnTo>
                <a:cubicBezTo>
                  <a:pt x="10186271" y="1371716"/>
                  <a:pt x="10221918" y="1359845"/>
                  <a:pt x="10257566" y="1383589"/>
                </a:cubicBezTo>
                <a:cubicBezTo>
                  <a:pt x="10275391" y="1395459"/>
                  <a:pt x="10275391" y="1410298"/>
                  <a:pt x="10270932" y="1426624"/>
                </a:cubicBezTo>
                <a:lnTo>
                  <a:pt x="10270932" y="1426627"/>
                </a:lnTo>
                <a:cubicBezTo>
                  <a:pt x="10266478" y="1442949"/>
                  <a:pt x="10257566" y="1460756"/>
                  <a:pt x="10257566" y="1478564"/>
                </a:cubicBezTo>
                <a:lnTo>
                  <a:pt x="10257566" y="1597275"/>
                </a:lnTo>
                <a:lnTo>
                  <a:pt x="10257566" y="1597278"/>
                </a:lnTo>
                <a:cubicBezTo>
                  <a:pt x="10269446" y="1656637"/>
                  <a:pt x="10257566" y="1692251"/>
                  <a:pt x="10198152" y="1692251"/>
                </a:cubicBezTo>
                <a:lnTo>
                  <a:pt x="10162509" y="1715993"/>
                </a:lnTo>
                <a:lnTo>
                  <a:pt x="10233799" y="1727862"/>
                </a:lnTo>
                <a:cubicBezTo>
                  <a:pt x="10281331" y="1751604"/>
                  <a:pt x="10328860" y="1727862"/>
                  <a:pt x="10388273" y="1751604"/>
                </a:cubicBezTo>
                <a:cubicBezTo>
                  <a:pt x="10423920" y="1763477"/>
                  <a:pt x="10483333" y="1751604"/>
                  <a:pt x="10530862" y="1763477"/>
                </a:cubicBezTo>
                <a:cubicBezTo>
                  <a:pt x="10566508" y="1775348"/>
                  <a:pt x="10590274" y="1799092"/>
                  <a:pt x="10578393" y="1846577"/>
                </a:cubicBezTo>
                <a:lnTo>
                  <a:pt x="10578393" y="1846581"/>
                </a:lnTo>
                <a:cubicBezTo>
                  <a:pt x="10554627" y="1894069"/>
                  <a:pt x="10554627" y="1953425"/>
                  <a:pt x="10554627" y="2012784"/>
                </a:cubicBezTo>
                <a:cubicBezTo>
                  <a:pt x="10554627" y="2072140"/>
                  <a:pt x="10530862" y="2107754"/>
                  <a:pt x="10471451" y="2095884"/>
                </a:cubicBezTo>
                <a:cubicBezTo>
                  <a:pt x="10388273" y="2095884"/>
                  <a:pt x="10305094" y="2119628"/>
                  <a:pt x="10221918" y="2119628"/>
                </a:cubicBezTo>
                <a:cubicBezTo>
                  <a:pt x="10198152" y="2119628"/>
                  <a:pt x="10162506" y="2107754"/>
                  <a:pt x="10126859" y="2107754"/>
                </a:cubicBezTo>
                <a:lnTo>
                  <a:pt x="10126861" y="2107751"/>
                </a:lnTo>
                <a:lnTo>
                  <a:pt x="10126859" y="2107751"/>
                </a:lnTo>
                <a:cubicBezTo>
                  <a:pt x="10126859" y="2095880"/>
                  <a:pt x="10138739" y="2092912"/>
                  <a:pt x="10147651" y="2088461"/>
                </a:cubicBezTo>
                <a:lnTo>
                  <a:pt x="10150624" y="2060269"/>
                </a:lnTo>
                <a:lnTo>
                  <a:pt x="10144684" y="2045431"/>
                </a:lnTo>
                <a:cubicBezTo>
                  <a:pt x="10141711" y="2042462"/>
                  <a:pt x="10138739" y="2042462"/>
                  <a:pt x="10138739" y="2048399"/>
                </a:cubicBezTo>
                <a:cubicBezTo>
                  <a:pt x="10126859" y="2072140"/>
                  <a:pt x="10079330" y="2048399"/>
                  <a:pt x="10091210" y="2095884"/>
                </a:cubicBezTo>
                <a:cubicBezTo>
                  <a:pt x="10091210" y="2107754"/>
                  <a:pt x="10103092" y="2119628"/>
                  <a:pt x="10079330" y="2119628"/>
                </a:cubicBezTo>
                <a:cubicBezTo>
                  <a:pt x="10067445" y="2119628"/>
                  <a:pt x="10055564" y="2107754"/>
                  <a:pt x="10055564" y="2095884"/>
                </a:cubicBezTo>
                <a:cubicBezTo>
                  <a:pt x="10055564" y="2048399"/>
                  <a:pt x="10008032" y="2072140"/>
                  <a:pt x="9996152" y="2048399"/>
                </a:cubicBezTo>
                <a:cubicBezTo>
                  <a:pt x="9990210" y="2042462"/>
                  <a:pt x="9984269" y="2045431"/>
                  <a:pt x="9979811" y="2051367"/>
                </a:cubicBezTo>
                <a:lnTo>
                  <a:pt x="9972388" y="2072140"/>
                </a:lnTo>
                <a:lnTo>
                  <a:pt x="9996152" y="2095880"/>
                </a:lnTo>
                <a:cubicBezTo>
                  <a:pt x="10008032" y="2095880"/>
                  <a:pt x="10019916" y="2084009"/>
                  <a:pt x="10043680" y="2107751"/>
                </a:cubicBezTo>
                <a:lnTo>
                  <a:pt x="10043672" y="2107751"/>
                </a:lnTo>
                <a:lnTo>
                  <a:pt x="10043680" y="2107754"/>
                </a:lnTo>
                <a:cubicBezTo>
                  <a:pt x="9984269" y="2119628"/>
                  <a:pt x="9936738" y="2119628"/>
                  <a:pt x="9877325" y="2107754"/>
                </a:cubicBezTo>
                <a:lnTo>
                  <a:pt x="9877332" y="2107751"/>
                </a:lnTo>
                <a:lnTo>
                  <a:pt x="9877325" y="2107751"/>
                </a:lnTo>
                <a:cubicBezTo>
                  <a:pt x="9912971" y="2101816"/>
                  <a:pt x="9936738" y="2086979"/>
                  <a:pt x="9948623" y="2066202"/>
                </a:cubicBezTo>
                <a:lnTo>
                  <a:pt x="9948623" y="1989040"/>
                </a:lnTo>
                <a:lnTo>
                  <a:pt x="9933770" y="2039493"/>
                </a:lnTo>
                <a:cubicBezTo>
                  <a:pt x="9927829" y="2054332"/>
                  <a:pt x="9918916" y="2066205"/>
                  <a:pt x="9901091" y="2072140"/>
                </a:cubicBezTo>
                <a:lnTo>
                  <a:pt x="9901091" y="2072136"/>
                </a:lnTo>
                <a:lnTo>
                  <a:pt x="9901091" y="1989040"/>
                </a:lnTo>
                <a:cubicBezTo>
                  <a:pt x="9865443" y="2000910"/>
                  <a:pt x="9829796" y="1989040"/>
                  <a:pt x="9806031" y="1965295"/>
                </a:cubicBezTo>
                <a:lnTo>
                  <a:pt x="9806031" y="2012781"/>
                </a:lnTo>
                <a:cubicBezTo>
                  <a:pt x="9811975" y="2024651"/>
                  <a:pt x="9811975" y="2036521"/>
                  <a:pt x="9806031" y="2045427"/>
                </a:cubicBezTo>
                <a:lnTo>
                  <a:pt x="9806031" y="2045431"/>
                </a:lnTo>
                <a:cubicBezTo>
                  <a:pt x="9800090" y="2054332"/>
                  <a:pt x="9788209" y="2060269"/>
                  <a:pt x="9770384" y="2060269"/>
                </a:cubicBezTo>
                <a:cubicBezTo>
                  <a:pt x="9758502" y="2072140"/>
                  <a:pt x="9746617" y="2072140"/>
                  <a:pt x="9746617" y="2084013"/>
                </a:cubicBezTo>
                <a:cubicBezTo>
                  <a:pt x="9734735" y="2131499"/>
                  <a:pt x="9710970" y="2119628"/>
                  <a:pt x="9687208" y="2107754"/>
                </a:cubicBezTo>
                <a:cubicBezTo>
                  <a:pt x="9675324" y="2095884"/>
                  <a:pt x="9663442" y="2084013"/>
                  <a:pt x="9658987" y="2072140"/>
                </a:cubicBezTo>
                <a:lnTo>
                  <a:pt x="9658987" y="2072136"/>
                </a:lnTo>
                <a:cubicBezTo>
                  <a:pt x="9654529" y="2060266"/>
                  <a:pt x="9657502" y="2048394"/>
                  <a:pt x="9675324" y="2036521"/>
                </a:cubicBezTo>
                <a:lnTo>
                  <a:pt x="9688690" y="2024651"/>
                </a:lnTo>
                <a:lnTo>
                  <a:pt x="9675324" y="2012784"/>
                </a:lnTo>
                <a:cubicBezTo>
                  <a:pt x="9639676" y="2012784"/>
                  <a:pt x="9639676" y="1977170"/>
                  <a:pt x="9615910" y="1953425"/>
                </a:cubicBezTo>
                <a:lnTo>
                  <a:pt x="9615910" y="2048394"/>
                </a:lnTo>
                <a:cubicBezTo>
                  <a:pt x="9621850" y="2054329"/>
                  <a:pt x="9624822" y="2063234"/>
                  <a:pt x="9623336" y="2070654"/>
                </a:cubicBezTo>
                <a:lnTo>
                  <a:pt x="9623336" y="2070657"/>
                </a:lnTo>
                <a:lnTo>
                  <a:pt x="9606717" y="2082153"/>
                </a:lnTo>
                <a:lnTo>
                  <a:pt x="9607792" y="2088321"/>
                </a:lnTo>
                <a:lnTo>
                  <a:pt x="9602611" y="2088489"/>
                </a:lnTo>
                <a:lnTo>
                  <a:pt x="9595116" y="2112209"/>
                </a:lnTo>
                <a:cubicBezTo>
                  <a:pt x="9592144" y="2119628"/>
                  <a:pt x="9586203" y="2125562"/>
                  <a:pt x="9568378" y="2131499"/>
                </a:cubicBezTo>
                <a:cubicBezTo>
                  <a:pt x="9544614" y="2137433"/>
                  <a:pt x="9523820" y="2137433"/>
                  <a:pt x="9504883" y="2133910"/>
                </a:cubicBezTo>
                <a:lnTo>
                  <a:pt x="9475017" y="2123222"/>
                </a:lnTo>
                <a:lnTo>
                  <a:pt x="9475017" y="2153958"/>
                </a:lnTo>
                <a:lnTo>
                  <a:pt x="9475017" y="2153961"/>
                </a:lnTo>
                <a:cubicBezTo>
                  <a:pt x="9486897" y="2213321"/>
                  <a:pt x="9475017" y="2248935"/>
                  <a:pt x="9415603" y="2248935"/>
                </a:cubicBezTo>
                <a:lnTo>
                  <a:pt x="9391216" y="2265178"/>
                </a:lnTo>
                <a:lnTo>
                  <a:pt x="9393111" y="2265388"/>
                </a:lnTo>
                <a:cubicBezTo>
                  <a:pt x="9402023" y="2267614"/>
                  <a:pt x="9410935" y="2271324"/>
                  <a:pt x="9419846" y="2277260"/>
                </a:cubicBezTo>
                <a:lnTo>
                  <a:pt x="9421630" y="2279614"/>
                </a:lnTo>
                <a:lnTo>
                  <a:pt x="9451250" y="2284546"/>
                </a:lnTo>
                <a:cubicBezTo>
                  <a:pt x="9498783" y="2308287"/>
                  <a:pt x="9546311" y="2284546"/>
                  <a:pt x="9605724" y="2308287"/>
                </a:cubicBezTo>
                <a:cubicBezTo>
                  <a:pt x="9641371" y="2320161"/>
                  <a:pt x="9700784" y="2308287"/>
                  <a:pt x="9748312" y="2320161"/>
                </a:cubicBezTo>
                <a:cubicBezTo>
                  <a:pt x="9775048" y="2329063"/>
                  <a:pt x="9795100" y="2344646"/>
                  <a:pt x="9798442" y="2371913"/>
                </a:cubicBezTo>
                <a:lnTo>
                  <a:pt x="9798031" y="2376881"/>
                </a:lnTo>
                <a:lnTo>
                  <a:pt x="9817915" y="2380797"/>
                </a:lnTo>
                <a:cubicBezTo>
                  <a:pt x="9829796" y="2380797"/>
                  <a:pt x="9841678" y="2380797"/>
                  <a:pt x="9865443" y="2380797"/>
                </a:cubicBezTo>
                <a:cubicBezTo>
                  <a:pt x="9877325" y="2368924"/>
                  <a:pt x="9901091" y="2380797"/>
                  <a:pt x="9901091" y="2392669"/>
                </a:cubicBezTo>
                <a:lnTo>
                  <a:pt x="9901091" y="2392672"/>
                </a:lnTo>
                <a:cubicBezTo>
                  <a:pt x="9901091" y="2416416"/>
                  <a:pt x="9877325" y="2428287"/>
                  <a:pt x="9865443" y="2416416"/>
                </a:cubicBezTo>
                <a:cubicBezTo>
                  <a:pt x="9844649" y="2407513"/>
                  <a:pt x="9822369" y="2403060"/>
                  <a:pt x="9799346" y="2400835"/>
                </a:cubicBezTo>
                <a:lnTo>
                  <a:pt x="9796054" y="2400731"/>
                </a:lnTo>
                <a:lnTo>
                  <a:pt x="9795844" y="2403260"/>
                </a:lnTo>
                <a:lnTo>
                  <a:pt x="9795844" y="2403265"/>
                </a:lnTo>
                <a:lnTo>
                  <a:pt x="9784731" y="2445294"/>
                </a:lnTo>
                <a:lnTo>
                  <a:pt x="9787013" y="2458037"/>
                </a:lnTo>
                <a:lnTo>
                  <a:pt x="9780486" y="2461350"/>
                </a:lnTo>
                <a:lnTo>
                  <a:pt x="9775050" y="2481914"/>
                </a:lnTo>
                <a:cubicBezTo>
                  <a:pt x="9772078" y="2510109"/>
                  <a:pt x="9772078" y="2539788"/>
                  <a:pt x="9772078" y="2569468"/>
                </a:cubicBezTo>
                <a:cubicBezTo>
                  <a:pt x="9772078" y="2628823"/>
                  <a:pt x="9748312" y="2664438"/>
                  <a:pt x="9688902" y="2652568"/>
                </a:cubicBezTo>
                <a:lnTo>
                  <a:pt x="9668814" y="2653762"/>
                </a:lnTo>
                <a:lnTo>
                  <a:pt x="9693142" y="2657149"/>
                </a:lnTo>
                <a:cubicBezTo>
                  <a:pt x="9728789" y="2669019"/>
                  <a:pt x="9752555" y="2692763"/>
                  <a:pt x="9740673" y="2740248"/>
                </a:cubicBezTo>
                <a:lnTo>
                  <a:pt x="9740673" y="2740252"/>
                </a:lnTo>
                <a:cubicBezTo>
                  <a:pt x="9716908" y="2787740"/>
                  <a:pt x="9716908" y="2847096"/>
                  <a:pt x="9716908" y="2906456"/>
                </a:cubicBezTo>
                <a:cubicBezTo>
                  <a:pt x="9716908" y="2965811"/>
                  <a:pt x="9693142" y="3001426"/>
                  <a:pt x="9633733" y="2989555"/>
                </a:cubicBezTo>
                <a:cubicBezTo>
                  <a:pt x="9592143" y="2989555"/>
                  <a:pt x="9550553" y="2995491"/>
                  <a:pt x="9508964" y="3001427"/>
                </a:cubicBezTo>
                <a:lnTo>
                  <a:pt x="9491762" y="3003677"/>
                </a:lnTo>
                <a:lnTo>
                  <a:pt x="9499272" y="3010385"/>
                </a:lnTo>
                <a:lnTo>
                  <a:pt x="9499268" y="3010385"/>
                </a:lnTo>
                <a:lnTo>
                  <a:pt x="9499272" y="3010388"/>
                </a:lnTo>
                <a:cubicBezTo>
                  <a:pt x="9484442" y="3016576"/>
                  <a:pt x="9471095" y="3018123"/>
                  <a:pt x="9458490" y="3016963"/>
                </a:cubicBezTo>
                <a:lnTo>
                  <a:pt x="9433668" y="3010357"/>
                </a:lnTo>
                <a:lnTo>
                  <a:pt x="9384198" y="3013299"/>
                </a:lnTo>
                <a:cubicBezTo>
                  <a:pt x="9360433" y="3013299"/>
                  <a:pt x="9324785" y="3001426"/>
                  <a:pt x="9289139" y="3001426"/>
                </a:cubicBezTo>
                <a:lnTo>
                  <a:pt x="9289143" y="3001422"/>
                </a:lnTo>
                <a:lnTo>
                  <a:pt x="9289139" y="3001422"/>
                </a:lnTo>
                <a:lnTo>
                  <a:pt x="9292929" y="2994746"/>
                </a:lnTo>
                <a:lnTo>
                  <a:pt x="9272692" y="2987516"/>
                </a:lnTo>
                <a:lnTo>
                  <a:pt x="9253679" y="2983478"/>
                </a:lnTo>
                <a:lnTo>
                  <a:pt x="9253491" y="2989555"/>
                </a:lnTo>
                <a:cubicBezTo>
                  <a:pt x="9253491" y="3001426"/>
                  <a:pt x="9265373" y="3013299"/>
                  <a:pt x="9241611" y="3013299"/>
                </a:cubicBezTo>
                <a:cubicBezTo>
                  <a:pt x="9229726" y="3013299"/>
                  <a:pt x="9217844" y="3001426"/>
                  <a:pt x="9217844" y="2989555"/>
                </a:cubicBezTo>
                <a:lnTo>
                  <a:pt x="9212562" y="2972822"/>
                </a:lnTo>
                <a:lnTo>
                  <a:pt x="9189117" y="2965526"/>
                </a:lnTo>
                <a:lnTo>
                  <a:pt x="9148426" y="2940101"/>
                </a:lnTo>
                <a:lnTo>
                  <a:pt x="9142092" y="2945038"/>
                </a:lnTo>
                <a:lnTo>
                  <a:pt x="9134669" y="2965811"/>
                </a:lnTo>
                <a:lnTo>
                  <a:pt x="9158432" y="2989552"/>
                </a:lnTo>
                <a:cubicBezTo>
                  <a:pt x="9170312" y="2989552"/>
                  <a:pt x="9182198" y="2977680"/>
                  <a:pt x="9205960" y="3001422"/>
                </a:cubicBezTo>
                <a:lnTo>
                  <a:pt x="9205952" y="3001422"/>
                </a:lnTo>
                <a:lnTo>
                  <a:pt x="9205960" y="3001426"/>
                </a:lnTo>
                <a:cubicBezTo>
                  <a:pt x="9146551" y="3013299"/>
                  <a:pt x="9099018" y="3013299"/>
                  <a:pt x="9039605" y="3001426"/>
                </a:cubicBezTo>
                <a:lnTo>
                  <a:pt x="9039613" y="3001422"/>
                </a:lnTo>
                <a:lnTo>
                  <a:pt x="9039605" y="3001422"/>
                </a:lnTo>
                <a:cubicBezTo>
                  <a:pt x="9057428" y="2998455"/>
                  <a:pt x="9072282" y="2993262"/>
                  <a:pt x="9084165" y="2986214"/>
                </a:cubicBezTo>
                <a:lnTo>
                  <a:pt x="9092987" y="2977523"/>
                </a:lnTo>
                <a:lnTo>
                  <a:pt x="9082894" y="2973100"/>
                </a:lnTo>
                <a:cubicBezTo>
                  <a:pt x="9041304" y="2955293"/>
                  <a:pt x="8993775" y="2955293"/>
                  <a:pt x="8946245" y="2955293"/>
                </a:cubicBezTo>
                <a:lnTo>
                  <a:pt x="8931445" y="2954826"/>
                </a:lnTo>
                <a:lnTo>
                  <a:pt x="8916325" y="2965811"/>
                </a:lnTo>
                <a:cubicBezTo>
                  <a:pt x="8911869" y="2968780"/>
                  <a:pt x="8908898" y="2971748"/>
                  <a:pt x="8908898" y="2977684"/>
                </a:cubicBezTo>
                <a:cubicBezTo>
                  <a:pt x="8897016" y="3025170"/>
                  <a:pt x="8873251" y="3013299"/>
                  <a:pt x="8849488" y="3001426"/>
                </a:cubicBezTo>
                <a:cubicBezTo>
                  <a:pt x="8837603" y="2989555"/>
                  <a:pt x="8825723" y="2977684"/>
                  <a:pt x="8821268" y="2965811"/>
                </a:cubicBezTo>
                <a:lnTo>
                  <a:pt x="8821268" y="2965807"/>
                </a:lnTo>
                <a:cubicBezTo>
                  <a:pt x="8819039" y="2959871"/>
                  <a:pt x="8818667" y="2953937"/>
                  <a:pt x="8821081" y="2948001"/>
                </a:cubicBezTo>
                <a:lnTo>
                  <a:pt x="8827025" y="2941594"/>
                </a:lnTo>
                <a:lnTo>
                  <a:pt x="8809595" y="2937486"/>
                </a:lnTo>
                <a:lnTo>
                  <a:pt x="8778191" y="2932175"/>
                </a:lnTo>
                <a:lnTo>
                  <a:pt x="8778191" y="2942067"/>
                </a:lnTo>
                <a:cubicBezTo>
                  <a:pt x="8784132" y="2948000"/>
                  <a:pt x="8787104" y="2956905"/>
                  <a:pt x="8785617" y="2964325"/>
                </a:cubicBezTo>
                <a:lnTo>
                  <a:pt x="8785617" y="2964328"/>
                </a:lnTo>
                <a:lnTo>
                  <a:pt x="8768997" y="2975825"/>
                </a:lnTo>
                <a:lnTo>
                  <a:pt x="8770073" y="2981992"/>
                </a:lnTo>
                <a:lnTo>
                  <a:pt x="8764892" y="2982161"/>
                </a:lnTo>
                <a:lnTo>
                  <a:pt x="8757396" y="3005880"/>
                </a:lnTo>
                <a:cubicBezTo>
                  <a:pt x="8754425" y="3013299"/>
                  <a:pt x="8748484" y="3019233"/>
                  <a:pt x="8730659" y="3025170"/>
                </a:cubicBezTo>
                <a:cubicBezTo>
                  <a:pt x="8706894" y="3031104"/>
                  <a:pt x="8686101" y="3031104"/>
                  <a:pt x="8667164" y="3027581"/>
                </a:cubicBezTo>
                <a:lnTo>
                  <a:pt x="8618640" y="3010218"/>
                </a:lnTo>
                <a:lnTo>
                  <a:pt x="8619475" y="3020585"/>
                </a:lnTo>
                <a:lnTo>
                  <a:pt x="8619475" y="3032452"/>
                </a:lnTo>
                <a:lnTo>
                  <a:pt x="8619475" y="3032456"/>
                </a:lnTo>
                <a:cubicBezTo>
                  <a:pt x="8598682" y="3001292"/>
                  <a:pt x="8568791" y="3061024"/>
                  <a:pt x="8545722" y="3036677"/>
                </a:cubicBezTo>
                <a:lnTo>
                  <a:pt x="8537687" y="3022954"/>
                </a:lnTo>
                <a:lnTo>
                  <a:pt x="8529587" y="3024985"/>
                </a:lnTo>
                <a:cubicBezTo>
                  <a:pt x="8513434" y="3027024"/>
                  <a:pt x="8496724" y="3027395"/>
                  <a:pt x="8479644" y="3026653"/>
                </a:cubicBezTo>
                <a:lnTo>
                  <a:pt x="8476645" y="3026274"/>
                </a:lnTo>
                <a:lnTo>
                  <a:pt x="8474974" y="3075494"/>
                </a:lnTo>
                <a:cubicBezTo>
                  <a:pt x="8474974" y="3134851"/>
                  <a:pt x="8451209" y="3170465"/>
                  <a:pt x="8391799" y="3158594"/>
                </a:cubicBezTo>
                <a:cubicBezTo>
                  <a:pt x="8308619" y="3158594"/>
                  <a:pt x="8225441" y="3182338"/>
                  <a:pt x="8142265" y="3182338"/>
                </a:cubicBezTo>
                <a:cubicBezTo>
                  <a:pt x="8118499" y="3182338"/>
                  <a:pt x="8082853" y="3170465"/>
                  <a:pt x="8047205" y="3170465"/>
                </a:cubicBezTo>
                <a:lnTo>
                  <a:pt x="8047208" y="3170462"/>
                </a:lnTo>
                <a:lnTo>
                  <a:pt x="8047205" y="3170462"/>
                </a:lnTo>
                <a:cubicBezTo>
                  <a:pt x="8047205" y="3158590"/>
                  <a:pt x="8059086" y="3155623"/>
                  <a:pt x="8067999" y="3151171"/>
                </a:cubicBezTo>
                <a:lnTo>
                  <a:pt x="8070971" y="3122979"/>
                </a:lnTo>
                <a:lnTo>
                  <a:pt x="8065031" y="3108140"/>
                </a:lnTo>
                <a:cubicBezTo>
                  <a:pt x="8062058" y="3105172"/>
                  <a:pt x="8059086" y="3105172"/>
                  <a:pt x="8059086" y="3111109"/>
                </a:cubicBezTo>
                <a:cubicBezTo>
                  <a:pt x="8047205" y="3134851"/>
                  <a:pt x="7999677" y="3111109"/>
                  <a:pt x="8011558" y="3158594"/>
                </a:cubicBezTo>
                <a:cubicBezTo>
                  <a:pt x="8011558" y="3164529"/>
                  <a:pt x="8014528" y="3170466"/>
                  <a:pt x="8014528" y="3174918"/>
                </a:cubicBezTo>
                <a:lnTo>
                  <a:pt x="8006047" y="3179155"/>
                </a:lnTo>
                <a:lnTo>
                  <a:pt x="8041475" y="3179496"/>
                </a:lnTo>
                <a:cubicBezTo>
                  <a:pt x="8077123" y="3179496"/>
                  <a:pt x="8112773" y="3191366"/>
                  <a:pt x="8136535" y="3191366"/>
                </a:cubicBezTo>
                <a:cubicBezTo>
                  <a:pt x="8195948" y="3203239"/>
                  <a:pt x="8255361" y="3167625"/>
                  <a:pt x="8314775" y="3215111"/>
                </a:cubicBezTo>
                <a:cubicBezTo>
                  <a:pt x="8469244" y="3191366"/>
                  <a:pt x="8623717" y="3250725"/>
                  <a:pt x="8778191" y="3250725"/>
                </a:cubicBezTo>
                <a:cubicBezTo>
                  <a:pt x="8837603" y="3238854"/>
                  <a:pt x="8908898" y="3262596"/>
                  <a:pt x="8980197" y="3274469"/>
                </a:cubicBezTo>
                <a:cubicBezTo>
                  <a:pt x="8992077" y="3274469"/>
                  <a:pt x="9003958" y="3274469"/>
                  <a:pt x="9027725" y="3274469"/>
                </a:cubicBezTo>
                <a:cubicBezTo>
                  <a:pt x="9039605" y="3262596"/>
                  <a:pt x="9063371" y="3274469"/>
                  <a:pt x="9063371" y="3286340"/>
                </a:cubicBezTo>
                <a:lnTo>
                  <a:pt x="9063371" y="3286344"/>
                </a:lnTo>
                <a:cubicBezTo>
                  <a:pt x="9063371" y="3310087"/>
                  <a:pt x="9039605" y="3321959"/>
                  <a:pt x="9027725" y="3310087"/>
                </a:cubicBezTo>
                <a:cubicBezTo>
                  <a:pt x="8944544" y="3274473"/>
                  <a:pt x="8837603" y="3310087"/>
                  <a:pt x="8754425" y="3274473"/>
                </a:cubicBezTo>
                <a:cubicBezTo>
                  <a:pt x="8671250" y="3250729"/>
                  <a:pt x="8599952" y="3274473"/>
                  <a:pt x="8528658" y="3262599"/>
                </a:cubicBezTo>
                <a:lnTo>
                  <a:pt x="8528658" y="3263599"/>
                </a:lnTo>
                <a:lnTo>
                  <a:pt x="8528658" y="3293760"/>
                </a:lnTo>
                <a:lnTo>
                  <a:pt x="8564305" y="3298210"/>
                </a:lnTo>
                <a:cubicBezTo>
                  <a:pt x="8599952" y="3274469"/>
                  <a:pt x="8647483" y="3286340"/>
                  <a:pt x="8695012" y="3321955"/>
                </a:cubicBezTo>
                <a:lnTo>
                  <a:pt x="8695008" y="3321955"/>
                </a:lnTo>
                <a:lnTo>
                  <a:pt x="8695012" y="3321959"/>
                </a:lnTo>
                <a:cubicBezTo>
                  <a:pt x="8659365" y="3321959"/>
                  <a:pt x="8635602" y="3333829"/>
                  <a:pt x="8611836" y="3321959"/>
                </a:cubicBezTo>
                <a:cubicBezTo>
                  <a:pt x="8576189" y="3310087"/>
                  <a:pt x="8552423" y="3298214"/>
                  <a:pt x="8564305" y="3357573"/>
                </a:cubicBezTo>
                <a:lnTo>
                  <a:pt x="8564305" y="3369440"/>
                </a:lnTo>
                <a:lnTo>
                  <a:pt x="8564305" y="3369444"/>
                </a:lnTo>
                <a:cubicBezTo>
                  <a:pt x="8540543" y="3333829"/>
                  <a:pt x="8504895" y="3416932"/>
                  <a:pt x="8481128" y="3357573"/>
                </a:cubicBezTo>
                <a:cubicBezTo>
                  <a:pt x="8481128" y="3357573"/>
                  <a:pt x="8469244" y="3345702"/>
                  <a:pt x="8469244" y="3345702"/>
                </a:cubicBezTo>
                <a:cubicBezTo>
                  <a:pt x="8421716" y="3381317"/>
                  <a:pt x="8397949" y="3321959"/>
                  <a:pt x="8362303" y="3321959"/>
                </a:cubicBezTo>
                <a:lnTo>
                  <a:pt x="8362305" y="3321955"/>
                </a:lnTo>
                <a:lnTo>
                  <a:pt x="8362303" y="3321955"/>
                </a:lnTo>
                <a:cubicBezTo>
                  <a:pt x="8368247" y="3310084"/>
                  <a:pt x="8377157" y="3304148"/>
                  <a:pt x="8384583" y="3296729"/>
                </a:cubicBezTo>
                <a:lnTo>
                  <a:pt x="8397949" y="3262599"/>
                </a:lnTo>
                <a:lnTo>
                  <a:pt x="8374188" y="3250729"/>
                </a:lnTo>
                <a:cubicBezTo>
                  <a:pt x="8374188" y="3250729"/>
                  <a:pt x="8362303" y="3250729"/>
                  <a:pt x="8362303" y="3250729"/>
                </a:cubicBezTo>
                <a:cubicBezTo>
                  <a:pt x="8362303" y="3280407"/>
                  <a:pt x="8335569" y="3292280"/>
                  <a:pt x="8313288" y="3307119"/>
                </a:cubicBezTo>
                <a:lnTo>
                  <a:pt x="8287109" y="3334199"/>
                </a:lnTo>
                <a:lnTo>
                  <a:pt x="8291009" y="3381314"/>
                </a:lnTo>
                <a:lnTo>
                  <a:pt x="8291009" y="3381317"/>
                </a:lnTo>
                <a:cubicBezTo>
                  <a:pt x="8279127" y="3381317"/>
                  <a:pt x="8279127" y="3381317"/>
                  <a:pt x="8267242" y="3381317"/>
                </a:cubicBezTo>
                <a:cubicBezTo>
                  <a:pt x="8243481" y="3357573"/>
                  <a:pt x="8219714" y="3321959"/>
                  <a:pt x="8195948" y="3298214"/>
                </a:cubicBezTo>
                <a:lnTo>
                  <a:pt x="8136535" y="3298214"/>
                </a:lnTo>
                <a:lnTo>
                  <a:pt x="8140994" y="3320468"/>
                </a:lnTo>
                <a:cubicBezTo>
                  <a:pt x="8148421" y="3324922"/>
                  <a:pt x="8160302" y="3327891"/>
                  <a:pt x="8172183" y="3333825"/>
                </a:cubicBezTo>
                <a:lnTo>
                  <a:pt x="8172183" y="3333829"/>
                </a:lnTo>
                <a:lnTo>
                  <a:pt x="8172183" y="3357569"/>
                </a:lnTo>
                <a:lnTo>
                  <a:pt x="8172183" y="3357573"/>
                </a:lnTo>
                <a:cubicBezTo>
                  <a:pt x="8160302" y="3357573"/>
                  <a:pt x="8148421" y="3357573"/>
                  <a:pt x="8136535" y="3345702"/>
                </a:cubicBezTo>
                <a:cubicBezTo>
                  <a:pt x="8112773" y="3345702"/>
                  <a:pt x="8136535" y="3298214"/>
                  <a:pt x="8100887" y="3286344"/>
                </a:cubicBezTo>
                <a:cubicBezTo>
                  <a:pt x="8112773" y="3333829"/>
                  <a:pt x="8077123" y="3333829"/>
                  <a:pt x="8053361" y="3333829"/>
                </a:cubicBezTo>
                <a:cubicBezTo>
                  <a:pt x="8005828" y="3345702"/>
                  <a:pt x="7970181" y="3345702"/>
                  <a:pt x="7922653" y="3357573"/>
                </a:cubicBezTo>
                <a:cubicBezTo>
                  <a:pt x="7910768" y="3357573"/>
                  <a:pt x="7898887" y="3357573"/>
                  <a:pt x="7887006" y="3357573"/>
                </a:cubicBezTo>
                <a:cubicBezTo>
                  <a:pt x="7851359" y="3321959"/>
                  <a:pt x="7827593" y="3298214"/>
                  <a:pt x="7815709" y="3369444"/>
                </a:cubicBezTo>
                <a:cubicBezTo>
                  <a:pt x="7815709" y="3381317"/>
                  <a:pt x="7803827" y="3381317"/>
                  <a:pt x="7791945" y="3369444"/>
                </a:cubicBezTo>
                <a:cubicBezTo>
                  <a:pt x="7768179" y="3286344"/>
                  <a:pt x="7744413" y="3393187"/>
                  <a:pt x="7720651" y="3369444"/>
                </a:cubicBezTo>
                <a:cubicBezTo>
                  <a:pt x="7732532" y="3321959"/>
                  <a:pt x="7661237" y="3345702"/>
                  <a:pt x="7649354" y="3310087"/>
                </a:cubicBezTo>
                <a:cubicBezTo>
                  <a:pt x="7613707" y="3333829"/>
                  <a:pt x="7613707" y="3321959"/>
                  <a:pt x="7613707" y="3286344"/>
                </a:cubicBezTo>
                <a:cubicBezTo>
                  <a:pt x="7625592" y="3274473"/>
                  <a:pt x="7625592" y="3262599"/>
                  <a:pt x="7601825" y="3250729"/>
                </a:cubicBezTo>
                <a:cubicBezTo>
                  <a:pt x="7589945" y="3274473"/>
                  <a:pt x="7566179" y="3262599"/>
                  <a:pt x="7554298" y="3286344"/>
                </a:cubicBezTo>
                <a:cubicBezTo>
                  <a:pt x="7542413" y="3321959"/>
                  <a:pt x="7518646" y="3333829"/>
                  <a:pt x="7483000" y="3298214"/>
                </a:cubicBezTo>
                <a:cubicBezTo>
                  <a:pt x="7447352" y="3262599"/>
                  <a:pt x="7423590" y="3274473"/>
                  <a:pt x="7423590" y="3310087"/>
                </a:cubicBezTo>
                <a:cubicBezTo>
                  <a:pt x="7423590" y="3369444"/>
                  <a:pt x="7364178" y="3333829"/>
                  <a:pt x="7352292" y="3357573"/>
                </a:cubicBezTo>
                <a:cubicBezTo>
                  <a:pt x="7340411" y="3357573"/>
                  <a:pt x="7364178" y="3262599"/>
                  <a:pt x="7304765" y="3333829"/>
                </a:cubicBezTo>
                <a:cubicBezTo>
                  <a:pt x="7304765" y="3321959"/>
                  <a:pt x="7292882" y="3321959"/>
                  <a:pt x="7280998" y="3310087"/>
                </a:cubicBezTo>
                <a:cubicBezTo>
                  <a:pt x="7269117" y="3298214"/>
                  <a:pt x="7233470" y="3310087"/>
                  <a:pt x="7233470" y="3321959"/>
                </a:cubicBezTo>
                <a:cubicBezTo>
                  <a:pt x="7233470" y="3381317"/>
                  <a:pt x="7185938" y="3357573"/>
                  <a:pt x="7162175" y="3357573"/>
                </a:cubicBezTo>
                <a:cubicBezTo>
                  <a:pt x="7144350" y="3363510"/>
                  <a:pt x="7129497" y="3363510"/>
                  <a:pt x="7114643" y="3362024"/>
                </a:cubicBezTo>
                <a:lnTo>
                  <a:pt x="7067126" y="3357573"/>
                </a:lnTo>
                <a:lnTo>
                  <a:pt x="7126993" y="3379207"/>
                </a:lnTo>
                <a:lnTo>
                  <a:pt x="7130768" y="3378863"/>
                </a:lnTo>
                <a:cubicBezTo>
                  <a:pt x="7150077" y="3378214"/>
                  <a:pt x="7169385" y="3378583"/>
                  <a:pt x="7188695" y="3379697"/>
                </a:cubicBezTo>
                <a:lnTo>
                  <a:pt x="7202718" y="3381314"/>
                </a:lnTo>
                <a:lnTo>
                  <a:pt x="7249808" y="3381314"/>
                </a:lnTo>
                <a:cubicBezTo>
                  <a:pt x="7266147" y="3381314"/>
                  <a:pt x="7281000" y="3381314"/>
                  <a:pt x="7292882" y="3381314"/>
                </a:cubicBezTo>
                <a:cubicBezTo>
                  <a:pt x="7298823" y="3381314"/>
                  <a:pt x="7304765" y="3384282"/>
                  <a:pt x="7309220" y="3388732"/>
                </a:cubicBezTo>
                <a:lnTo>
                  <a:pt x="7311684" y="3394150"/>
                </a:lnTo>
                <a:lnTo>
                  <a:pt x="7420403" y="3410860"/>
                </a:lnTo>
                <a:cubicBezTo>
                  <a:pt x="7459021" y="3416055"/>
                  <a:pt x="7497640" y="3419764"/>
                  <a:pt x="7536258" y="3419764"/>
                </a:cubicBezTo>
                <a:cubicBezTo>
                  <a:pt x="7595671" y="3407894"/>
                  <a:pt x="7666965" y="3431635"/>
                  <a:pt x="7738262" y="3443508"/>
                </a:cubicBezTo>
                <a:cubicBezTo>
                  <a:pt x="7750143" y="3443508"/>
                  <a:pt x="7762024" y="3443508"/>
                  <a:pt x="7785790" y="3443508"/>
                </a:cubicBezTo>
                <a:cubicBezTo>
                  <a:pt x="7797671" y="3431635"/>
                  <a:pt x="7821437" y="3443508"/>
                  <a:pt x="7821437" y="3455379"/>
                </a:cubicBezTo>
                <a:lnTo>
                  <a:pt x="7821437" y="3455382"/>
                </a:lnTo>
                <a:cubicBezTo>
                  <a:pt x="7821437" y="3479127"/>
                  <a:pt x="7797671" y="3490997"/>
                  <a:pt x="7785790" y="3479127"/>
                </a:cubicBezTo>
                <a:cubicBezTo>
                  <a:pt x="7702612" y="3443512"/>
                  <a:pt x="7595671" y="3479127"/>
                  <a:pt x="7512492" y="3443512"/>
                </a:cubicBezTo>
                <a:cubicBezTo>
                  <a:pt x="7429316" y="3419768"/>
                  <a:pt x="7358019" y="3443512"/>
                  <a:pt x="7286725" y="3431639"/>
                </a:cubicBezTo>
                <a:lnTo>
                  <a:pt x="7286725" y="3432639"/>
                </a:lnTo>
                <a:lnTo>
                  <a:pt x="7286725" y="3462799"/>
                </a:lnTo>
                <a:lnTo>
                  <a:pt x="7322371" y="3467249"/>
                </a:lnTo>
                <a:cubicBezTo>
                  <a:pt x="7358019" y="3443508"/>
                  <a:pt x="7405550" y="3455379"/>
                  <a:pt x="7453079" y="3490994"/>
                </a:cubicBezTo>
                <a:lnTo>
                  <a:pt x="7453075" y="3490994"/>
                </a:lnTo>
                <a:lnTo>
                  <a:pt x="7453079" y="3490997"/>
                </a:lnTo>
                <a:cubicBezTo>
                  <a:pt x="7417432" y="3490997"/>
                  <a:pt x="7393669" y="3502868"/>
                  <a:pt x="7369903" y="3490997"/>
                </a:cubicBezTo>
                <a:cubicBezTo>
                  <a:pt x="7334256" y="3479127"/>
                  <a:pt x="7310490" y="3467254"/>
                  <a:pt x="7322371" y="3526612"/>
                </a:cubicBezTo>
                <a:lnTo>
                  <a:pt x="7322371" y="3538479"/>
                </a:lnTo>
                <a:lnTo>
                  <a:pt x="7322371" y="3538482"/>
                </a:lnTo>
                <a:cubicBezTo>
                  <a:pt x="7298609" y="3502868"/>
                  <a:pt x="7262962" y="3585971"/>
                  <a:pt x="7239196" y="3526612"/>
                </a:cubicBezTo>
                <a:cubicBezTo>
                  <a:pt x="7239196" y="3526612"/>
                  <a:pt x="7227312" y="3514742"/>
                  <a:pt x="7227312" y="3514742"/>
                </a:cubicBezTo>
                <a:cubicBezTo>
                  <a:pt x="7179783" y="3550356"/>
                  <a:pt x="7156017" y="3490997"/>
                  <a:pt x="7120370" y="3490997"/>
                </a:cubicBezTo>
                <a:lnTo>
                  <a:pt x="7120374" y="3490994"/>
                </a:lnTo>
                <a:lnTo>
                  <a:pt x="7120370" y="3490994"/>
                </a:lnTo>
                <a:cubicBezTo>
                  <a:pt x="7126314" y="3479123"/>
                  <a:pt x="7135223" y="3473186"/>
                  <a:pt x="7142650" y="3465767"/>
                </a:cubicBezTo>
                <a:lnTo>
                  <a:pt x="7156017" y="3431639"/>
                </a:lnTo>
                <a:lnTo>
                  <a:pt x="7132255" y="3419768"/>
                </a:lnTo>
                <a:cubicBezTo>
                  <a:pt x="7132255" y="3419768"/>
                  <a:pt x="7120370" y="3419768"/>
                  <a:pt x="7120370" y="3419768"/>
                </a:cubicBezTo>
                <a:cubicBezTo>
                  <a:pt x="7120370" y="3449446"/>
                  <a:pt x="7093635" y="3461320"/>
                  <a:pt x="7071356" y="3476158"/>
                </a:cubicBezTo>
                <a:lnTo>
                  <a:pt x="7045175" y="3503238"/>
                </a:lnTo>
                <a:lnTo>
                  <a:pt x="7049076" y="3550354"/>
                </a:lnTo>
                <a:lnTo>
                  <a:pt x="7049076" y="3550356"/>
                </a:lnTo>
                <a:cubicBezTo>
                  <a:pt x="7037194" y="3550356"/>
                  <a:pt x="7037194" y="3550356"/>
                  <a:pt x="7025310" y="3550356"/>
                </a:cubicBezTo>
                <a:cubicBezTo>
                  <a:pt x="7001548" y="3526612"/>
                  <a:pt x="6977781" y="3490997"/>
                  <a:pt x="6954015" y="3467254"/>
                </a:cubicBezTo>
                <a:lnTo>
                  <a:pt x="6894603" y="3467254"/>
                </a:lnTo>
                <a:lnTo>
                  <a:pt x="6899061" y="3489508"/>
                </a:lnTo>
                <a:cubicBezTo>
                  <a:pt x="6906487" y="3493962"/>
                  <a:pt x="6918369" y="3496931"/>
                  <a:pt x="6930250" y="3502864"/>
                </a:cubicBezTo>
                <a:lnTo>
                  <a:pt x="6930250" y="3502868"/>
                </a:lnTo>
                <a:lnTo>
                  <a:pt x="6930250" y="3526608"/>
                </a:lnTo>
                <a:lnTo>
                  <a:pt x="6930250" y="3526612"/>
                </a:lnTo>
                <a:cubicBezTo>
                  <a:pt x="6918369" y="3526612"/>
                  <a:pt x="6906487" y="3526612"/>
                  <a:pt x="6894603" y="3514742"/>
                </a:cubicBezTo>
                <a:cubicBezTo>
                  <a:pt x="6870841" y="3514742"/>
                  <a:pt x="6894603" y="3467254"/>
                  <a:pt x="6858955" y="3455382"/>
                </a:cubicBezTo>
                <a:cubicBezTo>
                  <a:pt x="6870841" y="3502868"/>
                  <a:pt x="6835189" y="3502868"/>
                  <a:pt x="6811427" y="3502868"/>
                </a:cubicBezTo>
                <a:cubicBezTo>
                  <a:pt x="6763896" y="3514742"/>
                  <a:pt x="6728247" y="3514742"/>
                  <a:pt x="6680720" y="3526612"/>
                </a:cubicBezTo>
                <a:cubicBezTo>
                  <a:pt x="6668836" y="3526612"/>
                  <a:pt x="6656953" y="3526612"/>
                  <a:pt x="6645073" y="3526612"/>
                </a:cubicBezTo>
                <a:cubicBezTo>
                  <a:pt x="6609425" y="3490997"/>
                  <a:pt x="6585659" y="3467254"/>
                  <a:pt x="6573775" y="3538482"/>
                </a:cubicBezTo>
                <a:cubicBezTo>
                  <a:pt x="6573775" y="3550356"/>
                  <a:pt x="6561894" y="3550356"/>
                  <a:pt x="6550012" y="3538482"/>
                </a:cubicBezTo>
                <a:cubicBezTo>
                  <a:pt x="6526246" y="3455382"/>
                  <a:pt x="6502480" y="3562227"/>
                  <a:pt x="6478718" y="3538482"/>
                </a:cubicBezTo>
                <a:cubicBezTo>
                  <a:pt x="6490600" y="3490997"/>
                  <a:pt x="6419305" y="3514742"/>
                  <a:pt x="6407420" y="3479127"/>
                </a:cubicBezTo>
                <a:cubicBezTo>
                  <a:pt x="6371773" y="3502868"/>
                  <a:pt x="6371773" y="3490997"/>
                  <a:pt x="6371773" y="3455382"/>
                </a:cubicBezTo>
                <a:cubicBezTo>
                  <a:pt x="6383659" y="3443512"/>
                  <a:pt x="6383659" y="3431639"/>
                  <a:pt x="6359892" y="3419768"/>
                </a:cubicBezTo>
                <a:cubicBezTo>
                  <a:pt x="6348011" y="3443512"/>
                  <a:pt x="6324245" y="3431639"/>
                  <a:pt x="6312365" y="3455382"/>
                </a:cubicBezTo>
                <a:cubicBezTo>
                  <a:pt x="6300479" y="3490997"/>
                  <a:pt x="6276713" y="3502868"/>
                  <a:pt x="6241066" y="3467254"/>
                </a:cubicBezTo>
                <a:cubicBezTo>
                  <a:pt x="6205419" y="3431639"/>
                  <a:pt x="6181657" y="3443512"/>
                  <a:pt x="6181657" y="3479127"/>
                </a:cubicBezTo>
                <a:cubicBezTo>
                  <a:pt x="6181657" y="3538482"/>
                  <a:pt x="6122244" y="3502868"/>
                  <a:pt x="6110358" y="3526612"/>
                </a:cubicBezTo>
                <a:cubicBezTo>
                  <a:pt x="6098477" y="3526612"/>
                  <a:pt x="6122244" y="3431639"/>
                  <a:pt x="6062831" y="3502868"/>
                </a:cubicBezTo>
                <a:cubicBezTo>
                  <a:pt x="6062831" y="3490997"/>
                  <a:pt x="6050949" y="3490997"/>
                  <a:pt x="6039064" y="3479127"/>
                </a:cubicBezTo>
                <a:cubicBezTo>
                  <a:pt x="6027184" y="3467254"/>
                  <a:pt x="5991537" y="3479127"/>
                  <a:pt x="5991537" y="3490997"/>
                </a:cubicBezTo>
                <a:cubicBezTo>
                  <a:pt x="5991537" y="3550356"/>
                  <a:pt x="5944005" y="3526612"/>
                  <a:pt x="5920241" y="3526612"/>
                </a:cubicBezTo>
                <a:cubicBezTo>
                  <a:pt x="5902416" y="3532549"/>
                  <a:pt x="5887564" y="3532549"/>
                  <a:pt x="5872710" y="3531062"/>
                </a:cubicBezTo>
                <a:lnTo>
                  <a:pt x="5825193" y="3526612"/>
                </a:lnTo>
                <a:lnTo>
                  <a:pt x="5894990" y="3551836"/>
                </a:lnTo>
                <a:cubicBezTo>
                  <a:pt x="5917270" y="3553318"/>
                  <a:pt x="5938064" y="3550354"/>
                  <a:pt x="5955890" y="3550354"/>
                </a:cubicBezTo>
                <a:cubicBezTo>
                  <a:pt x="5991537" y="3550354"/>
                  <a:pt x="6027184" y="3550354"/>
                  <a:pt x="6050949" y="3550354"/>
                </a:cubicBezTo>
                <a:cubicBezTo>
                  <a:pt x="6062831" y="3550354"/>
                  <a:pt x="6074713" y="3562223"/>
                  <a:pt x="6074713" y="3574093"/>
                </a:cubicBezTo>
                <a:lnTo>
                  <a:pt x="6074713" y="3574097"/>
                </a:lnTo>
                <a:cubicBezTo>
                  <a:pt x="6074713" y="3585971"/>
                  <a:pt x="6062831" y="3574097"/>
                  <a:pt x="6050949" y="3574097"/>
                </a:cubicBezTo>
                <a:cubicBezTo>
                  <a:pt x="6015299" y="3574097"/>
                  <a:pt x="5979652" y="3574097"/>
                  <a:pt x="5955890" y="3585971"/>
                </a:cubicBezTo>
                <a:cubicBezTo>
                  <a:pt x="5920241" y="3609712"/>
                  <a:pt x="5896477" y="3562227"/>
                  <a:pt x="5860829" y="3562227"/>
                </a:cubicBezTo>
                <a:cubicBezTo>
                  <a:pt x="5825183" y="3574097"/>
                  <a:pt x="5789535" y="3585971"/>
                  <a:pt x="5742004" y="3585971"/>
                </a:cubicBezTo>
                <a:cubicBezTo>
                  <a:pt x="5730122" y="3585971"/>
                  <a:pt x="5706357" y="3597842"/>
                  <a:pt x="5706357" y="3574097"/>
                </a:cubicBezTo>
                <a:lnTo>
                  <a:pt x="5706357" y="3574093"/>
                </a:lnTo>
                <a:cubicBezTo>
                  <a:pt x="5706357" y="3550354"/>
                  <a:pt x="5730122" y="3538479"/>
                  <a:pt x="5742004" y="3538479"/>
                </a:cubicBezTo>
                <a:cubicBezTo>
                  <a:pt x="5747943" y="3538479"/>
                  <a:pt x="5753884" y="3541447"/>
                  <a:pt x="5759829" y="3542930"/>
                </a:cubicBezTo>
                <a:lnTo>
                  <a:pt x="5777646" y="3538479"/>
                </a:lnTo>
                <a:lnTo>
                  <a:pt x="5730122" y="3516224"/>
                </a:lnTo>
                <a:cubicBezTo>
                  <a:pt x="5715269" y="3508805"/>
                  <a:pt x="5706357" y="3496934"/>
                  <a:pt x="5718237" y="3467254"/>
                </a:cubicBezTo>
                <a:lnTo>
                  <a:pt x="5673682" y="3495448"/>
                </a:lnTo>
                <a:lnTo>
                  <a:pt x="5682590" y="3550354"/>
                </a:lnTo>
                <a:lnTo>
                  <a:pt x="5682590" y="3550356"/>
                </a:lnTo>
                <a:cubicBezTo>
                  <a:pt x="5694475" y="3562227"/>
                  <a:pt x="5682590" y="3574097"/>
                  <a:pt x="5658828" y="3574097"/>
                </a:cubicBezTo>
                <a:cubicBezTo>
                  <a:pt x="5635062" y="3585971"/>
                  <a:pt x="5611296" y="3597842"/>
                  <a:pt x="5587530" y="3574097"/>
                </a:cubicBezTo>
                <a:cubicBezTo>
                  <a:pt x="5581590" y="3562227"/>
                  <a:pt x="5581590" y="3556290"/>
                  <a:pt x="5586048" y="3551839"/>
                </a:cubicBezTo>
                <a:lnTo>
                  <a:pt x="5586048" y="3551836"/>
                </a:lnTo>
                <a:cubicBezTo>
                  <a:pt x="5590502" y="3547384"/>
                  <a:pt x="5599414" y="3544416"/>
                  <a:pt x="5611296" y="3538479"/>
                </a:cubicBezTo>
                <a:lnTo>
                  <a:pt x="5611296" y="3514742"/>
                </a:lnTo>
                <a:cubicBezTo>
                  <a:pt x="5587530" y="3502868"/>
                  <a:pt x="5623176" y="3467254"/>
                  <a:pt x="5599414" y="3467254"/>
                </a:cubicBezTo>
                <a:cubicBezTo>
                  <a:pt x="5575649" y="3455382"/>
                  <a:pt x="5575649" y="3467254"/>
                  <a:pt x="5563767" y="3490997"/>
                </a:cubicBezTo>
                <a:cubicBezTo>
                  <a:pt x="5540003" y="3526612"/>
                  <a:pt x="5504355" y="3526612"/>
                  <a:pt x="5468707" y="3514742"/>
                </a:cubicBezTo>
                <a:cubicBezTo>
                  <a:pt x="5444942" y="3502868"/>
                  <a:pt x="5421175" y="3514742"/>
                  <a:pt x="5421175" y="3538482"/>
                </a:cubicBezTo>
                <a:cubicBezTo>
                  <a:pt x="5409295" y="3585971"/>
                  <a:pt x="5385530" y="3574097"/>
                  <a:pt x="5349881" y="3574097"/>
                </a:cubicBezTo>
                <a:cubicBezTo>
                  <a:pt x="5242939" y="3574097"/>
                  <a:pt x="5124114" y="3574097"/>
                  <a:pt x="5005291" y="3574097"/>
                </a:cubicBezTo>
                <a:cubicBezTo>
                  <a:pt x="4993407" y="3574097"/>
                  <a:pt x="4981525" y="3574097"/>
                  <a:pt x="4981525" y="3562227"/>
                </a:cubicBezTo>
                <a:lnTo>
                  <a:pt x="4981529" y="3562223"/>
                </a:lnTo>
                <a:lnTo>
                  <a:pt x="4981525" y="3562223"/>
                </a:lnTo>
                <a:cubicBezTo>
                  <a:pt x="4981525" y="3538479"/>
                  <a:pt x="4993407" y="3526608"/>
                  <a:pt x="5017172" y="3526608"/>
                </a:cubicBezTo>
                <a:cubicBezTo>
                  <a:pt x="5064701" y="3526608"/>
                  <a:pt x="5112233" y="3526608"/>
                  <a:pt x="5159762" y="3526608"/>
                </a:cubicBezTo>
                <a:cubicBezTo>
                  <a:pt x="5219175" y="3538479"/>
                  <a:pt x="5278587" y="3502864"/>
                  <a:pt x="5326116" y="3550354"/>
                </a:cubicBezTo>
                <a:cubicBezTo>
                  <a:pt x="5332061" y="3538479"/>
                  <a:pt x="5343941" y="3538479"/>
                  <a:pt x="5355821" y="3539965"/>
                </a:cubicBezTo>
                <a:lnTo>
                  <a:pt x="5385530" y="3538479"/>
                </a:lnTo>
                <a:lnTo>
                  <a:pt x="5361766" y="3479127"/>
                </a:lnTo>
                <a:lnTo>
                  <a:pt x="5364734" y="3504350"/>
                </a:lnTo>
                <a:lnTo>
                  <a:pt x="5364734" y="3504354"/>
                </a:lnTo>
                <a:cubicBezTo>
                  <a:pt x="5364734" y="3511773"/>
                  <a:pt x="5361766" y="3514738"/>
                  <a:pt x="5349881" y="3502868"/>
                </a:cubicBezTo>
                <a:cubicBezTo>
                  <a:pt x="5302352" y="3479127"/>
                  <a:pt x="5254821" y="3490997"/>
                  <a:pt x="5207294" y="3490997"/>
                </a:cubicBezTo>
                <a:cubicBezTo>
                  <a:pt x="5195408" y="3490997"/>
                  <a:pt x="5195408" y="3490997"/>
                  <a:pt x="5183527" y="3479127"/>
                </a:cubicBezTo>
                <a:lnTo>
                  <a:pt x="5168673" y="3471708"/>
                </a:lnTo>
                <a:lnTo>
                  <a:pt x="5171646" y="3490994"/>
                </a:lnTo>
                <a:lnTo>
                  <a:pt x="5171646" y="3490997"/>
                </a:lnTo>
                <a:lnTo>
                  <a:pt x="5171646" y="3514738"/>
                </a:lnTo>
                <a:lnTo>
                  <a:pt x="5171646" y="3514742"/>
                </a:lnTo>
                <a:cubicBezTo>
                  <a:pt x="5124114" y="3467254"/>
                  <a:pt x="5076585" y="3443512"/>
                  <a:pt x="5029054" y="3467254"/>
                </a:cubicBezTo>
                <a:cubicBezTo>
                  <a:pt x="5011233" y="3473190"/>
                  <a:pt x="4993407" y="3464285"/>
                  <a:pt x="4975585" y="3456865"/>
                </a:cubicBezTo>
                <a:lnTo>
                  <a:pt x="4922121" y="3455382"/>
                </a:lnTo>
                <a:lnTo>
                  <a:pt x="4968159" y="3476155"/>
                </a:lnTo>
                <a:cubicBezTo>
                  <a:pt x="4976326" y="3479123"/>
                  <a:pt x="4981154" y="3482833"/>
                  <a:pt x="4977255" y="3488766"/>
                </a:cubicBezTo>
                <a:lnTo>
                  <a:pt x="4977255" y="3488770"/>
                </a:lnTo>
                <a:cubicBezTo>
                  <a:pt x="4973353" y="3494707"/>
                  <a:pt x="4960731" y="3502868"/>
                  <a:pt x="4933994" y="3514742"/>
                </a:cubicBezTo>
                <a:lnTo>
                  <a:pt x="4933994" y="3534031"/>
                </a:lnTo>
                <a:lnTo>
                  <a:pt x="4933994" y="3562223"/>
                </a:lnTo>
                <a:lnTo>
                  <a:pt x="4933994" y="3562227"/>
                </a:lnTo>
                <a:cubicBezTo>
                  <a:pt x="4910231" y="3562227"/>
                  <a:pt x="4910231" y="3550356"/>
                  <a:pt x="4910231" y="3538482"/>
                </a:cubicBezTo>
                <a:cubicBezTo>
                  <a:pt x="4898347" y="3514742"/>
                  <a:pt x="4898347" y="3502868"/>
                  <a:pt x="4862699" y="3502868"/>
                </a:cubicBezTo>
                <a:cubicBezTo>
                  <a:pt x="4838933" y="3502868"/>
                  <a:pt x="4850818" y="3526612"/>
                  <a:pt x="4838933" y="3538482"/>
                </a:cubicBezTo>
                <a:cubicBezTo>
                  <a:pt x="4838933" y="3562227"/>
                  <a:pt x="4827053" y="3562227"/>
                  <a:pt x="4803286" y="3562227"/>
                </a:cubicBezTo>
                <a:cubicBezTo>
                  <a:pt x="4720111" y="3562227"/>
                  <a:pt x="4636931" y="3550356"/>
                  <a:pt x="4553756" y="3538482"/>
                </a:cubicBezTo>
                <a:lnTo>
                  <a:pt x="4551429" y="3538094"/>
                </a:lnTo>
                <a:lnTo>
                  <a:pt x="4527053" y="3554332"/>
                </a:lnTo>
                <a:lnTo>
                  <a:pt x="4598344" y="3566203"/>
                </a:lnTo>
                <a:cubicBezTo>
                  <a:pt x="4645874" y="3589942"/>
                  <a:pt x="4693403" y="3566203"/>
                  <a:pt x="4752818" y="3589942"/>
                </a:cubicBezTo>
                <a:cubicBezTo>
                  <a:pt x="4788464" y="3601817"/>
                  <a:pt x="4847877" y="3589942"/>
                  <a:pt x="4895405" y="3601817"/>
                </a:cubicBezTo>
                <a:cubicBezTo>
                  <a:pt x="4931052" y="3613688"/>
                  <a:pt x="4954818" y="3637432"/>
                  <a:pt x="4942937" y="3684917"/>
                </a:cubicBezTo>
                <a:lnTo>
                  <a:pt x="4942937" y="3684921"/>
                </a:lnTo>
                <a:cubicBezTo>
                  <a:pt x="4919172" y="3732409"/>
                  <a:pt x="4919172" y="3791765"/>
                  <a:pt x="4919172" y="3851123"/>
                </a:cubicBezTo>
                <a:cubicBezTo>
                  <a:pt x="4919172" y="3910480"/>
                  <a:pt x="4895405" y="3946095"/>
                  <a:pt x="4835996" y="3934224"/>
                </a:cubicBezTo>
                <a:cubicBezTo>
                  <a:pt x="4752818" y="3934224"/>
                  <a:pt x="4669638" y="3957968"/>
                  <a:pt x="4586461" y="3957968"/>
                </a:cubicBezTo>
                <a:cubicBezTo>
                  <a:pt x="4562696" y="3957968"/>
                  <a:pt x="4527051" y="3946095"/>
                  <a:pt x="4491403" y="3946095"/>
                </a:cubicBezTo>
                <a:lnTo>
                  <a:pt x="4491407" y="3946091"/>
                </a:lnTo>
                <a:lnTo>
                  <a:pt x="4491403" y="3946091"/>
                </a:lnTo>
                <a:cubicBezTo>
                  <a:pt x="4491403" y="3934220"/>
                  <a:pt x="4503284" y="3931252"/>
                  <a:pt x="4512195" y="3926801"/>
                </a:cubicBezTo>
                <a:lnTo>
                  <a:pt x="4515167" y="3898609"/>
                </a:lnTo>
                <a:lnTo>
                  <a:pt x="4509228" y="3883771"/>
                </a:lnTo>
                <a:cubicBezTo>
                  <a:pt x="4506256" y="3880802"/>
                  <a:pt x="4503284" y="3880802"/>
                  <a:pt x="4503284" y="3886738"/>
                </a:cubicBezTo>
                <a:cubicBezTo>
                  <a:pt x="4491403" y="3910480"/>
                  <a:pt x="4443873" y="3886738"/>
                  <a:pt x="4455754" y="3934224"/>
                </a:cubicBezTo>
                <a:cubicBezTo>
                  <a:pt x="4455754" y="3946095"/>
                  <a:pt x="4467637" y="3957968"/>
                  <a:pt x="4443873" y="3957968"/>
                </a:cubicBezTo>
                <a:cubicBezTo>
                  <a:pt x="4431990" y="3957968"/>
                  <a:pt x="4420108" y="3946095"/>
                  <a:pt x="4420108" y="3934224"/>
                </a:cubicBezTo>
                <a:cubicBezTo>
                  <a:pt x="4420108" y="3886738"/>
                  <a:pt x="4372577" y="3910480"/>
                  <a:pt x="4360694" y="3886738"/>
                </a:cubicBezTo>
                <a:cubicBezTo>
                  <a:pt x="4354754" y="3880802"/>
                  <a:pt x="4348815" y="3883771"/>
                  <a:pt x="4344356" y="3889707"/>
                </a:cubicBezTo>
                <a:lnTo>
                  <a:pt x="4336932" y="3910480"/>
                </a:lnTo>
                <a:lnTo>
                  <a:pt x="4360694" y="3934220"/>
                </a:lnTo>
                <a:cubicBezTo>
                  <a:pt x="4372577" y="3934220"/>
                  <a:pt x="4384460" y="3922349"/>
                  <a:pt x="4408223" y="3946091"/>
                </a:cubicBezTo>
                <a:lnTo>
                  <a:pt x="4408216" y="3946091"/>
                </a:lnTo>
                <a:lnTo>
                  <a:pt x="4408223" y="3946095"/>
                </a:lnTo>
                <a:cubicBezTo>
                  <a:pt x="4348815" y="3957968"/>
                  <a:pt x="4301283" y="3957968"/>
                  <a:pt x="4241869" y="3946095"/>
                </a:cubicBezTo>
                <a:lnTo>
                  <a:pt x="4241876" y="3946091"/>
                </a:lnTo>
                <a:lnTo>
                  <a:pt x="4241869" y="3946091"/>
                </a:lnTo>
                <a:cubicBezTo>
                  <a:pt x="4277516" y="3940157"/>
                  <a:pt x="4301283" y="3925319"/>
                  <a:pt x="4313167" y="3904542"/>
                </a:cubicBezTo>
                <a:lnTo>
                  <a:pt x="4313167" y="3827380"/>
                </a:lnTo>
                <a:lnTo>
                  <a:pt x="4298313" y="3877834"/>
                </a:lnTo>
                <a:cubicBezTo>
                  <a:pt x="4292373" y="3892672"/>
                  <a:pt x="4283461" y="3904546"/>
                  <a:pt x="4265635" y="3910480"/>
                </a:cubicBezTo>
                <a:lnTo>
                  <a:pt x="4265635" y="3910476"/>
                </a:lnTo>
                <a:lnTo>
                  <a:pt x="4265635" y="3827380"/>
                </a:lnTo>
                <a:cubicBezTo>
                  <a:pt x="4229988" y="3839250"/>
                  <a:pt x="4194340" y="3827380"/>
                  <a:pt x="4170575" y="3803635"/>
                </a:cubicBezTo>
                <a:lnTo>
                  <a:pt x="4170575" y="3851120"/>
                </a:lnTo>
                <a:cubicBezTo>
                  <a:pt x="4176518" y="3862991"/>
                  <a:pt x="4176518" y="3874861"/>
                  <a:pt x="4170575" y="3883767"/>
                </a:cubicBezTo>
                <a:lnTo>
                  <a:pt x="4170575" y="3883771"/>
                </a:lnTo>
                <a:cubicBezTo>
                  <a:pt x="4164635" y="3892672"/>
                  <a:pt x="4152753" y="3898609"/>
                  <a:pt x="4134926" y="3898609"/>
                </a:cubicBezTo>
                <a:cubicBezTo>
                  <a:pt x="4123046" y="3910480"/>
                  <a:pt x="4111161" y="3910480"/>
                  <a:pt x="4111161" y="3922353"/>
                </a:cubicBezTo>
                <a:cubicBezTo>
                  <a:pt x="4099280" y="3969839"/>
                  <a:pt x="4075514" y="3957968"/>
                  <a:pt x="4051752" y="3946095"/>
                </a:cubicBezTo>
                <a:cubicBezTo>
                  <a:pt x="4039868" y="3934224"/>
                  <a:pt x="4027986" y="3922353"/>
                  <a:pt x="4023532" y="3910480"/>
                </a:cubicBezTo>
                <a:lnTo>
                  <a:pt x="4023532" y="3910476"/>
                </a:lnTo>
                <a:cubicBezTo>
                  <a:pt x="4019073" y="3898606"/>
                  <a:pt x="4022044" y="3886734"/>
                  <a:pt x="4039868" y="3874861"/>
                </a:cubicBezTo>
                <a:lnTo>
                  <a:pt x="4053234" y="3862991"/>
                </a:lnTo>
                <a:lnTo>
                  <a:pt x="4039868" y="3851123"/>
                </a:lnTo>
                <a:cubicBezTo>
                  <a:pt x="4004219" y="3851123"/>
                  <a:pt x="4004219" y="3815509"/>
                  <a:pt x="3980455" y="3791765"/>
                </a:cubicBezTo>
                <a:lnTo>
                  <a:pt x="3980455" y="3886734"/>
                </a:lnTo>
                <a:cubicBezTo>
                  <a:pt x="3986394" y="3892669"/>
                  <a:pt x="3989366" y="3901573"/>
                  <a:pt x="3987882" y="3908994"/>
                </a:cubicBezTo>
                <a:lnTo>
                  <a:pt x="3987882" y="3908997"/>
                </a:lnTo>
                <a:lnTo>
                  <a:pt x="3971261" y="3920493"/>
                </a:lnTo>
                <a:lnTo>
                  <a:pt x="3972336" y="3926661"/>
                </a:lnTo>
                <a:lnTo>
                  <a:pt x="3967154" y="3926829"/>
                </a:lnTo>
                <a:lnTo>
                  <a:pt x="3959660" y="3950549"/>
                </a:lnTo>
                <a:cubicBezTo>
                  <a:pt x="3956688" y="3957968"/>
                  <a:pt x="3950747" y="3963902"/>
                  <a:pt x="3932923" y="3969839"/>
                </a:cubicBezTo>
                <a:cubicBezTo>
                  <a:pt x="3885394" y="3981709"/>
                  <a:pt x="3849746" y="3969839"/>
                  <a:pt x="3817067" y="3953513"/>
                </a:cubicBezTo>
                <a:lnTo>
                  <a:pt x="3719045" y="3910483"/>
                </a:lnTo>
                <a:lnTo>
                  <a:pt x="3735379" y="3934220"/>
                </a:lnTo>
                <a:cubicBezTo>
                  <a:pt x="3742807" y="3940157"/>
                  <a:pt x="3754688" y="3946091"/>
                  <a:pt x="3778452" y="3957964"/>
                </a:cubicBezTo>
                <a:lnTo>
                  <a:pt x="3778445" y="3957964"/>
                </a:lnTo>
                <a:lnTo>
                  <a:pt x="3778452" y="3957968"/>
                </a:lnTo>
                <a:cubicBezTo>
                  <a:pt x="3719042" y="3981709"/>
                  <a:pt x="3647747" y="3969839"/>
                  <a:pt x="3576452" y="3957968"/>
                </a:cubicBezTo>
                <a:lnTo>
                  <a:pt x="3576459" y="3957964"/>
                </a:lnTo>
                <a:lnTo>
                  <a:pt x="3576452" y="3957964"/>
                </a:lnTo>
                <a:cubicBezTo>
                  <a:pt x="3594274" y="3946091"/>
                  <a:pt x="3609128" y="3943126"/>
                  <a:pt x="3621009" y="3941640"/>
                </a:cubicBezTo>
                <a:lnTo>
                  <a:pt x="3647743" y="3934220"/>
                </a:lnTo>
                <a:lnTo>
                  <a:pt x="3636607" y="3927175"/>
                </a:lnTo>
                <a:cubicBezTo>
                  <a:pt x="3629920" y="3901578"/>
                  <a:pt x="3629920" y="3839253"/>
                  <a:pt x="3576452" y="3910480"/>
                </a:cubicBezTo>
                <a:lnTo>
                  <a:pt x="3576452" y="3910476"/>
                </a:lnTo>
                <a:lnTo>
                  <a:pt x="3576452" y="3874865"/>
                </a:lnTo>
                <a:cubicBezTo>
                  <a:pt x="3588333" y="3851123"/>
                  <a:pt x="3576452" y="3839250"/>
                  <a:pt x="3564568" y="3827380"/>
                </a:cubicBezTo>
                <a:cubicBezTo>
                  <a:pt x="3552686" y="3815509"/>
                  <a:pt x="3540801" y="3827380"/>
                  <a:pt x="3528921" y="3839250"/>
                </a:cubicBezTo>
                <a:cubicBezTo>
                  <a:pt x="3457626" y="3874865"/>
                  <a:pt x="3433860" y="3886738"/>
                  <a:pt x="3410094" y="3957968"/>
                </a:cubicBezTo>
                <a:cubicBezTo>
                  <a:pt x="3410094" y="3981709"/>
                  <a:pt x="3386331" y="3969839"/>
                  <a:pt x="3374448" y="3969839"/>
                </a:cubicBezTo>
                <a:cubicBezTo>
                  <a:pt x="3356626" y="3975775"/>
                  <a:pt x="3353653" y="3972807"/>
                  <a:pt x="3355140" y="3966870"/>
                </a:cubicBezTo>
                <a:lnTo>
                  <a:pt x="3355140" y="3966867"/>
                </a:lnTo>
                <a:lnTo>
                  <a:pt x="3362566" y="3946095"/>
                </a:lnTo>
                <a:lnTo>
                  <a:pt x="3350685" y="3889707"/>
                </a:lnTo>
                <a:cubicBezTo>
                  <a:pt x="3341773" y="3871899"/>
                  <a:pt x="3326920" y="3857058"/>
                  <a:pt x="3303153" y="3851123"/>
                </a:cubicBezTo>
                <a:cubicBezTo>
                  <a:pt x="3303153" y="3839250"/>
                  <a:pt x="3279387" y="3851123"/>
                  <a:pt x="3291272" y="3827380"/>
                </a:cubicBezTo>
                <a:cubicBezTo>
                  <a:pt x="3303153" y="3815509"/>
                  <a:pt x="3303153" y="3803635"/>
                  <a:pt x="3279387" y="3803635"/>
                </a:cubicBezTo>
                <a:lnTo>
                  <a:pt x="3255624" y="3839250"/>
                </a:lnTo>
                <a:lnTo>
                  <a:pt x="3266020" y="3877830"/>
                </a:lnTo>
                <a:cubicBezTo>
                  <a:pt x="3270478" y="3889703"/>
                  <a:pt x="3279387" y="3898606"/>
                  <a:pt x="3303153" y="3898606"/>
                </a:cubicBezTo>
                <a:lnTo>
                  <a:pt x="3303149" y="3898606"/>
                </a:lnTo>
                <a:lnTo>
                  <a:pt x="3303153" y="3898609"/>
                </a:lnTo>
                <a:cubicBezTo>
                  <a:pt x="3267506" y="3922353"/>
                  <a:pt x="3243740" y="3910480"/>
                  <a:pt x="3208093" y="3910480"/>
                </a:cubicBezTo>
                <a:lnTo>
                  <a:pt x="3208096" y="3910476"/>
                </a:lnTo>
                <a:lnTo>
                  <a:pt x="3208093" y="3910476"/>
                </a:lnTo>
                <a:lnTo>
                  <a:pt x="3243740" y="3862995"/>
                </a:lnTo>
                <a:lnTo>
                  <a:pt x="3209579" y="3849638"/>
                </a:lnTo>
                <a:cubicBezTo>
                  <a:pt x="3199180" y="3854092"/>
                  <a:pt x="3190271" y="3862995"/>
                  <a:pt x="3184330" y="3862995"/>
                </a:cubicBezTo>
                <a:lnTo>
                  <a:pt x="3183765" y="3865243"/>
                </a:lnTo>
                <a:lnTo>
                  <a:pt x="3172446" y="3910480"/>
                </a:lnTo>
                <a:cubicBezTo>
                  <a:pt x="3184330" y="3862995"/>
                  <a:pt x="3089270" y="3862995"/>
                  <a:pt x="3124917" y="3815509"/>
                </a:cubicBezTo>
                <a:cubicBezTo>
                  <a:pt x="3113032" y="3815509"/>
                  <a:pt x="3101152" y="3815509"/>
                  <a:pt x="3101152" y="3827380"/>
                </a:cubicBezTo>
                <a:cubicBezTo>
                  <a:pt x="3089270" y="3862995"/>
                  <a:pt x="3089270" y="3886738"/>
                  <a:pt x="3053623" y="3851123"/>
                </a:cubicBezTo>
                <a:cubicBezTo>
                  <a:pt x="3041739" y="3827380"/>
                  <a:pt x="3041739" y="3839250"/>
                  <a:pt x="3029857" y="3851123"/>
                </a:cubicBezTo>
                <a:cubicBezTo>
                  <a:pt x="3006091" y="3886738"/>
                  <a:pt x="2982326" y="3922353"/>
                  <a:pt x="2982326" y="3969839"/>
                </a:cubicBezTo>
                <a:cubicBezTo>
                  <a:pt x="2970445" y="3993582"/>
                  <a:pt x="2922916" y="4017324"/>
                  <a:pt x="2899150" y="3993582"/>
                </a:cubicBezTo>
                <a:cubicBezTo>
                  <a:pt x="2887269" y="3981709"/>
                  <a:pt x="2887269" y="3969839"/>
                  <a:pt x="2887269" y="3957968"/>
                </a:cubicBezTo>
                <a:lnTo>
                  <a:pt x="2887269" y="3957964"/>
                </a:lnTo>
                <a:cubicBezTo>
                  <a:pt x="2887269" y="3946091"/>
                  <a:pt x="2899150" y="3946091"/>
                  <a:pt x="2911032" y="3946091"/>
                </a:cubicBezTo>
                <a:cubicBezTo>
                  <a:pt x="2922916" y="3934220"/>
                  <a:pt x="2934797" y="3946091"/>
                  <a:pt x="2946678" y="3934220"/>
                </a:cubicBezTo>
                <a:lnTo>
                  <a:pt x="2970441" y="3910480"/>
                </a:lnTo>
                <a:lnTo>
                  <a:pt x="2957077" y="3891190"/>
                </a:lnTo>
                <a:cubicBezTo>
                  <a:pt x="2949650" y="3889703"/>
                  <a:pt x="2940738" y="3892672"/>
                  <a:pt x="2934797" y="3898609"/>
                </a:cubicBezTo>
                <a:cubicBezTo>
                  <a:pt x="2922916" y="3898609"/>
                  <a:pt x="2911032" y="3898609"/>
                  <a:pt x="2899150" y="3910480"/>
                </a:cubicBezTo>
                <a:cubicBezTo>
                  <a:pt x="2875384" y="3922353"/>
                  <a:pt x="2851618" y="3898609"/>
                  <a:pt x="2851618" y="3886738"/>
                </a:cubicBezTo>
                <a:cubicBezTo>
                  <a:pt x="2851618" y="3851123"/>
                  <a:pt x="2827855" y="3874865"/>
                  <a:pt x="2804089" y="3874865"/>
                </a:cubicBezTo>
                <a:cubicBezTo>
                  <a:pt x="2756562" y="3862995"/>
                  <a:pt x="2732796" y="3874865"/>
                  <a:pt x="2744677" y="3934224"/>
                </a:cubicBezTo>
                <a:cubicBezTo>
                  <a:pt x="2744677" y="3981709"/>
                  <a:pt x="2720911" y="3922353"/>
                  <a:pt x="2709030" y="3934224"/>
                </a:cubicBezTo>
                <a:cubicBezTo>
                  <a:pt x="2697148" y="3957968"/>
                  <a:pt x="2697148" y="3969839"/>
                  <a:pt x="2697148" y="3993582"/>
                </a:cubicBezTo>
                <a:lnTo>
                  <a:pt x="2697148" y="3993579"/>
                </a:lnTo>
                <a:lnTo>
                  <a:pt x="2697148" y="3886738"/>
                </a:lnTo>
                <a:cubicBezTo>
                  <a:pt x="2697148" y="3874865"/>
                  <a:pt x="2697148" y="3862995"/>
                  <a:pt x="2685264" y="3862995"/>
                </a:cubicBezTo>
                <a:cubicBezTo>
                  <a:pt x="2685264" y="3862995"/>
                  <a:pt x="2673382" y="3862995"/>
                  <a:pt x="2673382" y="3874865"/>
                </a:cubicBezTo>
                <a:cubicBezTo>
                  <a:pt x="2661501" y="3898609"/>
                  <a:pt x="2661501" y="3934224"/>
                  <a:pt x="2613968" y="3946095"/>
                </a:cubicBezTo>
                <a:lnTo>
                  <a:pt x="2613968" y="3957964"/>
                </a:lnTo>
                <a:cubicBezTo>
                  <a:pt x="2625854" y="3975771"/>
                  <a:pt x="2631050" y="3987643"/>
                  <a:pt x="2631795" y="3995433"/>
                </a:cubicBezTo>
                <a:lnTo>
                  <a:pt x="2631791" y="3995436"/>
                </a:lnTo>
                <a:lnTo>
                  <a:pt x="2631795" y="3995436"/>
                </a:lnTo>
                <a:cubicBezTo>
                  <a:pt x="2634022" y="4018810"/>
                  <a:pt x="2596148" y="4005454"/>
                  <a:pt x="2578323" y="4005454"/>
                </a:cubicBezTo>
                <a:cubicBezTo>
                  <a:pt x="2554557" y="4017324"/>
                  <a:pt x="2518909" y="4041068"/>
                  <a:pt x="2518909" y="4005454"/>
                </a:cubicBezTo>
                <a:lnTo>
                  <a:pt x="2518914" y="4005450"/>
                </a:lnTo>
                <a:lnTo>
                  <a:pt x="2518909" y="4005450"/>
                </a:lnTo>
                <a:cubicBezTo>
                  <a:pt x="2512969" y="3987643"/>
                  <a:pt x="2521881" y="3984674"/>
                  <a:pt x="2535249" y="3984674"/>
                </a:cubicBezTo>
                <a:lnTo>
                  <a:pt x="2578318" y="3981706"/>
                </a:lnTo>
                <a:lnTo>
                  <a:pt x="2526337" y="3940160"/>
                </a:lnTo>
                <a:cubicBezTo>
                  <a:pt x="2507028" y="3928287"/>
                  <a:pt x="2489202" y="3916417"/>
                  <a:pt x="2483262" y="3898609"/>
                </a:cubicBezTo>
                <a:cubicBezTo>
                  <a:pt x="2477322" y="3892672"/>
                  <a:pt x="2468409" y="3889703"/>
                  <a:pt x="2459496" y="3891190"/>
                </a:cubicBezTo>
                <a:lnTo>
                  <a:pt x="2435733" y="3910480"/>
                </a:lnTo>
                <a:lnTo>
                  <a:pt x="2459496" y="3922349"/>
                </a:lnTo>
                <a:cubicBezTo>
                  <a:pt x="2471381" y="3934220"/>
                  <a:pt x="2483262" y="3934220"/>
                  <a:pt x="2483262" y="3957964"/>
                </a:cubicBezTo>
                <a:lnTo>
                  <a:pt x="2483262" y="3957968"/>
                </a:lnTo>
                <a:cubicBezTo>
                  <a:pt x="2471381" y="3969839"/>
                  <a:pt x="2459496" y="3981709"/>
                  <a:pt x="2447615" y="3969839"/>
                </a:cubicBezTo>
                <a:cubicBezTo>
                  <a:pt x="2435733" y="3957968"/>
                  <a:pt x="2423849" y="3957968"/>
                  <a:pt x="2423849" y="3957968"/>
                </a:cubicBezTo>
                <a:cubicBezTo>
                  <a:pt x="2400087" y="3957968"/>
                  <a:pt x="2376321" y="3934224"/>
                  <a:pt x="2364440" y="3946095"/>
                </a:cubicBezTo>
                <a:lnTo>
                  <a:pt x="2336219" y="3983191"/>
                </a:lnTo>
                <a:lnTo>
                  <a:pt x="2352555" y="4029193"/>
                </a:lnTo>
                <a:lnTo>
                  <a:pt x="2352555" y="4029197"/>
                </a:lnTo>
                <a:cubicBezTo>
                  <a:pt x="2316908" y="4041068"/>
                  <a:pt x="2316908" y="4017324"/>
                  <a:pt x="2316908" y="4005454"/>
                </a:cubicBezTo>
                <a:cubicBezTo>
                  <a:pt x="2305027" y="3993582"/>
                  <a:pt x="2305027" y="3969839"/>
                  <a:pt x="2293142" y="3981709"/>
                </a:cubicBezTo>
                <a:cubicBezTo>
                  <a:pt x="2233733" y="3993582"/>
                  <a:pt x="2186200" y="3934224"/>
                  <a:pt x="2126787" y="3981709"/>
                </a:cubicBezTo>
                <a:cubicBezTo>
                  <a:pt x="2126787" y="3981709"/>
                  <a:pt x="2114906" y="3981709"/>
                  <a:pt x="2103025" y="3969839"/>
                </a:cubicBezTo>
                <a:cubicBezTo>
                  <a:pt x="2079259" y="3946095"/>
                  <a:pt x="2079259" y="3946095"/>
                  <a:pt x="2055493" y="3981709"/>
                </a:cubicBezTo>
                <a:cubicBezTo>
                  <a:pt x="2043612" y="4005454"/>
                  <a:pt x="1996079" y="4017324"/>
                  <a:pt x="1996079" y="4017324"/>
                </a:cubicBezTo>
                <a:cubicBezTo>
                  <a:pt x="1960433" y="3993582"/>
                  <a:pt x="1936666" y="4029197"/>
                  <a:pt x="1912905" y="4005454"/>
                </a:cubicBezTo>
                <a:lnTo>
                  <a:pt x="1901023" y="4017324"/>
                </a:lnTo>
                <a:lnTo>
                  <a:pt x="1912905" y="4029193"/>
                </a:lnTo>
                <a:cubicBezTo>
                  <a:pt x="1960433" y="4029193"/>
                  <a:pt x="2007965" y="4052935"/>
                  <a:pt x="2067375" y="4041065"/>
                </a:cubicBezTo>
                <a:cubicBezTo>
                  <a:pt x="2091140" y="4029193"/>
                  <a:pt x="2138672" y="4041065"/>
                  <a:pt x="2150553" y="3993579"/>
                </a:cubicBezTo>
                <a:cubicBezTo>
                  <a:pt x="2186200" y="4029193"/>
                  <a:pt x="2221847" y="3993579"/>
                  <a:pt x="2257494" y="3993579"/>
                </a:cubicBezTo>
                <a:lnTo>
                  <a:pt x="2257574" y="3993648"/>
                </a:lnTo>
                <a:lnTo>
                  <a:pt x="2288688" y="4020293"/>
                </a:lnTo>
                <a:lnTo>
                  <a:pt x="2293142" y="4064809"/>
                </a:lnTo>
                <a:lnTo>
                  <a:pt x="2293142" y="4064812"/>
                </a:lnTo>
                <a:cubicBezTo>
                  <a:pt x="2316908" y="4058876"/>
                  <a:pt x="2337701" y="4052939"/>
                  <a:pt x="2358496" y="4052939"/>
                </a:cubicBezTo>
                <a:lnTo>
                  <a:pt x="2423691" y="4076625"/>
                </a:lnTo>
                <a:lnTo>
                  <a:pt x="2423849" y="4076679"/>
                </a:lnTo>
                <a:cubicBezTo>
                  <a:pt x="2435733" y="4088550"/>
                  <a:pt x="2483262" y="4100420"/>
                  <a:pt x="2507028" y="4088550"/>
                </a:cubicBezTo>
                <a:cubicBezTo>
                  <a:pt x="2542675" y="4076679"/>
                  <a:pt x="2566441" y="4076679"/>
                  <a:pt x="2590204" y="4088550"/>
                </a:cubicBezTo>
                <a:cubicBezTo>
                  <a:pt x="2625854" y="4112293"/>
                  <a:pt x="2661501" y="4136035"/>
                  <a:pt x="2697148" y="4100420"/>
                </a:cubicBezTo>
                <a:cubicBezTo>
                  <a:pt x="2709030" y="4088550"/>
                  <a:pt x="2756562" y="4112293"/>
                  <a:pt x="2780325" y="4112293"/>
                </a:cubicBezTo>
                <a:cubicBezTo>
                  <a:pt x="2804089" y="4112293"/>
                  <a:pt x="2815971" y="4147908"/>
                  <a:pt x="2839736" y="4100420"/>
                </a:cubicBezTo>
                <a:cubicBezTo>
                  <a:pt x="2851618" y="4088550"/>
                  <a:pt x="2899150" y="4100420"/>
                  <a:pt x="2934797" y="4112293"/>
                </a:cubicBezTo>
                <a:cubicBezTo>
                  <a:pt x="3041739" y="4124165"/>
                  <a:pt x="3136798" y="4124165"/>
                  <a:pt x="3243740" y="4124165"/>
                </a:cubicBezTo>
                <a:cubicBezTo>
                  <a:pt x="3279387" y="4124165"/>
                  <a:pt x="3315037" y="4136035"/>
                  <a:pt x="3338800" y="4136035"/>
                </a:cubicBezTo>
                <a:cubicBezTo>
                  <a:pt x="3398213" y="4147908"/>
                  <a:pt x="3457626" y="4112293"/>
                  <a:pt x="3517039" y="4159779"/>
                </a:cubicBezTo>
                <a:cubicBezTo>
                  <a:pt x="3671509" y="4136035"/>
                  <a:pt x="3825981" y="4195394"/>
                  <a:pt x="3980455" y="4195394"/>
                </a:cubicBezTo>
                <a:cubicBezTo>
                  <a:pt x="4039868" y="4183523"/>
                  <a:pt x="4111161" y="4207265"/>
                  <a:pt x="4182460" y="4219138"/>
                </a:cubicBezTo>
                <a:cubicBezTo>
                  <a:pt x="4194340" y="4219138"/>
                  <a:pt x="4206222" y="4219138"/>
                  <a:pt x="4229988" y="4219138"/>
                </a:cubicBezTo>
                <a:cubicBezTo>
                  <a:pt x="4241869" y="4207265"/>
                  <a:pt x="4265635" y="4219138"/>
                  <a:pt x="4265635" y="4231009"/>
                </a:cubicBezTo>
                <a:lnTo>
                  <a:pt x="4265635" y="4231013"/>
                </a:lnTo>
                <a:cubicBezTo>
                  <a:pt x="4265635" y="4254756"/>
                  <a:pt x="4241869" y="4266627"/>
                  <a:pt x="4229988" y="4254756"/>
                </a:cubicBezTo>
                <a:cubicBezTo>
                  <a:pt x="4146808" y="4219141"/>
                  <a:pt x="4039868" y="4254756"/>
                  <a:pt x="3956688" y="4219141"/>
                </a:cubicBezTo>
                <a:cubicBezTo>
                  <a:pt x="3873513" y="4195398"/>
                  <a:pt x="3802215" y="4219141"/>
                  <a:pt x="3730923" y="4207268"/>
                </a:cubicBezTo>
                <a:lnTo>
                  <a:pt x="3730923" y="4208268"/>
                </a:lnTo>
                <a:lnTo>
                  <a:pt x="3730923" y="4238429"/>
                </a:lnTo>
                <a:lnTo>
                  <a:pt x="3766568" y="4242879"/>
                </a:lnTo>
                <a:cubicBezTo>
                  <a:pt x="3802215" y="4219138"/>
                  <a:pt x="3849746" y="4231009"/>
                  <a:pt x="3897275" y="4266624"/>
                </a:cubicBezTo>
                <a:lnTo>
                  <a:pt x="3897271" y="4266624"/>
                </a:lnTo>
                <a:lnTo>
                  <a:pt x="3897275" y="4266627"/>
                </a:lnTo>
                <a:cubicBezTo>
                  <a:pt x="3861628" y="4266627"/>
                  <a:pt x="3837865" y="4278498"/>
                  <a:pt x="3814100" y="4266627"/>
                </a:cubicBezTo>
                <a:cubicBezTo>
                  <a:pt x="3778452" y="4254756"/>
                  <a:pt x="3754688" y="4242883"/>
                  <a:pt x="3766568" y="4302241"/>
                </a:cubicBezTo>
                <a:lnTo>
                  <a:pt x="3766568" y="4314109"/>
                </a:lnTo>
                <a:lnTo>
                  <a:pt x="3766568" y="4314113"/>
                </a:lnTo>
                <a:cubicBezTo>
                  <a:pt x="3742807" y="4278498"/>
                  <a:pt x="3707160" y="4361600"/>
                  <a:pt x="3683394" y="4302241"/>
                </a:cubicBezTo>
                <a:cubicBezTo>
                  <a:pt x="3683394" y="4302241"/>
                  <a:pt x="3671509" y="4290371"/>
                  <a:pt x="3671509" y="4290371"/>
                </a:cubicBezTo>
                <a:cubicBezTo>
                  <a:pt x="3623980" y="4325986"/>
                  <a:pt x="3600214" y="4266627"/>
                  <a:pt x="3564568" y="4266627"/>
                </a:cubicBezTo>
                <a:lnTo>
                  <a:pt x="3564571" y="4266624"/>
                </a:lnTo>
                <a:lnTo>
                  <a:pt x="3564568" y="4266624"/>
                </a:lnTo>
                <a:cubicBezTo>
                  <a:pt x="3570513" y="4254752"/>
                  <a:pt x="3579421" y="4248816"/>
                  <a:pt x="3586846" y="4241396"/>
                </a:cubicBezTo>
                <a:lnTo>
                  <a:pt x="3600214" y="4207268"/>
                </a:lnTo>
                <a:lnTo>
                  <a:pt x="3576452" y="4195398"/>
                </a:lnTo>
                <a:cubicBezTo>
                  <a:pt x="3576452" y="4195398"/>
                  <a:pt x="3564568" y="4195398"/>
                  <a:pt x="3564568" y="4195398"/>
                </a:cubicBezTo>
                <a:cubicBezTo>
                  <a:pt x="3564568" y="4225076"/>
                  <a:pt x="3537833" y="4236949"/>
                  <a:pt x="3515553" y="4251788"/>
                </a:cubicBezTo>
                <a:lnTo>
                  <a:pt x="3489372" y="4278868"/>
                </a:lnTo>
                <a:lnTo>
                  <a:pt x="3493273" y="4325983"/>
                </a:lnTo>
                <a:lnTo>
                  <a:pt x="3493273" y="4325986"/>
                </a:lnTo>
                <a:cubicBezTo>
                  <a:pt x="3481392" y="4325986"/>
                  <a:pt x="3481392" y="4325986"/>
                  <a:pt x="3469507" y="4325986"/>
                </a:cubicBezTo>
                <a:cubicBezTo>
                  <a:pt x="3445745" y="4302241"/>
                  <a:pt x="3421979" y="4266627"/>
                  <a:pt x="3398213" y="4242883"/>
                </a:cubicBezTo>
                <a:lnTo>
                  <a:pt x="3338800" y="4242883"/>
                </a:lnTo>
                <a:lnTo>
                  <a:pt x="3343258" y="4265137"/>
                </a:lnTo>
                <a:cubicBezTo>
                  <a:pt x="3350685" y="4269591"/>
                  <a:pt x="3362566" y="4272560"/>
                  <a:pt x="3374448" y="4278494"/>
                </a:cubicBezTo>
                <a:lnTo>
                  <a:pt x="3374448" y="4278498"/>
                </a:lnTo>
                <a:lnTo>
                  <a:pt x="3374448" y="4302238"/>
                </a:lnTo>
                <a:lnTo>
                  <a:pt x="3374448" y="4302241"/>
                </a:lnTo>
                <a:cubicBezTo>
                  <a:pt x="3362566" y="4302241"/>
                  <a:pt x="3350685" y="4302241"/>
                  <a:pt x="3338800" y="4290371"/>
                </a:cubicBezTo>
                <a:cubicBezTo>
                  <a:pt x="3315037" y="4290371"/>
                  <a:pt x="3338800" y="4242883"/>
                  <a:pt x="3303153" y="4231013"/>
                </a:cubicBezTo>
                <a:cubicBezTo>
                  <a:pt x="3315037" y="4278498"/>
                  <a:pt x="3279387" y="4278498"/>
                  <a:pt x="3255624" y="4278498"/>
                </a:cubicBezTo>
                <a:cubicBezTo>
                  <a:pt x="3208093" y="4290371"/>
                  <a:pt x="3172446" y="4290371"/>
                  <a:pt x="3124917" y="4302241"/>
                </a:cubicBezTo>
                <a:cubicBezTo>
                  <a:pt x="3113032" y="4302241"/>
                  <a:pt x="3101152" y="4302241"/>
                  <a:pt x="3089270" y="4302241"/>
                </a:cubicBezTo>
                <a:cubicBezTo>
                  <a:pt x="3053623" y="4266627"/>
                  <a:pt x="3029857" y="4242883"/>
                  <a:pt x="3017972" y="4314113"/>
                </a:cubicBezTo>
                <a:cubicBezTo>
                  <a:pt x="3017972" y="4325986"/>
                  <a:pt x="3006091" y="4325986"/>
                  <a:pt x="2994210" y="4314113"/>
                </a:cubicBezTo>
                <a:cubicBezTo>
                  <a:pt x="2970445" y="4231013"/>
                  <a:pt x="2946678" y="4337856"/>
                  <a:pt x="2922916" y="4314113"/>
                </a:cubicBezTo>
                <a:cubicBezTo>
                  <a:pt x="2934797" y="4266627"/>
                  <a:pt x="2863502" y="4290371"/>
                  <a:pt x="2851618" y="4254756"/>
                </a:cubicBezTo>
                <a:cubicBezTo>
                  <a:pt x="2815971" y="4278498"/>
                  <a:pt x="2815971" y="4266627"/>
                  <a:pt x="2815971" y="4231013"/>
                </a:cubicBezTo>
                <a:cubicBezTo>
                  <a:pt x="2827855" y="4219141"/>
                  <a:pt x="2827855" y="4207268"/>
                  <a:pt x="2804089" y="4195398"/>
                </a:cubicBezTo>
                <a:cubicBezTo>
                  <a:pt x="2792209" y="4219141"/>
                  <a:pt x="2768442" y="4207268"/>
                  <a:pt x="2756562" y="4231013"/>
                </a:cubicBezTo>
                <a:cubicBezTo>
                  <a:pt x="2744677" y="4266627"/>
                  <a:pt x="2720911" y="4278498"/>
                  <a:pt x="2685264" y="4242883"/>
                </a:cubicBezTo>
                <a:cubicBezTo>
                  <a:pt x="2649618" y="4207268"/>
                  <a:pt x="2625854" y="4219141"/>
                  <a:pt x="2625854" y="4254756"/>
                </a:cubicBezTo>
                <a:cubicBezTo>
                  <a:pt x="2625854" y="4314113"/>
                  <a:pt x="2566441" y="4278498"/>
                  <a:pt x="2554557" y="4302241"/>
                </a:cubicBezTo>
                <a:cubicBezTo>
                  <a:pt x="2542675" y="4302241"/>
                  <a:pt x="2566441" y="4207268"/>
                  <a:pt x="2507028" y="4278498"/>
                </a:cubicBezTo>
                <a:cubicBezTo>
                  <a:pt x="2507028" y="4266627"/>
                  <a:pt x="2495147" y="4266627"/>
                  <a:pt x="2483262" y="4254756"/>
                </a:cubicBezTo>
                <a:cubicBezTo>
                  <a:pt x="2471381" y="4242883"/>
                  <a:pt x="2435733" y="4254756"/>
                  <a:pt x="2435733" y="4266627"/>
                </a:cubicBezTo>
                <a:cubicBezTo>
                  <a:pt x="2435733" y="4325986"/>
                  <a:pt x="2388201" y="4302241"/>
                  <a:pt x="2364440" y="4302241"/>
                </a:cubicBezTo>
                <a:cubicBezTo>
                  <a:pt x="2346615" y="4308178"/>
                  <a:pt x="2331760" y="4308178"/>
                  <a:pt x="2316908" y="4306693"/>
                </a:cubicBezTo>
                <a:lnTo>
                  <a:pt x="2269390" y="4302241"/>
                </a:lnTo>
                <a:lnTo>
                  <a:pt x="2339188" y="4327465"/>
                </a:lnTo>
                <a:cubicBezTo>
                  <a:pt x="2361468" y="4328948"/>
                  <a:pt x="2382261" y="4325983"/>
                  <a:pt x="2400087" y="4325983"/>
                </a:cubicBezTo>
                <a:cubicBezTo>
                  <a:pt x="2435733" y="4325983"/>
                  <a:pt x="2471381" y="4325983"/>
                  <a:pt x="2495147" y="4325983"/>
                </a:cubicBezTo>
                <a:cubicBezTo>
                  <a:pt x="2507028" y="4325983"/>
                  <a:pt x="2518909" y="4337852"/>
                  <a:pt x="2518909" y="4349724"/>
                </a:cubicBezTo>
                <a:lnTo>
                  <a:pt x="2518909" y="4349727"/>
                </a:lnTo>
                <a:cubicBezTo>
                  <a:pt x="2518909" y="4361600"/>
                  <a:pt x="2507028" y="4349727"/>
                  <a:pt x="2495147" y="4349727"/>
                </a:cubicBezTo>
                <a:cubicBezTo>
                  <a:pt x="2459496" y="4349727"/>
                  <a:pt x="2423849" y="4349727"/>
                  <a:pt x="2400087" y="4361600"/>
                </a:cubicBezTo>
                <a:cubicBezTo>
                  <a:pt x="2364440" y="4385342"/>
                  <a:pt x="2340673" y="4337856"/>
                  <a:pt x="2305027" y="4337856"/>
                </a:cubicBezTo>
                <a:cubicBezTo>
                  <a:pt x="2269380" y="4349727"/>
                  <a:pt x="2233733" y="4361600"/>
                  <a:pt x="2186200" y="4361600"/>
                </a:cubicBezTo>
                <a:cubicBezTo>
                  <a:pt x="2174319" y="4361600"/>
                  <a:pt x="2150553" y="4373471"/>
                  <a:pt x="2150553" y="4349727"/>
                </a:cubicBezTo>
                <a:lnTo>
                  <a:pt x="2150553" y="4349724"/>
                </a:lnTo>
                <a:cubicBezTo>
                  <a:pt x="2150553" y="4325983"/>
                  <a:pt x="2174319" y="4314109"/>
                  <a:pt x="2186200" y="4314109"/>
                </a:cubicBezTo>
                <a:cubicBezTo>
                  <a:pt x="2192141" y="4314109"/>
                  <a:pt x="2198082" y="4317077"/>
                  <a:pt x="2204026" y="4318559"/>
                </a:cubicBezTo>
                <a:lnTo>
                  <a:pt x="2221844" y="4314109"/>
                </a:lnTo>
                <a:lnTo>
                  <a:pt x="2174319" y="4291854"/>
                </a:lnTo>
                <a:cubicBezTo>
                  <a:pt x="2159467" y="4284434"/>
                  <a:pt x="2150553" y="4272564"/>
                  <a:pt x="2162435" y="4242883"/>
                </a:cubicBezTo>
                <a:lnTo>
                  <a:pt x="2117879" y="4271078"/>
                </a:lnTo>
                <a:lnTo>
                  <a:pt x="2126787" y="4325983"/>
                </a:lnTo>
                <a:lnTo>
                  <a:pt x="2126787" y="4325986"/>
                </a:lnTo>
                <a:cubicBezTo>
                  <a:pt x="2138672" y="4337856"/>
                  <a:pt x="2126787" y="4349727"/>
                  <a:pt x="2103025" y="4349727"/>
                </a:cubicBezTo>
                <a:cubicBezTo>
                  <a:pt x="2079259" y="4361600"/>
                  <a:pt x="2055493" y="4373471"/>
                  <a:pt x="2031727" y="4349727"/>
                </a:cubicBezTo>
                <a:cubicBezTo>
                  <a:pt x="2025787" y="4337856"/>
                  <a:pt x="2025787" y="4331920"/>
                  <a:pt x="2030244" y="4327470"/>
                </a:cubicBezTo>
                <a:lnTo>
                  <a:pt x="2030244" y="4327465"/>
                </a:lnTo>
                <a:cubicBezTo>
                  <a:pt x="2034699" y="4323013"/>
                  <a:pt x="2043612" y="4320045"/>
                  <a:pt x="2055493" y="4314109"/>
                </a:cubicBezTo>
                <a:lnTo>
                  <a:pt x="2055493" y="4290371"/>
                </a:lnTo>
                <a:cubicBezTo>
                  <a:pt x="2031727" y="4278498"/>
                  <a:pt x="2067375" y="4242883"/>
                  <a:pt x="2043612" y="4242883"/>
                </a:cubicBezTo>
                <a:cubicBezTo>
                  <a:pt x="2019846" y="4231013"/>
                  <a:pt x="2019846" y="4242883"/>
                  <a:pt x="2007965" y="4266627"/>
                </a:cubicBezTo>
                <a:cubicBezTo>
                  <a:pt x="1984199" y="4302241"/>
                  <a:pt x="1948552" y="4302241"/>
                  <a:pt x="1912905" y="4290371"/>
                </a:cubicBezTo>
                <a:cubicBezTo>
                  <a:pt x="1889139" y="4278498"/>
                  <a:pt x="1865373" y="4290371"/>
                  <a:pt x="1865373" y="4314113"/>
                </a:cubicBezTo>
                <a:cubicBezTo>
                  <a:pt x="1853492" y="4361600"/>
                  <a:pt x="1829725" y="4349727"/>
                  <a:pt x="1794078" y="4349727"/>
                </a:cubicBezTo>
                <a:cubicBezTo>
                  <a:pt x="1687137" y="4349727"/>
                  <a:pt x="1568310" y="4349727"/>
                  <a:pt x="1449488" y="4349727"/>
                </a:cubicBezTo>
                <a:cubicBezTo>
                  <a:pt x="1437604" y="4349727"/>
                  <a:pt x="1425722" y="4349727"/>
                  <a:pt x="1425722" y="4337856"/>
                </a:cubicBezTo>
                <a:lnTo>
                  <a:pt x="1425726" y="4337852"/>
                </a:lnTo>
                <a:lnTo>
                  <a:pt x="1425722" y="4337852"/>
                </a:lnTo>
                <a:cubicBezTo>
                  <a:pt x="1425722" y="4314109"/>
                  <a:pt x="1437604" y="4302238"/>
                  <a:pt x="1461370" y="4302238"/>
                </a:cubicBezTo>
                <a:cubicBezTo>
                  <a:pt x="1508898" y="4302238"/>
                  <a:pt x="1556430" y="4302238"/>
                  <a:pt x="1603958" y="4302238"/>
                </a:cubicBezTo>
                <a:cubicBezTo>
                  <a:pt x="1663371" y="4314109"/>
                  <a:pt x="1722784" y="4278494"/>
                  <a:pt x="1770312" y="4325983"/>
                </a:cubicBezTo>
                <a:cubicBezTo>
                  <a:pt x="1776257" y="4314109"/>
                  <a:pt x="1788137" y="4314109"/>
                  <a:pt x="1800020" y="4315595"/>
                </a:cubicBezTo>
                <a:lnTo>
                  <a:pt x="1829725" y="4314109"/>
                </a:lnTo>
                <a:lnTo>
                  <a:pt x="1805962" y="4254756"/>
                </a:lnTo>
                <a:lnTo>
                  <a:pt x="1808931" y="4279980"/>
                </a:lnTo>
                <a:lnTo>
                  <a:pt x="1808931" y="4279983"/>
                </a:lnTo>
                <a:cubicBezTo>
                  <a:pt x="1808931" y="4287402"/>
                  <a:pt x="1805962" y="4290367"/>
                  <a:pt x="1794078" y="4278498"/>
                </a:cubicBezTo>
                <a:cubicBezTo>
                  <a:pt x="1746550" y="4254756"/>
                  <a:pt x="1699018" y="4266627"/>
                  <a:pt x="1651490" y="4266627"/>
                </a:cubicBezTo>
                <a:cubicBezTo>
                  <a:pt x="1639605" y="4266627"/>
                  <a:pt x="1639605" y="4266627"/>
                  <a:pt x="1627724" y="4254756"/>
                </a:cubicBezTo>
                <a:lnTo>
                  <a:pt x="1612871" y="4247337"/>
                </a:lnTo>
                <a:lnTo>
                  <a:pt x="1615843" y="4266624"/>
                </a:lnTo>
                <a:lnTo>
                  <a:pt x="1615843" y="4266627"/>
                </a:lnTo>
                <a:lnTo>
                  <a:pt x="1615843" y="4290367"/>
                </a:lnTo>
                <a:lnTo>
                  <a:pt x="1615843" y="4290371"/>
                </a:lnTo>
                <a:cubicBezTo>
                  <a:pt x="1568310" y="4242883"/>
                  <a:pt x="1520782" y="4219141"/>
                  <a:pt x="1473250" y="4242883"/>
                </a:cubicBezTo>
                <a:cubicBezTo>
                  <a:pt x="1455429" y="4248820"/>
                  <a:pt x="1437604" y="4239915"/>
                  <a:pt x="1419782" y="4232495"/>
                </a:cubicBezTo>
                <a:lnTo>
                  <a:pt x="1366317" y="4231013"/>
                </a:lnTo>
                <a:lnTo>
                  <a:pt x="1412355" y="4251784"/>
                </a:lnTo>
                <a:cubicBezTo>
                  <a:pt x="1420523" y="4254752"/>
                  <a:pt x="1425352" y="4258463"/>
                  <a:pt x="1421451" y="4264396"/>
                </a:cubicBezTo>
                <a:lnTo>
                  <a:pt x="1421451" y="4264399"/>
                </a:lnTo>
                <a:cubicBezTo>
                  <a:pt x="1417551" y="4270337"/>
                  <a:pt x="1404929" y="4278498"/>
                  <a:pt x="1378191" y="4290371"/>
                </a:cubicBezTo>
                <a:lnTo>
                  <a:pt x="1378191" y="4309661"/>
                </a:lnTo>
                <a:lnTo>
                  <a:pt x="1378191" y="4337852"/>
                </a:lnTo>
                <a:lnTo>
                  <a:pt x="1378191" y="4337856"/>
                </a:lnTo>
                <a:cubicBezTo>
                  <a:pt x="1354429" y="4337856"/>
                  <a:pt x="1354429" y="4325986"/>
                  <a:pt x="1354429" y="4314113"/>
                </a:cubicBezTo>
                <a:cubicBezTo>
                  <a:pt x="1342543" y="4290371"/>
                  <a:pt x="1342543" y="4278498"/>
                  <a:pt x="1306896" y="4278498"/>
                </a:cubicBezTo>
                <a:cubicBezTo>
                  <a:pt x="1283130" y="4278498"/>
                  <a:pt x="1295015" y="4302241"/>
                  <a:pt x="1283130" y="4314113"/>
                </a:cubicBezTo>
                <a:cubicBezTo>
                  <a:pt x="1283130" y="4337856"/>
                  <a:pt x="1271249" y="4337856"/>
                  <a:pt x="1247484" y="4337856"/>
                </a:cubicBezTo>
                <a:cubicBezTo>
                  <a:pt x="1164307" y="4337856"/>
                  <a:pt x="1081128" y="4325986"/>
                  <a:pt x="997953" y="4314113"/>
                </a:cubicBezTo>
                <a:cubicBezTo>
                  <a:pt x="974188" y="4314113"/>
                  <a:pt x="950421" y="4302241"/>
                  <a:pt x="926659" y="4302241"/>
                </a:cubicBezTo>
                <a:cubicBezTo>
                  <a:pt x="867246" y="4302241"/>
                  <a:pt x="831599" y="4290371"/>
                  <a:pt x="831599" y="4231013"/>
                </a:cubicBezTo>
                <a:cubicBezTo>
                  <a:pt x="843481" y="4171653"/>
                  <a:pt x="819714" y="4112297"/>
                  <a:pt x="819714" y="4041068"/>
                </a:cubicBezTo>
                <a:lnTo>
                  <a:pt x="819714" y="4041065"/>
                </a:lnTo>
                <a:cubicBezTo>
                  <a:pt x="807832" y="3981706"/>
                  <a:pt x="843481" y="3946091"/>
                  <a:pt x="891008" y="3946091"/>
                </a:cubicBezTo>
                <a:cubicBezTo>
                  <a:pt x="938540" y="3934220"/>
                  <a:pt x="974188" y="3934220"/>
                  <a:pt x="1021716" y="3922349"/>
                </a:cubicBezTo>
                <a:cubicBezTo>
                  <a:pt x="1033600" y="3910476"/>
                  <a:pt x="1057366" y="3910476"/>
                  <a:pt x="1069248" y="3922349"/>
                </a:cubicBezTo>
                <a:cubicBezTo>
                  <a:pt x="1093013" y="3946091"/>
                  <a:pt x="1093013" y="3946091"/>
                  <a:pt x="1116776" y="3922349"/>
                </a:cubicBezTo>
                <a:cubicBezTo>
                  <a:pt x="1164307" y="3886734"/>
                  <a:pt x="1164307" y="3946091"/>
                  <a:pt x="1176189" y="3981706"/>
                </a:cubicBezTo>
                <a:cubicBezTo>
                  <a:pt x="1188073" y="3910476"/>
                  <a:pt x="1223721" y="3886734"/>
                  <a:pt x="1271249" y="3898606"/>
                </a:cubicBezTo>
                <a:cubicBezTo>
                  <a:pt x="1306896" y="3898606"/>
                  <a:pt x="1330663" y="3886734"/>
                  <a:pt x="1366309" y="3874861"/>
                </a:cubicBezTo>
                <a:cubicBezTo>
                  <a:pt x="1497016" y="3851120"/>
                  <a:pt x="1639605" y="3839247"/>
                  <a:pt x="1770312" y="3827376"/>
                </a:cubicBezTo>
                <a:cubicBezTo>
                  <a:pt x="1805960" y="3827376"/>
                  <a:pt x="1853492" y="3803632"/>
                  <a:pt x="1889139" y="3815505"/>
                </a:cubicBezTo>
                <a:cubicBezTo>
                  <a:pt x="1912905" y="3815505"/>
                  <a:pt x="1936666" y="3815505"/>
                  <a:pt x="1924785" y="3839247"/>
                </a:cubicBezTo>
                <a:cubicBezTo>
                  <a:pt x="1912905" y="3851120"/>
                  <a:pt x="1924785" y="3862991"/>
                  <a:pt x="1936666" y="3862991"/>
                </a:cubicBezTo>
                <a:cubicBezTo>
                  <a:pt x="1948552" y="3862991"/>
                  <a:pt x="1948552" y="3851120"/>
                  <a:pt x="1948552" y="3839247"/>
                </a:cubicBezTo>
                <a:cubicBezTo>
                  <a:pt x="1936666" y="3815505"/>
                  <a:pt x="1948552" y="3803632"/>
                  <a:pt x="1972319" y="3803632"/>
                </a:cubicBezTo>
                <a:cubicBezTo>
                  <a:pt x="2067375" y="3791761"/>
                  <a:pt x="2150553" y="3768020"/>
                  <a:pt x="2245614" y="3779891"/>
                </a:cubicBezTo>
                <a:cubicBezTo>
                  <a:pt x="2257494" y="3779891"/>
                  <a:pt x="2269380" y="3779891"/>
                  <a:pt x="2281261" y="3779891"/>
                </a:cubicBezTo>
                <a:cubicBezTo>
                  <a:pt x="2316908" y="3779891"/>
                  <a:pt x="2340673" y="3756147"/>
                  <a:pt x="2364440" y="3815505"/>
                </a:cubicBezTo>
                <a:cubicBezTo>
                  <a:pt x="2364440" y="3827376"/>
                  <a:pt x="2388201" y="3851120"/>
                  <a:pt x="2423849" y="3862991"/>
                </a:cubicBezTo>
                <a:cubicBezTo>
                  <a:pt x="2411967" y="3827376"/>
                  <a:pt x="2411967" y="3791761"/>
                  <a:pt x="2435733" y="3768020"/>
                </a:cubicBezTo>
                <a:cubicBezTo>
                  <a:pt x="2471381" y="3744276"/>
                  <a:pt x="2495147" y="3779891"/>
                  <a:pt x="2530794" y="3779891"/>
                </a:cubicBezTo>
                <a:lnTo>
                  <a:pt x="2530794" y="3779895"/>
                </a:lnTo>
                <a:lnTo>
                  <a:pt x="2530794" y="3803632"/>
                </a:lnTo>
                <a:cubicBezTo>
                  <a:pt x="2542675" y="3791761"/>
                  <a:pt x="2554557" y="3779891"/>
                  <a:pt x="2554557" y="3779891"/>
                </a:cubicBezTo>
                <a:cubicBezTo>
                  <a:pt x="2566441" y="3768020"/>
                  <a:pt x="2578323" y="3744276"/>
                  <a:pt x="2602089" y="3756147"/>
                </a:cubicBezTo>
                <a:cubicBezTo>
                  <a:pt x="2613968" y="3768020"/>
                  <a:pt x="2613968" y="3779891"/>
                  <a:pt x="2613968" y="3791761"/>
                </a:cubicBezTo>
                <a:lnTo>
                  <a:pt x="2613968" y="3791765"/>
                </a:lnTo>
                <a:lnTo>
                  <a:pt x="2612484" y="3824408"/>
                </a:lnTo>
                <a:lnTo>
                  <a:pt x="2637735" y="3839247"/>
                </a:lnTo>
                <a:cubicBezTo>
                  <a:pt x="2661501" y="3839247"/>
                  <a:pt x="2685264" y="3839247"/>
                  <a:pt x="2685264" y="3803632"/>
                </a:cubicBezTo>
                <a:cubicBezTo>
                  <a:pt x="2697148" y="3744276"/>
                  <a:pt x="2756562" y="3720532"/>
                  <a:pt x="2792209" y="3732405"/>
                </a:cubicBezTo>
                <a:cubicBezTo>
                  <a:pt x="2827855" y="3756147"/>
                  <a:pt x="2851618" y="3732405"/>
                  <a:pt x="2875384" y="3744276"/>
                </a:cubicBezTo>
                <a:lnTo>
                  <a:pt x="2875384" y="3744280"/>
                </a:lnTo>
                <a:lnTo>
                  <a:pt x="2887265" y="3744280"/>
                </a:lnTo>
                <a:lnTo>
                  <a:pt x="2887269" y="3744276"/>
                </a:lnTo>
                <a:cubicBezTo>
                  <a:pt x="2911032" y="3708662"/>
                  <a:pt x="2946678" y="3732405"/>
                  <a:pt x="2970445" y="3732405"/>
                </a:cubicBezTo>
                <a:cubicBezTo>
                  <a:pt x="3053623" y="3720532"/>
                  <a:pt x="3124917" y="3708662"/>
                  <a:pt x="3208093" y="3732405"/>
                </a:cubicBezTo>
                <a:lnTo>
                  <a:pt x="3231859" y="3720532"/>
                </a:lnTo>
                <a:lnTo>
                  <a:pt x="3219978" y="3673051"/>
                </a:lnTo>
                <a:lnTo>
                  <a:pt x="3219978" y="3673047"/>
                </a:lnTo>
                <a:cubicBezTo>
                  <a:pt x="3237799" y="3667110"/>
                  <a:pt x="3252653" y="3661176"/>
                  <a:pt x="3260080" y="3664141"/>
                </a:cubicBezTo>
                <a:lnTo>
                  <a:pt x="3260080" y="3664145"/>
                </a:lnTo>
                <a:lnTo>
                  <a:pt x="3255624" y="3708662"/>
                </a:lnTo>
                <a:lnTo>
                  <a:pt x="3267506" y="3768020"/>
                </a:lnTo>
                <a:cubicBezTo>
                  <a:pt x="3279390" y="3762084"/>
                  <a:pt x="3282359" y="3750210"/>
                  <a:pt x="3286813" y="3739825"/>
                </a:cubicBezTo>
                <a:lnTo>
                  <a:pt x="3315035" y="3720532"/>
                </a:lnTo>
                <a:lnTo>
                  <a:pt x="3301666" y="3696794"/>
                </a:lnTo>
                <a:cubicBezTo>
                  <a:pt x="3294240" y="3690858"/>
                  <a:pt x="3285331" y="3684921"/>
                  <a:pt x="3279387" y="3673051"/>
                </a:cubicBezTo>
                <a:lnTo>
                  <a:pt x="3279390" y="3673051"/>
                </a:lnTo>
                <a:lnTo>
                  <a:pt x="3279387" y="3673047"/>
                </a:lnTo>
                <a:cubicBezTo>
                  <a:pt x="3291272" y="3661176"/>
                  <a:pt x="3303153" y="3661176"/>
                  <a:pt x="3326920" y="3661176"/>
                </a:cubicBezTo>
                <a:cubicBezTo>
                  <a:pt x="3433860" y="3696790"/>
                  <a:pt x="3552686" y="3673047"/>
                  <a:pt x="3671509" y="3684917"/>
                </a:cubicBezTo>
                <a:cubicBezTo>
                  <a:pt x="3695275" y="3690854"/>
                  <a:pt x="3698247" y="3678983"/>
                  <a:pt x="3698247" y="3664145"/>
                </a:cubicBezTo>
                <a:lnTo>
                  <a:pt x="3707160" y="3625561"/>
                </a:lnTo>
                <a:lnTo>
                  <a:pt x="3701217" y="3615178"/>
                </a:lnTo>
                <a:cubicBezTo>
                  <a:pt x="3698247" y="3610722"/>
                  <a:pt x="3695275" y="3607758"/>
                  <a:pt x="3695275" y="3613691"/>
                </a:cubicBezTo>
                <a:cubicBezTo>
                  <a:pt x="3683394" y="3625561"/>
                  <a:pt x="3635862" y="3613691"/>
                  <a:pt x="3659628" y="3661179"/>
                </a:cubicBezTo>
                <a:cubicBezTo>
                  <a:pt x="3612099" y="3649306"/>
                  <a:pt x="3576452" y="3649306"/>
                  <a:pt x="3552686" y="3601821"/>
                </a:cubicBezTo>
                <a:cubicBezTo>
                  <a:pt x="3540801" y="3566206"/>
                  <a:pt x="3433860" y="3601821"/>
                  <a:pt x="3398213" y="3649306"/>
                </a:cubicBezTo>
                <a:cubicBezTo>
                  <a:pt x="3362566" y="3637436"/>
                  <a:pt x="3374448" y="3589947"/>
                  <a:pt x="3326920" y="3589947"/>
                </a:cubicBezTo>
                <a:cubicBezTo>
                  <a:pt x="3279387" y="3589947"/>
                  <a:pt x="3279387" y="3613691"/>
                  <a:pt x="3267506" y="3637436"/>
                </a:cubicBezTo>
                <a:cubicBezTo>
                  <a:pt x="3196212" y="3589947"/>
                  <a:pt x="3124917" y="3589947"/>
                  <a:pt x="3041739" y="3625561"/>
                </a:cubicBezTo>
                <a:cubicBezTo>
                  <a:pt x="3029857" y="3625561"/>
                  <a:pt x="3006091" y="3625561"/>
                  <a:pt x="2982326" y="3613691"/>
                </a:cubicBezTo>
                <a:cubicBezTo>
                  <a:pt x="2958563" y="3601821"/>
                  <a:pt x="2934797" y="3589947"/>
                  <a:pt x="2899150" y="3613691"/>
                </a:cubicBezTo>
                <a:cubicBezTo>
                  <a:pt x="2887269" y="3625561"/>
                  <a:pt x="2875384" y="3625561"/>
                  <a:pt x="2863502" y="3625561"/>
                </a:cubicBezTo>
                <a:cubicBezTo>
                  <a:pt x="2851621" y="3625561"/>
                  <a:pt x="2830824" y="3613691"/>
                  <a:pt x="2815971" y="3612208"/>
                </a:cubicBezTo>
                <a:lnTo>
                  <a:pt x="2800006" y="3620553"/>
                </a:lnTo>
                <a:lnTo>
                  <a:pt x="2804089" y="3661176"/>
                </a:lnTo>
                <a:lnTo>
                  <a:pt x="2804089" y="3661179"/>
                </a:lnTo>
                <a:cubicBezTo>
                  <a:pt x="2804089" y="3661179"/>
                  <a:pt x="2792209" y="3661179"/>
                  <a:pt x="2780325" y="3661179"/>
                </a:cubicBezTo>
                <a:cubicBezTo>
                  <a:pt x="2768442" y="3661179"/>
                  <a:pt x="2768442" y="3661179"/>
                  <a:pt x="2768442" y="3649306"/>
                </a:cubicBezTo>
                <a:cubicBezTo>
                  <a:pt x="2780325" y="3613691"/>
                  <a:pt x="2756562" y="3613691"/>
                  <a:pt x="2732796" y="3613691"/>
                </a:cubicBezTo>
                <a:cubicBezTo>
                  <a:pt x="2602089" y="3613691"/>
                  <a:pt x="2471381" y="3625561"/>
                  <a:pt x="2340673" y="3625561"/>
                </a:cubicBezTo>
                <a:cubicBezTo>
                  <a:pt x="2293142" y="3625561"/>
                  <a:pt x="2233733" y="3637436"/>
                  <a:pt x="2198082" y="3637436"/>
                </a:cubicBezTo>
                <a:cubicBezTo>
                  <a:pt x="2043612" y="3673051"/>
                  <a:pt x="1889139" y="3649306"/>
                  <a:pt x="1746550" y="3673051"/>
                </a:cubicBezTo>
                <a:cubicBezTo>
                  <a:pt x="1627724" y="3684921"/>
                  <a:pt x="1508898" y="3684921"/>
                  <a:pt x="1390076" y="3708665"/>
                </a:cubicBezTo>
                <a:cubicBezTo>
                  <a:pt x="1354429" y="3708665"/>
                  <a:pt x="1318781" y="3732409"/>
                  <a:pt x="1271249" y="3732409"/>
                </a:cubicBezTo>
                <a:cubicBezTo>
                  <a:pt x="1223721" y="3720536"/>
                  <a:pt x="1188073" y="3708665"/>
                  <a:pt x="1176189" y="3649306"/>
                </a:cubicBezTo>
                <a:lnTo>
                  <a:pt x="1176189" y="3649302"/>
                </a:lnTo>
                <a:lnTo>
                  <a:pt x="1176189" y="3494977"/>
                </a:lnTo>
                <a:lnTo>
                  <a:pt x="1176189" y="3494973"/>
                </a:lnTo>
                <a:cubicBezTo>
                  <a:pt x="1176189" y="3459359"/>
                  <a:pt x="1182874" y="3430422"/>
                  <a:pt x="1211281" y="3423188"/>
                </a:cubicBezTo>
                <a:lnTo>
                  <a:pt x="1211987" y="3423198"/>
                </a:lnTo>
                <a:lnTo>
                  <a:pt x="1212832" y="3420963"/>
                </a:lnTo>
                <a:lnTo>
                  <a:pt x="1212832" y="3420960"/>
                </a:lnTo>
                <a:cubicBezTo>
                  <a:pt x="1217287" y="3416508"/>
                  <a:pt x="1226200" y="3413540"/>
                  <a:pt x="1238081" y="3407603"/>
                </a:cubicBezTo>
                <a:lnTo>
                  <a:pt x="1238081" y="3383866"/>
                </a:lnTo>
                <a:cubicBezTo>
                  <a:pt x="1214315" y="3371993"/>
                  <a:pt x="1249962" y="3336378"/>
                  <a:pt x="1226200" y="3336378"/>
                </a:cubicBezTo>
                <a:cubicBezTo>
                  <a:pt x="1202435" y="3324507"/>
                  <a:pt x="1202435" y="3336378"/>
                  <a:pt x="1190553" y="3360121"/>
                </a:cubicBezTo>
                <a:cubicBezTo>
                  <a:pt x="1166787" y="3395736"/>
                  <a:pt x="1131140" y="3395736"/>
                  <a:pt x="1095493" y="3383866"/>
                </a:cubicBezTo>
                <a:cubicBezTo>
                  <a:pt x="1071726" y="3371993"/>
                  <a:pt x="1047961" y="3383866"/>
                  <a:pt x="1047961" y="3407606"/>
                </a:cubicBezTo>
                <a:cubicBezTo>
                  <a:pt x="1036080" y="3455095"/>
                  <a:pt x="1012313" y="3443221"/>
                  <a:pt x="976667" y="3443221"/>
                </a:cubicBezTo>
                <a:cubicBezTo>
                  <a:pt x="869725" y="3443221"/>
                  <a:pt x="750899" y="3443221"/>
                  <a:pt x="632076" y="3443221"/>
                </a:cubicBezTo>
                <a:cubicBezTo>
                  <a:pt x="620192" y="3443221"/>
                  <a:pt x="608311" y="3443221"/>
                  <a:pt x="608311" y="3431351"/>
                </a:cubicBezTo>
                <a:lnTo>
                  <a:pt x="608315" y="3431347"/>
                </a:lnTo>
                <a:lnTo>
                  <a:pt x="608311" y="3431347"/>
                </a:lnTo>
                <a:cubicBezTo>
                  <a:pt x="608311" y="3407603"/>
                  <a:pt x="620192" y="3395732"/>
                  <a:pt x="643958" y="3395732"/>
                </a:cubicBezTo>
                <a:cubicBezTo>
                  <a:pt x="691486" y="3395732"/>
                  <a:pt x="739019" y="3395732"/>
                  <a:pt x="786547" y="3395732"/>
                </a:cubicBezTo>
                <a:cubicBezTo>
                  <a:pt x="845960" y="3407603"/>
                  <a:pt x="905372" y="3371989"/>
                  <a:pt x="952901" y="3419478"/>
                </a:cubicBezTo>
                <a:cubicBezTo>
                  <a:pt x="958845" y="3407603"/>
                  <a:pt x="970726" y="3407603"/>
                  <a:pt x="982607" y="3409089"/>
                </a:cubicBezTo>
                <a:lnTo>
                  <a:pt x="1012313" y="3407603"/>
                </a:lnTo>
                <a:lnTo>
                  <a:pt x="988551" y="3348251"/>
                </a:lnTo>
                <a:lnTo>
                  <a:pt x="991520" y="3373475"/>
                </a:lnTo>
                <a:lnTo>
                  <a:pt x="991520" y="3373478"/>
                </a:lnTo>
                <a:cubicBezTo>
                  <a:pt x="991520" y="3380897"/>
                  <a:pt x="988551" y="3383862"/>
                  <a:pt x="976667" y="3371993"/>
                </a:cubicBezTo>
                <a:cubicBezTo>
                  <a:pt x="929138" y="3348251"/>
                  <a:pt x="881606" y="3360121"/>
                  <a:pt x="834078" y="3360121"/>
                </a:cubicBezTo>
                <a:cubicBezTo>
                  <a:pt x="822193" y="3360121"/>
                  <a:pt x="822193" y="3360121"/>
                  <a:pt x="810312" y="3348251"/>
                </a:cubicBezTo>
                <a:lnTo>
                  <a:pt x="795459" y="3340832"/>
                </a:lnTo>
                <a:lnTo>
                  <a:pt x="798432" y="3360118"/>
                </a:lnTo>
                <a:lnTo>
                  <a:pt x="798432" y="3360121"/>
                </a:lnTo>
                <a:lnTo>
                  <a:pt x="798432" y="3383862"/>
                </a:lnTo>
                <a:lnTo>
                  <a:pt x="798432" y="3383866"/>
                </a:lnTo>
                <a:cubicBezTo>
                  <a:pt x="750899" y="3336378"/>
                  <a:pt x="703370" y="3312636"/>
                  <a:pt x="655838" y="3336378"/>
                </a:cubicBezTo>
                <a:cubicBezTo>
                  <a:pt x="638017" y="3342314"/>
                  <a:pt x="620192" y="3333409"/>
                  <a:pt x="602370" y="3325989"/>
                </a:cubicBezTo>
                <a:lnTo>
                  <a:pt x="548905" y="3324507"/>
                </a:lnTo>
                <a:lnTo>
                  <a:pt x="594943" y="3345279"/>
                </a:lnTo>
                <a:cubicBezTo>
                  <a:pt x="603112" y="3348247"/>
                  <a:pt x="607940" y="3351957"/>
                  <a:pt x="604039" y="3357890"/>
                </a:cubicBezTo>
                <a:lnTo>
                  <a:pt x="604039" y="3357894"/>
                </a:lnTo>
                <a:cubicBezTo>
                  <a:pt x="600140" y="3363831"/>
                  <a:pt x="587517" y="3371993"/>
                  <a:pt x="560779" y="3383866"/>
                </a:cubicBezTo>
                <a:lnTo>
                  <a:pt x="560779" y="3403155"/>
                </a:lnTo>
                <a:lnTo>
                  <a:pt x="560779" y="3431347"/>
                </a:lnTo>
                <a:lnTo>
                  <a:pt x="560779" y="3431351"/>
                </a:lnTo>
                <a:cubicBezTo>
                  <a:pt x="537017" y="3431351"/>
                  <a:pt x="537017" y="3419480"/>
                  <a:pt x="537017" y="3407606"/>
                </a:cubicBezTo>
                <a:cubicBezTo>
                  <a:pt x="525131" y="3383866"/>
                  <a:pt x="525131" y="3371993"/>
                  <a:pt x="489485" y="3371993"/>
                </a:cubicBezTo>
                <a:cubicBezTo>
                  <a:pt x="465719" y="3371993"/>
                  <a:pt x="477603" y="3395736"/>
                  <a:pt x="465719" y="3407606"/>
                </a:cubicBezTo>
                <a:cubicBezTo>
                  <a:pt x="465719" y="3431351"/>
                  <a:pt x="453838" y="3431351"/>
                  <a:pt x="430072" y="3431351"/>
                </a:cubicBezTo>
                <a:cubicBezTo>
                  <a:pt x="346895" y="3431351"/>
                  <a:pt x="263717" y="3419480"/>
                  <a:pt x="180542" y="3407606"/>
                </a:cubicBezTo>
                <a:cubicBezTo>
                  <a:pt x="156776" y="3407606"/>
                  <a:pt x="133010" y="3395736"/>
                  <a:pt x="109248" y="3395736"/>
                </a:cubicBezTo>
                <a:cubicBezTo>
                  <a:pt x="49835" y="3395736"/>
                  <a:pt x="14187" y="3383866"/>
                  <a:pt x="14187" y="3324507"/>
                </a:cubicBezTo>
                <a:cubicBezTo>
                  <a:pt x="26068" y="3265148"/>
                  <a:pt x="2303" y="3205792"/>
                  <a:pt x="2303" y="3134562"/>
                </a:cubicBezTo>
                <a:lnTo>
                  <a:pt x="2303" y="3134559"/>
                </a:lnTo>
                <a:cubicBezTo>
                  <a:pt x="-9579" y="3075200"/>
                  <a:pt x="26068" y="3039586"/>
                  <a:pt x="73597" y="3039586"/>
                </a:cubicBezTo>
                <a:cubicBezTo>
                  <a:pt x="121128" y="3027714"/>
                  <a:pt x="156776" y="3027714"/>
                  <a:pt x="204304" y="3015844"/>
                </a:cubicBezTo>
                <a:cubicBezTo>
                  <a:pt x="216188" y="3003971"/>
                  <a:pt x="239955" y="3003971"/>
                  <a:pt x="251836" y="3015844"/>
                </a:cubicBezTo>
                <a:cubicBezTo>
                  <a:pt x="275601" y="3039586"/>
                  <a:pt x="275601" y="3039586"/>
                  <a:pt x="299364" y="3015844"/>
                </a:cubicBezTo>
                <a:cubicBezTo>
                  <a:pt x="346895" y="2980229"/>
                  <a:pt x="346895" y="3039586"/>
                  <a:pt x="358778" y="3075200"/>
                </a:cubicBezTo>
                <a:cubicBezTo>
                  <a:pt x="370662" y="3003971"/>
                  <a:pt x="406308" y="2980229"/>
                  <a:pt x="453838" y="2992101"/>
                </a:cubicBezTo>
                <a:cubicBezTo>
                  <a:pt x="489485" y="2992101"/>
                  <a:pt x="513251" y="2980229"/>
                  <a:pt x="548898" y="2968356"/>
                </a:cubicBezTo>
                <a:cubicBezTo>
                  <a:pt x="679605" y="2944615"/>
                  <a:pt x="822193" y="2932741"/>
                  <a:pt x="952901" y="2920871"/>
                </a:cubicBezTo>
                <a:cubicBezTo>
                  <a:pt x="988547" y="2920871"/>
                  <a:pt x="1036080" y="2897127"/>
                  <a:pt x="1071726" y="2909000"/>
                </a:cubicBezTo>
                <a:cubicBezTo>
                  <a:pt x="1095493" y="2909000"/>
                  <a:pt x="1119255" y="2909000"/>
                  <a:pt x="1107374" y="2932741"/>
                </a:cubicBezTo>
                <a:cubicBezTo>
                  <a:pt x="1095493" y="2944615"/>
                  <a:pt x="1107374" y="2956486"/>
                  <a:pt x="1119255" y="2956486"/>
                </a:cubicBezTo>
                <a:cubicBezTo>
                  <a:pt x="1131140" y="2956486"/>
                  <a:pt x="1131140" y="2944615"/>
                  <a:pt x="1131140" y="2932741"/>
                </a:cubicBezTo>
                <a:cubicBezTo>
                  <a:pt x="1119255" y="2909000"/>
                  <a:pt x="1131140" y="2897127"/>
                  <a:pt x="1154907" y="2897127"/>
                </a:cubicBezTo>
                <a:cubicBezTo>
                  <a:pt x="1249962" y="2885256"/>
                  <a:pt x="1333142" y="2861515"/>
                  <a:pt x="1428201" y="2873385"/>
                </a:cubicBezTo>
                <a:cubicBezTo>
                  <a:pt x="1440083" y="2873385"/>
                  <a:pt x="1451968" y="2873385"/>
                  <a:pt x="1463849" y="2873385"/>
                </a:cubicBezTo>
                <a:cubicBezTo>
                  <a:pt x="1499496" y="2873385"/>
                  <a:pt x="1523262" y="2849642"/>
                  <a:pt x="1547028" y="2909000"/>
                </a:cubicBezTo>
                <a:lnTo>
                  <a:pt x="1552894" y="2917526"/>
                </a:lnTo>
                <a:lnTo>
                  <a:pt x="1600407" y="2914311"/>
                </a:lnTo>
                <a:lnTo>
                  <a:pt x="1599013" y="2904547"/>
                </a:lnTo>
                <a:cubicBezTo>
                  <a:pt x="1600498" y="2888225"/>
                  <a:pt x="1606439" y="2873385"/>
                  <a:pt x="1618322" y="2861515"/>
                </a:cubicBezTo>
                <a:cubicBezTo>
                  <a:pt x="1653969" y="2837770"/>
                  <a:pt x="1677735" y="2873385"/>
                  <a:pt x="1713383" y="2873385"/>
                </a:cubicBezTo>
                <a:lnTo>
                  <a:pt x="1713383" y="2873389"/>
                </a:lnTo>
                <a:lnTo>
                  <a:pt x="1713383" y="2897127"/>
                </a:lnTo>
                <a:cubicBezTo>
                  <a:pt x="1725263" y="2885256"/>
                  <a:pt x="1737145" y="2873385"/>
                  <a:pt x="1737145" y="2873385"/>
                </a:cubicBezTo>
                <a:cubicBezTo>
                  <a:pt x="1749029" y="2861515"/>
                  <a:pt x="1760911" y="2837770"/>
                  <a:pt x="1784676" y="2849642"/>
                </a:cubicBezTo>
                <a:cubicBezTo>
                  <a:pt x="1796557" y="2861515"/>
                  <a:pt x="1796557" y="2873385"/>
                  <a:pt x="1796557" y="2885256"/>
                </a:cubicBezTo>
                <a:lnTo>
                  <a:pt x="1796557" y="2885260"/>
                </a:lnTo>
                <a:lnTo>
                  <a:pt x="1796194" y="2893253"/>
                </a:lnTo>
                <a:lnTo>
                  <a:pt x="1874383" y="2882339"/>
                </a:lnTo>
                <a:lnTo>
                  <a:pt x="1884563" y="2859287"/>
                </a:lnTo>
                <a:cubicBezTo>
                  <a:pt x="1907958" y="2828124"/>
                  <a:pt x="1948061" y="2816995"/>
                  <a:pt x="1974798" y="2825900"/>
                </a:cubicBezTo>
                <a:cubicBezTo>
                  <a:pt x="2010444" y="2849642"/>
                  <a:pt x="2034206" y="2825900"/>
                  <a:pt x="2057972" y="2837770"/>
                </a:cubicBezTo>
                <a:lnTo>
                  <a:pt x="2057972" y="2837774"/>
                </a:lnTo>
                <a:lnTo>
                  <a:pt x="2069854" y="2837774"/>
                </a:lnTo>
                <a:lnTo>
                  <a:pt x="2069857" y="2837770"/>
                </a:lnTo>
                <a:cubicBezTo>
                  <a:pt x="2093620" y="2802156"/>
                  <a:pt x="2129267" y="2825900"/>
                  <a:pt x="2153033" y="2825900"/>
                </a:cubicBezTo>
                <a:cubicBezTo>
                  <a:pt x="2215416" y="2816995"/>
                  <a:pt x="2271115" y="2808092"/>
                  <a:pt x="2330155" y="2814213"/>
                </a:cubicBezTo>
                <a:lnTo>
                  <a:pt x="2382169" y="2824257"/>
                </a:lnTo>
                <a:lnTo>
                  <a:pt x="2399131" y="2821678"/>
                </a:lnTo>
                <a:lnTo>
                  <a:pt x="2414447" y="2814027"/>
                </a:lnTo>
                <a:lnTo>
                  <a:pt x="2402565" y="2766545"/>
                </a:lnTo>
                <a:lnTo>
                  <a:pt x="2402565" y="2766542"/>
                </a:lnTo>
                <a:cubicBezTo>
                  <a:pt x="2420388" y="2760605"/>
                  <a:pt x="2435242" y="2754670"/>
                  <a:pt x="2442668" y="2757636"/>
                </a:cubicBezTo>
                <a:lnTo>
                  <a:pt x="2442668" y="2757640"/>
                </a:lnTo>
                <a:lnTo>
                  <a:pt x="2438213" y="2802156"/>
                </a:lnTo>
                <a:lnTo>
                  <a:pt x="2440851" y="2815336"/>
                </a:lnTo>
                <a:lnTo>
                  <a:pt x="2473698" y="2810342"/>
                </a:lnTo>
                <a:lnTo>
                  <a:pt x="2494513" y="2808505"/>
                </a:lnTo>
                <a:lnTo>
                  <a:pt x="2484255" y="2790289"/>
                </a:lnTo>
                <a:cubicBezTo>
                  <a:pt x="2476828" y="2784353"/>
                  <a:pt x="2467921" y="2778416"/>
                  <a:pt x="2461975" y="2766545"/>
                </a:cubicBezTo>
                <a:lnTo>
                  <a:pt x="2461980" y="2766545"/>
                </a:lnTo>
                <a:lnTo>
                  <a:pt x="2461975" y="2766542"/>
                </a:lnTo>
                <a:cubicBezTo>
                  <a:pt x="2473860" y="2754670"/>
                  <a:pt x="2485741" y="2754670"/>
                  <a:pt x="2509508" y="2754670"/>
                </a:cubicBezTo>
                <a:cubicBezTo>
                  <a:pt x="2589714" y="2781382"/>
                  <a:pt x="2676605" y="2774703"/>
                  <a:pt x="2765165" y="2774702"/>
                </a:cubicBezTo>
                <a:lnTo>
                  <a:pt x="2770590" y="2774929"/>
                </a:lnTo>
                <a:lnTo>
                  <a:pt x="2771413" y="2773777"/>
                </a:lnTo>
                <a:cubicBezTo>
                  <a:pt x="2780325" y="2767841"/>
                  <a:pt x="2792207" y="2764872"/>
                  <a:pt x="2804089" y="2770807"/>
                </a:cubicBezTo>
                <a:lnTo>
                  <a:pt x="2812782" y="2776689"/>
                </a:lnTo>
                <a:lnTo>
                  <a:pt x="2854097" y="2778412"/>
                </a:lnTo>
                <a:cubicBezTo>
                  <a:pt x="2877863" y="2784349"/>
                  <a:pt x="2880835" y="2772478"/>
                  <a:pt x="2880835" y="2757640"/>
                </a:cubicBezTo>
                <a:lnTo>
                  <a:pt x="2889749" y="2719056"/>
                </a:lnTo>
                <a:lnTo>
                  <a:pt x="2889413" y="2718470"/>
                </a:lnTo>
                <a:lnTo>
                  <a:pt x="2844842" y="2719530"/>
                </a:lnTo>
                <a:lnTo>
                  <a:pt x="2836089" y="2728889"/>
                </a:lnTo>
                <a:cubicBezTo>
                  <a:pt x="2834789" y="2734640"/>
                  <a:pt x="2836274" y="2742802"/>
                  <a:pt x="2842216" y="2754674"/>
                </a:cubicBezTo>
                <a:cubicBezTo>
                  <a:pt x="2806570" y="2745770"/>
                  <a:pt x="2777607" y="2743543"/>
                  <a:pt x="2755328" y="2722954"/>
                </a:cubicBezTo>
                <a:lnTo>
                  <a:pt x="2754404" y="2721681"/>
                </a:lnTo>
                <a:lnTo>
                  <a:pt x="2685264" y="2723326"/>
                </a:lnTo>
                <a:lnTo>
                  <a:pt x="2599160" y="2726910"/>
                </a:lnTo>
                <a:lnTo>
                  <a:pt x="2580802" y="2742801"/>
                </a:lnTo>
                <a:cubicBezTo>
                  <a:pt x="2571890" y="2739832"/>
                  <a:pt x="2565950" y="2734639"/>
                  <a:pt x="2561307" y="2728518"/>
                </a:cubicBezTo>
                <a:lnTo>
                  <a:pt x="2561288" y="2728486"/>
                </a:lnTo>
                <a:lnTo>
                  <a:pt x="2542675" y="2729261"/>
                </a:lnTo>
                <a:lnTo>
                  <a:pt x="2520880" y="2730169"/>
                </a:lnTo>
                <a:lnTo>
                  <a:pt x="2520880" y="2730549"/>
                </a:lnTo>
                <a:lnTo>
                  <a:pt x="2520880" y="2730553"/>
                </a:lnTo>
                <a:lnTo>
                  <a:pt x="2519565" y="2730223"/>
                </a:lnTo>
                <a:lnTo>
                  <a:pt x="2400087" y="2735196"/>
                </a:lnTo>
                <a:cubicBezTo>
                  <a:pt x="2245614" y="2735196"/>
                  <a:pt x="2091140" y="2747071"/>
                  <a:pt x="1936666" y="2770811"/>
                </a:cubicBezTo>
                <a:cubicBezTo>
                  <a:pt x="1892110" y="2779717"/>
                  <a:pt x="1860920" y="2768587"/>
                  <a:pt x="1843095" y="2737424"/>
                </a:cubicBezTo>
                <a:lnTo>
                  <a:pt x="1838053" y="2723154"/>
                </a:lnTo>
                <a:lnTo>
                  <a:pt x="1754809" y="2736150"/>
                </a:lnTo>
                <a:cubicBezTo>
                  <a:pt x="1719162" y="2736150"/>
                  <a:pt x="1683515" y="2759893"/>
                  <a:pt x="1635983" y="2759893"/>
                </a:cubicBezTo>
                <a:cubicBezTo>
                  <a:pt x="1612218" y="2753957"/>
                  <a:pt x="1591424" y="2748021"/>
                  <a:pt x="1575087" y="2736149"/>
                </a:cubicBezTo>
                <a:lnTo>
                  <a:pt x="1558522" y="2717989"/>
                </a:lnTo>
                <a:lnTo>
                  <a:pt x="1523262" y="2719056"/>
                </a:lnTo>
                <a:cubicBezTo>
                  <a:pt x="1475730" y="2719056"/>
                  <a:pt x="1416321" y="2730931"/>
                  <a:pt x="1380671" y="2730931"/>
                </a:cubicBezTo>
                <a:cubicBezTo>
                  <a:pt x="1226200" y="2766545"/>
                  <a:pt x="1071726" y="2742801"/>
                  <a:pt x="929138" y="2766545"/>
                </a:cubicBezTo>
                <a:cubicBezTo>
                  <a:pt x="810312" y="2778416"/>
                  <a:pt x="691486" y="2778416"/>
                  <a:pt x="572663" y="2802160"/>
                </a:cubicBezTo>
                <a:cubicBezTo>
                  <a:pt x="537017" y="2802160"/>
                  <a:pt x="501369" y="2825904"/>
                  <a:pt x="453838" y="2825904"/>
                </a:cubicBezTo>
                <a:cubicBezTo>
                  <a:pt x="406308" y="2814031"/>
                  <a:pt x="370662" y="2802160"/>
                  <a:pt x="358778" y="2742801"/>
                </a:cubicBezTo>
                <a:lnTo>
                  <a:pt x="358778" y="2742797"/>
                </a:lnTo>
                <a:lnTo>
                  <a:pt x="358778" y="2588472"/>
                </a:lnTo>
                <a:lnTo>
                  <a:pt x="358778" y="2588468"/>
                </a:lnTo>
                <a:cubicBezTo>
                  <a:pt x="358778" y="2540983"/>
                  <a:pt x="370662" y="2505368"/>
                  <a:pt x="430072" y="2517238"/>
                </a:cubicBezTo>
                <a:cubicBezTo>
                  <a:pt x="453838" y="2517238"/>
                  <a:pt x="465719" y="2517238"/>
                  <a:pt x="477603" y="2517238"/>
                </a:cubicBezTo>
                <a:cubicBezTo>
                  <a:pt x="495425" y="2511301"/>
                  <a:pt x="507310" y="2508332"/>
                  <a:pt x="514736" y="2502399"/>
                </a:cubicBezTo>
                <a:lnTo>
                  <a:pt x="525131" y="2469753"/>
                </a:lnTo>
                <a:lnTo>
                  <a:pt x="477603" y="2315428"/>
                </a:lnTo>
                <a:cubicBezTo>
                  <a:pt x="453838" y="2273876"/>
                  <a:pt x="450869" y="2229359"/>
                  <a:pt x="453838" y="2184839"/>
                </a:cubicBezTo>
                <a:lnTo>
                  <a:pt x="453838" y="2184835"/>
                </a:lnTo>
                <a:cubicBezTo>
                  <a:pt x="456810" y="2140319"/>
                  <a:pt x="465719" y="2095798"/>
                  <a:pt x="465719" y="2054250"/>
                </a:cubicBezTo>
                <a:cubicBezTo>
                  <a:pt x="465719" y="2030506"/>
                  <a:pt x="489485" y="2030506"/>
                  <a:pt x="513251" y="2030506"/>
                </a:cubicBezTo>
                <a:cubicBezTo>
                  <a:pt x="703370" y="2006761"/>
                  <a:pt x="893491" y="2006761"/>
                  <a:pt x="1083608" y="1983021"/>
                </a:cubicBezTo>
                <a:cubicBezTo>
                  <a:pt x="1235112" y="1956310"/>
                  <a:pt x="1393297" y="1942953"/>
                  <a:pt x="1548140" y="1922919"/>
                </a:cubicBezTo>
                <a:lnTo>
                  <a:pt x="1577677" y="1918488"/>
                </a:lnTo>
                <a:lnTo>
                  <a:pt x="1547579" y="1909753"/>
                </a:lnTo>
                <a:cubicBezTo>
                  <a:pt x="1516945" y="1898622"/>
                  <a:pt x="1494665" y="1880814"/>
                  <a:pt x="1485751" y="1836296"/>
                </a:cubicBezTo>
                <a:lnTo>
                  <a:pt x="1485751" y="1836292"/>
                </a:lnTo>
                <a:lnTo>
                  <a:pt x="1485751" y="1832415"/>
                </a:lnTo>
                <a:lnTo>
                  <a:pt x="1350965" y="1837596"/>
                </a:lnTo>
                <a:cubicBezTo>
                  <a:pt x="1273728" y="1843532"/>
                  <a:pt x="1196491" y="1852437"/>
                  <a:pt x="1119255" y="1864306"/>
                </a:cubicBezTo>
                <a:cubicBezTo>
                  <a:pt x="1059846" y="1876180"/>
                  <a:pt x="1024198" y="1852437"/>
                  <a:pt x="1012313" y="1793080"/>
                </a:cubicBezTo>
                <a:cubicBezTo>
                  <a:pt x="1012313" y="1781206"/>
                  <a:pt x="1000433" y="1769336"/>
                  <a:pt x="1000433" y="1757465"/>
                </a:cubicBezTo>
                <a:cubicBezTo>
                  <a:pt x="997460" y="1730753"/>
                  <a:pt x="993747" y="1709236"/>
                  <a:pt x="991890" y="1691616"/>
                </a:cubicBezTo>
                <a:lnTo>
                  <a:pt x="991890" y="1691613"/>
                </a:lnTo>
                <a:cubicBezTo>
                  <a:pt x="986320" y="1638744"/>
                  <a:pt x="997460" y="1620937"/>
                  <a:pt x="1095493" y="1603130"/>
                </a:cubicBezTo>
                <a:cubicBezTo>
                  <a:pt x="1178668" y="1591259"/>
                  <a:pt x="1261848" y="1579388"/>
                  <a:pt x="1356908" y="1579388"/>
                </a:cubicBezTo>
                <a:cubicBezTo>
                  <a:pt x="1428201" y="1579388"/>
                  <a:pt x="1487615" y="1555645"/>
                  <a:pt x="1558909" y="1543773"/>
                </a:cubicBezTo>
                <a:lnTo>
                  <a:pt x="1643856" y="1536458"/>
                </a:lnTo>
                <a:lnTo>
                  <a:pt x="1604578" y="1408922"/>
                </a:lnTo>
                <a:cubicBezTo>
                  <a:pt x="1580811" y="1367371"/>
                  <a:pt x="1577844" y="1322854"/>
                  <a:pt x="1580811" y="1278334"/>
                </a:cubicBezTo>
                <a:lnTo>
                  <a:pt x="1580811" y="1278330"/>
                </a:lnTo>
                <a:cubicBezTo>
                  <a:pt x="1583783" y="1233814"/>
                  <a:pt x="1592693" y="1189293"/>
                  <a:pt x="1592693" y="1147745"/>
                </a:cubicBezTo>
                <a:cubicBezTo>
                  <a:pt x="1592693" y="1124001"/>
                  <a:pt x="1616459" y="1124001"/>
                  <a:pt x="1640224" y="1124001"/>
                </a:cubicBezTo>
                <a:cubicBezTo>
                  <a:pt x="1830346" y="1100256"/>
                  <a:pt x="2020465" y="1100256"/>
                  <a:pt x="2210583" y="1076517"/>
                </a:cubicBezTo>
                <a:cubicBezTo>
                  <a:pt x="2412587" y="1040902"/>
                  <a:pt x="2626471" y="1029027"/>
                  <a:pt x="2828471" y="993413"/>
                </a:cubicBezTo>
                <a:cubicBezTo>
                  <a:pt x="2876005" y="981542"/>
                  <a:pt x="2923533" y="993413"/>
                  <a:pt x="2971065" y="969672"/>
                </a:cubicBezTo>
                <a:cubicBezTo>
                  <a:pt x="3006712" y="957798"/>
                  <a:pt x="3018592" y="1005287"/>
                  <a:pt x="3054240" y="1005287"/>
                </a:cubicBezTo>
                <a:lnTo>
                  <a:pt x="3069092" y="997867"/>
                </a:lnTo>
                <a:lnTo>
                  <a:pt x="3066125" y="981545"/>
                </a:lnTo>
                <a:lnTo>
                  <a:pt x="3066125" y="981542"/>
                </a:lnTo>
                <a:cubicBezTo>
                  <a:pt x="3066125" y="969672"/>
                  <a:pt x="3089886" y="945927"/>
                  <a:pt x="3113653" y="957798"/>
                </a:cubicBezTo>
                <a:cubicBezTo>
                  <a:pt x="3137419" y="981542"/>
                  <a:pt x="3161180" y="969672"/>
                  <a:pt x="3184947" y="981542"/>
                </a:cubicBezTo>
                <a:cubicBezTo>
                  <a:pt x="3196832" y="981542"/>
                  <a:pt x="3220593" y="981542"/>
                  <a:pt x="3232479" y="969672"/>
                </a:cubicBezTo>
                <a:cubicBezTo>
                  <a:pt x="3280006" y="934057"/>
                  <a:pt x="3327536" y="934057"/>
                  <a:pt x="3386950" y="934057"/>
                </a:cubicBezTo>
                <a:lnTo>
                  <a:pt x="3493883" y="898446"/>
                </a:lnTo>
                <a:lnTo>
                  <a:pt x="2994826" y="910316"/>
                </a:lnTo>
                <a:cubicBezTo>
                  <a:pt x="2899767" y="910316"/>
                  <a:pt x="2804709" y="922187"/>
                  <a:pt x="2709650" y="922187"/>
                </a:cubicBezTo>
                <a:cubicBezTo>
                  <a:pt x="2555177" y="922187"/>
                  <a:pt x="2400702" y="934060"/>
                  <a:pt x="2246230" y="957802"/>
                </a:cubicBezTo>
                <a:cubicBezTo>
                  <a:pt x="2186820" y="969675"/>
                  <a:pt x="2151173" y="945931"/>
                  <a:pt x="2139289" y="886576"/>
                </a:cubicBezTo>
                <a:cubicBezTo>
                  <a:pt x="2139289" y="874701"/>
                  <a:pt x="2127406" y="862831"/>
                  <a:pt x="2127406" y="850960"/>
                </a:cubicBezTo>
                <a:cubicBezTo>
                  <a:pt x="2124435" y="824247"/>
                  <a:pt x="2120721" y="802731"/>
                  <a:pt x="2118866" y="785110"/>
                </a:cubicBezTo>
                <a:lnTo>
                  <a:pt x="2118866" y="785107"/>
                </a:lnTo>
                <a:cubicBezTo>
                  <a:pt x="2113296" y="732239"/>
                  <a:pt x="2124435" y="714432"/>
                  <a:pt x="2222467" y="696624"/>
                </a:cubicBezTo>
                <a:cubicBezTo>
                  <a:pt x="2305643" y="684753"/>
                  <a:pt x="2388823" y="672884"/>
                  <a:pt x="2483882" y="672884"/>
                </a:cubicBezTo>
                <a:cubicBezTo>
                  <a:pt x="2555177" y="672884"/>
                  <a:pt x="2614590" y="649138"/>
                  <a:pt x="2685884" y="637268"/>
                </a:cubicBezTo>
                <a:cubicBezTo>
                  <a:pt x="2804709" y="625399"/>
                  <a:pt x="2911651" y="613524"/>
                  <a:pt x="3030473" y="625399"/>
                </a:cubicBezTo>
                <a:cubicBezTo>
                  <a:pt x="3089886" y="625399"/>
                  <a:pt x="3161180" y="613524"/>
                  <a:pt x="3232479" y="613524"/>
                </a:cubicBezTo>
                <a:cubicBezTo>
                  <a:pt x="3280006" y="613524"/>
                  <a:pt x="3327536" y="613524"/>
                  <a:pt x="3375067" y="625399"/>
                </a:cubicBezTo>
                <a:cubicBezTo>
                  <a:pt x="3410714" y="625399"/>
                  <a:pt x="3434480" y="625399"/>
                  <a:pt x="3470127" y="613524"/>
                </a:cubicBezTo>
                <a:cubicBezTo>
                  <a:pt x="3493893" y="601653"/>
                  <a:pt x="3541421" y="625399"/>
                  <a:pt x="3577068" y="625399"/>
                </a:cubicBezTo>
                <a:cubicBezTo>
                  <a:pt x="3624601" y="637268"/>
                  <a:pt x="3672129" y="661010"/>
                  <a:pt x="3719657" y="625399"/>
                </a:cubicBezTo>
                <a:cubicBezTo>
                  <a:pt x="3731544" y="613524"/>
                  <a:pt x="3779070" y="613524"/>
                  <a:pt x="3814717" y="613524"/>
                </a:cubicBezTo>
                <a:cubicBezTo>
                  <a:pt x="3945423" y="613524"/>
                  <a:pt x="4088015" y="613524"/>
                  <a:pt x="4218722" y="613524"/>
                </a:cubicBezTo>
                <a:cubicBezTo>
                  <a:pt x="4385077" y="625399"/>
                  <a:pt x="4551431" y="649138"/>
                  <a:pt x="4705904" y="661010"/>
                </a:cubicBezTo>
                <a:cubicBezTo>
                  <a:pt x="4741552" y="661010"/>
                  <a:pt x="4774229" y="663978"/>
                  <a:pt x="4806905" y="668431"/>
                </a:cubicBezTo>
                <a:lnTo>
                  <a:pt x="4859847" y="676986"/>
                </a:lnTo>
                <a:lnTo>
                  <a:pt x="4844729" y="660373"/>
                </a:lnTo>
                <a:cubicBezTo>
                  <a:pt x="4838787" y="649985"/>
                  <a:pt x="4834332" y="637372"/>
                  <a:pt x="4831360" y="622534"/>
                </a:cubicBezTo>
                <a:cubicBezTo>
                  <a:pt x="4831360" y="610659"/>
                  <a:pt x="4819479" y="598788"/>
                  <a:pt x="4819479" y="586918"/>
                </a:cubicBezTo>
                <a:cubicBezTo>
                  <a:pt x="4816507" y="560205"/>
                  <a:pt x="4812792" y="538689"/>
                  <a:pt x="4810938" y="521069"/>
                </a:cubicBezTo>
                <a:lnTo>
                  <a:pt x="4810938" y="521065"/>
                </a:lnTo>
                <a:cubicBezTo>
                  <a:pt x="4805366" y="468196"/>
                  <a:pt x="4816507" y="450389"/>
                  <a:pt x="4914540" y="432581"/>
                </a:cubicBezTo>
                <a:cubicBezTo>
                  <a:pt x="4997714" y="420711"/>
                  <a:pt x="5080895" y="408840"/>
                  <a:pt x="5175953" y="408840"/>
                </a:cubicBezTo>
                <a:cubicBezTo>
                  <a:pt x="5247247" y="408840"/>
                  <a:pt x="5306661" y="385096"/>
                  <a:pt x="5377955" y="373226"/>
                </a:cubicBezTo>
                <a:cubicBezTo>
                  <a:pt x="5496780" y="361356"/>
                  <a:pt x="5603723" y="349481"/>
                  <a:pt x="5722545" y="361356"/>
                </a:cubicBezTo>
                <a:cubicBezTo>
                  <a:pt x="5781958" y="361356"/>
                  <a:pt x="5853252" y="349481"/>
                  <a:pt x="5924549" y="349481"/>
                </a:cubicBezTo>
                <a:cubicBezTo>
                  <a:pt x="5972077" y="349481"/>
                  <a:pt x="6019606" y="349481"/>
                  <a:pt x="6067139" y="361356"/>
                </a:cubicBezTo>
                <a:cubicBezTo>
                  <a:pt x="6102784" y="361356"/>
                  <a:pt x="6126551" y="361356"/>
                  <a:pt x="6162198" y="349481"/>
                </a:cubicBezTo>
                <a:cubicBezTo>
                  <a:pt x="6168139" y="346514"/>
                  <a:pt x="6175566" y="345772"/>
                  <a:pt x="6183921" y="346328"/>
                </a:cubicBezTo>
                <a:cubicBezTo>
                  <a:pt x="6208986" y="347999"/>
                  <a:pt x="6242404" y="361356"/>
                  <a:pt x="6269140" y="361356"/>
                </a:cubicBezTo>
                <a:cubicBezTo>
                  <a:pt x="6316671" y="373226"/>
                  <a:pt x="6364200" y="396967"/>
                  <a:pt x="6411727" y="361356"/>
                </a:cubicBezTo>
                <a:cubicBezTo>
                  <a:pt x="6423612" y="349481"/>
                  <a:pt x="6471141" y="349481"/>
                  <a:pt x="6506788" y="349481"/>
                </a:cubicBezTo>
                <a:cubicBezTo>
                  <a:pt x="6637495" y="349481"/>
                  <a:pt x="6780087" y="349481"/>
                  <a:pt x="6910794" y="349481"/>
                </a:cubicBezTo>
                <a:cubicBezTo>
                  <a:pt x="7077149" y="361356"/>
                  <a:pt x="7243504" y="385096"/>
                  <a:pt x="7397977" y="396967"/>
                </a:cubicBezTo>
                <a:cubicBezTo>
                  <a:pt x="7433624" y="396967"/>
                  <a:pt x="7466301" y="399935"/>
                  <a:pt x="7498977" y="404388"/>
                </a:cubicBezTo>
                <a:lnTo>
                  <a:pt x="7542538" y="411428"/>
                </a:lnTo>
                <a:lnTo>
                  <a:pt x="7586271" y="406213"/>
                </a:lnTo>
                <a:cubicBezTo>
                  <a:pt x="7637887" y="399535"/>
                  <a:pt x="7689129" y="392115"/>
                  <a:pt x="7739629" y="383212"/>
                </a:cubicBezTo>
                <a:cubicBezTo>
                  <a:pt x="7787161" y="371341"/>
                  <a:pt x="7834689" y="383212"/>
                  <a:pt x="7882221" y="359471"/>
                </a:cubicBezTo>
                <a:cubicBezTo>
                  <a:pt x="7917869" y="347597"/>
                  <a:pt x="7929749" y="395085"/>
                  <a:pt x="7965396" y="395085"/>
                </a:cubicBezTo>
                <a:lnTo>
                  <a:pt x="7980250" y="387666"/>
                </a:lnTo>
                <a:lnTo>
                  <a:pt x="7977281" y="371345"/>
                </a:lnTo>
                <a:lnTo>
                  <a:pt x="7977281" y="371341"/>
                </a:lnTo>
                <a:cubicBezTo>
                  <a:pt x="7977281" y="359471"/>
                  <a:pt x="8001043" y="335727"/>
                  <a:pt x="8024809" y="347597"/>
                </a:cubicBezTo>
                <a:cubicBezTo>
                  <a:pt x="8048576" y="371341"/>
                  <a:pt x="8072339" y="359471"/>
                  <a:pt x="8096103" y="371341"/>
                </a:cubicBezTo>
                <a:cubicBezTo>
                  <a:pt x="8107989" y="371341"/>
                  <a:pt x="8131751" y="371341"/>
                  <a:pt x="8143636" y="359471"/>
                </a:cubicBezTo>
                <a:cubicBezTo>
                  <a:pt x="8191164" y="323856"/>
                  <a:pt x="8238693" y="323856"/>
                  <a:pt x="8298106" y="323856"/>
                </a:cubicBezTo>
                <a:lnTo>
                  <a:pt x="8405040" y="288245"/>
                </a:lnTo>
                <a:lnTo>
                  <a:pt x="7905983" y="300116"/>
                </a:lnTo>
                <a:cubicBezTo>
                  <a:pt x="7810924" y="300116"/>
                  <a:pt x="7715867" y="311985"/>
                  <a:pt x="7620807" y="311985"/>
                </a:cubicBezTo>
                <a:cubicBezTo>
                  <a:pt x="7466334" y="311985"/>
                  <a:pt x="7311861" y="323860"/>
                  <a:pt x="7157388" y="347600"/>
                </a:cubicBezTo>
                <a:cubicBezTo>
                  <a:pt x="7097978" y="359474"/>
                  <a:pt x="7062332" y="335731"/>
                  <a:pt x="7050447" y="276374"/>
                </a:cubicBezTo>
                <a:cubicBezTo>
                  <a:pt x="7050447" y="264501"/>
                  <a:pt x="7038565" y="252630"/>
                  <a:pt x="7038565" y="240760"/>
                </a:cubicBezTo>
                <a:cubicBezTo>
                  <a:pt x="7035593" y="214048"/>
                  <a:pt x="7031879" y="192529"/>
                  <a:pt x="7030023" y="174909"/>
                </a:cubicBezTo>
                <a:lnTo>
                  <a:pt x="7030023" y="174906"/>
                </a:lnTo>
                <a:cubicBezTo>
                  <a:pt x="7024453" y="122038"/>
                  <a:pt x="7035593" y="104231"/>
                  <a:pt x="7133626" y="86424"/>
                </a:cubicBezTo>
                <a:cubicBezTo>
                  <a:pt x="7216800" y="74553"/>
                  <a:pt x="7299980" y="62682"/>
                  <a:pt x="7395040" y="62682"/>
                </a:cubicBezTo>
                <a:cubicBezTo>
                  <a:pt x="7466334" y="62682"/>
                  <a:pt x="7525747" y="38939"/>
                  <a:pt x="7597041" y="27067"/>
                </a:cubicBezTo>
                <a:cubicBezTo>
                  <a:pt x="7715867" y="15197"/>
                  <a:pt x="7822809" y="3324"/>
                  <a:pt x="7941631" y="15197"/>
                </a:cubicBezTo>
                <a:cubicBezTo>
                  <a:pt x="8001043" y="15197"/>
                  <a:pt x="8072339" y="3324"/>
                  <a:pt x="8143636" y="3324"/>
                </a:cubicBezTo>
                <a:cubicBezTo>
                  <a:pt x="8191164" y="3324"/>
                  <a:pt x="8238693" y="3324"/>
                  <a:pt x="8286225" y="15197"/>
                </a:cubicBezTo>
                <a:cubicBezTo>
                  <a:pt x="8321871" y="15197"/>
                  <a:pt x="8345637" y="15197"/>
                  <a:pt x="8381285" y="3324"/>
                </a:cubicBezTo>
                <a:cubicBezTo>
                  <a:pt x="8387226" y="356"/>
                  <a:pt x="8394652" y="-386"/>
                  <a:pt x="8403008" y="171"/>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30405850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5_Title and Conten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48E6F575-5A63-4EBB-84F8-70C60E13B223}"/>
              </a:ext>
            </a:extLst>
          </p:cNvPr>
          <p:cNvSpPr>
            <a:spLocks noGrp="1"/>
          </p:cNvSpPr>
          <p:nvPr>
            <p:ph type="pic" sz="quarter" idx="13"/>
          </p:nvPr>
        </p:nvSpPr>
        <p:spPr>
          <a:xfrm>
            <a:off x="5839294" y="-247263"/>
            <a:ext cx="4523437" cy="4467590"/>
          </a:xfrm>
          <a:custGeom>
            <a:avLst/>
            <a:gdLst>
              <a:gd name="connsiteX0" fmla="*/ 1701940 w 3403880"/>
              <a:gd name="connsiteY0" fmla="*/ 0 h 3403878"/>
              <a:gd name="connsiteX1" fmla="*/ 3403880 w 3403880"/>
              <a:gd name="connsiteY1" fmla="*/ 1701939 h 3403878"/>
              <a:gd name="connsiteX2" fmla="*/ 1701940 w 3403880"/>
              <a:gd name="connsiteY2" fmla="*/ 3403878 h 3403878"/>
              <a:gd name="connsiteX3" fmla="*/ 0 w 3403880"/>
              <a:gd name="connsiteY3" fmla="*/ 1701939 h 3403878"/>
            </a:gdLst>
            <a:ahLst/>
            <a:cxnLst>
              <a:cxn ang="0">
                <a:pos x="connsiteX0" y="connsiteY0"/>
              </a:cxn>
              <a:cxn ang="0">
                <a:pos x="connsiteX1" y="connsiteY1"/>
              </a:cxn>
              <a:cxn ang="0">
                <a:pos x="connsiteX2" y="connsiteY2"/>
              </a:cxn>
              <a:cxn ang="0">
                <a:pos x="connsiteX3" y="connsiteY3"/>
              </a:cxn>
            </a:cxnLst>
            <a:rect l="l" t="t" r="r" b="b"/>
            <a:pathLst>
              <a:path w="3403880" h="3403878">
                <a:moveTo>
                  <a:pt x="1701940" y="0"/>
                </a:moveTo>
                <a:lnTo>
                  <a:pt x="3403880" y="1701939"/>
                </a:lnTo>
                <a:lnTo>
                  <a:pt x="1701940" y="3403878"/>
                </a:lnTo>
                <a:lnTo>
                  <a:pt x="0" y="1701939"/>
                </a:ln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1231864868"/>
      </p:ext>
    </p:extLst>
  </p:cSld>
  <p:clrMapOvr>
    <a:masterClrMapping/>
  </p:clrMapOvr>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3D7BB54F-A5D3-4F2A-BD69-8A123847F66C}"/>
              </a:ext>
            </a:extLst>
          </p:cNvPr>
          <p:cNvSpPr>
            <a:spLocks noGrp="1"/>
          </p:cNvSpPr>
          <p:nvPr>
            <p:ph type="pic" sz="quarter" idx="13"/>
          </p:nvPr>
        </p:nvSpPr>
        <p:spPr>
          <a:xfrm>
            <a:off x="1363601" y="2251460"/>
            <a:ext cx="4478191" cy="4422905"/>
          </a:xfrm>
          <a:custGeom>
            <a:avLst/>
            <a:gdLst>
              <a:gd name="connsiteX0" fmla="*/ 1684916 w 3369832"/>
              <a:gd name="connsiteY0" fmla="*/ 0 h 3369832"/>
              <a:gd name="connsiteX1" fmla="*/ 3369832 w 3369832"/>
              <a:gd name="connsiteY1" fmla="*/ 1684916 h 3369832"/>
              <a:gd name="connsiteX2" fmla="*/ 1684916 w 3369832"/>
              <a:gd name="connsiteY2" fmla="*/ 3369832 h 3369832"/>
              <a:gd name="connsiteX3" fmla="*/ 0 w 3369832"/>
              <a:gd name="connsiteY3" fmla="*/ 1684916 h 3369832"/>
              <a:gd name="connsiteX4" fmla="*/ 1684916 w 3369832"/>
              <a:gd name="connsiteY4" fmla="*/ 0 h 336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832" h="3369832">
                <a:moveTo>
                  <a:pt x="1684916" y="0"/>
                </a:moveTo>
                <a:cubicBezTo>
                  <a:pt x="2615469" y="0"/>
                  <a:pt x="3369832" y="754363"/>
                  <a:pt x="3369832" y="1684916"/>
                </a:cubicBezTo>
                <a:cubicBezTo>
                  <a:pt x="3369832" y="2615469"/>
                  <a:pt x="2615469" y="3369832"/>
                  <a:pt x="1684916" y="3369832"/>
                </a:cubicBezTo>
                <a:cubicBezTo>
                  <a:pt x="754363" y="3369832"/>
                  <a:pt x="0" y="2615469"/>
                  <a:pt x="0" y="1684916"/>
                </a:cubicBezTo>
                <a:cubicBezTo>
                  <a:pt x="0" y="754363"/>
                  <a:pt x="754363" y="0"/>
                  <a:pt x="1684916"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24433665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xmlns="" id="{99527276-07E9-4E5B-A31F-705108036AA8}"/>
              </a:ext>
            </a:extLst>
          </p:cNvPr>
          <p:cNvSpPr>
            <a:spLocks noGrp="1"/>
          </p:cNvSpPr>
          <p:nvPr>
            <p:ph type="pic" sz="quarter" idx="20"/>
          </p:nvPr>
        </p:nvSpPr>
        <p:spPr>
          <a:xfrm>
            <a:off x="-2" y="0"/>
            <a:ext cx="5822046" cy="9001125"/>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1643903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1D2C9E6D-6BC6-4928-98F2-DED25F5AF7DB}"/>
              </a:ext>
            </a:extLst>
          </p:cNvPr>
          <p:cNvSpPr>
            <a:spLocks noGrp="1"/>
          </p:cNvSpPr>
          <p:nvPr>
            <p:ph type="pic" sz="quarter" idx="20"/>
          </p:nvPr>
        </p:nvSpPr>
        <p:spPr>
          <a:xfrm>
            <a:off x="1057171" y="1646265"/>
            <a:ext cx="6231853" cy="5887631"/>
          </a:xfrm>
          <a:custGeom>
            <a:avLst/>
            <a:gdLst>
              <a:gd name="connsiteX0" fmla="*/ 1693214 w 4689460"/>
              <a:gd name="connsiteY0" fmla="*/ 358 h 4485814"/>
              <a:gd name="connsiteX1" fmla="*/ 4541329 w 4689460"/>
              <a:gd name="connsiteY1" fmla="*/ 1027081 h 4485814"/>
              <a:gd name="connsiteX2" fmla="*/ 1208963 w 4689460"/>
              <a:gd name="connsiteY2" fmla="*/ 4377452 h 4485814"/>
              <a:gd name="connsiteX3" fmla="*/ 338901 w 4689460"/>
              <a:gd name="connsiteY3" fmla="*/ 312084 h 4485814"/>
              <a:gd name="connsiteX4" fmla="*/ 1693214 w 4689460"/>
              <a:gd name="connsiteY4" fmla="*/ 358 h 448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9460" h="4485814">
                <a:moveTo>
                  <a:pt x="1693214" y="358"/>
                </a:moveTo>
                <a:cubicBezTo>
                  <a:pt x="2731518" y="12648"/>
                  <a:pt x="4034295" y="341867"/>
                  <a:pt x="4541329" y="1027081"/>
                </a:cubicBezTo>
                <a:cubicBezTo>
                  <a:pt x="5352585" y="2123424"/>
                  <a:pt x="2632720" y="5086721"/>
                  <a:pt x="1208963" y="4377452"/>
                </a:cubicBezTo>
                <a:cubicBezTo>
                  <a:pt x="-214793" y="3668184"/>
                  <a:pt x="-203918" y="878427"/>
                  <a:pt x="338901" y="312084"/>
                </a:cubicBezTo>
                <a:cubicBezTo>
                  <a:pt x="542458" y="99706"/>
                  <a:pt x="1070231" y="-7015"/>
                  <a:pt x="1693214" y="358"/>
                </a:cubicBez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14956674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79848" y="5784057"/>
            <a:ext cx="13771721" cy="1787723"/>
          </a:xfrm>
        </p:spPr>
        <p:txBody>
          <a:bodyPr anchor="t"/>
          <a:lstStyle>
            <a:lvl1pPr algn="l">
              <a:defRPr sz="6300" b="1" cap="all"/>
            </a:lvl1pPr>
          </a:lstStyle>
          <a:p>
            <a:r>
              <a:rPr lang="en-US"/>
              <a:t>Click to edit Master title style</a:t>
            </a:r>
            <a:endParaRPr lang="es-CL"/>
          </a:p>
        </p:txBody>
      </p:sp>
      <p:sp>
        <p:nvSpPr>
          <p:cNvPr id="3" name="Text Placeholder 2"/>
          <p:cNvSpPr>
            <a:spLocks noGrp="1"/>
          </p:cNvSpPr>
          <p:nvPr>
            <p:ph type="body" idx="1"/>
          </p:nvPr>
        </p:nvSpPr>
        <p:spPr>
          <a:xfrm>
            <a:off x="1279848" y="3815062"/>
            <a:ext cx="13771721" cy="1968995"/>
          </a:xfrm>
        </p:spPr>
        <p:txBody>
          <a:bodyPr anchor="b"/>
          <a:lstStyle>
            <a:lvl1pPr marL="0" indent="0">
              <a:buNone/>
              <a:defRPr sz="3200">
                <a:solidFill>
                  <a:schemeClr val="tx1">
                    <a:tint val="75000"/>
                  </a:schemeClr>
                </a:solidFill>
              </a:defRPr>
            </a:lvl1pPr>
            <a:lvl2pPr marL="720090" indent="0">
              <a:buNone/>
              <a:defRPr sz="2800">
                <a:solidFill>
                  <a:schemeClr val="tx1">
                    <a:tint val="75000"/>
                  </a:schemeClr>
                </a:solidFill>
              </a:defRPr>
            </a:lvl2pPr>
            <a:lvl3pPr marL="1440180" indent="0">
              <a:buNone/>
              <a:defRPr sz="2500">
                <a:solidFill>
                  <a:schemeClr val="tx1">
                    <a:tint val="75000"/>
                  </a:schemeClr>
                </a:solidFill>
              </a:defRPr>
            </a:lvl3pPr>
            <a:lvl4pPr marL="2160270" indent="0">
              <a:buNone/>
              <a:defRPr sz="2200">
                <a:solidFill>
                  <a:schemeClr val="tx1">
                    <a:tint val="75000"/>
                  </a:schemeClr>
                </a:solidFill>
              </a:defRPr>
            </a:lvl4pPr>
            <a:lvl5pPr marL="2880360" indent="0">
              <a:buNone/>
              <a:defRPr sz="2200">
                <a:solidFill>
                  <a:schemeClr val="tx1">
                    <a:tint val="75000"/>
                  </a:schemeClr>
                </a:solidFill>
              </a:defRPr>
            </a:lvl5pPr>
            <a:lvl6pPr marL="3600450" indent="0">
              <a:buNone/>
              <a:defRPr sz="2200">
                <a:solidFill>
                  <a:schemeClr val="tx1">
                    <a:tint val="75000"/>
                  </a:schemeClr>
                </a:solidFill>
              </a:defRPr>
            </a:lvl6pPr>
            <a:lvl7pPr marL="4320540" indent="0">
              <a:buNone/>
              <a:defRPr sz="2200">
                <a:solidFill>
                  <a:schemeClr val="tx1">
                    <a:tint val="75000"/>
                  </a:schemeClr>
                </a:solidFill>
              </a:defRPr>
            </a:lvl7pPr>
            <a:lvl8pPr marL="5040630" indent="0">
              <a:buNone/>
              <a:defRPr sz="2200">
                <a:solidFill>
                  <a:schemeClr val="tx1">
                    <a:tint val="75000"/>
                  </a:schemeClr>
                </a:solidFill>
              </a:defRPr>
            </a:lvl8pPr>
            <a:lvl9pPr marL="5760720" indent="0">
              <a:buNone/>
              <a:defRPr sz="2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F1F7606-8703-4774-82E4-4A2AAF776758}" type="datetimeFigureOut">
              <a:rPr lang="es-CL" smtClean="0"/>
              <a:t>23-01-2025</a:t>
            </a:fld>
            <a:endParaRPr lang="es-CL"/>
          </a:p>
        </p:txBody>
      </p:sp>
      <p:sp>
        <p:nvSpPr>
          <p:cNvPr id="5" name="Footer Placeholder 4"/>
          <p:cNvSpPr>
            <a:spLocks noGrp="1"/>
          </p:cNvSpPr>
          <p:nvPr>
            <p:ph type="ftr" sz="quarter" idx="11"/>
          </p:nvPr>
        </p:nvSpPr>
        <p:spPr/>
        <p:txBody>
          <a:bodyPr/>
          <a:lstStyle/>
          <a:p>
            <a:endParaRPr lang="es-CL"/>
          </a:p>
        </p:txBody>
      </p:sp>
      <p:sp>
        <p:nvSpPr>
          <p:cNvPr id="6" name="Slide Number Placeholder 5"/>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17943269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4294284" y="0"/>
            <a:ext cx="11907740" cy="5867526"/>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30276809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0">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xmlns="" id="{ECCC0981-46EA-4CFD-B938-5ACFDB15FE08}"/>
              </a:ext>
            </a:extLst>
          </p:cNvPr>
          <p:cNvSpPr>
            <a:spLocks noGrp="1"/>
          </p:cNvSpPr>
          <p:nvPr>
            <p:ph type="pic" sz="quarter" idx="21"/>
          </p:nvPr>
        </p:nvSpPr>
        <p:spPr>
          <a:xfrm>
            <a:off x="737654" y="1495413"/>
            <a:ext cx="2613135" cy="2580874"/>
          </a:xfrm>
          <a:custGeom>
            <a:avLst/>
            <a:gdLst>
              <a:gd name="connsiteX0" fmla="*/ 983190 w 1966380"/>
              <a:gd name="connsiteY0" fmla="*/ 0 h 1966380"/>
              <a:gd name="connsiteX1" fmla="*/ 1966380 w 1966380"/>
              <a:gd name="connsiteY1" fmla="*/ 983190 h 1966380"/>
              <a:gd name="connsiteX2" fmla="*/ 983190 w 1966380"/>
              <a:gd name="connsiteY2" fmla="*/ 1966380 h 1966380"/>
              <a:gd name="connsiteX3" fmla="*/ 0 w 1966380"/>
              <a:gd name="connsiteY3" fmla="*/ 983190 h 1966380"/>
            </a:gdLst>
            <a:ahLst/>
            <a:cxnLst>
              <a:cxn ang="0">
                <a:pos x="connsiteX0" y="connsiteY0"/>
              </a:cxn>
              <a:cxn ang="0">
                <a:pos x="connsiteX1" y="connsiteY1"/>
              </a:cxn>
              <a:cxn ang="0">
                <a:pos x="connsiteX2" y="connsiteY2"/>
              </a:cxn>
              <a:cxn ang="0">
                <a:pos x="connsiteX3" y="connsiteY3"/>
              </a:cxn>
            </a:cxnLst>
            <a:rect l="l" t="t" r="r" b="b"/>
            <a:pathLst>
              <a:path w="1966380" h="1966380">
                <a:moveTo>
                  <a:pt x="983190" y="0"/>
                </a:moveTo>
                <a:lnTo>
                  <a:pt x="1966380" y="983190"/>
                </a:lnTo>
                <a:lnTo>
                  <a:pt x="983190" y="1966380"/>
                </a:lnTo>
                <a:lnTo>
                  <a:pt x="0" y="983190"/>
                </a:lnTo>
                <a:close/>
              </a:path>
            </a:pathLst>
          </a:custGeom>
          <a:solidFill>
            <a:schemeClr val="bg1">
              <a:lumMod val="95000"/>
            </a:schemeClr>
          </a:solidFill>
          <a:ln>
            <a:noFill/>
          </a:ln>
        </p:spPr>
        <p:txBody>
          <a:bodyPr wrap="square">
            <a:noAutofit/>
          </a:bodyPr>
          <a:lstStyle>
            <a:lvl1pPr>
              <a:defRPr sz="1838"/>
            </a:lvl1pPr>
          </a:lstStyle>
          <a:p>
            <a:endParaRPr lang="en-US"/>
          </a:p>
        </p:txBody>
      </p:sp>
      <p:sp>
        <p:nvSpPr>
          <p:cNvPr id="16" name="Picture Placeholder 15">
            <a:extLst>
              <a:ext uri="{FF2B5EF4-FFF2-40B4-BE49-F238E27FC236}">
                <a16:creationId xmlns:a16="http://schemas.microsoft.com/office/drawing/2014/main" xmlns="" id="{7611E5E1-81E6-4438-A1D8-42AED705E592}"/>
              </a:ext>
            </a:extLst>
          </p:cNvPr>
          <p:cNvSpPr>
            <a:spLocks noGrp="1"/>
          </p:cNvSpPr>
          <p:nvPr>
            <p:ph type="pic" sz="quarter" idx="20"/>
          </p:nvPr>
        </p:nvSpPr>
        <p:spPr>
          <a:xfrm>
            <a:off x="3584913" y="1495413"/>
            <a:ext cx="2613135" cy="2580874"/>
          </a:xfrm>
          <a:custGeom>
            <a:avLst/>
            <a:gdLst>
              <a:gd name="connsiteX0" fmla="*/ 983190 w 1966380"/>
              <a:gd name="connsiteY0" fmla="*/ 0 h 1966380"/>
              <a:gd name="connsiteX1" fmla="*/ 1966380 w 1966380"/>
              <a:gd name="connsiteY1" fmla="*/ 983190 h 1966380"/>
              <a:gd name="connsiteX2" fmla="*/ 983190 w 1966380"/>
              <a:gd name="connsiteY2" fmla="*/ 1966380 h 1966380"/>
              <a:gd name="connsiteX3" fmla="*/ 0 w 1966380"/>
              <a:gd name="connsiteY3" fmla="*/ 983190 h 1966380"/>
            </a:gdLst>
            <a:ahLst/>
            <a:cxnLst>
              <a:cxn ang="0">
                <a:pos x="connsiteX0" y="connsiteY0"/>
              </a:cxn>
              <a:cxn ang="0">
                <a:pos x="connsiteX1" y="connsiteY1"/>
              </a:cxn>
              <a:cxn ang="0">
                <a:pos x="connsiteX2" y="connsiteY2"/>
              </a:cxn>
              <a:cxn ang="0">
                <a:pos x="connsiteX3" y="connsiteY3"/>
              </a:cxn>
            </a:cxnLst>
            <a:rect l="l" t="t" r="r" b="b"/>
            <a:pathLst>
              <a:path w="1966380" h="1966380">
                <a:moveTo>
                  <a:pt x="983190" y="0"/>
                </a:moveTo>
                <a:lnTo>
                  <a:pt x="1966380" y="983190"/>
                </a:lnTo>
                <a:lnTo>
                  <a:pt x="983190" y="1966380"/>
                </a:lnTo>
                <a:lnTo>
                  <a:pt x="0" y="983190"/>
                </a:lnTo>
                <a:close/>
              </a:path>
            </a:pathLst>
          </a:custGeom>
          <a:solidFill>
            <a:schemeClr val="bg1">
              <a:lumMod val="95000"/>
            </a:schemeClr>
          </a:solidFill>
          <a:ln>
            <a:noFill/>
          </a:ln>
        </p:spPr>
        <p:txBody>
          <a:bodyPr wrap="square">
            <a:noAutofit/>
          </a:bodyPr>
          <a:lstStyle>
            <a:lvl1pPr>
              <a:defRPr sz="1838"/>
            </a:lvl1pPr>
          </a:lstStyle>
          <a:p>
            <a:endParaRPr lang="en-US"/>
          </a:p>
        </p:txBody>
      </p:sp>
      <p:sp>
        <p:nvSpPr>
          <p:cNvPr id="14" name="Picture Placeholder 13">
            <a:extLst>
              <a:ext uri="{FF2B5EF4-FFF2-40B4-BE49-F238E27FC236}">
                <a16:creationId xmlns:a16="http://schemas.microsoft.com/office/drawing/2014/main" xmlns="" id="{F38BF08A-0E9A-4100-8427-AEB2EBC482EE}"/>
              </a:ext>
            </a:extLst>
          </p:cNvPr>
          <p:cNvSpPr>
            <a:spLocks noGrp="1"/>
          </p:cNvSpPr>
          <p:nvPr>
            <p:ph type="pic" sz="quarter" idx="13"/>
          </p:nvPr>
        </p:nvSpPr>
        <p:spPr>
          <a:xfrm>
            <a:off x="781792" y="-2652706"/>
            <a:ext cx="5372119" cy="5305797"/>
          </a:xfrm>
          <a:custGeom>
            <a:avLst/>
            <a:gdLst>
              <a:gd name="connsiteX0" fmla="*/ 2021256 w 4042512"/>
              <a:gd name="connsiteY0" fmla="*/ 0 h 4042512"/>
              <a:gd name="connsiteX1" fmla="*/ 4042512 w 4042512"/>
              <a:gd name="connsiteY1" fmla="*/ 2021256 h 4042512"/>
              <a:gd name="connsiteX2" fmla="*/ 2021256 w 4042512"/>
              <a:gd name="connsiteY2" fmla="*/ 4042512 h 4042512"/>
              <a:gd name="connsiteX3" fmla="*/ 0 w 4042512"/>
              <a:gd name="connsiteY3" fmla="*/ 2021256 h 4042512"/>
            </a:gdLst>
            <a:ahLst/>
            <a:cxnLst>
              <a:cxn ang="0">
                <a:pos x="connsiteX0" y="connsiteY0"/>
              </a:cxn>
              <a:cxn ang="0">
                <a:pos x="connsiteX1" y="connsiteY1"/>
              </a:cxn>
              <a:cxn ang="0">
                <a:pos x="connsiteX2" y="connsiteY2"/>
              </a:cxn>
              <a:cxn ang="0">
                <a:pos x="connsiteX3" y="connsiteY3"/>
              </a:cxn>
            </a:cxnLst>
            <a:rect l="l" t="t" r="r" b="b"/>
            <a:pathLst>
              <a:path w="4042512" h="4042512">
                <a:moveTo>
                  <a:pt x="2021256" y="0"/>
                </a:moveTo>
                <a:lnTo>
                  <a:pt x="4042512" y="2021256"/>
                </a:lnTo>
                <a:lnTo>
                  <a:pt x="2021256" y="4042512"/>
                </a:lnTo>
                <a:lnTo>
                  <a:pt x="0" y="2021256"/>
                </a:lnTo>
                <a:close/>
              </a:path>
            </a:pathLst>
          </a:custGeom>
          <a:solidFill>
            <a:schemeClr val="bg1">
              <a:lumMod val="95000"/>
            </a:schemeClr>
          </a:solidFill>
          <a:ln>
            <a:noFill/>
          </a:ln>
        </p:spPr>
        <p:txBody>
          <a:bodyPr wrap="square">
            <a:noAutofit/>
          </a:bodyPr>
          <a:lstStyle>
            <a:lvl1pPr>
              <a:defRPr sz="1838"/>
            </a:lvl1pPr>
          </a:lstStyle>
          <a:p>
            <a:endParaRPr lang="en-US"/>
          </a:p>
        </p:txBody>
      </p:sp>
      <p:sp>
        <p:nvSpPr>
          <p:cNvPr id="15" name="Picture Placeholder 14">
            <a:extLst>
              <a:ext uri="{FF2B5EF4-FFF2-40B4-BE49-F238E27FC236}">
                <a16:creationId xmlns:a16="http://schemas.microsoft.com/office/drawing/2014/main" xmlns="" id="{056FB649-A995-4F76-91CE-565594B28CD2}"/>
              </a:ext>
            </a:extLst>
          </p:cNvPr>
          <p:cNvSpPr>
            <a:spLocks noGrp="1"/>
          </p:cNvSpPr>
          <p:nvPr>
            <p:ph type="pic" sz="quarter" idx="19"/>
          </p:nvPr>
        </p:nvSpPr>
        <p:spPr>
          <a:xfrm>
            <a:off x="781792" y="2918609"/>
            <a:ext cx="5372119" cy="5305797"/>
          </a:xfrm>
          <a:custGeom>
            <a:avLst/>
            <a:gdLst>
              <a:gd name="connsiteX0" fmla="*/ 2021256 w 4042512"/>
              <a:gd name="connsiteY0" fmla="*/ 0 h 4042512"/>
              <a:gd name="connsiteX1" fmla="*/ 4042512 w 4042512"/>
              <a:gd name="connsiteY1" fmla="*/ 2021256 h 4042512"/>
              <a:gd name="connsiteX2" fmla="*/ 2021256 w 4042512"/>
              <a:gd name="connsiteY2" fmla="*/ 4042512 h 4042512"/>
              <a:gd name="connsiteX3" fmla="*/ 0 w 4042512"/>
              <a:gd name="connsiteY3" fmla="*/ 2021256 h 4042512"/>
            </a:gdLst>
            <a:ahLst/>
            <a:cxnLst>
              <a:cxn ang="0">
                <a:pos x="connsiteX0" y="connsiteY0"/>
              </a:cxn>
              <a:cxn ang="0">
                <a:pos x="connsiteX1" y="connsiteY1"/>
              </a:cxn>
              <a:cxn ang="0">
                <a:pos x="connsiteX2" y="connsiteY2"/>
              </a:cxn>
              <a:cxn ang="0">
                <a:pos x="connsiteX3" y="connsiteY3"/>
              </a:cxn>
            </a:cxnLst>
            <a:rect l="l" t="t" r="r" b="b"/>
            <a:pathLst>
              <a:path w="4042512" h="4042512">
                <a:moveTo>
                  <a:pt x="2021256" y="0"/>
                </a:moveTo>
                <a:lnTo>
                  <a:pt x="4042512" y="2021256"/>
                </a:lnTo>
                <a:lnTo>
                  <a:pt x="2021256" y="4042512"/>
                </a:lnTo>
                <a:lnTo>
                  <a:pt x="0" y="2021256"/>
                </a:lnTo>
                <a:close/>
              </a:path>
            </a:pathLst>
          </a:custGeom>
          <a:solidFill>
            <a:schemeClr val="bg1">
              <a:lumMod val="95000"/>
            </a:schemeClr>
          </a:solidFill>
          <a:ln>
            <a:noFill/>
          </a:ln>
        </p:spPr>
        <p:txBody>
          <a:bodyPr wrap="square">
            <a:noAutofit/>
          </a:bodyPr>
          <a:lstStyle>
            <a:lvl1pPr>
              <a:defRPr sz="1838"/>
            </a:lvl1pPr>
          </a:lstStyle>
          <a:p>
            <a:endParaRPr lang="en-US"/>
          </a:p>
        </p:txBody>
      </p:sp>
    </p:spTree>
    <p:extLst>
      <p:ext uri="{BB962C8B-B14F-4D97-AF65-F5344CB8AC3E}">
        <p14:creationId xmlns:p14="http://schemas.microsoft.com/office/powerpoint/2010/main" val="27705784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87FF7E59-72C3-4F09-A741-A08DC35E84A8}"/>
              </a:ext>
            </a:extLst>
          </p:cNvPr>
          <p:cNvSpPr>
            <a:spLocks noGrp="1"/>
          </p:cNvSpPr>
          <p:nvPr>
            <p:ph type="pic" sz="quarter" idx="13"/>
          </p:nvPr>
        </p:nvSpPr>
        <p:spPr>
          <a:xfrm>
            <a:off x="-740" y="-4240"/>
            <a:ext cx="7118025" cy="8587201"/>
          </a:xfrm>
          <a:custGeom>
            <a:avLst/>
            <a:gdLst>
              <a:gd name="connsiteX0" fmla="*/ 2692408 w 5356303"/>
              <a:gd name="connsiteY0" fmla="*/ 6213646 h 6542629"/>
              <a:gd name="connsiteX1" fmla="*/ 3007136 w 5356303"/>
              <a:gd name="connsiteY1" fmla="*/ 6213646 h 6542629"/>
              <a:gd name="connsiteX2" fmla="*/ 2679403 w 5356303"/>
              <a:gd name="connsiteY2" fmla="*/ 6542629 h 6542629"/>
              <a:gd name="connsiteX3" fmla="*/ 2679403 w 5356303"/>
              <a:gd name="connsiteY3" fmla="*/ 6231779 h 6542629"/>
              <a:gd name="connsiteX4" fmla="*/ 2692408 w 5356303"/>
              <a:gd name="connsiteY4" fmla="*/ 6213646 h 6542629"/>
              <a:gd name="connsiteX5" fmla="*/ 4015351 w 5356303"/>
              <a:gd name="connsiteY5" fmla="*/ 5960967 h 6542629"/>
              <a:gd name="connsiteX6" fmla="*/ 4015351 w 5356303"/>
              <a:gd name="connsiteY6" fmla="*/ 6257857 h 6542629"/>
              <a:gd name="connsiteX7" fmla="*/ 3994517 w 5356303"/>
              <a:gd name="connsiteY7" fmla="*/ 6278692 h 6542629"/>
              <a:gd name="connsiteX8" fmla="*/ 3697625 w 5356303"/>
              <a:gd name="connsiteY8" fmla="*/ 6278692 h 6542629"/>
              <a:gd name="connsiteX9" fmla="*/ 1338352 w 5356303"/>
              <a:gd name="connsiteY9" fmla="*/ 5873404 h 6542629"/>
              <a:gd name="connsiteX10" fmla="*/ 1338352 w 5356303"/>
              <a:gd name="connsiteY10" fmla="*/ 6059966 h 6542629"/>
              <a:gd name="connsiteX11" fmla="*/ 1338352 w 5356303"/>
              <a:gd name="connsiteY11" fmla="*/ 6179157 h 6542629"/>
              <a:gd name="connsiteX12" fmla="*/ 1317543 w 5356303"/>
              <a:gd name="connsiteY12" fmla="*/ 6199886 h 6542629"/>
              <a:gd name="connsiteX13" fmla="*/ 1013220 w 5356303"/>
              <a:gd name="connsiteY13" fmla="*/ 6199886 h 6542629"/>
              <a:gd name="connsiteX14" fmla="*/ 3027150 w 5356303"/>
              <a:gd name="connsiteY14" fmla="*/ 5714642 h 6542629"/>
              <a:gd name="connsiteX15" fmla="*/ 3165134 w 5356303"/>
              <a:gd name="connsiteY15" fmla="*/ 5714642 h 6542629"/>
              <a:gd name="connsiteX16" fmla="*/ 3326549 w 5356303"/>
              <a:gd name="connsiteY16" fmla="*/ 5714642 h 6542629"/>
              <a:gd name="connsiteX17" fmla="*/ 3347377 w 5356303"/>
              <a:gd name="connsiteY17" fmla="*/ 5735463 h 6542629"/>
              <a:gd name="connsiteX18" fmla="*/ 3347377 w 5356303"/>
              <a:gd name="connsiteY18" fmla="*/ 6034768 h 6542629"/>
              <a:gd name="connsiteX19" fmla="*/ 2027145 w 5356303"/>
              <a:gd name="connsiteY19" fmla="*/ 5712040 h 6542629"/>
              <a:gd name="connsiteX20" fmla="*/ 2331655 w 5356303"/>
              <a:gd name="connsiteY20" fmla="*/ 5714642 h 6542629"/>
              <a:gd name="connsiteX21" fmla="*/ 2008927 w 5356303"/>
              <a:gd name="connsiteY21" fmla="*/ 6034768 h 6542629"/>
              <a:gd name="connsiteX22" fmla="*/ 2008927 w 5356303"/>
              <a:gd name="connsiteY22" fmla="*/ 5730257 h 6542629"/>
              <a:gd name="connsiteX23" fmla="*/ 2027145 w 5356303"/>
              <a:gd name="connsiteY23" fmla="*/ 5712040 h 6542629"/>
              <a:gd name="connsiteX24" fmla="*/ 3682615 w 5356303"/>
              <a:gd name="connsiteY24" fmla="*/ 5395565 h 6542629"/>
              <a:gd name="connsiteX25" fmla="*/ 4002843 w 5356303"/>
              <a:gd name="connsiteY25" fmla="*/ 5711949 h 6542629"/>
              <a:gd name="connsiteX26" fmla="*/ 3698235 w 5356303"/>
              <a:gd name="connsiteY26" fmla="*/ 5714542 h 6542629"/>
              <a:gd name="connsiteX27" fmla="*/ 3682615 w 5356303"/>
              <a:gd name="connsiteY27" fmla="*/ 5701575 h 6542629"/>
              <a:gd name="connsiteX28" fmla="*/ 1005714 w 5356303"/>
              <a:gd name="connsiteY28" fmla="*/ 5390562 h 6542629"/>
              <a:gd name="connsiteX29" fmla="*/ 1330945 w 5356303"/>
              <a:gd name="connsiteY29" fmla="*/ 5714542 h 6542629"/>
              <a:gd name="connsiteX30" fmla="*/ 1021325 w 5356303"/>
              <a:gd name="connsiteY30" fmla="*/ 5714542 h 6542629"/>
              <a:gd name="connsiteX31" fmla="*/ 1005714 w 5356303"/>
              <a:gd name="connsiteY31" fmla="*/ 5701584 h 6542629"/>
              <a:gd name="connsiteX32" fmla="*/ 3347377 w 5356303"/>
              <a:gd name="connsiteY32" fmla="*/ 5383056 h 6542629"/>
              <a:gd name="connsiteX33" fmla="*/ 3675110 w 5356303"/>
              <a:gd name="connsiteY33" fmla="*/ 5383056 h 6542629"/>
              <a:gd name="connsiteX34" fmla="*/ 3664706 w 5356303"/>
              <a:gd name="connsiteY34" fmla="*/ 5396012 h 6542629"/>
              <a:gd name="connsiteX35" fmla="*/ 3362984 w 5356303"/>
              <a:gd name="connsiteY35" fmla="*/ 5699175 h 6542629"/>
              <a:gd name="connsiteX36" fmla="*/ 3347377 w 5356303"/>
              <a:gd name="connsiteY36" fmla="*/ 5709538 h 6542629"/>
              <a:gd name="connsiteX37" fmla="*/ 335238 w 5356303"/>
              <a:gd name="connsiteY37" fmla="*/ 5383056 h 6542629"/>
              <a:gd name="connsiteX38" fmla="*/ 665473 w 5356303"/>
              <a:gd name="connsiteY38" fmla="*/ 5711866 h 6542629"/>
              <a:gd name="connsiteX39" fmla="*/ 652472 w 5356303"/>
              <a:gd name="connsiteY39" fmla="*/ 5714454 h 6542629"/>
              <a:gd name="connsiteX40" fmla="*/ 358641 w 5356303"/>
              <a:gd name="connsiteY40" fmla="*/ 5714454 h 6542629"/>
              <a:gd name="connsiteX41" fmla="*/ 335238 w 5356303"/>
              <a:gd name="connsiteY41" fmla="*/ 5698920 h 6542629"/>
              <a:gd name="connsiteX42" fmla="*/ 670477 w 5356303"/>
              <a:gd name="connsiteY42" fmla="*/ 5060327 h 6542629"/>
              <a:gd name="connsiteX43" fmla="*/ 993206 w 5356303"/>
              <a:gd name="connsiteY43" fmla="*/ 5380555 h 6542629"/>
              <a:gd name="connsiteX44" fmla="*/ 686092 w 5356303"/>
              <a:gd name="connsiteY44" fmla="*/ 5380555 h 6542629"/>
              <a:gd name="connsiteX45" fmla="*/ 670477 w 5356303"/>
              <a:gd name="connsiteY45" fmla="*/ 5362331 h 6542629"/>
              <a:gd name="connsiteX46" fmla="*/ 3334910 w 5356303"/>
              <a:gd name="connsiteY46" fmla="*/ 5058868 h 6542629"/>
              <a:gd name="connsiteX47" fmla="*/ 3334704 w 5356303"/>
              <a:gd name="connsiteY47" fmla="*/ 5058962 h 6542629"/>
              <a:gd name="connsiteX48" fmla="*/ 3323981 w 5356303"/>
              <a:gd name="connsiteY48" fmla="*/ 5068678 h 6542629"/>
              <a:gd name="connsiteX49" fmla="*/ 3038036 w 5356303"/>
              <a:gd name="connsiteY49" fmla="*/ 5353662 h 6542629"/>
              <a:gd name="connsiteX50" fmla="*/ 3029588 w 5356303"/>
              <a:gd name="connsiteY50" fmla="*/ 5363702 h 6542629"/>
              <a:gd name="connsiteX51" fmla="*/ 3017371 w 5356303"/>
              <a:gd name="connsiteY51" fmla="*/ 5371712 h 6542629"/>
              <a:gd name="connsiteX52" fmla="*/ 3017556 w 5356303"/>
              <a:gd name="connsiteY52" fmla="*/ 5372188 h 6542629"/>
              <a:gd name="connsiteX53" fmla="*/ 3038346 w 5356303"/>
              <a:gd name="connsiteY53" fmla="*/ 5354023 h 6542629"/>
              <a:gd name="connsiteX54" fmla="*/ 3324218 w 5356303"/>
              <a:gd name="connsiteY54" fmla="*/ 5068573 h 6542629"/>
              <a:gd name="connsiteX55" fmla="*/ 1341052 w 5356303"/>
              <a:gd name="connsiteY55" fmla="*/ 5055324 h 6542629"/>
              <a:gd name="connsiteX56" fmla="*/ 1663682 w 5356303"/>
              <a:gd name="connsiteY56" fmla="*/ 5380456 h 6542629"/>
              <a:gd name="connsiteX57" fmla="*/ 1642867 w 5356303"/>
              <a:gd name="connsiteY57" fmla="*/ 5380456 h 6542629"/>
              <a:gd name="connsiteX58" fmla="*/ 1364469 w 5356303"/>
              <a:gd name="connsiteY58" fmla="*/ 5380456 h 6542629"/>
              <a:gd name="connsiteX59" fmla="*/ 1338451 w 5356303"/>
              <a:gd name="connsiteY59" fmla="*/ 5357046 h 6542629"/>
              <a:gd name="connsiteX60" fmla="*/ 1341052 w 5356303"/>
              <a:gd name="connsiteY60" fmla="*/ 5055324 h 6542629"/>
              <a:gd name="connsiteX61" fmla="*/ 1021335 w 5356303"/>
              <a:gd name="connsiteY61" fmla="*/ 5047909 h 6542629"/>
              <a:gd name="connsiteX62" fmla="*/ 1325942 w 5356303"/>
              <a:gd name="connsiteY62" fmla="*/ 5047909 h 6542629"/>
              <a:gd name="connsiteX63" fmla="*/ 1005714 w 5356303"/>
              <a:gd name="connsiteY63" fmla="*/ 5366795 h 6542629"/>
              <a:gd name="connsiteX64" fmla="*/ 1005714 w 5356303"/>
              <a:gd name="connsiteY64" fmla="*/ 5268278 h 6542629"/>
              <a:gd name="connsiteX65" fmla="*/ 1005714 w 5356303"/>
              <a:gd name="connsiteY65" fmla="*/ 5066057 h 6542629"/>
              <a:gd name="connsiteX66" fmla="*/ 1021335 w 5356303"/>
              <a:gd name="connsiteY66" fmla="*/ 5047909 h 6542629"/>
              <a:gd name="connsiteX67" fmla="*/ 1995049 w 5356303"/>
              <a:gd name="connsiteY67" fmla="*/ 5047266 h 6542629"/>
              <a:gd name="connsiteX68" fmla="*/ 2006425 w 5356303"/>
              <a:gd name="connsiteY68" fmla="*/ 5050515 h 6542629"/>
              <a:gd name="connsiteX69" fmla="*/ 1676191 w 5356303"/>
              <a:gd name="connsiteY69" fmla="*/ 5378053 h 6542629"/>
              <a:gd name="connsiteX70" fmla="*/ 1676191 w 5356303"/>
              <a:gd name="connsiteY70" fmla="*/ 5047915 h 6542629"/>
              <a:gd name="connsiteX71" fmla="*/ 1985622 w 5356303"/>
              <a:gd name="connsiteY71" fmla="*/ 5047915 h 6542629"/>
              <a:gd name="connsiteX72" fmla="*/ 1995049 w 5356303"/>
              <a:gd name="connsiteY72" fmla="*/ 5047266 h 6542629"/>
              <a:gd name="connsiteX73" fmla="*/ 3362225 w 5356303"/>
              <a:gd name="connsiteY73" fmla="*/ 5047163 h 6542629"/>
              <a:gd name="connsiteX74" fmla="*/ 3361929 w 5356303"/>
              <a:gd name="connsiteY74" fmla="*/ 5047267 h 6542629"/>
              <a:gd name="connsiteX75" fmla="*/ 3373189 w 5356303"/>
              <a:gd name="connsiteY75" fmla="*/ 5047908 h 6542629"/>
              <a:gd name="connsiteX76" fmla="*/ 3656703 w 5356303"/>
              <a:gd name="connsiteY76" fmla="*/ 5047908 h 6542629"/>
              <a:gd name="connsiteX77" fmla="*/ 3680113 w 5356303"/>
              <a:gd name="connsiteY77" fmla="*/ 5066045 h 6542629"/>
              <a:gd name="connsiteX78" fmla="*/ 3680113 w 5356303"/>
              <a:gd name="connsiteY78" fmla="*/ 5358843 h 6542629"/>
              <a:gd name="connsiteX79" fmla="*/ 3674912 w 5356303"/>
              <a:gd name="connsiteY79" fmla="*/ 5371799 h 6542629"/>
              <a:gd name="connsiteX80" fmla="*/ 3469493 w 5356303"/>
              <a:gd name="connsiteY80" fmla="*/ 5167164 h 6542629"/>
              <a:gd name="connsiteX81" fmla="*/ 3674841 w 5356303"/>
              <a:gd name="connsiteY81" fmla="*/ 5372390 h 6542629"/>
              <a:gd name="connsiteX82" fmla="*/ 3675060 w 5356303"/>
              <a:gd name="connsiteY82" fmla="*/ 5372188 h 6542629"/>
              <a:gd name="connsiteX83" fmla="*/ 3680259 w 5356303"/>
              <a:gd name="connsiteY83" fmla="*/ 5359213 h 6542629"/>
              <a:gd name="connsiteX84" fmla="*/ 3680259 w 5356303"/>
              <a:gd name="connsiteY84" fmla="*/ 5065978 h 6542629"/>
              <a:gd name="connsiteX85" fmla="*/ 3656869 w 5356303"/>
              <a:gd name="connsiteY85" fmla="*/ 5047813 h 6542629"/>
              <a:gd name="connsiteX86" fmla="*/ 3373596 w 5356303"/>
              <a:gd name="connsiteY86" fmla="*/ 5047813 h 6542629"/>
              <a:gd name="connsiteX87" fmla="*/ 3362225 w 5356303"/>
              <a:gd name="connsiteY87" fmla="*/ 5047163 h 6542629"/>
              <a:gd name="connsiteX88" fmla="*/ 4680524 w 5356303"/>
              <a:gd name="connsiteY88" fmla="*/ 5040246 h 6542629"/>
              <a:gd name="connsiteX89" fmla="*/ 4672701 w 5356303"/>
              <a:gd name="connsiteY89" fmla="*/ 5047730 h 6542629"/>
              <a:gd name="connsiteX90" fmla="*/ 4662628 w 5356303"/>
              <a:gd name="connsiteY90" fmla="*/ 5047730 h 6542629"/>
              <a:gd name="connsiteX91" fmla="*/ 4371483 w 5356303"/>
              <a:gd name="connsiteY91" fmla="*/ 5047730 h 6542629"/>
              <a:gd name="connsiteX92" fmla="*/ 4355290 w 5356303"/>
              <a:gd name="connsiteY92" fmla="*/ 5043212 h 6542629"/>
              <a:gd name="connsiteX93" fmla="*/ 4355307 w 5356303"/>
              <a:gd name="connsiteY93" fmla="*/ 5043271 h 6542629"/>
              <a:gd name="connsiteX94" fmla="*/ 4371550 w 5356303"/>
              <a:gd name="connsiteY94" fmla="*/ 5047813 h 6542629"/>
              <a:gd name="connsiteX95" fmla="*/ 4662620 w 5356303"/>
              <a:gd name="connsiteY95" fmla="*/ 5047813 h 6542629"/>
              <a:gd name="connsiteX96" fmla="*/ 4672690 w 5356303"/>
              <a:gd name="connsiteY96" fmla="*/ 5047813 h 6542629"/>
              <a:gd name="connsiteX97" fmla="*/ 4680553 w 5356303"/>
              <a:gd name="connsiteY97" fmla="*/ 5040275 h 6542629"/>
              <a:gd name="connsiteX98" fmla="*/ 337840 w 5356303"/>
              <a:gd name="connsiteY98" fmla="*/ 4726340 h 6542629"/>
              <a:gd name="connsiteX99" fmla="*/ 660470 w 5356303"/>
              <a:gd name="connsiteY99" fmla="*/ 5045137 h 6542629"/>
              <a:gd name="connsiteX100" fmla="*/ 642257 w 5356303"/>
              <a:gd name="connsiteY100" fmla="*/ 5045137 h 6542629"/>
              <a:gd name="connsiteX101" fmla="*/ 363859 w 5356303"/>
              <a:gd name="connsiteY101" fmla="*/ 5045137 h 6542629"/>
              <a:gd name="connsiteX102" fmla="*/ 337840 w 5356303"/>
              <a:gd name="connsiteY102" fmla="*/ 5021809 h 6542629"/>
              <a:gd name="connsiteX103" fmla="*/ 337840 w 5356303"/>
              <a:gd name="connsiteY103" fmla="*/ 4739299 h 6542629"/>
              <a:gd name="connsiteX104" fmla="*/ 337840 w 5356303"/>
              <a:gd name="connsiteY104" fmla="*/ 4726340 h 6542629"/>
              <a:gd name="connsiteX105" fmla="*/ 4358344 w 5356303"/>
              <a:gd name="connsiteY105" fmla="*/ 4721064 h 6542629"/>
              <a:gd name="connsiteX106" fmla="*/ 4350758 w 5356303"/>
              <a:gd name="connsiteY106" fmla="*/ 4728952 h 6542629"/>
              <a:gd name="connsiteX107" fmla="*/ 4350758 w 5356303"/>
              <a:gd name="connsiteY107" fmla="*/ 4729356 h 6542629"/>
              <a:gd name="connsiteX108" fmla="*/ 4358485 w 5356303"/>
              <a:gd name="connsiteY108" fmla="*/ 4721336 h 6542629"/>
              <a:gd name="connsiteX109" fmla="*/ 4417880 w 5356303"/>
              <a:gd name="connsiteY109" fmla="*/ 4780046 h 6542629"/>
              <a:gd name="connsiteX110" fmla="*/ 3013657 w 5356303"/>
              <a:gd name="connsiteY110" fmla="*/ 4720519 h 6542629"/>
              <a:gd name="connsiteX111" fmla="*/ 2994165 w 5356303"/>
              <a:gd name="connsiteY111" fmla="*/ 4731223 h 6542629"/>
              <a:gd name="connsiteX112" fmla="*/ 2816256 w 5356303"/>
              <a:gd name="connsiteY112" fmla="*/ 4908870 h 6542629"/>
              <a:gd name="connsiteX113" fmla="*/ 2993845 w 5356303"/>
              <a:gd name="connsiteY113" fmla="*/ 4731878 h 6542629"/>
              <a:gd name="connsiteX114" fmla="*/ 3032838 w 5356303"/>
              <a:gd name="connsiteY114" fmla="*/ 4731878 h 6542629"/>
              <a:gd name="connsiteX115" fmla="*/ 3323981 w 5356303"/>
              <a:gd name="connsiteY115" fmla="*/ 5024635 h 6542629"/>
              <a:gd name="connsiteX116" fmla="*/ 3347377 w 5356303"/>
              <a:gd name="connsiteY116" fmla="*/ 5042770 h 6542629"/>
              <a:gd name="connsiteX117" fmla="*/ 3347377 w 5356303"/>
              <a:gd name="connsiteY117" fmla="*/ 5052920 h 6542629"/>
              <a:gd name="connsiteX118" fmla="*/ 3347608 w 5356303"/>
              <a:gd name="connsiteY118" fmla="*/ 5052805 h 6542629"/>
              <a:gd name="connsiteX119" fmla="*/ 3347608 w 5356303"/>
              <a:gd name="connsiteY119" fmla="*/ 5042624 h 6542629"/>
              <a:gd name="connsiteX120" fmla="*/ 3347476 w 5356303"/>
              <a:gd name="connsiteY120" fmla="*/ 5042539 h 6542629"/>
              <a:gd name="connsiteX121" fmla="*/ 3347377 w 5356303"/>
              <a:gd name="connsiteY121" fmla="*/ 5042475 h 6542629"/>
              <a:gd name="connsiteX122" fmla="*/ 3334939 w 5356303"/>
              <a:gd name="connsiteY122" fmla="*/ 5034513 h 6542629"/>
              <a:gd name="connsiteX123" fmla="*/ 3324218 w 5356303"/>
              <a:gd name="connsiteY123" fmla="*/ 5024458 h 6542629"/>
              <a:gd name="connsiteX124" fmla="*/ 3033148 w 5356303"/>
              <a:gd name="connsiteY124" fmla="*/ 4731223 h 6542629"/>
              <a:gd name="connsiteX125" fmla="*/ 3013657 w 5356303"/>
              <a:gd name="connsiteY125" fmla="*/ 4720519 h 6542629"/>
              <a:gd name="connsiteX126" fmla="*/ 2501 w 5356303"/>
              <a:gd name="connsiteY126" fmla="*/ 4716333 h 6542629"/>
              <a:gd name="connsiteX127" fmla="*/ 327733 w 5356303"/>
              <a:gd name="connsiteY127" fmla="*/ 4716333 h 6542629"/>
              <a:gd name="connsiteX128" fmla="*/ 319927 w 5356303"/>
              <a:gd name="connsiteY128" fmla="*/ 4729289 h 6542629"/>
              <a:gd name="connsiteX129" fmla="*/ 15511 w 5356303"/>
              <a:gd name="connsiteY129" fmla="*/ 5032451 h 6542629"/>
              <a:gd name="connsiteX130" fmla="*/ 2501 w 5356303"/>
              <a:gd name="connsiteY130" fmla="*/ 5042814 h 6542629"/>
              <a:gd name="connsiteX131" fmla="*/ 2008927 w 5356303"/>
              <a:gd name="connsiteY131" fmla="*/ 4713261 h 6542629"/>
              <a:gd name="connsiteX132" fmla="*/ 2008927 w 5356303"/>
              <a:gd name="connsiteY132" fmla="*/ 5040703 h 6542629"/>
              <a:gd name="connsiteX133" fmla="*/ 2024514 w 5356303"/>
              <a:gd name="connsiteY133" fmla="*/ 5030320 h 6542629"/>
              <a:gd name="connsiteX134" fmla="*/ 2312892 w 5356303"/>
              <a:gd name="connsiteY134" fmla="*/ 4744791 h 6542629"/>
              <a:gd name="connsiteX135" fmla="*/ 2336274 w 5356303"/>
              <a:gd name="connsiteY135" fmla="*/ 4718834 h 6542629"/>
              <a:gd name="connsiteX136" fmla="*/ 2344069 w 5356303"/>
              <a:gd name="connsiteY136" fmla="*/ 4742196 h 6542629"/>
              <a:gd name="connsiteX137" fmla="*/ 2341471 w 5356303"/>
              <a:gd name="connsiteY137" fmla="*/ 5354784 h 6542629"/>
              <a:gd name="connsiteX138" fmla="*/ 2342750 w 5356303"/>
              <a:gd name="connsiteY138" fmla="*/ 5365965 h 6542629"/>
              <a:gd name="connsiteX139" fmla="*/ 2343156 w 5356303"/>
              <a:gd name="connsiteY139" fmla="*/ 5365377 h 6542629"/>
              <a:gd name="connsiteX140" fmla="*/ 2341856 w 5356303"/>
              <a:gd name="connsiteY140" fmla="*/ 5354023 h 6542629"/>
              <a:gd name="connsiteX141" fmla="*/ 2344455 w 5356303"/>
              <a:gd name="connsiteY141" fmla="*/ 4741603 h 6542629"/>
              <a:gd name="connsiteX142" fmla="*/ 2344455 w 5356303"/>
              <a:gd name="connsiteY142" fmla="*/ 4728952 h 6542629"/>
              <a:gd name="connsiteX143" fmla="*/ 2336679 w 5356303"/>
              <a:gd name="connsiteY143" fmla="*/ 4718275 h 6542629"/>
              <a:gd name="connsiteX144" fmla="*/ 2336466 w 5356303"/>
              <a:gd name="connsiteY144" fmla="*/ 4718466 h 6542629"/>
              <a:gd name="connsiteX145" fmla="*/ 2313076 w 5356303"/>
              <a:gd name="connsiteY145" fmla="*/ 4744413 h 6542629"/>
              <a:gd name="connsiteX146" fmla="*/ 2024616 w 5356303"/>
              <a:gd name="connsiteY146" fmla="*/ 5029841 h 6542629"/>
              <a:gd name="connsiteX147" fmla="*/ 2009023 w 5356303"/>
              <a:gd name="connsiteY147" fmla="*/ 5040220 h 6542629"/>
              <a:gd name="connsiteX148" fmla="*/ 2009023 w 5356303"/>
              <a:gd name="connsiteY148" fmla="*/ 4713276 h 6542629"/>
              <a:gd name="connsiteX149" fmla="*/ 2009023 w 5356303"/>
              <a:gd name="connsiteY149" fmla="*/ 4713261 h 6542629"/>
              <a:gd name="connsiteX150" fmla="*/ 3672425 w 5356303"/>
              <a:gd name="connsiteY150" fmla="*/ 4713058 h 6542629"/>
              <a:gd name="connsiteX151" fmla="*/ 3670559 w 5356303"/>
              <a:gd name="connsiteY151" fmla="*/ 4723631 h 6542629"/>
              <a:gd name="connsiteX152" fmla="*/ 3664709 w 5356303"/>
              <a:gd name="connsiteY152" fmla="*/ 4730782 h 6542629"/>
              <a:gd name="connsiteX153" fmla="*/ 3394960 w 5356303"/>
              <a:gd name="connsiteY153" fmla="*/ 5000531 h 6542629"/>
              <a:gd name="connsiteX154" fmla="*/ 3664666 w 5356303"/>
              <a:gd name="connsiteY154" fmla="*/ 4731223 h 6542629"/>
              <a:gd name="connsiteX155" fmla="*/ 3672462 w 5356303"/>
              <a:gd name="connsiteY155" fmla="*/ 4713058 h 6542629"/>
              <a:gd name="connsiteX156" fmla="*/ 5036473 w 5356303"/>
              <a:gd name="connsiteY156" fmla="*/ 4712581 h 6542629"/>
              <a:gd name="connsiteX157" fmla="*/ 5345998 w 5356303"/>
              <a:gd name="connsiteY157" fmla="*/ 4712581 h 6542629"/>
              <a:gd name="connsiteX158" fmla="*/ 5353802 w 5356303"/>
              <a:gd name="connsiteY158" fmla="*/ 4715180 h 6542629"/>
              <a:gd name="connsiteX159" fmla="*/ 5353802 w 5356303"/>
              <a:gd name="connsiteY159" fmla="*/ 5042814 h 6542629"/>
              <a:gd name="connsiteX160" fmla="*/ 5345998 w 5356303"/>
              <a:gd name="connsiteY160" fmla="*/ 5037614 h 6542629"/>
              <a:gd name="connsiteX161" fmla="*/ 5026069 w 5356303"/>
              <a:gd name="connsiteY161" fmla="*/ 4720381 h 6542629"/>
              <a:gd name="connsiteX162" fmla="*/ 5036473 w 5356303"/>
              <a:gd name="connsiteY162" fmla="*/ 4712581 h 6542629"/>
              <a:gd name="connsiteX163" fmla="*/ 4685790 w 5356303"/>
              <a:gd name="connsiteY163" fmla="*/ 4710570 h 6542629"/>
              <a:gd name="connsiteX164" fmla="*/ 4672690 w 5356303"/>
              <a:gd name="connsiteY164" fmla="*/ 4716950 h 6542629"/>
              <a:gd name="connsiteX165" fmla="*/ 4657422 w 5356303"/>
              <a:gd name="connsiteY165" fmla="*/ 4715653 h 6542629"/>
              <a:gd name="connsiteX166" fmla="*/ 4387143 w 5356303"/>
              <a:gd name="connsiteY166" fmla="*/ 4715653 h 6542629"/>
              <a:gd name="connsiteX167" fmla="*/ 4358555 w 5356303"/>
              <a:gd name="connsiteY167" fmla="*/ 4720843 h 6542629"/>
              <a:gd name="connsiteX168" fmla="*/ 4358375 w 5356303"/>
              <a:gd name="connsiteY168" fmla="*/ 4721031 h 6542629"/>
              <a:gd name="connsiteX169" fmla="*/ 4373597 w 5356303"/>
              <a:gd name="connsiteY169" fmla="*/ 4715532 h 6542629"/>
              <a:gd name="connsiteX170" fmla="*/ 4386915 w 5356303"/>
              <a:gd name="connsiteY170" fmla="*/ 4715856 h 6542629"/>
              <a:gd name="connsiteX171" fmla="*/ 4657201 w 5356303"/>
              <a:gd name="connsiteY171" fmla="*/ 4715856 h 6542629"/>
              <a:gd name="connsiteX172" fmla="*/ 4685790 w 5356303"/>
              <a:gd name="connsiteY172" fmla="*/ 4710664 h 6542629"/>
              <a:gd name="connsiteX173" fmla="*/ 4685790 w 5356303"/>
              <a:gd name="connsiteY173" fmla="*/ 4709991 h 6542629"/>
              <a:gd name="connsiteX174" fmla="*/ 4368499 w 5356303"/>
              <a:gd name="connsiteY174" fmla="*/ 4712581 h 6542629"/>
              <a:gd name="connsiteX175" fmla="*/ 4361594 w 5356303"/>
              <a:gd name="connsiteY175" fmla="*/ 4711642 h 6542629"/>
              <a:gd name="connsiteX176" fmla="*/ 4361804 w 5356303"/>
              <a:gd name="connsiteY176" fmla="*/ 4712084 h 6542629"/>
              <a:gd name="connsiteX177" fmla="*/ 4368952 w 5356303"/>
              <a:gd name="connsiteY177" fmla="*/ 4713058 h 6542629"/>
              <a:gd name="connsiteX178" fmla="*/ 4685790 w 5356303"/>
              <a:gd name="connsiteY178" fmla="*/ 4710465 h 6542629"/>
              <a:gd name="connsiteX179" fmla="*/ 1008216 w 5356303"/>
              <a:gd name="connsiteY179" fmla="*/ 4407363 h 6542629"/>
              <a:gd name="connsiteX180" fmla="*/ 1013220 w 5356303"/>
              <a:gd name="connsiteY180" fmla="*/ 4425460 h 6542629"/>
              <a:gd name="connsiteX181" fmla="*/ 1013220 w 5356303"/>
              <a:gd name="connsiteY181" fmla="*/ 4658125 h 6542629"/>
              <a:gd name="connsiteX182" fmla="*/ 1008216 w 5356303"/>
              <a:gd name="connsiteY182" fmla="*/ 4678807 h 6542629"/>
              <a:gd name="connsiteX183" fmla="*/ 1008216 w 5356303"/>
              <a:gd name="connsiteY183" fmla="*/ 4407363 h 6542629"/>
              <a:gd name="connsiteX184" fmla="*/ 1984249 w 5356303"/>
              <a:gd name="connsiteY184" fmla="*/ 4405699 h 6542629"/>
              <a:gd name="connsiteX185" fmla="*/ 1699773 w 5356303"/>
              <a:gd name="connsiteY185" fmla="*/ 4686937 h 6542629"/>
              <a:gd name="connsiteX186" fmla="*/ 1678984 w 5356303"/>
              <a:gd name="connsiteY186" fmla="*/ 4705075 h 6542629"/>
              <a:gd name="connsiteX187" fmla="*/ 1673603 w 5356303"/>
              <a:gd name="connsiteY187" fmla="*/ 4695924 h 6542629"/>
              <a:gd name="connsiteX188" fmla="*/ 1673600 w 5356303"/>
              <a:gd name="connsiteY188" fmla="*/ 4696063 h 6542629"/>
              <a:gd name="connsiteX189" fmla="*/ 1679121 w 5356303"/>
              <a:gd name="connsiteY189" fmla="*/ 4705473 h 6542629"/>
              <a:gd name="connsiteX190" fmla="*/ 1699911 w 5356303"/>
              <a:gd name="connsiteY190" fmla="*/ 4687304 h 6542629"/>
              <a:gd name="connsiteX191" fmla="*/ 1330903 w 5356303"/>
              <a:gd name="connsiteY191" fmla="*/ 4386209 h 6542629"/>
              <a:gd name="connsiteX192" fmla="*/ 1330816 w 5356303"/>
              <a:gd name="connsiteY192" fmla="*/ 4386325 h 6542629"/>
              <a:gd name="connsiteX193" fmla="*/ 1340725 w 5356303"/>
              <a:gd name="connsiteY193" fmla="*/ 4400048 h 6542629"/>
              <a:gd name="connsiteX194" fmla="*/ 1341050 w 5356303"/>
              <a:gd name="connsiteY194" fmla="*/ 4412051 h 6542629"/>
              <a:gd name="connsiteX195" fmla="*/ 1338451 w 5356303"/>
              <a:gd name="connsiteY195" fmla="*/ 4681968 h 6542629"/>
              <a:gd name="connsiteX196" fmla="*/ 1338829 w 5356303"/>
              <a:gd name="connsiteY196" fmla="*/ 4683307 h 6542629"/>
              <a:gd name="connsiteX197" fmla="*/ 1340242 w 5356303"/>
              <a:gd name="connsiteY197" fmla="*/ 4696430 h 6542629"/>
              <a:gd name="connsiteX198" fmla="*/ 1344787 w 5356303"/>
              <a:gd name="connsiteY198" fmla="*/ 4704431 h 6542629"/>
              <a:gd name="connsiteX199" fmla="*/ 1344949 w 5356303"/>
              <a:gd name="connsiteY199" fmla="*/ 4705002 h 6542629"/>
              <a:gd name="connsiteX200" fmla="*/ 1345139 w 5356303"/>
              <a:gd name="connsiteY200" fmla="*/ 4705049 h 6542629"/>
              <a:gd name="connsiteX201" fmla="*/ 1344787 w 5356303"/>
              <a:gd name="connsiteY201" fmla="*/ 4704431 h 6542629"/>
              <a:gd name="connsiteX202" fmla="*/ 1338829 w 5356303"/>
              <a:gd name="connsiteY202" fmla="*/ 4683307 h 6542629"/>
              <a:gd name="connsiteX203" fmla="*/ 1338700 w 5356303"/>
              <a:gd name="connsiteY203" fmla="*/ 4682113 h 6542629"/>
              <a:gd name="connsiteX204" fmla="*/ 1341299 w 5356303"/>
              <a:gd name="connsiteY204" fmla="*/ 4412165 h 6542629"/>
              <a:gd name="connsiteX205" fmla="*/ 1330903 w 5356303"/>
              <a:gd name="connsiteY205" fmla="*/ 4386209 h 6542629"/>
              <a:gd name="connsiteX206" fmla="*/ 4677992 w 5356303"/>
              <a:gd name="connsiteY206" fmla="*/ 4383612 h 6542629"/>
              <a:gd name="connsiteX207" fmla="*/ 4672321 w 5356303"/>
              <a:gd name="connsiteY207" fmla="*/ 4389323 h 6542629"/>
              <a:gd name="connsiteX208" fmla="*/ 4678004 w 5356303"/>
              <a:gd name="connsiteY208" fmla="*/ 4383616 h 6542629"/>
              <a:gd name="connsiteX209" fmla="*/ 4677992 w 5356303"/>
              <a:gd name="connsiteY209" fmla="*/ 4383612 h 6542629"/>
              <a:gd name="connsiteX210" fmla="*/ 2019187 w 5356303"/>
              <a:gd name="connsiteY210" fmla="*/ 4372602 h 6542629"/>
              <a:gd name="connsiteX211" fmla="*/ 2006549 w 5356303"/>
              <a:gd name="connsiteY211" fmla="*/ 4381017 h 6542629"/>
              <a:gd name="connsiteX212" fmla="*/ 1697312 w 5356303"/>
              <a:gd name="connsiteY212" fmla="*/ 4378420 h 6542629"/>
              <a:gd name="connsiteX213" fmla="*/ 1678796 w 5356303"/>
              <a:gd name="connsiteY213" fmla="*/ 4383289 h 6542629"/>
              <a:gd name="connsiteX214" fmla="*/ 1678760 w 5356303"/>
              <a:gd name="connsiteY214" fmla="*/ 4383425 h 6542629"/>
              <a:gd name="connsiteX215" fmla="*/ 1697174 w 5356303"/>
              <a:gd name="connsiteY215" fmla="*/ 4378594 h 6542629"/>
              <a:gd name="connsiteX216" fmla="*/ 2006425 w 5356303"/>
              <a:gd name="connsiteY216" fmla="*/ 4381184 h 6542629"/>
              <a:gd name="connsiteX217" fmla="*/ 2006425 w 5356303"/>
              <a:gd name="connsiteY217" fmla="*/ 4381142 h 6542629"/>
              <a:gd name="connsiteX218" fmla="*/ 2019094 w 5356303"/>
              <a:gd name="connsiteY218" fmla="*/ 4372710 h 6542629"/>
              <a:gd name="connsiteX219" fmla="*/ 2019187 w 5356303"/>
              <a:gd name="connsiteY219" fmla="*/ 4372602 h 6542629"/>
              <a:gd name="connsiteX220" fmla="*/ 1663458 w 5356303"/>
              <a:gd name="connsiteY220" fmla="*/ 4043026 h 6542629"/>
              <a:gd name="connsiteX221" fmla="*/ 1652758 w 5356303"/>
              <a:gd name="connsiteY221" fmla="*/ 4049480 h 6542629"/>
              <a:gd name="connsiteX222" fmla="*/ 1640082 w 5356303"/>
              <a:gd name="connsiteY222" fmla="*/ 4048186 h 6542629"/>
              <a:gd name="connsiteX223" fmla="*/ 1367054 w 5356303"/>
              <a:gd name="connsiteY223" fmla="*/ 4048186 h 6542629"/>
              <a:gd name="connsiteX224" fmla="*/ 1344076 w 5356303"/>
              <a:gd name="connsiteY224" fmla="*/ 4043032 h 6542629"/>
              <a:gd name="connsiteX225" fmla="*/ 1344222 w 5356303"/>
              <a:gd name="connsiteY225" fmla="*/ 4043582 h 6542629"/>
              <a:gd name="connsiteX226" fmla="*/ 1367284 w 5356303"/>
              <a:gd name="connsiteY226" fmla="*/ 4048772 h 6542629"/>
              <a:gd name="connsiteX227" fmla="*/ 1640142 w 5356303"/>
              <a:gd name="connsiteY227" fmla="*/ 4048772 h 6542629"/>
              <a:gd name="connsiteX228" fmla="*/ 1663530 w 5356303"/>
              <a:gd name="connsiteY228" fmla="*/ 4043582 h 6542629"/>
              <a:gd name="connsiteX229" fmla="*/ 1663458 w 5356303"/>
              <a:gd name="connsiteY229" fmla="*/ 4043026 h 6542629"/>
              <a:gd name="connsiteX230" fmla="*/ 3035654 w 5356303"/>
              <a:gd name="connsiteY230" fmla="*/ 4025527 h 6542629"/>
              <a:gd name="connsiteX231" fmla="*/ 3035527 w 5356303"/>
              <a:gd name="connsiteY231" fmla="*/ 4025654 h 6542629"/>
              <a:gd name="connsiteX232" fmla="*/ 3032929 w 5356303"/>
              <a:gd name="connsiteY232" fmla="*/ 4072361 h 6542629"/>
              <a:gd name="connsiteX233" fmla="*/ 3329186 w 5356303"/>
              <a:gd name="connsiteY233" fmla="*/ 4365573 h 6542629"/>
              <a:gd name="connsiteX234" fmla="*/ 3339905 w 5356303"/>
              <a:gd name="connsiteY234" fmla="*/ 4381142 h 6542629"/>
              <a:gd name="connsiteX235" fmla="*/ 3329221 w 5356303"/>
              <a:gd name="connsiteY235" fmla="*/ 4396660 h 6542629"/>
              <a:gd name="connsiteX236" fmla="*/ 3329415 w 5356303"/>
              <a:gd name="connsiteY236" fmla="*/ 4396468 h 6542629"/>
              <a:gd name="connsiteX237" fmla="*/ 3329415 w 5356303"/>
              <a:gd name="connsiteY237" fmla="*/ 4365328 h 6542629"/>
              <a:gd name="connsiteX238" fmla="*/ 3033148 w 5356303"/>
              <a:gd name="connsiteY238" fmla="*/ 4072092 h 6542629"/>
              <a:gd name="connsiteX239" fmla="*/ 3020803 w 5356303"/>
              <a:gd name="connsiteY239" fmla="*/ 4048736 h 6542629"/>
              <a:gd name="connsiteX240" fmla="*/ 2666255 w 5356303"/>
              <a:gd name="connsiteY240" fmla="*/ 3729203 h 6542629"/>
              <a:gd name="connsiteX241" fmla="*/ 2653611 w 5356303"/>
              <a:gd name="connsiteY241" fmla="*/ 3739889 h 6542629"/>
              <a:gd name="connsiteX242" fmla="*/ 2310589 w 5356303"/>
              <a:gd name="connsiteY242" fmla="*/ 4082516 h 6542629"/>
              <a:gd name="connsiteX243" fmla="*/ 2029936 w 5356303"/>
              <a:gd name="connsiteY243" fmla="*/ 4360251 h 6542629"/>
              <a:gd name="connsiteX244" fmla="*/ 2029877 w 5356303"/>
              <a:gd name="connsiteY244" fmla="*/ 4360321 h 6542629"/>
              <a:gd name="connsiteX245" fmla="*/ 2310478 w 5356303"/>
              <a:gd name="connsiteY245" fmla="*/ 4082740 h 6542629"/>
              <a:gd name="connsiteX246" fmla="*/ 2653513 w 5356303"/>
              <a:gd name="connsiteY246" fmla="*/ 3740227 h 6542629"/>
              <a:gd name="connsiteX247" fmla="*/ 2666181 w 5356303"/>
              <a:gd name="connsiteY247" fmla="*/ 3729523 h 6542629"/>
              <a:gd name="connsiteX248" fmla="*/ 2666255 w 5356303"/>
              <a:gd name="connsiteY248" fmla="*/ 3729203 h 6542629"/>
              <a:gd name="connsiteX249" fmla="*/ 3347377 w 5356303"/>
              <a:gd name="connsiteY249" fmla="*/ 3711339 h 6542629"/>
              <a:gd name="connsiteX250" fmla="*/ 3347377 w 5356303"/>
              <a:gd name="connsiteY250" fmla="*/ 3711619 h 6542629"/>
              <a:gd name="connsiteX251" fmla="*/ 3347608 w 5356303"/>
              <a:gd name="connsiteY251" fmla="*/ 3711387 h 6542629"/>
              <a:gd name="connsiteX252" fmla="*/ 3352551 w 5356303"/>
              <a:gd name="connsiteY252" fmla="*/ 3711387 h 6542629"/>
              <a:gd name="connsiteX253" fmla="*/ 3352515 w 5356303"/>
              <a:gd name="connsiteY253" fmla="*/ 3711339 h 6542629"/>
              <a:gd name="connsiteX254" fmla="*/ 2340081 w 5356303"/>
              <a:gd name="connsiteY254" fmla="*/ 3368844 h 6542629"/>
              <a:gd name="connsiteX255" fmla="*/ 2328334 w 5356303"/>
              <a:gd name="connsiteY255" fmla="*/ 3391266 h 6542629"/>
              <a:gd name="connsiteX256" fmla="*/ 2307991 w 5356303"/>
              <a:gd name="connsiteY256" fmla="*/ 3412842 h 6542629"/>
              <a:gd name="connsiteX257" fmla="*/ 2035135 w 5356303"/>
              <a:gd name="connsiteY257" fmla="*/ 3685381 h 6542629"/>
              <a:gd name="connsiteX258" fmla="*/ 2023440 w 5356303"/>
              <a:gd name="connsiteY258" fmla="*/ 3695439 h 6542629"/>
              <a:gd name="connsiteX259" fmla="*/ 2023364 w 5356303"/>
              <a:gd name="connsiteY259" fmla="*/ 3695751 h 6542629"/>
              <a:gd name="connsiteX260" fmla="*/ 2035011 w 5356303"/>
              <a:gd name="connsiteY260" fmla="*/ 3685737 h 6542629"/>
              <a:gd name="connsiteX261" fmla="*/ 2307880 w 5356303"/>
              <a:gd name="connsiteY261" fmla="*/ 3413286 h 6542629"/>
              <a:gd name="connsiteX262" fmla="*/ 2340038 w 5356303"/>
              <a:gd name="connsiteY262" fmla="*/ 3369174 h 6542629"/>
              <a:gd name="connsiteX263" fmla="*/ 2340081 w 5356303"/>
              <a:gd name="connsiteY263" fmla="*/ 3368844 h 6542629"/>
              <a:gd name="connsiteX264" fmla="*/ 4006522 w 5356303"/>
              <a:gd name="connsiteY264" fmla="*/ 3057709 h 6542629"/>
              <a:gd name="connsiteX265" fmla="*/ 3999941 w 5356303"/>
              <a:gd name="connsiteY265" fmla="*/ 3062094 h 6542629"/>
              <a:gd name="connsiteX266" fmla="*/ 3953106 w 5356303"/>
              <a:gd name="connsiteY266" fmla="*/ 3111484 h 6542629"/>
              <a:gd name="connsiteX267" fmla="*/ 3794801 w 5356303"/>
              <a:gd name="connsiteY267" fmla="*/ 3269646 h 6542629"/>
              <a:gd name="connsiteX268" fmla="*/ 3952900 w 5356303"/>
              <a:gd name="connsiteY268" fmla="*/ 3111745 h 6542629"/>
              <a:gd name="connsiteX269" fmla="*/ 3999681 w 5356303"/>
              <a:gd name="connsiteY269" fmla="*/ 3062428 h 6542629"/>
              <a:gd name="connsiteX270" fmla="*/ 4006503 w 5356303"/>
              <a:gd name="connsiteY270" fmla="*/ 3057886 h 6542629"/>
              <a:gd name="connsiteX271" fmla="*/ 4006522 w 5356303"/>
              <a:gd name="connsiteY271" fmla="*/ 3057709 h 6542629"/>
              <a:gd name="connsiteX272" fmla="*/ 4015273 w 5356303"/>
              <a:gd name="connsiteY272" fmla="*/ 3057236 h 6542629"/>
              <a:gd name="connsiteX273" fmla="*/ 4015273 w 5356303"/>
              <a:gd name="connsiteY273" fmla="*/ 3376502 h 6542629"/>
              <a:gd name="connsiteX274" fmla="*/ 3981488 w 5356303"/>
              <a:gd name="connsiteY274" fmla="*/ 3376502 h 6542629"/>
              <a:gd name="connsiteX275" fmla="*/ 3687849 w 5356303"/>
              <a:gd name="connsiteY275" fmla="*/ 3376502 h 6542629"/>
              <a:gd name="connsiteX276" fmla="*/ 3687719 w 5356303"/>
              <a:gd name="connsiteY276" fmla="*/ 3376633 h 6542629"/>
              <a:gd name="connsiteX277" fmla="*/ 3685149 w 5356303"/>
              <a:gd name="connsiteY277" fmla="*/ 3376633 h 6542629"/>
              <a:gd name="connsiteX278" fmla="*/ 3677512 w 5356303"/>
              <a:gd name="connsiteY278" fmla="*/ 3391888 h 6542629"/>
              <a:gd name="connsiteX279" fmla="*/ 3677512 w 5356303"/>
              <a:gd name="connsiteY279" fmla="*/ 3409828 h 6542629"/>
              <a:gd name="connsiteX280" fmla="*/ 3680113 w 5356303"/>
              <a:gd name="connsiteY280" fmla="*/ 4017666 h 6542629"/>
              <a:gd name="connsiteX281" fmla="*/ 3677529 w 5356303"/>
              <a:gd name="connsiteY281" fmla="*/ 4033152 h 6542629"/>
              <a:gd name="connsiteX282" fmla="*/ 3677660 w 5356303"/>
              <a:gd name="connsiteY282" fmla="*/ 4033167 h 6542629"/>
              <a:gd name="connsiteX283" fmla="*/ 3680259 w 5356303"/>
              <a:gd name="connsiteY283" fmla="*/ 4017597 h 6542629"/>
              <a:gd name="connsiteX284" fmla="*/ 3677660 w 5356303"/>
              <a:gd name="connsiteY284" fmla="*/ 3410371 h 6542629"/>
              <a:gd name="connsiteX285" fmla="*/ 3677660 w 5356303"/>
              <a:gd name="connsiteY285" fmla="*/ 3392206 h 6542629"/>
              <a:gd name="connsiteX286" fmla="*/ 3685456 w 5356303"/>
              <a:gd name="connsiteY286" fmla="*/ 3376636 h 6542629"/>
              <a:gd name="connsiteX287" fmla="*/ 3688055 w 5356303"/>
              <a:gd name="connsiteY287" fmla="*/ 3376636 h 6542629"/>
              <a:gd name="connsiteX288" fmla="*/ 3981723 w 5356303"/>
              <a:gd name="connsiteY288" fmla="*/ 3376636 h 6542629"/>
              <a:gd name="connsiteX289" fmla="*/ 4015351 w 5356303"/>
              <a:gd name="connsiteY289" fmla="*/ 3376636 h 6542629"/>
              <a:gd name="connsiteX290" fmla="*/ 4015351 w 5356303"/>
              <a:gd name="connsiteY290" fmla="*/ 3376542 h 6542629"/>
              <a:gd name="connsiteX291" fmla="*/ 4015351 w 5356303"/>
              <a:gd name="connsiteY291" fmla="*/ 3057656 h 6542629"/>
              <a:gd name="connsiteX292" fmla="*/ 4164049 w 5356303"/>
              <a:gd name="connsiteY292" fmla="*/ 3204639 h 6542629"/>
              <a:gd name="connsiteX293" fmla="*/ 1320835 w 5356303"/>
              <a:gd name="connsiteY293" fmla="*/ 3044582 h 6542629"/>
              <a:gd name="connsiteX294" fmla="*/ 1320824 w 5356303"/>
              <a:gd name="connsiteY294" fmla="*/ 3044585 h 6542629"/>
              <a:gd name="connsiteX295" fmla="*/ 1320841 w 5356303"/>
              <a:gd name="connsiteY295" fmla="*/ 3044587 h 6542629"/>
              <a:gd name="connsiteX296" fmla="*/ 1330355 w 5356303"/>
              <a:gd name="connsiteY296" fmla="*/ 3051639 h 6542629"/>
              <a:gd name="connsiteX297" fmla="*/ 1330558 w 5356303"/>
              <a:gd name="connsiteY297" fmla="*/ 3051984 h 6542629"/>
              <a:gd name="connsiteX298" fmla="*/ 1314965 w 5356303"/>
              <a:gd name="connsiteY298" fmla="*/ 3070151 h 6542629"/>
              <a:gd name="connsiteX299" fmla="*/ 1247398 w 5356303"/>
              <a:gd name="connsiteY299" fmla="*/ 3137633 h 6542629"/>
              <a:gd name="connsiteX300" fmla="*/ 1190225 w 5356303"/>
              <a:gd name="connsiteY300" fmla="*/ 3194731 h 6542629"/>
              <a:gd name="connsiteX301" fmla="*/ 1039498 w 5356303"/>
              <a:gd name="connsiteY301" fmla="*/ 3342672 h 6542629"/>
              <a:gd name="connsiteX302" fmla="*/ 1005714 w 5356303"/>
              <a:gd name="connsiteY302" fmla="*/ 3376412 h 6542629"/>
              <a:gd name="connsiteX303" fmla="*/ 1006174 w 5356303"/>
              <a:gd name="connsiteY303" fmla="*/ 3376412 h 6542629"/>
              <a:gd name="connsiteX304" fmla="*/ 1025888 w 5356303"/>
              <a:gd name="connsiteY304" fmla="*/ 3358658 h 6542629"/>
              <a:gd name="connsiteX305" fmla="*/ 1039856 w 5356303"/>
              <a:gd name="connsiteY305" fmla="*/ 3342759 h 6542629"/>
              <a:gd name="connsiteX306" fmla="*/ 1190577 w 5356303"/>
              <a:gd name="connsiteY306" fmla="*/ 3194807 h 6542629"/>
              <a:gd name="connsiteX307" fmla="*/ 1247748 w 5356303"/>
              <a:gd name="connsiteY307" fmla="*/ 3137703 h 6542629"/>
              <a:gd name="connsiteX308" fmla="*/ 1315312 w 5356303"/>
              <a:gd name="connsiteY308" fmla="*/ 3070214 h 6542629"/>
              <a:gd name="connsiteX309" fmla="*/ 1330903 w 5356303"/>
              <a:gd name="connsiteY309" fmla="*/ 3052046 h 6542629"/>
              <a:gd name="connsiteX310" fmla="*/ 1330355 w 5356303"/>
              <a:gd name="connsiteY310" fmla="*/ 3051639 h 6542629"/>
              <a:gd name="connsiteX311" fmla="*/ 1326862 w 5356303"/>
              <a:gd name="connsiteY311" fmla="*/ 3045698 h 6542629"/>
              <a:gd name="connsiteX312" fmla="*/ 1320841 w 5356303"/>
              <a:gd name="connsiteY312" fmla="*/ 3044587 h 6542629"/>
              <a:gd name="connsiteX313" fmla="*/ 1320835 w 5356303"/>
              <a:gd name="connsiteY313" fmla="*/ 3044582 h 6542629"/>
              <a:gd name="connsiteX314" fmla="*/ 3010135 w 5356303"/>
              <a:gd name="connsiteY314" fmla="*/ 3028990 h 6542629"/>
              <a:gd name="connsiteX315" fmla="*/ 3010149 w 5356303"/>
              <a:gd name="connsiteY315" fmla="*/ 3029499 h 6542629"/>
              <a:gd name="connsiteX316" fmla="*/ 3010609 w 5356303"/>
              <a:gd name="connsiteY316" fmla="*/ 3030190 h 6542629"/>
              <a:gd name="connsiteX317" fmla="*/ 3014374 w 5356303"/>
              <a:gd name="connsiteY317" fmla="*/ 3039718 h 6542629"/>
              <a:gd name="connsiteX318" fmla="*/ 3017694 w 5356303"/>
              <a:gd name="connsiteY318" fmla="*/ 3040856 h 6542629"/>
              <a:gd name="connsiteX319" fmla="*/ 3019058 w 5356303"/>
              <a:gd name="connsiteY319" fmla="*/ 3042909 h 6542629"/>
              <a:gd name="connsiteX320" fmla="*/ 3048521 w 5356303"/>
              <a:gd name="connsiteY320" fmla="*/ 3044825 h 6542629"/>
              <a:gd name="connsiteX321" fmla="*/ 3321389 w 5356303"/>
              <a:gd name="connsiteY321" fmla="*/ 3044825 h 6542629"/>
              <a:gd name="connsiteX322" fmla="*/ 3342180 w 5356303"/>
              <a:gd name="connsiteY322" fmla="*/ 3051311 h 6542629"/>
              <a:gd name="connsiteX323" fmla="*/ 3347357 w 5356303"/>
              <a:gd name="connsiteY323" fmla="*/ 3073284 h 6542629"/>
              <a:gd name="connsiteX324" fmla="*/ 3347357 w 5356303"/>
              <a:gd name="connsiteY324" fmla="*/ 3072810 h 6542629"/>
              <a:gd name="connsiteX325" fmla="*/ 3321369 w 5356303"/>
              <a:gd name="connsiteY325" fmla="*/ 3044258 h 6542629"/>
              <a:gd name="connsiteX326" fmla="*/ 3048485 w 5356303"/>
              <a:gd name="connsiteY326" fmla="*/ 3044258 h 6542629"/>
              <a:gd name="connsiteX327" fmla="*/ 3025948 w 5356303"/>
              <a:gd name="connsiteY327" fmla="*/ 3043692 h 6542629"/>
              <a:gd name="connsiteX328" fmla="*/ 3017694 w 5356303"/>
              <a:gd name="connsiteY328" fmla="*/ 3040856 h 6542629"/>
              <a:gd name="connsiteX329" fmla="*/ 3010609 w 5356303"/>
              <a:gd name="connsiteY329" fmla="*/ 3030190 h 6542629"/>
              <a:gd name="connsiteX330" fmla="*/ 2278182 w 5356303"/>
              <a:gd name="connsiteY330" fmla="*/ 2773306 h 6542629"/>
              <a:gd name="connsiteX331" fmla="*/ 2035028 w 5356303"/>
              <a:gd name="connsiteY331" fmla="*/ 3018226 h 6542629"/>
              <a:gd name="connsiteX332" fmla="*/ 2027075 w 5356303"/>
              <a:gd name="connsiteY332" fmla="*/ 3025982 h 6542629"/>
              <a:gd name="connsiteX333" fmla="*/ 2023394 w 5356303"/>
              <a:gd name="connsiteY333" fmla="*/ 3029021 h 6542629"/>
              <a:gd name="connsiteX334" fmla="*/ 2014485 w 5356303"/>
              <a:gd name="connsiteY334" fmla="*/ 3031245 h 6542629"/>
              <a:gd name="connsiteX335" fmla="*/ 2014308 w 5356303"/>
              <a:gd name="connsiteY335" fmla="*/ 3031216 h 6542629"/>
              <a:gd name="connsiteX336" fmla="*/ 2014346 w 5356303"/>
              <a:gd name="connsiteY336" fmla="*/ 3031280 h 6542629"/>
              <a:gd name="connsiteX337" fmla="*/ 2014485 w 5356303"/>
              <a:gd name="connsiteY337" fmla="*/ 3031245 h 6542629"/>
              <a:gd name="connsiteX338" fmla="*/ 2019669 w 5356303"/>
              <a:gd name="connsiteY338" fmla="*/ 3032096 h 6542629"/>
              <a:gd name="connsiteX339" fmla="*/ 2023394 w 5356303"/>
              <a:gd name="connsiteY339" fmla="*/ 3029021 h 6542629"/>
              <a:gd name="connsiteX340" fmla="*/ 2024739 w 5356303"/>
              <a:gd name="connsiteY340" fmla="*/ 3028685 h 6542629"/>
              <a:gd name="connsiteX341" fmla="*/ 2035135 w 5356303"/>
              <a:gd name="connsiteY341" fmla="*/ 3018302 h 6542629"/>
              <a:gd name="connsiteX342" fmla="*/ 998278 w 5356303"/>
              <a:gd name="connsiteY342" fmla="*/ 2727588 h 6542629"/>
              <a:gd name="connsiteX343" fmla="*/ 997986 w 5356303"/>
              <a:gd name="connsiteY343" fmla="*/ 2727680 h 6542629"/>
              <a:gd name="connsiteX344" fmla="*/ 1004415 w 5356303"/>
              <a:gd name="connsiteY344" fmla="*/ 2739560 h 6542629"/>
              <a:gd name="connsiteX345" fmla="*/ 1003115 w 5356303"/>
              <a:gd name="connsiteY345" fmla="*/ 2753510 h 6542629"/>
              <a:gd name="connsiteX346" fmla="*/ 1003115 w 5356303"/>
              <a:gd name="connsiteY346" fmla="*/ 3015648 h 6542629"/>
              <a:gd name="connsiteX347" fmla="*/ 1029103 w 5356303"/>
              <a:gd name="connsiteY347" fmla="*/ 3046793 h 6542629"/>
              <a:gd name="connsiteX348" fmla="*/ 1029275 w 5356303"/>
              <a:gd name="connsiteY348" fmla="*/ 3046793 h 6542629"/>
              <a:gd name="connsiteX349" fmla="*/ 1008673 w 5356303"/>
              <a:gd name="connsiteY349" fmla="*/ 3040040 h 6542629"/>
              <a:gd name="connsiteX350" fmla="*/ 1003475 w 5356303"/>
              <a:gd name="connsiteY350" fmla="*/ 3015705 h 6542629"/>
              <a:gd name="connsiteX351" fmla="*/ 1003475 w 5356303"/>
              <a:gd name="connsiteY351" fmla="*/ 2753543 h 6542629"/>
              <a:gd name="connsiteX352" fmla="*/ 998278 w 5356303"/>
              <a:gd name="connsiteY352" fmla="*/ 2727588 h 6542629"/>
              <a:gd name="connsiteX353" fmla="*/ 644613 w 5356303"/>
              <a:gd name="connsiteY353" fmla="*/ 2714610 h 6542629"/>
              <a:gd name="connsiteX354" fmla="*/ 665280 w 5356303"/>
              <a:gd name="connsiteY354" fmla="*/ 2719770 h 6542629"/>
              <a:gd name="connsiteX355" fmla="*/ 670477 w 5356303"/>
              <a:gd name="connsiteY355" fmla="*/ 2740533 h 6542629"/>
              <a:gd name="connsiteX356" fmla="*/ 670477 w 5356303"/>
              <a:gd name="connsiteY356" fmla="*/ 3007863 h 6542629"/>
              <a:gd name="connsiteX357" fmla="*/ 675674 w 5356303"/>
              <a:gd name="connsiteY357" fmla="*/ 3036411 h 6542629"/>
              <a:gd name="connsiteX358" fmla="*/ 676028 w 5356303"/>
              <a:gd name="connsiteY358" fmla="*/ 3036437 h 6542629"/>
              <a:gd name="connsiteX359" fmla="*/ 669551 w 5356303"/>
              <a:gd name="connsiteY359" fmla="*/ 3024143 h 6542629"/>
              <a:gd name="connsiteX360" fmla="*/ 670849 w 5356303"/>
              <a:gd name="connsiteY360" fmla="*/ 3007919 h 6542629"/>
              <a:gd name="connsiteX361" fmla="*/ 670849 w 5356303"/>
              <a:gd name="connsiteY361" fmla="*/ 2740566 h 6542629"/>
              <a:gd name="connsiteX362" fmla="*/ 644864 w 5356303"/>
              <a:gd name="connsiteY362" fmla="*/ 2714610 h 6542629"/>
              <a:gd name="connsiteX363" fmla="*/ 1843583 w 5356303"/>
              <a:gd name="connsiteY363" fmla="*/ 2713595 h 6542629"/>
              <a:gd name="connsiteX364" fmla="*/ 1704967 w 5356303"/>
              <a:gd name="connsiteY364" fmla="*/ 2714568 h 6542629"/>
              <a:gd name="connsiteX365" fmla="*/ 1705107 w 5356303"/>
              <a:gd name="connsiteY365" fmla="*/ 2714610 h 6542629"/>
              <a:gd name="connsiteX366" fmla="*/ 1980563 w 5356303"/>
              <a:gd name="connsiteY366" fmla="*/ 2714610 h 6542629"/>
              <a:gd name="connsiteX367" fmla="*/ 2003505 w 5356303"/>
              <a:gd name="connsiteY367" fmla="*/ 2720097 h 6542629"/>
              <a:gd name="connsiteX368" fmla="*/ 2003499 w 5356303"/>
              <a:gd name="connsiteY368" fmla="*/ 2720086 h 6542629"/>
              <a:gd name="connsiteX369" fmla="*/ 1980423 w 5356303"/>
              <a:gd name="connsiteY369" fmla="*/ 2714570 h 6542629"/>
              <a:gd name="connsiteX370" fmla="*/ 2502717 w 5356303"/>
              <a:gd name="connsiteY370" fmla="*/ 2707472 h 6542629"/>
              <a:gd name="connsiteX371" fmla="*/ 2346783 w 5356303"/>
              <a:gd name="connsiteY371" fmla="*/ 2709419 h 6542629"/>
              <a:gd name="connsiteX372" fmla="*/ 2346970 w 5356303"/>
              <a:gd name="connsiteY372" fmla="*/ 2709419 h 6542629"/>
              <a:gd name="connsiteX373" fmla="*/ 2346970 w 5356303"/>
              <a:gd name="connsiteY373" fmla="*/ 2710094 h 6542629"/>
              <a:gd name="connsiteX374" fmla="*/ 2502786 w 5356303"/>
              <a:gd name="connsiteY374" fmla="*/ 2708149 h 6542629"/>
              <a:gd name="connsiteX375" fmla="*/ 2658710 w 5356303"/>
              <a:gd name="connsiteY375" fmla="*/ 2710094 h 6542629"/>
              <a:gd name="connsiteX376" fmla="*/ 2980953 w 5356303"/>
              <a:gd name="connsiteY376" fmla="*/ 2715285 h 6542629"/>
              <a:gd name="connsiteX377" fmla="*/ 3003072 w 5356303"/>
              <a:gd name="connsiteY377" fmla="*/ 2720358 h 6542629"/>
              <a:gd name="connsiteX378" fmla="*/ 3008454 w 5356303"/>
              <a:gd name="connsiteY378" fmla="*/ 2727553 h 6542629"/>
              <a:gd name="connsiteX379" fmla="*/ 3009424 w 5356303"/>
              <a:gd name="connsiteY379" fmla="*/ 2729445 h 6542629"/>
              <a:gd name="connsiteX380" fmla="*/ 3009420 w 5356303"/>
              <a:gd name="connsiteY380" fmla="*/ 2728845 h 6542629"/>
              <a:gd name="connsiteX381" fmla="*/ 3008454 w 5356303"/>
              <a:gd name="connsiteY381" fmla="*/ 2727553 h 6542629"/>
              <a:gd name="connsiteX382" fmla="*/ 3004992 w 5356303"/>
              <a:gd name="connsiteY382" fmla="*/ 2720798 h 6542629"/>
              <a:gd name="connsiteX383" fmla="*/ 3003072 w 5356303"/>
              <a:gd name="connsiteY383" fmla="*/ 2720358 h 6542629"/>
              <a:gd name="connsiteX384" fmla="*/ 3000923 w 5356303"/>
              <a:gd name="connsiteY384" fmla="*/ 2717484 h 6542629"/>
              <a:gd name="connsiteX385" fmla="*/ 2980914 w 5356303"/>
              <a:gd name="connsiteY385" fmla="*/ 2714610 h 6542629"/>
              <a:gd name="connsiteX386" fmla="*/ 2658650 w 5356303"/>
              <a:gd name="connsiteY386" fmla="*/ 2709419 h 6542629"/>
              <a:gd name="connsiteX387" fmla="*/ 2502717 w 5356303"/>
              <a:gd name="connsiteY387" fmla="*/ 2707472 h 6542629"/>
              <a:gd name="connsiteX388" fmla="*/ 1003213 w 5356303"/>
              <a:gd name="connsiteY388" fmla="*/ 2377175 h 6542629"/>
              <a:gd name="connsiteX389" fmla="*/ 1003213 w 5356303"/>
              <a:gd name="connsiteY389" fmla="*/ 2540066 h 6542629"/>
              <a:gd name="connsiteX390" fmla="*/ 1003213 w 5356303"/>
              <a:gd name="connsiteY390" fmla="*/ 2704010 h 6542629"/>
              <a:gd name="connsiteX391" fmla="*/ 1003475 w 5356303"/>
              <a:gd name="connsiteY391" fmla="*/ 2704228 h 6542629"/>
              <a:gd name="connsiteX392" fmla="*/ 1003475 w 5356303"/>
              <a:gd name="connsiteY392" fmla="*/ 2377175 h 6542629"/>
              <a:gd name="connsiteX393" fmla="*/ 665280 w 5356303"/>
              <a:gd name="connsiteY393" fmla="*/ 2377175 h 6542629"/>
              <a:gd name="connsiteX394" fmla="*/ 623699 w 5356303"/>
              <a:gd name="connsiteY394" fmla="*/ 2423892 h 6542629"/>
              <a:gd name="connsiteX395" fmla="*/ 358627 w 5356303"/>
              <a:gd name="connsiteY395" fmla="*/ 2686029 h 6542629"/>
              <a:gd name="connsiteX396" fmla="*/ 345633 w 5356303"/>
              <a:gd name="connsiteY396" fmla="*/ 2709389 h 6542629"/>
              <a:gd name="connsiteX397" fmla="*/ 356353 w 5356303"/>
              <a:gd name="connsiteY397" fmla="*/ 2715876 h 6542629"/>
              <a:gd name="connsiteX398" fmla="*/ 356641 w 5356303"/>
              <a:gd name="connsiteY398" fmla="*/ 2715847 h 6542629"/>
              <a:gd name="connsiteX399" fmla="*/ 346019 w 5356303"/>
              <a:gd name="connsiteY399" fmla="*/ 2709419 h 6542629"/>
              <a:gd name="connsiteX400" fmla="*/ 359014 w 5356303"/>
              <a:gd name="connsiteY400" fmla="*/ 2686058 h 6542629"/>
              <a:gd name="connsiteX401" fmla="*/ 624074 w 5356303"/>
              <a:gd name="connsiteY401" fmla="*/ 2423896 h 6542629"/>
              <a:gd name="connsiteX402" fmla="*/ 665652 w 5356303"/>
              <a:gd name="connsiteY402" fmla="*/ 2377175 h 6542629"/>
              <a:gd name="connsiteX403" fmla="*/ 5356303 w 5356303"/>
              <a:gd name="connsiteY403" fmla="*/ 0 h 6542629"/>
              <a:gd name="connsiteX404" fmla="*/ 5356303 w 5356303"/>
              <a:gd name="connsiteY404" fmla="*/ 2377175 h 6542629"/>
              <a:gd name="connsiteX405" fmla="*/ 5327715 w 5356303"/>
              <a:gd name="connsiteY405" fmla="*/ 2377175 h 6542629"/>
              <a:gd name="connsiteX406" fmla="*/ 5356303 w 5356303"/>
              <a:gd name="connsiteY406" fmla="*/ 2403132 h 6542629"/>
              <a:gd name="connsiteX407" fmla="*/ 5353704 w 5356303"/>
              <a:gd name="connsiteY407" fmla="*/ 4381017 h 6542629"/>
              <a:gd name="connsiteX408" fmla="*/ 4719575 w 5356303"/>
              <a:gd name="connsiteY408" fmla="*/ 5011761 h 6542629"/>
              <a:gd name="connsiteX409" fmla="*/ 4691212 w 5356303"/>
              <a:gd name="connsiteY409" fmla="*/ 5040086 h 6542629"/>
              <a:gd name="connsiteX410" fmla="*/ 4692833 w 5356303"/>
              <a:gd name="connsiteY410" fmla="*/ 5054624 h 6542629"/>
              <a:gd name="connsiteX411" fmla="*/ 4704201 w 5356303"/>
              <a:gd name="connsiteY411" fmla="*/ 5063383 h 6542629"/>
              <a:gd name="connsiteX412" fmla="*/ 5016062 w 5356303"/>
              <a:gd name="connsiteY412" fmla="*/ 5374784 h 6542629"/>
              <a:gd name="connsiteX413" fmla="*/ 4995272 w 5356303"/>
              <a:gd name="connsiteY413" fmla="*/ 5379973 h 6542629"/>
              <a:gd name="connsiteX414" fmla="*/ 4711998 w 5356303"/>
              <a:gd name="connsiteY414" fmla="*/ 5379973 h 6542629"/>
              <a:gd name="connsiteX415" fmla="*/ 4686009 w 5356303"/>
              <a:gd name="connsiteY415" fmla="*/ 5408518 h 6542629"/>
              <a:gd name="connsiteX416" fmla="*/ 4686009 w 5356303"/>
              <a:gd name="connsiteY416" fmla="*/ 5709538 h 6542629"/>
              <a:gd name="connsiteX417" fmla="*/ 4023306 w 5356303"/>
              <a:gd name="connsiteY417" fmla="*/ 5050409 h 6542629"/>
              <a:gd name="connsiteX418" fmla="*/ 4015508 w 5356303"/>
              <a:gd name="connsiteY418" fmla="*/ 5053002 h 6542629"/>
              <a:gd name="connsiteX419" fmla="*/ 4015508 w 5356303"/>
              <a:gd name="connsiteY419" fmla="*/ 5086738 h 6542629"/>
              <a:gd name="connsiteX420" fmla="*/ 4015508 w 5356303"/>
              <a:gd name="connsiteY420" fmla="*/ 5359213 h 6542629"/>
              <a:gd name="connsiteX421" fmla="*/ 3997317 w 5356303"/>
              <a:gd name="connsiteY421" fmla="*/ 5379973 h 6542629"/>
              <a:gd name="connsiteX422" fmla="*/ 3695852 w 5356303"/>
              <a:gd name="connsiteY422" fmla="*/ 5379973 h 6542629"/>
              <a:gd name="connsiteX423" fmla="*/ 3690654 w 5356303"/>
              <a:gd name="connsiteY423" fmla="*/ 5377378 h 6542629"/>
              <a:gd name="connsiteX424" fmla="*/ 3708846 w 5356303"/>
              <a:gd name="connsiteY424" fmla="*/ 5354023 h 6542629"/>
              <a:gd name="connsiteX425" fmla="*/ 3999916 w 5356303"/>
              <a:gd name="connsiteY425" fmla="*/ 5063383 h 6542629"/>
              <a:gd name="connsiteX426" fmla="*/ 3999916 w 5356303"/>
              <a:gd name="connsiteY426" fmla="*/ 5029647 h 6542629"/>
              <a:gd name="connsiteX427" fmla="*/ 3703648 w 5356303"/>
              <a:gd name="connsiteY427" fmla="*/ 4736413 h 6542629"/>
              <a:gd name="connsiteX428" fmla="*/ 3682858 w 5356303"/>
              <a:gd name="connsiteY428" fmla="*/ 4720843 h 6542629"/>
              <a:gd name="connsiteX429" fmla="*/ 3682858 w 5356303"/>
              <a:gd name="connsiteY429" fmla="*/ 4751983 h 6542629"/>
              <a:gd name="connsiteX430" fmla="*/ 3682858 w 5356303"/>
              <a:gd name="connsiteY430" fmla="*/ 5366998 h 6542629"/>
              <a:gd name="connsiteX431" fmla="*/ 3675060 w 5356303"/>
              <a:gd name="connsiteY431" fmla="*/ 5382569 h 6542629"/>
              <a:gd name="connsiteX432" fmla="*/ 3347608 w 5356303"/>
              <a:gd name="connsiteY432" fmla="*/ 5382569 h 6542629"/>
              <a:gd name="connsiteX433" fmla="*/ 3290433 w 5356303"/>
              <a:gd name="connsiteY433" fmla="*/ 5379973 h 6542629"/>
              <a:gd name="connsiteX434" fmla="*/ 3038346 w 5356303"/>
              <a:gd name="connsiteY434" fmla="*/ 5379973 h 6542629"/>
              <a:gd name="connsiteX435" fmla="*/ 2999363 w 5356303"/>
              <a:gd name="connsiteY435" fmla="*/ 5366998 h 6542629"/>
              <a:gd name="connsiteX436" fmla="*/ 2692700 w 5356303"/>
              <a:gd name="connsiteY436" fmla="*/ 5060788 h 6542629"/>
              <a:gd name="connsiteX437" fmla="*/ 2686853 w 5356303"/>
              <a:gd name="connsiteY437" fmla="*/ 5056247 h 6542629"/>
              <a:gd name="connsiteX438" fmla="*/ 2684935 w 5356303"/>
              <a:gd name="connsiteY438" fmla="*/ 5047948 h 6542629"/>
              <a:gd name="connsiteX439" fmla="*/ 2684504 w 5356303"/>
              <a:gd name="connsiteY439" fmla="*/ 5047952 h 6542629"/>
              <a:gd name="connsiteX440" fmla="*/ 2684522 w 5356303"/>
              <a:gd name="connsiteY440" fmla="*/ 5047889 h 6542629"/>
              <a:gd name="connsiteX441" fmla="*/ 2671909 w 5356303"/>
              <a:gd name="connsiteY441" fmla="*/ 5050409 h 6542629"/>
              <a:gd name="connsiteX442" fmla="*/ 2661514 w 5356303"/>
              <a:gd name="connsiteY442" fmla="*/ 5047813 h 6542629"/>
              <a:gd name="connsiteX443" fmla="*/ 2365246 w 5356303"/>
              <a:gd name="connsiteY443" fmla="*/ 5047813 h 6542629"/>
              <a:gd name="connsiteX444" fmla="*/ 2349328 w 5356303"/>
              <a:gd name="connsiteY444" fmla="*/ 5052355 h 6542629"/>
              <a:gd name="connsiteX445" fmla="*/ 2349328 w 5356303"/>
              <a:gd name="connsiteY445" fmla="*/ 5052360 h 6542629"/>
              <a:gd name="connsiteX446" fmla="*/ 2364972 w 5356303"/>
              <a:gd name="connsiteY446" fmla="*/ 5047908 h 6542629"/>
              <a:gd name="connsiteX447" fmla="*/ 2661492 w 5356303"/>
              <a:gd name="connsiteY447" fmla="*/ 5047908 h 6542629"/>
              <a:gd name="connsiteX448" fmla="*/ 2671897 w 5356303"/>
              <a:gd name="connsiteY448" fmla="*/ 5050499 h 6542629"/>
              <a:gd name="connsiteX449" fmla="*/ 2349480 w 5356303"/>
              <a:gd name="connsiteY449" fmla="*/ 5371686 h 6542629"/>
              <a:gd name="connsiteX450" fmla="*/ 2349654 w 5356303"/>
              <a:gd name="connsiteY450" fmla="*/ 5372188 h 6542629"/>
              <a:gd name="connsiteX451" fmla="*/ 2375642 w 5356303"/>
              <a:gd name="connsiteY451" fmla="*/ 5379973 h 6542629"/>
              <a:gd name="connsiteX452" fmla="*/ 2656317 w 5356303"/>
              <a:gd name="connsiteY452" fmla="*/ 5379973 h 6542629"/>
              <a:gd name="connsiteX453" fmla="*/ 2679706 w 5356303"/>
              <a:gd name="connsiteY453" fmla="*/ 5400733 h 6542629"/>
              <a:gd name="connsiteX454" fmla="*/ 2677107 w 5356303"/>
              <a:gd name="connsiteY454" fmla="*/ 5709538 h 6542629"/>
              <a:gd name="connsiteX455" fmla="*/ 2656317 w 5356303"/>
              <a:gd name="connsiteY455" fmla="*/ 5691374 h 6542629"/>
              <a:gd name="connsiteX456" fmla="*/ 2357451 w 5356303"/>
              <a:gd name="connsiteY456" fmla="*/ 5395543 h 6542629"/>
              <a:gd name="connsiteX457" fmla="*/ 2336745 w 5356303"/>
              <a:gd name="connsiteY457" fmla="*/ 5374869 h 6542629"/>
              <a:gd name="connsiteX458" fmla="*/ 2336551 w 5356303"/>
              <a:gd name="connsiteY458" fmla="*/ 5375150 h 6542629"/>
              <a:gd name="connsiteX459" fmla="*/ 2336659 w 5356303"/>
              <a:gd name="connsiteY459" fmla="*/ 5375258 h 6542629"/>
              <a:gd name="connsiteX460" fmla="*/ 2336377 w 5356303"/>
              <a:gd name="connsiteY460" fmla="*/ 5375404 h 6542629"/>
              <a:gd name="connsiteX461" fmla="*/ 2336274 w 5356303"/>
              <a:gd name="connsiteY461" fmla="*/ 5375551 h 6542629"/>
              <a:gd name="connsiteX462" fmla="*/ 2336211 w 5356303"/>
              <a:gd name="connsiteY462" fmla="*/ 5375488 h 6542629"/>
              <a:gd name="connsiteX463" fmla="*/ 2325930 w 5356303"/>
              <a:gd name="connsiteY463" fmla="*/ 5380782 h 6542629"/>
              <a:gd name="connsiteX464" fmla="*/ 2313249 w 5356303"/>
              <a:gd name="connsiteY464" fmla="*/ 5380456 h 6542629"/>
              <a:gd name="connsiteX465" fmla="*/ 2032336 w 5356303"/>
              <a:gd name="connsiteY465" fmla="*/ 5380456 h 6542629"/>
              <a:gd name="connsiteX466" fmla="*/ 2008927 w 5356303"/>
              <a:gd name="connsiteY466" fmla="*/ 5359661 h 6542629"/>
              <a:gd name="connsiteX467" fmla="*/ 2008927 w 5356303"/>
              <a:gd name="connsiteY467" fmla="*/ 5053682 h 6542629"/>
              <a:gd name="connsiteX468" fmla="*/ 2008927 w 5356303"/>
              <a:gd name="connsiteY468" fmla="*/ 5052920 h 6542629"/>
              <a:gd name="connsiteX469" fmla="*/ 2008927 w 5356303"/>
              <a:gd name="connsiteY469" fmla="*/ 5052821 h 6542629"/>
              <a:gd name="connsiteX470" fmla="*/ 2006331 w 5356303"/>
              <a:gd name="connsiteY470" fmla="*/ 5050224 h 6542629"/>
              <a:gd name="connsiteX471" fmla="*/ 1985557 w 5356303"/>
              <a:gd name="connsiteY471" fmla="*/ 5047627 h 6542629"/>
              <a:gd name="connsiteX472" fmla="*/ 1676569 w 5356303"/>
              <a:gd name="connsiteY472" fmla="*/ 5047627 h 6542629"/>
              <a:gd name="connsiteX473" fmla="*/ 1673973 w 5356303"/>
              <a:gd name="connsiteY473" fmla="*/ 4746345 h 6542629"/>
              <a:gd name="connsiteX474" fmla="*/ 1673973 w 5356303"/>
              <a:gd name="connsiteY474" fmla="*/ 4724430 h 6542629"/>
              <a:gd name="connsiteX475" fmla="*/ 1666363 w 5356303"/>
              <a:gd name="connsiteY475" fmla="*/ 4717929 h 6542629"/>
              <a:gd name="connsiteX476" fmla="*/ 1665988 w 5356303"/>
              <a:gd name="connsiteY476" fmla="*/ 4718302 h 6542629"/>
              <a:gd name="connsiteX477" fmla="*/ 1351449 w 5356303"/>
              <a:gd name="connsiteY477" fmla="*/ 5034935 h 6542629"/>
              <a:gd name="connsiteX478" fmla="*/ 1328053 w 5356303"/>
              <a:gd name="connsiteY478" fmla="*/ 5032340 h 6542629"/>
              <a:gd name="connsiteX479" fmla="*/ 1016112 w 5356303"/>
              <a:gd name="connsiteY479" fmla="*/ 4723493 h 6542629"/>
              <a:gd name="connsiteX480" fmla="*/ 1008315 w 5356303"/>
              <a:gd name="connsiteY480" fmla="*/ 4694944 h 6542629"/>
              <a:gd name="connsiteX481" fmla="*/ 1017168 w 5356303"/>
              <a:gd name="connsiteY481" fmla="*/ 4698797 h 6542629"/>
              <a:gd name="connsiteX482" fmla="*/ 1017180 w 5356303"/>
              <a:gd name="connsiteY482" fmla="*/ 4698793 h 6542629"/>
              <a:gd name="connsiteX483" fmla="*/ 1008673 w 5356303"/>
              <a:gd name="connsiteY483" fmla="*/ 4695090 h 6542629"/>
              <a:gd name="connsiteX484" fmla="*/ 1008673 w 5356303"/>
              <a:gd name="connsiteY484" fmla="*/ 4679516 h 6542629"/>
              <a:gd name="connsiteX485" fmla="*/ 1013870 w 5356303"/>
              <a:gd name="connsiteY485" fmla="*/ 4658751 h 6542629"/>
              <a:gd name="connsiteX486" fmla="*/ 1013870 w 5356303"/>
              <a:gd name="connsiteY486" fmla="*/ 4425143 h 6542629"/>
              <a:gd name="connsiteX487" fmla="*/ 1008673 w 5356303"/>
              <a:gd name="connsiteY487" fmla="*/ 4406973 h 6542629"/>
              <a:gd name="connsiteX488" fmla="*/ 980088 w 5356303"/>
              <a:gd name="connsiteY488" fmla="*/ 4378420 h 6542629"/>
              <a:gd name="connsiteX489" fmla="*/ 678647 w 5356303"/>
              <a:gd name="connsiteY489" fmla="*/ 4378420 h 6542629"/>
              <a:gd name="connsiteX490" fmla="*/ 694238 w 5356303"/>
              <a:gd name="connsiteY490" fmla="*/ 4401782 h 6542629"/>
              <a:gd name="connsiteX491" fmla="*/ 993081 w 5356303"/>
              <a:gd name="connsiteY491" fmla="*/ 4700281 h 6542629"/>
              <a:gd name="connsiteX492" fmla="*/ 995680 w 5356303"/>
              <a:gd name="connsiteY492" fmla="*/ 4723644 h 6542629"/>
              <a:gd name="connsiteX493" fmla="*/ 681245 w 5356303"/>
              <a:gd name="connsiteY493" fmla="*/ 5037717 h 6542629"/>
              <a:gd name="connsiteX494" fmla="*/ 673448 w 5356303"/>
              <a:gd name="connsiteY494" fmla="*/ 5040313 h 6542629"/>
              <a:gd name="connsiteX495" fmla="*/ 670849 w 5356303"/>
              <a:gd name="connsiteY495" fmla="*/ 5014356 h 6542629"/>
              <a:gd name="connsiteX496" fmla="*/ 670849 w 5356303"/>
              <a:gd name="connsiteY496" fmla="*/ 4736621 h 6542629"/>
              <a:gd name="connsiteX497" fmla="*/ 644864 w 5356303"/>
              <a:gd name="connsiteY497" fmla="*/ 4710664 h 6542629"/>
              <a:gd name="connsiteX498" fmla="*/ 353817 w 5356303"/>
              <a:gd name="connsiteY498" fmla="*/ 4713261 h 6542629"/>
              <a:gd name="connsiteX499" fmla="*/ 325231 w 5356303"/>
              <a:gd name="connsiteY499" fmla="*/ 4700281 h 6542629"/>
              <a:gd name="connsiteX500" fmla="*/ 338224 w 5356303"/>
              <a:gd name="connsiteY500" fmla="*/ 4669134 h 6542629"/>
              <a:gd name="connsiteX501" fmla="*/ 338224 w 5356303"/>
              <a:gd name="connsiteY501" fmla="*/ 4427739 h 6542629"/>
              <a:gd name="connsiteX502" fmla="*/ 338224 w 5356303"/>
              <a:gd name="connsiteY502" fmla="*/ 4409569 h 6542629"/>
              <a:gd name="connsiteX503" fmla="*/ 361612 w 5356303"/>
              <a:gd name="connsiteY503" fmla="*/ 4378420 h 6542629"/>
              <a:gd name="connsiteX504" fmla="*/ 631870 w 5356303"/>
              <a:gd name="connsiteY504" fmla="*/ 4378420 h 6542629"/>
              <a:gd name="connsiteX505" fmla="*/ 657857 w 5356303"/>
              <a:gd name="connsiteY505" fmla="*/ 4375826 h 6542629"/>
              <a:gd name="connsiteX506" fmla="*/ 642265 w 5356303"/>
              <a:gd name="connsiteY506" fmla="*/ 4355061 h 6542629"/>
              <a:gd name="connsiteX507" fmla="*/ 364211 w 5356303"/>
              <a:gd name="connsiteY507" fmla="*/ 4074730 h 6542629"/>
              <a:gd name="connsiteX508" fmla="*/ 348619 w 5356303"/>
              <a:gd name="connsiteY508" fmla="*/ 4053965 h 6542629"/>
              <a:gd name="connsiteX509" fmla="*/ 374605 w 5356303"/>
              <a:gd name="connsiteY509" fmla="*/ 4048772 h 6542629"/>
              <a:gd name="connsiteX510" fmla="*/ 974891 w 5356303"/>
              <a:gd name="connsiteY510" fmla="*/ 4048772 h 6542629"/>
              <a:gd name="connsiteX511" fmla="*/ 1026863 w 5356303"/>
              <a:gd name="connsiteY511" fmla="*/ 4028008 h 6542629"/>
              <a:gd name="connsiteX512" fmla="*/ 1317911 w 5356303"/>
              <a:gd name="connsiteY512" fmla="*/ 3737295 h 6542629"/>
              <a:gd name="connsiteX513" fmla="*/ 1341299 w 5356303"/>
              <a:gd name="connsiteY513" fmla="*/ 3719125 h 6542629"/>
              <a:gd name="connsiteX514" fmla="*/ 1341295 w 5356303"/>
              <a:gd name="connsiteY514" fmla="*/ 3719513 h 6542629"/>
              <a:gd name="connsiteX515" fmla="*/ 1353403 w 5356303"/>
              <a:gd name="connsiteY515" fmla="*/ 3722050 h 6542629"/>
              <a:gd name="connsiteX516" fmla="*/ 1361853 w 5356303"/>
              <a:gd name="connsiteY516" fmla="*/ 3732403 h 6542629"/>
              <a:gd name="connsiteX517" fmla="*/ 1517847 w 5356303"/>
              <a:gd name="connsiteY517" fmla="*/ 3887684 h 6542629"/>
              <a:gd name="connsiteX518" fmla="*/ 1362087 w 5356303"/>
              <a:gd name="connsiteY518" fmla="*/ 3732103 h 6542629"/>
              <a:gd name="connsiteX519" fmla="*/ 1341299 w 5356303"/>
              <a:gd name="connsiteY519" fmla="*/ 3719125 h 6542629"/>
              <a:gd name="connsiteX520" fmla="*/ 1341299 w 5356303"/>
              <a:gd name="connsiteY520" fmla="*/ 3402460 h 6542629"/>
              <a:gd name="connsiteX521" fmla="*/ 1335776 w 5356303"/>
              <a:gd name="connsiteY521" fmla="*/ 3381695 h 6542629"/>
              <a:gd name="connsiteX522" fmla="*/ 1335434 w 5356303"/>
              <a:gd name="connsiteY522" fmla="*/ 3381617 h 6542629"/>
              <a:gd name="connsiteX523" fmla="*/ 1340952 w 5356303"/>
              <a:gd name="connsiteY523" fmla="*/ 3402367 h 6542629"/>
              <a:gd name="connsiteX524" fmla="*/ 1340952 w 5356303"/>
              <a:gd name="connsiteY524" fmla="*/ 3719003 h 6542629"/>
              <a:gd name="connsiteX525" fmla="*/ 1317563 w 5356303"/>
              <a:gd name="connsiteY525" fmla="*/ 3737172 h 6542629"/>
              <a:gd name="connsiteX526" fmla="*/ 1026504 w 5356303"/>
              <a:gd name="connsiteY526" fmla="*/ 4027858 h 6542629"/>
              <a:gd name="connsiteX527" fmla="*/ 974529 w 5356303"/>
              <a:gd name="connsiteY527" fmla="*/ 4048621 h 6542629"/>
              <a:gd name="connsiteX528" fmla="*/ 374219 w 5356303"/>
              <a:gd name="connsiteY528" fmla="*/ 4048621 h 6542629"/>
              <a:gd name="connsiteX529" fmla="*/ 348232 w 5356303"/>
              <a:gd name="connsiteY529" fmla="*/ 4053812 h 6542629"/>
              <a:gd name="connsiteX530" fmla="*/ 363825 w 5356303"/>
              <a:gd name="connsiteY530" fmla="*/ 4074575 h 6542629"/>
              <a:gd name="connsiteX531" fmla="*/ 641890 w 5356303"/>
              <a:gd name="connsiteY531" fmla="*/ 4354881 h 6542629"/>
              <a:gd name="connsiteX532" fmla="*/ 657482 w 5356303"/>
              <a:gd name="connsiteY532" fmla="*/ 4375644 h 6542629"/>
              <a:gd name="connsiteX533" fmla="*/ 631496 w 5356303"/>
              <a:gd name="connsiteY533" fmla="*/ 4378239 h 6542629"/>
              <a:gd name="connsiteX534" fmla="*/ 361226 w 5356303"/>
              <a:gd name="connsiteY534" fmla="*/ 4378239 h 6542629"/>
              <a:gd name="connsiteX535" fmla="*/ 337837 w 5356303"/>
              <a:gd name="connsiteY535" fmla="*/ 4409385 h 6542629"/>
              <a:gd name="connsiteX536" fmla="*/ 337837 w 5356303"/>
              <a:gd name="connsiteY536" fmla="*/ 4427553 h 6542629"/>
              <a:gd name="connsiteX537" fmla="*/ 337837 w 5356303"/>
              <a:gd name="connsiteY537" fmla="*/ 4668927 h 6542629"/>
              <a:gd name="connsiteX538" fmla="*/ 324844 w 5356303"/>
              <a:gd name="connsiteY538" fmla="*/ 4700071 h 6542629"/>
              <a:gd name="connsiteX539" fmla="*/ 23389 w 5356303"/>
              <a:gd name="connsiteY539" fmla="*/ 4401598 h 6542629"/>
              <a:gd name="connsiteX540" fmla="*/ 2599 w 5356303"/>
              <a:gd name="connsiteY540" fmla="*/ 4386025 h 6542629"/>
              <a:gd name="connsiteX541" fmla="*/ 0 w 5356303"/>
              <a:gd name="connsiteY541" fmla="*/ 2403130 h 6542629"/>
              <a:gd name="connsiteX542" fmla="*/ 28586 w 5356303"/>
              <a:gd name="connsiteY542" fmla="*/ 2377175 h 6542629"/>
              <a:gd name="connsiteX543" fmla="*/ 621 w 5356303"/>
              <a:gd name="connsiteY543" fmla="*/ 2377175 h 6542629"/>
              <a:gd name="connsiteX544" fmla="*/ 621 w 5356303"/>
              <a:gd name="connsiteY544" fmla="*/ 9538 h 6542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Lst>
            <a:rect l="l" t="t" r="r" b="b"/>
            <a:pathLst>
              <a:path w="5356303" h="6542629">
                <a:moveTo>
                  <a:pt x="2692408" y="6213646"/>
                </a:moveTo>
                <a:cubicBezTo>
                  <a:pt x="2796451" y="6216237"/>
                  <a:pt x="2900492" y="6213646"/>
                  <a:pt x="3007136" y="6213646"/>
                </a:cubicBezTo>
                <a:cubicBezTo>
                  <a:pt x="2897892" y="6325034"/>
                  <a:pt x="2788647" y="6431242"/>
                  <a:pt x="2679403" y="6542629"/>
                </a:cubicBezTo>
                <a:lnTo>
                  <a:pt x="2679403" y="6231779"/>
                </a:lnTo>
                <a:cubicBezTo>
                  <a:pt x="2679403" y="6221418"/>
                  <a:pt x="2679403" y="6213646"/>
                  <a:pt x="2692408" y="6213646"/>
                </a:cubicBezTo>
                <a:close/>
                <a:moveTo>
                  <a:pt x="4015351" y="5960967"/>
                </a:moveTo>
                <a:lnTo>
                  <a:pt x="4015351" y="6257857"/>
                </a:lnTo>
                <a:cubicBezTo>
                  <a:pt x="4015351" y="6273484"/>
                  <a:pt x="4012748" y="6278692"/>
                  <a:pt x="3994517" y="6278692"/>
                </a:cubicBezTo>
                <a:lnTo>
                  <a:pt x="3697625" y="6278692"/>
                </a:lnTo>
                <a:close/>
                <a:moveTo>
                  <a:pt x="1338352" y="5873404"/>
                </a:moveTo>
                <a:lnTo>
                  <a:pt x="1338352" y="6059966"/>
                </a:lnTo>
                <a:lnTo>
                  <a:pt x="1338352" y="6179157"/>
                </a:lnTo>
                <a:cubicBezTo>
                  <a:pt x="1340952" y="6194703"/>
                  <a:pt x="1335751" y="6199886"/>
                  <a:pt x="1317543" y="6199886"/>
                </a:cubicBezTo>
                <a:lnTo>
                  <a:pt x="1013220" y="6199886"/>
                </a:lnTo>
                <a:close/>
                <a:moveTo>
                  <a:pt x="3027150" y="5714642"/>
                </a:moveTo>
                <a:lnTo>
                  <a:pt x="3165134" y="5714642"/>
                </a:lnTo>
                <a:lnTo>
                  <a:pt x="3326549" y="5714642"/>
                </a:lnTo>
                <a:cubicBezTo>
                  <a:pt x="3342170" y="5712040"/>
                  <a:pt x="3347377" y="5719847"/>
                  <a:pt x="3347377" y="5735463"/>
                </a:cubicBezTo>
                <a:lnTo>
                  <a:pt x="3347377" y="6034768"/>
                </a:lnTo>
                <a:close/>
                <a:moveTo>
                  <a:pt x="2027145" y="5712040"/>
                </a:moveTo>
                <a:cubicBezTo>
                  <a:pt x="2131251" y="5714642"/>
                  <a:pt x="2232755" y="5714642"/>
                  <a:pt x="2331655" y="5714642"/>
                </a:cubicBezTo>
                <a:cubicBezTo>
                  <a:pt x="2224947" y="5818748"/>
                  <a:pt x="2115635" y="5928059"/>
                  <a:pt x="2008927" y="6034768"/>
                </a:cubicBezTo>
                <a:lnTo>
                  <a:pt x="2008927" y="5730257"/>
                </a:lnTo>
                <a:cubicBezTo>
                  <a:pt x="2008927" y="5717245"/>
                  <a:pt x="2011530" y="5712040"/>
                  <a:pt x="2027145" y="5712040"/>
                </a:cubicBezTo>
                <a:close/>
                <a:moveTo>
                  <a:pt x="3682615" y="5395565"/>
                </a:moveTo>
                <a:lnTo>
                  <a:pt x="4002843" y="5711949"/>
                </a:lnTo>
                <a:lnTo>
                  <a:pt x="3698235" y="5714542"/>
                </a:lnTo>
                <a:cubicBezTo>
                  <a:pt x="3687822" y="5714542"/>
                  <a:pt x="3682615" y="5711949"/>
                  <a:pt x="3682615" y="5701575"/>
                </a:cubicBezTo>
                <a:close/>
                <a:moveTo>
                  <a:pt x="1005714" y="5390562"/>
                </a:moveTo>
                <a:lnTo>
                  <a:pt x="1330945" y="5714542"/>
                </a:lnTo>
                <a:lnTo>
                  <a:pt x="1021325" y="5714542"/>
                </a:lnTo>
                <a:cubicBezTo>
                  <a:pt x="1010918" y="5714542"/>
                  <a:pt x="1005714" y="5711950"/>
                  <a:pt x="1005714" y="5701584"/>
                </a:cubicBezTo>
                <a:close/>
                <a:moveTo>
                  <a:pt x="3347377" y="5383056"/>
                </a:moveTo>
                <a:lnTo>
                  <a:pt x="3675110" y="5383056"/>
                </a:lnTo>
                <a:cubicBezTo>
                  <a:pt x="3675110" y="5390830"/>
                  <a:pt x="3669907" y="5393421"/>
                  <a:pt x="3664706" y="5396012"/>
                </a:cubicBezTo>
                <a:cubicBezTo>
                  <a:pt x="3565865" y="5497066"/>
                  <a:pt x="3464424" y="5598120"/>
                  <a:pt x="3362984" y="5699175"/>
                </a:cubicBezTo>
                <a:cubicBezTo>
                  <a:pt x="3360382" y="5701765"/>
                  <a:pt x="3355180" y="5704356"/>
                  <a:pt x="3347377" y="5709538"/>
                </a:cubicBezTo>
                <a:close/>
                <a:moveTo>
                  <a:pt x="335238" y="5383056"/>
                </a:moveTo>
                <a:lnTo>
                  <a:pt x="665473" y="5711866"/>
                </a:lnTo>
                <a:cubicBezTo>
                  <a:pt x="662873" y="5717043"/>
                  <a:pt x="657671" y="5714454"/>
                  <a:pt x="652472" y="5714454"/>
                </a:cubicBezTo>
                <a:lnTo>
                  <a:pt x="358641" y="5714454"/>
                </a:lnTo>
                <a:cubicBezTo>
                  <a:pt x="348240" y="5714454"/>
                  <a:pt x="335238" y="5717043"/>
                  <a:pt x="335238" y="5698920"/>
                </a:cubicBezTo>
                <a:close/>
                <a:moveTo>
                  <a:pt x="670477" y="5060327"/>
                </a:moveTo>
                <a:cubicBezTo>
                  <a:pt x="777185" y="5164467"/>
                  <a:pt x="883895" y="5273812"/>
                  <a:pt x="993206" y="5380555"/>
                </a:cubicBezTo>
                <a:lnTo>
                  <a:pt x="686092" y="5380555"/>
                </a:lnTo>
                <a:cubicBezTo>
                  <a:pt x="673079" y="5380555"/>
                  <a:pt x="670477" y="5375348"/>
                  <a:pt x="670477" y="5362331"/>
                </a:cubicBezTo>
                <a:close/>
                <a:moveTo>
                  <a:pt x="3334910" y="5058868"/>
                </a:moveTo>
                <a:lnTo>
                  <a:pt x="3334704" y="5058962"/>
                </a:lnTo>
                <a:cubicBezTo>
                  <a:pt x="3331131" y="5062201"/>
                  <a:pt x="3327881" y="5066087"/>
                  <a:pt x="3323981" y="5068678"/>
                </a:cubicBezTo>
                <a:cubicBezTo>
                  <a:pt x="3230400" y="5164537"/>
                  <a:pt x="3134218" y="5257804"/>
                  <a:pt x="3038036" y="5353662"/>
                </a:cubicBezTo>
                <a:cubicBezTo>
                  <a:pt x="3035436" y="5356253"/>
                  <a:pt x="3032838" y="5360139"/>
                  <a:pt x="3029588" y="5363702"/>
                </a:cubicBezTo>
                <a:lnTo>
                  <a:pt x="3017371" y="5371712"/>
                </a:lnTo>
                <a:lnTo>
                  <a:pt x="3017556" y="5372188"/>
                </a:lnTo>
                <a:cubicBezTo>
                  <a:pt x="3027950" y="5369593"/>
                  <a:pt x="3033148" y="5359213"/>
                  <a:pt x="3038346" y="5354023"/>
                </a:cubicBezTo>
                <a:cubicBezTo>
                  <a:pt x="3134503" y="5258008"/>
                  <a:pt x="3230659" y="5164587"/>
                  <a:pt x="3324218" y="5068573"/>
                </a:cubicBezTo>
                <a:close/>
                <a:moveTo>
                  <a:pt x="1341052" y="5055324"/>
                </a:moveTo>
                <a:cubicBezTo>
                  <a:pt x="1447729" y="5164568"/>
                  <a:pt x="1557005" y="5271211"/>
                  <a:pt x="1663682" y="5380456"/>
                </a:cubicBezTo>
                <a:cubicBezTo>
                  <a:pt x="1658478" y="5383056"/>
                  <a:pt x="1650673" y="5380456"/>
                  <a:pt x="1642867" y="5380456"/>
                </a:cubicBezTo>
                <a:lnTo>
                  <a:pt x="1364469" y="5380456"/>
                </a:lnTo>
                <a:cubicBezTo>
                  <a:pt x="1346256" y="5380456"/>
                  <a:pt x="1338451" y="5377853"/>
                  <a:pt x="1338451" y="5357046"/>
                </a:cubicBezTo>
                <a:cubicBezTo>
                  <a:pt x="1341052" y="5255605"/>
                  <a:pt x="1341052" y="5154164"/>
                  <a:pt x="1341052" y="5055324"/>
                </a:cubicBezTo>
                <a:close/>
                <a:moveTo>
                  <a:pt x="1021335" y="5047909"/>
                </a:moveTo>
                <a:lnTo>
                  <a:pt x="1325942" y="5047909"/>
                </a:lnTo>
                <a:lnTo>
                  <a:pt x="1005714" y="5366795"/>
                </a:lnTo>
                <a:lnTo>
                  <a:pt x="1005714" y="5268278"/>
                </a:lnTo>
                <a:lnTo>
                  <a:pt x="1005714" y="5066057"/>
                </a:lnTo>
                <a:cubicBezTo>
                  <a:pt x="1005714" y="5053094"/>
                  <a:pt x="1005714" y="5045317"/>
                  <a:pt x="1021335" y="5047909"/>
                </a:cubicBezTo>
                <a:close/>
                <a:moveTo>
                  <a:pt x="1995049" y="5047266"/>
                </a:moveTo>
                <a:cubicBezTo>
                  <a:pt x="1998624" y="5047266"/>
                  <a:pt x="2002524" y="5047915"/>
                  <a:pt x="2006425" y="5050515"/>
                </a:cubicBezTo>
                <a:cubicBezTo>
                  <a:pt x="1897214" y="5157095"/>
                  <a:pt x="1788002" y="5266275"/>
                  <a:pt x="1676191" y="5378053"/>
                </a:cubicBezTo>
                <a:lnTo>
                  <a:pt x="1676191" y="5047915"/>
                </a:lnTo>
                <a:lnTo>
                  <a:pt x="1985622" y="5047915"/>
                </a:lnTo>
                <a:cubicBezTo>
                  <a:pt x="1988223" y="5047915"/>
                  <a:pt x="1991474" y="5047266"/>
                  <a:pt x="1995049" y="5047266"/>
                </a:cubicBezTo>
                <a:close/>
                <a:moveTo>
                  <a:pt x="3362225" y="5047163"/>
                </a:moveTo>
                <a:lnTo>
                  <a:pt x="3361929" y="5047267"/>
                </a:lnTo>
                <a:lnTo>
                  <a:pt x="3373189" y="5047908"/>
                </a:lnTo>
                <a:lnTo>
                  <a:pt x="3656703" y="5047908"/>
                </a:lnTo>
                <a:cubicBezTo>
                  <a:pt x="3672311" y="5047908"/>
                  <a:pt x="3680113" y="5047908"/>
                  <a:pt x="3680113" y="5066045"/>
                </a:cubicBezTo>
                <a:cubicBezTo>
                  <a:pt x="3677512" y="5164509"/>
                  <a:pt x="3680113" y="5260380"/>
                  <a:pt x="3680113" y="5358843"/>
                </a:cubicBezTo>
                <a:cubicBezTo>
                  <a:pt x="3680113" y="5364025"/>
                  <a:pt x="3677512" y="5369207"/>
                  <a:pt x="3674912" y="5371799"/>
                </a:cubicBezTo>
                <a:lnTo>
                  <a:pt x="3469493" y="5167164"/>
                </a:lnTo>
                <a:lnTo>
                  <a:pt x="3674841" y="5372390"/>
                </a:lnTo>
                <a:lnTo>
                  <a:pt x="3675060" y="5372188"/>
                </a:lnTo>
                <a:cubicBezTo>
                  <a:pt x="3677660" y="5369593"/>
                  <a:pt x="3680259" y="5364403"/>
                  <a:pt x="3680259" y="5359213"/>
                </a:cubicBezTo>
                <a:cubicBezTo>
                  <a:pt x="3680259" y="5260603"/>
                  <a:pt x="3677660" y="5164587"/>
                  <a:pt x="3680259" y="5065978"/>
                </a:cubicBezTo>
                <a:cubicBezTo>
                  <a:pt x="3680259" y="5047813"/>
                  <a:pt x="3672462" y="5047813"/>
                  <a:pt x="3656869" y="5047813"/>
                </a:cubicBezTo>
                <a:lnTo>
                  <a:pt x="3373596" y="5047813"/>
                </a:lnTo>
                <a:cubicBezTo>
                  <a:pt x="3369697" y="5047813"/>
                  <a:pt x="3365800" y="5047163"/>
                  <a:pt x="3362225" y="5047163"/>
                </a:cubicBezTo>
                <a:close/>
                <a:moveTo>
                  <a:pt x="4680524" y="5040246"/>
                </a:moveTo>
                <a:lnTo>
                  <a:pt x="4672701" y="5047730"/>
                </a:lnTo>
                <a:cubicBezTo>
                  <a:pt x="4669127" y="5048378"/>
                  <a:pt x="4665227" y="5047730"/>
                  <a:pt x="4662628" y="5047730"/>
                </a:cubicBezTo>
                <a:lnTo>
                  <a:pt x="4371483" y="5047730"/>
                </a:lnTo>
                <a:lnTo>
                  <a:pt x="4355290" y="5043212"/>
                </a:lnTo>
                <a:cubicBezTo>
                  <a:pt x="4355296" y="5043232"/>
                  <a:pt x="4355301" y="5043251"/>
                  <a:pt x="4355307" y="5043271"/>
                </a:cubicBezTo>
                <a:cubicBezTo>
                  <a:pt x="4358555" y="5046516"/>
                  <a:pt x="4363754" y="5047813"/>
                  <a:pt x="4371550" y="5047813"/>
                </a:cubicBezTo>
                <a:lnTo>
                  <a:pt x="4662620" y="5047813"/>
                </a:lnTo>
                <a:cubicBezTo>
                  <a:pt x="4665218" y="5047813"/>
                  <a:pt x="4669118" y="5048462"/>
                  <a:pt x="4672690" y="5047813"/>
                </a:cubicBezTo>
                <a:lnTo>
                  <a:pt x="4680553" y="5040275"/>
                </a:lnTo>
                <a:close/>
                <a:moveTo>
                  <a:pt x="337840" y="4726340"/>
                </a:moveTo>
                <a:cubicBezTo>
                  <a:pt x="447117" y="4832606"/>
                  <a:pt x="553794" y="4938870"/>
                  <a:pt x="660470" y="5045137"/>
                </a:cubicBezTo>
                <a:cubicBezTo>
                  <a:pt x="657867" y="5050320"/>
                  <a:pt x="647461" y="5045137"/>
                  <a:pt x="642257" y="5045137"/>
                </a:cubicBezTo>
                <a:lnTo>
                  <a:pt x="363859" y="5045137"/>
                </a:lnTo>
                <a:cubicBezTo>
                  <a:pt x="345646" y="5047728"/>
                  <a:pt x="337840" y="5042545"/>
                  <a:pt x="337840" y="5021809"/>
                </a:cubicBezTo>
                <a:lnTo>
                  <a:pt x="337840" y="4739299"/>
                </a:lnTo>
                <a:cubicBezTo>
                  <a:pt x="337840" y="4734115"/>
                  <a:pt x="335238" y="4728931"/>
                  <a:pt x="337840" y="4726340"/>
                </a:cubicBezTo>
                <a:close/>
                <a:moveTo>
                  <a:pt x="4358344" y="4721064"/>
                </a:moveTo>
                <a:lnTo>
                  <a:pt x="4350758" y="4728952"/>
                </a:lnTo>
                <a:lnTo>
                  <a:pt x="4350758" y="4729356"/>
                </a:lnTo>
                <a:lnTo>
                  <a:pt x="4358485" y="4721336"/>
                </a:lnTo>
                <a:lnTo>
                  <a:pt x="4417880" y="4780046"/>
                </a:lnTo>
                <a:close/>
                <a:moveTo>
                  <a:pt x="3013657" y="4720519"/>
                </a:moveTo>
                <a:cubicBezTo>
                  <a:pt x="3007810" y="4720194"/>
                  <a:pt x="3001962" y="4723438"/>
                  <a:pt x="2994165" y="4731223"/>
                </a:cubicBezTo>
                <a:lnTo>
                  <a:pt x="2816256" y="4908870"/>
                </a:lnTo>
                <a:lnTo>
                  <a:pt x="2993845" y="4731878"/>
                </a:lnTo>
                <a:cubicBezTo>
                  <a:pt x="3009442" y="4716333"/>
                  <a:pt x="3017239" y="4718924"/>
                  <a:pt x="3032838" y="4731878"/>
                </a:cubicBezTo>
                <a:cubicBezTo>
                  <a:pt x="3129019" y="4830327"/>
                  <a:pt x="3227799" y="4926186"/>
                  <a:pt x="3323981" y="5024635"/>
                </a:cubicBezTo>
                <a:cubicBezTo>
                  <a:pt x="3331780" y="5029816"/>
                  <a:pt x="3336979" y="5040180"/>
                  <a:pt x="3347377" y="5042770"/>
                </a:cubicBezTo>
                <a:lnTo>
                  <a:pt x="3347377" y="5052920"/>
                </a:lnTo>
                <a:lnTo>
                  <a:pt x="3347608" y="5052805"/>
                </a:lnTo>
                <a:lnTo>
                  <a:pt x="3347608" y="5042624"/>
                </a:lnTo>
                <a:lnTo>
                  <a:pt x="3347476" y="5042539"/>
                </a:lnTo>
                <a:lnTo>
                  <a:pt x="3347377" y="5042475"/>
                </a:lnTo>
                <a:lnTo>
                  <a:pt x="3334939" y="5034513"/>
                </a:lnTo>
                <a:cubicBezTo>
                  <a:pt x="3331365" y="5030946"/>
                  <a:pt x="3328116" y="5027054"/>
                  <a:pt x="3324218" y="5024458"/>
                </a:cubicBezTo>
                <a:cubicBezTo>
                  <a:pt x="3228061" y="4925848"/>
                  <a:pt x="3129305" y="4829833"/>
                  <a:pt x="3033148" y="4731223"/>
                </a:cubicBezTo>
                <a:cubicBezTo>
                  <a:pt x="3025351" y="4724735"/>
                  <a:pt x="3019503" y="4720843"/>
                  <a:pt x="3013657" y="4720519"/>
                </a:cubicBezTo>
                <a:close/>
                <a:moveTo>
                  <a:pt x="2501" y="4716333"/>
                </a:moveTo>
                <a:lnTo>
                  <a:pt x="327733" y="4716333"/>
                </a:lnTo>
                <a:cubicBezTo>
                  <a:pt x="327733" y="4724106"/>
                  <a:pt x="322529" y="4726697"/>
                  <a:pt x="319927" y="4729289"/>
                </a:cubicBezTo>
                <a:lnTo>
                  <a:pt x="15511" y="5032451"/>
                </a:lnTo>
                <a:cubicBezTo>
                  <a:pt x="12909" y="5035041"/>
                  <a:pt x="10308" y="5042814"/>
                  <a:pt x="2501" y="5042814"/>
                </a:cubicBezTo>
                <a:close/>
                <a:moveTo>
                  <a:pt x="2008927" y="4713261"/>
                </a:moveTo>
                <a:lnTo>
                  <a:pt x="2008927" y="5040703"/>
                </a:lnTo>
                <a:cubicBezTo>
                  <a:pt x="2016721" y="5043299"/>
                  <a:pt x="2021916" y="5035512"/>
                  <a:pt x="2024514" y="5030320"/>
                </a:cubicBezTo>
                <a:lnTo>
                  <a:pt x="2312892" y="4744791"/>
                </a:lnTo>
                <a:cubicBezTo>
                  <a:pt x="2320687" y="4737005"/>
                  <a:pt x="2328481" y="4729217"/>
                  <a:pt x="2336274" y="4718834"/>
                </a:cubicBezTo>
                <a:cubicBezTo>
                  <a:pt x="2346666" y="4724026"/>
                  <a:pt x="2344069" y="4734408"/>
                  <a:pt x="2344069" y="4742196"/>
                </a:cubicBezTo>
                <a:cubicBezTo>
                  <a:pt x="2344069" y="4947258"/>
                  <a:pt x="2344069" y="5149723"/>
                  <a:pt x="2341471" y="5354784"/>
                </a:cubicBezTo>
                <a:lnTo>
                  <a:pt x="2342750" y="5365965"/>
                </a:lnTo>
                <a:lnTo>
                  <a:pt x="2343156" y="5365377"/>
                </a:lnTo>
                <a:cubicBezTo>
                  <a:pt x="2343156" y="5361808"/>
                  <a:pt x="2341856" y="5357916"/>
                  <a:pt x="2341856" y="5354023"/>
                </a:cubicBezTo>
                <a:cubicBezTo>
                  <a:pt x="2344455" y="5149018"/>
                  <a:pt x="2344455" y="4946608"/>
                  <a:pt x="2344455" y="4741603"/>
                </a:cubicBezTo>
                <a:cubicBezTo>
                  <a:pt x="2344455" y="4737711"/>
                  <a:pt x="2345106" y="4733169"/>
                  <a:pt x="2344455" y="4728952"/>
                </a:cubicBezTo>
                <a:lnTo>
                  <a:pt x="2336679" y="4718275"/>
                </a:lnTo>
                <a:lnTo>
                  <a:pt x="2336466" y="4718466"/>
                </a:lnTo>
                <a:cubicBezTo>
                  <a:pt x="2328669" y="4728845"/>
                  <a:pt x="2320873" y="4736629"/>
                  <a:pt x="2313076" y="4744413"/>
                </a:cubicBezTo>
                <a:lnTo>
                  <a:pt x="2024616" y="5029841"/>
                </a:lnTo>
                <a:cubicBezTo>
                  <a:pt x="2022017" y="5035030"/>
                  <a:pt x="2016820" y="5042814"/>
                  <a:pt x="2009023" y="5040220"/>
                </a:cubicBezTo>
                <a:lnTo>
                  <a:pt x="2009023" y="4713276"/>
                </a:lnTo>
                <a:lnTo>
                  <a:pt x="2009023" y="4713261"/>
                </a:lnTo>
                <a:close/>
                <a:moveTo>
                  <a:pt x="3672425" y="4713058"/>
                </a:moveTo>
                <a:lnTo>
                  <a:pt x="3670559" y="4723631"/>
                </a:lnTo>
                <a:cubicBezTo>
                  <a:pt x="3668609" y="4726231"/>
                  <a:pt x="3666009" y="4728182"/>
                  <a:pt x="3664709" y="4730782"/>
                </a:cubicBezTo>
                <a:lnTo>
                  <a:pt x="3394960" y="5000531"/>
                </a:lnTo>
                <a:lnTo>
                  <a:pt x="3664666" y="4731223"/>
                </a:lnTo>
                <a:cubicBezTo>
                  <a:pt x="3667264" y="4726033"/>
                  <a:pt x="3675060" y="4723438"/>
                  <a:pt x="3672462" y="4713058"/>
                </a:cubicBezTo>
                <a:close/>
                <a:moveTo>
                  <a:pt x="5036473" y="4712581"/>
                </a:moveTo>
                <a:lnTo>
                  <a:pt x="5345998" y="4712581"/>
                </a:lnTo>
                <a:cubicBezTo>
                  <a:pt x="5348600" y="4712581"/>
                  <a:pt x="5351200" y="4715180"/>
                  <a:pt x="5353802" y="4715180"/>
                </a:cubicBezTo>
                <a:lnTo>
                  <a:pt x="5353802" y="5042814"/>
                </a:lnTo>
                <a:cubicBezTo>
                  <a:pt x="5351200" y="5042814"/>
                  <a:pt x="5348600" y="5040215"/>
                  <a:pt x="5345998" y="5037614"/>
                </a:cubicBezTo>
                <a:lnTo>
                  <a:pt x="5026069" y="4720381"/>
                </a:lnTo>
                <a:cubicBezTo>
                  <a:pt x="5028670" y="4712581"/>
                  <a:pt x="5033872" y="4712581"/>
                  <a:pt x="5036473" y="4712581"/>
                </a:cubicBezTo>
                <a:close/>
                <a:moveTo>
                  <a:pt x="4685790" y="4710570"/>
                </a:moveTo>
                <a:lnTo>
                  <a:pt x="4672690" y="4716950"/>
                </a:lnTo>
                <a:cubicBezTo>
                  <a:pt x="4667818" y="4716950"/>
                  <a:pt x="4662620" y="4715653"/>
                  <a:pt x="4657422" y="4715653"/>
                </a:cubicBezTo>
                <a:lnTo>
                  <a:pt x="4387143" y="4715653"/>
                </a:lnTo>
                <a:cubicBezTo>
                  <a:pt x="4379345" y="4715653"/>
                  <a:pt x="4368952" y="4713058"/>
                  <a:pt x="4358555" y="4720843"/>
                </a:cubicBezTo>
                <a:lnTo>
                  <a:pt x="4358375" y="4721031"/>
                </a:lnTo>
                <a:lnTo>
                  <a:pt x="4373597" y="4715532"/>
                </a:lnTo>
                <a:cubicBezTo>
                  <a:pt x="4378469" y="4715208"/>
                  <a:pt x="4383018" y="4715856"/>
                  <a:pt x="4386915" y="4715856"/>
                </a:cubicBezTo>
                <a:lnTo>
                  <a:pt x="4657201" y="4715856"/>
                </a:lnTo>
                <a:cubicBezTo>
                  <a:pt x="4667596" y="4715856"/>
                  <a:pt x="4677992" y="4721047"/>
                  <a:pt x="4685790" y="4710664"/>
                </a:cubicBezTo>
                <a:close/>
                <a:moveTo>
                  <a:pt x="4685790" y="4709991"/>
                </a:moveTo>
                <a:lnTo>
                  <a:pt x="4368499" y="4712581"/>
                </a:lnTo>
                <a:lnTo>
                  <a:pt x="4361594" y="4711642"/>
                </a:lnTo>
                <a:lnTo>
                  <a:pt x="4361804" y="4712084"/>
                </a:lnTo>
                <a:cubicBezTo>
                  <a:pt x="4363754" y="4713058"/>
                  <a:pt x="4366353" y="4713058"/>
                  <a:pt x="4368952" y="4713058"/>
                </a:cubicBezTo>
                <a:lnTo>
                  <a:pt x="4685790" y="4710465"/>
                </a:lnTo>
                <a:close/>
                <a:moveTo>
                  <a:pt x="1008216" y="4407363"/>
                </a:moveTo>
                <a:cubicBezTo>
                  <a:pt x="1013220" y="4412534"/>
                  <a:pt x="1013220" y="4420290"/>
                  <a:pt x="1013220" y="4425460"/>
                </a:cubicBezTo>
                <a:lnTo>
                  <a:pt x="1013220" y="4658125"/>
                </a:lnTo>
                <a:cubicBezTo>
                  <a:pt x="1013220" y="4665881"/>
                  <a:pt x="1013220" y="4673637"/>
                  <a:pt x="1008216" y="4678807"/>
                </a:cubicBezTo>
                <a:cubicBezTo>
                  <a:pt x="1005714" y="4588326"/>
                  <a:pt x="1005714" y="4497845"/>
                  <a:pt x="1008216" y="4407363"/>
                </a:cubicBezTo>
                <a:close/>
                <a:moveTo>
                  <a:pt x="1984249" y="4405699"/>
                </a:moveTo>
                <a:lnTo>
                  <a:pt x="1699773" y="4686937"/>
                </a:lnTo>
                <a:cubicBezTo>
                  <a:pt x="1694576" y="4694710"/>
                  <a:pt x="1689378" y="4702484"/>
                  <a:pt x="1678984" y="4705075"/>
                </a:cubicBezTo>
                <a:lnTo>
                  <a:pt x="1673603" y="4695924"/>
                </a:lnTo>
                <a:cubicBezTo>
                  <a:pt x="1673602" y="4695970"/>
                  <a:pt x="1673601" y="4696017"/>
                  <a:pt x="1673600" y="4696063"/>
                </a:cubicBezTo>
                <a:cubicBezTo>
                  <a:pt x="1673924" y="4699634"/>
                  <a:pt x="1675223" y="4702878"/>
                  <a:pt x="1679121" y="4705473"/>
                </a:cubicBezTo>
                <a:cubicBezTo>
                  <a:pt x="1689516" y="4702878"/>
                  <a:pt x="1694713" y="4695090"/>
                  <a:pt x="1699911" y="4687304"/>
                </a:cubicBezTo>
                <a:close/>
                <a:moveTo>
                  <a:pt x="1330903" y="4386209"/>
                </a:moveTo>
                <a:lnTo>
                  <a:pt x="1330816" y="4386325"/>
                </a:lnTo>
                <a:lnTo>
                  <a:pt x="1340725" y="4400048"/>
                </a:lnTo>
                <a:cubicBezTo>
                  <a:pt x="1341701" y="4404266"/>
                  <a:pt x="1341050" y="4408159"/>
                  <a:pt x="1341050" y="4412051"/>
                </a:cubicBezTo>
                <a:cubicBezTo>
                  <a:pt x="1341050" y="4500293"/>
                  <a:pt x="1341050" y="4591130"/>
                  <a:pt x="1338451" y="4681968"/>
                </a:cubicBezTo>
                <a:lnTo>
                  <a:pt x="1338829" y="4683307"/>
                </a:lnTo>
                <a:lnTo>
                  <a:pt x="1340242" y="4696430"/>
                </a:lnTo>
                <a:lnTo>
                  <a:pt x="1344787" y="4704431"/>
                </a:lnTo>
                <a:cubicBezTo>
                  <a:pt x="1344841" y="4704622"/>
                  <a:pt x="1344895" y="4704811"/>
                  <a:pt x="1344949" y="4705002"/>
                </a:cubicBezTo>
                <a:lnTo>
                  <a:pt x="1345139" y="4705049"/>
                </a:lnTo>
                <a:lnTo>
                  <a:pt x="1344787" y="4704431"/>
                </a:lnTo>
                <a:lnTo>
                  <a:pt x="1338829" y="4683307"/>
                </a:lnTo>
                <a:lnTo>
                  <a:pt x="1338700" y="4682113"/>
                </a:lnTo>
                <a:cubicBezTo>
                  <a:pt x="1341299" y="4591265"/>
                  <a:pt x="1341299" y="4500417"/>
                  <a:pt x="1341299" y="4412165"/>
                </a:cubicBezTo>
                <a:cubicBezTo>
                  <a:pt x="1341299" y="4404378"/>
                  <a:pt x="1343897" y="4396590"/>
                  <a:pt x="1330903" y="4386209"/>
                </a:cubicBezTo>
                <a:close/>
                <a:moveTo>
                  <a:pt x="4677992" y="4383612"/>
                </a:moveTo>
                <a:lnTo>
                  <a:pt x="4672321" y="4389323"/>
                </a:lnTo>
                <a:lnTo>
                  <a:pt x="4678004" y="4383616"/>
                </a:lnTo>
                <a:cubicBezTo>
                  <a:pt x="4678000" y="4383615"/>
                  <a:pt x="4677996" y="4383614"/>
                  <a:pt x="4677992" y="4383612"/>
                </a:cubicBezTo>
                <a:close/>
                <a:moveTo>
                  <a:pt x="2019187" y="4372602"/>
                </a:moveTo>
                <a:lnTo>
                  <a:pt x="2006549" y="4381017"/>
                </a:lnTo>
                <a:lnTo>
                  <a:pt x="1697312" y="4378420"/>
                </a:lnTo>
                <a:cubicBezTo>
                  <a:pt x="1688217" y="4378420"/>
                  <a:pt x="1682370" y="4379719"/>
                  <a:pt x="1678796" y="4383289"/>
                </a:cubicBezTo>
                <a:cubicBezTo>
                  <a:pt x="1678784" y="4383334"/>
                  <a:pt x="1678773" y="4383379"/>
                  <a:pt x="1678760" y="4383425"/>
                </a:cubicBezTo>
                <a:lnTo>
                  <a:pt x="1697174" y="4378594"/>
                </a:lnTo>
                <a:cubicBezTo>
                  <a:pt x="1801124" y="4381184"/>
                  <a:pt x="1902475" y="4381184"/>
                  <a:pt x="2006425" y="4381184"/>
                </a:cubicBezTo>
                <a:lnTo>
                  <a:pt x="2006425" y="4381142"/>
                </a:lnTo>
                <a:cubicBezTo>
                  <a:pt x="2011622" y="4379845"/>
                  <a:pt x="2015520" y="4376601"/>
                  <a:pt x="2019094" y="4372710"/>
                </a:cubicBezTo>
                <a:cubicBezTo>
                  <a:pt x="2019124" y="4372674"/>
                  <a:pt x="2019156" y="4372638"/>
                  <a:pt x="2019187" y="4372602"/>
                </a:cubicBezTo>
                <a:close/>
                <a:moveTo>
                  <a:pt x="1663458" y="4043026"/>
                </a:moveTo>
                <a:lnTo>
                  <a:pt x="1652758" y="4049480"/>
                </a:lnTo>
                <a:cubicBezTo>
                  <a:pt x="1648533" y="4049480"/>
                  <a:pt x="1643983" y="4048186"/>
                  <a:pt x="1640082" y="4048186"/>
                </a:cubicBezTo>
                <a:lnTo>
                  <a:pt x="1367054" y="4048186"/>
                </a:lnTo>
                <a:lnTo>
                  <a:pt x="1344076" y="4043032"/>
                </a:lnTo>
                <a:cubicBezTo>
                  <a:pt x="1344124" y="4043215"/>
                  <a:pt x="1344173" y="4043398"/>
                  <a:pt x="1344222" y="4043582"/>
                </a:cubicBezTo>
                <a:cubicBezTo>
                  <a:pt x="1348444" y="4047475"/>
                  <a:pt x="1355590" y="4048772"/>
                  <a:pt x="1367284" y="4048772"/>
                </a:cubicBezTo>
                <a:lnTo>
                  <a:pt x="1640142" y="4048772"/>
                </a:lnTo>
                <a:cubicBezTo>
                  <a:pt x="1647937" y="4048772"/>
                  <a:pt x="1658332" y="4053965"/>
                  <a:pt x="1663530" y="4043582"/>
                </a:cubicBezTo>
                <a:cubicBezTo>
                  <a:pt x="1663507" y="4043396"/>
                  <a:pt x="1663482" y="4043211"/>
                  <a:pt x="1663458" y="4043026"/>
                </a:cubicBezTo>
                <a:close/>
                <a:moveTo>
                  <a:pt x="3035654" y="4025527"/>
                </a:moveTo>
                <a:lnTo>
                  <a:pt x="3035527" y="4025654"/>
                </a:lnTo>
                <a:cubicBezTo>
                  <a:pt x="3017336" y="4043818"/>
                  <a:pt x="3014737" y="4054198"/>
                  <a:pt x="3032929" y="4072361"/>
                </a:cubicBezTo>
                <a:cubicBezTo>
                  <a:pt x="3134280" y="4168369"/>
                  <a:pt x="3230433" y="4266971"/>
                  <a:pt x="3329186" y="4365573"/>
                </a:cubicBezTo>
                <a:cubicBezTo>
                  <a:pt x="3336982" y="4372060"/>
                  <a:pt x="3340230" y="4376601"/>
                  <a:pt x="3339905" y="4381142"/>
                </a:cubicBezTo>
                <a:lnTo>
                  <a:pt x="3329221" y="4396660"/>
                </a:lnTo>
                <a:lnTo>
                  <a:pt x="3329415" y="4396468"/>
                </a:lnTo>
                <a:cubicBezTo>
                  <a:pt x="3342410" y="4383492"/>
                  <a:pt x="3345009" y="4378302"/>
                  <a:pt x="3329415" y="4365328"/>
                </a:cubicBezTo>
                <a:cubicBezTo>
                  <a:pt x="3230659" y="4266717"/>
                  <a:pt x="3134503" y="4168107"/>
                  <a:pt x="3033148" y="4072092"/>
                </a:cubicBezTo>
                <a:cubicBezTo>
                  <a:pt x="3024052" y="4063010"/>
                  <a:pt x="3020155" y="4055873"/>
                  <a:pt x="3020803" y="4048736"/>
                </a:cubicBezTo>
                <a:close/>
                <a:moveTo>
                  <a:pt x="2666255" y="3729203"/>
                </a:moveTo>
                <a:lnTo>
                  <a:pt x="2653611" y="3739889"/>
                </a:lnTo>
                <a:lnTo>
                  <a:pt x="2310589" y="4082516"/>
                </a:lnTo>
                <a:lnTo>
                  <a:pt x="2029936" y="4360251"/>
                </a:lnTo>
                <a:lnTo>
                  <a:pt x="2029877" y="4360321"/>
                </a:lnTo>
                <a:lnTo>
                  <a:pt x="2310478" y="4082740"/>
                </a:lnTo>
                <a:lnTo>
                  <a:pt x="2653513" y="3740227"/>
                </a:lnTo>
                <a:cubicBezTo>
                  <a:pt x="2657411" y="3736335"/>
                  <a:pt x="2662608" y="3733092"/>
                  <a:pt x="2666181" y="3729523"/>
                </a:cubicBezTo>
                <a:cubicBezTo>
                  <a:pt x="2666206" y="3729416"/>
                  <a:pt x="2666231" y="3729310"/>
                  <a:pt x="2666255" y="3729203"/>
                </a:cubicBezTo>
                <a:close/>
                <a:moveTo>
                  <a:pt x="3347377" y="3711339"/>
                </a:moveTo>
                <a:lnTo>
                  <a:pt x="3347377" y="3711619"/>
                </a:lnTo>
                <a:lnTo>
                  <a:pt x="3347608" y="3711387"/>
                </a:lnTo>
                <a:lnTo>
                  <a:pt x="3352551" y="3711387"/>
                </a:lnTo>
                <a:lnTo>
                  <a:pt x="3352515" y="3711339"/>
                </a:lnTo>
                <a:close/>
                <a:moveTo>
                  <a:pt x="2340081" y="3368844"/>
                </a:moveTo>
                <a:lnTo>
                  <a:pt x="2328334" y="3391266"/>
                </a:lnTo>
                <a:cubicBezTo>
                  <a:pt x="2323096" y="3398566"/>
                  <a:pt x="2316437" y="3405703"/>
                  <a:pt x="2307991" y="3412842"/>
                </a:cubicBezTo>
                <a:cubicBezTo>
                  <a:pt x="2214440" y="3501090"/>
                  <a:pt x="2126087" y="3594534"/>
                  <a:pt x="2035135" y="3685381"/>
                </a:cubicBezTo>
                <a:cubicBezTo>
                  <a:pt x="2031235" y="3687977"/>
                  <a:pt x="2026689" y="3691222"/>
                  <a:pt x="2023440" y="3695439"/>
                </a:cubicBezTo>
                <a:cubicBezTo>
                  <a:pt x="2023414" y="3695543"/>
                  <a:pt x="2023390" y="3695647"/>
                  <a:pt x="2023364" y="3695751"/>
                </a:cubicBezTo>
                <a:lnTo>
                  <a:pt x="2035011" y="3685737"/>
                </a:lnTo>
                <a:cubicBezTo>
                  <a:pt x="2125966" y="3594919"/>
                  <a:pt x="2214324" y="3501506"/>
                  <a:pt x="2307880" y="3413286"/>
                </a:cubicBezTo>
                <a:cubicBezTo>
                  <a:pt x="2324770" y="3399013"/>
                  <a:pt x="2334516" y="3384743"/>
                  <a:pt x="2340038" y="3369174"/>
                </a:cubicBezTo>
                <a:cubicBezTo>
                  <a:pt x="2340052" y="3369064"/>
                  <a:pt x="2340067" y="3368954"/>
                  <a:pt x="2340081" y="3368844"/>
                </a:cubicBezTo>
                <a:close/>
                <a:moveTo>
                  <a:pt x="4006522" y="3057709"/>
                </a:moveTo>
                <a:lnTo>
                  <a:pt x="3999941" y="3062094"/>
                </a:lnTo>
                <a:cubicBezTo>
                  <a:pt x="3984329" y="3080290"/>
                  <a:pt x="3968719" y="3095887"/>
                  <a:pt x="3953106" y="3111484"/>
                </a:cubicBezTo>
                <a:lnTo>
                  <a:pt x="3794801" y="3269646"/>
                </a:lnTo>
                <a:lnTo>
                  <a:pt x="3952900" y="3111745"/>
                </a:lnTo>
                <a:cubicBezTo>
                  <a:pt x="3968494" y="3096171"/>
                  <a:pt x="3984086" y="3080599"/>
                  <a:pt x="3999681" y="3062428"/>
                </a:cubicBezTo>
                <a:cubicBezTo>
                  <a:pt x="4002279" y="3061131"/>
                  <a:pt x="4004878" y="3059833"/>
                  <a:pt x="4006503" y="3057886"/>
                </a:cubicBezTo>
                <a:cubicBezTo>
                  <a:pt x="4006509" y="3057827"/>
                  <a:pt x="4006516" y="3057768"/>
                  <a:pt x="4006522" y="3057709"/>
                </a:cubicBezTo>
                <a:close/>
                <a:moveTo>
                  <a:pt x="4015273" y="3057236"/>
                </a:moveTo>
                <a:lnTo>
                  <a:pt x="4015273" y="3376502"/>
                </a:lnTo>
                <a:lnTo>
                  <a:pt x="3981488" y="3376502"/>
                </a:lnTo>
                <a:lnTo>
                  <a:pt x="3687849" y="3376502"/>
                </a:lnTo>
                <a:cubicBezTo>
                  <a:pt x="3687806" y="3376546"/>
                  <a:pt x="3687762" y="3376589"/>
                  <a:pt x="3687719" y="3376633"/>
                </a:cubicBezTo>
                <a:lnTo>
                  <a:pt x="3685149" y="3376633"/>
                </a:lnTo>
                <a:lnTo>
                  <a:pt x="3677512" y="3391888"/>
                </a:lnTo>
                <a:lnTo>
                  <a:pt x="3677512" y="3409828"/>
                </a:lnTo>
                <a:cubicBezTo>
                  <a:pt x="3680113" y="3612439"/>
                  <a:pt x="3680113" y="3815053"/>
                  <a:pt x="3680113" y="4017666"/>
                </a:cubicBezTo>
                <a:lnTo>
                  <a:pt x="3677529" y="4033152"/>
                </a:lnTo>
                <a:lnTo>
                  <a:pt x="3677660" y="4033167"/>
                </a:lnTo>
                <a:cubicBezTo>
                  <a:pt x="3680259" y="4027977"/>
                  <a:pt x="3680259" y="4022788"/>
                  <a:pt x="3680259" y="4017597"/>
                </a:cubicBezTo>
                <a:cubicBezTo>
                  <a:pt x="3680259" y="3815187"/>
                  <a:pt x="3680259" y="3612776"/>
                  <a:pt x="3677660" y="3410371"/>
                </a:cubicBezTo>
                <a:lnTo>
                  <a:pt x="3677660" y="3392206"/>
                </a:lnTo>
                <a:cubicBezTo>
                  <a:pt x="3677660" y="3384421"/>
                  <a:pt x="3680259" y="3379230"/>
                  <a:pt x="3685456" y="3376636"/>
                </a:cubicBezTo>
                <a:lnTo>
                  <a:pt x="3688055" y="3376636"/>
                </a:lnTo>
                <a:lnTo>
                  <a:pt x="3981723" y="3376636"/>
                </a:lnTo>
                <a:lnTo>
                  <a:pt x="4015351" y="3376636"/>
                </a:lnTo>
                <a:lnTo>
                  <a:pt x="4015351" y="3376542"/>
                </a:lnTo>
                <a:lnTo>
                  <a:pt x="4015351" y="3057656"/>
                </a:lnTo>
                <a:lnTo>
                  <a:pt x="4164049" y="3204639"/>
                </a:lnTo>
                <a:close/>
                <a:moveTo>
                  <a:pt x="1320835" y="3044582"/>
                </a:moveTo>
                <a:lnTo>
                  <a:pt x="1320824" y="3044585"/>
                </a:lnTo>
                <a:lnTo>
                  <a:pt x="1320841" y="3044587"/>
                </a:lnTo>
                <a:lnTo>
                  <a:pt x="1330355" y="3051639"/>
                </a:lnTo>
                <a:lnTo>
                  <a:pt x="1330558" y="3051984"/>
                </a:lnTo>
                <a:cubicBezTo>
                  <a:pt x="1333157" y="3059771"/>
                  <a:pt x="1320162" y="3064961"/>
                  <a:pt x="1314965" y="3070151"/>
                </a:cubicBezTo>
                <a:lnTo>
                  <a:pt x="1247398" y="3137633"/>
                </a:lnTo>
                <a:cubicBezTo>
                  <a:pt x="1229207" y="3158396"/>
                  <a:pt x="1208416" y="3176565"/>
                  <a:pt x="1190225" y="3194731"/>
                </a:cubicBezTo>
                <a:cubicBezTo>
                  <a:pt x="1140849" y="3246642"/>
                  <a:pt x="1088874" y="3293359"/>
                  <a:pt x="1039498" y="3342672"/>
                </a:cubicBezTo>
                <a:cubicBezTo>
                  <a:pt x="1029103" y="3353054"/>
                  <a:pt x="1023906" y="3363435"/>
                  <a:pt x="1005714" y="3376412"/>
                </a:cubicBezTo>
                <a:lnTo>
                  <a:pt x="1006174" y="3376412"/>
                </a:lnTo>
                <a:lnTo>
                  <a:pt x="1025888" y="3358658"/>
                </a:lnTo>
                <a:cubicBezTo>
                  <a:pt x="1030761" y="3353141"/>
                  <a:pt x="1034660" y="3347951"/>
                  <a:pt x="1039856" y="3342759"/>
                </a:cubicBezTo>
                <a:cubicBezTo>
                  <a:pt x="1089231" y="3293442"/>
                  <a:pt x="1141204" y="3246720"/>
                  <a:pt x="1190577" y="3194807"/>
                </a:cubicBezTo>
                <a:cubicBezTo>
                  <a:pt x="1208768" y="3176638"/>
                  <a:pt x="1229557" y="3158467"/>
                  <a:pt x="1247748" y="3137703"/>
                </a:cubicBezTo>
                <a:lnTo>
                  <a:pt x="1315312" y="3070214"/>
                </a:lnTo>
                <a:cubicBezTo>
                  <a:pt x="1320509" y="3065023"/>
                  <a:pt x="1333503" y="3059833"/>
                  <a:pt x="1330903" y="3052046"/>
                </a:cubicBezTo>
                <a:lnTo>
                  <a:pt x="1330355" y="3051639"/>
                </a:lnTo>
                <a:lnTo>
                  <a:pt x="1326862" y="3045698"/>
                </a:lnTo>
                <a:lnTo>
                  <a:pt x="1320841" y="3044587"/>
                </a:lnTo>
                <a:cubicBezTo>
                  <a:pt x="1320839" y="3044586"/>
                  <a:pt x="1320836" y="3044584"/>
                  <a:pt x="1320835" y="3044582"/>
                </a:cubicBezTo>
                <a:close/>
                <a:moveTo>
                  <a:pt x="3010135" y="3028990"/>
                </a:moveTo>
                <a:cubicBezTo>
                  <a:pt x="3010140" y="3029160"/>
                  <a:pt x="3010145" y="3029329"/>
                  <a:pt x="3010149" y="3029499"/>
                </a:cubicBezTo>
                <a:lnTo>
                  <a:pt x="3010609" y="3030190"/>
                </a:lnTo>
                <a:lnTo>
                  <a:pt x="3014374" y="3039718"/>
                </a:lnTo>
                <a:lnTo>
                  <a:pt x="3017694" y="3040856"/>
                </a:lnTo>
                <a:lnTo>
                  <a:pt x="3019058" y="3042909"/>
                </a:lnTo>
                <a:cubicBezTo>
                  <a:pt x="3024768" y="3044825"/>
                  <a:pt x="3033902" y="3044825"/>
                  <a:pt x="3048521" y="3044825"/>
                </a:cubicBezTo>
                <a:cubicBezTo>
                  <a:pt x="3139478" y="3044825"/>
                  <a:pt x="3230433" y="3047418"/>
                  <a:pt x="3321389" y="3044825"/>
                </a:cubicBezTo>
                <a:cubicBezTo>
                  <a:pt x="3331784" y="3044825"/>
                  <a:pt x="3338281" y="3046771"/>
                  <a:pt x="3342180" y="3051311"/>
                </a:cubicBezTo>
                <a:lnTo>
                  <a:pt x="3347357" y="3073284"/>
                </a:lnTo>
                <a:lnTo>
                  <a:pt x="3347357" y="3072810"/>
                </a:lnTo>
                <a:cubicBezTo>
                  <a:pt x="3347357" y="3052046"/>
                  <a:pt x="3342160" y="3044258"/>
                  <a:pt x="3321369" y="3044258"/>
                </a:cubicBezTo>
                <a:cubicBezTo>
                  <a:pt x="3230407" y="3046854"/>
                  <a:pt x="3139445" y="3044258"/>
                  <a:pt x="3048485" y="3044258"/>
                </a:cubicBezTo>
                <a:cubicBezTo>
                  <a:pt x="3038738" y="3044258"/>
                  <a:pt x="3031428" y="3044258"/>
                  <a:pt x="3025948" y="3043692"/>
                </a:cubicBezTo>
                <a:lnTo>
                  <a:pt x="3017694" y="3040856"/>
                </a:lnTo>
                <a:lnTo>
                  <a:pt x="3010609" y="3030190"/>
                </a:lnTo>
                <a:close/>
                <a:moveTo>
                  <a:pt x="2278182" y="2773306"/>
                </a:moveTo>
                <a:lnTo>
                  <a:pt x="2035028" y="3018226"/>
                </a:lnTo>
                <a:cubicBezTo>
                  <a:pt x="2032103" y="3020173"/>
                  <a:pt x="2029543" y="3023214"/>
                  <a:pt x="2027075" y="3025982"/>
                </a:cubicBezTo>
                <a:lnTo>
                  <a:pt x="2023394" y="3029021"/>
                </a:lnTo>
                <a:lnTo>
                  <a:pt x="2014485" y="3031245"/>
                </a:lnTo>
                <a:lnTo>
                  <a:pt x="2014308" y="3031216"/>
                </a:lnTo>
                <a:cubicBezTo>
                  <a:pt x="2014320" y="3031237"/>
                  <a:pt x="2014333" y="3031259"/>
                  <a:pt x="2014346" y="3031280"/>
                </a:cubicBezTo>
                <a:lnTo>
                  <a:pt x="2014485" y="3031245"/>
                </a:lnTo>
                <a:lnTo>
                  <a:pt x="2019669" y="3032096"/>
                </a:lnTo>
                <a:lnTo>
                  <a:pt x="2023394" y="3029021"/>
                </a:lnTo>
                <a:lnTo>
                  <a:pt x="2024739" y="3028685"/>
                </a:lnTo>
                <a:cubicBezTo>
                  <a:pt x="2027988" y="3025441"/>
                  <a:pt x="2031235" y="3020898"/>
                  <a:pt x="2035135" y="3018302"/>
                </a:cubicBezTo>
                <a:close/>
                <a:moveTo>
                  <a:pt x="998278" y="2727588"/>
                </a:moveTo>
                <a:lnTo>
                  <a:pt x="997986" y="2727680"/>
                </a:lnTo>
                <a:lnTo>
                  <a:pt x="1004415" y="2739560"/>
                </a:lnTo>
                <a:cubicBezTo>
                  <a:pt x="1004415" y="2744427"/>
                  <a:pt x="1003115" y="2749617"/>
                  <a:pt x="1003115" y="2753510"/>
                </a:cubicBezTo>
                <a:lnTo>
                  <a:pt x="1003115" y="3015648"/>
                </a:lnTo>
                <a:cubicBezTo>
                  <a:pt x="1003115" y="3039007"/>
                  <a:pt x="1008313" y="3046793"/>
                  <a:pt x="1029103" y="3046793"/>
                </a:cubicBezTo>
                <a:lnTo>
                  <a:pt x="1029275" y="3046793"/>
                </a:lnTo>
                <a:lnTo>
                  <a:pt x="1008673" y="3040040"/>
                </a:lnTo>
                <a:cubicBezTo>
                  <a:pt x="1004774" y="3035174"/>
                  <a:pt x="1003475" y="3027387"/>
                  <a:pt x="1003475" y="3015705"/>
                </a:cubicBezTo>
                <a:lnTo>
                  <a:pt x="1003475" y="2753543"/>
                </a:lnTo>
                <a:cubicBezTo>
                  <a:pt x="1003475" y="2745757"/>
                  <a:pt x="1008673" y="2732778"/>
                  <a:pt x="998278" y="2727588"/>
                </a:cubicBezTo>
                <a:close/>
                <a:moveTo>
                  <a:pt x="644613" y="2714610"/>
                </a:moveTo>
                <a:lnTo>
                  <a:pt x="665280" y="2719770"/>
                </a:lnTo>
                <a:cubicBezTo>
                  <a:pt x="669177" y="2723663"/>
                  <a:pt x="670477" y="2730151"/>
                  <a:pt x="670477" y="2740533"/>
                </a:cubicBezTo>
                <a:lnTo>
                  <a:pt x="670477" y="3007863"/>
                </a:lnTo>
                <a:cubicBezTo>
                  <a:pt x="670477" y="3018243"/>
                  <a:pt x="665280" y="3031221"/>
                  <a:pt x="675674" y="3036411"/>
                </a:cubicBezTo>
                <a:lnTo>
                  <a:pt x="676028" y="3036437"/>
                </a:lnTo>
                <a:lnTo>
                  <a:pt x="669551" y="3024143"/>
                </a:lnTo>
                <a:cubicBezTo>
                  <a:pt x="669551" y="3018950"/>
                  <a:pt x="670849" y="3013111"/>
                  <a:pt x="670849" y="3007919"/>
                </a:cubicBezTo>
                <a:lnTo>
                  <a:pt x="670849" y="2740566"/>
                </a:lnTo>
                <a:cubicBezTo>
                  <a:pt x="670849" y="2719801"/>
                  <a:pt x="665652" y="2714610"/>
                  <a:pt x="644864" y="2714610"/>
                </a:cubicBezTo>
                <a:close/>
                <a:moveTo>
                  <a:pt x="1843583" y="2713595"/>
                </a:moveTo>
                <a:lnTo>
                  <a:pt x="1704967" y="2714568"/>
                </a:lnTo>
                <a:lnTo>
                  <a:pt x="1705107" y="2714610"/>
                </a:lnTo>
                <a:cubicBezTo>
                  <a:pt x="1798659" y="2712014"/>
                  <a:pt x="1889610" y="2714610"/>
                  <a:pt x="1980563" y="2714610"/>
                </a:cubicBezTo>
                <a:lnTo>
                  <a:pt x="2003505" y="2720097"/>
                </a:lnTo>
                <a:cubicBezTo>
                  <a:pt x="2003503" y="2720094"/>
                  <a:pt x="2003500" y="2720089"/>
                  <a:pt x="2003499" y="2720086"/>
                </a:cubicBezTo>
                <a:cubicBezTo>
                  <a:pt x="1999275" y="2715867"/>
                  <a:pt x="1992124" y="2714570"/>
                  <a:pt x="1980423" y="2714570"/>
                </a:cubicBezTo>
                <a:close/>
                <a:moveTo>
                  <a:pt x="2502717" y="2707472"/>
                </a:moveTo>
                <a:lnTo>
                  <a:pt x="2346783" y="2709419"/>
                </a:lnTo>
                <a:lnTo>
                  <a:pt x="2346970" y="2709419"/>
                </a:lnTo>
                <a:lnTo>
                  <a:pt x="2346970" y="2710094"/>
                </a:lnTo>
                <a:lnTo>
                  <a:pt x="2502786" y="2708149"/>
                </a:lnTo>
                <a:lnTo>
                  <a:pt x="2658710" y="2710094"/>
                </a:lnTo>
                <a:cubicBezTo>
                  <a:pt x="2767857" y="2717879"/>
                  <a:pt x="2874405" y="2712690"/>
                  <a:pt x="2980953" y="2715285"/>
                </a:cubicBezTo>
                <a:lnTo>
                  <a:pt x="3003072" y="2720358"/>
                </a:lnTo>
                <a:lnTo>
                  <a:pt x="3008454" y="2727553"/>
                </a:lnTo>
                <a:lnTo>
                  <a:pt x="3009424" y="2729445"/>
                </a:lnTo>
                <a:cubicBezTo>
                  <a:pt x="3009423" y="2729245"/>
                  <a:pt x="3009421" y="2729045"/>
                  <a:pt x="3009420" y="2728845"/>
                </a:cubicBezTo>
                <a:lnTo>
                  <a:pt x="3008454" y="2727553"/>
                </a:lnTo>
                <a:lnTo>
                  <a:pt x="3004992" y="2720798"/>
                </a:lnTo>
                <a:lnTo>
                  <a:pt x="3003072" y="2720358"/>
                </a:lnTo>
                <a:lnTo>
                  <a:pt x="3000923" y="2717484"/>
                </a:lnTo>
                <a:cubicBezTo>
                  <a:pt x="2996263" y="2715340"/>
                  <a:pt x="2989686" y="2714610"/>
                  <a:pt x="2980914" y="2714610"/>
                </a:cubicBezTo>
                <a:lnTo>
                  <a:pt x="2658650" y="2709419"/>
                </a:lnTo>
                <a:cubicBezTo>
                  <a:pt x="2606672" y="2706822"/>
                  <a:pt x="2554694" y="2706822"/>
                  <a:pt x="2502717" y="2707472"/>
                </a:cubicBezTo>
                <a:close/>
                <a:moveTo>
                  <a:pt x="1003213" y="2377175"/>
                </a:moveTo>
                <a:lnTo>
                  <a:pt x="1003213" y="2540066"/>
                </a:lnTo>
                <a:lnTo>
                  <a:pt x="1003213" y="2704010"/>
                </a:lnTo>
                <a:lnTo>
                  <a:pt x="1003475" y="2704228"/>
                </a:lnTo>
                <a:lnTo>
                  <a:pt x="1003475" y="2377175"/>
                </a:lnTo>
                <a:close/>
                <a:moveTo>
                  <a:pt x="665280" y="2377175"/>
                </a:moveTo>
                <a:cubicBezTo>
                  <a:pt x="654884" y="2395342"/>
                  <a:pt x="639292" y="2408320"/>
                  <a:pt x="623699" y="2423892"/>
                </a:cubicBezTo>
                <a:lnTo>
                  <a:pt x="358627" y="2686029"/>
                </a:lnTo>
                <a:cubicBezTo>
                  <a:pt x="353430" y="2693815"/>
                  <a:pt x="343034" y="2699007"/>
                  <a:pt x="345633" y="2709389"/>
                </a:cubicBezTo>
                <a:cubicBezTo>
                  <a:pt x="348232" y="2714579"/>
                  <a:pt x="352130" y="2715876"/>
                  <a:pt x="356353" y="2715876"/>
                </a:cubicBezTo>
                <a:lnTo>
                  <a:pt x="356641" y="2715847"/>
                </a:lnTo>
                <a:lnTo>
                  <a:pt x="346019" y="2709419"/>
                </a:lnTo>
                <a:cubicBezTo>
                  <a:pt x="343422" y="2699036"/>
                  <a:pt x="353817" y="2693845"/>
                  <a:pt x="359014" y="2686058"/>
                </a:cubicBezTo>
                <a:lnTo>
                  <a:pt x="624074" y="2423896"/>
                </a:lnTo>
                <a:cubicBezTo>
                  <a:pt x="639667" y="2408322"/>
                  <a:pt x="655258" y="2395345"/>
                  <a:pt x="665652" y="2377175"/>
                </a:cubicBezTo>
                <a:close/>
                <a:moveTo>
                  <a:pt x="5356303" y="0"/>
                </a:moveTo>
                <a:lnTo>
                  <a:pt x="5356303" y="2377175"/>
                </a:lnTo>
                <a:lnTo>
                  <a:pt x="5327715" y="2377175"/>
                </a:lnTo>
                <a:cubicBezTo>
                  <a:pt x="5348507" y="2377175"/>
                  <a:pt x="5356303" y="2379771"/>
                  <a:pt x="5356303" y="2403132"/>
                </a:cubicBezTo>
                <a:cubicBezTo>
                  <a:pt x="5353704" y="3062428"/>
                  <a:pt x="5353704" y="3721722"/>
                  <a:pt x="5353704" y="4381017"/>
                </a:cubicBezTo>
                <a:lnTo>
                  <a:pt x="4719575" y="5011761"/>
                </a:lnTo>
                <a:lnTo>
                  <a:pt x="4691212" y="5040086"/>
                </a:lnTo>
                <a:lnTo>
                  <a:pt x="4692833" y="5054624"/>
                </a:lnTo>
                <a:cubicBezTo>
                  <a:pt x="4695755" y="5058193"/>
                  <a:pt x="4700304" y="5060788"/>
                  <a:pt x="4704201" y="5063383"/>
                </a:cubicBezTo>
                <a:lnTo>
                  <a:pt x="5016062" y="5374784"/>
                </a:lnTo>
                <a:cubicBezTo>
                  <a:pt x="5010864" y="5385163"/>
                  <a:pt x="5003067" y="5379973"/>
                  <a:pt x="4995272" y="5379973"/>
                </a:cubicBezTo>
                <a:cubicBezTo>
                  <a:pt x="4901713" y="5379973"/>
                  <a:pt x="4805556" y="5382569"/>
                  <a:pt x="4711998" y="5379973"/>
                </a:cubicBezTo>
                <a:cubicBezTo>
                  <a:pt x="4688608" y="5379973"/>
                  <a:pt x="4683411" y="5387758"/>
                  <a:pt x="4686009" y="5408518"/>
                </a:cubicBezTo>
                <a:lnTo>
                  <a:pt x="4686009" y="5709538"/>
                </a:lnTo>
                <a:lnTo>
                  <a:pt x="4023306" y="5050409"/>
                </a:lnTo>
                <a:cubicBezTo>
                  <a:pt x="4020707" y="5050409"/>
                  <a:pt x="4018108" y="5053002"/>
                  <a:pt x="4015508" y="5053002"/>
                </a:cubicBezTo>
                <a:lnTo>
                  <a:pt x="4015508" y="5086738"/>
                </a:lnTo>
                <a:lnTo>
                  <a:pt x="4015508" y="5359213"/>
                </a:lnTo>
                <a:cubicBezTo>
                  <a:pt x="4015508" y="5372188"/>
                  <a:pt x="4015508" y="5379973"/>
                  <a:pt x="3997317" y="5379973"/>
                </a:cubicBezTo>
                <a:lnTo>
                  <a:pt x="3695852" y="5379973"/>
                </a:lnTo>
                <a:cubicBezTo>
                  <a:pt x="3695852" y="5379973"/>
                  <a:pt x="3693253" y="5377378"/>
                  <a:pt x="3690654" y="5377378"/>
                </a:cubicBezTo>
                <a:cubicBezTo>
                  <a:pt x="3690654" y="5366998"/>
                  <a:pt x="3701049" y="5361808"/>
                  <a:pt x="3708846" y="5354023"/>
                </a:cubicBezTo>
                <a:cubicBezTo>
                  <a:pt x="3805003" y="5258008"/>
                  <a:pt x="3901160" y="5159398"/>
                  <a:pt x="3999916" y="5063383"/>
                </a:cubicBezTo>
                <a:cubicBezTo>
                  <a:pt x="4012909" y="5050409"/>
                  <a:pt x="4015508" y="5045217"/>
                  <a:pt x="3999916" y="5029647"/>
                </a:cubicBezTo>
                <a:cubicBezTo>
                  <a:pt x="3901160" y="4933634"/>
                  <a:pt x="3802404" y="4835023"/>
                  <a:pt x="3703648" y="4736413"/>
                </a:cubicBezTo>
                <a:cubicBezTo>
                  <a:pt x="3698450" y="4731223"/>
                  <a:pt x="3695852" y="4723438"/>
                  <a:pt x="3682858" y="4720843"/>
                </a:cubicBezTo>
                <a:lnTo>
                  <a:pt x="3682858" y="4751983"/>
                </a:lnTo>
                <a:lnTo>
                  <a:pt x="3682858" y="5366998"/>
                </a:lnTo>
                <a:cubicBezTo>
                  <a:pt x="3682858" y="5374784"/>
                  <a:pt x="3685456" y="5382569"/>
                  <a:pt x="3675060" y="5382569"/>
                </a:cubicBezTo>
                <a:lnTo>
                  <a:pt x="3347608" y="5382569"/>
                </a:lnTo>
                <a:cubicBezTo>
                  <a:pt x="3329415" y="5377378"/>
                  <a:pt x="3311223" y="5379973"/>
                  <a:pt x="3290433" y="5379973"/>
                </a:cubicBezTo>
                <a:lnTo>
                  <a:pt x="3038346" y="5379973"/>
                </a:lnTo>
                <a:cubicBezTo>
                  <a:pt x="3022752" y="5379973"/>
                  <a:pt x="3009759" y="5377378"/>
                  <a:pt x="2999363" y="5366998"/>
                </a:cubicBezTo>
                <a:cubicBezTo>
                  <a:pt x="2898009" y="5265793"/>
                  <a:pt x="2794055" y="5164587"/>
                  <a:pt x="2692700" y="5060788"/>
                </a:cubicBezTo>
                <a:cubicBezTo>
                  <a:pt x="2691401" y="5059490"/>
                  <a:pt x="2688802" y="5058193"/>
                  <a:pt x="2686853" y="5056247"/>
                </a:cubicBezTo>
                <a:lnTo>
                  <a:pt x="2684935" y="5047948"/>
                </a:lnTo>
                <a:lnTo>
                  <a:pt x="2684504" y="5047952"/>
                </a:lnTo>
                <a:cubicBezTo>
                  <a:pt x="2684510" y="5047930"/>
                  <a:pt x="2684516" y="5047910"/>
                  <a:pt x="2684522" y="5047889"/>
                </a:cubicBezTo>
                <a:lnTo>
                  <a:pt x="2671909" y="5050409"/>
                </a:lnTo>
                <a:cubicBezTo>
                  <a:pt x="2669310" y="5050409"/>
                  <a:pt x="2664113" y="5047813"/>
                  <a:pt x="2661514" y="5047813"/>
                </a:cubicBezTo>
                <a:lnTo>
                  <a:pt x="2365246" y="5047813"/>
                </a:lnTo>
                <a:cubicBezTo>
                  <a:pt x="2356151" y="5046516"/>
                  <a:pt x="2351602" y="5048462"/>
                  <a:pt x="2349328" y="5052355"/>
                </a:cubicBezTo>
                <a:cubicBezTo>
                  <a:pt x="2349328" y="5052357"/>
                  <a:pt x="2349328" y="5052358"/>
                  <a:pt x="2349328" y="5052360"/>
                </a:cubicBezTo>
                <a:lnTo>
                  <a:pt x="2364972" y="5047908"/>
                </a:lnTo>
                <a:lnTo>
                  <a:pt x="2661492" y="5047908"/>
                </a:lnTo>
                <a:cubicBezTo>
                  <a:pt x="2664094" y="5047908"/>
                  <a:pt x="2669296" y="5050499"/>
                  <a:pt x="2671897" y="5050499"/>
                </a:cubicBezTo>
                <a:lnTo>
                  <a:pt x="2349480" y="5371686"/>
                </a:lnTo>
                <a:lnTo>
                  <a:pt x="2349654" y="5372188"/>
                </a:lnTo>
                <a:cubicBezTo>
                  <a:pt x="2354852" y="5385163"/>
                  <a:pt x="2367845" y="5379973"/>
                  <a:pt x="2375642" y="5379973"/>
                </a:cubicBezTo>
                <a:lnTo>
                  <a:pt x="2656317" y="5379973"/>
                </a:lnTo>
                <a:cubicBezTo>
                  <a:pt x="2671909" y="5379973"/>
                  <a:pt x="2679706" y="5382569"/>
                  <a:pt x="2679706" y="5400733"/>
                </a:cubicBezTo>
                <a:cubicBezTo>
                  <a:pt x="2677107" y="5501938"/>
                  <a:pt x="2677107" y="5605738"/>
                  <a:pt x="2677107" y="5709538"/>
                </a:cubicBezTo>
                <a:cubicBezTo>
                  <a:pt x="2666712" y="5706944"/>
                  <a:pt x="2661514" y="5696564"/>
                  <a:pt x="2656317" y="5691374"/>
                </a:cubicBezTo>
                <a:lnTo>
                  <a:pt x="2357451" y="5395543"/>
                </a:lnTo>
                <a:lnTo>
                  <a:pt x="2336745" y="5374869"/>
                </a:lnTo>
                <a:lnTo>
                  <a:pt x="2336551" y="5375150"/>
                </a:lnTo>
                <a:lnTo>
                  <a:pt x="2336659" y="5375258"/>
                </a:lnTo>
                <a:lnTo>
                  <a:pt x="2336377" y="5375404"/>
                </a:lnTo>
                <a:lnTo>
                  <a:pt x="2336274" y="5375551"/>
                </a:lnTo>
                <a:lnTo>
                  <a:pt x="2336211" y="5375488"/>
                </a:lnTo>
                <a:lnTo>
                  <a:pt x="2325930" y="5380782"/>
                </a:lnTo>
                <a:cubicBezTo>
                  <a:pt x="2321703" y="5381108"/>
                  <a:pt x="2317151" y="5380456"/>
                  <a:pt x="2313249" y="5380456"/>
                </a:cubicBezTo>
                <a:lnTo>
                  <a:pt x="2032336" y="5380456"/>
                </a:lnTo>
                <a:cubicBezTo>
                  <a:pt x="2014129" y="5380456"/>
                  <a:pt x="2008927" y="5375258"/>
                  <a:pt x="2008927" y="5359661"/>
                </a:cubicBezTo>
                <a:lnTo>
                  <a:pt x="2008927" y="5053682"/>
                </a:lnTo>
                <a:lnTo>
                  <a:pt x="2008927" y="5052920"/>
                </a:lnTo>
                <a:lnTo>
                  <a:pt x="2008927" y="5052821"/>
                </a:lnTo>
                <a:lnTo>
                  <a:pt x="2006331" y="5050224"/>
                </a:lnTo>
                <a:cubicBezTo>
                  <a:pt x="1998541" y="5045030"/>
                  <a:pt x="1990752" y="5047627"/>
                  <a:pt x="1985557" y="5047627"/>
                </a:cubicBezTo>
                <a:lnTo>
                  <a:pt x="1676569" y="5047627"/>
                </a:lnTo>
                <a:cubicBezTo>
                  <a:pt x="1676569" y="4946334"/>
                  <a:pt x="1676569" y="4847638"/>
                  <a:pt x="1673973" y="4746345"/>
                </a:cubicBezTo>
                <a:cubicBezTo>
                  <a:pt x="1673973" y="4740501"/>
                  <a:pt x="1678354" y="4731735"/>
                  <a:pt x="1673973" y="4724430"/>
                </a:cubicBezTo>
                <a:lnTo>
                  <a:pt x="1666363" y="4717929"/>
                </a:lnTo>
                <a:lnTo>
                  <a:pt x="1665988" y="4718302"/>
                </a:lnTo>
                <a:cubicBezTo>
                  <a:pt x="1562008" y="4824712"/>
                  <a:pt x="1455428" y="4928526"/>
                  <a:pt x="1351449" y="5034935"/>
                </a:cubicBezTo>
                <a:cubicBezTo>
                  <a:pt x="1341050" y="5045317"/>
                  <a:pt x="1335851" y="5042720"/>
                  <a:pt x="1328053" y="5032340"/>
                </a:cubicBezTo>
                <a:lnTo>
                  <a:pt x="1016112" y="4723493"/>
                </a:lnTo>
                <a:cubicBezTo>
                  <a:pt x="1005714" y="4713112"/>
                  <a:pt x="1005714" y="4705325"/>
                  <a:pt x="1008315" y="4694944"/>
                </a:cubicBezTo>
                <a:cubicBezTo>
                  <a:pt x="1011564" y="4697539"/>
                  <a:pt x="1014488" y="4698675"/>
                  <a:pt x="1017168" y="4698797"/>
                </a:cubicBezTo>
                <a:cubicBezTo>
                  <a:pt x="1017172" y="4698796"/>
                  <a:pt x="1017176" y="4698794"/>
                  <a:pt x="1017180" y="4698793"/>
                </a:cubicBezTo>
                <a:lnTo>
                  <a:pt x="1008673" y="4695090"/>
                </a:lnTo>
                <a:lnTo>
                  <a:pt x="1008673" y="4679516"/>
                </a:lnTo>
                <a:cubicBezTo>
                  <a:pt x="1013870" y="4674326"/>
                  <a:pt x="1013870" y="4666540"/>
                  <a:pt x="1013870" y="4658751"/>
                </a:cubicBezTo>
                <a:lnTo>
                  <a:pt x="1013870" y="4425143"/>
                </a:lnTo>
                <a:cubicBezTo>
                  <a:pt x="1013870" y="4419952"/>
                  <a:pt x="1013870" y="4412165"/>
                  <a:pt x="1008673" y="4406973"/>
                </a:cubicBezTo>
                <a:cubicBezTo>
                  <a:pt x="1008673" y="4386209"/>
                  <a:pt x="1000877" y="4378420"/>
                  <a:pt x="980088" y="4378420"/>
                </a:cubicBezTo>
                <a:cubicBezTo>
                  <a:pt x="878740" y="4381017"/>
                  <a:pt x="779992" y="4378420"/>
                  <a:pt x="678647" y="4378420"/>
                </a:cubicBezTo>
                <a:cubicBezTo>
                  <a:pt x="678647" y="4391400"/>
                  <a:pt x="689040" y="4396590"/>
                  <a:pt x="694238" y="4401782"/>
                </a:cubicBezTo>
                <a:cubicBezTo>
                  <a:pt x="792986" y="4503012"/>
                  <a:pt x="894333" y="4601647"/>
                  <a:pt x="993081" y="4700281"/>
                </a:cubicBezTo>
                <a:cubicBezTo>
                  <a:pt x="1000877" y="4708069"/>
                  <a:pt x="1008673" y="4710664"/>
                  <a:pt x="995680" y="4723644"/>
                </a:cubicBezTo>
                <a:cubicBezTo>
                  <a:pt x="889136" y="4827470"/>
                  <a:pt x="785190" y="4931296"/>
                  <a:pt x="681245" y="5037717"/>
                </a:cubicBezTo>
                <a:cubicBezTo>
                  <a:pt x="678647" y="5037717"/>
                  <a:pt x="676048" y="5040313"/>
                  <a:pt x="673448" y="5040313"/>
                </a:cubicBezTo>
                <a:cubicBezTo>
                  <a:pt x="668251" y="5032525"/>
                  <a:pt x="670849" y="5022142"/>
                  <a:pt x="670849" y="5014356"/>
                </a:cubicBezTo>
                <a:lnTo>
                  <a:pt x="670849" y="4736621"/>
                </a:lnTo>
                <a:cubicBezTo>
                  <a:pt x="673448" y="4715856"/>
                  <a:pt x="665652" y="4710664"/>
                  <a:pt x="644864" y="4710664"/>
                </a:cubicBezTo>
                <a:cubicBezTo>
                  <a:pt x="548714" y="4713261"/>
                  <a:pt x="449966" y="4713261"/>
                  <a:pt x="353817" y="4713261"/>
                </a:cubicBezTo>
                <a:cubicBezTo>
                  <a:pt x="343422" y="4713261"/>
                  <a:pt x="333027" y="4713261"/>
                  <a:pt x="325231" y="4700281"/>
                </a:cubicBezTo>
                <a:cubicBezTo>
                  <a:pt x="340823" y="4695090"/>
                  <a:pt x="338224" y="4682113"/>
                  <a:pt x="338224" y="4669134"/>
                </a:cubicBezTo>
                <a:lnTo>
                  <a:pt x="338224" y="4427739"/>
                </a:lnTo>
                <a:cubicBezTo>
                  <a:pt x="338224" y="4419952"/>
                  <a:pt x="340823" y="4414760"/>
                  <a:pt x="338224" y="4409569"/>
                </a:cubicBezTo>
                <a:cubicBezTo>
                  <a:pt x="327830" y="4383612"/>
                  <a:pt x="340823" y="4378420"/>
                  <a:pt x="361612" y="4378420"/>
                </a:cubicBezTo>
                <a:cubicBezTo>
                  <a:pt x="452565" y="4381017"/>
                  <a:pt x="543517" y="4381017"/>
                  <a:pt x="631870" y="4378420"/>
                </a:cubicBezTo>
                <a:cubicBezTo>
                  <a:pt x="642265" y="4378420"/>
                  <a:pt x="652659" y="4383612"/>
                  <a:pt x="657857" y="4375826"/>
                </a:cubicBezTo>
                <a:cubicBezTo>
                  <a:pt x="660455" y="4365443"/>
                  <a:pt x="650061" y="4360251"/>
                  <a:pt x="642265" y="4355061"/>
                </a:cubicBezTo>
                <a:lnTo>
                  <a:pt x="364211" y="4074730"/>
                </a:lnTo>
                <a:cubicBezTo>
                  <a:pt x="356415" y="4069538"/>
                  <a:pt x="343422" y="4064347"/>
                  <a:pt x="348619" y="4053965"/>
                </a:cubicBezTo>
                <a:cubicBezTo>
                  <a:pt x="353817" y="4043582"/>
                  <a:pt x="364211" y="4048772"/>
                  <a:pt x="374605" y="4048772"/>
                </a:cubicBezTo>
                <a:lnTo>
                  <a:pt x="974891" y="4048772"/>
                </a:lnTo>
                <a:cubicBezTo>
                  <a:pt x="995680" y="4048772"/>
                  <a:pt x="1011271" y="4043582"/>
                  <a:pt x="1026863" y="4028008"/>
                </a:cubicBezTo>
                <a:cubicBezTo>
                  <a:pt x="1123012" y="3929373"/>
                  <a:pt x="1221761" y="3833334"/>
                  <a:pt x="1317911" y="3737295"/>
                </a:cubicBezTo>
                <a:cubicBezTo>
                  <a:pt x="1325706" y="3729508"/>
                  <a:pt x="1333503" y="3724316"/>
                  <a:pt x="1341299" y="3719125"/>
                </a:cubicBezTo>
                <a:cubicBezTo>
                  <a:pt x="1341298" y="3719254"/>
                  <a:pt x="1341296" y="3719384"/>
                  <a:pt x="1341295" y="3719513"/>
                </a:cubicBezTo>
                <a:lnTo>
                  <a:pt x="1353403" y="3722050"/>
                </a:lnTo>
                <a:cubicBezTo>
                  <a:pt x="1356653" y="3724639"/>
                  <a:pt x="1359253" y="3728520"/>
                  <a:pt x="1361853" y="3732403"/>
                </a:cubicBezTo>
                <a:lnTo>
                  <a:pt x="1517847" y="3887684"/>
                </a:lnTo>
                <a:lnTo>
                  <a:pt x="1362087" y="3732103"/>
                </a:lnTo>
                <a:cubicBezTo>
                  <a:pt x="1356890" y="3724316"/>
                  <a:pt x="1351693" y="3716529"/>
                  <a:pt x="1341299" y="3719125"/>
                </a:cubicBezTo>
                <a:cubicBezTo>
                  <a:pt x="1341299" y="3612703"/>
                  <a:pt x="1338700" y="3508877"/>
                  <a:pt x="1341299" y="3402460"/>
                </a:cubicBezTo>
                <a:cubicBezTo>
                  <a:pt x="1341299" y="3392077"/>
                  <a:pt x="1339999" y="3385588"/>
                  <a:pt x="1335776" y="3381695"/>
                </a:cubicBezTo>
                <a:lnTo>
                  <a:pt x="1335434" y="3381617"/>
                </a:lnTo>
                <a:lnTo>
                  <a:pt x="1340952" y="3402367"/>
                </a:lnTo>
                <a:cubicBezTo>
                  <a:pt x="1338354" y="3508775"/>
                  <a:pt x="1340952" y="3612590"/>
                  <a:pt x="1340952" y="3719003"/>
                </a:cubicBezTo>
                <a:cubicBezTo>
                  <a:pt x="1333157" y="3724194"/>
                  <a:pt x="1325360" y="3729385"/>
                  <a:pt x="1317563" y="3737172"/>
                </a:cubicBezTo>
                <a:cubicBezTo>
                  <a:pt x="1221410" y="3833201"/>
                  <a:pt x="1122658" y="3929231"/>
                  <a:pt x="1026504" y="4027858"/>
                </a:cubicBezTo>
                <a:cubicBezTo>
                  <a:pt x="1010913" y="4043430"/>
                  <a:pt x="995320" y="4048621"/>
                  <a:pt x="974529" y="4048621"/>
                </a:cubicBezTo>
                <a:lnTo>
                  <a:pt x="374219" y="4048621"/>
                </a:lnTo>
                <a:cubicBezTo>
                  <a:pt x="363825" y="4048621"/>
                  <a:pt x="353430" y="4043430"/>
                  <a:pt x="348232" y="4053812"/>
                </a:cubicBezTo>
                <a:cubicBezTo>
                  <a:pt x="343034" y="4064194"/>
                  <a:pt x="356028" y="4069384"/>
                  <a:pt x="363825" y="4074575"/>
                </a:cubicBezTo>
                <a:lnTo>
                  <a:pt x="641890" y="4354881"/>
                </a:lnTo>
                <a:cubicBezTo>
                  <a:pt x="649686" y="4360071"/>
                  <a:pt x="660081" y="4365263"/>
                  <a:pt x="657482" y="4375644"/>
                </a:cubicBezTo>
                <a:cubicBezTo>
                  <a:pt x="652285" y="4383431"/>
                  <a:pt x="641890" y="4378239"/>
                  <a:pt x="631496" y="4378239"/>
                </a:cubicBezTo>
                <a:cubicBezTo>
                  <a:pt x="543138" y="4380835"/>
                  <a:pt x="452182" y="4380835"/>
                  <a:pt x="361226" y="4378239"/>
                </a:cubicBezTo>
                <a:cubicBezTo>
                  <a:pt x="340436" y="4378239"/>
                  <a:pt x="327443" y="4383431"/>
                  <a:pt x="337837" y="4409385"/>
                </a:cubicBezTo>
                <a:cubicBezTo>
                  <a:pt x="340436" y="4414575"/>
                  <a:pt x="337837" y="4419765"/>
                  <a:pt x="337837" y="4427553"/>
                </a:cubicBezTo>
                <a:lnTo>
                  <a:pt x="337837" y="4668927"/>
                </a:lnTo>
                <a:cubicBezTo>
                  <a:pt x="337837" y="4681904"/>
                  <a:pt x="340436" y="4694880"/>
                  <a:pt x="324844" y="4700071"/>
                </a:cubicBezTo>
                <a:lnTo>
                  <a:pt x="23389" y="4401598"/>
                </a:lnTo>
                <a:cubicBezTo>
                  <a:pt x="18192" y="4396407"/>
                  <a:pt x="12994" y="4386025"/>
                  <a:pt x="2599" y="4386025"/>
                </a:cubicBezTo>
                <a:cubicBezTo>
                  <a:pt x="2599" y="3724194"/>
                  <a:pt x="2599" y="3064961"/>
                  <a:pt x="0" y="2403130"/>
                </a:cubicBezTo>
                <a:cubicBezTo>
                  <a:pt x="0" y="2379770"/>
                  <a:pt x="7796" y="2377175"/>
                  <a:pt x="28586" y="2377175"/>
                </a:cubicBezTo>
                <a:lnTo>
                  <a:pt x="621" y="2377175"/>
                </a:lnTo>
                <a:lnTo>
                  <a:pt x="621" y="9538"/>
                </a:ln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32518810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3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5CC952D6-8EBC-4A71-8750-D791C5728C2A}"/>
              </a:ext>
            </a:extLst>
          </p:cNvPr>
          <p:cNvSpPr>
            <a:spLocks noGrp="1"/>
          </p:cNvSpPr>
          <p:nvPr>
            <p:ph type="pic" sz="quarter" idx="16"/>
          </p:nvPr>
        </p:nvSpPr>
        <p:spPr>
          <a:xfrm>
            <a:off x="7639554" y="885871"/>
            <a:ext cx="7459325" cy="7229384"/>
          </a:xfrm>
          <a:custGeom>
            <a:avLst/>
            <a:gdLst>
              <a:gd name="connsiteX0" fmla="*/ 1931698 w 5613131"/>
              <a:gd name="connsiteY0" fmla="*/ 4307231 h 5508102"/>
              <a:gd name="connsiteX1" fmla="*/ 1928686 w 5613131"/>
              <a:gd name="connsiteY1" fmla="*/ 4316291 h 5508102"/>
              <a:gd name="connsiteX2" fmla="*/ 1917979 w 5613131"/>
              <a:gd name="connsiteY2" fmla="*/ 4316291 h 5508102"/>
              <a:gd name="connsiteX3" fmla="*/ 1928686 w 5613131"/>
              <a:gd name="connsiteY3" fmla="*/ 4316291 h 5508102"/>
              <a:gd name="connsiteX4" fmla="*/ 1931698 w 5613131"/>
              <a:gd name="connsiteY4" fmla="*/ 4307231 h 5508102"/>
              <a:gd name="connsiteX5" fmla="*/ 582170 w 5613131"/>
              <a:gd name="connsiteY5" fmla="*/ 1892413 h 5508102"/>
              <a:gd name="connsiteX6" fmla="*/ 536763 w 5613131"/>
              <a:gd name="connsiteY6" fmla="*/ 1900457 h 5508102"/>
              <a:gd name="connsiteX7" fmla="*/ 561524 w 5613131"/>
              <a:gd name="connsiteY7" fmla="*/ 1894417 h 5508102"/>
              <a:gd name="connsiteX8" fmla="*/ 3172215 w 5613131"/>
              <a:gd name="connsiteY8" fmla="*/ 18622 h 5508102"/>
              <a:gd name="connsiteX9" fmla="*/ 3173375 w 5613131"/>
              <a:gd name="connsiteY9" fmla="*/ 20561 h 5508102"/>
              <a:gd name="connsiteX10" fmla="*/ 3170709 w 5613131"/>
              <a:gd name="connsiteY10" fmla="*/ 21474 h 5508102"/>
              <a:gd name="connsiteX11" fmla="*/ 3172215 w 5613131"/>
              <a:gd name="connsiteY11" fmla="*/ 18622 h 5508102"/>
              <a:gd name="connsiteX12" fmla="*/ 3267073 w 5613131"/>
              <a:gd name="connsiteY12" fmla="*/ 0 h 5508102"/>
              <a:gd name="connsiteX13" fmla="*/ 3288487 w 5613131"/>
              <a:gd name="connsiteY13" fmla="*/ 10737 h 5508102"/>
              <a:gd name="connsiteX14" fmla="*/ 3309902 w 5613131"/>
              <a:gd name="connsiteY14" fmla="*/ 10737 h 5508102"/>
              <a:gd name="connsiteX15" fmla="*/ 3545458 w 5613131"/>
              <a:gd name="connsiteY15" fmla="*/ 53685 h 5508102"/>
              <a:gd name="connsiteX16" fmla="*/ 4016570 w 5613131"/>
              <a:gd name="connsiteY16" fmla="*/ 118108 h 5508102"/>
              <a:gd name="connsiteX17" fmla="*/ 3748893 w 5613131"/>
              <a:gd name="connsiteY17" fmla="*/ 96634 h 5508102"/>
              <a:gd name="connsiteX18" fmla="*/ 3716771 w 5613131"/>
              <a:gd name="connsiteY18" fmla="*/ 107371 h 5508102"/>
              <a:gd name="connsiteX19" fmla="*/ 3866671 w 5613131"/>
              <a:gd name="connsiteY19" fmla="*/ 118108 h 5508102"/>
              <a:gd name="connsiteX20" fmla="*/ 4316369 w 5613131"/>
              <a:gd name="connsiteY20" fmla="*/ 214741 h 5508102"/>
              <a:gd name="connsiteX21" fmla="*/ 4701825 w 5613131"/>
              <a:gd name="connsiteY21" fmla="*/ 289900 h 5508102"/>
              <a:gd name="connsiteX22" fmla="*/ 5162230 w 5613131"/>
              <a:gd name="connsiteY22" fmla="*/ 408008 h 5508102"/>
              <a:gd name="connsiteX23" fmla="*/ 5226473 w 5613131"/>
              <a:gd name="connsiteY23" fmla="*/ 440219 h 5508102"/>
              <a:gd name="connsiteX24" fmla="*/ 5205058 w 5613131"/>
              <a:gd name="connsiteY24" fmla="*/ 440219 h 5508102"/>
              <a:gd name="connsiteX25" fmla="*/ 5205058 w 5613131"/>
              <a:gd name="connsiteY25" fmla="*/ 440219 h 5508102"/>
              <a:gd name="connsiteX26" fmla="*/ 5226473 w 5613131"/>
              <a:gd name="connsiteY26" fmla="*/ 440219 h 5508102"/>
              <a:gd name="connsiteX27" fmla="*/ 5397786 w 5613131"/>
              <a:gd name="connsiteY27" fmla="*/ 504641 h 5508102"/>
              <a:gd name="connsiteX28" fmla="*/ 5569099 w 5613131"/>
              <a:gd name="connsiteY28" fmla="*/ 612011 h 5508102"/>
              <a:gd name="connsiteX29" fmla="*/ 5515564 w 5613131"/>
              <a:gd name="connsiteY29" fmla="*/ 601274 h 5508102"/>
              <a:gd name="connsiteX30" fmla="*/ 5569099 w 5613131"/>
              <a:gd name="connsiteY30" fmla="*/ 633486 h 5508102"/>
              <a:gd name="connsiteX31" fmla="*/ 5547685 w 5613131"/>
              <a:gd name="connsiteY31" fmla="*/ 676434 h 5508102"/>
              <a:gd name="connsiteX32" fmla="*/ 5504857 w 5613131"/>
              <a:gd name="connsiteY32" fmla="*/ 665697 h 5508102"/>
              <a:gd name="connsiteX33" fmla="*/ 5558393 w 5613131"/>
              <a:gd name="connsiteY33" fmla="*/ 697908 h 5508102"/>
              <a:gd name="connsiteX34" fmla="*/ 5579807 w 5613131"/>
              <a:gd name="connsiteY34" fmla="*/ 730119 h 5508102"/>
              <a:gd name="connsiteX35" fmla="*/ 5569099 w 5613131"/>
              <a:gd name="connsiteY35" fmla="*/ 751593 h 5508102"/>
              <a:gd name="connsiteX36" fmla="*/ 5558393 w 5613131"/>
              <a:gd name="connsiteY36" fmla="*/ 762330 h 5508102"/>
              <a:gd name="connsiteX37" fmla="*/ 5536978 w 5613131"/>
              <a:gd name="connsiteY37" fmla="*/ 783804 h 5508102"/>
              <a:gd name="connsiteX38" fmla="*/ 5579807 w 5613131"/>
              <a:gd name="connsiteY38" fmla="*/ 848226 h 5508102"/>
              <a:gd name="connsiteX39" fmla="*/ 5504857 w 5613131"/>
              <a:gd name="connsiteY39" fmla="*/ 826752 h 5508102"/>
              <a:gd name="connsiteX40" fmla="*/ 5569099 w 5613131"/>
              <a:gd name="connsiteY40" fmla="*/ 880438 h 5508102"/>
              <a:gd name="connsiteX41" fmla="*/ 5579807 w 5613131"/>
              <a:gd name="connsiteY41" fmla="*/ 901912 h 5508102"/>
              <a:gd name="connsiteX42" fmla="*/ 5558393 w 5613131"/>
              <a:gd name="connsiteY42" fmla="*/ 923386 h 5508102"/>
              <a:gd name="connsiteX43" fmla="*/ 5611928 w 5613131"/>
              <a:gd name="connsiteY43" fmla="*/ 987808 h 5508102"/>
              <a:gd name="connsiteX44" fmla="*/ 5579807 w 5613131"/>
              <a:gd name="connsiteY44" fmla="*/ 966334 h 5508102"/>
              <a:gd name="connsiteX45" fmla="*/ 5558393 w 5613131"/>
              <a:gd name="connsiteY45" fmla="*/ 977071 h 5508102"/>
              <a:gd name="connsiteX46" fmla="*/ 5569099 w 5613131"/>
              <a:gd name="connsiteY46" fmla="*/ 1062967 h 5508102"/>
              <a:gd name="connsiteX47" fmla="*/ 5569099 w 5613131"/>
              <a:gd name="connsiteY47" fmla="*/ 1062967 h 5508102"/>
              <a:gd name="connsiteX48" fmla="*/ 5579807 w 5613131"/>
              <a:gd name="connsiteY48" fmla="*/ 1116653 h 5508102"/>
              <a:gd name="connsiteX49" fmla="*/ 5536978 w 5613131"/>
              <a:gd name="connsiteY49" fmla="*/ 1073704 h 5508102"/>
              <a:gd name="connsiteX50" fmla="*/ 5536978 w 5613131"/>
              <a:gd name="connsiteY50" fmla="*/ 1084441 h 5508102"/>
              <a:gd name="connsiteX51" fmla="*/ 5579807 w 5613131"/>
              <a:gd name="connsiteY51" fmla="*/ 1116653 h 5508102"/>
              <a:gd name="connsiteX52" fmla="*/ 5601221 w 5613131"/>
              <a:gd name="connsiteY52" fmla="*/ 1213286 h 5508102"/>
              <a:gd name="connsiteX53" fmla="*/ 5579807 w 5613131"/>
              <a:gd name="connsiteY53" fmla="*/ 1202549 h 5508102"/>
              <a:gd name="connsiteX54" fmla="*/ 5569099 w 5613131"/>
              <a:gd name="connsiteY54" fmla="*/ 1202549 h 5508102"/>
              <a:gd name="connsiteX55" fmla="*/ 5569099 w 5613131"/>
              <a:gd name="connsiteY55" fmla="*/ 1266971 h 5508102"/>
              <a:gd name="connsiteX56" fmla="*/ 5569099 w 5613131"/>
              <a:gd name="connsiteY56" fmla="*/ 1320656 h 5508102"/>
              <a:gd name="connsiteX57" fmla="*/ 5558393 w 5613131"/>
              <a:gd name="connsiteY57" fmla="*/ 1299182 h 5508102"/>
              <a:gd name="connsiteX58" fmla="*/ 5601221 w 5613131"/>
              <a:gd name="connsiteY58" fmla="*/ 1385078 h 5508102"/>
              <a:gd name="connsiteX59" fmla="*/ 5590513 w 5613131"/>
              <a:gd name="connsiteY59" fmla="*/ 1460238 h 5508102"/>
              <a:gd name="connsiteX60" fmla="*/ 5601221 w 5613131"/>
              <a:gd name="connsiteY60" fmla="*/ 1492449 h 5508102"/>
              <a:gd name="connsiteX61" fmla="*/ 5569099 w 5613131"/>
              <a:gd name="connsiteY61" fmla="*/ 1589082 h 5508102"/>
              <a:gd name="connsiteX62" fmla="*/ 5579807 w 5613131"/>
              <a:gd name="connsiteY62" fmla="*/ 1610556 h 5508102"/>
              <a:gd name="connsiteX63" fmla="*/ 5569099 w 5613131"/>
              <a:gd name="connsiteY63" fmla="*/ 1685716 h 5508102"/>
              <a:gd name="connsiteX64" fmla="*/ 5579807 w 5613131"/>
              <a:gd name="connsiteY64" fmla="*/ 1717927 h 5508102"/>
              <a:gd name="connsiteX65" fmla="*/ 5579807 w 5613131"/>
              <a:gd name="connsiteY65" fmla="*/ 1900457 h 5508102"/>
              <a:gd name="connsiteX66" fmla="*/ 5558393 w 5613131"/>
              <a:gd name="connsiteY66" fmla="*/ 1975616 h 5508102"/>
              <a:gd name="connsiteX67" fmla="*/ 5579807 w 5613131"/>
              <a:gd name="connsiteY67" fmla="*/ 2029301 h 5508102"/>
              <a:gd name="connsiteX68" fmla="*/ 5558393 w 5613131"/>
              <a:gd name="connsiteY68" fmla="*/ 2297727 h 5508102"/>
              <a:gd name="connsiteX69" fmla="*/ 5558393 w 5613131"/>
              <a:gd name="connsiteY69" fmla="*/ 2297727 h 5508102"/>
              <a:gd name="connsiteX70" fmla="*/ 5558393 w 5613131"/>
              <a:gd name="connsiteY70" fmla="*/ 2405097 h 5508102"/>
              <a:gd name="connsiteX71" fmla="*/ 5526271 w 5613131"/>
              <a:gd name="connsiteY71" fmla="*/ 2512468 h 5508102"/>
              <a:gd name="connsiteX72" fmla="*/ 5237179 w 5613131"/>
              <a:gd name="connsiteY72" fmla="*/ 2737946 h 5508102"/>
              <a:gd name="connsiteX73" fmla="*/ 5065866 w 5613131"/>
              <a:gd name="connsiteY73" fmla="*/ 2813105 h 5508102"/>
              <a:gd name="connsiteX74" fmla="*/ 5108695 w 5613131"/>
              <a:gd name="connsiteY74" fmla="*/ 2780894 h 5508102"/>
              <a:gd name="connsiteX75" fmla="*/ 5119401 w 5613131"/>
              <a:gd name="connsiteY75" fmla="*/ 2737946 h 5508102"/>
              <a:gd name="connsiteX76" fmla="*/ 5151523 w 5613131"/>
              <a:gd name="connsiteY76" fmla="*/ 2727209 h 5508102"/>
              <a:gd name="connsiteX77" fmla="*/ 5194351 w 5613131"/>
              <a:gd name="connsiteY77" fmla="*/ 2694997 h 5508102"/>
              <a:gd name="connsiteX78" fmla="*/ 5108695 w 5613131"/>
              <a:gd name="connsiteY78" fmla="*/ 2727209 h 5508102"/>
              <a:gd name="connsiteX79" fmla="*/ 5044451 w 5613131"/>
              <a:gd name="connsiteY79" fmla="*/ 2727209 h 5508102"/>
              <a:gd name="connsiteX80" fmla="*/ 5044451 w 5613131"/>
              <a:gd name="connsiteY80" fmla="*/ 2727209 h 5508102"/>
              <a:gd name="connsiteX81" fmla="*/ 4926673 w 5613131"/>
              <a:gd name="connsiteY81" fmla="*/ 2759420 h 5508102"/>
              <a:gd name="connsiteX82" fmla="*/ 4937381 w 5613131"/>
              <a:gd name="connsiteY82" fmla="*/ 2737946 h 5508102"/>
              <a:gd name="connsiteX83" fmla="*/ 5023037 w 5613131"/>
              <a:gd name="connsiteY83" fmla="*/ 2684260 h 5508102"/>
              <a:gd name="connsiteX84" fmla="*/ 4883845 w 5613131"/>
              <a:gd name="connsiteY84" fmla="*/ 2727209 h 5508102"/>
              <a:gd name="connsiteX85" fmla="*/ 4862431 w 5613131"/>
              <a:gd name="connsiteY85" fmla="*/ 2748683 h 5508102"/>
              <a:gd name="connsiteX86" fmla="*/ 4830309 w 5613131"/>
              <a:gd name="connsiteY86" fmla="*/ 2748683 h 5508102"/>
              <a:gd name="connsiteX87" fmla="*/ 4830309 w 5613131"/>
              <a:gd name="connsiteY87" fmla="*/ 2802368 h 5508102"/>
              <a:gd name="connsiteX88" fmla="*/ 4819603 w 5613131"/>
              <a:gd name="connsiteY88" fmla="*/ 2823842 h 5508102"/>
              <a:gd name="connsiteX89" fmla="*/ 4830309 w 5613131"/>
              <a:gd name="connsiteY89" fmla="*/ 2856053 h 5508102"/>
              <a:gd name="connsiteX90" fmla="*/ 4808895 w 5613131"/>
              <a:gd name="connsiteY90" fmla="*/ 2941949 h 5508102"/>
              <a:gd name="connsiteX91" fmla="*/ 4841017 w 5613131"/>
              <a:gd name="connsiteY91" fmla="*/ 2995635 h 5508102"/>
              <a:gd name="connsiteX92" fmla="*/ 4819603 w 5613131"/>
              <a:gd name="connsiteY92" fmla="*/ 3038583 h 5508102"/>
              <a:gd name="connsiteX93" fmla="*/ 4819603 w 5613131"/>
              <a:gd name="connsiteY93" fmla="*/ 3145953 h 5508102"/>
              <a:gd name="connsiteX94" fmla="*/ 4787481 w 5613131"/>
              <a:gd name="connsiteY94" fmla="*/ 3210375 h 5508102"/>
              <a:gd name="connsiteX95" fmla="*/ 4819603 w 5613131"/>
              <a:gd name="connsiteY95" fmla="*/ 3274798 h 5508102"/>
              <a:gd name="connsiteX96" fmla="*/ 4798189 w 5613131"/>
              <a:gd name="connsiteY96" fmla="*/ 3360694 h 5508102"/>
              <a:gd name="connsiteX97" fmla="*/ 4808895 w 5613131"/>
              <a:gd name="connsiteY97" fmla="*/ 3511013 h 5508102"/>
              <a:gd name="connsiteX98" fmla="*/ 4798189 w 5613131"/>
              <a:gd name="connsiteY98" fmla="*/ 3543224 h 5508102"/>
              <a:gd name="connsiteX99" fmla="*/ 4798189 w 5613131"/>
              <a:gd name="connsiteY99" fmla="*/ 3596909 h 5508102"/>
              <a:gd name="connsiteX100" fmla="*/ 4787481 w 5613131"/>
              <a:gd name="connsiteY100" fmla="*/ 3629120 h 5508102"/>
              <a:gd name="connsiteX101" fmla="*/ 4819603 w 5613131"/>
              <a:gd name="connsiteY101" fmla="*/ 3650594 h 5508102"/>
              <a:gd name="connsiteX102" fmla="*/ 4819603 w 5613131"/>
              <a:gd name="connsiteY102" fmla="*/ 3768701 h 5508102"/>
              <a:gd name="connsiteX103" fmla="*/ 4787481 w 5613131"/>
              <a:gd name="connsiteY103" fmla="*/ 3854598 h 5508102"/>
              <a:gd name="connsiteX104" fmla="*/ 4819603 w 5613131"/>
              <a:gd name="connsiteY104" fmla="*/ 3919020 h 5508102"/>
              <a:gd name="connsiteX105" fmla="*/ 4776774 w 5613131"/>
              <a:gd name="connsiteY105" fmla="*/ 4015653 h 5508102"/>
              <a:gd name="connsiteX106" fmla="*/ 4787481 w 5613131"/>
              <a:gd name="connsiteY106" fmla="*/ 4037128 h 5508102"/>
              <a:gd name="connsiteX107" fmla="*/ 4755360 w 5613131"/>
              <a:gd name="connsiteY107" fmla="*/ 4112287 h 5508102"/>
              <a:gd name="connsiteX108" fmla="*/ 4701825 w 5613131"/>
              <a:gd name="connsiteY108" fmla="*/ 4155235 h 5508102"/>
              <a:gd name="connsiteX109" fmla="*/ 4637582 w 5613131"/>
              <a:gd name="connsiteY109" fmla="*/ 4155235 h 5508102"/>
              <a:gd name="connsiteX110" fmla="*/ 4733946 w 5613131"/>
              <a:gd name="connsiteY110" fmla="*/ 4069339 h 5508102"/>
              <a:gd name="connsiteX111" fmla="*/ 4733946 w 5613131"/>
              <a:gd name="connsiteY111" fmla="*/ 4026390 h 5508102"/>
              <a:gd name="connsiteX112" fmla="*/ 4744653 w 5613131"/>
              <a:gd name="connsiteY112" fmla="*/ 4026390 h 5508102"/>
              <a:gd name="connsiteX113" fmla="*/ 4755360 w 5613131"/>
              <a:gd name="connsiteY113" fmla="*/ 4004916 h 5508102"/>
              <a:gd name="connsiteX114" fmla="*/ 4744653 w 5613131"/>
              <a:gd name="connsiteY114" fmla="*/ 4026390 h 5508102"/>
              <a:gd name="connsiteX115" fmla="*/ 4733946 w 5613131"/>
              <a:gd name="connsiteY115" fmla="*/ 4026390 h 5508102"/>
              <a:gd name="connsiteX116" fmla="*/ 4551925 w 5613131"/>
              <a:gd name="connsiteY116" fmla="*/ 4112287 h 5508102"/>
              <a:gd name="connsiteX117" fmla="*/ 4423440 w 5613131"/>
              <a:gd name="connsiteY117" fmla="*/ 4187446 h 5508102"/>
              <a:gd name="connsiteX118" fmla="*/ 4294955 w 5613131"/>
              <a:gd name="connsiteY118" fmla="*/ 4219657 h 5508102"/>
              <a:gd name="connsiteX119" fmla="*/ 4391319 w 5613131"/>
              <a:gd name="connsiteY119" fmla="*/ 4165972 h 5508102"/>
              <a:gd name="connsiteX120" fmla="*/ 4380611 w 5613131"/>
              <a:gd name="connsiteY120" fmla="*/ 4155235 h 5508102"/>
              <a:gd name="connsiteX121" fmla="*/ 4369905 w 5613131"/>
              <a:gd name="connsiteY121" fmla="*/ 4133761 h 5508102"/>
              <a:gd name="connsiteX122" fmla="*/ 4391319 w 5613131"/>
              <a:gd name="connsiteY122" fmla="*/ 4112287 h 5508102"/>
              <a:gd name="connsiteX123" fmla="*/ 4262833 w 5613131"/>
              <a:gd name="connsiteY123" fmla="*/ 4144498 h 5508102"/>
              <a:gd name="connsiteX124" fmla="*/ 4369905 w 5613131"/>
              <a:gd name="connsiteY124" fmla="*/ 4101550 h 5508102"/>
              <a:gd name="connsiteX125" fmla="*/ 4337783 w 5613131"/>
              <a:gd name="connsiteY125" fmla="*/ 4090813 h 5508102"/>
              <a:gd name="connsiteX126" fmla="*/ 4380611 w 5613131"/>
              <a:gd name="connsiteY126" fmla="*/ 4058602 h 5508102"/>
              <a:gd name="connsiteX127" fmla="*/ 4198591 w 5613131"/>
              <a:gd name="connsiteY127" fmla="*/ 4112287 h 5508102"/>
              <a:gd name="connsiteX128" fmla="*/ 3834549 w 5613131"/>
              <a:gd name="connsiteY128" fmla="*/ 4165972 h 5508102"/>
              <a:gd name="connsiteX129" fmla="*/ 3170709 w 5613131"/>
              <a:gd name="connsiteY129" fmla="*/ 4284080 h 5508102"/>
              <a:gd name="connsiteX130" fmla="*/ 2935153 w 5613131"/>
              <a:gd name="connsiteY130" fmla="*/ 4337765 h 5508102"/>
              <a:gd name="connsiteX131" fmla="*/ 3556165 w 5613131"/>
              <a:gd name="connsiteY131" fmla="*/ 4198183 h 5508102"/>
              <a:gd name="connsiteX132" fmla="*/ 3673943 w 5613131"/>
              <a:gd name="connsiteY132" fmla="*/ 4176709 h 5508102"/>
              <a:gd name="connsiteX133" fmla="*/ 3930913 w 5613131"/>
              <a:gd name="connsiteY133" fmla="*/ 4112287 h 5508102"/>
              <a:gd name="connsiteX134" fmla="*/ 3930913 w 5613131"/>
              <a:gd name="connsiteY134" fmla="*/ 4112287 h 5508102"/>
              <a:gd name="connsiteX135" fmla="*/ 3085053 w 5613131"/>
              <a:gd name="connsiteY135" fmla="*/ 4273343 h 5508102"/>
              <a:gd name="connsiteX136" fmla="*/ 3085053 w 5613131"/>
              <a:gd name="connsiteY136" fmla="*/ 4262606 h 5508102"/>
              <a:gd name="connsiteX137" fmla="*/ 3085053 w 5613131"/>
              <a:gd name="connsiteY137" fmla="*/ 4262606 h 5508102"/>
              <a:gd name="connsiteX138" fmla="*/ 3052931 w 5613131"/>
              <a:gd name="connsiteY138" fmla="*/ 4273343 h 5508102"/>
              <a:gd name="connsiteX139" fmla="*/ 3031517 w 5613131"/>
              <a:gd name="connsiteY139" fmla="*/ 4273343 h 5508102"/>
              <a:gd name="connsiteX140" fmla="*/ 3631115 w 5613131"/>
              <a:gd name="connsiteY140" fmla="*/ 4144498 h 5508102"/>
              <a:gd name="connsiteX141" fmla="*/ 3652529 w 5613131"/>
              <a:gd name="connsiteY141" fmla="*/ 4133761 h 5508102"/>
              <a:gd name="connsiteX142" fmla="*/ 3695357 w 5613131"/>
              <a:gd name="connsiteY142" fmla="*/ 4133761 h 5508102"/>
              <a:gd name="connsiteX143" fmla="*/ 3791721 w 5613131"/>
              <a:gd name="connsiteY143" fmla="*/ 4101550 h 5508102"/>
              <a:gd name="connsiteX144" fmla="*/ 4059399 w 5613131"/>
              <a:gd name="connsiteY144" fmla="*/ 4058602 h 5508102"/>
              <a:gd name="connsiteX145" fmla="*/ 4112934 w 5613131"/>
              <a:gd name="connsiteY145" fmla="*/ 4037128 h 5508102"/>
              <a:gd name="connsiteX146" fmla="*/ 3770307 w 5613131"/>
              <a:gd name="connsiteY146" fmla="*/ 4101550 h 5508102"/>
              <a:gd name="connsiteX147" fmla="*/ 2881618 w 5613131"/>
              <a:gd name="connsiteY147" fmla="*/ 4284080 h 5508102"/>
              <a:gd name="connsiteX148" fmla="*/ 2881618 w 5613131"/>
              <a:gd name="connsiteY148" fmla="*/ 4273343 h 5508102"/>
              <a:gd name="connsiteX149" fmla="*/ 2881618 w 5613131"/>
              <a:gd name="connsiteY149" fmla="*/ 4273343 h 5508102"/>
              <a:gd name="connsiteX150" fmla="*/ 2881618 w 5613131"/>
              <a:gd name="connsiteY150" fmla="*/ 4284080 h 5508102"/>
              <a:gd name="connsiteX151" fmla="*/ 2806668 w 5613131"/>
              <a:gd name="connsiteY151" fmla="*/ 4305554 h 5508102"/>
              <a:gd name="connsiteX152" fmla="*/ 2785254 w 5613131"/>
              <a:gd name="connsiteY152" fmla="*/ 4305554 h 5508102"/>
              <a:gd name="connsiteX153" fmla="*/ 2667476 w 5613131"/>
              <a:gd name="connsiteY153" fmla="*/ 4337765 h 5508102"/>
              <a:gd name="connsiteX154" fmla="*/ 3213538 w 5613131"/>
              <a:gd name="connsiteY154" fmla="*/ 4165972 h 5508102"/>
              <a:gd name="connsiteX155" fmla="*/ 3748893 w 5613131"/>
              <a:gd name="connsiteY155" fmla="*/ 4080076 h 5508102"/>
              <a:gd name="connsiteX156" fmla="*/ 3855964 w 5613131"/>
              <a:gd name="connsiteY156" fmla="*/ 4047865 h 5508102"/>
              <a:gd name="connsiteX157" fmla="*/ 3042224 w 5613131"/>
              <a:gd name="connsiteY157" fmla="*/ 4187446 h 5508102"/>
              <a:gd name="connsiteX158" fmla="*/ 2924446 w 5613131"/>
              <a:gd name="connsiteY158" fmla="*/ 4198183 h 5508102"/>
              <a:gd name="connsiteX159" fmla="*/ 3106467 w 5613131"/>
              <a:gd name="connsiteY159" fmla="*/ 4144498 h 5508102"/>
              <a:gd name="connsiteX160" fmla="*/ 3588286 w 5613131"/>
              <a:gd name="connsiteY160" fmla="*/ 4047865 h 5508102"/>
              <a:gd name="connsiteX161" fmla="*/ 3898792 w 5613131"/>
              <a:gd name="connsiteY161" fmla="*/ 4004916 h 5508102"/>
              <a:gd name="connsiteX162" fmla="*/ 3920206 w 5613131"/>
              <a:gd name="connsiteY162" fmla="*/ 3983442 h 5508102"/>
              <a:gd name="connsiteX163" fmla="*/ 4123641 w 5613131"/>
              <a:gd name="connsiteY163" fmla="*/ 3951231 h 5508102"/>
              <a:gd name="connsiteX164" fmla="*/ 4198591 w 5613131"/>
              <a:gd name="connsiteY164" fmla="*/ 3919020 h 5508102"/>
              <a:gd name="connsiteX165" fmla="*/ 4198591 w 5613131"/>
              <a:gd name="connsiteY165" fmla="*/ 3919020 h 5508102"/>
              <a:gd name="connsiteX166" fmla="*/ 3770307 w 5613131"/>
              <a:gd name="connsiteY166" fmla="*/ 3994179 h 5508102"/>
              <a:gd name="connsiteX167" fmla="*/ 2506869 w 5613131"/>
              <a:gd name="connsiteY167" fmla="*/ 4294817 h 5508102"/>
              <a:gd name="connsiteX168" fmla="*/ 2549698 w 5613131"/>
              <a:gd name="connsiteY168" fmla="*/ 4262606 h 5508102"/>
              <a:gd name="connsiteX169" fmla="*/ 2560405 w 5613131"/>
              <a:gd name="connsiteY169" fmla="*/ 4241131 h 5508102"/>
              <a:gd name="connsiteX170" fmla="*/ 2613940 w 5613131"/>
              <a:gd name="connsiteY170" fmla="*/ 4230394 h 5508102"/>
              <a:gd name="connsiteX171" fmla="*/ 2646061 w 5613131"/>
              <a:gd name="connsiteY171" fmla="*/ 4198183 h 5508102"/>
              <a:gd name="connsiteX172" fmla="*/ 2496162 w 5613131"/>
              <a:gd name="connsiteY172" fmla="*/ 4241131 h 5508102"/>
              <a:gd name="connsiteX173" fmla="*/ 2282020 w 5613131"/>
              <a:gd name="connsiteY173" fmla="*/ 4337765 h 5508102"/>
              <a:gd name="connsiteX174" fmla="*/ 2292727 w 5613131"/>
              <a:gd name="connsiteY174" fmla="*/ 4327028 h 5508102"/>
              <a:gd name="connsiteX175" fmla="*/ 2303435 w 5613131"/>
              <a:gd name="connsiteY175" fmla="*/ 4316291 h 5508102"/>
              <a:gd name="connsiteX176" fmla="*/ 2314142 w 5613131"/>
              <a:gd name="connsiteY176" fmla="*/ 4316291 h 5508102"/>
              <a:gd name="connsiteX177" fmla="*/ 2314142 w 5613131"/>
              <a:gd name="connsiteY177" fmla="*/ 4316291 h 5508102"/>
              <a:gd name="connsiteX178" fmla="*/ 2303435 w 5613131"/>
              <a:gd name="connsiteY178" fmla="*/ 4316291 h 5508102"/>
              <a:gd name="connsiteX179" fmla="*/ 2292727 w 5613131"/>
              <a:gd name="connsiteY179" fmla="*/ 4327028 h 5508102"/>
              <a:gd name="connsiteX180" fmla="*/ 2185657 w 5613131"/>
              <a:gd name="connsiteY180" fmla="*/ 4380713 h 5508102"/>
              <a:gd name="connsiteX181" fmla="*/ 2100000 w 5613131"/>
              <a:gd name="connsiteY181" fmla="*/ 4412924 h 5508102"/>
              <a:gd name="connsiteX182" fmla="*/ 2464041 w 5613131"/>
              <a:gd name="connsiteY182" fmla="*/ 4198183 h 5508102"/>
              <a:gd name="connsiteX183" fmla="*/ 2421213 w 5613131"/>
              <a:gd name="connsiteY183" fmla="*/ 4198183 h 5508102"/>
              <a:gd name="connsiteX184" fmla="*/ 2303435 w 5613131"/>
              <a:gd name="connsiteY184" fmla="*/ 4273343 h 5508102"/>
              <a:gd name="connsiteX185" fmla="*/ 2228485 w 5613131"/>
              <a:gd name="connsiteY185" fmla="*/ 4316291 h 5508102"/>
              <a:gd name="connsiteX186" fmla="*/ 2207071 w 5613131"/>
              <a:gd name="connsiteY186" fmla="*/ 4294817 h 5508102"/>
              <a:gd name="connsiteX187" fmla="*/ 2142828 w 5613131"/>
              <a:gd name="connsiteY187" fmla="*/ 4337765 h 5508102"/>
              <a:gd name="connsiteX188" fmla="*/ 2174949 w 5613131"/>
              <a:gd name="connsiteY188" fmla="*/ 4305554 h 5508102"/>
              <a:gd name="connsiteX189" fmla="*/ 2100000 w 5613131"/>
              <a:gd name="connsiteY189" fmla="*/ 4337765 h 5508102"/>
              <a:gd name="connsiteX190" fmla="*/ 2057171 w 5613131"/>
              <a:gd name="connsiteY190" fmla="*/ 4359239 h 5508102"/>
              <a:gd name="connsiteX191" fmla="*/ 2132122 w 5613131"/>
              <a:gd name="connsiteY191" fmla="*/ 4294817 h 5508102"/>
              <a:gd name="connsiteX192" fmla="*/ 2132122 w 5613131"/>
              <a:gd name="connsiteY192" fmla="*/ 4294817 h 5508102"/>
              <a:gd name="connsiteX193" fmla="*/ 1821615 w 5613131"/>
              <a:gd name="connsiteY193" fmla="*/ 4541769 h 5508102"/>
              <a:gd name="connsiteX194" fmla="*/ 1735958 w 5613131"/>
              <a:gd name="connsiteY194" fmla="*/ 4638402 h 5508102"/>
              <a:gd name="connsiteX195" fmla="*/ 1778787 w 5613131"/>
              <a:gd name="connsiteY195" fmla="*/ 4563243 h 5508102"/>
              <a:gd name="connsiteX196" fmla="*/ 1896565 w 5613131"/>
              <a:gd name="connsiteY196" fmla="*/ 4434398 h 5508102"/>
              <a:gd name="connsiteX197" fmla="*/ 1939393 w 5613131"/>
              <a:gd name="connsiteY197" fmla="*/ 4391450 h 5508102"/>
              <a:gd name="connsiteX198" fmla="*/ 1714544 w 5613131"/>
              <a:gd name="connsiteY198" fmla="*/ 4616928 h 5508102"/>
              <a:gd name="connsiteX199" fmla="*/ 1746666 w 5613131"/>
              <a:gd name="connsiteY199" fmla="*/ 4531032 h 5508102"/>
              <a:gd name="connsiteX200" fmla="*/ 1661009 w 5613131"/>
              <a:gd name="connsiteY200" fmla="*/ 4627665 h 5508102"/>
              <a:gd name="connsiteX201" fmla="*/ 1907272 w 5613131"/>
              <a:gd name="connsiteY201" fmla="*/ 4327028 h 5508102"/>
              <a:gd name="connsiteX202" fmla="*/ 1800201 w 5613131"/>
              <a:gd name="connsiteY202" fmla="*/ 4423661 h 5508102"/>
              <a:gd name="connsiteX203" fmla="*/ 1650302 w 5613131"/>
              <a:gd name="connsiteY203" fmla="*/ 4606191 h 5508102"/>
              <a:gd name="connsiteX204" fmla="*/ 1671716 w 5613131"/>
              <a:gd name="connsiteY204" fmla="*/ 4552506 h 5508102"/>
              <a:gd name="connsiteX205" fmla="*/ 1596766 w 5613131"/>
              <a:gd name="connsiteY205" fmla="*/ 4649139 h 5508102"/>
              <a:gd name="connsiteX206" fmla="*/ 1575352 w 5613131"/>
              <a:gd name="connsiteY206" fmla="*/ 4670613 h 5508102"/>
              <a:gd name="connsiteX207" fmla="*/ 1618181 w 5613131"/>
              <a:gd name="connsiteY207" fmla="*/ 4573980 h 5508102"/>
              <a:gd name="connsiteX208" fmla="*/ 1614165 w 5613131"/>
              <a:gd name="connsiteY208" fmla="*/ 4568611 h 5508102"/>
              <a:gd name="connsiteX209" fmla="*/ 1613744 w 5613131"/>
              <a:gd name="connsiteY209" fmla="*/ 4565514 h 5508102"/>
              <a:gd name="connsiteX210" fmla="*/ 1618181 w 5613131"/>
              <a:gd name="connsiteY210" fmla="*/ 4563243 h 5508102"/>
              <a:gd name="connsiteX211" fmla="*/ 1613663 w 5613131"/>
              <a:gd name="connsiteY211" fmla="*/ 4564920 h 5508102"/>
              <a:gd name="connsiteX212" fmla="*/ 1613744 w 5613131"/>
              <a:gd name="connsiteY212" fmla="*/ 4565514 h 5508102"/>
              <a:gd name="connsiteX213" fmla="*/ 1594257 w 5613131"/>
              <a:gd name="connsiteY213" fmla="*/ 4575490 h 5508102"/>
              <a:gd name="connsiteX214" fmla="*/ 1532524 w 5613131"/>
              <a:gd name="connsiteY214" fmla="*/ 4670613 h 5508102"/>
              <a:gd name="connsiteX215" fmla="*/ 1468281 w 5613131"/>
              <a:gd name="connsiteY215" fmla="*/ 4788721 h 5508102"/>
              <a:gd name="connsiteX216" fmla="*/ 1436160 w 5613131"/>
              <a:gd name="connsiteY216" fmla="*/ 4831669 h 5508102"/>
              <a:gd name="connsiteX217" fmla="*/ 1404038 w 5613131"/>
              <a:gd name="connsiteY217" fmla="*/ 4831669 h 5508102"/>
              <a:gd name="connsiteX218" fmla="*/ 1382624 w 5613131"/>
              <a:gd name="connsiteY218" fmla="*/ 4906828 h 5508102"/>
              <a:gd name="connsiteX219" fmla="*/ 1339796 w 5613131"/>
              <a:gd name="connsiteY219" fmla="*/ 4992724 h 5508102"/>
              <a:gd name="connsiteX220" fmla="*/ 1318382 w 5613131"/>
              <a:gd name="connsiteY220" fmla="*/ 5024935 h 5508102"/>
              <a:gd name="connsiteX221" fmla="*/ 1286260 w 5613131"/>
              <a:gd name="connsiteY221" fmla="*/ 5347047 h 5508102"/>
              <a:gd name="connsiteX222" fmla="*/ 1243432 w 5613131"/>
              <a:gd name="connsiteY222" fmla="*/ 5508102 h 5508102"/>
              <a:gd name="connsiteX223" fmla="*/ 1200604 w 5613131"/>
              <a:gd name="connsiteY223" fmla="*/ 5497365 h 5508102"/>
              <a:gd name="connsiteX224" fmla="*/ 1200604 w 5613131"/>
              <a:gd name="connsiteY224" fmla="*/ 5443680 h 5508102"/>
              <a:gd name="connsiteX225" fmla="*/ 1157775 w 5613131"/>
              <a:gd name="connsiteY225" fmla="*/ 5400732 h 5508102"/>
              <a:gd name="connsiteX226" fmla="*/ 1147068 w 5613131"/>
              <a:gd name="connsiteY226" fmla="*/ 5443680 h 5508102"/>
              <a:gd name="connsiteX227" fmla="*/ 1104240 w 5613131"/>
              <a:gd name="connsiteY227" fmla="*/ 5389995 h 5508102"/>
              <a:gd name="connsiteX228" fmla="*/ 1093533 w 5613131"/>
              <a:gd name="connsiteY228" fmla="*/ 5432943 h 5508102"/>
              <a:gd name="connsiteX229" fmla="*/ 1072118 w 5613131"/>
              <a:gd name="connsiteY229" fmla="*/ 5379258 h 5508102"/>
              <a:gd name="connsiteX230" fmla="*/ 1050704 w 5613131"/>
              <a:gd name="connsiteY230" fmla="*/ 5143043 h 5508102"/>
              <a:gd name="connsiteX231" fmla="*/ 1061411 w 5613131"/>
              <a:gd name="connsiteY231" fmla="*/ 5035672 h 5508102"/>
              <a:gd name="connsiteX232" fmla="*/ 1050704 w 5613131"/>
              <a:gd name="connsiteY232" fmla="*/ 5078621 h 5508102"/>
              <a:gd name="connsiteX233" fmla="*/ 1029290 w 5613131"/>
              <a:gd name="connsiteY233" fmla="*/ 5143043 h 5508102"/>
              <a:gd name="connsiteX234" fmla="*/ 1029290 w 5613131"/>
              <a:gd name="connsiteY234" fmla="*/ 5120227 h 5508102"/>
              <a:gd name="connsiteX235" fmla="*/ 1029290 w 5613131"/>
              <a:gd name="connsiteY235" fmla="*/ 5110832 h 5508102"/>
              <a:gd name="connsiteX236" fmla="*/ 1029290 w 5613131"/>
              <a:gd name="connsiteY236" fmla="*/ 5104121 h 5508102"/>
              <a:gd name="connsiteX237" fmla="*/ 1029290 w 5613131"/>
              <a:gd name="connsiteY237" fmla="*/ 5102276 h 5508102"/>
              <a:gd name="connsiteX238" fmla="*/ 1029290 w 5613131"/>
              <a:gd name="connsiteY238" fmla="*/ 5098417 h 5508102"/>
              <a:gd name="connsiteX239" fmla="*/ 1029290 w 5613131"/>
              <a:gd name="connsiteY239" fmla="*/ 5089358 h 5508102"/>
              <a:gd name="connsiteX240" fmla="*/ 1029290 w 5613131"/>
              <a:gd name="connsiteY240" fmla="*/ 4981987 h 5508102"/>
              <a:gd name="connsiteX241" fmla="*/ 1033807 w 5613131"/>
              <a:gd name="connsiteY241" fmla="*/ 4897433 h 5508102"/>
              <a:gd name="connsiteX242" fmla="*/ 1031453 w 5613131"/>
              <a:gd name="connsiteY242" fmla="*/ 4885542 h 5508102"/>
              <a:gd name="connsiteX243" fmla="*/ 1032134 w 5613131"/>
              <a:gd name="connsiteY243" fmla="*/ 4884012 h 5508102"/>
              <a:gd name="connsiteX244" fmla="*/ 1029290 w 5613131"/>
              <a:gd name="connsiteY244" fmla="*/ 4874617 h 5508102"/>
              <a:gd name="connsiteX245" fmla="*/ 1031453 w 5613131"/>
              <a:gd name="connsiteY245" fmla="*/ 4885542 h 5508102"/>
              <a:gd name="connsiteX246" fmla="*/ 1027952 w 5613131"/>
              <a:gd name="connsiteY246" fmla="*/ 4893407 h 5508102"/>
              <a:gd name="connsiteX247" fmla="*/ 1018583 w 5613131"/>
              <a:gd name="connsiteY247" fmla="*/ 4896091 h 5508102"/>
              <a:gd name="connsiteX248" fmla="*/ 1018583 w 5613131"/>
              <a:gd name="connsiteY248" fmla="*/ 4981987 h 5508102"/>
              <a:gd name="connsiteX249" fmla="*/ 1007876 w 5613131"/>
              <a:gd name="connsiteY249" fmla="*/ 4917565 h 5508102"/>
              <a:gd name="connsiteX250" fmla="*/ 1029290 w 5613131"/>
              <a:gd name="connsiteY250" fmla="*/ 4831669 h 5508102"/>
              <a:gd name="connsiteX251" fmla="*/ 1039997 w 5613131"/>
              <a:gd name="connsiteY251" fmla="*/ 4745772 h 5508102"/>
              <a:gd name="connsiteX252" fmla="*/ 1093533 w 5613131"/>
              <a:gd name="connsiteY252" fmla="*/ 4509557 h 5508102"/>
              <a:gd name="connsiteX253" fmla="*/ 1350503 w 5613131"/>
              <a:gd name="connsiteY253" fmla="*/ 3961968 h 5508102"/>
              <a:gd name="connsiteX254" fmla="*/ 1414745 w 5613131"/>
              <a:gd name="connsiteY254" fmla="*/ 3865335 h 5508102"/>
              <a:gd name="connsiteX255" fmla="*/ 1404038 w 5613131"/>
              <a:gd name="connsiteY255" fmla="*/ 3843861 h 5508102"/>
              <a:gd name="connsiteX256" fmla="*/ 1072118 w 5613131"/>
              <a:gd name="connsiteY256" fmla="*/ 3843861 h 5508102"/>
              <a:gd name="connsiteX257" fmla="*/ 654542 w 5613131"/>
              <a:gd name="connsiteY257" fmla="*/ 3843861 h 5508102"/>
              <a:gd name="connsiteX258" fmla="*/ 622420 w 5613131"/>
              <a:gd name="connsiteY258" fmla="*/ 3843861 h 5508102"/>
              <a:gd name="connsiteX259" fmla="*/ 622420 w 5613131"/>
              <a:gd name="connsiteY259" fmla="*/ 3854598 h 5508102"/>
              <a:gd name="connsiteX260" fmla="*/ 686663 w 5613131"/>
              <a:gd name="connsiteY260" fmla="*/ 3854598 h 5508102"/>
              <a:gd name="connsiteX261" fmla="*/ 688001 w 5613131"/>
              <a:gd name="connsiteY261" fmla="*/ 3854598 h 5508102"/>
              <a:gd name="connsiteX262" fmla="*/ 689842 w 5613131"/>
              <a:gd name="connsiteY262" fmla="*/ 3854598 h 5508102"/>
              <a:gd name="connsiteX263" fmla="*/ 693355 w 5613131"/>
              <a:gd name="connsiteY263" fmla="*/ 3854598 h 5508102"/>
              <a:gd name="connsiteX264" fmla="*/ 697370 w 5613131"/>
              <a:gd name="connsiteY264" fmla="*/ 3854598 h 5508102"/>
              <a:gd name="connsiteX265" fmla="*/ 698876 w 5613131"/>
              <a:gd name="connsiteY265" fmla="*/ 3854598 h 5508102"/>
              <a:gd name="connsiteX266" fmla="*/ 700047 w 5613131"/>
              <a:gd name="connsiteY266" fmla="*/ 3854598 h 5508102"/>
              <a:gd name="connsiteX267" fmla="*/ 718784 w 5613131"/>
              <a:gd name="connsiteY267" fmla="*/ 3854598 h 5508102"/>
              <a:gd name="connsiteX268" fmla="*/ 697370 w 5613131"/>
              <a:gd name="connsiteY268" fmla="*/ 3865335 h 5508102"/>
              <a:gd name="connsiteX269" fmla="*/ 568885 w 5613131"/>
              <a:gd name="connsiteY269" fmla="*/ 3854598 h 5508102"/>
              <a:gd name="connsiteX270" fmla="*/ 611713 w 5613131"/>
              <a:gd name="connsiteY270" fmla="*/ 3876072 h 5508102"/>
              <a:gd name="connsiteX271" fmla="*/ 451107 w 5613131"/>
              <a:gd name="connsiteY271" fmla="*/ 3876072 h 5508102"/>
              <a:gd name="connsiteX272" fmla="*/ 397571 w 5613131"/>
              <a:gd name="connsiteY272" fmla="*/ 3876072 h 5508102"/>
              <a:gd name="connsiteX273" fmla="*/ 162015 w 5613131"/>
              <a:gd name="connsiteY273" fmla="*/ 3811650 h 5508102"/>
              <a:gd name="connsiteX274" fmla="*/ 172722 w 5613131"/>
              <a:gd name="connsiteY274" fmla="*/ 3779439 h 5508102"/>
              <a:gd name="connsiteX275" fmla="*/ 151308 w 5613131"/>
              <a:gd name="connsiteY275" fmla="*/ 3747227 h 5508102"/>
              <a:gd name="connsiteX276" fmla="*/ 194136 w 5613131"/>
              <a:gd name="connsiteY276" fmla="*/ 3704279 h 5508102"/>
              <a:gd name="connsiteX277" fmla="*/ 119187 w 5613131"/>
              <a:gd name="connsiteY277" fmla="*/ 3682805 h 5508102"/>
              <a:gd name="connsiteX278" fmla="*/ 129894 w 5613131"/>
              <a:gd name="connsiteY278" fmla="*/ 3672068 h 5508102"/>
              <a:gd name="connsiteX279" fmla="*/ 108480 w 5613131"/>
              <a:gd name="connsiteY279" fmla="*/ 3661331 h 5508102"/>
              <a:gd name="connsiteX280" fmla="*/ 108480 w 5613131"/>
              <a:gd name="connsiteY280" fmla="*/ 3641199 h 5508102"/>
              <a:gd name="connsiteX281" fmla="*/ 108480 w 5613131"/>
              <a:gd name="connsiteY281" fmla="*/ 3639918 h 5508102"/>
              <a:gd name="connsiteX282" fmla="*/ 112014 w 5613131"/>
              <a:gd name="connsiteY282" fmla="*/ 3622971 h 5508102"/>
              <a:gd name="connsiteX283" fmla="*/ 112314 w 5613131"/>
              <a:gd name="connsiteY283" fmla="*/ 3621430 h 5508102"/>
              <a:gd name="connsiteX284" fmla="*/ 113833 w 5613131"/>
              <a:gd name="connsiteY284" fmla="*/ 3618383 h 5508102"/>
              <a:gd name="connsiteX285" fmla="*/ 119187 w 5613131"/>
              <a:gd name="connsiteY285" fmla="*/ 3607646 h 5508102"/>
              <a:gd name="connsiteX286" fmla="*/ 119187 w 5613131"/>
              <a:gd name="connsiteY286" fmla="*/ 3586172 h 5508102"/>
              <a:gd name="connsiteX287" fmla="*/ 112314 w 5613131"/>
              <a:gd name="connsiteY287" fmla="*/ 3621430 h 5508102"/>
              <a:gd name="connsiteX288" fmla="*/ 108480 w 5613131"/>
              <a:gd name="connsiteY288" fmla="*/ 3629120 h 5508102"/>
              <a:gd name="connsiteX289" fmla="*/ 108480 w 5613131"/>
              <a:gd name="connsiteY289" fmla="*/ 3629624 h 5508102"/>
              <a:gd name="connsiteX290" fmla="*/ 108480 w 5613131"/>
              <a:gd name="connsiteY290" fmla="*/ 3639918 h 5508102"/>
              <a:gd name="connsiteX291" fmla="*/ 106472 w 5613131"/>
              <a:gd name="connsiteY291" fmla="*/ 3649546 h 5508102"/>
              <a:gd name="connsiteX292" fmla="*/ 129894 w 5613131"/>
              <a:gd name="connsiteY292" fmla="*/ 3564698 h 5508102"/>
              <a:gd name="connsiteX293" fmla="*/ 87065 w 5613131"/>
              <a:gd name="connsiteY293" fmla="*/ 3553961 h 5508102"/>
              <a:gd name="connsiteX294" fmla="*/ 129894 w 5613131"/>
              <a:gd name="connsiteY294" fmla="*/ 3521750 h 5508102"/>
              <a:gd name="connsiteX295" fmla="*/ 44237 w 5613131"/>
              <a:gd name="connsiteY295" fmla="*/ 3468064 h 5508102"/>
              <a:gd name="connsiteX296" fmla="*/ 87065 w 5613131"/>
              <a:gd name="connsiteY296" fmla="*/ 3425116 h 5508102"/>
              <a:gd name="connsiteX297" fmla="*/ 76358 w 5613131"/>
              <a:gd name="connsiteY297" fmla="*/ 3403642 h 5508102"/>
              <a:gd name="connsiteX298" fmla="*/ 151308 w 5613131"/>
              <a:gd name="connsiteY298" fmla="*/ 3403642 h 5508102"/>
              <a:gd name="connsiteX299" fmla="*/ 108480 w 5613131"/>
              <a:gd name="connsiteY299" fmla="*/ 3382168 h 5508102"/>
              <a:gd name="connsiteX300" fmla="*/ 87065 w 5613131"/>
              <a:gd name="connsiteY300" fmla="*/ 3360694 h 5508102"/>
              <a:gd name="connsiteX301" fmla="*/ 129894 w 5613131"/>
              <a:gd name="connsiteY301" fmla="*/ 3307009 h 5508102"/>
              <a:gd name="connsiteX302" fmla="*/ 87065 w 5613131"/>
              <a:gd name="connsiteY302" fmla="*/ 3274798 h 5508102"/>
              <a:gd name="connsiteX303" fmla="*/ 65651 w 5613131"/>
              <a:gd name="connsiteY303" fmla="*/ 3285535 h 5508102"/>
              <a:gd name="connsiteX304" fmla="*/ 108480 w 5613131"/>
              <a:gd name="connsiteY304" fmla="*/ 3231849 h 5508102"/>
              <a:gd name="connsiteX305" fmla="*/ 151308 w 5613131"/>
              <a:gd name="connsiteY305" fmla="*/ 3231849 h 5508102"/>
              <a:gd name="connsiteX306" fmla="*/ 97772 w 5613131"/>
              <a:gd name="connsiteY306" fmla="*/ 3221112 h 5508102"/>
              <a:gd name="connsiteX307" fmla="*/ 119187 w 5613131"/>
              <a:gd name="connsiteY307" fmla="*/ 3199638 h 5508102"/>
              <a:gd name="connsiteX308" fmla="*/ 76358 w 5613131"/>
              <a:gd name="connsiteY308" fmla="*/ 3156690 h 5508102"/>
              <a:gd name="connsiteX309" fmla="*/ 76358 w 5613131"/>
              <a:gd name="connsiteY309" fmla="*/ 3156690 h 5508102"/>
              <a:gd name="connsiteX310" fmla="*/ 97772 w 5613131"/>
              <a:gd name="connsiteY310" fmla="*/ 3124479 h 5508102"/>
              <a:gd name="connsiteX311" fmla="*/ 129894 w 5613131"/>
              <a:gd name="connsiteY311" fmla="*/ 3113742 h 5508102"/>
              <a:gd name="connsiteX312" fmla="*/ 151308 w 5613131"/>
              <a:gd name="connsiteY312" fmla="*/ 3092268 h 5508102"/>
              <a:gd name="connsiteX313" fmla="*/ 108480 w 5613131"/>
              <a:gd name="connsiteY313" fmla="*/ 3060057 h 5508102"/>
              <a:gd name="connsiteX314" fmla="*/ 108480 w 5613131"/>
              <a:gd name="connsiteY314" fmla="*/ 3038583 h 5508102"/>
              <a:gd name="connsiteX315" fmla="*/ 54944 w 5613131"/>
              <a:gd name="connsiteY315" fmla="*/ 3027846 h 5508102"/>
              <a:gd name="connsiteX316" fmla="*/ 108480 w 5613131"/>
              <a:gd name="connsiteY316" fmla="*/ 3006372 h 5508102"/>
              <a:gd name="connsiteX317" fmla="*/ 108480 w 5613131"/>
              <a:gd name="connsiteY317" fmla="*/ 3006372 h 5508102"/>
              <a:gd name="connsiteX318" fmla="*/ 65651 w 5613131"/>
              <a:gd name="connsiteY318" fmla="*/ 2952686 h 5508102"/>
              <a:gd name="connsiteX319" fmla="*/ 108480 w 5613131"/>
              <a:gd name="connsiteY319" fmla="*/ 2941949 h 5508102"/>
              <a:gd name="connsiteX320" fmla="*/ 76358 w 5613131"/>
              <a:gd name="connsiteY320" fmla="*/ 2931212 h 5508102"/>
              <a:gd name="connsiteX321" fmla="*/ 76358 w 5613131"/>
              <a:gd name="connsiteY321" fmla="*/ 2909738 h 5508102"/>
              <a:gd name="connsiteX322" fmla="*/ 87065 w 5613131"/>
              <a:gd name="connsiteY322" fmla="*/ 2888264 h 5508102"/>
              <a:gd name="connsiteX323" fmla="*/ 54944 w 5613131"/>
              <a:gd name="connsiteY323" fmla="*/ 2856053 h 5508102"/>
              <a:gd name="connsiteX324" fmla="*/ 76358 w 5613131"/>
              <a:gd name="connsiteY324" fmla="*/ 2834579 h 5508102"/>
              <a:gd name="connsiteX325" fmla="*/ 87065 w 5613131"/>
              <a:gd name="connsiteY325" fmla="*/ 2791631 h 5508102"/>
              <a:gd name="connsiteX326" fmla="*/ 54944 w 5613131"/>
              <a:gd name="connsiteY326" fmla="*/ 2791631 h 5508102"/>
              <a:gd name="connsiteX327" fmla="*/ 87065 w 5613131"/>
              <a:gd name="connsiteY327" fmla="*/ 2759420 h 5508102"/>
              <a:gd name="connsiteX328" fmla="*/ 33530 w 5613131"/>
              <a:gd name="connsiteY328" fmla="*/ 2737946 h 5508102"/>
              <a:gd name="connsiteX329" fmla="*/ 119187 w 5613131"/>
              <a:gd name="connsiteY329" fmla="*/ 2705734 h 5508102"/>
              <a:gd name="connsiteX330" fmla="*/ 76358 w 5613131"/>
              <a:gd name="connsiteY330" fmla="*/ 2694997 h 5508102"/>
              <a:gd name="connsiteX331" fmla="*/ 87065 w 5613131"/>
              <a:gd name="connsiteY331" fmla="*/ 2652049 h 5508102"/>
              <a:gd name="connsiteX332" fmla="*/ 22823 w 5613131"/>
              <a:gd name="connsiteY332" fmla="*/ 2641312 h 5508102"/>
              <a:gd name="connsiteX333" fmla="*/ 22823 w 5613131"/>
              <a:gd name="connsiteY333" fmla="*/ 2598364 h 5508102"/>
              <a:gd name="connsiteX334" fmla="*/ 76358 w 5613131"/>
              <a:gd name="connsiteY334" fmla="*/ 2566153 h 5508102"/>
              <a:gd name="connsiteX335" fmla="*/ 54944 w 5613131"/>
              <a:gd name="connsiteY335" fmla="*/ 2544679 h 5508102"/>
              <a:gd name="connsiteX336" fmla="*/ 108480 w 5613131"/>
              <a:gd name="connsiteY336" fmla="*/ 2523205 h 5508102"/>
              <a:gd name="connsiteX337" fmla="*/ 22823 w 5613131"/>
              <a:gd name="connsiteY337" fmla="*/ 2490994 h 5508102"/>
              <a:gd name="connsiteX338" fmla="*/ 54944 w 5613131"/>
              <a:gd name="connsiteY338" fmla="*/ 2480257 h 5508102"/>
              <a:gd name="connsiteX339" fmla="*/ 22823 w 5613131"/>
              <a:gd name="connsiteY339" fmla="*/ 2480257 h 5508102"/>
              <a:gd name="connsiteX340" fmla="*/ 33530 w 5613131"/>
              <a:gd name="connsiteY340" fmla="*/ 2437309 h 5508102"/>
              <a:gd name="connsiteX341" fmla="*/ 108480 w 5613131"/>
              <a:gd name="connsiteY341" fmla="*/ 2405097 h 5508102"/>
              <a:gd name="connsiteX342" fmla="*/ 87065 w 5613131"/>
              <a:gd name="connsiteY342" fmla="*/ 2383623 h 5508102"/>
              <a:gd name="connsiteX343" fmla="*/ 65651 w 5613131"/>
              <a:gd name="connsiteY343" fmla="*/ 2383623 h 5508102"/>
              <a:gd name="connsiteX344" fmla="*/ 65651 w 5613131"/>
              <a:gd name="connsiteY344" fmla="*/ 2351412 h 5508102"/>
              <a:gd name="connsiteX345" fmla="*/ 44237 w 5613131"/>
              <a:gd name="connsiteY345" fmla="*/ 2351412 h 5508102"/>
              <a:gd name="connsiteX346" fmla="*/ 33530 w 5613131"/>
              <a:gd name="connsiteY346" fmla="*/ 2340675 h 5508102"/>
              <a:gd name="connsiteX347" fmla="*/ 76358 w 5613131"/>
              <a:gd name="connsiteY347" fmla="*/ 2319201 h 5508102"/>
              <a:gd name="connsiteX348" fmla="*/ 76358 w 5613131"/>
              <a:gd name="connsiteY348" fmla="*/ 2319201 h 5508102"/>
              <a:gd name="connsiteX349" fmla="*/ 44237 w 5613131"/>
              <a:gd name="connsiteY349" fmla="*/ 2308464 h 5508102"/>
              <a:gd name="connsiteX350" fmla="*/ 54944 w 5613131"/>
              <a:gd name="connsiteY350" fmla="*/ 2297727 h 5508102"/>
              <a:gd name="connsiteX351" fmla="*/ 1409 w 5613131"/>
              <a:gd name="connsiteY351" fmla="*/ 2297727 h 5508102"/>
              <a:gd name="connsiteX352" fmla="*/ 54944 w 5613131"/>
              <a:gd name="connsiteY352" fmla="*/ 2254779 h 5508102"/>
              <a:gd name="connsiteX353" fmla="*/ 76358 w 5613131"/>
              <a:gd name="connsiteY353" fmla="*/ 2233305 h 5508102"/>
              <a:gd name="connsiteX354" fmla="*/ 54944 w 5613131"/>
              <a:gd name="connsiteY354" fmla="*/ 2201094 h 5508102"/>
              <a:gd name="connsiteX355" fmla="*/ 22823 w 5613131"/>
              <a:gd name="connsiteY355" fmla="*/ 2190357 h 5508102"/>
              <a:gd name="connsiteX356" fmla="*/ 65651 w 5613131"/>
              <a:gd name="connsiteY356" fmla="*/ 2158145 h 5508102"/>
              <a:gd name="connsiteX357" fmla="*/ 87065 w 5613131"/>
              <a:gd name="connsiteY357" fmla="*/ 2136672 h 5508102"/>
              <a:gd name="connsiteX358" fmla="*/ 129894 w 5613131"/>
              <a:gd name="connsiteY358" fmla="*/ 2147409 h 5508102"/>
              <a:gd name="connsiteX359" fmla="*/ 87065 w 5613131"/>
              <a:gd name="connsiteY359" fmla="*/ 2136672 h 5508102"/>
              <a:gd name="connsiteX360" fmla="*/ 54944 w 5613131"/>
              <a:gd name="connsiteY360" fmla="*/ 2082986 h 5508102"/>
              <a:gd name="connsiteX361" fmla="*/ 151308 w 5613131"/>
              <a:gd name="connsiteY361" fmla="*/ 2029301 h 5508102"/>
              <a:gd name="connsiteX362" fmla="*/ 97772 w 5613131"/>
              <a:gd name="connsiteY362" fmla="*/ 2040038 h 5508102"/>
              <a:gd name="connsiteX363" fmla="*/ 97772 w 5613131"/>
              <a:gd name="connsiteY363" fmla="*/ 2007827 h 5508102"/>
              <a:gd name="connsiteX364" fmla="*/ 215551 w 5613131"/>
              <a:gd name="connsiteY364" fmla="*/ 1975616 h 5508102"/>
              <a:gd name="connsiteX365" fmla="*/ 322621 w 5613131"/>
              <a:gd name="connsiteY365" fmla="*/ 1932668 h 5508102"/>
              <a:gd name="connsiteX366" fmla="*/ 483228 w 5613131"/>
              <a:gd name="connsiteY366" fmla="*/ 1911194 h 5508102"/>
              <a:gd name="connsiteX367" fmla="*/ 418985 w 5613131"/>
              <a:gd name="connsiteY367" fmla="*/ 1932668 h 5508102"/>
              <a:gd name="connsiteX368" fmla="*/ 418985 w 5613131"/>
              <a:gd name="connsiteY368" fmla="*/ 1932668 h 5508102"/>
              <a:gd name="connsiteX369" fmla="*/ 579592 w 5613131"/>
              <a:gd name="connsiteY369" fmla="*/ 1900457 h 5508102"/>
              <a:gd name="connsiteX370" fmla="*/ 582269 w 5613131"/>
              <a:gd name="connsiteY370" fmla="*/ 1892404 h 5508102"/>
              <a:gd name="connsiteX371" fmla="*/ 582170 w 5613131"/>
              <a:gd name="connsiteY371" fmla="*/ 1892413 h 5508102"/>
              <a:gd name="connsiteX372" fmla="*/ 1053883 w 5613131"/>
              <a:gd name="connsiteY372" fmla="*/ 1808856 h 5508102"/>
              <a:gd name="connsiteX373" fmla="*/ 2603233 w 5613131"/>
              <a:gd name="connsiteY373" fmla="*/ 1546134 h 5508102"/>
              <a:gd name="connsiteX374" fmla="*/ 2581819 w 5613131"/>
              <a:gd name="connsiteY374" fmla="*/ 1567608 h 5508102"/>
              <a:gd name="connsiteX375" fmla="*/ 2506869 w 5613131"/>
              <a:gd name="connsiteY375" fmla="*/ 1578345 h 5508102"/>
              <a:gd name="connsiteX376" fmla="*/ 2581819 w 5613131"/>
              <a:gd name="connsiteY376" fmla="*/ 1567608 h 5508102"/>
              <a:gd name="connsiteX377" fmla="*/ 2646061 w 5613131"/>
              <a:gd name="connsiteY377" fmla="*/ 1556871 h 5508102"/>
              <a:gd name="connsiteX378" fmla="*/ 2646061 w 5613131"/>
              <a:gd name="connsiteY378" fmla="*/ 1556871 h 5508102"/>
              <a:gd name="connsiteX379" fmla="*/ 2603233 w 5613131"/>
              <a:gd name="connsiteY379" fmla="*/ 1546134 h 5508102"/>
              <a:gd name="connsiteX380" fmla="*/ 2988689 w 5613131"/>
              <a:gd name="connsiteY380" fmla="*/ 1481712 h 5508102"/>
              <a:gd name="connsiteX381" fmla="*/ 2988689 w 5613131"/>
              <a:gd name="connsiteY381" fmla="*/ 1481712 h 5508102"/>
              <a:gd name="connsiteX382" fmla="*/ 3085053 w 5613131"/>
              <a:gd name="connsiteY382" fmla="*/ 1460238 h 5508102"/>
              <a:gd name="connsiteX383" fmla="*/ 3117174 w 5613131"/>
              <a:gd name="connsiteY383" fmla="*/ 1428027 h 5508102"/>
              <a:gd name="connsiteX384" fmla="*/ 3138588 w 5613131"/>
              <a:gd name="connsiteY384" fmla="*/ 1428027 h 5508102"/>
              <a:gd name="connsiteX385" fmla="*/ 3117174 w 5613131"/>
              <a:gd name="connsiteY385" fmla="*/ 1363605 h 5508102"/>
              <a:gd name="connsiteX386" fmla="*/ 3127881 w 5613131"/>
              <a:gd name="connsiteY386" fmla="*/ 1342130 h 5508102"/>
              <a:gd name="connsiteX387" fmla="*/ 3106467 w 5613131"/>
              <a:gd name="connsiteY387" fmla="*/ 1331393 h 5508102"/>
              <a:gd name="connsiteX388" fmla="*/ 3138588 w 5613131"/>
              <a:gd name="connsiteY388" fmla="*/ 1288445 h 5508102"/>
              <a:gd name="connsiteX389" fmla="*/ 3106467 w 5613131"/>
              <a:gd name="connsiteY389" fmla="*/ 1266971 h 5508102"/>
              <a:gd name="connsiteX390" fmla="*/ 3127881 w 5613131"/>
              <a:gd name="connsiteY390" fmla="*/ 1245497 h 5508102"/>
              <a:gd name="connsiteX391" fmla="*/ 3138588 w 5613131"/>
              <a:gd name="connsiteY391" fmla="*/ 1224023 h 5508102"/>
              <a:gd name="connsiteX392" fmla="*/ 3095760 w 5613131"/>
              <a:gd name="connsiteY392" fmla="*/ 1127389 h 5508102"/>
              <a:gd name="connsiteX393" fmla="*/ 3127881 w 5613131"/>
              <a:gd name="connsiteY393" fmla="*/ 1127389 h 5508102"/>
              <a:gd name="connsiteX394" fmla="*/ 3138588 w 5613131"/>
              <a:gd name="connsiteY394" fmla="*/ 1116653 h 5508102"/>
              <a:gd name="connsiteX395" fmla="*/ 3106467 w 5613131"/>
              <a:gd name="connsiteY395" fmla="*/ 1105915 h 5508102"/>
              <a:gd name="connsiteX396" fmla="*/ 3085053 w 5613131"/>
              <a:gd name="connsiteY396" fmla="*/ 1020019 h 5508102"/>
              <a:gd name="connsiteX397" fmla="*/ 3095760 w 5613131"/>
              <a:gd name="connsiteY397" fmla="*/ 966334 h 5508102"/>
              <a:gd name="connsiteX398" fmla="*/ 3095760 w 5613131"/>
              <a:gd name="connsiteY398" fmla="*/ 923386 h 5508102"/>
              <a:gd name="connsiteX399" fmla="*/ 3085053 w 5613131"/>
              <a:gd name="connsiteY399" fmla="*/ 901912 h 5508102"/>
              <a:gd name="connsiteX400" fmla="*/ 3085053 w 5613131"/>
              <a:gd name="connsiteY400" fmla="*/ 858963 h 5508102"/>
              <a:gd name="connsiteX401" fmla="*/ 3106467 w 5613131"/>
              <a:gd name="connsiteY401" fmla="*/ 837490 h 5508102"/>
              <a:gd name="connsiteX402" fmla="*/ 3106467 w 5613131"/>
              <a:gd name="connsiteY402" fmla="*/ 826752 h 5508102"/>
              <a:gd name="connsiteX403" fmla="*/ 3052931 w 5613131"/>
              <a:gd name="connsiteY403" fmla="*/ 773067 h 5508102"/>
              <a:gd name="connsiteX404" fmla="*/ 3074345 w 5613131"/>
              <a:gd name="connsiteY404" fmla="*/ 740856 h 5508102"/>
              <a:gd name="connsiteX405" fmla="*/ 3020810 w 5613131"/>
              <a:gd name="connsiteY405" fmla="*/ 708645 h 5508102"/>
              <a:gd name="connsiteX406" fmla="*/ 3095760 w 5613131"/>
              <a:gd name="connsiteY406" fmla="*/ 708645 h 5508102"/>
              <a:gd name="connsiteX407" fmla="*/ 3052931 w 5613131"/>
              <a:gd name="connsiteY407" fmla="*/ 676434 h 5508102"/>
              <a:gd name="connsiteX408" fmla="*/ 3063639 w 5613131"/>
              <a:gd name="connsiteY408" fmla="*/ 665697 h 5508102"/>
              <a:gd name="connsiteX409" fmla="*/ 3070731 w 5613131"/>
              <a:gd name="connsiteY409" fmla="*/ 665835 h 5508102"/>
              <a:gd name="connsiteX410" fmla="*/ 3090407 w 5613131"/>
              <a:gd name="connsiteY410" fmla="*/ 668381 h 5508102"/>
              <a:gd name="connsiteX411" fmla="*/ 3085137 w 5613131"/>
              <a:gd name="connsiteY411" fmla="*/ 666116 h 5508102"/>
              <a:gd name="connsiteX412" fmla="*/ 3070731 w 5613131"/>
              <a:gd name="connsiteY412" fmla="*/ 665835 h 5508102"/>
              <a:gd name="connsiteX413" fmla="*/ 3069661 w 5613131"/>
              <a:gd name="connsiteY413" fmla="*/ 665697 h 5508102"/>
              <a:gd name="connsiteX414" fmla="*/ 3052931 w 5613131"/>
              <a:gd name="connsiteY414" fmla="*/ 654960 h 5508102"/>
              <a:gd name="connsiteX415" fmla="*/ 3085053 w 5613131"/>
              <a:gd name="connsiteY415" fmla="*/ 633486 h 5508102"/>
              <a:gd name="connsiteX416" fmla="*/ 3149295 w 5613131"/>
              <a:gd name="connsiteY416" fmla="*/ 633486 h 5508102"/>
              <a:gd name="connsiteX417" fmla="*/ 3052931 w 5613131"/>
              <a:gd name="connsiteY417" fmla="*/ 612011 h 5508102"/>
              <a:gd name="connsiteX418" fmla="*/ 3052931 w 5613131"/>
              <a:gd name="connsiteY418" fmla="*/ 590538 h 5508102"/>
              <a:gd name="connsiteX419" fmla="*/ 3052931 w 5613131"/>
              <a:gd name="connsiteY419" fmla="*/ 579800 h 5508102"/>
              <a:gd name="connsiteX420" fmla="*/ 3020810 w 5613131"/>
              <a:gd name="connsiteY420" fmla="*/ 558326 h 5508102"/>
              <a:gd name="connsiteX421" fmla="*/ 3063639 w 5613131"/>
              <a:gd name="connsiteY421" fmla="*/ 536852 h 5508102"/>
              <a:gd name="connsiteX422" fmla="*/ 3095760 w 5613131"/>
              <a:gd name="connsiteY422" fmla="*/ 515378 h 5508102"/>
              <a:gd name="connsiteX423" fmla="*/ 3063639 w 5613131"/>
              <a:gd name="connsiteY423" fmla="*/ 504641 h 5508102"/>
              <a:gd name="connsiteX424" fmla="*/ 3085053 w 5613131"/>
              <a:gd name="connsiteY424" fmla="*/ 461693 h 5508102"/>
              <a:gd name="connsiteX425" fmla="*/ 3085053 w 5613131"/>
              <a:gd name="connsiteY425" fmla="*/ 429482 h 5508102"/>
              <a:gd name="connsiteX426" fmla="*/ 3117174 w 5613131"/>
              <a:gd name="connsiteY426" fmla="*/ 418745 h 5508102"/>
              <a:gd name="connsiteX427" fmla="*/ 3095760 w 5613131"/>
              <a:gd name="connsiteY427" fmla="*/ 397271 h 5508102"/>
              <a:gd name="connsiteX428" fmla="*/ 3042224 w 5613131"/>
              <a:gd name="connsiteY428" fmla="*/ 386534 h 5508102"/>
              <a:gd name="connsiteX429" fmla="*/ 3085053 w 5613131"/>
              <a:gd name="connsiteY429" fmla="*/ 343586 h 5508102"/>
              <a:gd name="connsiteX430" fmla="*/ 3052931 w 5613131"/>
              <a:gd name="connsiteY430" fmla="*/ 343586 h 5508102"/>
              <a:gd name="connsiteX431" fmla="*/ 3085053 w 5613131"/>
              <a:gd name="connsiteY431" fmla="*/ 322111 h 5508102"/>
              <a:gd name="connsiteX432" fmla="*/ 3052931 w 5613131"/>
              <a:gd name="connsiteY432" fmla="*/ 322111 h 5508102"/>
              <a:gd name="connsiteX433" fmla="*/ 3052931 w 5613131"/>
              <a:gd name="connsiteY433" fmla="*/ 289900 h 5508102"/>
              <a:gd name="connsiteX434" fmla="*/ 3063639 w 5613131"/>
              <a:gd name="connsiteY434" fmla="*/ 268426 h 5508102"/>
              <a:gd name="connsiteX435" fmla="*/ 3085053 w 5613131"/>
              <a:gd name="connsiteY435" fmla="*/ 246952 h 5508102"/>
              <a:gd name="connsiteX436" fmla="*/ 3106467 w 5613131"/>
              <a:gd name="connsiteY436" fmla="*/ 246952 h 5508102"/>
              <a:gd name="connsiteX437" fmla="*/ 3063639 w 5613131"/>
              <a:gd name="connsiteY437" fmla="*/ 214741 h 5508102"/>
              <a:gd name="connsiteX438" fmla="*/ 3031517 w 5613131"/>
              <a:gd name="connsiteY438" fmla="*/ 214741 h 5508102"/>
              <a:gd name="connsiteX439" fmla="*/ 3063639 w 5613131"/>
              <a:gd name="connsiteY439" fmla="*/ 204004 h 5508102"/>
              <a:gd name="connsiteX440" fmla="*/ 3052931 w 5613131"/>
              <a:gd name="connsiteY440" fmla="*/ 161056 h 5508102"/>
              <a:gd name="connsiteX441" fmla="*/ 3031517 w 5613131"/>
              <a:gd name="connsiteY441" fmla="*/ 139582 h 5508102"/>
              <a:gd name="connsiteX442" fmla="*/ 3031517 w 5613131"/>
              <a:gd name="connsiteY442" fmla="*/ 96634 h 5508102"/>
              <a:gd name="connsiteX443" fmla="*/ 3106467 w 5613131"/>
              <a:gd name="connsiteY443" fmla="*/ 128845 h 5508102"/>
              <a:gd name="connsiteX444" fmla="*/ 3138588 w 5613131"/>
              <a:gd name="connsiteY444" fmla="*/ 107371 h 5508102"/>
              <a:gd name="connsiteX445" fmla="*/ 3127881 w 5613131"/>
              <a:gd name="connsiteY445" fmla="*/ 96634 h 5508102"/>
              <a:gd name="connsiteX446" fmla="*/ 3106467 w 5613131"/>
              <a:gd name="connsiteY446" fmla="*/ 64423 h 5508102"/>
              <a:gd name="connsiteX447" fmla="*/ 3095760 w 5613131"/>
              <a:gd name="connsiteY447" fmla="*/ 53685 h 5508102"/>
              <a:gd name="connsiteX448" fmla="*/ 3095760 w 5613131"/>
              <a:gd name="connsiteY448" fmla="*/ 32211 h 5508102"/>
              <a:gd name="connsiteX449" fmla="*/ 3063639 w 5613131"/>
              <a:gd name="connsiteY449" fmla="*/ 21474 h 5508102"/>
              <a:gd name="connsiteX450" fmla="*/ 3170709 w 5613131"/>
              <a:gd name="connsiteY450" fmla="*/ 32211 h 5508102"/>
              <a:gd name="connsiteX451" fmla="*/ 3174725 w 5613131"/>
              <a:gd name="connsiteY451" fmla="*/ 22816 h 5508102"/>
              <a:gd name="connsiteX452" fmla="*/ 3173375 w 5613131"/>
              <a:gd name="connsiteY452" fmla="*/ 20561 h 5508102"/>
              <a:gd name="connsiteX453" fmla="*/ 3183926 w 5613131"/>
              <a:gd name="connsiteY453" fmla="*/ 16945 h 5508102"/>
              <a:gd name="connsiteX454" fmla="*/ 3245659 w 5613131"/>
              <a:gd name="connsiteY454" fmla="*/ 21474 h 5508102"/>
              <a:gd name="connsiteX455" fmla="*/ 3267073 w 5613131"/>
              <a:gd name="connsiteY455" fmla="*/ 0 h 5508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Lst>
            <a:rect l="l" t="t" r="r" b="b"/>
            <a:pathLst>
              <a:path w="5613131" h="5508102">
                <a:moveTo>
                  <a:pt x="1931698" y="4307231"/>
                </a:moveTo>
                <a:cubicBezTo>
                  <a:pt x="1930025" y="4308238"/>
                  <a:pt x="1928686" y="4310922"/>
                  <a:pt x="1928686" y="4316291"/>
                </a:cubicBezTo>
                <a:cubicBezTo>
                  <a:pt x="1928686" y="4305554"/>
                  <a:pt x="1928686" y="4316291"/>
                  <a:pt x="1917979" y="4316291"/>
                </a:cubicBezTo>
                <a:cubicBezTo>
                  <a:pt x="1928686" y="4316291"/>
                  <a:pt x="1928686" y="4316291"/>
                  <a:pt x="1928686" y="4316291"/>
                </a:cubicBezTo>
                <a:cubicBezTo>
                  <a:pt x="1944747" y="4316291"/>
                  <a:pt x="1936717" y="4304212"/>
                  <a:pt x="1931698" y="4307231"/>
                </a:cubicBezTo>
                <a:close/>
                <a:moveTo>
                  <a:pt x="582170" y="1892413"/>
                </a:moveTo>
                <a:lnTo>
                  <a:pt x="536763" y="1900457"/>
                </a:lnTo>
                <a:cubicBezTo>
                  <a:pt x="544794" y="1897772"/>
                  <a:pt x="553493" y="1895759"/>
                  <a:pt x="561524" y="1894417"/>
                </a:cubicBezTo>
                <a:close/>
                <a:moveTo>
                  <a:pt x="3172215" y="18622"/>
                </a:moveTo>
                <a:lnTo>
                  <a:pt x="3173375" y="20561"/>
                </a:lnTo>
                <a:lnTo>
                  <a:pt x="3170709" y="21474"/>
                </a:lnTo>
                <a:cubicBezTo>
                  <a:pt x="3170709" y="18790"/>
                  <a:pt x="3171378" y="18119"/>
                  <a:pt x="3172215" y="18622"/>
                </a:cubicBezTo>
                <a:close/>
                <a:moveTo>
                  <a:pt x="3267073" y="0"/>
                </a:moveTo>
                <a:cubicBezTo>
                  <a:pt x="3267073" y="0"/>
                  <a:pt x="3267073" y="10737"/>
                  <a:pt x="3288487" y="10737"/>
                </a:cubicBezTo>
                <a:cubicBezTo>
                  <a:pt x="3299195" y="10737"/>
                  <a:pt x="3299195" y="0"/>
                  <a:pt x="3309902" y="10737"/>
                </a:cubicBezTo>
                <a:cubicBezTo>
                  <a:pt x="3374144" y="21474"/>
                  <a:pt x="3449094" y="42948"/>
                  <a:pt x="3545458" y="53685"/>
                </a:cubicBezTo>
                <a:cubicBezTo>
                  <a:pt x="3695357" y="75159"/>
                  <a:pt x="3898792" y="96634"/>
                  <a:pt x="4016570" y="118108"/>
                </a:cubicBezTo>
                <a:cubicBezTo>
                  <a:pt x="3963035" y="139582"/>
                  <a:pt x="3823843" y="96634"/>
                  <a:pt x="3748893" y="96634"/>
                </a:cubicBezTo>
                <a:cubicBezTo>
                  <a:pt x="3706064" y="85897"/>
                  <a:pt x="3695357" y="96634"/>
                  <a:pt x="3716771" y="107371"/>
                </a:cubicBezTo>
                <a:cubicBezTo>
                  <a:pt x="3770307" y="118108"/>
                  <a:pt x="3813135" y="118108"/>
                  <a:pt x="3866671" y="118108"/>
                </a:cubicBezTo>
                <a:cubicBezTo>
                  <a:pt x="3995156" y="139582"/>
                  <a:pt x="4198591" y="182530"/>
                  <a:pt x="4316369" y="214741"/>
                </a:cubicBezTo>
                <a:cubicBezTo>
                  <a:pt x="4466269" y="246952"/>
                  <a:pt x="4573339" y="257689"/>
                  <a:pt x="4701825" y="289900"/>
                </a:cubicBezTo>
                <a:cubicBezTo>
                  <a:pt x="4862431" y="322111"/>
                  <a:pt x="5012331" y="354323"/>
                  <a:pt x="5162230" y="408008"/>
                </a:cubicBezTo>
                <a:cubicBezTo>
                  <a:pt x="5183644" y="418745"/>
                  <a:pt x="5290715" y="440219"/>
                  <a:pt x="5226473" y="440219"/>
                </a:cubicBezTo>
                <a:cubicBezTo>
                  <a:pt x="5226473" y="440219"/>
                  <a:pt x="5215765" y="440219"/>
                  <a:pt x="5205058" y="440219"/>
                </a:cubicBezTo>
                <a:cubicBezTo>
                  <a:pt x="5205058" y="418745"/>
                  <a:pt x="5172937" y="440219"/>
                  <a:pt x="5205058" y="440219"/>
                </a:cubicBezTo>
                <a:cubicBezTo>
                  <a:pt x="5205058" y="450956"/>
                  <a:pt x="5215765" y="440219"/>
                  <a:pt x="5226473" y="440219"/>
                </a:cubicBezTo>
                <a:cubicBezTo>
                  <a:pt x="5280008" y="472430"/>
                  <a:pt x="5344251" y="483167"/>
                  <a:pt x="5397786" y="504641"/>
                </a:cubicBezTo>
                <a:cubicBezTo>
                  <a:pt x="5451321" y="526115"/>
                  <a:pt x="5547685" y="579800"/>
                  <a:pt x="5569099" y="612011"/>
                </a:cubicBezTo>
                <a:cubicBezTo>
                  <a:pt x="5601221" y="654960"/>
                  <a:pt x="5547685" y="590538"/>
                  <a:pt x="5515564" y="601274"/>
                </a:cubicBezTo>
                <a:cubicBezTo>
                  <a:pt x="5494150" y="601274"/>
                  <a:pt x="5569099" y="633486"/>
                  <a:pt x="5569099" y="633486"/>
                </a:cubicBezTo>
                <a:cubicBezTo>
                  <a:pt x="5611928" y="654960"/>
                  <a:pt x="5569099" y="676434"/>
                  <a:pt x="5547685" y="676434"/>
                </a:cubicBezTo>
                <a:cubicBezTo>
                  <a:pt x="5547685" y="676434"/>
                  <a:pt x="5504857" y="644223"/>
                  <a:pt x="5504857" y="665697"/>
                </a:cubicBezTo>
                <a:cubicBezTo>
                  <a:pt x="5504857" y="687171"/>
                  <a:pt x="5536978" y="676434"/>
                  <a:pt x="5558393" y="697908"/>
                </a:cubicBezTo>
                <a:cubicBezTo>
                  <a:pt x="5558393" y="697908"/>
                  <a:pt x="5590513" y="740856"/>
                  <a:pt x="5579807" y="730119"/>
                </a:cubicBezTo>
                <a:cubicBezTo>
                  <a:pt x="5590513" y="740856"/>
                  <a:pt x="5569099" y="751593"/>
                  <a:pt x="5569099" y="751593"/>
                </a:cubicBezTo>
                <a:cubicBezTo>
                  <a:pt x="5526271" y="730119"/>
                  <a:pt x="5558393" y="740856"/>
                  <a:pt x="5558393" y="762330"/>
                </a:cubicBezTo>
                <a:cubicBezTo>
                  <a:pt x="5558393" y="762330"/>
                  <a:pt x="5536978" y="794541"/>
                  <a:pt x="5536978" y="783804"/>
                </a:cubicBezTo>
                <a:cubicBezTo>
                  <a:pt x="5547685" y="816015"/>
                  <a:pt x="5590513" y="826752"/>
                  <a:pt x="5579807" y="848226"/>
                </a:cubicBezTo>
                <a:cubicBezTo>
                  <a:pt x="5579807" y="869701"/>
                  <a:pt x="5504857" y="826752"/>
                  <a:pt x="5504857" y="826752"/>
                </a:cubicBezTo>
                <a:cubicBezTo>
                  <a:pt x="5483443" y="837490"/>
                  <a:pt x="5558393" y="880438"/>
                  <a:pt x="5569099" y="880438"/>
                </a:cubicBezTo>
                <a:cubicBezTo>
                  <a:pt x="5579807" y="880438"/>
                  <a:pt x="5579807" y="891175"/>
                  <a:pt x="5579807" y="901912"/>
                </a:cubicBezTo>
                <a:cubicBezTo>
                  <a:pt x="5590513" y="934123"/>
                  <a:pt x="5558393" y="901912"/>
                  <a:pt x="5558393" y="923386"/>
                </a:cubicBezTo>
                <a:cubicBezTo>
                  <a:pt x="5558393" y="944860"/>
                  <a:pt x="5622635" y="955597"/>
                  <a:pt x="5611928" y="987808"/>
                </a:cubicBezTo>
                <a:cubicBezTo>
                  <a:pt x="5611928" y="987808"/>
                  <a:pt x="5579807" y="966334"/>
                  <a:pt x="5579807" y="966334"/>
                </a:cubicBezTo>
                <a:cubicBezTo>
                  <a:pt x="5569099" y="966334"/>
                  <a:pt x="5558393" y="977071"/>
                  <a:pt x="5558393" y="977071"/>
                </a:cubicBezTo>
                <a:cubicBezTo>
                  <a:pt x="5547685" y="1009282"/>
                  <a:pt x="5622635" y="1052230"/>
                  <a:pt x="5569099" y="1062967"/>
                </a:cubicBezTo>
                <a:cubicBezTo>
                  <a:pt x="5547685" y="1020019"/>
                  <a:pt x="5515564" y="1041493"/>
                  <a:pt x="5569099" y="1062967"/>
                </a:cubicBezTo>
                <a:cubicBezTo>
                  <a:pt x="5579807" y="1073704"/>
                  <a:pt x="5611928" y="1095178"/>
                  <a:pt x="5579807" y="1116653"/>
                </a:cubicBezTo>
                <a:cubicBezTo>
                  <a:pt x="5579807" y="1073704"/>
                  <a:pt x="5547685" y="1041493"/>
                  <a:pt x="5536978" y="1073704"/>
                </a:cubicBezTo>
                <a:cubicBezTo>
                  <a:pt x="5547685" y="1062967"/>
                  <a:pt x="5536978" y="1084441"/>
                  <a:pt x="5536978" y="1084441"/>
                </a:cubicBezTo>
                <a:cubicBezTo>
                  <a:pt x="5547685" y="1095178"/>
                  <a:pt x="5569099" y="1105915"/>
                  <a:pt x="5579807" y="1116653"/>
                </a:cubicBezTo>
                <a:cubicBezTo>
                  <a:pt x="5569099" y="1148864"/>
                  <a:pt x="5601221" y="1159601"/>
                  <a:pt x="5601221" y="1213286"/>
                </a:cubicBezTo>
                <a:cubicBezTo>
                  <a:pt x="5601221" y="1213286"/>
                  <a:pt x="5590513" y="1202549"/>
                  <a:pt x="5579807" y="1202549"/>
                </a:cubicBezTo>
                <a:cubicBezTo>
                  <a:pt x="5579807" y="1159601"/>
                  <a:pt x="5579807" y="1181075"/>
                  <a:pt x="5569099" y="1202549"/>
                </a:cubicBezTo>
                <a:cubicBezTo>
                  <a:pt x="5558393" y="1245497"/>
                  <a:pt x="5569099" y="1245497"/>
                  <a:pt x="5569099" y="1266971"/>
                </a:cubicBezTo>
                <a:cubicBezTo>
                  <a:pt x="5579807" y="1288445"/>
                  <a:pt x="5579807" y="1309919"/>
                  <a:pt x="5569099" y="1320656"/>
                </a:cubicBezTo>
                <a:cubicBezTo>
                  <a:pt x="5569099" y="1320656"/>
                  <a:pt x="5558393" y="1299182"/>
                  <a:pt x="5558393" y="1299182"/>
                </a:cubicBezTo>
                <a:cubicBezTo>
                  <a:pt x="5536978" y="1299182"/>
                  <a:pt x="5590513" y="1363605"/>
                  <a:pt x="5601221" y="1385078"/>
                </a:cubicBezTo>
                <a:cubicBezTo>
                  <a:pt x="5601221" y="1417290"/>
                  <a:pt x="5590513" y="1438764"/>
                  <a:pt x="5590513" y="1460238"/>
                </a:cubicBezTo>
                <a:cubicBezTo>
                  <a:pt x="5590513" y="1470975"/>
                  <a:pt x="5601221" y="1481712"/>
                  <a:pt x="5601221" y="1492449"/>
                </a:cubicBezTo>
                <a:cubicBezTo>
                  <a:pt x="5611928" y="1535397"/>
                  <a:pt x="5569099" y="1556871"/>
                  <a:pt x="5569099" y="1589082"/>
                </a:cubicBezTo>
                <a:cubicBezTo>
                  <a:pt x="5569099" y="1599819"/>
                  <a:pt x="5579807" y="1599819"/>
                  <a:pt x="5579807" y="1610556"/>
                </a:cubicBezTo>
                <a:cubicBezTo>
                  <a:pt x="5579807" y="1632030"/>
                  <a:pt x="5569099" y="1664242"/>
                  <a:pt x="5569099" y="1685716"/>
                </a:cubicBezTo>
                <a:cubicBezTo>
                  <a:pt x="5569099" y="1696453"/>
                  <a:pt x="5579807" y="1707190"/>
                  <a:pt x="5579807" y="1717927"/>
                </a:cubicBezTo>
                <a:cubicBezTo>
                  <a:pt x="5590513" y="1771612"/>
                  <a:pt x="5579807" y="1846771"/>
                  <a:pt x="5579807" y="1900457"/>
                </a:cubicBezTo>
                <a:cubicBezTo>
                  <a:pt x="5579807" y="1921931"/>
                  <a:pt x="5558393" y="1954142"/>
                  <a:pt x="5558393" y="1975616"/>
                </a:cubicBezTo>
                <a:cubicBezTo>
                  <a:pt x="5558393" y="1997090"/>
                  <a:pt x="5579807" y="2018564"/>
                  <a:pt x="5579807" y="2029301"/>
                </a:cubicBezTo>
                <a:cubicBezTo>
                  <a:pt x="5590513" y="2125934"/>
                  <a:pt x="5558393" y="2222568"/>
                  <a:pt x="5558393" y="2297727"/>
                </a:cubicBezTo>
                <a:cubicBezTo>
                  <a:pt x="5536978" y="2297727"/>
                  <a:pt x="5558393" y="2319201"/>
                  <a:pt x="5558393" y="2297727"/>
                </a:cubicBezTo>
                <a:cubicBezTo>
                  <a:pt x="5590513" y="2308464"/>
                  <a:pt x="5569099" y="2383623"/>
                  <a:pt x="5558393" y="2405097"/>
                </a:cubicBezTo>
                <a:cubicBezTo>
                  <a:pt x="5547685" y="2448045"/>
                  <a:pt x="5558393" y="2480257"/>
                  <a:pt x="5526271" y="2512468"/>
                </a:cubicBezTo>
                <a:cubicBezTo>
                  <a:pt x="5472735" y="2598364"/>
                  <a:pt x="5312129" y="2716471"/>
                  <a:pt x="5237179" y="2737946"/>
                </a:cubicBezTo>
                <a:cubicBezTo>
                  <a:pt x="5194351" y="2748683"/>
                  <a:pt x="5108695" y="2791631"/>
                  <a:pt x="5065866" y="2813105"/>
                </a:cubicBezTo>
                <a:cubicBezTo>
                  <a:pt x="5001623" y="2845316"/>
                  <a:pt x="5108695" y="2780894"/>
                  <a:pt x="5108695" y="2780894"/>
                </a:cubicBezTo>
                <a:cubicBezTo>
                  <a:pt x="5119401" y="2770157"/>
                  <a:pt x="5119401" y="2748683"/>
                  <a:pt x="5119401" y="2737946"/>
                </a:cubicBezTo>
                <a:cubicBezTo>
                  <a:pt x="5119401" y="2748683"/>
                  <a:pt x="5162230" y="2727209"/>
                  <a:pt x="5151523" y="2727209"/>
                </a:cubicBezTo>
                <a:cubicBezTo>
                  <a:pt x="5162230" y="2727209"/>
                  <a:pt x="5183644" y="2705734"/>
                  <a:pt x="5194351" y="2694997"/>
                </a:cubicBezTo>
                <a:cubicBezTo>
                  <a:pt x="5237179" y="2662786"/>
                  <a:pt x="5130109" y="2716471"/>
                  <a:pt x="5108695" y="2727209"/>
                </a:cubicBezTo>
                <a:cubicBezTo>
                  <a:pt x="5087280" y="2727209"/>
                  <a:pt x="5044451" y="2727209"/>
                  <a:pt x="5044451" y="2727209"/>
                </a:cubicBezTo>
                <a:cubicBezTo>
                  <a:pt x="5044451" y="2716471"/>
                  <a:pt x="5033745" y="2716471"/>
                  <a:pt x="5044451" y="2727209"/>
                </a:cubicBezTo>
                <a:cubicBezTo>
                  <a:pt x="4990916" y="2716471"/>
                  <a:pt x="4958795" y="2770157"/>
                  <a:pt x="4926673" y="2759420"/>
                </a:cubicBezTo>
                <a:cubicBezTo>
                  <a:pt x="4937381" y="2759420"/>
                  <a:pt x="4969502" y="2727209"/>
                  <a:pt x="4937381" y="2737946"/>
                </a:cubicBezTo>
                <a:cubicBezTo>
                  <a:pt x="4958795" y="2727209"/>
                  <a:pt x="5076573" y="2662786"/>
                  <a:pt x="5023037" y="2684260"/>
                </a:cubicBezTo>
                <a:cubicBezTo>
                  <a:pt x="4980209" y="2694997"/>
                  <a:pt x="4915967" y="2705734"/>
                  <a:pt x="4883845" y="2727209"/>
                </a:cubicBezTo>
                <a:cubicBezTo>
                  <a:pt x="4862431" y="2737946"/>
                  <a:pt x="4862431" y="2748683"/>
                  <a:pt x="4862431" y="2748683"/>
                </a:cubicBezTo>
                <a:cubicBezTo>
                  <a:pt x="4862431" y="2748683"/>
                  <a:pt x="4830309" y="2737946"/>
                  <a:pt x="4830309" y="2748683"/>
                </a:cubicBezTo>
                <a:cubicBezTo>
                  <a:pt x="4808895" y="2770157"/>
                  <a:pt x="4830309" y="2780894"/>
                  <a:pt x="4830309" y="2802368"/>
                </a:cubicBezTo>
                <a:cubicBezTo>
                  <a:pt x="4830309" y="2802368"/>
                  <a:pt x="4819603" y="2813105"/>
                  <a:pt x="4819603" y="2823842"/>
                </a:cubicBezTo>
                <a:cubicBezTo>
                  <a:pt x="4819603" y="2834579"/>
                  <a:pt x="4830309" y="2845316"/>
                  <a:pt x="4830309" y="2856053"/>
                </a:cubicBezTo>
                <a:cubicBezTo>
                  <a:pt x="4841017" y="2888264"/>
                  <a:pt x="4808895" y="2920475"/>
                  <a:pt x="4808895" y="2941949"/>
                </a:cubicBezTo>
                <a:cubicBezTo>
                  <a:pt x="4808895" y="2974160"/>
                  <a:pt x="4841017" y="2963423"/>
                  <a:pt x="4841017" y="2995635"/>
                </a:cubicBezTo>
                <a:cubicBezTo>
                  <a:pt x="4841017" y="3006372"/>
                  <a:pt x="4830309" y="3017109"/>
                  <a:pt x="4819603" y="3038583"/>
                </a:cubicBezTo>
                <a:cubicBezTo>
                  <a:pt x="4808895" y="3060057"/>
                  <a:pt x="4830309" y="3124479"/>
                  <a:pt x="4819603" y="3145953"/>
                </a:cubicBezTo>
                <a:cubicBezTo>
                  <a:pt x="4819603" y="3167427"/>
                  <a:pt x="4787481" y="3188901"/>
                  <a:pt x="4787481" y="3210375"/>
                </a:cubicBezTo>
                <a:cubicBezTo>
                  <a:pt x="4787481" y="3231849"/>
                  <a:pt x="4808895" y="3253324"/>
                  <a:pt x="4819603" y="3274798"/>
                </a:cubicBezTo>
                <a:cubicBezTo>
                  <a:pt x="4819603" y="3317746"/>
                  <a:pt x="4808895" y="3339220"/>
                  <a:pt x="4798189" y="3360694"/>
                </a:cubicBezTo>
                <a:cubicBezTo>
                  <a:pt x="4798189" y="3414379"/>
                  <a:pt x="4808895" y="3468064"/>
                  <a:pt x="4808895" y="3511013"/>
                </a:cubicBezTo>
                <a:cubicBezTo>
                  <a:pt x="4808895" y="3521750"/>
                  <a:pt x="4798189" y="3532487"/>
                  <a:pt x="4798189" y="3543224"/>
                </a:cubicBezTo>
                <a:cubicBezTo>
                  <a:pt x="4798189" y="3564698"/>
                  <a:pt x="4808895" y="3575435"/>
                  <a:pt x="4798189" y="3596909"/>
                </a:cubicBezTo>
                <a:cubicBezTo>
                  <a:pt x="4798189" y="3607646"/>
                  <a:pt x="4787481" y="3607646"/>
                  <a:pt x="4787481" y="3629120"/>
                </a:cubicBezTo>
                <a:cubicBezTo>
                  <a:pt x="4798189" y="3639857"/>
                  <a:pt x="4808895" y="3629120"/>
                  <a:pt x="4819603" y="3650594"/>
                </a:cubicBezTo>
                <a:cubicBezTo>
                  <a:pt x="4830309" y="3672068"/>
                  <a:pt x="4819603" y="3736490"/>
                  <a:pt x="4819603" y="3768701"/>
                </a:cubicBezTo>
                <a:cubicBezTo>
                  <a:pt x="4808895" y="3800913"/>
                  <a:pt x="4787481" y="3833124"/>
                  <a:pt x="4787481" y="3854598"/>
                </a:cubicBezTo>
                <a:cubicBezTo>
                  <a:pt x="4787481" y="3865335"/>
                  <a:pt x="4808895" y="3897546"/>
                  <a:pt x="4819603" y="3919020"/>
                </a:cubicBezTo>
                <a:cubicBezTo>
                  <a:pt x="4819603" y="3951231"/>
                  <a:pt x="4776774" y="3994179"/>
                  <a:pt x="4776774" y="4015653"/>
                </a:cubicBezTo>
                <a:cubicBezTo>
                  <a:pt x="4776774" y="4015653"/>
                  <a:pt x="4787481" y="4037128"/>
                  <a:pt x="4787481" y="4037128"/>
                </a:cubicBezTo>
                <a:cubicBezTo>
                  <a:pt x="4798189" y="4058602"/>
                  <a:pt x="4755360" y="4112287"/>
                  <a:pt x="4755360" y="4112287"/>
                </a:cubicBezTo>
                <a:cubicBezTo>
                  <a:pt x="4744653" y="4090813"/>
                  <a:pt x="4723239" y="4133761"/>
                  <a:pt x="4701825" y="4155235"/>
                </a:cubicBezTo>
                <a:cubicBezTo>
                  <a:pt x="4658996" y="4176709"/>
                  <a:pt x="4573339" y="4198183"/>
                  <a:pt x="4637582" y="4155235"/>
                </a:cubicBezTo>
                <a:cubicBezTo>
                  <a:pt x="4658996" y="4144498"/>
                  <a:pt x="4733946" y="4080076"/>
                  <a:pt x="4733946" y="4069339"/>
                </a:cubicBezTo>
                <a:cubicBezTo>
                  <a:pt x="4744653" y="4058602"/>
                  <a:pt x="4733946" y="4037128"/>
                  <a:pt x="4733946" y="4026390"/>
                </a:cubicBezTo>
                <a:cubicBezTo>
                  <a:pt x="4744653" y="4037128"/>
                  <a:pt x="4744653" y="4026390"/>
                  <a:pt x="4744653" y="4026390"/>
                </a:cubicBezTo>
                <a:cubicBezTo>
                  <a:pt x="4755360" y="4026390"/>
                  <a:pt x="4766067" y="4015653"/>
                  <a:pt x="4755360" y="4004916"/>
                </a:cubicBezTo>
                <a:cubicBezTo>
                  <a:pt x="4755360" y="4015653"/>
                  <a:pt x="4744653" y="4015653"/>
                  <a:pt x="4744653" y="4026390"/>
                </a:cubicBezTo>
                <a:cubicBezTo>
                  <a:pt x="4733946" y="4026390"/>
                  <a:pt x="4733946" y="4026390"/>
                  <a:pt x="4733946" y="4026390"/>
                </a:cubicBezTo>
                <a:cubicBezTo>
                  <a:pt x="4669703" y="4069339"/>
                  <a:pt x="4616167" y="4090813"/>
                  <a:pt x="4551925" y="4112287"/>
                </a:cubicBezTo>
                <a:cubicBezTo>
                  <a:pt x="4498389" y="4144498"/>
                  <a:pt x="4466269" y="4165972"/>
                  <a:pt x="4423440" y="4187446"/>
                </a:cubicBezTo>
                <a:cubicBezTo>
                  <a:pt x="4412733" y="4187446"/>
                  <a:pt x="4241419" y="4251868"/>
                  <a:pt x="4294955" y="4219657"/>
                </a:cubicBezTo>
                <a:cubicBezTo>
                  <a:pt x="4337783" y="4198183"/>
                  <a:pt x="4466269" y="4165972"/>
                  <a:pt x="4391319" y="4165972"/>
                </a:cubicBezTo>
                <a:cubicBezTo>
                  <a:pt x="4316369" y="4176709"/>
                  <a:pt x="4359197" y="4165972"/>
                  <a:pt x="4380611" y="4155235"/>
                </a:cubicBezTo>
                <a:cubicBezTo>
                  <a:pt x="4455561" y="4112287"/>
                  <a:pt x="4391319" y="4144498"/>
                  <a:pt x="4369905" y="4133761"/>
                </a:cubicBezTo>
                <a:cubicBezTo>
                  <a:pt x="4369905" y="4133761"/>
                  <a:pt x="4402026" y="4112287"/>
                  <a:pt x="4391319" y="4112287"/>
                </a:cubicBezTo>
                <a:cubicBezTo>
                  <a:pt x="4380611" y="4090813"/>
                  <a:pt x="4273541" y="4155235"/>
                  <a:pt x="4262833" y="4144498"/>
                </a:cubicBezTo>
                <a:cubicBezTo>
                  <a:pt x="4273541" y="4155235"/>
                  <a:pt x="4369905" y="4080076"/>
                  <a:pt x="4369905" y="4101550"/>
                </a:cubicBezTo>
                <a:cubicBezTo>
                  <a:pt x="4369905" y="4090813"/>
                  <a:pt x="4348491" y="4080076"/>
                  <a:pt x="4337783" y="4090813"/>
                </a:cubicBezTo>
                <a:cubicBezTo>
                  <a:pt x="4348491" y="4080076"/>
                  <a:pt x="4434147" y="4047865"/>
                  <a:pt x="4380611" y="4058602"/>
                </a:cubicBezTo>
                <a:cubicBezTo>
                  <a:pt x="4327076" y="4058602"/>
                  <a:pt x="4241419" y="4101550"/>
                  <a:pt x="4198591" y="4112287"/>
                </a:cubicBezTo>
                <a:cubicBezTo>
                  <a:pt x="4059399" y="4123024"/>
                  <a:pt x="3963035" y="4144498"/>
                  <a:pt x="3834549" y="4165972"/>
                </a:cubicBezTo>
                <a:cubicBezTo>
                  <a:pt x="3620407" y="4187446"/>
                  <a:pt x="3374144" y="4251868"/>
                  <a:pt x="3170709" y="4284080"/>
                </a:cubicBezTo>
                <a:cubicBezTo>
                  <a:pt x="3074345" y="4294817"/>
                  <a:pt x="3010103" y="4327028"/>
                  <a:pt x="2935153" y="4337765"/>
                </a:cubicBezTo>
                <a:cubicBezTo>
                  <a:pt x="3127881" y="4273343"/>
                  <a:pt x="3352730" y="4241131"/>
                  <a:pt x="3556165" y="4198183"/>
                </a:cubicBezTo>
                <a:cubicBezTo>
                  <a:pt x="3598993" y="4198183"/>
                  <a:pt x="3641822" y="4187446"/>
                  <a:pt x="3673943" y="4176709"/>
                </a:cubicBezTo>
                <a:cubicBezTo>
                  <a:pt x="3770307" y="4176709"/>
                  <a:pt x="3845257" y="4144498"/>
                  <a:pt x="3930913" y="4112287"/>
                </a:cubicBezTo>
                <a:cubicBezTo>
                  <a:pt x="3963035" y="4123024"/>
                  <a:pt x="3941621" y="4101550"/>
                  <a:pt x="3930913" y="4112287"/>
                </a:cubicBezTo>
                <a:cubicBezTo>
                  <a:pt x="3641822" y="4155235"/>
                  <a:pt x="3352730" y="4208920"/>
                  <a:pt x="3085053" y="4273343"/>
                </a:cubicBezTo>
                <a:cubicBezTo>
                  <a:pt x="3085053" y="4273343"/>
                  <a:pt x="3085053" y="4273343"/>
                  <a:pt x="3085053" y="4262606"/>
                </a:cubicBezTo>
                <a:cubicBezTo>
                  <a:pt x="3117174" y="4273343"/>
                  <a:pt x="3095760" y="4241131"/>
                  <a:pt x="3085053" y="4262606"/>
                </a:cubicBezTo>
                <a:cubicBezTo>
                  <a:pt x="3074345" y="4262606"/>
                  <a:pt x="3052931" y="4262606"/>
                  <a:pt x="3052931" y="4273343"/>
                </a:cubicBezTo>
                <a:cubicBezTo>
                  <a:pt x="3052931" y="4273343"/>
                  <a:pt x="3052931" y="4273343"/>
                  <a:pt x="3031517" y="4273343"/>
                </a:cubicBezTo>
                <a:cubicBezTo>
                  <a:pt x="3202831" y="4208920"/>
                  <a:pt x="3459801" y="4187446"/>
                  <a:pt x="3631115" y="4144498"/>
                </a:cubicBezTo>
                <a:cubicBezTo>
                  <a:pt x="3641822" y="4144498"/>
                  <a:pt x="3652529" y="4133761"/>
                  <a:pt x="3652529" y="4133761"/>
                </a:cubicBezTo>
                <a:cubicBezTo>
                  <a:pt x="3663236" y="4133761"/>
                  <a:pt x="3684650" y="4144498"/>
                  <a:pt x="3695357" y="4133761"/>
                </a:cubicBezTo>
                <a:cubicBezTo>
                  <a:pt x="3727479" y="4123024"/>
                  <a:pt x="3748893" y="4112287"/>
                  <a:pt x="3791721" y="4101550"/>
                </a:cubicBezTo>
                <a:cubicBezTo>
                  <a:pt x="3866671" y="4090813"/>
                  <a:pt x="3984449" y="4069339"/>
                  <a:pt x="4059399" y="4058602"/>
                </a:cubicBezTo>
                <a:cubicBezTo>
                  <a:pt x="4123641" y="4047865"/>
                  <a:pt x="4187884" y="4026390"/>
                  <a:pt x="4112934" y="4037128"/>
                </a:cubicBezTo>
                <a:cubicBezTo>
                  <a:pt x="4059399" y="4037128"/>
                  <a:pt x="3877378" y="4080076"/>
                  <a:pt x="3770307" y="4101550"/>
                </a:cubicBezTo>
                <a:cubicBezTo>
                  <a:pt x="3481215" y="4144498"/>
                  <a:pt x="3127881" y="4208920"/>
                  <a:pt x="2881618" y="4284080"/>
                </a:cubicBezTo>
                <a:cubicBezTo>
                  <a:pt x="2881618" y="4284080"/>
                  <a:pt x="2881618" y="4284080"/>
                  <a:pt x="2881618" y="4273343"/>
                </a:cubicBezTo>
                <a:cubicBezTo>
                  <a:pt x="2924446" y="4284080"/>
                  <a:pt x="2892325" y="4251868"/>
                  <a:pt x="2881618" y="4273343"/>
                </a:cubicBezTo>
                <a:cubicBezTo>
                  <a:pt x="2860203" y="4273343"/>
                  <a:pt x="2860203" y="4284080"/>
                  <a:pt x="2881618" y="4284080"/>
                </a:cubicBezTo>
                <a:cubicBezTo>
                  <a:pt x="2860203" y="4294817"/>
                  <a:pt x="2838789" y="4305554"/>
                  <a:pt x="2806668" y="4305554"/>
                </a:cubicBezTo>
                <a:cubicBezTo>
                  <a:pt x="2849497" y="4294817"/>
                  <a:pt x="2795961" y="4294817"/>
                  <a:pt x="2785254" y="4305554"/>
                </a:cubicBezTo>
                <a:cubicBezTo>
                  <a:pt x="2742425" y="4305554"/>
                  <a:pt x="2710304" y="4327028"/>
                  <a:pt x="2667476" y="4337765"/>
                </a:cubicBezTo>
                <a:cubicBezTo>
                  <a:pt x="2838789" y="4262606"/>
                  <a:pt x="3020810" y="4208920"/>
                  <a:pt x="3213538" y="4165972"/>
                </a:cubicBezTo>
                <a:cubicBezTo>
                  <a:pt x="3384851" y="4133761"/>
                  <a:pt x="3545458" y="4123024"/>
                  <a:pt x="3748893" y="4080076"/>
                </a:cubicBezTo>
                <a:cubicBezTo>
                  <a:pt x="3770307" y="4080076"/>
                  <a:pt x="3963035" y="4037128"/>
                  <a:pt x="3855964" y="4047865"/>
                </a:cubicBezTo>
                <a:cubicBezTo>
                  <a:pt x="3577579" y="4080076"/>
                  <a:pt x="3267073" y="4155235"/>
                  <a:pt x="3042224" y="4187446"/>
                </a:cubicBezTo>
                <a:cubicBezTo>
                  <a:pt x="3020810" y="4187446"/>
                  <a:pt x="2881618" y="4230394"/>
                  <a:pt x="2924446" y="4198183"/>
                </a:cubicBezTo>
                <a:cubicBezTo>
                  <a:pt x="2956567" y="4165972"/>
                  <a:pt x="3042224" y="4165972"/>
                  <a:pt x="3106467" y="4144498"/>
                </a:cubicBezTo>
                <a:cubicBezTo>
                  <a:pt x="3256366" y="4112287"/>
                  <a:pt x="3438387" y="4080076"/>
                  <a:pt x="3588286" y="4047865"/>
                </a:cubicBezTo>
                <a:cubicBezTo>
                  <a:pt x="3706064" y="4026390"/>
                  <a:pt x="3813135" y="4026390"/>
                  <a:pt x="3898792" y="4004916"/>
                </a:cubicBezTo>
                <a:cubicBezTo>
                  <a:pt x="3898792" y="4004916"/>
                  <a:pt x="3909499" y="3983442"/>
                  <a:pt x="3920206" y="3983442"/>
                </a:cubicBezTo>
                <a:cubicBezTo>
                  <a:pt x="3984449" y="3972705"/>
                  <a:pt x="4070106" y="3961968"/>
                  <a:pt x="4123641" y="3951231"/>
                </a:cubicBezTo>
                <a:cubicBezTo>
                  <a:pt x="4145055" y="3940494"/>
                  <a:pt x="4187884" y="3940494"/>
                  <a:pt x="4198591" y="3919020"/>
                </a:cubicBezTo>
                <a:cubicBezTo>
                  <a:pt x="4220005" y="3919020"/>
                  <a:pt x="4198591" y="3897546"/>
                  <a:pt x="4198591" y="3919020"/>
                </a:cubicBezTo>
                <a:cubicBezTo>
                  <a:pt x="4059399" y="3940494"/>
                  <a:pt x="3909499" y="3972705"/>
                  <a:pt x="3770307" y="3994179"/>
                </a:cubicBezTo>
                <a:cubicBezTo>
                  <a:pt x="3342023" y="4047865"/>
                  <a:pt x="2870911" y="4155235"/>
                  <a:pt x="2506869" y="4294817"/>
                </a:cubicBezTo>
                <a:cubicBezTo>
                  <a:pt x="2410506" y="4337765"/>
                  <a:pt x="2549698" y="4273343"/>
                  <a:pt x="2549698" y="4262606"/>
                </a:cubicBezTo>
                <a:cubicBezTo>
                  <a:pt x="2560405" y="4262606"/>
                  <a:pt x="2560405" y="4241131"/>
                  <a:pt x="2560405" y="4241131"/>
                </a:cubicBezTo>
                <a:cubicBezTo>
                  <a:pt x="2571112" y="4241131"/>
                  <a:pt x="2592526" y="4241131"/>
                  <a:pt x="2613940" y="4230394"/>
                </a:cubicBezTo>
                <a:cubicBezTo>
                  <a:pt x="2635355" y="4219657"/>
                  <a:pt x="2646061" y="4198183"/>
                  <a:pt x="2646061" y="4198183"/>
                </a:cubicBezTo>
                <a:cubicBezTo>
                  <a:pt x="2635355" y="4187446"/>
                  <a:pt x="2538991" y="4230394"/>
                  <a:pt x="2496162" y="4241131"/>
                </a:cubicBezTo>
                <a:cubicBezTo>
                  <a:pt x="2410506" y="4284080"/>
                  <a:pt x="2367677" y="4316291"/>
                  <a:pt x="2282020" y="4337765"/>
                </a:cubicBezTo>
                <a:cubicBezTo>
                  <a:pt x="2282020" y="4327028"/>
                  <a:pt x="2292727" y="4327028"/>
                  <a:pt x="2292727" y="4327028"/>
                </a:cubicBezTo>
                <a:cubicBezTo>
                  <a:pt x="2303435" y="4327028"/>
                  <a:pt x="2303435" y="4327028"/>
                  <a:pt x="2303435" y="4316291"/>
                </a:cubicBezTo>
                <a:cubicBezTo>
                  <a:pt x="2314142" y="4316291"/>
                  <a:pt x="2314142" y="4316291"/>
                  <a:pt x="2314142" y="4316291"/>
                </a:cubicBezTo>
                <a:cubicBezTo>
                  <a:pt x="2324849" y="4305554"/>
                  <a:pt x="2314142" y="4305554"/>
                  <a:pt x="2314142" y="4316291"/>
                </a:cubicBezTo>
                <a:cubicBezTo>
                  <a:pt x="2314142" y="4305554"/>
                  <a:pt x="2303435" y="4316291"/>
                  <a:pt x="2303435" y="4316291"/>
                </a:cubicBezTo>
                <a:cubicBezTo>
                  <a:pt x="2292727" y="4316291"/>
                  <a:pt x="2292727" y="4316291"/>
                  <a:pt x="2292727" y="4327028"/>
                </a:cubicBezTo>
                <a:cubicBezTo>
                  <a:pt x="2260606" y="4327028"/>
                  <a:pt x="2228485" y="4348502"/>
                  <a:pt x="2185657" y="4380713"/>
                </a:cubicBezTo>
                <a:cubicBezTo>
                  <a:pt x="2174949" y="4391450"/>
                  <a:pt x="2046464" y="4455872"/>
                  <a:pt x="2100000" y="4412924"/>
                </a:cubicBezTo>
                <a:cubicBezTo>
                  <a:pt x="2217778" y="4327028"/>
                  <a:pt x="2324849" y="4262606"/>
                  <a:pt x="2464041" y="4198183"/>
                </a:cubicBezTo>
                <a:cubicBezTo>
                  <a:pt x="2538991" y="4155235"/>
                  <a:pt x="2421213" y="4198183"/>
                  <a:pt x="2421213" y="4198183"/>
                </a:cubicBezTo>
                <a:cubicBezTo>
                  <a:pt x="2421213" y="4208920"/>
                  <a:pt x="2314142" y="4262606"/>
                  <a:pt x="2303435" y="4273343"/>
                </a:cubicBezTo>
                <a:cubicBezTo>
                  <a:pt x="2271313" y="4294817"/>
                  <a:pt x="2239192" y="4305554"/>
                  <a:pt x="2228485" y="4316291"/>
                </a:cubicBezTo>
                <a:cubicBezTo>
                  <a:pt x="2217778" y="4316291"/>
                  <a:pt x="2217778" y="4294817"/>
                  <a:pt x="2207071" y="4294817"/>
                </a:cubicBezTo>
                <a:cubicBezTo>
                  <a:pt x="2196364" y="4305554"/>
                  <a:pt x="2164242" y="4348502"/>
                  <a:pt x="2142828" y="4337765"/>
                </a:cubicBezTo>
                <a:cubicBezTo>
                  <a:pt x="2110707" y="4337765"/>
                  <a:pt x="2185657" y="4316291"/>
                  <a:pt x="2174949" y="4305554"/>
                </a:cubicBezTo>
                <a:cubicBezTo>
                  <a:pt x="2174949" y="4284080"/>
                  <a:pt x="2121414" y="4327028"/>
                  <a:pt x="2100000" y="4337765"/>
                </a:cubicBezTo>
                <a:cubicBezTo>
                  <a:pt x="2078586" y="4348502"/>
                  <a:pt x="1992929" y="4412924"/>
                  <a:pt x="2057171" y="4359239"/>
                </a:cubicBezTo>
                <a:cubicBezTo>
                  <a:pt x="2089293" y="4337765"/>
                  <a:pt x="2110707" y="4316291"/>
                  <a:pt x="2132122" y="4294817"/>
                </a:cubicBezTo>
                <a:cubicBezTo>
                  <a:pt x="2142828" y="4284080"/>
                  <a:pt x="2132122" y="4284080"/>
                  <a:pt x="2132122" y="4294817"/>
                </a:cubicBezTo>
                <a:cubicBezTo>
                  <a:pt x="2014343" y="4369976"/>
                  <a:pt x="1907272" y="4445135"/>
                  <a:pt x="1821615" y="4541769"/>
                </a:cubicBezTo>
                <a:cubicBezTo>
                  <a:pt x="1789494" y="4573980"/>
                  <a:pt x="1746666" y="4638402"/>
                  <a:pt x="1735958" y="4638402"/>
                </a:cubicBezTo>
                <a:cubicBezTo>
                  <a:pt x="1725251" y="4627665"/>
                  <a:pt x="1778787" y="4563243"/>
                  <a:pt x="1778787" y="4563243"/>
                </a:cubicBezTo>
                <a:cubicBezTo>
                  <a:pt x="1843029" y="4509557"/>
                  <a:pt x="1843029" y="4488083"/>
                  <a:pt x="1896565" y="4434398"/>
                </a:cubicBezTo>
                <a:cubicBezTo>
                  <a:pt x="1907272" y="4423661"/>
                  <a:pt x="2003636" y="4348502"/>
                  <a:pt x="1939393" y="4391450"/>
                </a:cubicBezTo>
                <a:cubicBezTo>
                  <a:pt x="1843029" y="4455872"/>
                  <a:pt x="1800201" y="4552506"/>
                  <a:pt x="1714544" y="4616928"/>
                </a:cubicBezTo>
                <a:cubicBezTo>
                  <a:pt x="1735958" y="4595454"/>
                  <a:pt x="1768080" y="4520294"/>
                  <a:pt x="1746666" y="4531032"/>
                </a:cubicBezTo>
                <a:cubicBezTo>
                  <a:pt x="1714544" y="4552506"/>
                  <a:pt x="1682423" y="4616928"/>
                  <a:pt x="1661009" y="4627665"/>
                </a:cubicBezTo>
                <a:cubicBezTo>
                  <a:pt x="1735958" y="4520294"/>
                  <a:pt x="1821615" y="4423661"/>
                  <a:pt x="1907272" y="4327028"/>
                </a:cubicBezTo>
                <a:cubicBezTo>
                  <a:pt x="1875151" y="4348502"/>
                  <a:pt x="1832322" y="4391450"/>
                  <a:pt x="1800201" y="4423661"/>
                </a:cubicBezTo>
                <a:cubicBezTo>
                  <a:pt x="1746666" y="4477346"/>
                  <a:pt x="1703837" y="4552506"/>
                  <a:pt x="1650302" y="4606191"/>
                </a:cubicBezTo>
                <a:cubicBezTo>
                  <a:pt x="1618181" y="4649139"/>
                  <a:pt x="1661009" y="4552506"/>
                  <a:pt x="1671716" y="4552506"/>
                </a:cubicBezTo>
                <a:cubicBezTo>
                  <a:pt x="1661009" y="4541769"/>
                  <a:pt x="1596766" y="4638402"/>
                  <a:pt x="1596766" y="4649139"/>
                </a:cubicBezTo>
                <a:cubicBezTo>
                  <a:pt x="1596766" y="4638402"/>
                  <a:pt x="1575352" y="4681350"/>
                  <a:pt x="1575352" y="4670613"/>
                </a:cubicBezTo>
                <a:cubicBezTo>
                  <a:pt x="1553938" y="4670613"/>
                  <a:pt x="1661009" y="4552506"/>
                  <a:pt x="1618181" y="4573980"/>
                </a:cubicBezTo>
                <a:cubicBezTo>
                  <a:pt x="1618181" y="4573980"/>
                  <a:pt x="1615504" y="4571296"/>
                  <a:pt x="1614165" y="4568611"/>
                </a:cubicBezTo>
                <a:lnTo>
                  <a:pt x="1613744" y="4565514"/>
                </a:lnTo>
                <a:lnTo>
                  <a:pt x="1618181" y="4563243"/>
                </a:lnTo>
                <a:cubicBezTo>
                  <a:pt x="1615504" y="4563243"/>
                  <a:pt x="1614165" y="4563914"/>
                  <a:pt x="1613663" y="4564920"/>
                </a:cubicBezTo>
                <a:lnTo>
                  <a:pt x="1613744" y="4565514"/>
                </a:lnTo>
                <a:lnTo>
                  <a:pt x="1594257" y="4575490"/>
                </a:lnTo>
                <a:cubicBezTo>
                  <a:pt x="1570668" y="4598138"/>
                  <a:pt x="1548584" y="4646455"/>
                  <a:pt x="1532524" y="4670613"/>
                </a:cubicBezTo>
                <a:cubicBezTo>
                  <a:pt x="1511109" y="4713561"/>
                  <a:pt x="1489695" y="4767246"/>
                  <a:pt x="1468281" y="4788721"/>
                </a:cubicBezTo>
                <a:cubicBezTo>
                  <a:pt x="1457574" y="4799458"/>
                  <a:pt x="1436160" y="4831669"/>
                  <a:pt x="1436160" y="4831669"/>
                </a:cubicBezTo>
                <a:cubicBezTo>
                  <a:pt x="1425453" y="4842406"/>
                  <a:pt x="1414745" y="4831669"/>
                  <a:pt x="1404038" y="4831669"/>
                </a:cubicBezTo>
                <a:cubicBezTo>
                  <a:pt x="1393331" y="4842406"/>
                  <a:pt x="1393331" y="4885354"/>
                  <a:pt x="1382624" y="4906828"/>
                </a:cubicBezTo>
                <a:cubicBezTo>
                  <a:pt x="1361210" y="4939039"/>
                  <a:pt x="1339796" y="4971250"/>
                  <a:pt x="1339796" y="4992724"/>
                </a:cubicBezTo>
                <a:cubicBezTo>
                  <a:pt x="1329089" y="5003461"/>
                  <a:pt x="1329089" y="5014198"/>
                  <a:pt x="1318382" y="5024935"/>
                </a:cubicBezTo>
                <a:cubicBezTo>
                  <a:pt x="1296967" y="5121569"/>
                  <a:pt x="1307674" y="5239676"/>
                  <a:pt x="1286260" y="5347047"/>
                </a:cubicBezTo>
                <a:cubicBezTo>
                  <a:pt x="1286260" y="5368521"/>
                  <a:pt x="1243432" y="5508102"/>
                  <a:pt x="1243432" y="5508102"/>
                </a:cubicBezTo>
                <a:cubicBezTo>
                  <a:pt x="1243432" y="5508102"/>
                  <a:pt x="1211311" y="5508102"/>
                  <a:pt x="1200604" y="5497365"/>
                </a:cubicBezTo>
                <a:cubicBezTo>
                  <a:pt x="1189896" y="5486628"/>
                  <a:pt x="1200604" y="5454417"/>
                  <a:pt x="1200604" y="5443680"/>
                </a:cubicBezTo>
                <a:cubicBezTo>
                  <a:pt x="1189896" y="5422206"/>
                  <a:pt x="1157775" y="5411469"/>
                  <a:pt x="1157775" y="5400732"/>
                </a:cubicBezTo>
                <a:cubicBezTo>
                  <a:pt x="1136361" y="5271887"/>
                  <a:pt x="1147068" y="5422206"/>
                  <a:pt x="1147068" y="5443680"/>
                </a:cubicBezTo>
                <a:cubicBezTo>
                  <a:pt x="1136361" y="5486628"/>
                  <a:pt x="1093533" y="5389995"/>
                  <a:pt x="1104240" y="5389995"/>
                </a:cubicBezTo>
                <a:cubicBezTo>
                  <a:pt x="1093533" y="5389995"/>
                  <a:pt x="1104240" y="5411469"/>
                  <a:pt x="1093533" y="5432943"/>
                </a:cubicBezTo>
                <a:cubicBezTo>
                  <a:pt x="1093533" y="5508102"/>
                  <a:pt x="1082825" y="5432943"/>
                  <a:pt x="1072118" y="5379258"/>
                </a:cubicBezTo>
                <a:cubicBezTo>
                  <a:pt x="1050704" y="5314836"/>
                  <a:pt x="1050704" y="5207465"/>
                  <a:pt x="1050704" y="5143043"/>
                </a:cubicBezTo>
                <a:cubicBezTo>
                  <a:pt x="1050704" y="5153780"/>
                  <a:pt x="1072118" y="5035672"/>
                  <a:pt x="1061411" y="5035672"/>
                </a:cubicBezTo>
                <a:cubicBezTo>
                  <a:pt x="1050704" y="5014198"/>
                  <a:pt x="1050704" y="5057147"/>
                  <a:pt x="1050704" y="5078621"/>
                </a:cubicBezTo>
                <a:cubicBezTo>
                  <a:pt x="1050704" y="5078621"/>
                  <a:pt x="1029290" y="5143043"/>
                  <a:pt x="1029290" y="5143043"/>
                </a:cubicBezTo>
                <a:cubicBezTo>
                  <a:pt x="1029290" y="5143043"/>
                  <a:pt x="1029290" y="5132306"/>
                  <a:pt x="1029290" y="5120227"/>
                </a:cubicBezTo>
                <a:lnTo>
                  <a:pt x="1029290" y="5110832"/>
                </a:lnTo>
                <a:lnTo>
                  <a:pt x="1029290" y="5104121"/>
                </a:lnTo>
                <a:lnTo>
                  <a:pt x="1029290" y="5102276"/>
                </a:lnTo>
                <a:lnTo>
                  <a:pt x="1029290" y="5098417"/>
                </a:lnTo>
                <a:cubicBezTo>
                  <a:pt x="1029290" y="5089358"/>
                  <a:pt x="1029290" y="5089358"/>
                  <a:pt x="1029290" y="5089358"/>
                </a:cubicBezTo>
                <a:cubicBezTo>
                  <a:pt x="1029290" y="5067884"/>
                  <a:pt x="1018583" y="5035672"/>
                  <a:pt x="1029290" y="4981987"/>
                </a:cubicBezTo>
                <a:cubicBezTo>
                  <a:pt x="1029290" y="4965882"/>
                  <a:pt x="1035313" y="4925618"/>
                  <a:pt x="1033807" y="4897433"/>
                </a:cubicBezTo>
                <a:lnTo>
                  <a:pt x="1031453" y="4885542"/>
                </a:lnTo>
                <a:lnTo>
                  <a:pt x="1032134" y="4884012"/>
                </a:lnTo>
                <a:cubicBezTo>
                  <a:pt x="1032636" y="4880656"/>
                  <a:pt x="1031967" y="4877301"/>
                  <a:pt x="1029290" y="4874617"/>
                </a:cubicBezTo>
                <a:lnTo>
                  <a:pt x="1031453" y="4885542"/>
                </a:lnTo>
                <a:lnTo>
                  <a:pt x="1027952" y="4893407"/>
                </a:lnTo>
                <a:cubicBezTo>
                  <a:pt x="1023937" y="4898775"/>
                  <a:pt x="1018583" y="4901459"/>
                  <a:pt x="1018583" y="4896091"/>
                </a:cubicBezTo>
                <a:cubicBezTo>
                  <a:pt x="1018583" y="4906828"/>
                  <a:pt x="1029290" y="4960513"/>
                  <a:pt x="1018583" y="4981987"/>
                </a:cubicBezTo>
                <a:cubicBezTo>
                  <a:pt x="1018583" y="4981987"/>
                  <a:pt x="1007876" y="4917565"/>
                  <a:pt x="1007876" y="4917565"/>
                </a:cubicBezTo>
                <a:cubicBezTo>
                  <a:pt x="1007876" y="4896091"/>
                  <a:pt x="1029290" y="4853143"/>
                  <a:pt x="1029290" y="4831669"/>
                </a:cubicBezTo>
                <a:cubicBezTo>
                  <a:pt x="1039997" y="4810195"/>
                  <a:pt x="1029290" y="4777983"/>
                  <a:pt x="1039997" y="4745772"/>
                </a:cubicBezTo>
                <a:cubicBezTo>
                  <a:pt x="1050704" y="4670613"/>
                  <a:pt x="1072118" y="4584717"/>
                  <a:pt x="1093533" y="4509557"/>
                </a:cubicBezTo>
                <a:cubicBezTo>
                  <a:pt x="1157775" y="4294817"/>
                  <a:pt x="1232725" y="4123024"/>
                  <a:pt x="1350503" y="3961968"/>
                </a:cubicBezTo>
                <a:cubicBezTo>
                  <a:pt x="1361210" y="3940494"/>
                  <a:pt x="1414745" y="3876072"/>
                  <a:pt x="1414745" y="3865335"/>
                </a:cubicBezTo>
                <a:cubicBezTo>
                  <a:pt x="1414745" y="3865335"/>
                  <a:pt x="1404038" y="3843861"/>
                  <a:pt x="1404038" y="3843861"/>
                </a:cubicBezTo>
                <a:cubicBezTo>
                  <a:pt x="1329089" y="3811650"/>
                  <a:pt x="1179189" y="3843861"/>
                  <a:pt x="1072118" y="3843861"/>
                </a:cubicBezTo>
                <a:cubicBezTo>
                  <a:pt x="922219" y="3854598"/>
                  <a:pt x="750905" y="3854598"/>
                  <a:pt x="654542" y="3843861"/>
                </a:cubicBezTo>
                <a:cubicBezTo>
                  <a:pt x="633127" y="3843861"/>
                  <a:pt x="633127" y="3843861"/>
                  <a:pt x="622420" y="3843861"/>
                </a:cubicBezTo>
                <a:cubicBezTo>
                  <a:pt x="579592" y="3833124"/>
                  <a:pt x="611713" y="3854598"/>
                  <a:pt x="622420" y="3854598"/>
                </a:cubicBezTo>
                <a:cubicBezTo>
                  <a:pt x="654542" y="3854598"/>
                  <a:pt x="665249" y="3854598"/>
                  <a:pt x="686663" y="3854598"/>
                </a:cubicBezTo>
                <a:cubicBezTo>
                  <a:pt x="686663" y="3854598"/>
                  <a:pt x="686663" y="3854598"/>
                  <a:pt x="688001" y="3854598"/>
                </a:cubicBezTo>
                <a:lnTo>
                  <a:pt x="689842" y="3854598"/>
                </a:lnTo>
                <a:cubicBezTo>
                  <a:pt x="689674" y="3854598"/>
                  <a:pt x="691347" y="3854598"/>
                  <a:pt x="693355" y="3854598"/>
                </a:cubicBezTo>
                <a:lnTo>
                  <a:pt x="697370" y="3854598"/>
                </a:lnTo>
                <a:cubicBezTo>
                  <a:pt x="700047" y="3854598"/>
                  <a:pt x="700047" y="3854598"/>
                  <a:pt x="698876" y="3854598"/>
                </a:cubicBezTo>
                <a:lnTo>
                  <a:pt x="700047" y="3854598"/>
                </a:lnTo>
                <a:cubicBezTo>
                  <a:pt x="702723" y="3854598"/>
                  <a:pt x="708077" y="3854598"/>
                  <a:pt x="718784" y="3854598"/>
                </a:cubicBezTo>
                <a:cubicBezTo>
                  <a:pt x="804441" y="3854598"/>
                  <a:pt x="708077" y="3865335"/>
                  <a:pt x="697370" y="3865335"/>
                </a:cubicBezTo>
                <a:cubicBezTo>
                  <a:pt x="665249" y="3865335"/>
                  <a:pt x="568885" y="3854598"/>
                  <a:pt x="568885" y="3854598"/>
                </a:cubicBezTo>
                <a:cubicBezTo>
                  <a:pt x="568885" y="3854598"/>
                  <a:pt x="601006" y="3886809"/>
                  <a:pt x="611713" y="3876072"/>
                </a:cubicBezTo>
                <a:cubicBezTo>
                  <a:pt x="568885" y="3908283"/>
                  <a:pt x="472521" y="3876072"/>
                  <a:pt x="451107" y="3876072"/>
                </a:cubicBezTo>
                <a:cubicBezTo>
                  <a:pt x="429692" y="3876072"/>
                  <a:pt x="408278" y="3876072"/>
                  <a:pt x="397571" y="3876072"/>
                </a:cubicBezTo>
                <a:cubicBezTo>
                  <a:pt x="344036" y="3865335"/>
                  <a:pt x="172722" y="3843861"/>
                  <a:pt x="162015" y="3811650"/>
                </a:cubicBezTo>
                <a:cubicBezTo>
                  <a:pt x="151308" y="3800913"/>
                  <a:pt x="183429" y="3779439"/>
                  <a:pt x="172722" y="3779439"/>
                </a:cubicBezTo>
                <a:cubicBezTo>
                  <a:pt x="226258" y="3757964"/>
                  <a:pt x="162015" y="3768701"/>
                  <a:pt x="151308" y="3747227"/>
                </a:cubicBezTo>
                <a:cubicBezTo>
                  <a:pt x="151308" y="3725753"/>
                  <a:pt x="194136" y="3704279"/>
                  <a:pt x="194136" y="3704279"/>
                </a:cubicBezTo>
                <a:cubicBezTo>
                  <a:pt x="194136" y="3693542"/>
                  <a:pt x="151308" y="3704279"/>
                  <a:pt x="119187" y="3682805"/>
                </a:cubicBezTo>
                <a:cubicBezTo>
                  <a:pt x="119187" y="3682805"/>
                  <a:pt x="129894" y="3672068"/>
                  <a:pt x="129894" y="3672068"/>
                </a:cubicBezTo>
                <a:cubicBezTo>
                  <a:pt x="129894" y="3661331"/>
                  <a:pt x="108480" y="3661331"/>
                  <a:pt x="108480" y="3661331"/>
                </a:cubicBezTo>
                <a:cubicBezTo>
                  <a:pt x="108480" y="3661331"/>
                  <a:pt x="108480" y="3650594"/>
                  <a:pt x="108480" y="3641199"/>
                </a:cubicBezTo>
                <a:lnTo>
                  <a:pt x="108480" y="3639918"/>
                </a:lnTo>
                <a:lnTo>
                  <a:pt x="112014" y="3622971"/>
                </a:lnTo>
                <a:lnTo>
                  <a:pt x="112314" y="3621430"/>
                </a:lnTo>
                <a:lnTo>
                  <a:pt x="113833" y="3618383"/>
                </a:lnTo>
                <a:cubicBezTo>
                  <a:pt x="116510" y="3615699"/>
                  <a:pt x="119187" y="3613015"/>
                  <a:pt x="119187" y="3607646"/>
                </a:cubicBezTo>
                <a:cubicBezTo>
                  <a:pt x="119187" y="3596909"/>
                  <a:pt x="119187" y="3596909"/>
                  <a:pt x="119187" y="3586172"/>
                </a:cubicBezTo>
                <a:lnTo>
                  <a:pt x="112314" y="3621430"/>
                </a:lnTo>
                <a:lnTo>
                  <a:pt x="108480" y="3629120"/>
                </a:lnTo>
                <a:cubicBezTo>
                  <a:pt x="108480" y="3626436"/>
                  <a:pt x="108480" y="3627107"/>
                  <a:pt x="108480" y="3629624"/>
                </a:cubicBezTo>
                <a:lnTo>
                  <a:pt x="108480" y="3639918"/>
                </a:lnTo>
                <a:lnTo>
                  <a:pt x="106472" y="3649546"/>
                </a:lnTo>
                <a:cubicBezTo>
                  <a:pt x="84221" y="3751422"/>
                  <a:pt x="111157" y="3555303"/>
                  <a:pt x="129894" y="3564698"/>
                </a:cubicBezTo>
                <a:cubicBezTo>
                  <a:pt x="119187" y="3553961"/>
                  <a:pt x="87065" y="3564698"/>
                  <a:pt x="87065" y="3553961"/>
                </a:cubicBezTo>
                <a:cubicBezTo>
                  <a:pt x="87065" y="3521750"/>
                  <a:pt x="129894" y="3532487"/>
                  <a:pt x="129894" y="3521750"/>
                </a:cubicBezTo>
                <a:cubicBezTo>
                  <a:pt x="140601" y="3500275"/>
                  <a:pt x="44237" y="3478801"/>
                  <a:pt x="44237" y="3468064"/>
                </a:cubicBezTo>
                <a:cubicBezTo>
                  <a:pt x="33530" y="3435853"/>
                  <a:pt x="76358" y="3435853"/>
                  <a:pt x="87065" y="3425116"/>
                </a:cubicBezTo>
                <a:cubicBezTo>
                  <a:pt x="87065" y="3425116"/>
                  <a:pt x="76358" y="3414379"/>
                  <a:pt x="76358" y="3403642"/>
                </a:cubicBezTo>
                <a:cubicBezTo>
                  <a:pt x="76358" y="3403642"/>
                  <a:pt x="140601" y="3403642"/>
                  <a:pt x="151308" y="3403642"/>
                </a:cubicBezTo>
                <a:cubicBezTo>
                  <a:pt x="151308" y="3371431"/>
                  <a:pt x="119187" y="3392905"/>
                  <a:pt x="108480" y="3382168"/>
                </a:cubicBezTo>
                <a:cubicBezTo>
                  <a:pt x="108480" y="3382168"/>
                  <a:pt x="97772" y="3360694"/>
                  <a:pt x="87065" y="3360694"/>
                </a:cubicBezTo>
                <a:cubicBezTo>
                  <a:pt x="33530" y="3339220"/>
                  <a:pt x="215551" y="3360694"/>
                  <a:pt x="129894" y="3307009"/>
                </a:cubicBezTo>
                <a:cubicBezTo>
                  <a:pt x="119187" y="3296272"/>
                  <a:pt x="97772" y="3285535"/>
                  <a:pt x="87065" y="3274798"/>
                </a:cubicBezTo>
                <a:cubicBezTo>
                  <a:pt x="87065" y="3285535"/>
                  <a:pt x="65651" y="3285535"/>
                  <a:pt x="65651" y="3285535"/>
                </a:cubicBezTo>
                <a:cubicBezTo>
                  <a:pt x="54944" y="3264061"/>
                  <a:pt x="87065" y="3242586"/>
                  <a:pt x="108480" y="3231849"/>
                </a:cubicBezTo>
                <a:cubicBezTo>
                  <a:pt x="119187" y="3231849"/>
                  <a:pt x="151308" y="3231849"/>
                  <a:pt x="151308" y="3231849"/>
                </a:cubicBezTo>
                <a:cubicBezTo>
                  <a:pt x="162015" y="3210375"/>
                  <a:pt x="97772" y="3221112"/>
                  <a:pt x="97772" y="3221112"/>
                </a:cubicBezTo>
                <a:cubicBezTo>
                  <a:pt x="87065" y="3210375"/>
                  <a:pt x="119187" y="3199638"/>
                  <a:pt x="119187" y="3199638"/>
                </a:cubicBezTo>
                <a:cubicBezTo>
                  <a:pt x="119187" y="3188901"/>
                  <a:pt x="22823" y="3167427"/>
                  <a:pt x="76358" y="3156690"/>
                </a:cubicBezTo>
                <a:cubicBezTo>
                  <a:pt x="87065" y="3167427"/>
                  <a:pt x="87065" y="3156690"/>
                  <a:pt x="76358" y="3156690"/>
                </a:cubicBezTo>
                <a:cubicBezTo>
                  <a:pt x="129894" y="3156690"/>
                  <a:pt x="87065" y="3145953"/>
                  <a:pt x="97772" y="3124479"/>
                </a:cubicBezTo>
                <a:cubicBezTo>
                  <a:pt x="97772" y="3124479"/>
                  <a:pt x="140601" y="3103005"/>
                  <a:pt x="129894" y="3113742"/>
                </a:cubicBezTo>
                <a:cubicBezTo>
                  <a:pt x="140601" y="3103005"/>
                  <a:pt x="151308" y="3103005"/>
                  <a:pt x="151308" y="3092268"/>
                </a:cubicBezTo>
                <a:cubicBezTo>
                  <a:pt x="162015" y="3060057"/>
                  <a:pt x="119187" y="3070794"/>
                  <a:pt x="108480" y="3060057"/>
                </a:cubicBezTo>
                <a:cubicBezTo>
                  <a:pt x="97772" y="3060057"/>
                  <a:pt x="108480" y="3038583"/>
                  <a:pt x="108480" y="3038583"/>
                </a:cubicBezTo>
                <a:cubicBezTo>
                  <a:pt x="87065" y="3027846"/>
                  <a:pt x="44237" y="3049320"/>
                  <a:pt x="54944" y="3027846"/>
                </a:cubicBezTo>
                <a:cubicBezTo>
                  <a:pt x="54944" y="3006372"/>
                  <a:pt x="87065" y="3006372"/>
                  <a:pt x="108480" y="3006372"/>
                </a:cubicBezTo>
                <a:cubicBezTo>
                  <a:pt x="108480" y="3017109"/>
                  <a:pt x="129894" y="2995635"/>
                  <a:pt x="108480" y="3006372"/>
                </a:cubicBezTo>
                <a:cubicBezTo>
                  <a:pt x="76358" y="2995635"/>
                  <a:pt x="65651" y="2974160"/>
                  <a:pt x="65651" y="2952686"/>
                </a:cubicBezTo>
                <a:cubicBezTo>
                  <a:pt x="76358" y="2941949"/>
                  <a:pt x="108480" y="2941949"/>
                  <a:pt x="108480" y="2941949"/>
                </a:cubicBezTo>
                <a:cubicBezTo>
                  <a:pt x="119187" y="2920475"/>
                  <a:pt x="76358" y="2941949"/>
                  <a:pt x="76358" y="2931212"/>
                </a:cubicBezTo>
                <a:cubicBezTo>
                  <a:pt x="65651" y="2909738"/>
                  <a:pt x="129894" y="2920475"/>
                  <a:pt x="76358" y="2909738"/>
                </a:cubicBezTo>
                <a:cubicBezTo>
                  <a:pt x="33530" y="2899001"/>
                  <a:pt x="76358" y="2888264"/>
                  <a:pt x="87065" y="2888264"/>
                </a:cubicBezTo>
                <a:cubicBezTo>
                  <a:pt x="129894" y="2877527"/>
                  <a:pt x="54944" y="2856053"/>
                  <a:pt x="54944" y="2856053"/>
                </a:cubicBezTo>
                <a:cubicBezTo>
                  <a:pt x="44237" y="2823842"/>
                  <a:pt x="76358" y="2845316"/>
                  <a:pt x="76358" y="2834579"/>
                </a:cubicBezTo>
                <a:cubicBezTo>
                  <a:pt x="87065" y="2834579"/>
                  <a:pt x="76358" y="2791631"/>
                  <a:pt x="87065" y="2791631"/>
                </a:cubicBezTo>
                <a:cubicBezTo>
                  <a:pt x="76358" y="2791631"/>
                  <a:pt x="65651" y="2791631"/>
                  <a:pt x="54944" y="2791631"/>
                </a:cubicBezTo>
                <a:cubicBezTo>
                  <a:pt x="-9299" y="2780894"/>
                  <a:pt x="65651" y="2770157"/>
                  <a:pt x="87065" y="2759420"/>
                </a:cubicBezTo>
                <a:cubicBezTo>
                  <a:pt x="151308" y="2737946"/>
                  <a:pt x="33530" y="2737946"/>
                  <a:pt x="33530" y="2737946"/>
                </a:cubicBezTo>
                <a:cubicBezTo>
                  <a:pt x="33530" y="2727209"/>
                  <a:pt x="119187" y="2716471"/>
                  <a:pt x="119187" y="2705734"/>
                </a:cubicBezTo>
                <a:cubicBezTo>
                  <a:pt x="129894" y="2694997"/>
                  <a:pt x="76358" y="2694997"/>
                  <a:pt x="76358" y="2694997"/>
                </a:cubicBezTo>
                <a:cubicBezTo>
                  <a:pt x="76358" y="2694997"/>
                  <a:pt x="76358" y="2652049"/>
                  <a:pt x="87065" y="2652049"/>
                </a:cubicBezTo>
                <a:cubicBezTo>
                  <a:pt x="76358" y="2641312"/>
                  <a:pt x="33530" y="2652049"/>
                  <a:pt x="22823" y="2641312"/>
                </a:cubicBezTo>
                <a:cubicBezTo>
                  <a:pt x="12116" y="2641312"/>
                  <a:pt x="22823" y="2609101"/>
                  <a:pt x="22823" y="2598364"/>
                </a:cubicBezTo>
                <a:cubicBezTo>
                  <a:pt x="44237" y="2566153"/>
                  <a:pt x="76358" y="2587627"/>
                  <a:pt x="76358" y="2566153"/>
                </a:cubicBezTo>
                <a:cubicBezTo>
                  <a:pt x="76358" y="2544679"/>
                  <a:pt x="33530" y="2566153"/>
                  <a:pt x="54944" y="2544679"/>
                </a:cubicBezTo>
                <a:cubicBezTo>
                  <a:pt x="44237" y="2544679"/>
                  <a:pt x="108480" y="2523205"/>
                  <a:pt x="108480" y="2523205"/>
                </a:cubicBezTo>
                <a:cubicBezTo>
                  <a:pt x="108480" y="2512468"/>
                  <a:pt x="22823" y="2523205"/>
                  <a:pt x="22823" y="2490994"/>
                </a:cubicBezTo>
                <a:cubicBezTo>
                  <a:pt x="22823" y="2480257"/>
                  <a:pt x="54944" y="2490994"/>
                  <a:pt x="54944" y="2480257"/>
                </a:cubicBezTo>
                <a:cubicBezTo>
                  <a:pt x="44237" y="2458782"/>
                  <a:pt x="22823" y="2480257"/>
                  <a:pt x="22823" y="2480257"/>
                </a:cubicBezTo>
                <a:cubicBezTo>
                  <a:pt x="12116" y="2469520"/>
                  <a:pt x="22823" y="2448045"/>
                  <a:pt x="33530" y="2437309"/>
                </a:cubicBezTo>
                <a:cubicBezTo>
                  <a:pt x="44237" y="2426572"/>
                  <a:pt x="108480" y="2415835"/>
                  <a:pt x="108480" y="2405097"/>
                </a:cubicBezTo>
                <a:cubicBezTo>
                  <a:pt x="108480" y="2405097"/>
                  <a:pt x="87065" y="2383623"/>
                  <a:pt x="87065" y="2383623"/>
                </a:cubicBezTo>
                <a:cubicBezTo>
                  <a:pt x="87065" y="2383623"/>
                  <a:pt x="65651" y="2383623"/>
                  <a:pt x="65651" y="2383623"/>
                </a:cubicBezTo>
                <a:cubicBezTo>
                  <a:pt x="65651" y="2383623"/>
                  <a:pt x="76358" y="2362149"/>
                  <a:pt x="65651" y="2351412"/>
                </a:cubicBezTo>
                <a:cubicBezTo>
                  <a:pt x="65651" y="2351412"/>
                  <a:pt x="54944" y="2351412"/>
                  <a:pt x="44237" y="2351412"/>
                </a:cubicBezTo>
                <a:cubicBezTo>
                  <a:pt x="44237" y="2351412"/>
                  <a:pt x="33530" y="2340675"/>
                  <a:pt x="33530" y="2340675"/>
                </a:cubicBezTo>
                <a:cubicBezTo>
                  <a:pt x="44237" y="2340675"/>
                  <a:pt x="76358" y="2329938"/>
                  <a:pt x="76358" y="2319201"/>
                </a:cubicBezTo>
                <a:cubicBezTo>
                  <a:pt x="129894" y="2319201"/>
                  <a:pt x="108480" y="2286990"/>
                  <a:pt x="76358" y="2319201"/>
                </a:cubicBezTo>
                <a:cubicBezTo>
                  <a:pt x="44237" y="2329938"/>
                  <a:pt x="-20006" y="2319201"/>
                  <a:pt x="44237" y="2308464"/>
                </a:cubicBezTo>
                <a:cubicBezTo>
                  <a:pt x="76358" y="2308464"/>
                  <a:pt x="76358" y="2308464"/>
                  <a:pt x="54944" y="2297727"/>
                </a:cubicBezTo>
                <a:cubicBezTo>
                  <a:pt x="44237" y="2286990"/>
                  <a:pt x="1409" y="2297727"/>
                  <a:pt x="1409" y="2297727"/>
                </a:cubicBezTo>
                <a:cubicBezTo>
                  <a:pt x="-9299" y="2265516"/>
                  <a:pt x="44237" y="2254779"/>
                  <a:pt x="54944" y="2254779"/>
                </a:cubicBezTo>
                <a:cubicBezTo>
                  <a:pt x="76358" y="2233305"/>
                  <a:pt x="44237" y="2244042"/>
                  <a:pt x="76358" y="2233305"/>
                </a:cubicBezTo>
                <a:cubicBezTo>
                  <a:pt x="108480" y="2222568"/>
                  <a:pt x="65651" y="2190357"/>
                  <a:pt x="54944" y="2201094"/>
                </a:cubicBezTo>
                <a:cubicBezTo>
                  <a:pt x="33530" y="2211831"/>
                  <a:pt x="33530" y="2201094"/>
                  <a:pt x="22823" y="2190357"/>
                </a:cubicBezTo>
                <a:cubicBezTo>
                  <a:pt x="-30713" y="2168883"/>
                  <a:pt x="33530" y="2168883"/>
                  <a:pt x="65651" y="2158145"/>
                </a:cubicBezTo>
                <a:cubicBezTo>
                  <a:pt x="76358" y="2158145"/>
                  <a:pt x="87065" y="2136672"/>
                  <a:pt x="87065" y="2136672"/>
                </a:cubicBezTo>
                <a:cubicBezTo>
                  <a:pt x="119187" y="2136672"/>
                  <a:pt x="129894" y="2158145"/>
                  <a:pt x="129894" y="2147409"/>
                </a:cubicBezTo>
                <a:cubicBezTo>
                  <a:pt x="151308" y="2125934"/>
                  <a:pt x="76358" y="2136672"/>
                  <a:pt x="87065" y="2136672"/>
                </a:cubicBezTo>
                <a:cubicBezTo>
                  <a:pt x="54944" y="2125934"/>
                  <a:pt x="44237" y="2104460"/>
                  <a:pt x="54944" y="2082986"/>
                </a:cubicBezTo>
                <a:cubicBezTo>
                  <a:pt x="54944" y="2040038"/>
                  <a:pt x="140601" y="2050775"/>
                  <a:pt x="151308" y="2029301"/>
                </a:cubicBezTo>
                <a:cubicBezTo>
                  <a:pt x="162015" y="1997090"/>
                  <a:pt x="97772" y="2040038"/>
                  <a:pt x="97772" y="2040038"/>
                </a:cubicBezTo>
                <a:cubicBezTo>
                  <a:pt x="54944" y="2040038"/>
                  <a:pt x="87065" y="2018564"/>
                  <a:pt x="97772" y="2007827"/>
                </a:cubicBezTo>
                <a:cubicBezTo>
                  <a:pt x="140601" y="2007827"/>
                  <a:pt x="194136" y="1986353"/>
                  <a:pt x="215551" y="1975616"/>
                </a:cubicBezTo>
                <a:cubicBezTo>
                  <a:pt x="247672" y="1954142"/>
                  <a:pt x="311914" y="1954142"/>
                  <a:pt x="322621" y="1932668"/>
                </a:cubicBezTo>
                <a:cubicBezTo>
                  <a:pt x="386864" y="1932668"/>
                  <a:pt x="418985" y="1911194"/>
                  <a:pt x="483228" y="1911194"/>
                </a:cubicBezTo>
                <a:cubicBezTo>
                  <a:pt x="472521" y="1932668"/>
                  <a:pt x="429692" y="1911194"/>
                  <a:pt x="418985" y="1932668"/>
                </a:cubicBezTo>
                <a:cubicBezTo>
                  <a:pt x="376157" y="1921931"/>
                  <a:pt x="397571" y="1954142"/>
                  <a:pt x="418985" y="1932668"/>
                </a:cubicBezTo>
                <a:cubicBezTo>
                  <a:pt x="440400" y="1932668"/>
                  <a:pt x="536763" y="1911194"/>
                  <a:pt x="579592" y="1900457"/>
                </a:cubicBezTo>
                <a:cubicBezTo>
                  <a:pt x="595653" y="1895088"/>
                  <a:pt x="592976" y="1892404"/>
                  <a:pt x="582269" y="1892404"/>
                </a:cubicBezTo>
                <a:lnTo>
                  <a:pt x="582170" y="1892413"/>
                </a:lnTo>
                <a:lnTo>
                  <a:pt x="1053883" y="1808856"/>
                </a:lnTo>
                <a:cubicBezTo>
                  <a:pt x="1573345" y="1721282"/>
                  <a:pt x="2097323" y="1642768"/>
                  <a:pt x="2603233" y="1546134"/>
                </a:cubicBezTo>
                <a:cubicBezTo>
                  <a:pt x="2603233" y="1567608"/>
                  <a:pt x="2581819" y="1556871"/>
                  <a:pt x="2581819" y="1567608"/>
                </a:cubicBezTo>
                <a:cubicBezTo>
                  <a:pt x="2549698" y="1578345"/>
                  <a:pt x="2528284" y="1556871"/>
                  <a:pt x="2506869" y="1578345"/>
                </a:cubicBezTo>
                <a:cubicBezTo>
                  <a:pt x="2517577" y="1578345"/>
                  <a:pt x="2560405" y="1589082"/>
                  <a:pt x="2581819" y="1567608"/>
                </a:cubicBezTo>
                <a:cubicBezTo>
                  <a:pt x="2603233" y="1567608"/>
                  <a:pt x="2624648" y="1567608"/>
                  <a:pt x="2646061" y="1556871"/>
                </a:cubicBezTo>
                <a:cubicBezTo>
                  <a:pt x="2688890" y="1567608"/>
                  <a:pt x="2667476" y="1535397"/>
                  <a:pt x="2646061" y="1556871"/>
                </a:cubicBezTo>
                <a:cubicBezTo>
                  <a:pt x="2624648" y="1556871"/>
                  <a:pt x="2624648" y="1546134"/>
                  <a:pt x="2603233" y="1546134"/>
                </a:cubicBezTo>
                <a:cubicBezTo>
                  <a:pt x="2731719" y="1524660"/>
                  <a:pt x="2849497" y="1503186"/>
                  <a:pt x="2988689" y="1481712"/>
                </a:cubicBezTo>
                <a:cubicBezTo>
                  <a:pt x="2903032" y="1524660"/>
                  <a:pt x="3085053" y="1481712"/>
                  <a:pt x="2988689" y="1481712"/>
                </a:cubicBezTo>
                <a:cubicBezTo>
                  <a:pt x="3010103" y="1470975"/>
                  <a:pt x="3052931" y="1470975"/>
                  <a:pt x="3085053" y="1460238"/>
                </a:cubicBezTo>
                <a:cubicBezTo>
                  <a:pt x="3095760" y="1460238"/>
                  <a:pt x="3106467" y="1438764"/>
                  <a:pt x="3117174" y="1428027"/>
                </a:cubicBezTo>
                <a:cubicBezTo>
                  <a:pt x="3117174" y="1428027"/>
                  <a:pt x="3138588" y="1417290"/>
                  <a:pt x="3138588" y="1428027"/>
                </a:cubicBezTo>
                <a:cubicBezTo>
                  <a:pt x="3149295" y="1395816"/>
                  <a:pt x="3117174" y="1406553"/>
                  <a:pt x="3117174" y="1363605"/>
                </a:cubicBezTo>
                <a:cubicBezTo>
                  <a:pt x="3117174" y="1352867"/>
                  <a:pt x="3127881" y="1342130"/>
                  <a:pt x="3127881" y="1342130"/>
                </a:cubicBezTo>
                <a:cubicBezTo>
                  <a:pt x="3127881" y="1320656"/>
                  <a:pt x="3117174" y="1352867"/>
                  <a:pt x="3106467" y="1331393"/>
                </a:cubicBezTo>
                <a:cubicBezTo>
                  <a:pt x="3106467" y="1320656"/>
                  <a:pt x="3138588" y="1277708"/>
                  <a:pt x="3138588" y="1288445"/>
                </a:cubicBezTo>
                <a:cubicBezTo>
                  <a:pt x="3127881" y="1266971"/>
                  <a:pt x="3095760" y="1288445"/>
                  <a:pt x="3106467" y="1266971"/>
                </a:cubicBezTo>
                <a:cubicBezTo>
                  <a:pt x="3117174" y="1256234"/>
                  <a:pt x="3117174" y="1245497"/>
                  <a:pt x="3127881" y="1245497"/>
                </a:cubicBezTo>
                <a:cubicBezTo>
                  <a:pt x="3170709" y="1234760"/>
                  <a:pt x="3160002" y="1256234"/>
                  <a:pt x="3138588" y="1224023"/>
                </a:cubicBezTo>
                <a:cubicBezTo>
                  <a:pt x="3127881" y="1213286"/>
                  <a:pt x="3095760" y="1127389"/>
                  <a:pt x="3095760" y="1127389"/>
                </a:cubicBezTo>
                <a:cubicBezTo>
                  <a:pt x="3106467" y="1127389"/>
                  <a:pt x="3127881" y="1127389"/>
                  <a:pt x="3127881" y="1127389"/>
                </a:cubicBezTo>
                <a:cubicBezTo>
                  <a:pt x="3170709" y="1127389"/>
                  <a:pt x="3160002" y="1116653"/>
                  <a:pt x="3138588" y="1116653"/>
                </a:cubicBezTo>
                <a:cubicBezTo>
                  <a:pt x="3117174" y="1105915"/>
                  <a:pt x="3106467" y="1105915"/>
                  <a:pt x="3106467" y="1105915"/>
                </a:cubicBezTo>
                <a:cubicBezTo>
                  <a:pt x="3074345" y="1084441"/>
                  <a:pt x="3095760" y="1020019"/>
                  <a:pt x="3085053" y="1020019"/>
                </a:cubicBezTo>
                <a:cubicBezTo>
                  <a:pt x="3052931" y="998545"/>
                  <a:pt x="3095760" y="987808"/>
                  <a:pt x="3095760" y="966334"/>
                </a:cubicBezTo>
                <a:cubicBezTo>
                  <a:pt x="3095760" y="944860"/>
                  <a:pt x="3052931" y="944860"/>
                  <a:pt x="3095760" y="923386"/>
                </a:cubicBezTo>
                <a:cubicBezTo>
                  <a:pt x="3160002" y="901912"/>
                  <a:pt x="3085053" y="912649"/>
                  <a:pt x="3085053" y="901912"/>
                </a:cubicBezTo>
                <a:cubicBezTo>
                  <a:pt x="3085053" y="912649"/>
                  <a:pt x="3095760" y="848226"/>
                  <a:pt x="3085053" y="858963"/>
                </a:cubicBezTo>
                <a:cubicBezTo>
                  <a:pt x="3095760" y="837490"/>
                  <a:pt x="3127881" y="837490"/>
                  <a:pt x="3106467" y="837490"/>
                </a:cubicBezTo>
                <a:cubicBezTo>
                  <a:pt x="3106467" y="826752"/>
                  <a:pt x="3106467" y="826752"/>
                  <a:pt x="3106467" y="826752"/>
                </a:cubicBezTo>
                <a:cubicBezTo>
                  <a:pt x="3138588" y="794541"/>
                  <a:pt x="3063639" y="783804"/>
                  <a:pt x="3052931" y="773067"/>
                </a:cubicBezTo>
                <a:cubicBezTo>
                  <a:pt x="3052931" y="751593"/>
                  <a:pt x="3106467" y="762330"/>
                  <a:pt x="3074345" y="740856"/>
                </a:cubicBezTo>
                <a:cubicBezTo>
                  <a:pt x="3074345" y="730119"/>
                  <a:pt x="2999396" y="730119"/>
                  <a:pt x="3020810" y="708645"/>
                </a:cubicBezTo>
                <a:cubicBezTo>
                  <a:pt x="3031517" y="697908"/>
                  <a:pt x="3095760" y="719382"/>
                  <a:pt x="3095760" y="708645"/>
                </a:cubicBezTo>
                <a:cubicBezTo>
                  <a:pt x="3095760" y="708645"/>
                  <a:pt x="3052931" y="676434"/>
                  <a:pt x="3052931" y="676434"/>
                </a:cubicBezTo>
                <a:cubicBezTo>
                  <a:pt x="3052931" y="665697"/>
                  <a:pt x="3052931" y="665697"/>
                  <a:pt x="3063639" y="665697"/>
                </a:cubicBezTo>
                <a:lnTo>
                  <a:pt x="3070731" y="665835"/>
                </a:lnTo>
                <a:lnTo>
                  <a:pt x="3090407" y="668381"/>
                </a:lnTo>
                <a:cubicBezTo>
                  <a:pt x="3098437" y="668381"/>
                  <a:pt x="3100444" y="666871"/>
                  <a:pt x="3085137" y="666116"/>
                </a:cubicBezTo>
                <a:lnTo>
                  <a:pt x="3070731" y="665835"/>
                </a:lnTo>
                <a:lnTo>
                  <a:pt x="3069661" y="665697"/>
                </a:lnTo>
                <a:cubicBezTo>
                  <a:pt x="3062300" y="663683"/>
                  <a:pt x="3055608" y="660328"/>
                  <a:pt x="3052931" y="654960"/>
                </a:cubicBezTo>
                <a:cubicBezTo>
                  <a:pt x="3052931" y="644223"/>
                  <a:pt x="3074345" y="633486"/>
                  <a:pt x="3085053" y="633486"/>
                </a:cubicBezTo>
                <a:cubicBezTo>
                  <a:pt x="3095760" y="633486"/>
                  <a:pt x="3138588" y="644223"/>
                  <a:pt x="3149295" y="633486"/>
                </a:cubicBezTo>
                <a:cubicBezTo>
                  <a:pt x="3160002" y="622749"/>
                  <a:pt x="3063639" y="612011"/>
                  <a:pt x="3052931" y="612011"/>
                </a:cubicBezTo>
                <a:cubicBezTo>
                  <a:pt x="3042224" y="612011"/>
                  <a:pt x="3052931" y="590538"/>
                  <a:pt x="3052931" y="590538"/>
                </a:cubicBezTo>
                <a:cubicBezTo>
                  <a:pt x="3052931" y="590538"/>
                  <a:pt x="3052931" y="590538"/>
                  <a:pt x="3052931" y="579800"/>
                </a:cubicBezTo>
                <a:cubicBezTo>
                  <a:pt x="3052931" y="569064"/>
                  <a:pt x="3020810" y="569064"/>
                  <a:pt x="3020810" y="558326"/>
                </a:cubicBezTo>
                <a:cubicBezTo>
                  <a:pt x="3031517" y="536852"/>
                  <a:pt x="3052931" y="547589"/>
                  <a:pt x="3063639" y="536852"/>
                </a:cubicBezTo>
                <a:cubicBezTo>
                  <a:pt x="3063639" y="536852"/>
                  <a:pt x="3085053" y="515378"/>
                  <a:pt x="3095760" y="515378"/>
                </a:cubicBezTo>
                <a:cubicBezTo>
                  <a:pt x="3085053" y="504641"/>
                  <a:pt x="3074345" y="504641"/>
                  <a:pt x="3063639" y="504641"/>
                </a:cubicBezTo>
                <a:cubicBezTo>
                  <a:pt x="3020810" y="483167"/>
                  <a:pt x="3063639" y="483167"/>
                  <a:pt x="3085053" y="461693"/>
                </a:cubicBezTo>
                <a:cubicBezTo>
                  <a:pt x="3085053" y="461693"/>
                  <a:pt x="3063639" y="440219"/>
                  <a:pt x="3085053" y="429482"/>
                </a:cubicBezTo>
                <a:cubicBezTo>
                  <a:pt x="3106467" y="418745"/>
                  <a:pt x="3085053" y="408008"/>
                  <a:pt x="3117174" y="418745"/>
                </a:cubicBezTo>
                <a:cubicBezTo>
                  <a:pt x="3170709" y="429482"/>
                  <a:pt x="3106467" y="408008"/>
                  <a:pt x="3095760" y="397271"/>
                </a:cubicBezTo>
                <a:cubicBezTo>
                  <a:pt x="3095760" y="408008"/>
                  <a:pt x="3042224" y="386534"/>
                  <a:pt x="3042224" y="386534"/>
                </a:cubicBezTo>
                <a:cubicBezTo>
                  <a:pt x="3031517" y="365060"/>
                  <a:pt x="3085053" y="343586"/>
                  <a:pt x="3085053" y="343586"/>
                </a:cubicBezTo>
                <a:cubicBezTo>
                  <a:pt x="3074345" y="332848"/>
                  <a:pt x="3063639" y="343586"/>
                  <a:pt x="3052931" y="343586"/>
                </a:cubicBezTo>
                <a:cubicBezTo>
                  <a:pt x="2999396" y="332848"/>
                  <a:pt x="3074345" y="343586"/>
                  <a:pt x="3085053" y="322111"/>
                </a:cubicBezTo>
                <a:cubicBezTo>
                  <a:pt x="3085053" y="311374"/>
                  <a:pt x="3052931" y="322111"/>
                  <a:pt x="3052931" y="322111"/>
                </a:cubicBezTo>
                <a:cubicBezTo>
                  <a:pt x="3052931" y="311374"/>
                  <a:pt x="3042224" y="279163"/>
                  <a:pt x="3052931" y="289900"/>
                </a:cubicBezTo>
                <a:cubicBezTo>
                  <a:pt x="3042224" y="257689"/>
                  <a:pt x="3031517" y="289900"/>
                  <a:pt x="3063639" y="268426"/>
                </a:cubicBezTo>
                <a:cubicBezTo>
                  <a:pt x="3095760" y="257689"/>
                  <a:pt x="3063639" y="257689"/>
                  <a:pt x="3085053" y="246952"/>
                </a:cubicBezTo>
                <a:cubicBezTo>
                  <a:pt x="3085053" y="246952"/>
                  <a:pt x="3106467" y="257689"/>
                  <a:pt x="3106467" y="246952"/>
                </a:cubicBezTo>
                <a:cubicBezTo>
                  <a:pt x="3106467" y="236215"/>
                  <a:pt x="3074345" y="225478"/>
                  <a:pt x="3063639" y="214741"/>
                </a:cubicBezTo>
                <a:cubicBezTo>
                  <a:pt x="3063639" y="225478"/>
                  <a:pt x="3020810" y="214741"/>
                  <a:pt x="3031517" y="214741"/>
                </a:cubicBezTo>
                <a:cubicBezTo>
                  <a:pt x="3031517" y="214741"/>
                  <a:pt x="3042224" y="193267"/>
                  <a:pt x="3063639" y="204004"/>
                </a:cubicBezTo>
                <a:cubicBezTo>
                  <a:pt x="3063639" y="193267"/>
                  <a:pt x="3063639" y="171793"/>
                  <a:pt x="3052931" y="161056"/>
                </a:cubicBezTo>
                <a:cubicBezTo>
                  <a:pt x="3052931" y="150319"/>
                  <a:pt x="3031517" y="139582"/>
                  <a:pt x="3031517" y="139582"/>
                </a:cubicBezTo>
                <a:cubicBezTo>
                  <a:pt x="3031517" y="128845"/>
                  <a:pt x="3042224" y="96634"/>
                  <a:pt x="3031517" y="96634"/>
                </a:cubicBezTo>
                <a:cubicBezTo>
                  <a:pt x="3063639" y="75159"/>
                  <a:pt x="3074345" y="128845"/>
                  <a:pt x="3106467" y="128845"/>
                </a:cubicBezTo>
                <a:cubicBezTo>
                  <a:pt x="3127881" y="128845"/>
                  <a:pt x="3138588" y="107371"/>
                  <a:pt x="3138588" y="107371"/>
                </a:cubicBezTo>
                <a:cubicBezTo>
                  <a:pt x="3138588" y="107371"/>
                  <a:pt x="3127881" y="96634"/>
                  <a:pt x="3127881" y="96634"/>
                </a:cubicBezTo>
                <a:cubicBezTo>
                  <a:pt x="3127881" y="96634"/>
                  <a:pt x="3117174" y="85897"/>
                  <a:pt x="3106467" y="64423"/>
                </a:cubicBezTo>
                <a:cubicBezTo>
                  <a:pt x="3106467" y="64423"/>
                  <a:pt x="3095760" y="64423"/>
                  <a:pt x="3095760" y="53685"/>
                </a:cubicBezTo>
                <a:cubicBezTo>
                  <a:pt x="3095760" y="53685"/>
                  <a:pt x="3106467" y="42948"/>
                  <a:pt x="3095760" y="32211"/>
                </a:cubicBezTo>
                <a:cubicBezTo>
                  <a:pt x="3095760" y="32211"/>
                  <a:pt x="3063639" y="21474"/>
                  <a:pt x="3063639" y="21474"/>
                </a:cubicBezTo>
                <a:cubicBezTo>
                  <a:pt x="3095760" y="0"/>
                  <a:pt x="3149295" y="42948"/>
                  <a:pt x="3170709" y="32211"/>
                </a:cubicBezTo>
                <a:cubicBezTo>
                  <a:pt x="3176063" y="32211"/>
                  <a:pt x="3176063" y="26843"/>
                  <a:pt x="3174725" y="22816"/>
                </a:cubicBezTo>
                <a:lnTo>
                  <a:pt x="3173375" y="20561"/>
                </a:lnTo>
                <a:lnTo>
                  <a:pt x="3183926" y="16945"/>
                </a:lnTo>
                <a:cubicBezTo>
                  <a:pt x="3201493" y="15435"/>
                  <a:pt x="3229599" y="21474"/>
                  <a:pt x="3245659" y="21474"/>
                </a:cubicBezTo>
                <a:cubicBezTo>
                  <a:pt x="3256366" y="21474"/>
                  <a:pt x="3256366" y="0"/>
                  <a:pt x="3267073"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27068467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4_Blank">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BEACD277-A138-497C-89A1-96E01E3AA2DA}"/>
              </a:ext>
            </a:extLst>
          </p:cNvPr>
          <p:cNvSpPr>
            <a:spLocks noGrp="1"/>
          </p:cNvSpPr>
          <p:nvPr>
            <p:ph type="pic" sz="quarter" idx="16"/>
          </p:nvPr>
        </p:nvSpPr>
        <p:spPr>
          <a:xfrm>
            <a:off x="7655458" y="1676350"/>
            <a:ext cx="7129332" cy="5547565"/>
          </a:xfrm>
          <a:custGeom>
            <a:avLst/>
            <a:gdLst>
              <a:gd name="connsiteX0" fmla="*/ 2157091 w 5364812"/>
              <a:gd name="connsiteY0" fmla="*/ 33 h 4226716"/>
              <a:gd name="connsiteX1" fmla="*/ 5362350 w 5364812"/>
              <a:gd name="connsiteY1" fmla="*/ 1852151 h 4226716"/>
              <a:gd name="connsiteX2" fmla="*/ 2623620 w 5364812"/>
              <a:gd name="connsiteY2" fmla="*/ 4200985 h 4226716"/>
              <a:gd name="connsiteX3" fmla="*/ 26101 w 5364812"/>
              <a:gd name="connsiteY3" fmla="*/ 1007807 h 4226716"/>
              <a:gd name="connsiteX4" fmla="*/ 2157091 w 5364812"/>
              <a:gd name="connsiteY4" fmla="*/ 33 h 422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4812" h="4226716">
                <a:moveTo>
                  <a:pt x="2157091" y="33"/>
                </a:moveTo>
                <a:cubicBezTo>
                  <a:pt x="3622171" y="-5404"/>
                  <a:pt x="5296570" y="663513"/>
                  <a:pt x="5362350" y="1852151"/>
                </a:cubicBezTo>
                <a:cubicBezTo>
                  <a:pt x="5432075" y="3115828"/>
                  <a:pt x="4009163" y="4427713"/>
                  <a:pt x="2623620" y="4200985"/>
                </a:cubicBezTo>
                <a:cubicBezTo>
                  <a:pt x="1238075" y="3974258"/>
                  <a:pt x="-213390" y="1969777"/>
                  <a:pt x="26101" y="1007807"/>
                </a:cubicBezTo>
                <a:cubicBezTo>
                  <a:pt x="250237" y="323167"/>
                  <a:pt x="1154668" y="3753"/>
                  <a:pt x="2157091" y="33"/>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37492486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xmlns="" id="{29647055-C8A1-4EA1-A2D8-3D7ED0FE9742}"/>
              </a:ext>
            </a:extLst>
          </p:cNvPr>
          <p:cNvSpPr>
            <a:spLocks noGrp="1"/>
          </p:cNvSpPr>
          <p:nvPr>
            <p:ph type="pic" sz="quarter" idx="16"/>
          </p:nvPr>
        </p:nvSpPr>
        <p:spPr>
          <a:xfrm>
            <a:off x="14018318" y="4973115"/>
            <a:ext cx="2183707" cy="2156745"/>
          </a:xfrm>
          <a:custGeom>
            <a:avLst/>
            <a:gdLst>
              <a:gd name="connsiteX0" fmla="*/ 504243 w 1008485"/>
              <a:gd name="connsiteY0" fmla="*/ 0 h 1008484"/>
              <a:gd name="connsiteX1" fmla="*/ 582828 w 1008485"/>
              <a:gd name="connsiteY1" fmla="*/ 32551 h 1008484"/>
              <a:gd name="connsiteX2" fmla="*/ 975934 w 1008485"/>
              <a:gd name="connsiteY2" fmla="*/ 425657 h 1008484"/>
              <a:gd name="connsiteX3" fmla="*/ 975934 w 1008485"/>
              <a:gd name="connsiteY3" fmla="*/ 582827 h 1008484"/>
              <a:gd name="connsiteX4" fmla="*/ 582828 w 1008485"/>
              <a:gd name="connsiteY4" fmla="*/ 975933 h 1008484"/>
              <a:gd name="connsiteX5" fmla="*/ 425658 w 1008485"/>
              <a:gd name="connsiteY5" fmla="*/ 975933 h 1008484"/>
              <a:gd name="connsiteX6" fmla="*/ 32552 w 1008485"/>
              <a:gd name="connsiteY6" fmla="*/ 582827 h 1008484"/>
              <a:gd name="connsiteX7" fmla="*/ 32552 w 1008485"/>
              <a:gd name="connsiteY7" fmla="*/ 425657 h 1008484"/>
              <a:gd name="connsiteX8" fmla="*/ 425658 w 1008485"/>
              <a:gd name="connsiteY8" fmla="*/ 32551 h 1008484"/>
              <a:gd name="connsiteX9" fmla="*/ 504243 w 1008485"/>
              <a:gd name="connsiteY9" fmla="*/ 0 h 100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8485" h="1008484">
                <a:moveTo>
                  <a:pt x="504243" y="0"/>
                </a:moveTo>
                <a:cubicBezTo>
                  <a:pt x="532685" y="0"/>
                  <a:pt x="561128" y="10850"/>
                  <a:pt x="582828" y="32551"/>
                </a:cubicBezTo>
                <a:lnTo>
                  <a:pt x="975934" y="425657"/>
                </a:lnTo>
                <a:cubicBezTo>
                  <a:pt x="1019336" y="469059"/>
                  <a:pt x="1019336" y="539426"/>
                  <a:pt x="975934" y="582827"/>
                </a:cubicBezTo>
                <a:lnTo>
                  <a:pt x="582828" y="975933"/>
                </a:lnTo>
                <a:cubicBezTo>
                  <a:pt x="539427" y="1019335"/>
                  <a:pt x="469059" y="1019335"/>
                  <a:pt x="425658" y="975933"/>
                </a:cubicBezTo>
                <a:lnTo>
                  <a:pt x="32552" y="582827"/>
                </a:lnTo>
                <a:cubicBezTo>
                  <a:pt x="-10850" y="539426"/>
                  <a:pt x="-10850" y="469059"/>
                  <a:pt x="32552" y="425657"/>
                </a:cubicBezTo>
                <a:lnTo>
                  <a:pt x="425658" y="32551"/>
                </a:lnTo>
                <a:cubicBezTo>
                  <a:pt x="447359" y="10850"/>
                  <a:pt x="475801" y="0"/>
                  <a:pt x="504243" y="0"/>
                </a:cubicBezTo>
                <a:close/>
              </a:path>
            </a:pathLst>
          </a:custGeom>
          <a:solidFill>
            <a:schemeClr val="bg1">
              <a:lumMod val="95000"/>
            </a:schemeClr>
          </a:solidFill>
        </p:spPr>
        <p:txBody>
          <a:bodyPr wrap="square">
            <a:noAutofit/>
          </a:bodyPr>
          <a:lstStyle>
            <a:lvl1pPr>
              <a:defRPr sz="1575"/>
            </a:lvl1pPr>
          </a:lstStyle>
          <a:p>
            <a:endParaRPr lang="en-US"/>
          </a:p>
        </p:txBody>
      </p:sp>
      <p:sp>
        <p:nvSpPr>
          <p:cNvPr id="16" name="Picture Placeholder 15">
            <a:extLst>
              <a:ext uri="{FF2B5EF4-FFF2-40B4-BE49-F238E27FC236}">
                <a16:creationId xmlns:a16="http://schemas.microsoft.com/office/drawing/2014/main" xmlns="" id="{A9420DD8-713D-461A-B22E-3F41FCF7141F}"/>
              </a:ext>
            </a:extLst>
          </p:cNvPr>
          <p:cNvSpPr>
            <a:spLocks noGrp="1"/>
          </p:cNvSpPr>
          <p:nvPr>
            <p:ph type="pic" sz="quarter" idx="15"/>
          </p:nvPr>
        </p:nvSpPr>
        <p:spPr>
          <a:xfrm>
            <a:off x="9661063" y="-1"/>
            <a:ext cx="6540962" cy="5475721"/>
          </a:xfrm>
          <a:custGeom>
            <a:avLst/>
            <a:gdLst>
              <a:gd name="connsiteX0" fmla="*/ 706689 w 4922064"/>
              <a:gd name="connsiteY0" fmla="*/ 0 h 4171978"/>
              <a:gd name="connsiteX1" fmla="*/ 4922064 w 4922064"/>
              <a:gd name="connsiteY1" fmla="*/ 0 h 4171978"/>
              <a:gd name="connsiteX2" fmla="*/ 4922064 w 4922064"/>
              <a:gd name="connsiteY2" fmla="*/ 2715202 h 4171978"/>
              <a:gd name="connsiteX3" fmla="*/ 3584352 w 4922064"/>
              <a:gd name="connsiteY3" fmla="*/ 4052914 h 4171978"/>
              <a:gd name="connsiteX4" fmla="*/ 3009460 w 4922064"/>
              <a:gd name="connsiteY4" fmla="*/ 4052914 h 4171978"/>
              <a:gd name="connsiteX5" fmla="*/ 119064 w 4922064"/>
              <a:gd name="connsiteY5" fmla="*/ 1162517 h 4171978"/>
              <a:gd name="connsiteX6" fmla="*/ 119064 w 4922064"/>
              <a:gd name="connsiteY6" fmla="*/ 587625 h 4171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22064" h="4171978">
                <a:moveTo>
                  <a:pt x="706689" y="0"/>
                </a:moveTo>
                <a:lnTo>
                  <a:pt x="4922064" y="0"/>
                </a:lnTo>
                <a:lnTo>
                  <a:pt x="4922064" y="2715202"/>
                </a:lnTo>
                <a:lnTo>
                  <a:pt x="3584352" y="4052914"/>
                </a:lnTo>
                <a:cubicBezTo>
                  <a:pt x="3425600" y="4211666"/>
                  <a:pt x="3168212" y="4211666"/>
                  <a:pt x="3009460" y="4052914"/>
                </a:cubicBezTo>
                <a:lnTo>
                  <a:pt x="119064" y="1162517"/>
                </a:lnTo>
                <a:cubicBezTo>
                  <a:pt x="-39688" y="1003765"/>
                  <a:pt x="-39688" y="746377"/>
                  <a:pt x="119064" y="587625"/>
                </a:cubicBezTo>
                <a:close/>
              </a:path>
            </a:pathLst>
          </a:custGeom>
          <a:solidFill>
            <a:schemeClr val="bg1">
              <a:lumMod val="95000"/>
            </a:schemeClr>
          </a:solidFill>
        </p:spPr>
        <p:txBody>
          <a:bodyPr wrap="square">
            <a:noAutofit/>
          </a:bodyPr>
          <a:lstStyle>
            <a:lvl1pPr>
              <a:defRPr sz="1575"/>
            </a:lvl1pPr>
          </a:lstStyle>
          <a:p>
            <a:endParaRPr lang="en-US"/>
          </a:p>
        </p:txBody>
      </p:sp>
      <p:sp>
        <p:nvSpPr>
          <p:cNvPr id="18" name="Picture Placeholder 17">
            <a:extLst>
              <a:ext uri="{FF2B5EF4-FFF2-40B4-BE49-F238E27FC236}">
                <a16:creationId xmlns:a16="http://schemas.microsoft.com/office/drawing/2014/main" xmlns="" id="{D8D08B58-148F-4CC5-A530-27BC4DBF6655}"/>
              </a:ext>
            </a:extLst>
          </p:cNvPr>
          <p:cNvSpPr>
            <a:spLocks noGrp="1"/>
          </p:cNvSpPr>
          <p:nvPr>
            <p:ph type="pic" sz="quarter" idx="14"/>
          </p:nvPr>
        </p:nvSpPr>
        <p:spPr>
          <a:xfrm>
            <a:off x="9617538" y="3953451"/>
            <a:ext cx="3915072" cy="3866738"/>
          </a:xfrm>
          <a:custGeom>
            <a:avLst/>
            <a:gdLst>
              <a:gd name="connsiteX0" fmla="*/ 1473043 w 2946086"/>
              <a:gd name="connsiteY0" fmla="*/ 0 h 2946086"/>
              <a:gd name="connsiteX1" fmla="*/ 1702613 w 2946086"/>
              <a:gd name="connsiteY1" fmla="*/ 95091 h 2946086"/>
              <a:gd name="connsiteX2" fmla="*/ 2850995 w 2946086"/>
              <a:gd name="connsiteY2" fmla="*/ 1243473 h 2946086"/>
              <a:gd name="connsiteX3" fmla="*/ 2850995 w 2946086"/>
              <a:gd name="connsiteY3" fmla="*/ 1702613 h 2946086"/>
              <a:gd name="connsiteX4" fmla="*/ 1702613 w 2946086"/>
              <a:gd name="connsiteY4" fmla="*/ 2850996 h 2946086"/>
              <a:gd name="connsiteX5" fmla="*/ 1243473 w 2946086"/>
              <a:gd name="connsiteY5" fmla="*/ 2850996 h 2946086"/>
              <a:gd name="connsiteX6" fmla="*/ 95091 w 2946086"/>
              <a:gd name="connsiteY6" fmla="*/ 1702613 h 2946086"/>
              <a:gd name="connsiteX7" fmla="*/ 95091 w 2946086"/>
              <a:gd name="connsiteY7" fmla="*/ 1243473 h 2946086"/>
              <a:gd name="connsiteX8" fmla="*/ 1243473 w 2946086"/>
              <a:gd name="connsiteY8" fmla="*/ 95091 h 2946086"/>
              <a:gd name="connsiteX9" fmla="*/ 1473043 w 2946086"/>
              <a:gd name="connsiteY9" fmla="*/ 0 h 294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6086" h="2946086">
                <a:moveTo>
                  <a:pt x="1473043" y="0"/>
                </a:moveTo>
                <a:cubicBezTo>
                  <a:pt x="1556131" y="0"/>
                  <a:pt x="1639219" y="31697"/>
                  <a:pt x="1702613" y="95091"/>
                </a:cubicBezTo>
                <a:lnTo>
                  <a:pt x="2850995" y="1243473"/>
                </a:lnTo>
                <a:cubicBezTo>
                  <a:pt x="2977783" y="1370261"/>
                  <a:pt x="2977783" y="1575825"/>
                  <a:pt x="2850995" y="1702613"/>
                </a:cubicBezTo>
                <a:lnTo>
                  <a:pt x="1702613" y="2850996"/>
                </a:lnTo>
                <a:cubicBezTo>
                  <a:pt x="1575825" y="2977783"/>
                  <a:pt x="1370261" y="2977783"/>
                  <a:pt x="1243473" y="2850996"/>
                </a:cubicBezTo>
                <a:lnTo>
                  <a:pt x="95091" y="1702613"/>
                </a:lnTo>
                <a:cubicBezTo>
                  <a:pt x="-31697" y="1575825"/>
                  <a:pt x="-31697" y="1370261"/>
                  <a:pt x="95091" y="1243473"/>
                </a:cubicBezTo>
                <a:lnTo>
                  <a:pt x="1243473" y="95091"/>
                </a:lnTo>
                <a:cubicBezTo>
                  <a:pt x="1306867" y="31697"/>
                  <a:pt x="1389955" y="0"/>
                  <a:pt x="1473043" y="0"/>
                </a:cubicBezTo>
                <a:close/>
              </a:path>
            </a:pathLst>
          </a:custGeom>
          <a:solidFill>
            <a:schemeClr val="bg1">
              <a:lumMod val="95000"/>
            </a:schemeClr>
          </a:solidFill>
        </p:spPr>
        <p:txBody>
          <a:bodyPr wrap="square">
            <a:noAutofit/>
          </a:bodyPr>
          <a:lstStyle>
            <a:lvl1pPr>
              <a:defRPr sz="1575"/>
            </a:lvl1pPr>
          </a:lstStyle>
          <a:p>
            <a:endParaRPr lang="en-US"/>
          </a:p>
        </p:txBody>
      </p:sp>
      <p:sp>
        <p:nvSpPr>
          <p:cNvPr id="17" name="Picture Placeholder 16">
            <a:extLst>
              <a:ext uri="{FF2B5EF4-FFF2-40B4-BE49-F238E27FC236}">
                <a16:creationId xmlns:a16="http://schemas.microsoft.com/office/drawing/2014/main" xmlns="" id="{07AB6F8C-1F9F-472E-9AA3-493791E9E000}"/>
              </a:ext>
            </a:extLst>
          </p:cNvPr>
          <p:cNvSpPr>
            <a:spLocks noGrp="1"/>
          </p:cNvSpPr>
          <p:nvPr>
            <p:ph type="pic" sz="quarter" idx="13"/>
          </p:nvPr>
        </p:nvSpPr>
        <p:spPr>
          <a:xfrm>
            <a:off x="7199493" y="1568233"/>
            <a:ext cx="3915072" cy="3866738"/>
          </a:xfrm>
          <a:custGeom>
            <a:avLst/>
            <a:gdLst>
              <a:gd name="connsiteX0" fmla="*/ 1473043 w 2946086"/>
              <a:gd name="connsiteY0" fmla="*/ 0 h 2946086"/>
              <a:gd name="connsiteX1" fmla="*/ 1702613 w 2946086"/>
              <a:gd name="connsiteY1" fmla="*/ 95091 h 2946086"/>
              <a:gd name="connsiteX2" fmla="*/ 2850996 w 2946086"/>
              <a:gd name="connsiteY2" fmla="*/ 1243473 h 2946086"/>
              <a:gd name="connsiteX3" fmla="*/ 2850996 w 2946086"/>
              <a:gd name="connsiteY3" fmla="*/ 1702613 h 2946086"/>
              <a:gd name="connsiteX4" fmla="*/ 1702613 w 2946086"/>
              <a:gd name="connsiteY4" fmla="*/ 2850996 h 2946086"/>
              <a:gd name="connsiteX5" fmla="*/ 1243473 w 2946086"/>
              <a:gd name="connsiteY5" fmla="*/ 2850996 h 2946086"/>
              <a:gd name="connsiteX6" fmla="*/ 95091 w 2946086"/>
              <a:gd name="connsiteY6" fmla="*/ 1702613 h 2946086"/>
              <a:gd name="connsiteX7" fmla="*/ 95091 w 2946086"/>
              <a:gd name="connsiteY7" fmla="*/ 1243473 h 2946086"/>
              <a:gd name="connsiteX8" fmla="*/ 1243473 w 2946086"/>
              <a:gd name="connsiteY8" fmla="*/ 95091 h 2946086"/>
              <a:gd name="connsiteX9" fmla="*/ 1473043 w 2946086"/>
              <a:gd name="connsiteY9" fmla="*/ 0 h 294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6086" h="2946086">
                <a:moveTo>
                  <a:pt x="1473043" y="0"/>
                </a:moveTo>
                <a:cubicBezTo>
                  <a:pt x="1556131" y="0"/>
                  <a:pt x="1639219" y="31697"/>
                  <a:pt x="1702613" y="95091"/>
                </a:cubicBezTo>
                <a:lnTo>
                  <a:pt x="2850996" y="1243473"/>
                </a:lnTo>
                <a:cubicBezTo>
                  <a:pt x="2977783" y="1370261"/>
                  <a:pt x="2977783" y="1575825"/>
                  <a:pt x="2850996" y="1702613"/>
                </a:cubicBezTo>
                <a:lnTo>
                  <a:pt x="1702613" y="2850996"/>
                </a:lnTo>
                <a:cubicBezTo>
                  <a:pt x="1575825" y="2977783"/>
                  <a:pt x="1370261" y="2977783"/>
                  <a:pt x="1243473" y="2850996"/>
                </a:cubicBezTo>
                <a:lnTo>
                  <a:pt x="95091" y="1702613"/>
                </a:lnTo>
                <a:cubicBezTo>
                  <a:pt x="-31697" y="1575825"/>
                  <a:pt x="-31697" y="1370261"/>
                  <a:pt x="95091" y="1243473"/>
                </a:cubicBezTo>
                <a:lnTo>
                  <a:pt x="1243473" y="95091"/>
                </a:lnTo>
                <a:cubicBezTo>
                  <a:pt x="1306867" y="31697"/>
                  <a:pt x="1389955" y="0"/>
                  <a:pt x="1473043"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948884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6" grpId="0" animBg="1"/>
      <p:bldP spid="18" grpId="0" animBg="1"/>
      <p:bldP spid="17"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xmlns="" id="{59E97F7F-8F39-4088-8781-69FEAB78DB97}"/>
              </a:ext>
            </a:extLst>
          </p:cNvPr>
          <p:cNvSpPr>
            <a:spLocks noGrp="1"/>
          </p:cNvSpPr>
          <p:nvPr>
            <p:ph type="sldNum" sz="quarter" idx="12"/>
          </p:nvPr>
        </p:nvSpPr>
        <p:spPr>
          <a:xfrm>
            <a:off x="15205820" y="514364"/>
            <a:ext cx="878521" cy="479227"/>
          </a:xfrm>
          <a:prstGeom prst="rect">
            <a:avLst/>
          </a:prstGeom>
        </p:spPr>
        <p:txBody>
          <a:bodyPr/>
          <a:lstStyle/>
          <a:p>
            <a:pPr defTabSz="1200150"/>
            <a:fld id="{2792224D-FD33-4836-BBD8-A8F18D809236}" type="slidenum">
              <a:rPr lang="en-US" sz="2363" smtClean="0">
                <a:solidFill>
                  <a:prstClr val="black"/>
                </a:solidFill>
              </a:rPr>
              <a:pPr defTabSz="1200150"/>
              <a:t>‹Nº›</a:t>
            </a:fld>
            <a:endParaRPr lang="en-US" sz="2363">
              <a:solidFill>
                <a:prstClr val="black"/>
              </a:solidFill>
            </a:endParaRPr>
          </a:p>
        </p:txBody>
      </p:sp>
      <p:sp>
        <p:nvSpPr>
          <p:cNvPr id="12" name="Picture Placeholder 11">
            <a:extLst>
              <a:ext uri="{FF2B5EF4-FFF2-40B4-BE49-F238E27FC236}">
                <a16:creationId xmlns:a16="http://schemas.microsoft.com/office/drawing/2014/main" xmlns="" id="{389A5E46-8D5D-474E-B97E-9CC2AA555007}"/>
              </a:ext>
            </a:extLst>
          </p:cNvPr>
          <p:cNvSpPr>
            <a:spLocks noGrp="1"/>
          </p:cNvSpPr>
          <p:nvPr>
            <p:ph type="pic" sz="quarter" idx="13"/>
          </p:nvPr>
        </p:nvSpPr>
        <p:spPr>
          <a:xfrm>
            <a:off x="10515296" y="4"/>
            <a:ext cx="5686730" cy="9001124"/>
          </a:xfrm>
          <a:custGeom>
            <a:avLst/>
            <a:gdLst>
              <a:gd name="connsiteX0" fmla="*/ 1534407 w 4279256"/>
              <a:gd name="connsiteY0" fmla="*/ 0 h 6857999"/>
              <a:gd name="connsiteX1" fmla="*/ 4279256 w 4279256"/>
              <a:gd name="connsiteY1" fmla="*/ 0 h 6857999"/>
              <a:gd name="connsiteX2" fmla="*/ 4279255 w 4279256"/>
              <a:gd name="connsiteY2" fmla="*/ 6857999 h 6857999"/>
              <a:gd name="connsiteX3" fmla="*/ 1534406 w 4279256"/>
              <a:gd name="connsiteY3" fmla="*/ 6857999 h 6857999"/>
              <a:gd name="connsiteX4" fmla="*/ 1507287 w 4279256"/>
              <a:gd name="connsiteY4" fmla="*/ 6834508 h 6857999"/>
              <a:gd name="connsiteX5" fmla="*/ 0 w 4279256"/>
              <a:gd name="connsiteY5" fmla="*/ 3429000 h 6857999"/>
              <a:gd name="connsiteX6" fmla="*/ 1507287 w 4279256"/>
              <a:gd name="connsiteY6" fmla="*/ 2349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9256" h="6857999">
                <a:moveTo>
                  <a:pt x="1534407" y="0"/>
                </a:moveTo>
                <a:lnTo>
                  <a:pt x="4279256" y="0"/>
                </a:lnTo>
                <a:lnTo>
                  <a:pt x="4279255" y="6857999"/>
                </a:lnTo>
                <a:lnTo>
                  <a:pt x="1534406" y="6857999"/>
                </a:lnTo>
                <a:lnTo>
                  <a:pt x="1507287" y="6834508"/>
                </a:lnTo>
                <a:cubicBezTo>
                  <a:pt x="581329" y="5992915"/>
                  <a:pt x="0" y="4778846"/>
                  <a:pt x="0" y="3429000"/>
                </a:cubicBezTo>
                <a:cubicBezTo>
                  <a:pt x="0" y="2079154"/>
                  <a:pt x="581329" y="865084"/>
                  <a:pt x="1507287" y="23492"/>
                </a:cubicBezTo>
                <a:close/>
              </a:path>
            </a:pathLst>
          </a:custGeom>
          <a:solidFill>
            <a:schemeClr val="bg1">
              <a:lumMod val="95000"/>
            </a:schemeClr>
          </a:solidFill>
        </p:spPr>
        <p:txBody>
          <a:bodyPr wrap="square">
            <a:noAutofit/>
          </a:bodyPr>
          <a:lstStyle>
            <a:lvl1pPr>
              <a:defRPr sz="1575">
                <a:solidFill>
                  <a:schemeClr val="tx1"/>
                </a:solidFill>
              </a:defRPr>
            </a:lvl1pPr>
          </a:lstStyle>
          <a:p>
            <a:endParaRPr lang="en-US"/>
          </a:p>
        </p:txBody>
      </p:sp>
    </p:spTree>
    <p:extLst>
      <p:ext uri="{BB962C8B-B14F-4D97-AF65-F5344CB8AC3E}">
        <p14:creationId xmlns:p14="http://schemas.microsoft.com/office/powerpoint/2010/main" val="38185435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xmlns="" id="{1D39AA3D-3AE6-4A62-8D60-C4ED2AFEB3B2}"/>
              </a:ext>
            </a:extLst>
          </p:cNvPr>
          <p:cNvSpPr>
            <a:spLocks noGrp="1"/>
          </p:cNvSpPr>
          <p:nvPr>
            <p:ph type="pic" sz="quarter" idx="13"/>
          </p:nvPr>
        </p:nvSpPr>
        <p:spPr>
          <a:xfrm>
            <a:off x="7819391" y="1388334"/>
            <a:ext cx="6588372" cy="6224458"/>
          </a:xfrm>
          <a:custGeom>
            <a:avLst/>
            <a:gdLst>
              <a:gd name="connsiteX0" fmla="*/ 1790081 w 4957740"/>
              <a:gd name="connsiteY0" fmla="*/ 379 h 4742444"/>
              <a:gd name="connsiteX1" fmla="*/ 4801134 w 4957740"/>
              <a:gd name="connsiteY1" fmla="*/ 1085839 h 4742444"/>
              <a:gd name="connsiteX2" fmla="*/ 1278127 w 4957740"/>
              <a:gd name="connsiteY2" fmla="*/ 4627883 h 4742444"/>
              <a:gd name="connsiteX3" fmla="*/ 358290 w 4957740"/>
              <a:gd name="connsiteY3" fmla="*/ 329938 h 4742444"/>
              <a:gd name="connsiteX4" fmla="*/ 1790081 w 4957740"/>
              <a:gd name="connsiteY4" fmla="*/ 379 h 4742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7740" h="4742444">
                <a:moveTo>
                  <a:pt x="1790081" y="379"/>
                </a:moveTo>
                <a:cubicBezTo>
                  <a:pt x="2887786" y="13372"/>
                  <a:pt x="4265094" y="361425"/>
                  <a:pt x="4801134" y="1085839"/>
                </a:cubicBezTo>
                <a:cubicBezTo>
                  <a:pt x="5658802" y="2244903"/>
                  <a:pt x="2783335" y="5377728"/>
                  <a:pt x="1278127" y="4627883"/>
                </a:cubicBezTo>
                <a:cubicBezTo>
                  <a:pt x="-227081" y="3878038"/>
                  <a:pt x="-215583" y="928681"/>
                  <a:pt x="358290" y="329938"/>
                </a:cubicBezTo>
                <a:cubicBezTo>
                  <a:pt x="573492" y="105410"/>
                  <a:pt x="1131458" y="-7416"/>
                  <a:pt x="1790081" y="379"/>
                </a:cubicBezTo>
                <a:close/>
              </a:path>
            </a:pathLst>
          </a:custGeom>
          <a:solidFill>
            <a:schemeClr val="bg1">
              <a:lumMod val="95000"/>
            </a:schemeClr>
          </a:solidFill>
        </p:spPr>
        <p:txBody>
          <a:bodyPr wrap="square">
            <a:noAutofit/>
          </a:bodyPr>
          <a:lstStyle>
            <a:lvl1pPr>
              <a:defRPr sz="1575"/>
            </a:lvl1pPr>
          </a:lstStyle>
          <a:p>
            <a:endParaRPr lang="en-US"/>
          </a:p>
        </p:txBody>
      </p:sp>
      <p:sp>
        <p:nvSpPr>
          <p:cNvPr id="9" name="Slide Number Placeholder 8">
            <a:extLst>
              <a:ext uri="{FF2B5EF4-FFF2-40B4-BE49-F238E27FC236}">
                <a16:creationId xmlns:a16="http://schemas.microsoft.com/office/drawing/2014/main" xmlns="" id="{59E97F7F-8F39-4088-8781-69FEAB78DB97}"/>
              </a:ext>
            </a:extLst>
          </p:cNvPr>
          <p:cNvSpPr>
            <a:spLocks noGrp="1"/>
          </p:cNvSpPr>
          <p:nvPr>
            <p:ph type="sldNum" sz="quarter" idx="12"/>
          </p:nvPr>
        </p:nvSpPr>
        <p:spPr>
          <a:xfrm>
            <a:off x="15205820" y="514364"/>
            <a:ext cx="878521" cy="479227"/>
          </a:xfrm>
          <a:prstGeom prst="rect">
            <a:avLst/>
          </a:prstGeom>
        </p:spPr>
        <p:txBody>
          <a:bodyPr/>
          <a:lstStyle/>
          <a:p>
            <a:pPr defTabSz="1200150"/>
            <a:fld id="{2792224D-FD33-4836-BBD8-A8F18D809236}" type="slidenum">
              <a:rPr lang="en-US" sz="2363" smtClean="0">
                <a:solidFill>
                  <a:prstClr val="black"/>
                </a:solidFill>
              </a:rPr>
              <a:pPr defTabSz="1200150"/>
              <a:t>‹Nº›</a:t>
            </a:fld>
            <a:endParaRPr lang="en-US" sz="2363">
              <a:solidFill>
                <a:prstClr val="black"/>
              </a:solidFill>
            </a:endParaRPr>
          </a:p>
        </p:txBody>
      </p:sp>
    </p:spTree>
    <p:extLst>
      <p:ext uri="{BB962C8B-B14F-4D97-AF65-F5344CB8AC3E}">
        <p14:creationId xmlns:p14="http://schemas.microsoft.com/office/powerpoint/2010/main" val="28908843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0">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xmlns="" id="{4616338A-D3F0-4679-9345-CD0AC20C99D3}"/>
              </a:ext>
            </a:extLst>
          </p:cNvPr>
          <p:cNvSpPr>
            <a:spLocks noGrp="1"/>
          </p:cNvSpPr>
          <p:nvPr>
            <p:ph type="pic" sz="quarter" idx="13"/>
          </p:nvPr>
        </p:nvSpPr>
        <p:spPr>
          <a:xfrm>
            <a:off x="1648606" y="1756"/>
            <a:ext cx="6401773" cy="5483785"/>
          </a:xfrm>
          <a:custGeom>
            <a:avLst/>
            <a:gdLst>
              <a:gd name="connsiteX0" fmla="*/ 0 w 4817325"/>
              <a:gd name="connsiteY0" fmla="*/ 0 h 4178122"/>
              <a:gd name="connsiteX1" fmla="*/ 4817325 w 4817325"/>
              <a:gd name="connsiteY1" fmla="*/ 0 h 4178122"/>
              <a:gd name="connsiteX2" fmla="*/ 2419212 w 4817325"/>
              <a:gd name="connsiteY2" fmla="*/ 4178122 h 4178122"/>
            </a:gdLst>
            <a:ahLst/>
            <a:cxnLst>
              <a:cxn ang="0">
                <a:pos x="connsiteX0" y="connsiteY0"/>
              </a:cxn>
              <a:cxn ang="0">
                <a:pos x="connsiteX1" y="connsiteY1"/>
              </a:cxn>
              <a:cxn ang="0">
                <a:pos x="connsiteX2" y="connsiteY2"/>
              </a:cxn>
            </a:cxnLst>
            <a:rect l="l" t="t" r="r" b="b"/>
            <a:pathLst>
              <a:path w="4817325" h="4178122">
                <a:moveTo>
                  <a:pt x="0" y="0"/>
                </a:moveTo>
                <a:lnTo>
                  <a:pt x="4817325" y="0"/>
                </a:lnTo>
                <a:lnTo>
                  <a:pt x="2419212" y="4178122"/>
                </a:lnTo>
                <a:close/>
              </a:path>
            </a:pathLst>
          </a:custGeom>
          <a:solidFill>
            <a:schemeClr val="bg1">
              <a:lumMod val="95000"/>
            </a:schemeClr>
          </a:solidFill>
        </p:spPr>
        <p:txBody>
          <a:bodyPr wrap="square">
            <a:noAutofit/>
          </a:bodyPr>
          <a:lstStyle>
            <a:lvl1pPr>
              <a:defRPr sz="1575"/>
            </a:lvl1pPr>
          </a:lstStyle>
          <a:p>
            <a:endParaRPr lang="en-US"/>
          </a:p>
        </p:txBody>
      </p:sp>
      <p:sp>
        <p:nvSpPr>
          <p:cNvPr id="17" name="Picture Placeholder 16">
            <a:extLst>
              <a:ext uri="{FF2B5EF4-FFF2-40B4-BE49-F238E27FC236}">
                <a16:creationId xmlns:a16="http://schemas.microsoft.com/office/drawing/2014/main" xmlns="" id="{D9753022-CC7A-4949-B555-A31C3D0E84B4}"/>
              </a:ext>
            </a:extLst>
          </p:cNvPr>
          <p:cNvSpPr>
            <a:spLocks noGrp="1"/>
          </p:cNvSpPr>
          <p:nvPr>
            <p:ph type="pic" sz="quarter" idx="14"/>
          </p:nvPr>
        </p:nvSpPr>
        <p:spPr>
          <a:xfrm>
            <a:off x="0" y="-1"/>
            <a:ext cx="4034939" cy="8999369"/>
          </a:xfrm>
          <a:custGeom>
            <a:avLst/>
            <a:gdLst>
              <a:gd name="connsiteX0" fmla="*/ 0 w 3036286"/>
              <a:gd name="connsiteY0" fmla="*/ 0 h 6856662"/>
              <a:gd name="connsiteX1" fmla="*/ 1074670 w 3036286"/>
              <a:gd name="connsiteY1" fmla="*/ 0 h 6856662"/>
              <a:gd name="connsiteX2" fmla="*/ 3036286 w 3036286"/>
              <a:gd name="connsiteY2" fmla="*/ 3405809 h 6856662"/>
              <a:gd name="connsiteX3" fmla="*/ 1066062 w 3036286"/>
              <a:gd name="connsiteY3" fmla="*/ 6856662 h 6856662"/>
              <a:gd name="connsiteX4" fmla="*/ 0 w 3036286"/>
              <a:gd name="connsiteY4" fmla="*/ 6856662 h 6856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6286" h="6856662">
                <a:moveTo>
                  <a:pt x="0" y="0"/>
                </a:moveTo>
                <a:lnTo>
                  <a:pt x="1074670" y="0"/>
                </a:lnTo>
                <a:lnTo>
                  <a:pt x="3036286" y="3405809"/>
                </a:lnTo>
                <a:lnTo>
                  <a:pt x="1066062" y="6856662"/>
                </a:lnTo>
                <a:lnTo>
                  <a:pt x="0" y="6856662"/>
                </a:lnTo>
                <a:close/>
              </a:path>
            </a:pathLst>
          </a:custGeom>
          <a:solidFill>
            <a:schemeClr val="bg1">
              <a:lumMod val="95000"/>
            </a:schemeClr>
          </a:solidFill>
        </p:spPr>
        <p:txBody>
          <a:bodyPr wrap="square">
            <a:noAutofit/>
          </a:bodyPr>
          <a:lstStyle>
            <a:lvl1pPr>
              <a:defRPr sz="1575"/>
            </a:lvl1pPr>
          </a:lstStyle>
          <a:p>
            <a:endParaRPr lang="en-US"/>
          </a:p>
        </p:txBody>
      </p:sp>
      <p:sp>
        <p:nvSpPr>
          <p:cNvPr id="18" name="Picture Placeholder 17">
            <a:extLst>
              <a:ext uri="{FF2B5EF4-FFF2-40B4-BE49-F238E27FC236}">
                <a16:creationId xmlns:a16="http://schemas.microsoft.com/office/drawing/2014/main" xmlns="" id="{D5A5FDDA-6075-4093-962D-3BB823E3E26C}"/>
              </a:ext>
            </a:extLst>
          </p:cNvPr>
          <p:cNvSpPr>
            <a:spLocks noGrp="1"/>
          </p:cNvSpPr>
          <p:nvPr>
            <p:ph type="pic" sz="quarter" idx="15"/>
          </p:nvPr>
        </p:nvSpPr>
        <p:spPr>
          <a:xfrm>
            <a:off x="1648606" y="4686599"/>
            <a:ext cx="5034730" cy="4312770"/>
          </a:xfrm>
          <a:custGeom>
            <a:avLst/>
            <a:gdLst>
              <a:gd name="connsiteX0" fmla="*/ 1886016 w 3788627"/>
              <a:gd name="connsiteY0" fmla="*/ 0 h 3285920"/>
              <a:gd name="connsiteX1" fmla="*/ 3788627 w 3788627"/>
              <a:gd name="connsiteY1" fmla="*/ 3285920 h 3285920"/>
              <a:gd name="connsiteX2" fmla="*/ 0 w 3788627"/>
              <a:gd name="connsiteY2" fmla="*/ 3285920 h 3285920"/>
            </a:gdLst>
            <a:ahLst/>
            <a:cxnLst>
              <a:cxn ang="0">
                <a:pos x="connsiteX0" y="connsiteY0"/>
              </a:cxn>
              <a:cxn ang="0">
                <a:pos x="connsiteX1" y="connsiteY1"/>
              </a:cxn>
              <a:cxn ang="0">
                <a:pos x="connsiteX2" y="connsiteY2"/>
              </a:cxn>
            </a:cxnLst>
            <a:rect l="l" t="t" r="r" b="b"/>
            <a:pathLst>
              <a:path w="3788627" h="3285920">
                <a:moveTo>
                  <a:pt x="1886016" y="0"/>
                </a:moveTo>
                <a:lnTo>
                  <a:pt x="3788627" y="3285920"/>
                </a:lnTo>
                <a:lnTo>
                  <a:pt x="0" y="3285920"/>
                </a:lnTo>
                <a:close/>
              </a:path>
            </a:pathLst>
          </a:custGeom>
          <a:solidFill>
            <a:schemeClr val="bg1">
              <a:lumMod val="95000"/>
            </a:schemeClr>
          </a:solidFill>
        </p:spPr>
        <p:txBody>
          <a:bodyPr wrap="square">
            <a:noAutofit/>
          </a:bodyPr>
          <a:lstStyle>
            <a:lvl1pPr>
              <a:defRPr sz="1575"/>
            </a:lvl1pPr>
          </a:lstStyle>
          <a:p>
            <a:endParaRPr lang="en-US"/>
          </a:p>
        </p:txBody>
      </p:sp>
      <p:sp>
        <p:nvSpPr>
          <p:cNvPr id="4" name="Slide Number Placeholder 3"/>
          <p:cNvSpPr>
            <a:spLocks noGrp="1"/>
          </p:cNvSpPr>
          <p:nvPr>
            <p:ph type="sldNum" sz="quarter" idx="12"/>
          </p:nvPr>
        </p:nvSpPr>
        <p:spPr>
          <a:xfrm>
            <a:off x="15311509" y="514364"/>
            <a:ext cx="667143" cy="479227"/>
          </a:xfrm>
          <a:prstGeom prst="rect">
            <a:avLst/>
          </a:prstGeom>
        </p:spPr>
        <p:txBody>
          <a:bodyPr/>
          <a:lstStyle/>
          <a:p>
            <a:pPr defTabSz="1200150"/>
            <a:fld id="{44A3F525-EB96-4C37-8D21-74EA31DC3903}" type="slidenum">
              <a:rPr lang="en-US" sz="2363" smtClean="0">
                <a:solidFill>
                  <a:prstClr val="black"/>
                </a:solidFill>
              </a:rPr>
              <a:pPr defTabSz="1200150"/>
              <a:t>‹Nº›</a:t>
            </a:fld>
            <a:endParaRPr lang="en-US" sz="2363">
              <a:solidFill>
                <a:prstClr val="black"/>
              </a:solidFill>
            </a:endParaRPr>
          </a:p>
        </p:txBody>
      </p:sp>
    </p:spTree>
    <p:extLst>
      <p:ext uri="{BB962C8B-B14F-4D97-AF65-F5344CB8AC3E}">
        <p14:creationId xmlns:p14="http://schemas.microsoft.com/office/powerpoint/2010/main" val="1454607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8_Title and Content">
    <p:spTree>
      <p:nvGrpSpPr>
        <p:cNvPr id="1" name=""/>
        <p:cNvGrpSpPr/>
        <p:nvPr/>
      </p:nvGrpSpPr>
      <p:grpSpPr>
        <a:xfrm>
          <a:off x="0" y="0"/>
          <a:ext cx="0" cy="0"/>
          <a:chOff x="0" y="0"/>
          <a:chExt cx="0" cy="0"/>
        </a:xfrm>
      </p:grpSpPr>
      <p:sp>
        <p:nvSpPr>
          <p:cNvPr id="7" name="Picture Placeholder 9">
            <a:extLst>
              <a:ext uri="{FF2B5EF4-FFF2-40B4-BE49-F238E27FC236}">
                <a16:creationId xmlns:a16="http://schemas.microsoft.com/office/drawing/2014/main" xmlns="" id="{BB1732C2-6591-455A-830C-50D7959123C0}"/>
              </a:ext>
            </a:extLst>
          </p:cNvPr>
          <p:cNvSpPr>
            <a:spLocks noGrp="1"/>
          </p:cNvSpPr>
          <p:nvPr>
            <p:ph type="pic" sz="quarter" idx="13"/>
          </p:nvPr>
        </p:nvSpPr>
        <p:spPr>
          <a:xfrm>
            <a:off x="0" y="-1"/>
            <a:ext cx="16202025" cy="5590711"/>
          </a:xfrm>
          <a:custGeom>
            <a:avLst/>
            <a:gdLst>
              <a:gd name="connsiteX0" fmla="*/ 0 w 5770605"/>
              <a:gd name="connsiteY0" fmla="*/ 0 h 6858000"/>
              <a:gd name="connsiteX1" fmla="*/ 5770605 w 5770605"/>
              <a:gd name="connsiteY1" fmla="*/ 0 h 6858000"/>
              <a:gd name="connsiteX2" fmla="*/ 5770605 w 5770605"/>
              <a:gd name="connsiteY2" fmla="*/ 6858000 h 6858000"/>
              <a:gd name="connsiteX3" fmla="*/ 0 w 577060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770605" h="6858000">
                <a:moveTo>
                  <a:pt x="0" y="0"/>
                </a:moveTo>
                <a:lnTo>
                  <a:pt x="5770605" y="0"/>
                </a:lnTo>
                <a:lnTo>
                  <a:pt x="5770605" y="6858000"/>
                </a:lnTo>
                <a:lnTo>
                  <a:pt x="0" y="6858000"/>
                </a:ln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7077786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CL"/>
          </a:p>
        </p:txBody>
      </p:sp>
      <p:sp>
        <p:nvSpPr>
          <p:cNvPr id="3" name="Content Placeholder 2"/>
          <p:cNvSpPr>
            <a:spLocks noGrp="1"/>
          </p:cNvSpPr>
          <p:nvPr>
            <p:ph sz="half" idx="1"/>
          </p:nvPr>
        </p:nvSpPr>
        <p:spPr>
          <a:xfrm>
            <a:off x="1434554" y="2756596"/>
            <a:ext cx="12784411" cy="7796808"/>
          </a:xfrm>
        </p:spPr>
        <p:txBody>
          <a:bodyPr/>
          <a:lstStyle>
            <a:lvl1pPr>
              <a:defRPr sz="4400"/>
            </a:lvl1pPr>
            <a:lvl2pPr>
              <a:defRPr sz="3800"/>
            </a:lvl2pPr>
            <a:lvl3pPr>
              <a:defRPr sz="32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Content Placeholder 3"/>
          <p:cNvSpPr>
            <a:spLocks noGrp="1"/>
          </p:cNvSpPr>
          <p:nvPr>
            <p:ph sz="half" idx="2"/>
          </p:nvPr>
        </p:nvSpPr>
        <p:spPr>
          <a:xfrm>
            <a:off x="14489000" y="2756596"/>
            <a:ext cx="12784409" cy="7796808"/>
          </a:xfrm>
        </p:spPr>
        <p:txBody>
          <a:bodyPr/>
          <a:lstStyle>
            <a:lvl1pPr>
              <a:defRPr sz="4400"/>
            </a:lvl1pPr>
            <a:lvl2pPr>
              <a:defRPr sz="3800"/>
            </a:lvl2pPr>
            <a:lvl3pPr>
              <a:defRPr sz="32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5" name="Date Placeholder 4"/>
          <p:cNvSpPr>
            <a:spLocks noGrp="1"/>
          </p:cNvSpPr>
          <p:nvPr>
            <p:ph type="dt" sz="half" idx="10"/>
          </p:nvPr>
        </p:nvSpPr>
        <p:spPr/>
        <p:txBody>
          <a:bodyPr/>
          <a:lstStyle/>
          <a:p>
            <a:fld id="{BF1F7606-8703-4774-82E4-4A2AAF776758}" type="datetimeFigureOut">
              <a:rPr lang="es-CL" smtClean="0"/>
              <a:t>23-01-2025</a:t>
            </a:fld>
            <a:endParaRPr lang="es-CL"/>
          </a:p>
        </p:txBody>
      </p:sp>
      <p:sp>
        <p:nvSpPr>
          <p:cNvPr id="6" name="Footer Placeholder 5"/>
          <p:cNvSpPr>
            <a:spLocks noGrp="1"/>
          </p:cNvSpPr>
          <p:nvPr>
            <p:ph type="ftr" sz="quarter" idx="11"/>
          </p:nvPr>
        </p:nvSpPr>
        <p:spPr/>
        <p:txBody>
          <a:bodyPr/>
          <a:lstStyle/>
          <a:p>
            <a:endParaRPr lang="es-CL"/>
          </a:p>
        </p:txBody>
      </p:sp>
      <p:sp>
        <p:nvSpPr>
          <p:cNvPr id="7" name="Slide Number Placeholder 6"/>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28970078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9_Blank">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xmlns="" id="{B61FBF28-E90B-487E-9896-4E1CE121B7F8}"/>
              </a:ext>
            </a:extLst>
          </p:cNvPr>
          <p:cNvSpPr>
            <a:spLocks noGrp="1"/>
          </p:cNvSpPr>
          <p:nvPr>
            <p:ph type="pic" sz="quarter" idx="17"/>
          </p:nvPr>
        </p:nvSpPr>
        <p:spPr>
          <a:xfrm>
            <a:off x="15130974" y="2621179"/>
            <a:ext cx="1071051" cy="2115656"/>
          </a:xfrm>
          <a:custGeom>
            <a:avLst/>
            <a:gdLst>
              <a:gd name="connsiteX0" fmla="*/ 805964 w 805964"/>
              <a:gd name="connsiteY0" fmla="*/ 0 h 1611928"/>
              <a:gd name="connsiteX1" fmla="*/ 805964 w 805964"/>
              <a:gd name="connsiteY1" fmla="*/ 1611928 h 1611928"/>
              <a:gd name="connsiteX2" fmla="*/ 0 w 805964"/>
              <a:gd name="connsiteY2" fmla="*/ 805964 h 1611928"/>
            </a:gdLst>
            <a:ahLst/>
            <a:cxnLst>
              <a:cxn ang="0">
                <a:pos x="connsiteX0" y="connsiteY0"/>
              </a:cxn>
              <a:cxn ang="0">
                <a:pos x="connsiteX1" y="connsiteY1"/>
              </a:cxn>
              <a:cxn ang="0">
                <a:pos x="connsiteX2" y="connsiteY2"/>
              </a:cxn>
            </a:cxnLst>
            <a:rect l="l" t="t" r="r" b="b"/>
            <a:pathLst>
              <a:path w="805964" h="1611928">
                <a:moveTo>
                  <a:pt x="805964" y="0"/>
                </a:moveTo>
                <a:lnTo>
                  <a:pt x="805964" y="1611928"/>
                </a:lnTo>
                <a:lnTo>
                  <a:pt x="0" y="805964"/>
                </a:lnTo>
                <a:close/>
              </a:path>
            </a:pathLst>
          </a:custGeom>
          <a:solidFill>
            <a:schemeClr val="bg1">
              <a:lumMod val="95000"/>
            </a:schemeClr>
          </a:solidFill>
        </p:spPr>
        <p:txBody>
          <a:bodyPr wrap="square">
            <a:noAutofit/>
          </a:bodyPr>
          <a:lstStyle>
            <a:lvl1pPr>
              <a:defRPr sz="1575"/>
            </a:lvl1pPr>
          </a:lstStyle>
          <a:p>
            <a:endParaRPr lang="en-US"/>
          </a:p>
        </p:txBody>
      </p:sp>
      <p:sp>
        <p:nvSpPr>
          <p:cNvPr id="20" name="Picture Placeholder 19">
            <a:extLst>
              <a:ext uri="{FF2B5EF4-FFF2-40B4-BE49-F238E27FC236}">
                <a16:creationId xmlns:a16="http://schemas.microsoft.com/office/drawing/2014/main" xmlns="" id="{3FFB4166-D1B4-44A7-8BFC-BFEA6B8CF2BA}"/>
              </a:ext>
            </a:extLst>
          </p:cNvPr>
          <p:cNvSpPr>
            <a:spLocks noGrp="1"/>
          </p:cNvSpPr>
          <p:nvPr>
            <p:ph type="pic" sz="quarter" idx="16"/>
          </p:nvPr>
        </p:nvSpPr>
        <p:spPr>
          <a:xfrm>
            <a:off x="11351567" y="4188720"/>
            <a:ext cx="4850464" cy="4817861"/>
          </a:xfrm>
          <a:custGeom>
            <a:avLst/>
            <a:gdLst>
              <a:gd name="connsiteX0" fmla="*/ 2485782 w 3649967"/>
              <a:gd name="connsiteY0" fmla="*/ 0 h 3670751"/>
              <a:gd name="connsiteX1" fmla="*/ 3649967 w 3649967"/>
              <a:gd name="connsiteY1" fmla="*/ 1164185 h 3670751"/>
              <a:gd name="connsiteX2" fmla="*/ 3649966 w 3649967"/>
              <a:gd name="connsiteY2" fmla="*/ 3670751 h 3670751"/>
              <a:gd name="connsiteX3" fmla="*/ 1184968 w 3649967"/>
              <a:gd name="connsiteY3" fmla="*/ 3670751 h 3670751"/>
              <a:gd name="connsiteX4" fmla="*/ 0 w 3649967"/>
              <a:gd name="connsiteY4" fmla="*/ 2485783 h 3670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9967" h="3670751">
                <a:moveTo>
                  <a:pt x="2485782" y="0"/>
                </a:moveTo>
                <a:lnTo>
                  <a:pt x="3649967" y="1164185"/>
                </a:lnTo>
                <a:lnTo>
                  <a:pt x="3649966" y="3670751"/>
                </a:lnTo>
                <a:lnTo>
                  <a:pt x="1184968" y="3670751"/>
                </a:lnTo>
                <a:lnTo>
                  <a:pt x="0" y="2485783"/>
                </a:lnTo>
                <a:close/>
              </a:path>
            </a:pathLst>
          </a:custGeom>
          <a:solidFill>
            <a:schemeClr val="bg1">
              <a:lumMod val="95000"/>
            </a:schemeClr>
          </a:solidFill>
        </p:spPr>
        <p:txBody>
          <a:bodyPr wrap="square">
            <a:noAutofit/>
          </a:bodyPr>
          <a:lstStyle>
            <a:lvl1pPr>
              <a:defRPr sz="1575"/>
            </a:lvl1pPr>
          </a:lstStyle>
          <a:p>
            <a:endParaRPr lang="en-US"/>
          </a:p>
        </p:txBody>
      </p:sp>
      <p:sp>
        <p:nvSpPr>
          <p:cNvPr id="18" name="Picture Placeholder 17">
            <a:extLst>
              <a:ext uri="{FF2B5EF4-FFF2-40B4-BE49-F238E27FC236}">
                <a16:creationId xmlns:a16="http://schemas.microsoft.com/office/drawing/2014/main" xmlns="" id="{71BFECD4-DE43-4B97-8835-F189FA02CF70}"/>
              </a:ext>
            </a:extLst>
          </p:cNvPr>
          <p:cNvSpPr>
            <a:spLocks noGrp="1"/>
          </p:cNvSpPr>
          <p:nvPr>
            <p:ph type="pic" sz="quarter" idx="15"/>
          </p:nvPr>
        </p:nvSpPr>
        <p:spPr>
          <a:xfrm>
            <a:off x="11365476" y="0"/>
            <a:ext cx="4836549" cy="3248850"/>
          </a:xfrm>
          <a:custGeom>
            <a:avLst/>
            <a:gdLst>
              <a:gd name="connsiteX0" fmla="*/ 0 w 3639496"/>
              <a:gd name="connsiteY0" fmla="*/ 0 h 2475314"/>
              <a:gd name="connsiteX1" fmla="*/ 3639496 w 3639496"/>
              <a:gd name="connsiteY1" fmla="*/ 0 h 2475314"/>
              <a:gd name="connsiteX2" fmla="*/ 3639496 w 3639496"/>
              <a:gd name="connsiteY2" fmla="*/ 1311132 h 2475314"/>
              <a:gd name="connsiteX3" fmla="*/ 2475314 w 3639496"/>
              <a:gd name="connsiteY3" fmla="*/ 2475314 h 2475314"/>
            </a:gdLst>
            <a:ahLst/>
            <a:cxnLst>
              <a:cxn ang="0">
                <a:pos x="connsiteX0" y="connsiteY0"/>
              </a:cxn>
              <a:cxn ang="0">
                <a:pos x="connsiteX1" y="connsiteY1"/>
              </a:cxn>
              <a:cxn ang="0">
                <a:pos x="connsiteX2" y="connsiteY2"/>
              </a:cxn>
              <a:cxn ang="0">
                <a:pos x="connsiteX3" y="connsiteY3"/>
              </a:cxn>
            </a:cxnLst>
            <a:rect l="l" t="t" r="r" b="b"/>
            <a:pathLst>
              <a:path w="3639496" h="2475314">
                <a:moveTo>
                  <a:pt x="0" y="0"/>
                </a:moveTo>
                <a:lnTo>
                  <a:pt x="3639496" y="0"/>
                </a:lnTo>
                <a:lnTo>
                  <a:pt x="3639496" y="1311132"/>
                </a:lnTo>
                <a:lnTo>
                  <a:pt x="2475314" y="2475314"/>
                </a:lnTo>
                <a:close/>
              </a:path>
            </a:pathLst>
          </a:custGeom>
          <a:solidFill>
            <a:schemeClr val="bg1">
              <a:lumMod val="95000"/>
            </a:schemeClr>
          </a:solidFill>
        </p:spPr>
        <p:txBody>
          <a:bodyPr wrap="square">
            <a:noAutofit/>
          </a:bodyPr>
          <a:lstStyle>
            <a:lvl1pPr>
              <a:defRPr sz="1575"/>
            </a:lvl1pPr>
          </a:lstStyle>
          <a:p>
            <a:endParaRPr lang="en-US"/>
          </a:p>
        </p:txBody>
      </p:sp>
      <p:sp>
        <p:nvSpPr>
          <p:cNvPr id="15" name="Picture Placeholder 14">
            <a:extLst>
              <a:ext uri="{FF2B5EF4-FFF2-40B4-BE49-F238E27FC236}">
                <a16:creationId xmlns:a16="http://schemas.microsoft.com/office/drawing/2014/main" xmlns="" id="{3C6FD16C-85AF-439B-A66C-3C2F3DF6B9CF}"/>
              </a:ext>
            </a:extLst>
          </p:cNvPr>
          <p:cNvSpPr>
            <a:spLocks noGrp="1"/>
          </p:cNvSpPr>
          <p:nvPr>
            <p:ph type="pic" sz="quarter" idx="14"/>
          </p:nvPr>
        </p:nvSpPr>
        <p:spPr>
          <a:xfrm>
            <a:off x="7572157" y="456198"/>
            <a:ext cx="6606742" cy="6525179"/>
          </a:xfrm>
          <a:custGeom>
            <a:avLst/>
            <a:gdLst>
              <a:gd name="connsiteX0" fmla="*/ 2485782 w 4971564"/>
              <a:gd name="connsiteY0" fmla="*/ 0 h 4971565"/>
              <a:gd name="connsiteX1" fmla="*/ 4971564 w 4971564"/>
              <a:gd name="connsiteY1" fmla="*/ 2485783 h 4971565"/>
              <a:gd name="connsiteX2" fmla="*/ 2485782 w 4971564"/>
              <a:gd name="connsiteY2" fmla="*/ 4971565 h 4971565"/>
              <a:gd name="connsiteX3" fmla="*/ 0 w 4971564"/>
              <a:gd name="connsiteY3" fmla="*/ 2485783 h 4971565"/>
            </a:gdLst>
            <a:ahLst/>
            <a:cxnLst>
              <a:cxn ang="0">
                <a:pos x="connsiteX0" y="connsiteY0"/>
              </a:cxn>
              <a:cxn ang="0">
                <a:pos x="connsiteX1" y="connsiteY1"/>
              </a:cxn>
              <a:cxn ang="0">
                <a:pos x="connsiteX2" y="connsiteY2"/>
              </a:cxn>
              <a:cxn ang="0">
                <a:pos x="connsiteX3" y="connsiteY3"/>
              </a:cxn>
            </a:cxnLst>
            <a:rect l="l" t="t" r="r" b="b"/>
            <a:pathLst>
              <a:path w="4971564" h="4971565">
                <a:moveTo>
                  <a:pt x="2485782" y="0"/>
                </a:moveTo>
                <a:lnTo>
                  <a:pt x="4971564" y="2485783"/>
                </a:lnTo>
                <a:lnTo>
                  <a:pt x="2485782" y="4971565"/>
                </a:lnTo>
                <a:lnTo>
                  <a:pt x="0" y="2485783"/>
                </a:lnTo>
                <a:close/>
              </a:path>
            </a:pathLst>
          </a:custGeom>
          <a:solidFill>
            <a:schemeClr val="bg1">
              <a:lumMod val="95000"/>
            </a:schemeClr>
          </a:solidFill>
        </p:spPr>
        <p:txBody>
          <a:bodyPr wrap="square">
            <a:noAutofit/>
          </a:bodyPr>
          <a:lstStyle>
            <a:lvl1pPr>
              <a:defRPr sz="1575"/>
            </a:lvl1pPr>
          </a:lstStyle>
          <a:p>
            <a:endParaRPr lang="en-US"/>
          </a:p>
        </p:txBody>
      </p:sp>
      <p:sp>
        <p:nvSpPr>
          <p:cNvPr id="16" name="Picture Placeholder 15">
            <a:extLst>
              <a:ext uri="{FF2B5EF4-FFF2-40B4-BE49-F238E27FC236}">
                <a16:creationId xmlns:a16="http://schemas.microsoft.com/office/drawing/2014/main" xmlns="" id="{C142353E-EB6C-4E07-BFD8-87641C3F8EFE}"/>
              </a:ext>
            </a:extLst>
          </p:cNvPr>
          <p:cNvSpPr>
            <a:spLocks noGrp="1"/>
          </p:cNvSpPr>
          <p:nvPr>
            <p:ph type="pic" sz="quarter" idx="13"/>
          </p:nvPr>
        </p:nvSpPr>
        <p:spPr>
          <a:xfrm>
            <a:off x="3806658" y="0"/>
            <a:ext cx="6578920" cy="3248850"/>
          </a:xfrm>
          <a:custGeom>
            <a:avLst/>
            <a:gdLst>
              <a:gd name="connsiteX0" fmla="*/ 0 w 4950628"/>
              <a:gd name="connsiteY0" fmla="*/ 0 h 2475314"/>
              <a:gd name="connsiteX1" fmla="*/ 4950628 w 4950628"/>
              <a:gd name="connsiteY1" fmla="*/ 0 h 2475314"/>
              <a:gd name="connsiteX2" fmla="*/ 2475314 w 4950628"/>
              <a:gd name="connsiteY2" fmla="*/ 2475314 h 2475314"/>
            </a:gdLst>
            <a:ahLst/>
            <a:cxnLst>
              <a:cxn ang="0">
                <a:pos x="connsiteX0" y="connsiteY0"/>
              </a:cxn>
              <a:cxn ang="0">
                <a:pos x="connsiteX1" y="connsiteY1"/>
              </a:cxn>
              <a:cxn ang="0">
                <a:pos x="connsiteX2" y="connsiteY2"/>
              </a:cxn>
            </a:cxnLst>
            <a:rect l="l" t="t" r="r" b="b"/>
            <a:pathLst>
              <a:path w="4950628" h="2475314">
                <a:moveTo>
                  <a:pt x="0" y="0"/>
                </a:moveTo>
                <a:lnTo>
                  <a:pt x="4950628" y="0"/>
                </a:lnTo>
                <a:lnTo>
                  <a:pt x="2475314" y="2475314"/>
                </a:lnTo>
                <a:close/>
              </a:path>
            </a:pathLst>
          </a:custGeom>
          <a:solidFill>
            <a:schemeClr val="bg1">
              <a:lumMod val="95000"/>
            </a:schemeClr>
          </a:solidFill>
        </p:spPr>
        <p:txBody>
          <a:bodyPr wrap="square">
            <a:noAutofit/>
          </a:bodyPr>
          <a:lstStyle>
            <a:lvl1pPr>
              <a:defRPr sz="1575"/>
            </a:lvl1pPr>
          </a:lstStyle>
          <a:p>
            <a:endParaRPr lang="en-US"/>
          </a:p>
        </p:txBody>
      </p:sp>
      <p:sp>
        <p:nvSpPr>
          <p:cNvPr id="4" name="Slide Number Placeholder 3"/>
          <p:cNvSpPr>
            <a:spLocks noGrp="1"/>
          </p:cNvSpPr>
          <p:nvPr>
            <p:ph type="sldNum" sz="quarter" idx="12"/>
          </p:nvPr>
        </p:nvSpPr>
        <p:spPr>
          <a:xfrm>
            <a:off x="15205820" y="514364"/>
            <a:ext cx="878521" cy="479227"/>
          </a:xfrm>
          <a:prstGeom prst="rect">
            <a:avLst/>
          </a:prstGeom>
        </p:spPr>
        <p:txBody>
          <a:bodyPr/>
          <a:lstStyle/>
          <a:p>
            <a:pPr defTabSz="1200150"/>
            <a:fld id="{C20B6E8A-0E50-487B-97A2-0BD9B22568DE}" type="slidenum">
              <a:rPr lang="en-US" sz="2363" smtClean="0">
                <a:solidFill>
                  <a:prstClr val="black"/>
                </a:solidFill>
              </a:rPr>
              <a:pPr defTabSz="1200150"/>
              <a:t>‹Nº›</a:t>
            </a:fld>
            <a:endParaRPr lang="en-US" sz="2363">
              <a:solidFill>
                <a:prstClr val="black"/>
              </a:solidFill>
            </a:endParaRPr>
          </a:p>
        </p:txBody>
      </p:sp>
    </p:spTree>
    <p:extLst>
      <p:ext uri="{BB962C8B-B14F-4D97-AF65-F5344CB8AC3E}">
        <p14:creationId xmlns:p14="http://schemas.microsoft.com/office/powerpoint/2010/main" val="33554549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1_Title and Content">
    <p:spTree>
      <p:nvGrpSpPr>
        <p:cNvPr id="1" name=""/>
        <p:cNvGrpSpPr/>
        <p:nvPr/>
      </p:nvGrpSpPr>
      <p:grpSpPr>
        <a:xfrm>
          <a:off x="0" y="0"/>
          <a:ext cx="0" cy="0"/>
          <a:chOff x="0" y="0"/>
          <a:chExt cx="0" cy="0"/>
        </a:xfrm>
      </p:grpSpPr>
      <p:sp>
        <p:nvSpPr>
          <p:cNvPr id="44" name="Picture Placeholder 43">
            <a:extLst>
              <a:ext uri="{FF2B5EF4-FFF2-40B4-BE49-F238E27FC236}">
                <a16:creationId xmlns:a16="http://schemas.microsoft.com/office/drawing/2014/main" xmlns="" id="{A9C06C6A-0FF0-47E4-8299-7505A08FB4E2}"/>
              </a:ext>
            </a:extLst>
          </p:cNvPr>
          <p:cNvSpPr>
            <a:spLocks noGrp="1"/>
          </p:cNvSpPr>
          <p:nvPr>
            <p:ph type="pic" sz="quarter" idx="13"/>
          </p:nvPr>
        </p:nvSpPr>
        <p:spPr>
          <a:xfrm>
            <a:off x="0" y="0"/>
            <a:ext cx="16202025" cy="6003126"/>
          </a:xfrm>
          <a:custGeom>
            <a:avLst/>
            <a:gdLst>
              <a:gd name="connsiteX0" fmla="*/ 2386972 w 12192000"/>
              <a:gd name="connsiteY0" fmla="*/ 3590586 h 4573810"/>
              <a:gd name="connsiteX1" fmla="*/ 2386972 w 12192000"/>
              <a:gd name="connsiteY1" fmla="*/ 3819860 h 4573810"/>
              <a:gd name="connsiteX2" fmla="*/ 2616246 w 12192000"/>
              <a:gd name="connsiteY2" fmla="*/ 3819860 h 4573810"/>
              <a:gd name="connsiteX3" fmla="*/ 2616246 w 12192000"/>
              <a:gd name="connsiteY3" fmla="*/ 3590586 h 4573810"/>
              <a:gd name="connsiteX4" fmla="*/ 2004930 w 12192000"/>
              <a:gd name="connsiteY4" fmla="*/ 3582494 h 4573810"/>
              <a:gd name="connsiteX5" fmla="*/ 2004930 w 12192000"/>
              <a:gd name="connsiteY5" fmla="*/ 3773506 h 4573810"/>
              <a:gd name="connsiteX6" fmla="*/ 2195942 w 12192000"/>
              <a:gd name="connsiteY6" fmla="*/ 3773506 h 4573810"/>
              <a:gd name="connsiteX7" fmla="*/ 2195942 w 12192000"/>
              <a:gd name="connsiteY7" fmla="*/ 3582494 h 4573810"/>
              <a:gd name="connsiteX8" fmla="*/ 2776652 w 12192000"/>
              <a:gd name="connsiteY8" fmla="*/ 3502960 h 4573810"/>
              <a:gd name="connsiteX9" fmla="*/ 2776652 w 12192000"/>
              <a:gd name="connsiteY9" fmla="*/ 3969530 h 4573810"/>
              <a:gd name="connsiteX10" fmla="*/ 3167400 w 12192000"/>
              <a:gd name="connsiteY10" fmla="*/ 3969530 h 4573810"/>
              <a:gd name="connsiteX11" fmla="*/ 3167400 w 12192000"/>
              <a:gd name="connsiteY11" fmla="*/ 3502960 h 4573810"/>
              <a:gd name="connsiteX12" fmla="*/ 11286748 w 12192000"/>
              <a:gd name="connsiteY12" fmla="*/ 3495976 h 4573810"/>
              <a:gd name="connsiteX13" fmla="*/ 11286748 w 12192000"/>
              <a:gd name="connsiteY13" fmla="*/ 3818688 h 4573810"/>
              <a:gd name="connsiteX14" fmla="*/ 11609460 w 12192000"/>
              <a:gd name="connsiteY14" fmla="*/ 3818688 h 4573810"/>
              <a:gd name="connsiteX15" fmla="*/ 11609460 w 12192000"/>
              <a:gd name="connsiteY15" fmla="*/ 3495976 h 4573810"/>
              <a:gd name="connsiteX16" fmla="*/ 8430666 w 12192000"/>
              <a:gd name="connsiteY16" fmla="*/ 3313952 h 4573810"/>
              <a:gd name="connsiteX17" fmla="*/ 8430666 w 12192000"/>
              <a:gd name="connsiteY17" fmla="*/ 3678000 h 4573810"/>
              <a:gd name="connsiteX18" fmla="*/ 8794714 w 12192000"/>
              <a:gd name="connsiteY18" fmla="*/ 3678000 h 4573810"/>
              <a:gd name="connsiteX19" fmla="*/ 8794714 w 12192000"/>
              <a:gd name="connsiteY19" fmla="*/ 3313952 h 4573810"/>
              <a:gd name="connsiteX20" fmla="*/ 1295980 w 12192000"/>
              <a:gd name="connsiteY20" fmla="*/ 3290038 h 4573810"/>
              <a:gd name="connsiteX21" fmla="*/ 1295980 w 12192000"/>
              <a:gd name="connsiteY21" fmla="*/ 3481050 h 4573810"/>
              <a:gd name="connsiteX22" fmla="*/ 1486992 w 12192000"/>
              <a:gd name="connsiteY22" fmla="*/ 3481050 h 4573810"/>
              <a:gd name="connsiteX23" fmla="*/ 1486992 w 12192000"/>
              <a:gd name="connsiteY23" fmla="*/ 3290038 h 4573810"/>
              <a:gd name="connsiteX24" fmla="*/ 10566702 w 12192000"/>
              <a:gd name="connsiteY24" fmla="*/ 3267874 h 4573810"/>
              <a:gd name="connsiteX25" fmla="*/ 10566702 w 12192000"/>
              <a:gd name="connsiteY25" fmla="*/ 3590586 h 4573810"/>
              <a:gd name="connsiteX26" fmla="*/ 10889414 w 12192000"/>
              <a:gd name="connsiteY26" fmla="*/ 3590586 h 4573810"/>
              <a:gd name="connsiteX27" fmla="*/ 10889414 w 12192000"/>
              <a:gd name="connsiteY27" fmla="*/ 3267874 h 4573810"/>
              <a:gd name="connsiteX28" fmla="*/ 9037142 w 12192000"/>
              <a:gd name="connsiteY28" fmla="*/ 3233614 h 4573810"/>
              <a:gd name="connsiteX29" fmla="*/ 9037142 w 12192000"/>
              <a:gd name="connsiteY29" fmla="*/ 3728486 h 4573810"/>
              <a:gd name="connsiteX30" fmla="*/ 9532014 w 12192000"/>
              <a:gd name="connsiteY30" fmla="*/ 3728486 h 4573810"/>
              <a:gd name="connsiteX31" fmla="*/ 9532014 w 12192000"/>
              <a:gd name="connsiteY31" fmla="*/ 3233614 h 4573810"/>
              <a:gd name="connsiteX32" fmla="*/ 5658626 w 12192000"/>
              <a:gd name="connsiteY32" fmla="*/ 3140454 h 4573810"/>
              <a:gd name="connsiteX33" fmla="*/ 5658626 w 12192000"/>
              <a:gd name="connsiteY33" fmla="*/ 3597662 h 4573810"/>
              <a:gd name="connsiteX34" fmla="*/ 6115834 w 12192000"/>
              <a:gd name="connsiteY34" fmla="*/ 3597662 h 4573810"/>
              <a:gd name="connsiteX35" fmla="*/ 6115834 w 12192000"/>
              <a:gd name="connsiteY35" fmla="*/ 3140454 h 4573810"/>
              <a:gd name="connsiteX36" fmla="*/ 5038380 w 12192000"/>
              <a:gd name="connsiteY36" fmla="*/ 3121620 h 4573810"/>
              <a:gd name="connsiteX37" fmla="*/ 5038380 w 12192000"/>
              <a:gd name="connsiteY37" fmla="*/ 3486332 h 4573810"/>
              <a:gd name="connsiteX38" fmla="*/ 5403092 w 12192000"/>
              <a:gd name="connsiteY38" fmla="*/ 3486332 h 4573810"/>
              <a:gd name="connsiteX39" fmla="*/ 5403092 w 12192000"/>
              <a:gd name="connsiteY39" fmla="*/ 3121620 h 4573810"/>
              <a:gd name="connsiteX40" fmla="*/ 543622 w 12192000"/>
              <a:gd name="connsiteY40" fmla="*/ 3049438 h 4573810"/>
              <a:gd name="connsiteX41" fmla="*/ 543622 w 12192000"/>
              <a:gd name="connsiteY41" fmla="*/ 3240450 h 4573810"/>
              <a:gd name="connsiteX42" fmla="*/ 734634 w 12192000"/>
              <a:gd name="connsiteY42" fmla="*/ 3240450 h 4573810"/>
              <a:gd name="connsiteX43" fmla="*/ 734634 w 12192000"/>
              <a:gd name="connsiteY43" fmla="*/ 3049438 h 4573810"/>
              <a:gd name="connsiteX44" fmla="*/ 2206794 w 12192000"/>
              <a:gd name="connsiteY44" fmla="*/ 3049116 h 4573810"/>
              <a:gd name="connsiteX45" fmla="*/ 2206794 w 12192000"/>
              <a:gd name="connsiteY45" fmla="*/ 3348250 h 4573810"/>
              <a:gd name="connsiteX46" fmla="*/ 2505928 w 12192000"/>
              <a:gd name="connsiteY46" fmla="*/ 3348250 h 4573810"/>
              <a:gd name="connsiteX47" fmla="*/ 2505928 w 12192000"/>
              <a:gd name="connsiteY47" fmla="*/ 3049116 h 4573810"/>
              <a:gd name="connsiteX48" fmla="*/ 6306844 w 12192000"/>
              <a:gd name="connsiteY48" fmla="*/ 3029122 h 4573810"/>
              <a:gd name="connsiteX49" fmla="*/ 6306844 w 12192000"/>
              <a:gd name="connsiteY49" fmla="*/ 3745004 h 4573810"/>
              <a:gd name="connsiteX50" fmla="*/ 7022726 w 12192000"/>
              <a:gd name="connsiteY50" fmla="*/ 3745004 h 4573810"/>
              <a:gd name="connsiteX51" fmla="*/ 7022726 w 12192000"/>
              <a:gd name="connsiteY51" fmla="*/ 3029122 h 4573810"/>
              <a:gd name="connsiteX52" fmla="*/ 2919474 w 12192000"/>
              <a:gd name="connsiteY52" fmla="*/ 2967944 h 4573810"/>
              <a:gd name="connsiteX53" fmla="*/ 2919474 w 12192000"/>
              <a:gd name="connsiteY53" fmla="*/ 3267078 h 4573810"/>
              <a:gd name="connsiteX54" fmla="*/ 3218608 w 12192000"/>
              <a:gd name="connsiteY54" fmla="*/ 3267078 h 4573810"/>
              <a:gd name="connsiteX55" fmla="*/ 3218608 w 12192000"/>
              <a:gd name="connsiteY55" fmla="*/ 2967944 h 4573810"/>
              <a:gd name="connsiteX56" fmla="*/ 8301864 w 12192000"/>
              <a:gd name="connsiteY56" fmla="*/ 2963090 h 4573810"/>
              <a:gd name="connsiteX57" fmla="*/ 8301864 w 12192000"/>
              <a:gd name="connsiteY57" fmla="*/ 3220694 h 4573810"/>
              <a:gd name="connsiteX58" fmla="*/ 8559468 w 12192000"/>
              <a:gd name="connsiteY58" fmla="*/ 3220694 h 4573810"/>
              <a:gd name="connsiteX59" fmla="*/ 8559468 w 12192000"/>
              <a:gd name="connsiteY59" fmla="*/ 2963090 h 4573810"/>
              <a:gd name="connsiteX60" fmla="*/ 1605022 w 12192000"/>
              <a:gd name="connsiteY60" fmla="*/ 2963090 h 4573810"/>
              <a:gd name="connsiteX61" fmla="*/ 1605022 w 12192000"/>
              <a:gd name="connsiteY61" fmla="*/ 3361300 h 4573810"/>
              <a:gd name="connsiteX62" fmla="*/ 2003232 w 12192000"/>
              <a:gd name="connsiteY62" fmla="*/ 3361300 h 4573810"/>
              <a:gd name="connsiteX63" fmla="*/ 2003232 w 12192000"/>
              <a:gd name="connsiteY63" fmla="*/ 2963090 h 4573810"/>
              <a:gd name="connsiteX64" fmla="*/ 219548 w 12192000"/>
              <a:gd name="connsiteY64" fmla="*/ 2949442 h 4573810"/>
              <a:gd name="connsiteX65" fmla="*/ 219548 w 12192000"/>
              <a:gd name="connsiteY65" fmla="*/ 3140454 h 4573810"/>
              <a:gd name="connsiteX66" fmla="*/ 410560 w 12192000"/>
              <a:gd name="connsiteY66" fmla="*/ 3140454 h 4573810"/>
              <a:gd name="connsiteX67" fmla="*/ 410560 w 12192000"/>
              <a:gd name="connsiteY67" fmla="*/ 2949442 h 4573810"/>
              <a:gd name="connsiteX68" fmla="*/ 9612310 w 12192000"/>
              <a:gd name="connsiteY68" fmla="*/ 2867394 h 4573810"/>
              <a:gd name="connsiteX69" fmla="*/ 9612310 w 12192000"/>
              <a:gd name="connsiteY69" fmla="*/ 3329942 h 4573810"/>
              <a:gd name="connsiteX70" fmla="*/ 10074858 w 12192000"/>
              <a:gd name="connsiteY70" fmla="*/ 3329942 h 4573810"/>
              <a:gd name="connsiteX71" fmla="*/ 10074858 w 12192000"/>
              <a:gd name="connsiteY71" fmla="*/ 2867394 h 4573810"/>
              <a:gd name="connsiteX72" fmla="*/ 7325978 w 12192000"/>
              <a:gd name="connsiteY72" fmla="*/ 2812820 h 4573810"/>
              <a:gd name="connsiteX73" fmla="*/ 7325978 w 12192000"/>
              <a:gd name="connsiteY73" fmla="*/ 3084736 h 4573810"/>
              <a:gd name="connsiteX74" fmla="*/ 7597894 w 12192000"/>
              <a:gd name="connsiteY74" fmla="*/ 3084736 h 4573810"/>
              <a:gd name="connsiteX75" fmla="*/ 7597894 w 12192000"/>
              <a:gd name="connsiteY75" fmla="*/ 2812820 h 4573810"/>
              <a:gd name="connsiteX76" fmla="*/ 3963832 w 12192000"/>
              <a:gd name="connsiteY76" fmla="*/ 2777706 h 4573810"/>
              <a:gd name="connsiteX77" fmla="*/ 3963832 w 12192000"/>
              <a:gd name="connsiteY77" fmla="*/ 2948778 h 4573810"/>
              <a:gd name="connsiteX78" fmla="*/ 4134904 w 12192000"/>
              <a:gd name="connsiteY78" fmla="*/ 2948778 h 4573810"/>
              <a:gd name="connsiteX79" fmla="*/ 4134904 w 12192000"/>
              <a:gd name="connsiteY79" fmla="*/ 2777706 h 4573810"/>
              <a:gd name="connsiteX80" fmla="*/ 2460368 w 12192000"/>
              <a:gd name="connsiteY80" fmla="*/ 2777706 h 4573810"/>
              <a:gd name="connsiteX81" fmla="*/ 2460368 w 12192000"/>
              <a:gd name="connsiteY81" fmla="*/ 2955154 h 4573810"/>
              <a:gd name="connsiteX82" fmla="*/ 2637816 w 12192000"/>
              <a:gd name="connsiteY82" fmla="*/ 2955154 h 4573810"/>
              <a:gd name="connsiteX83" fmla="*/ 2637816 w 12192000"/>
              <a:gd name="connsiteY83" fmla="*/ 2777706 h 4573810"/>
              <a:gd name="connsiteX84" fmla="*/ 1183352 w 12192000"/>
              <a:gd name="connsiteY84" fmla="*/ 2688274 h 4573810"/>
              <a:gd name="connsiteX85" fmla="*/ 1183352 w 12192000"/>
              <a:gd name="connsiteY85" fmla="*/ 3051022 h 4573810"/>
              <a:gd name="connsiteX86" fmla="*/ 1546100 w 12192000"/>
              <a:gd name="connsiteY86" fmla="*/ 3051022 h 4573810"/>
              <a:gd name="connsiteX87" fmla="*/ 1546100 w 12192000"/>
              <a:gd name="connsiteY87" fmla="*/ 2688274 h 4573810"/>
              <a:gd name="connsiteX88" fmla="*/ 5403092 w 12192000"/>
              <a:gd name="connsiteY88" fmla="*/ 2280330 h 4573810"/>
              <a:gd name="connsiteX89" fmla="*/ 5403092 w 12192000"/>
              <a:gd name="connsiteY89" fmla="*/ 2777706 h 4573810"/>
              <a:gd name="connsiteX90" fmla="*/ 5900468 w 12192000"/>
              <a:gd name="connsiteY90" fmla="*/ 2777706 h 4573810"/>
              <a:gd name="connsiteX91" fmla="*/ 5900468 w 12192000"/>
              <a:gd name="connsiteY91" fmla="*/ 2280330 h 4573810"/>
              <a:gd name="connsiteX92" fmla="*/ 6584380 w 12192000"/>
              <a:gd name="connsiteY92" fmla="*/ 2164306 h 4573810"/>
              <a:gd name="connsiteX93" fmla="*/ 6584380 w 12192000"/>
              <a:gd name="connsiteY93" fmla="*/ 2661682 h 4573810"/>
              <a:gd name="connsiteX94" fmla="*/ 7081756 w 12192000"/>
              <a:gd name="connsiteY94" fmla="*/ 2661682 h 4573810"/>
              <a:gd name="connsiteX95" fmla="*/ 7081756 w 12192000"/>
              <a:gd name="connsiteY95" fmla="*/ 2164306 h 4573810"/>
              <a:gd name="connsiteX96" fmla="*/ 4428742 w 12192000"/>
              <a:gd name="connsiteY96" fmla="*/ 2164306 h 4573810"/>
              <a:gd name="connsiteX97" fmla="*/ 4428742 w 12192000"/>
              <a:gd name="connsiteY97" fmla="*/ 2777706 h 4573810"/>
              <a:gd name="connsiteX98" fmla="*/ 5042142 w 12192000"/>
              <a:gd name="connsiteY98" fmla="*/ 2777706 h 4573810"/>
              <a:gd name="connsiteX99" fmla="*/ 5042142 w 12192000"/>
              <a:gd name="connsiteY99" fmla="*/ 2164306 h 4573810"/>
              <a:gd name="connsiteX100" fmla="*/ 5838397 w 12192000"/>
              <a:gd name="connsiteY100" fmla="*/ 1906702 h 4573810"/>
              <a:gd name="connsiteX101" fmla="*/ 5838397 w 12192000"/>
              <a:gd name="connsiteY101" fmla="*/ 2164306 h 4573810"/>
              <a:gd name="connsiteX102" fmla="*/ 6096001 w 12192000"/>
              <a:gd name="connsiteY102" fmla="*/ 2164306 h 4573810"/>
              <a:gd name="connsiteX103" fmla="*/ 6096001 w 12192000"/>
              <a:gd name="connsiteY103" fmla="*/ 1906702 h 4573810"/>
              <a:gd name="connsiteX104" fmla="*/ 3681506 w 12192000"/>
              <a:gd name="connsiteY104" fmla="*/ 1666930 h 4573810"/>
              <a:gd name="connsiteX105" fmla="*/ 3681506 w 12192000"/>
              <a:gd name="connsiteY105" fmla="*/ 2280330 h 4573810"/>
              <a:gd name="connsiteX106" fmla="*/ 4294906 w 12192000"/>
              <a:gd name="connsiteY106" fmla="*/ 2280330 h 4573810"/>
              <a:gd name="connsiteX107" fmla="*/ 4294906 w 12192000"/>
              <a:gd name="connsiteY107" fmla="*/ 1666930 h 4573810"/>
              <a:gd name="connsiteX108" fmla="*/ 0 w 12192000"/>
              <a:gd name="connsiteY108" fmla="*/ 0 h 4573810"/>
              <a:gd name="connsiteX109" fmla="*/ 12192000 w 12192000"/>
              <a:gd name="connsiteY109" fmla="*/ 0 h 4573810"/>
              <a:gd name="connsiteX110" fmla="*/ 12192000 w 12192000"/>
              <a:gd name="connsiteY110" fmla="*/ 2963090 h 4573810"/>
              <a:gd name="connsiteX111" fmla="*/ 11846846 w 12192000"/>
              <a:gd name="connsiteY111" fmla="*/ 2963090 h 4573810"/>
              <a:gd name="connsiteX112" fmla="*/ 11846846 w 12192000"/>
              <a:gd name="connsiteY112" fmla="*/ 3396176 h 4573810"/>
              <a:gd name="connsiteX113" fmla="*/ 12192000 w 12192000"/>
              <a:gd name="connsiteY113" fmla="*/ 3396176 h 4573810"/>
              <a:gd name="connsiteX114" fmla="*/ 12192000 w 12192000"/>
              <a:gd name="connsiteY114" fmla="*/ 3699648 h 4573810"/>
              <a:gd name="connsiteX115" fmla="*/ 11909436 w 12192000"/>
              <a:gd name="connsiteY115" fmla="*/ 3699648 h 4573810"/>
              <a:gd name="connsiteX116" fmla="*/ 11909436 w 12192000"/>
              <a:gd name="connsiteY116" fmla="*/ 4122592 h 4573810"/>
              <a:gd name="connsiteX117" fmla="*/ 12192000 w 12192000"/>
              <a:gd name="connsiteY117" fmla="*/ 4122592 h 4573810"/>
              <a:gd name="connsiteX118" fmla="*/ 12192000 w 12192000"/>
              <a:gd name="connsiteY118" fmla="*/ 4517192 h 4573810"/>
              <a:gd name="connsiteX119" fmla="*/ 11791028 w 12192000"/>
              <a:gd name="connsiteY119" fmla="*/ 4517192 h 4573810"/>
              <a:gd name="connsiteX120" fmla="*/ 11791028 w 12192000"/>
              <a:gd name="connsiteY120" fmla="*/ 4042736 h 4573810"/>
              <a:gd name="connsiteX121" fmla="*/ 11339254 w 12192000"/>
              <a:gd name="connsiteY121" fmla="*/ 4042736 h 4573810"/>
              <a:gd name="connsiteX122" fmla="*/ 11339254 w 12192000"/>
              <a:gd name="connsiteY122" fmla="*/ 4517192 h 4573810"/>
              <a:gd name="connsiteX123" fmla="*/ 11198900 w 12192000"/>
              <a:gd name="connsiteY123" fmla="*/ 4517192 h 4573810"/>
              <a:gd name="connsiteX124" fmla="*/ 11198900 w 12192000"/>
              <a:gd name="connsiteY124" fmla="*/ 3809452 h 4573810"/>
              <a:gd name="connsiteX125" fmla="*/ 10074858 w 12192000"/>
              <a:gd name="connsiteY125" fmla="*/ 3809452 h 4573810"/>
              <a:gd name="connsiteX126" fmla="*/ 10074858 w 12192000"/>
              <a:gd name="connsiteY126" fmla="*/ 4550854 h 4573810"/>
              <a:gd name="connsiteX127" fmla="*/ 10076548 w 12192000"/>
              <a:gd name="connsiteY127" fmla="*/ 4550854 h 4573810"/>
              <a:gd name="connsiteX128" fmla="*/ 10076548 w 12192000"/>
              <a:gd name="connsiteY128" fmla="*/ 4572346 h 4573810"/>
              <a:gd name="connsiteX129" fmla="*/ 9936010 w 12192000"/>
              <a:gd name="connsiteY129" fmla="*/ 4572346 h 4573810"/>
              <a:gd name="connsiteX130" fmla="*/ 9936010 w 12192000"/>
              <a:gd name="connsiteY130" fmla="*/ 4022360 h 4573810"/>
              <a:gd name="connsiteX131" fmla="*/ 9323504 w 12192000"/>
              <a:gd name="connsiteY131" fmla="*/ 4022360 h 4573810"/>
              <a:gd name="connsiteX132" fmla="*/ 9323504 w 12192000"/>
              <a:gd name="connsiteY132" fmla="*/ 4573810 h 4573810"/>
              <a:gd name="connsiteX133" fmla="*/ 9283356 w 12192000"/>
              <a:gd name="connsiteY133" fmla="*/ 4573810 h 4573810"/>
              <a:gd name="connsiteX134" fmla="*/ 9283356 w 12192000"/>
              <a:gd name="connsiteY134" fmla="*/ 4143836 h 4573810"/>
              <a:gd name="connsiteX135" fmla="*/ 9081758 w 12192000"/>
              <a:gd name="connsiteY135" fmla="*/ 4143836 h 4573810"/>
              <a:gd name="connsiteX136" fmla="*/ 9081758 w 12192000"/>
              <a:gd name="connsiteY136" fmla="*/ 3981008 h 4573810"/>
              <a:gd name="connsiteX137" fmla="*/ 8803982 w 12192000"/>
              <a:gd name="connsiteY137" fmla="*/ 3981008 h 4573810"/>
              <a:gd name="connsiteX138" fmla="*/ 8803982 w 12192000"/>
              <a:gd name="connsiteY138" fmla="*/ 4123882 h 4573810"/>
              <a:gd name="connsiteX139" fmla="*/ 8619640 w 12192000"/>
              <a:gd name="connsiteY139" fmla="*/ 4123882 h 4573810"/>
              <a:gd name="connsiteX140" fmla="*/ 8619640 w 12192000"/>
              <a:gd name="connsiteY140" fmla="*/ 4125845 h 4573810"/>
              <a:gd name="connsiteX141" fmla="*/ 8612970 w 12192000"/>
              <a:gd name="connsiteY141" fmla="*/ 4125845 h 4573810"/>
              <a:gd name="connsiteX142" fmla="*/ 8612970 w 12192000"/>
              <a:gd name="connsiteY142" fmla="*/ 3999908 h 4573810"/>
              <a:gd name="connsiteX143" fmla="*/ 8399882 w 12192000"/>
              <a:gd name="connsiteY143" fmla="*/ 3999908 h 4573810"/>
              <a:gd name="connsiteX144" fmla="*/ 8399882 w 12192000"/>
              <a:gd name="connsiteY144" fmla="*/ 3245090 h 4573810"/>
              <a:gd name="connsiteX145" fmla="*/ 7597882 w 12192000"/>
              <a:gd name="connsiteY145" fmla="*/ 3245090 h 4573810"/>
              <a:gd name="connsiteX146" fmla="*/ 7597882 w 12192000"/>
              <a:gd name="connsiteY146" fmla="*/ 3488488 h 4573810"/>
              <a:gd name="connsiteX147" fmla="*/ 7047026 w 12192000"/>
              <a:gd name="connsiteY147" fmla="*/ 3488488 h 4573810"/>
              <a:gd name="connsiteX148" fmla="*/ 7047026 w 12192000"/>
              <a:gd name="connsiteY148" fmla="*/ 4011726 h 4573810"/>
              <a:gd name="connsiteX149" fmla="*/ 5900466 w 12192000"/>
              <a:gd name="connsiteY149" fmla="*/ 4011726 h 4573810"/>
              <a:gd name="connsiteX150" fmla="*/ 5900466 w 12192000"/>
              <a:gd name="connsiteY150" fmla="*/ 3678156 h 4573810"/>
              <a:gd name="connsiteX151" fmla="*/ 5213533 w 12192000"/>
              <a:gd name="connsiteY151" fmla="*/ 3678156 h 4573810"/>
              <a:gd name="connsiteX152" fmla="*/ 5213533 w 12192000"/>
              <a:gd name="connsiteY152" fmla="*/ 4011726 h 4573810"/>
              <a:gd name="connsiteX153" fmla="*/ 4789635 w 12192000"/>
              <a:gd name="connsiteY153" fmla="*/ 4011726 h 4573810"/>
              <a:gd name="connsiteX154" fmla="*/ 4789635 w 12192000"/>
              <a:gd name="connsiteY154" fmla="*/ 4325902 h 4573810"/>
              <a:gd name="connsiteX155" fmla="*/ 4142962 w 12192000"/>
              <a:gd name="connsiteY155" fmla="*/ 4325902 h 4573810"/>
              <a:gd name="connsiteX156" fmla="*/ 4142962 w 12192000"/>
              <a:gd name="connsiteY156" fmla="*/ 4573810 h 4573810"/>
              <a:gd name="connsiteX157" fmla="*/ 3683178 w 12192000"/>
              <a:gd name="connsiteY157" fmla="*/ 4573810 h 4573810"/>
              <a:gd name="connsiteX158" fmla="*/ 3683178 w 12192000"/>
              <a:gd name="connsiteY158" fmla="*/ 4421944 h 4573810"/>
              <a:gd name="connsiteX159" fmla="*/ 3574880 w 12192000"/>
              <a:gd name="connsiteY159" fmla="*/ 4421944 h 4573810"/>
              <a:gd name="connsiteX160" fmla="*/ 3574880 w 12192000"/>
              <a:gd name="connsiteY160" fmla="*/ 3986746 h 4573810"/>
              <a:gd name="connsiteX161" fmla="*/ 3893510 w 12192000"/>
              <a:gd name="connsiteY161" fmla="*/ 3986746 h 4573810"/>
              <a:gd name="connsiteX162" fmla="*/ 3893510 w 12192000"/>
              <a:gd name="connsiteY162" fmla="*/ 3981008 h 4573810"/>
              <a:gd name="connsiteX163" fmla="*/ 4665526 w 12192000"/>
              <a:gd name="connsiteY163" fmla="*/ 3981008 h 4573810"/>
              <a:gd name="connsiteX164" fmla="*/ 4665526 w 12192000"/>
              <a:gd name="connsiteY164" fmla="*/ 3242440 h 4573810"/>
              <a:gd name="connsiteX165" fmla="*/ 3880212 w 12192000"/>
              <a:gd name="connsiteY165" fmla="*/ 3242440 h 4573810"/>
              <a:gd name="connsiteX166" fmla="*/ 3880212 w 12192000"/>
              <a:gd name="connsiteY166" fmla="*/ 3597660 h 4573810"/>
              <a:gd name="connsiteX167" fmla="*/ 3573778 w 12192000"/>
              <a:gd name="connsiteY167" fmla="*/ 3597660 h 4573810"/>
              <a:gd name="connsiteX168" fmla="*/ 3573778 w 12192000"/>
              <a:gd name="connsiteY168" fmla="*/ 3981008 h 4573810"/>
              <a:gd name="connsiteX169" fmla="*/ 3563966 w 12192000"/>
              <a:gd name="connsiteY169" fmla="*/ 3981008 h 4573810"/>
              <a:gd name="connsiteX170" fmla="*/ 3563966 w 12192000"/>
              <a:gd name="connsiteY170" fmla="*/ 3809452 h 4573810"/>
              <a:gd name="connsiteX171" fmla="*/ 3173218 w 12192000"/>
              <a:gd name="connsiteY171" fmla="*/ 3809452 h 4573810"/>
              <a:gd name="connsiteX172" fmla="*/ 3173218 w 12192000"/>
              <a:gd name="connsiteY172" fmla="*/ 3981008 h 4573810"/>
              <a:gd name="connsiteX173" fmla="*/ 1774104 w 12192000"/>
              <a:gd name="connsiteY173" fmla="*/ 3981008 h 4573810"/>
              <a:gd name="connsiteX174" fmla="*/ 1774104 w 12192000"/>
              <a:gd name="connsiteY174" fmla="*/ 3633772 h 4573810"/>
              <a:gd name="connsiteX175" fmla="*/ 1265190 w 12192000"/>
              <a:gd name="connsiteY175" fmla="*/ 3633772 h 4573810"/>
              <a:gd name="connsiteX176" fmla="*/ 1265190 w 12192000"/>
              <a:gd name="connsiteY176" fmla="*/ 3981008 h 4573810"/>
              <a:gd name="connsiteX177" fmla="*/ 1135336 w 12192000"/>
              <a:gd name="connsiteY177" fmla="*/ 3981008 h 4573810"/>
              <a:gd name="connsiteX178" fmla="*/ 1135336 w 12192000"/>
              <a:gd name="connsiteY178" fmla="*/ 3438240 h 4573810"/>
              <a:gd name="connsiteX179" fmla="*/ 759316 w 12192000"/>
              <a:gd name="connsiteY179" fmla="*/ 3438240 h 4573810"/>
              <a:gd name="connsiteX180" fmla="*/ 759316 w 12192000"/>
              <a:gd name="connsiteY180" fmla="*/ 3438242 h 4573810"/>
              <a:gd name="connsiteX181" fmla="*/ 258042 w 12192000"/>
              <a:gd name="connsiteY181" fmla="*/ 3438242 h 4573810"/>
              <a:gd name="connsiteX182" fmla="*/ 258042 w 12192000"/>
              <a:gd name="connsiteY182" fmla="*/ 3804904 h 4573810"/>
              <a:gd name="connsiteX183" fmla="*/ 759316 w 12192000"/>
              <a:gd name="connsiteY183" fmla="*/ 3804904 h 4573810"/>
              <a:gd name="connsiteX184" fmla="*/ 759316 w 12192000"/>
              <a:gd name="connsiteY184" fmla="*/ 4022358 h 4573810"/>
              <a:gd name="connsiteX185" fmla="*/ 760336 w 12192000"/>
              <a:gd name="connsiteY185" fmla="*/ 4022358 h 4573810"/>
              <a:gd name="connsiteX186" fmla="*/ 760336 w 12192000"/>
              <a:gd name="connsiteY186" fmla="*/ 4421944 h 4573810"/>
              <a:gd name="connsiteX187" fmla="*/ 759314 w 12192000"/>
              <a:gd name="connsiteY187" fmla="*/ 4421944 h 4573810"/>
              <a:gd name="connsiteX188" fmla="*/ 759314 w 12192000"/>
              <a:gd name="connsiteY188" fmla="*/ 4296686 h 4573810"/>
              <a:gd name="connsiteX189" fmla="*/ 235672 w 12192000"/>
              <a:gd name="connsiteY189" fmla="*/ 4296686 h 4573810"/>
              <a:gd name="connsiteX190" fmla="*/ 235672 w 12192000"/>
              <a:gd name="connsiteY190" fmla="*/ 4022358 h 4573810"/>
              <a:gd name="connsiteX191" fmla="*/ 147824 w 12192000"/>
              <a:gd name="connsiteY191" fmla="*/ 4022358 h 4573810"/>
              <a:gd name="connsiteX192" fmla="*/ 147824 w 12192000"/>
              <a:gd name="connsiteY192" fmla="*/ 3629850 h 4573810"/>
              <a:gd name="connsiteX193" fmla="*/ 0 w 12192000"/>
              <a:gd name="connsiteY193" fmla="*/ 3629850 h 4573810"/>
              <a:gd name="connsiteX194" fmla="*/ 0 w 12192000"/>
              <a:gd name="connsiteY194" fmla="*/ 3474004 h 4573810"/>
              <a:gd name="connsiteX195" fmla="*/ 147824 w 12192000"/>
              <a:gd name="connsiteY195" fmla="*/ 3474004 h 4573810"/>
              <a:gd name="connsiteX196" fmla="*/ 147824 w 12192000"/>
              <a:gd name="connsiteY196" fmla="*/ 3220694 h 4573810"/>
              <a:gd name="connsiteX197" fmla="*/ 0 w 12192000"/>
              <a:gd name="connsiteY197" fmla="*/ 3220694 h 4573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2192000" h="4573810">
                <a:moveTo>
                  <a:pt x="2386972" y="3590586"/>
                </a:moveTo>
                <a:lnTo>
                  <a:pt x="2386972" y="3819860"/>
                </a:lnTo>
                <a:lnTo>
                  <a:pt x="2616246" y="3819860"/>
                </a:lnTo>
                <a:lnTo>
                  <a:pt x="2616246" y="3590586"/>
                </a:lnTo>
                <a:close/>
                <a:moveTo>
                  <a:pt x="2004930" y="3582494"/>
                </a:moveTo>
                <a:lnTo>
                  <a:pt x="2004930" y="3773506"/>
                </a:lnTo>
                <a:lnTo>
                  <a:pt x="2195942" y="3773506"/>
                </a:lnTo>
                <a:lnTo>
                  <a:pt x="2195942" y="3582494"/>
                </a:lnTo>
                <a:close/>
                <a:moveTo>
                  <a:pt x="2776652" y="3502960"/>
                </a:moveTo>
                <a:lnTo>
                  <a:pt x="2776652" y="3969530"/>
                </a:lnTo>
                <a:lnTo>
                  <a:pt x="3167400" y="3969530"/>
                </a:lnTo>
                <a:lnTo>
                  <a:pt x="3167400" y="3502960"/>
                </a:lnTo>
                <a:close/>
                <a:moveTo>
                  <a:pt x="11286748" y="3495976"/>
                </a:moveTo>
                <a:lnTo>
                  <a:pt x="11286748" y="3818688"/>
                </a:lnTo>
                <a:lnTo>
                  <a:pt x="11609460" y="3818688"/>
                </a:lnTo>
                <a:lnTo>
                  <a:pt x="11609460" y="3495976"/>
                </a:lnTo>
                <a:close/>
                <a:moveTo>
                  <a:pt x="8430666" y="3313952"/>
                </a:moveTo>
                <a:lnTo>
                  <a:pt x="8430666" y="3678000"/>
                </a:lnTo>
                <a:lnTo>
                  <a:pt x="8794714" y="3678000"/>
                </a:lnTo>
                <a:lnTo>
                  <a:pt x="8794714" y="3313952"/>
                </a:lnTo>
                <a:close/>
                <a:moveTo>
                  <a:pt x="1295980" y="3290038"/>
                </a:moveTo>
                <a:lnTo>
                  <a:pt x="1295980" y="3481050"/>
                </a:lnTo>
                <a:lnTo>
                  <a:pt x="1486992" y="3481050"/>
                </a:lnTo>
                <a:lnTo>
                  <a:pt x="1486992" y="3290038"/>
                </a:lnTo>
                <a:close/>
                <a:moveTo>
                  <a:pt x="10566702" y="3267874"/>
                </a:moveTo>
                <a:lnTo>
                  <a:pt x="10566702" y="3590586"/>
                </a:lnTo>
                <a:lnTo>
                  <a:pt x="10889414" y="3590586"/>
                </a:lnTo>
                <a:lnTo>
                  <a:pt x="10889414" y="3267874"/>
                </a:lnTo>
                <a:close/>
                <a:moveTo>
                  <a:pt x="9037142" y="3233614"/>
                </a:moveTo>
                <a:lnTo>
                  <a:pt x="9037142" y="3728486"/>
                </a:lnTo>
                <a:lnTo>
                  <a:pt x="9532014" y="3728486"/>
                </a:lnTo>
                <a:lnTo>
                  <a:pt x="9532014" y="3233614"/>
                </a:lnTo>
                <a:close/>
                <a:moveTo>
                  <a:pt x="5658626" y="3140454"/>
                </a:moveTo>
                <a:lnTo>
                  <a:pt x="5658626" y="3597662"/>
                </a:lnTo>
                <a:lnTo>
                  <a:pt x="6115834" y="3597662"/>
                </a:lnTo>
                <a:lnTo>
                  <a:pt x="6115834" y="3140454"/>
                </a:lnTo>
                <a:close/>
                <a:moveTo>
                  <a:pt x="5038380" y="3121620"/>
                </a:moveTo>
                <a:lnTo>
                  <a:pt x="5038380" y="3486332"/>
                </a:lnTo>
                <a:lnTo>
                  <a:pt x="5403092" y="3486332"/>
                </a:lnTo>
                <a:lnTo>
                  <a:pt x="5403092" y="3121620"/>
                </a:lnTo>
                <a:close/>
                <a:moveTo>
                  <a:pt x="543622" y="3049438"/>
                </a:moveTo>
                <a:lnTo>
                  <a:pt x="543622" y="3240450"/>
                </a:lnTo>
                <a:lnTo>
                  <a:pt x="734634" y="3240450"/>
                </a:lnTo>
                <a:lnTo>
                  <a:pt x="734634" y="3049438"/>
                </a:lnTo>
                <a:close/>
                <a:moveTo>
                  <a:pt x="2206794" y="3049116"/>
                </a:moveTo>
                <a:lnTo>
                  <a:pt x="2206794" y="3348250"/>
                </a:lnTo>
                <a:lnTo>
                  <a:pt x="2505928" y="3348250"/>
                </a:lnTo>
                <a:lnTo>
                  <a:pt x="2505928" y="3049116"/>
                </a:lnTo>
                <a:close/>
                <a:moveTo>
                  <a:pt x="6306844" y="3029122"/>
                </a:moveTo>
                <a:lnTo>
                  <a:pt x="6306844" y="3745004"/>
                </a:lnTo>
                <a:lnTo>
                  <a:pt x="7022726" y="3745004"/>
                </a:lnTo>
                <a:lnTo>
                  <a:pt x="7022726" y="3029122"/>
                </a:lnTo>
                <a:close/>
                <a:moveTo>
                  <a:pt x="2919474" y="2967944"/>
                </a:moveTo>
                <a:lnTo>
                  <a:pt x="2919474" y="3267078"/>
                </a:lnTo>
                <a:lnTo>
                  <a:pt x="3218608" y="3267078"/>
                </a:lnTo>
                <a:lnTo>
                  <a:pt x="3218608" y="2967944"/>
                </a:lnTo>
                <a:close/>
                <a:moveTo>
                  <a:pt x="8301864" y="2963090"/>
                </a:moveTo>
                <a:lnTo>
                  <a:pt x="8301864" y="3220694"/>
                </a:lnTo>
                <a:lnTo>
                  <a:pt x="8559468" y="3220694"/>
                </a:lnTo>
                <a:lnTo>
                  <a:pt x="8559468" y="2963090"/>
                </a:lnTo>
                <a:close/>
                <a:moveTo>
                  <a:pt x="1605022" y="2963090"/>
                </a:moveTo>
                <a:lnTo>
                  <a:pt x="1605022" y="3361300"/>
                </a:lnTo>
                <a:lnTo>
                  <a:pt x="2003232" y="3361300"/>
                </a:lnTo>
                <a:lnTo>
                  <a:pt x="2003232" y="2963090"/>
                </a:lnTo>
                <a:close/>
                <a:moveTo>
                  <a:pt x="219548" y="2949442"/>
                </a:moveTo>
                <a:lnTo>
                  <a:pt x="219548" y="3140454"/>
                </a:lnTo>
                <a:lnTo>
                  <a:pt x="410560" y="3140454"/>
                </a:lnTo>
                <a:lnTo>
                  <a:pt x="410560" y="2949442"/>
                </a:lnTo>
                <a:close/>
                <a:moveTo>
                  <a:pt x="9612310" y="2867394"/>
                </a:moveTo>
                <a:lnTo>
                  <a:pt x="9612310" y="3329942"/>
                </a:lnTo>
                <a:lnTo>
                  <a:pt x="10074858" y="3329942"/>
                </a:lnTo>
                <a:lnTo>
                  <a:pt x="10074858" y="2867394"/>
                </a:lnTo>
                <a:close/>
                <a:moveTo>
                  <a:pt x="7325978" y="2812820"/>
                </a:moveTo>
                <a:lnTo>
                  <a:pt x="7325978" y="3084736"/>
                </a:lnTo>
                <a:lnTo>
                  <a:pt x="7597894" y="3084736"/>
                </a:lnTo>
                <a:lnTo>
                  <a:pt x="7597894" y="2812820"/>
                </a:lnTo>
                <a:close/>
                <a:moveTo>
                  <a:pt x="3963832" y="2777706"/>
                </a:moveTo>
                <a:lnTo>
                  <a:pt x="3963832" y="2948778"/>
                </a:lnTo>
                <a:lnTo>
                  <a:pt x="4134904" y="2948778"/>
                </a:lnTo>
                <a:lnTo>
                  <a:pt x="4134904" y="2777706"/>
                </a:lnTo>
                <a:close/>
                <a:moveTo>
                  <a:pt x="2460368" y="2777706"/>
                </a:moveTo>
                <a:lnTo>
                  <a:pt x="2460368" y="2955154"/>
                </a:lnTo>
                <a:lnTo>
                  <a:pt x="2637816" y="2955154"/>
                </a:lnTo>
                <a:lnTo>
                  <a:pt x="2637816" y="2777706"/>
                </a:lnTo>
                <a:close/>
                <a:moveTo>
                  <a:pt x="1183352" y="2688274"/>
                </a:moveTo>
                <a:lnTo>
                  <a:pt x="1183352" y="3051022"/>
                </a:lnTo>
                <a:lnTo>
                  <a:pt x="1546100" y="3051022"/>
                </a:lnTo>
                <a:lnTo>
                  <a:pt x="1546100" y="2688274"/>
                </a:lnTo>
                <a:close/>
                <a:moveTo>
                  <a:pt x="5403092" y="2280330"/>
                </a:moveTo>
                <a:lnTo>
                  <a:pt x="5403092" y="2777706"/>
                </a:lnTo>
                <a:lnTo>
                  <a:pt x="5900468" y="2777706"/>
                </a:lnTo>
                <a:lnTo>
                  <a:pt x="5900468" y="2280330"/>
                </a:lnTo>
                <a:close/>
                <a:moveTo>
                  <a:pt x="6584380" y="2164306"/>
                </a:moveTo>
                <a:lnTo>
                  <a:pt x="6584380" y="2661682"/>
                </a:lnTo>
                <a:lnTo>
                  <a:pt x="7081756" y="2661682"/>
                </a:lnTo>
                <a:lnTo>
                  <a:pt x="7081756" y="2164306"/>
                </a:lnTo>
                <a:close/>
                <a:moveTo>
                  <a:pt x="4428742" y="2164306"/>
                </a:moveTo>
                <a:lnTo>
                  <a:pt x="4428742" y="2777706"/>
                </a:lnTo>
                <a:lnTo>
                  <a:pt x="5042142" y="2777706"/>
                </a:lnTo>
                <a:lnTo>
                  <a:pt x="5042142" y="2164306"/>
                </a:lnTo>
                <a:close/>
                <a:moveTo>
                  <a:pt x="5838397" y="1906702"/>
                </a:moveTo>
                <a:lnTo>
                  <a:pt x="5838397" y="2164306"/>
                </a:lnTo>
                <a:lnTo>
                  <a:pt x="6096001" y="2164306"/>
                </a:lnTo>
                <a:lnTo>
                  <a:pt x="6096001" y="1906702"/>
                </a:lnTo>
                <a:close/>
                <a:moveTo>
                  <a:pt x="3681506" y="1666930"/>
                </a:moveTo>
                <a:lnTo>
                  <a:pt x="3681506" y="2280330"/>
                </a:lnTo>
                <a:lnTo>
                  <a:pt x="4294906" y="2280330"/>
                </a:lnTo>
                <a:lnTo>
                  <a:pt x="4294906" y="1666930"/>
                </a:lnTo>
                <a:close/>
                <a:moveTo>
                  <a:pt x="0" y="0"/>
                </a:moveTo>
                <a:lnTo>
                  <a:pt x="12192000" y="0"/>
                </a:lnTo>
                <a:lnTo>
                  <a:pt x="12192000" y="2963090"/>
                </a:lnTo>
                <a:lnTo>
                  <a:pt x="11846846" y="2963090"/>
                </a:lnTo>
                <a:lnTo>
                  <a:pt x="11846846" y="3396176"/>
                </a:lnTo>
                <a:lnTo>
                  <a:pt x="12192000" y="3396176"/>
                </a:lnTo>
                <a:lnTo>
                  <a:pt x="12192000" y="3699648"/>
                </a:lnTo>
                <a:lnTo>
                  <a:pt x="11909436" y="3699648"/>
                </a:lnTo>
                <a:lnTo>
                  <a:pt x="11909436" y="4122592"/>
                </a:lnTo>
                <a:lnTo>
                  <a:pt x="12192000" y="4122592"/>
                </a:lnTo>
                <a:lnTo>
                  <a:pt x="12192000" y="4517192"/>
                </a:lnTo>
                <a:lnTo>
                  <a:pt x="11791028" y="4517192"/>
                </a:lnTo>
                <a:lnTo>
                  <a:pt x="11791028" y="4042736"/>
                </a:lnTo>
                <a:lnTo>
                  <a:pt x="11339254" y="4042736"/>
                </a:lnTo>
                <a:lnTo>
                  <a:pt x="11339254" y="4517192"/>
                </a:lnTo>
                <a:lnTo>
                  <a:pt x="11198900" y="4517192"/>
                </a:lnTo>
                <a:lnTo>
                  <a:pt x="11198900" y="3809452"/>
                </a:lnTo>
                <a:lnTo>
                  <a:pt x="10074858" y="3809452"/>
                </a:lnTo>
                <a:lnTo>
                  <a:pt x="10074858" y="4550854"/>
                </a:lnTo>
                <a:lnTo>
                  <a:pt x="10076548" y="4550854"/>
                </a:lnTo>
                <a:lnTo>
                  <a:pt x="10076548" y="4572346"/>
                </a:lnTo>
                <a:lnTo>
                  <a:pt x="9936010" y="4572346"/>
                </a:lnTo>
                <a:lnTo>
                  <a:pt x="9936010" y="4022360"/>
                </a:lnTo>
                <a:lnTo>
                  <a:pt x="9323504" y="4022360"/>
                </a:lnTo>
                <a:lnTo>
                  <a:pt x="9323504" y="4573810"/>
                </a:lnTo>
                <a:lnTo>
                  <a:pt x="9283356" y="4573810"/>
                </a:lnTo>
                <a:lnTo>
                  <a:pt x="9283356" y="4143836"/>
                </a:lnTo>
                <a:lnTo>
                  <a:pt x="9081758" y="4143836"/>
                </a:lnTo>
                <a:lnTo>
                  <a:pt x="9081758" y="3981008"/>
                </a:lnTo>
                <a:lnTo>
                  <a:pt x="8803982" y="3981008"/>
                </a:lnTo>
                <a:lnTo>
                  <a:pt x="8803982" y="4123882"/>
                </a:lnTo>
                <a:lnTo>
                  <a:pt x="8619640" y="4123882"/>
                </a:lnTo>
                <a:lnTo>
                  <a:pt x="8619640" y="4125845"/>
                </a:lnTo>
                <a:lnTo>
                  <a:pt x="8612970" y="4125845"/>
                </a:lnTo>
                <a:lnTo>
                  <a:pt x="8612970" y="3999908"/>
                </a:lnTo>
                <a:lnTo>
                  <a:pt x="8399882" y="3999908"/>
                </a:lnTo>
                <a:lnTo>
                  <a:pt x="8399882" y="3245090"/>
                </a:lnTo>
                <a:lnTo>
                  <a:pt x="7597882" y="3245090"/>
                </a:lnTo>
                <a:lnTo>
                  <a:pt x="7597882" y="3488488"/>
                </a:lnTo>
                <a:lnTo>
                  <a:pt x="7047026" y="3488488"/>
                </a:lnTo>
                <a:lnTo>
                  <a:pt x="7047026" y="4011726"/>
                </a:lnTo>
                <a:lnTo>
                  <a:pt x="5900466" y="4011726"/>
                </a:lnTo>
                <a:lnTo>
                  <a:pt x="5900466" y="3678156"/>
                </a:lnTo>
                <a:lnTo>
                  <a:pt x="5213533" y="3678156"/>
                </a:lnTo>
                <a:lnTo>
                  <a:pt x="5213533" y="4011726"/>
                </a:lnTo>
                <a:lnTo>
                  <a:pt x="4789635" y="4011726"/>
                </a:lnTo>
                <a:lnTo>
                  <a:pt x="4789635" y="4325902"/>
                </a:lnTo>
                <a:lnTo>
                  <a:pt x="4142962" y="4325902"/>
                </a:lnTo>
                <a:lnTo>
                  <a:pt x="4142962" y="4573810"/>
                </a:lnTo>
                <a:lnTo>
                  <a:pt x="3683178" y="4573810"/>
                </a:lnTo>
                <a:lnTo>
                  <a:pt x="3683178" y="4421944"/>
                </a:lnTo>
                <a:lnTo>
                  <a:pt x="3574880" y="4421944"/>
                </a:lnTo>
                <a:lnTo>
                  <a:pt x="3574880" y="3986746"/>
                </a:lnTo>
                <a:lnTo>
                  <a:pt x="3893510" y="3986746"/>
                </a:lnTo>
                <a:lnTo>
                  <a:pt x="3893510" y="3981008"/>
                </a:lnTo>
                <a:lnTo>
                  <a:pt x="4665526" y="3981008"/>
                </a:lnTo>
                <a:lnTo>
                  <a:pt x="4665526" y="3242440"/>
                </a:lnTo>
                <a:lnTo>
                  <a:pt x="3880212" y="3242440"/>
                </a:lnTo>
                <a:lnTo>
                  <a:pt x="3880212" y="3597660"/>
                </a:lnTo>
                <a:lnTo>
                  <a:pt x="3573778" y="3597660"/>
                </a:lnTo>
                <a:lnTo>
                  <a:pt x="3573778" y="3981008"/>
                </a:lnTo>
                <a:lnTo>
                  <a:pt x="3563966" y="3981008"/>
                </a:lnTo>
                <a:lnTo>
                  <a:pt x="3563966" y="3809452"/>
                </a:lnTo>
                <a:lnTo>
                  <a:pt x="3173218" y="3809452"/>
                </a:lnTo>
                <a:lnTo>
                  <a:pt x="3173218" y="3981008"/>
                </a:lnTo>
                <a:lnTo>
                  <a:pt x="1774104" y="3981008"/>
                </a:lnTo>
                <a:lnTo>
                  <a:pt x="1774104" y="3633772"/>
                </a:lnTo>
                <a:lnTo>
                  <a:pt x="1265190" y="3633772"/>
                </a:lnTo>
                <a:lnTo>
                  <a:pt x="1265190" y="3981008"/>
                </a:lnTo>
                <a:lnTo>
                  <a:pt x="1135336" y="3981008"/>
                </a:lnTo>
                <a:lnTo>
                  <a:pt x="1135336" y="3438240"/>
                </a:lnTo>
                <a:lnTo>
                  <a:pt x="759316" y="3438240"/>
                </a:lnTo>
                <a:lnTo>
                  <a:pt x="759316" y="3438242"/>
                </a:lnTo>
                <a:lnTo>
                  <a:pt x="258042" y="3438242"/>
                </a:lnTo>
                <a:lnTo>
                  <a:pt x="258042" y="3804904"/>
                </a:lnTo>
                <a:lnTo>
                  <a:pt x="759316" y="3804904"/>
                </a:lnTo>
                <a:lnTo>
                  <a:pt x="759316" y="4022358"/>
                </a:lnTo>
                <a:lnTo>
                  <a:pt x="760336" y="4022358"/>
                </a:lnTo>
                <a:lnTo>
                  <a:pt x="760336" y="4421944"/>
                </a:lnTo>
                <a:lnTo>
                  <a:pt x="759314" y="4421944"/>
                </a:lnTo>
                <a:lnTo>
                  <a:pt x="759314" y="4296686"/>
                </a:lnTo>
                <a:lnTo>
                  <a:pt x="235672" y="4296686"/>
                </a:lnTo>
                <a:lnTo>
                  <a:pt x="235672" y="4022358"/>
                </a:lnTo>
                <a:lnTo>
                  <a:pt x="147824" y="4022358"/>
                </a:lnTo>
                <a:lnTo>
                  <a:pt x="147824" y="3629850"/>
                </a:lnTo>
                <a:lnTo>
                  <a:pt x="0" y="3629850"/>
                </a:lnTo>
                <a:lnTo>
                  <a:pt x="0" y="3474004"/>
                </a:lnTo>
                <a:lnTo>
                  <a:pt x="147824" y="3474004"/>
                </a:lnTo>
                <a:lnTo>
                  <a:pt x="147824" y="3220694"/>
                </a:lnTo>
                <a:lnTo>
                  <a:pt x="0" y="3220694"/>
                </a:lnTo>
                <a:close/>
              </a:path>
            </a:pathLst>
          </a:custGeom>
          <a:solidFill>
            <a:schemeClr val="bg1">
              <a:lumMod val="95000"/>
            </a:schemeClr>
          </a:solidFill>
        </p:spPr>
        <p:txBody>
          <a:bodyPr wrap="square">
            <a:noAutofit/>
          </a:bodyPr>
          <a:lstStyle>
            <a:lvl1pPr>
              <a:defRPr sz="1838"/>
            </a:lvl1pPr>
          </a:lstStyle>
          <a:p>
            <a:endParaRPr lang="en-US"/>
          </a:p>
        </p:txBody>
      </p:sp>
      <p:sp>
        <p:nvSpPr>
          <p:cNvPr id="6" name="Slide Number Placeholder 5"/>
          <p:cNvSpPr>
            <a:spLocks noGrp="1"/>
          </p:cNvSpPr>
          <p:nvPr>
            <p:ph type="sldNum" sz="quarter" idx="12"/>
          </p:nvPr>
        </p:nvSpPr>
        <p:spPr>
          <a:xfrm>
            <a:off x="15311509" y="514364"/>
            <a:ext cx="667143" cy="479227"/>
          </a:xfrm>
          <a:prstGeom prst="rect">
            <a:avLst/>
          </a:prstGeom>
        </p:spPr>
        <p:txBody>
          <a:bodyPr/>
          <a:lstStyle/>
          <a:p>
            <a:pPr defTabSz="1200150"/>
            <a:fld id="{592AEA17-5934-4916-8B33-C24822774422}" type="slidenum">
              <a:rPr lang="en-US" sz="2363" smtClean="0">
                <a:solidFill>
                  <a:prstClr val="black"/>
                </a:solidFill>
              </a:rPr>
              <a:pPr defTabSz="1200150"/>
              <a:t>‹Nº›</a:t>
            </a:fld>
            <a:endParaRPr lang="en-US" sz="2363">
              <a:solidFill>
                <a:prstClr val="black"/>
              </a:solidFill>
            </a:endParaRPr>
          </a:p>
        </p:txBody>
      </p:sp>
    </p:spTree>
    <p:extLst>
      <p:ext uri="{BB962C8B-B14F-4D97-AF65-F5344CB8AC3E}">
        <p14:creationId xmlns:p14="http://schemas.microsoft.com/office/powerpoint/2010/main" val="14578247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xmlns="" id="{3C503101-6EF1-444F-A1E9-8AA80C9F805F}"/>
              </a:ext>
            </a:extLst>
          </p:cNvPr>
          <p:cNvSpPr>
            <a:spLocks noGrp="1"/>
          </p:cNvSpPr>
          <p:nvPr>
            <p:ph type="pic" sz="quarter" idx="13"/>
          </p:nvPr>
        </p:nvSpPr>
        <p:spPr>
          <a:xfrm>
            <a:off x="2062212" y="2274012"/>
            <a:ext cx="4709078" cy="4650936"/>
          </a:xfrm>
          <a:custGeom>
            <a:avLst/>
            <a:gdLst>
              <a:gd name="connsiteX0" fmla="*/ 1771787 w 3543574"/>
              <a:gd name="connsiteY0" fmla="*/ 0 h 3543570"/>
              <a:gd name="connsiteX1" fmla="*/ 3543574 w 3543574"/>
              <a:gd name="connsiteY1" fmla="*/ 1771785 h 3543570"/>
              <a:gd name="connsiteX2" fmla="*/ 1771787 w 3543574"/>
              <a:gd name="connsiteY2" fmla="*/ 3543570 h 3543570"/>
              <a:gd name="connsiteX3" fmla="*/ 0 w 3543574"/>
              <a:gd name="connsiteY3" fmla="*/ 1771785 h 3543570"/>
              <a:gd name="connsiteX4" fmla="*/ 1771787 w 3543574"/>
              <a:gd name="connsiteY4" fmla="*/ 0 h 3543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574" h="3543570">
                <a:moveTo>
                  <a:pt x="1771787" y="0"/>
                </a:moveTo>
                <a:cubicBezTo>
                  <a:pt x="2750318" y="0"/>
                  <a:pt x="3543574" y="793255"/>
                  <a:pt x="3543574" y="1771785"/>
                </a:cubicBezTo>
                <a:cubicBezTo>
                  <a:pt x="3543574" y="2750315"/>
                  <a:pt x="2750318" y="3543570"/>
                  <a:pt x="1771787" y="3543570"/>
                </a:cubicBezTo>
                <a:cubicBezTo>
                  <a:pt x="793256" y="3543570"/>
                  <a:pt x="0" y="2750315"/>
                  <a:pt x="0" y="1771785"/>
                </a:cubicBezTo>
                <a:cubicBezTo>
                  <a:pt x="0" y="793255"/>
                  <a:pt x="793256" y="0"/>
                  <a:pt x="1771787" y="0"/>
                </a:cubicBezTo>
                <a:close/>
              </a:path>
            </a:pathLst>
          </a:custGeom>
          <a:solidFill>
            <a:schemeClr val="bg1">
              <a:lumMod val="95000"/>
            </a:schemeClr>
          </a:solidFill>
        </p:spPr>
        <p:txBody>
          <a:bodyPr wrap="square">
            <a:noAutofit/>
          </a:bodyPr>
          <a:lstStyle>
            <a:lvl1pPr>
              <a:defRPr sz="1575">
                <a:solidFill>
                  <a:schemeClr val="tx1"/>
                </a:solidFill>
              </a:defRPr>
            </a:lvl1pPr>
          </a:lstStyle>
          <a:p>
            <a:endParaRPr lang="en-US"/>
          </a:p>
        </p:txBody>
      </p:sp>
    </p:spTree>
    <p:extLst>
      <p:ext uri="{BB962C8B-B14F-4D97-AF65-F5344CB8AC3E}">
        <p14:creationId xmlns:p14="http://schemas.microsoft.com/office/powerpoint/2010/main" val="10666706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0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4D9E112A-A79D-4B3C-8541-64C5F23B077F}"/>
              </a:ext>
            </a:extLst>
          </p:cNvPr>
          <p:cNvSpPr>
            <a:spLocks noGrp="1"/>
          </p:cNvSpPr>
          <p:nvPr>
            <p:ph type="pic" sz="quarter" idx="13"/>
          </p:nvPr>
        </p:nvSpPr>
        <p:spPr>
          <a:xfrm>
            <a:off x="1057171" y="1556747"/>
            <a:ext cx="6231853" cy="5887631"/>
          </a:xfrm>
          <a:custGeom>
            <a:avLst/>
            <a:gdLst>
              <a:gd name="connsiteX0" fmla="*/ 1693214 w 4689460"/>
              <a:gd name="connsiteY0" fmla="*/ 358 h 4485814"/>
              <a:gd name="connsiteX1" fmla="*/ 4541329 w 4689460"/>
              <a:gd name="connsiteY1" fmla="*/ 1027081 h 4485814"/>
              <a:gd name="connsiteX2" fmla="*/ 1208963 w 4689460"/>
              <a:gd name="connsiteY2" fmla="*/ 4377452 h 4485814"/>
              <a:gd name="connsiteX3" fmla="*/ 338901 w 4689460"/>
              <a:gd name="connsiteY3" fmla="*/ 312084 h 4485814"/>
              <a:gd name="connsiteX4" fmla="*/ 1693214 w 4689460"/>
              <a:gd name="connsiteY4" fmla="*/ 358 h 448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9460" h="4485814">
                <a:moveTo>
                  <a:pt x="1693214" y="358"/>
                </a:moveTo>
                <a:cubicBezTo>
                  <a:pt x="2731518" y="12648"/>
                  <a:pt x="4034295" y="341867"/>
                  <a:pt x="4541329" y="1027081"/>
                </a:cubicBezTo>
                <a:cubicBezTo>
                  <a:pt x="5352585" y="2123424"/>
                  <a:pt x="2632720" y="5086721"/>
                  <a:pt x="1208963" y="4377452"/>
                </a:cubicBezTo>
                <a:cubicBezTo>
                  <a:pt x="-214793" y="3668184"/>
                  <a:pt x="-203918" y="878427"/>
                  <a:pt x="338901" y="312084"/>
                </a:cubicBezTo>
                <a:cubicBezTo>
                  <a:pt x="542458" y="99706"/>
                  <a:pt x="1070231" y="-7015"/>
                  <a:pt x="1693214" y="358"/>
                </a:cubicBezTo>
                <a:close/>
              </a:path>
            </a:pathLst>
          </a:custGeom>
          <a:solidFill>
            <a:schemeClr val="bg1">
              <a:lumMod val="95000"/>
            </a:schemeClr>
          </a:solidFill>
        </p:spPr>
        <p:txBody>
          <a:bodyPr wrap="square">
            <a:noAutofit/>
          </a:bodyPr>
          <a:lstStyle>
            <a:lvl1pPr>
              <a:defRPr sz="1575">
                <a:solidFill>
                  <a:schemeClr val="tx1"/>
                </a:solidFill>
              </a:defRPr>
            </a:lvl1pPr>
          </a:lstStyle>
          <a:p>
            <a:endParaRPr lang="en-US"/>
          </a:p>
        </p:txBody>
      </p:sp>
    </p:spTree>
    <p:extLst>
      <p:ext uri="{BB962C8B-B14F-4D97-AF65-F5344CB8AC3E}">
        <p14:creationId xmlns:p14="http://schemas.microsoft.com/office/powerpoint/2010/main" val="27745194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1_Title Slid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xmlns="" id="{3C214A22-2904-4812-A92F-E1D5E6AE053D}"/>
              </a:ext>
            </a:extLst>
          </p:cNvPr>
          <p:cNvSpPr>
            <a:spLocks noGrp="1"/>
          </p:cNvSpPr>
          <p:nvPr>
            <p:ph type="pic" sz="quarter" idx="13"/>
          </p:nvPr>
        </p:nvSpPr>
        <p:spPr>
          <a:xfrm>
            <a:off x="8837528" y="1217668"/>
            <a:ext cx="6647867" cy="6565789"/>
          </a:xfrm>
          <a:custGeom>
            <a:avLst/>
            <a:gdLst>
              <a:gd name="connsiteX0" fmla="*/ 2501256 w 5002510"/>
              <a:gd name="connsiteY0" fmla="*/ 0 h 5002506"/>
              <a:gd name="connsiteX1" fmla="*/ 5002510 w 5002510"/>
              <a:gd name="connsiteY1" fmla="*/ 2501254 h 5002506"/>
              <a:gd name="connsiteX2" fmla="*/ 2501256 w 5002510"/>
              <a:gd name="connsiteY2" fmla="*/ 5002506 h 5002506"/>
              <a:gd name="connsiteX3" fmla="*/ 0 w 5002510"/>
              <a:gd name="connsiteY3" fmla="*/ 2501254 h 5002506"/>
              <a:gd name="connsiteX4" fmla="*/ 2501256 w 5002510"/>
              <a:gd name="connsiteY4" fmla="*/ 0 h 500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2510" h="5002506">
                <a:moveTo>
                  <a:pt x="2501256" y="0"/>
                </a:moveTo>
                <a:cubicBezTo>
                  <a:pt x="3882660" y="0"/>
                  <a:pt x="5002510" y="1119849"/>
                  <a:pt x="5002510" y="2501254"/>
                </a:cubicBezTo>
                <a:cubicBezTo>
                  <a:pt x="5002510" y="3882657"/>
                  <a:pt x="3882660" y="5002506"/>
                  <a:pt x="2501256" y="5002506"/>
                </a:cubicBezTo>
                <a:cubicBezTo>
                  <a:pt x="1119850" y="5002506"/>
                  <a:pt x="0" y="3882657"/>
                  <a:pt x="0" y="2501254"/>
                </a:cubicBezTo>
                <a:cubicBezTo>
                  <a:pt x="0" y="1119849"/>
                  <a:pt x="1119850" y="0"/>
                  <a:pt x="2501256" y="0"/>
                </a:cubicBezTo>
                <a:close/>
              </a:path>
            </a:pathLst>
          </a:custGeom>
          <a:solidFill>
            <a:schemeClr val="bg1">
              <a:lumMod val="95000"/>
            </a:schemeClr>
          </a:solidFill>
        </p:spPr>
        <p:txBody>
          <a:bodyPr wrap="square">
            <a:noAutofit/>
          </a:bodyPr>
          <a:lstStyle>
            <a:lvl1pPr>
              <a:defRPr sz="1575">
                <a:solidFill>
                  <a:schemeClr val="tx1"/>
                </a:solidFill>
              </a:defRPr>
            </a:lvl1pPr>
          </a:lstStyle>
          <a:p>
            <a:endParaRPr lang="en-US"/>
          </a:p>
        </p:txBody>
      </p:sp>
    </p:spTree>
    <p:extLst>
      <p:ext uri="{BB962C8B-B14F-4D97-AF65-F5344CB8AC3E}">
        <p14:creationId xmlns:p14="http://schemas.microsoft.com/office/powerpoint/2010/main" val="30235040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0" y="0"/>
            <a:ext cx="8050381" cy="9001125"/>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14926559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xmlns="" id="{7D2916C8-870E-4842-831F-7663F13E2AB2}"/>
              </a:ext>
            </a:extLst>
          </p:cNvPr>
          <p:cNvSpPr>
            <a:spLocks noGrp="1"/>
          </p:cNvSpPr>
          <p:nvPr>
            <p:ph type="pic" sz="quarter" idx="14"/>
          </p:nvPr>
        </p:nvSpPr>
        <p:spPr>
          <a:xfrm>
            <a:off x="5083641" y="1129805"/>
            <a:ext cx="2456527" cy="2625774"/>
          </a:xfrm>
          <a:custGeom>
            <a:avLst/>
            <a:gdLst>
              <a:gd name="connsiteX0" fmla="*/ 924267 w 1848533"/>
              <a:gd name="connsiteY0" fmla="*/ 0 h 2000590"/>
              <a:gd name="connsiteX1" fmla="*/ 1130601 w 1848533"/>
              <a:gd name="connsiteY1" fmla="*/ 49283 h 2000590"/>
              <a:gd name="connsiteX2" fmla="*/ 1642114 w 1848533"/>
              <a:gd name="connsiteY2" fmla="*/ 345544 h 2000590"/>
              <a:gd name="connsiteX3" fmla="*/ 1848533 w 1848533"/>
              <a:gd name="connsiteY3" fmla="*/ 703469 h 2000590"/>
              <a:gd name="connsiteX4" fmla="*/ 1848533 w 1848533"/>
              <a:gd name="connsiteY4" fmla="*/ 1297122 h 2000590"/>
              <a:gd name="connsiteX5" fmla="*/ 1642114 w 1848533"/>
              <a:gd name="connsiteY5" fmla="*/ 1655046 h 2000590"/>
              <a:gd name="connsiteX6" fmla="*/ 1130601 w 1848533"/>
              <a:gd name="connsiteY6" fmla="*/ 1951307 h 2000590"/>
              <a:gd name="connsiteX7" fmla="*/ 717933 w 1848533"/>
              <a:gd name="connsiteY7" fmla="*/ 1951307 h 2000590"/>
              <a:gd name="connsiteX8" fmla="*/ 206420 w 1848533"/>
              <a:gd name="connsiteY8" fmla="*/ 1655046 h 2000590"/>
              <a:gd name="connsiteX9" fmla="*/ 0 w 1848533"/>
              <a:gd name="connsiteY9" fmla="*/ 1297122 h 2000590"/>
              <a:gd name="connsiteX10" fmla="*/ 0 w 1848533"/>
              <a:gd name="connsiteY10" fmla="*/ 703469 h 2000590"/>
              <a:gd name="connsiteX11" fmla="*/ 206420 w 1848533"/>
              <a:gd name="connsiteY11" fmla="*/ 345544 h 2000590"/>
              <a:gd name="connsiteX12" fmla="*/ 717933 w 1848533"/>
              <a:gd name="connsiteY12" fmla="*/ 49283 h 2000590"/>
              <a:gd name="connsiteX13" fmla="*/ 924267 w 1848533"/>
              <a:gd name="connsiteY13" fmla="*/ 0 h 200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8533" h="2000590">
                <a:moveTo>
                  <a:pt x="924267" y="0"/>
                </a:moveTo>
                <a:cubicBezTo>
                  <a:pt x="999064" y="0"/>
                  <a:pt x="1073861" y="16428"/>
                  <a:pt x="1130601" y="49283"/>
                </a:cubicBezTo>
                <a:lnTo>
                  <a:pt x="1642114" y="345544"/>
                </a:lnTo>
                <a:cubicBezTo>
                  <a:pt x="1755679" y="411255"/>
                  <a:pt x="1848533" y="572330"/>
                  <a:pt x="1848533" y="703469"/>
                </a:cubicBezTo>
                <a:lnTo>
                  <a:pt x="1848533" y="1297122"/>
                </a:lnTo>
                <a:cubicBezTo>
                  <a:pt x="1848533" y="1428260"/>
                  <a:pt x="1755679" y="1589335"/>
                  <a:pt x="1642114" y="1655046"/>
                </a:cubicBezTo>
                <a:lnTo>
                  <a:pt x="1130601" y="1951307"/>
                </a:lnTo>
                <a:cubicBezTo>
                  <a:pt x="1017121" y="2017018"/>
                  <a:pt x="831412" y="2017018"/>
                  <a:pt x="717933" y="1951307"/>
                </a:cubicBezTo>
                <a:lnTo>
                  <a:pt x="206420" y="1655046"/>
                </a:lnTo>
                <a:cubicBezTo>
                  <a:pt x="92855" y="1589335"/>
                  <a:pt x="0" y="1428260"/>
                  <a:pt x="0" y="1297122"/>
                </a:cubicBezTo>
                <a:lnTo>
                  <a:pt x="0" y="703469"/>
                </a:lnTo>
                <a:cubicBezTo>
                  <a:pt x="0" y="572330"/>
                  <a:pt x="92855" y="411255"/>
                  <a:pt x="206420" y="345544"/>
                </a:cubicBezTo>
                <a:lnTo>
                  <a:pt x="717933" y="49283"/>
                </a:lnTo>
                <a:cubicBezTo>
                  <a:pt x="774673" y="16428"/>
                  <a:pt x="849470" y="0"/>
                  <a:pt x="924267" y="0"/>
                </a:cubicBezTo>
                <a:close/>
              </a:path>
            </a:pathLst>
          </a:custGeom>
          <a:solidFill>
            <a:schemeClr val="bg1">
              <a:lumMod val="95000"/>
            </a:schemeClr>
          </a:solidFill>
        </p:spPr>
        <p:txBody>
          <a:bodyPr wrap="square">
            <a:noAutofit/>
          </a:bodyPr>
          <a:lstStyle>
            <a:lvl1pPr>
              <a:defRPr sz="1575"/>
            </a:lvl1pPr>
          </a:lstStyle>
          <a:p>
            <a:endParaRPr lang="en-US"/>
          </a:p>
        </p:txBody>
      </p:sp>
      <p:sp>
        <p:nvSpPr>
          <p:cNvPr id="20" name="Picture Placeholder 19">
            <a:extLst>
              <a:ext uri="{FF2B5EF4-FFF2-40B4-BE49-F238E27FC236}">
                <a16:creationId xmlns:a16="http://schemas.microsoft.com/office/drawing/2014/main" xmlns="" id="{BF3E7971-6A4A-4E72-A837-692FC768530C}"/>
              </a:ext>
            </a:extLst>
          </p:cNvPr>
          <p:cNvSpPr>
            <a:spLocks noGrp="1"/>
          </p:cNvSpPr>
          <p:nvPr>
            <p:ph type="pic" sz="quarter" idx="15"/>
          </p:nvPr>
        </p:nvSpPr>
        <p:spPr>
          <a:xfrm>
            <a:off x="8634812" y="1112242"/>
            <a:ext cx="2456527" cy="2625774"/>
          </a:xfrm>
          <a:custGeom>
            <a:avLst/>
            <a:gdLst>
              <a:gd name="connsiteX0" fmla="*/ 924267 w 1848533"/>
              <a:gd name="connsiteY0" fmla="*/ 0 h 2000590"/>
              <a:gd name="connsiteX1" fmla="*/ 1130601 w 1848533"/>
              <a:gd name="connsiteY1" fmla="*/ 49283 h 2000590"/>
              <a:gd name="connsiteX2" fmla="*/ 1642114 w 1848533"/>
              <a:gd name="connsiteY2" fmla="*/ 345544 h 2000590"/>
              <a:gd name="connsiteX3" fmla="*/ 1848533 w 1848533"/>
              <a:gd name="connsiteY3" fmla="*/ 703469 h 2000590"/>
              <a:gd name="connsiteX4" fmla="*/ 1848533 w 1848533"/>
              <a:gd name="connsiteY4" fmla="*/ 1297122 h 2000590"/>
              <a:gd name="connsiteX5" fmla="*/ 1642114 w 1848533"/>
              <a:gd name="connsiteY5" fmla="*/ 1655046 h 2000590"/>
              <a:gd name="connsiteX6" fmla="*/ 1130601 w 1848533"/>
              <a:gd name="connsiteY6" fmla="*/ 1951307 h 2000590"/>
              <a:gd name="connsiteX7" fmla="*/ 717933 w 1848533"/>
              <a:gd name="connsiteY7" fmla="*/ 1951307 h 2000590"/>
              <a:gd name="connsiteX8" fmla="*/ 206420 w 1848533"/>
              <a:gd name="connsiteY8" fmla="*/ 1655046 h 2000590"/>
              <a:gd name="connsiteX9" fmla="*/ 0 w 1848533"/>
              <a:gd name="connsiteY9" fmla="*/ 1297122 h 2000590"/>
              <a:gd name="connsiteX10" fmla="*/ 0 w 1848533"/>
              <a:gd name="connsiteY10" fmla="*/ 703469 h 2000590"/>
              <a:gd name="connsiteX11" fmla="*/ 206420 w 1848533"/>
              <a:gd name="connsiteY11" fmla="*/ 345544 h 2000590"/>
              <a:gd name="connsiteX12" fmla="*/ 717933 w 1848533"/>
              <a:gd name="connsiteY12" fmla="*/ 49283 h 2000590"/>
              <a:gd name="connsiteX13" fmla="*/ 924267 w 1848533"/>
              <a:gd name="connsiteY13" fmla="*/ 0 h 200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8533" h="2000590">
                <a:moveTo>
                  <a:pt x="924267" y="0"/>
                </a:moveTo>
                <a:cubicBezTo>
                  <a:pt x="999064" y="0"/>
                  <a:pt x="1073861" y="16428"/>
                  <a:pt x="1130601" y="49283"/>
                </a:cubicBezTo>
                <a:lnTo>
                  <a:pt x="1642114" y="345544"/>
                </a:lnTo>
                <a:cubicBezTo>
                  <a:pt x="1755679" y="411255"/>
                  <a:pt x="1848533" y="572330"/>
                  <a:pt x="1848533" y="703469"/>
                </a:cubicBezTo>
                <a:lnTo>
                  <a:pt x="1848533" y="1297122"/>
                </a:lnTo>
                <a:cubicBezTo>
                  <a:pt x="1848533" y="1428260"/>
                  <a:pt x="1755679" y="1589335"/>
                  <a:pt x="1642114" y="1655046"/>
                </a:cubicBezTo>
                <a:lnTo>
                  <a:pt x="1130601" y="1951307"/>
                </a:lnTo>
                <a:cubicBezTo>
                  <a:pt x="1017121" y="2017018"/>
                  <a:pt x="831412" y="2017018"/>
                  <a:pt x="717933" y="1951307"/>
                </a:cubicBezTo>
                <a:lnTo>
                  <a:pt x="206420" y="1655046"/>
                </a:lnTo>
                <a:cubicBezTo>
                  <a:pt x="92855" y="1589335"/>
                  <a:pt x="0" y="1428260"/>
                  <a:pt x="0" y="1297122"/>
                </a:cubicBezTo>
                <a:lnTo>
                  <a:pt x="0" y="703469"/>
                </a:lnTo>
                <a:cubicBezTo>
                  <a:pt x="0" y="572330"/>
                  <a:pt x="92855" y="411255"/>
                  <a:pt x="206420" y="345544"/>
                </a:cubicBezTo>
                <a:lnTo>
                  <a:pt x="717933" y="49283"/>
                </a:lnTo>
                <a:cubicBezTo>
                  <a:pt x="774673" y="16428"/>
                  <a:pt x="849470" y="0"/>
                  <a:pt x="924267" y="0"/>
                </a:cubicBezTo>
                <a:close/>
              </a:path>
            </a:pathLst>
          </a:custGeom>
          <a:solidFill>
            <a:schemeClr val="bg1">
              <a:lumMod val="95000"/>
            </a:schemeClr>
          </a:solidFill>
        </p:spPr>
        <p:txBody>
          <a:bodyPr wrap="square">
            <a:noAutofit/>
          </a:bodyPr>
          <a:lstStyle>
            <a:lvl1pPr>
              <a:defRPr sz="1575"/>
            </a:lvl1pPr>
          </a:lstStyle>
          <a:p>
            <a:endParaRPr lang="en-US"/>
          </a:p>
        </p:txBody>
      </p:sp>
      <p:sp>
        <p:nvSpPr>
          <p:cNvPr id="21" name="Picture Placeholder 20">
            <a:extLst>
              <a:ext uri="{FF2B5EF4-FFF2-40B4-BE49-F238E27FC236}">
                <a16:creationId xmlns:a16="http://schemas.microsoft.com/office/drawing/2014/main" xmlns="" id="{004E1937-6AC6-4285-B2A5-06EA6DE0F979}"/>
              </a:ext>
            </a:extLst>
          </p:cNvPr>
          <p:cNvSpPr>
            <a:spLocks noGrp="1"/>
          </p:cNvSpPr>
          <p:nvPr>
            <p:ph type="pic" sz="quarter" idx="16"/>
          </p:nvPr>
        </p:nvSpPr>
        <p:spPr>
          <a:xfrm>
            <a:off x="12213037" y="1868512"/>
            <a:ext cx="2456527" cy="2625774"/>
          </a:xfrm>
          <a:custGeom>
            <a:avLst/>
            <a:gdLst>
              <a:gd name="connsiteX0" fmla="*/ 924267 w 1848533"/>
              <a:gd name="connsiteY0" fmla="*/ 0 h 2000590"/>
              <a:gd name="connsiteX1" fmla="*/ 1130600 w 1848533"/>
              <a:gd name="connsiteY1" fmla="*/ 49283 h 2000590"/>
              <a:gd name="connsiteX2" fmla="*/ 1642114 w 1848533"/>
              <a:gd name="connsiteY2" fmla="*/ 345544 h 2000590"/>
              <a:gd name="connsiteX3" fmla="*/ 1848533 w 1848533"/>
              <a:gd name="connsiteY3" fmla="*/ 703469 h 2000590"/>
              <a:gd name="connsiteX4" fmla="*/ 1848533 w 1848533"/>
              <a:gd name="connsiteY4" fmla="*/ 1297122 h 2000590"/>
              <a:gd name="connsiteX5" fmla="*/ 1642114 w 1848533"/>
              <a:gd name="connsiteY5" fmla="*/ 1655046 h 2000590"/>
              <a:gd name="connsiteX6" fmla="*/ 1130600 w 1848533"/>
              <a:gd name="connsiteY6" fmla="*/ 1951307 h 2000590"/>
              <a:gd name="connsiteX7" fmla="*/ 717933 w 1848533"/>
              <a:gd name="connsiteY7" fmla="*/ 1951307 h 2000590"/>
              <a:gd name="connsiteX8" fmla="*/ 206420 w 1848533"/>
              <a:gd name="connsiteY8" fmla="*/ 1655046 h 2000590"/>
              <a:gd name="connsiteX9" fmla="*/ 0 w 1848533"/>
              <a:gd name="connsiteY9" fmla="*/ 1297122 h 2000590"/>
              <a:gd name="connsiteX10" fmla="*/ 0 w 1848533"/>
              <a:gd name="connsiteY10" fmla="*/ 703469 h 2000590"/>
              <a:gd name="connsiteX11" fmla="*/ 206420 w 1848533"/>
              <a:gd name="connsiteY11" fmla="*/ 345544 h 2000590"/>
              <a:gd name="connsiteX12" fmla="*/ 717933 w 1848533"/>
              <a:gd name="connsiteY12" fmla="*/ 49283 h 2000590"/>
              <a:gd name="connsiteX13" fmla="*/ 924267 w 1848533"/>
              <a:gd name="connsiteY13" fmla="*/ 0 h 200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8533" h="2000590">
                <a:moveTo>
                  <a:pt x="924267" y="0"/>
                </a:moveTo>
                <a:cubicBezTo>
                  <a:pt x="999063" y="0"/>
                  <a:pt x="1073860" y="16428"/>
                  <a:pt x="1130600" y="49283"/>
                </a:cubicBezTo>
                <a:lnTo>
                  <a:pt x="1642114" y="345544"/>
                </a:lnTo>
                <a:cubicBezTo>
                  <a:pt x="1755678" y="411255"/>
                  <a:pt x="1848533" y="572330"/>
                  <a:pt x="1848533" y="703469"/>
                </a:cubicBezTo>
                <a:lnTo>
                  <a:pt x="1848533" y="1297122"/>
                </a:lnTo>
                <a:cubicBezTo>
                  <a:pt x="1848533" y="1428260"/>
                  <a:pt x="1755678" y="1589335"/>
                  <a:pt x="1642114" y="1655046"/>
                </a:cubicBezTo>
                <a:lnTo>
                  <a:pt x="1130600" y="1951307"/>
                </a:lnTo>
                <a:cubicBezTo>
                  <a:pt x="1017121" y="2017018"/>
                  <a:pt x="831412" y="2017018"/>
                  <a:pt x="717933" y="1951307"/>
                </a:cubicBezTo>
                <a:lnTo>
                  <a:pt x="206420" y="1655046"/>
                </a:lnTo>
                <a:cubicBezTo>
                  <a:pt x="92855" y="1589335"/>
                  <a:pt x="0" y="1428260"/>
                  <a:pt x="0" y="1297122"/>
                </a:cubicBezTo>
                <a:lnTo>
                  <a:pt x="0" y="703469"/>
                </a:lnTo>
                <a:cubicBezTo>
                  <a:pt x="0" y="572330"/>
                  <a:pt x="92855" y="411255"/>
                  <a:pt x="206420" y="345544"/>
                </a:cubicBezTo>
                <a:lnTo>
                  <a:pt x="717933" y="49283"/>
                </a:lnTo>
                <a:cubicBezTo>
                  <a:pt x="774673" y="16428"/>
                  <a:pt x="849470" y="0"/>
                  <a:pt x="924267" y="0"/>
                </a:cubicBezTo>
                <a:close/>
              </a:path>
            </a:pathLst>
          </a:custGeom>
          <a:solidFill>
            <a:schemeClr val="bg1">
              <a:lumMod val="95000"/>
            </a:schemeClr>
          </a:solidFill>
        </p:spPr>
        <p:txBody>
          <a:bodyPr wrap="square">
            <a:noAutofit/>
          </a:bodyPr>
          <a:lstStyle>
            <a:lvl1pPr>
              <a:defRPr sz="1575"/>
            </a:lvl1pPr>
          </a:lstStyle>
          <a:p>
            <a:endParaRPr lang="en-US"/>
          </a:p>
        </p:txBody>
      </p:sp>
      <p:sp>
        <p:nvSpPr>
          <p:cNvPr id="18" name="Picture Placeholder 17">
            <a:extLst>
              <a:ext uri="{FF2B5EF4-FFF2-40B4-BE49-F238E27FC236}">
                <a16:creationId xmlns:a16="http://schemas.microsoft.com/office/drawing/2014/main" xmlns="" id="{919F8AFA-05D7-4BDF-8EB6-69AB664FDCD2}"/>
              </a:ext>
            </a:extLst>
          </p:cNvPr>
          <p:cNvSpPr>
            <a:spLocks noGrp="1"/>
          </p:cNvSpPr>
          <p:nvPr>
            <p:ph type="pic" sz="quarter" idx="13"/>
          </p:nvPr>
        </p:nvSpPr>
        <p:spPr>
          <a:xfrm>
            <a:off x="1532467" y="1874725"/>
            <a:ext cx="2456527" cy="2625774"/>
          </a:xfrm>
          <a:custGeom>
            <a:avLst/>
            <a:gdLst>
              <a:gd name="connsiteX0" fmla="*/ 924267 w 1848533"/>
              <a:gd name="connsiteY0" fmla="*/ 0 h 2000590"/>
              <a:gd name="connsiteX1" fmla="*/ 1130601 w 1848533"/>
              <a:gd name="connsiteY1" fmla="*/ 49283 h 2000590"/>
              <a:gd name="connsiteX2" fmla="*/ 1642114 w 1848533"/>
              <a:gd name="connsiteY2" fmla="*/ 345544 h 2000590"/>
              <a:gd name="connsiteX3" fmla="*/ 1848533 w 1848533"/>
              <a:gd name="connsiteY3" fmla="*/ 703469 h 2000590"/>
              <a:gd name="connsiteX4" fmla="*/ 1848533 w 1848533"/>
              <a:gd name="connsiteY4" fmla="*/ 1297122 h 2000590"/>
              <a:gd name="connsiteX5" fmla="*/ 1642114 w 1848533"/>
              <a:gd name="connsiteY5" fmla="*/ 1655046 h 2000590"/>
              <a:gd name="connsiteX6" fmla="*/ 1130601 w 1848533"/>
              <a:gd name="connsiteY6" fmla="*/ 1951307 h 2000590"/>
              <a:gd name="connsiteX7" fmla="*/ 717933 w 1848533"/>
              <a:gd name="connsiteY7" fmla="*/ 1951307 h 2000590"/>
              <a:gd name="connsiteX8" fmla="*/ 206420 w 1848533"/>
              <a:gd name="connsiteY8" fmla="*/ 1655046 h 2000590"/>
              <a:gd name="connsiteX9" fmla="*/ 0 w 1848533"/>
              <a:gd name="connsiteY9" fmla="*/ 1297122 h 2000590"/>
              <a:gd name="connsiteX10" fmla="*/ 0 w 1848533"/>
              <a:gd name="connsiteY10" fmla="*/ 703469 h 2000590"/>
              <a:gd name="connsiteX11" fmla="*/ 206420 w 1848533"/>
              <a:gd name="connsiteY11" fmla="*/ 345544 h 2000590"/>
              <a:gd name="connsiteX12" fmla="*/ 717933 w 1848533"/>
              <a:gd name="connsiteY12" fmla="*/ 49283 h 2000590"/>
              <a:gd name="connsiteX13" fmla="*/ 924267 w 1848533"/>
              <a:gd name="connsiteY13" fmla="*/ 0 h 200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8533" h="2000590">
                <a:moveTo>
                  <a:pt x="924267" y="0"/>
                </a:moveTo>
                <a:cubicBezTo>
                  <a:pt x="999064" y="0"/>
                  <a:pt x="1073861" y="16428"/>
                  <a:pt x="1130601" y="49283"/>
                </a:cubicBezTo>
                <a:lnTo>
                  <a:pt x="1642114" y="345544"/>
                </a:lnTo>
                <a:cubicBezTo>
                  <a:pt x="1755679" y="411255"/>
                  <a:pt x="1848533" y="572330"/>
                  <a:pt x="1848533" y="703469"/>
                </a:cubicBezTo>
                <a:lnTo>
                  <a:pt x="1848533" y="1297122"/>
                </a:lnTo>
                <a:cubicBezTo>
                  <a:pt x="1848533" y="1428260"/>
                  <a:pt x="1755679" y="1589335"/>
                  <a:pt x="1642114" y="1655046"/>
                </a:cubicBezTo>
                <a:lnTo>
                  <a:pt x="1130601" y="1951307"/>
                </a:lnTo>
                <a:cubicBezTo>
                  <a:pt x="1017121" y="2017018"/>
                  <a:pt x="831412" y="2017018"/>
                  <a:pt x="717933" y="1951307"/>
                </a:cubicBezTo>
                <a:lnTo>
                  <a:pt x="206420" y="1655046"/>
                </a:lnTo>
                <a:cubicBezTo>
                  <a:pt x="92855" y="1589335"/>
                  <a:pt x="0" y="1428260"/>
                  <a:pt x="0" y="1297122"/>
                </a:cubicBezTo>
                <a:lnTo>
                  <a:pt x="0" y="703469"/>
                </a:lnTo>
                <a:cubicBezTo>
                  <a:pt x="0" y="572330"/>
                  <a:pt x="92855" y="411255"/>
                  <a:pt x="206420" y="345544"/>
                </a:cubicBezTo>
                <a:lnTo>
                  <a:pt x="717933" y="49283"/>
                </a:lnTo>
                <a:cubicBezTo>
                  <a:pt x="774672" y="16428"/>
                  <a:pt x="849469" y="0"/>
                  <a:pt x="924267"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27138675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8101012" y="0"/>
            <a:ext cx="8101013" cy="9001125"/>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22437664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8_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9440350" y="0"/>
            <a:ext cx="6761676" cy="9001125"/>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3133640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0" y="0"/>
            <a:ext cx="16202025" cy="4500563"/>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37854991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10101" y="360462"/>
            <a:ext cx="14581823" cy="1500188"/>
          </a:xfrm>
        </p:spPr>
        <p:txBody>
          <a:bodyPr/>
          <a:lstStyle>
            <a:lvl1pPr>
              <a:defRPr/>
            </a:lvl1pPr>
          </a:lstStyle>
          <a:p>
            <a:r>
              <a:rPr lang="en-US"/>
              <a:t>Click to edit Master title style</a:t>
            </a:r>
            <a:endParaRPr lang="es-CL"/>
          </a:p>
        </p:txBody>
      </p:sp>
      <p:sp>
        <p:nvSpPr>
          <p:cNvPr id="3" name="Text Placeholder 2"/>
          <p:cNvSpPr>
            <a:spLocks noGrp="1"/>
          </p:cNvSpPr>
          <p:nvPr>
            <p:ph type="body" idx="1"/>
          </p:nvPr>
        </p:nvSpPr>
        <p:spPr>
          <a:xfrm>
            <a:off x="810101" y="2014836"/>
            <a:ext cx="7158708" cy="839688"/>
          </a:xfrm>
        </p:spPr>
        <p:txBody>
          <a:bodyPr anchor="b"/>
          <a:lstStyle>
            <a:lvl1pPr marL="0" indent="0">
              <a:buNone/>
              <a:defRPr sz="3800" b="1"/>
            </a:lvl1pPr>
            <a:lvl2pPr marL="720090" indent="0">
              <a:buNone/>
              <a:defRPr sz="3200" b="1"/>
            </a:lvl2pPr>
            <a:lvl3pPr marL="1440180" indent="0">
              <a:buNone/>
              <a:defRPr sz="2800" b="1"/>
            </a:lvl3pPr>
            <a:lvl4pPr marL="2160270" indent="0">
              <a:buNone/>
              <a:defRPr sz="2500" b="1"/>
            </a:lvl4pPr>
            <a:lvl5pPr marL="2880360" indent="0">
              <a:buNone/>
              <a:defRPr sz="2500" b="1"/>
            </a:lvl5pPr>
            <a:lvl6pPr marL="3600450" indent="0">
              <a:buNone/>
              <a:defRPr sz="2500" b="1"/>
            </a:lvl6pPr>
            <a:lvl7pPr marL="4320540" indent="0">
              <a:buNone/>
              <a:defRPr sz="2500" b="1"/>
            </a:lvl7pPr>
            <a:lvl8pPr marL="5040630" indent="0">
              <a:buNone/>
              <a:defRPr sz="2500" b="1"/>
            </a:lvl8pPr>
            <a:lvl9pPr marL="5760720" indent="0">
              <a:buNone/>
              <a:defRPr sz="2500" b="1"/>
            </a:lvl9pPr>
          </a:lstStyle>
          <a:p>
            <a:pPr lvl="0"/>
            <a:r>
              <a:rPr lang="en-US"/>
              <a:t>Click to edit Master text styles</a:t>
            </a:r>
          </a:p>
        </p:txBody>
      </p:sp>
      <p:sp>
        <p:nvSpPr>
          <p:cNvPr id="4" name="Content Placeholder 3"/>
          <p:cNvSpPr>
            <a:spLocks noGrp="1"/>
          </p:cNvSpPr>
          <p:nvPr>
            <p:ph sz="half" idx="2"/>
          </p:nvPr>
        </p:nvSpPr>
        <p:spPr>
          <a:xfrm>
            <a:off x="810101" y="2854523"/>
            <a:ext cx="7158708" cy="5186066"/>
          </a:xfrm>
        </p:spPr>
        <p:txBody>
          <a:bodyPr/>
          <a:lstStyle>
            <a:lvl1pPr>
              <a:defRPr sz="3800"/>
            </a:lvl1pPr>
            <a:lvl2pPr>
              <a:defRPr sz="32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5" name="Text Placeholder 4"/>
          <p:cNvSpPr>
            <a:spLocks noGrp="1"/>
          </p:cNvSpPr>
          <p:nvPr>
            <p:ph type="body" sz="quarter" idx="3"/>
          </p:nvPr>
        </p:nvSpPr>
        <p:spPr>
          <a:xfrm>
            <a:off x="8230405" y="2014836"/>
            <a:ext cx="7161520" cy="839688"/>
          </a:xfrm>
        </p:spPr>
        <p:txBody>
          <a:bodyPr anchor="b"/>
          <a:lstStyle>
            <a:lvl1pPr marL="0" indent="0">
              <a:buNone/>
              <a:defRPr sz="3800" b="1"/>
            </a:lvl1pPr>
            <a:lvl2pPr marL="720090" indent="0">
              <a:buNone/>
              <a:defRPr sz="3200" b="1"/>
            </a:lvl2pPr>
            <a:lvl3pPr marL="1440180" indent="0">
              <a:buNone/>
              <a:defRPr sz="2800" b="1"/>
            </a:lvl3pPr>
            <a:lvl4pPr marL="2160270" indent="0">
              <a:buNone/>
              <a:defRPr sz="2500" b="1"/>
            </a:lvl4pPr>
            <a:lvl5pPr marL="2880360" indent="0">
              <a:buNone/>
              <a:defRPr sz="2500" b="1"/>
            </a:lvl5pPr>
            <a:lvl6pPr marL="3600450" indent="0">
              <a:buNone/>
              <a:defRPr sz="2500" b="1"/>
            </a:lvl6pPr>
            <a:lvl7pPr marL="4320540" indent="0">
              <a:buNone/>
              <a:defRPr sz="2500" b="1"/>
            </a:lvl7pPr>
            <a:lvl8pPr marL="5040630" indent="0">
              <a:buNone/>
              <a:defRPr sz="2500" b="1"/>
            </a:lvl8pPr>
            <a:lvl9pPr marL="5760720" indent="0">
              <a:buNone/>
              <a:defRPr sz="2500" b="1"/>
            </a:lvl9pPr>
          </a:lstStyle>
          <a:p>
            <a:pPr lvl="0"/>
            <a:r>
              <a:rPr lang="en-US"/>
              <a:t>Click to edit Master text styles</a:t>
            </a:r>
          </a:p>
        </p:txBody>
      </p:sp>
      <p:sp>
        <p:nvSpPr>
          <p:cNvPr id="6" name="Content Placeholder 5"/>
          <p:cNvSpPr>
            <a:spLocks noGrp="1"/>
          </p:cNvSpPr>
          <p:nvPr>
            <p:ph sz="quarter" idx="4"/>
          </p:nvPr>
        </p:nvSpPr>
        <p:spPr>
          <a:xfrm>
            <a:off x="8230405" y="2854523"/>
            <a:ext cx="7161520" cy="5186066"/>
          </a:xfrm>
        </p:spPr>
        <p:txBody>
          <a:bodyPr/>
          <a:lstStyle>
            <a:lvl1pPr>
              <a:defRPr sz="3800"/>
            </a:lvl1pPr>
            <a:lvl2pPr>
              <a:defRPr sz="32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7" name="Date Placeholder 6"/>
          <p:cNvSpPr>
            <a:spLocks noGrp="1"/>
          </p:cNvSpPr>
          <p:nvPr>
            <p:ph type="dt" sz="half" idx="10"/>
          </p:nvPr>
        </p:nvSpPr>
        <p:spPr/>
        <p:txBody>
          <a:bodyPr/>
          <a:lstStyle/>
          <a:p>
            <a:fld id="{BF1F7606-8703-4774-82E4-4A2AAF776758}" type="datetimeFigureOut">
              <a:rPr lang="es-CL" smtClean="0"/>
              <a:t>23-01-2025</a:t>
            </a:fld>
            <a:endParaRPr lang="es-CL"/>
          </a:p>
        </p:txBody>
      </p:sp>
      <p:sp>
        <p:nvSpPr>
          <p:cNvPr id="8" name="Footer Placeholder 7"/>
          <p:cNvSpPr>
            <a:spLocks noGrp="1"/>
          </p:cNvSpPr>
          <p:nvPr>
            <p:ph type="ftr" sz="quarter" idx="11"/>
          </p:nvPr>
        </p:nvSpPr>
        <p:spPr/>
        <p:txBody>
          <a:bodyPr/>
          <a:lstStyle/>
          <a:p>
            <a:endParaRPr lang="es-CL"/>
          </a:p>
        </p:txBody>
      </p:sp>
      <p:sp>
        <p:nvSpPr>
          <p:cNvPr id="9" name="Slide Number Placeholder 8"/>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16277246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11">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953188DC-3A67-40B2-849A-612769CB3074}"/>
              </a:ext>
            </a:extLst>
          </p:cNvPr>
          <p:cNvSpPr>
            <a:spLocks noGrp="1"/>
          </p:cNvSpPr>
          <p:nvPr>
            <p:ph type="pic" sz="quarter" idx="20"/>
          </p:nvPr>
        </p:nvSpPr>
        <p:spPr>
          <a:xfrm>
            <a:off x="0" y="4500562"/>
            <a:ext cx="16202025" cy="4500563"/>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22305860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1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xmlns="" id="{74A0A405-BD37-49C7-99A5-8F0873F70EB9}"/>
              </a:ext>
            </a:extLst>
          </p:cNvPr>
          <p:cNvSpPr>
            <a:spLocks noGrp="1"/>
          </p:cNvSpPr>
          <p:nvPr>
            <p:ph type="pic" sz="quarter" idx="20"/>
          </p:nvPr>
        </p:nvSpPr>
        <p:spPr>
          <a:xfrm>
            <a:off x="8101014" y="1738980"/>
            <a:ext cx="6393232" cy="5523165"/>
          </a:xfrm>
          <a:custGeom>
            <a:avLst/>
            <a:gdLst>
              <a:gd name="connsiteX0" fmla="*/ 0 w 4810898"/>
              <a:gd name="connsiteY0" fmla="*/ 0 h 4208126"/>
              <a:gd name="connsiteX1" fmla="*/ 4810898 w 4810898"/>
              <a:gd name="connsiteY1" fmla="*/ 0 h 4208126"/>
              <a:gd name="connsiteX2" fmla="*/ 4810898 w 4810898"/>
              <a:gd name="connsiteY2" fmla="*/ 4208126 h 4208126"/>
              <a:gd name="connsiteX3" fmla="*/ 0 w 4810898"/>
              <a:gd name="connsiteY3" fmla="*/ 4208126 h 4208126"/>
            </a:gdLst>
            <a:ahLst/>
            <a:cxnLst>
              <a:cxn ang="0">
                <a:pos x="connsiteX0" y="connsiteY0"/>
              </a:cxn>
              <a:cxn ang="0">
                <a:pos x="connsiteX1" y="connsiteY1"/>
              </a:cxn>
              <a:cxn ang="0">
                <a:pos x="connsiteX2" y="connsiteY2"/>
              </a:cxn>
              <a:cxn ang="0">
                <a:pos x="connsiteX3" y="connsiteY3"/>
              </a:cxn>
            </a:cxnLst>
            <a:rect l="l" t="t" r="r" b="b"/>
            <a:pathLst>
              <a:path w="4810898" h="4208126">
                <a:moveTo>
                  <a:pt x="0" y="0"/>
                </a:moveTo>
                <a:lnTo>
                  <a:pt x="4810898" y="0"/>
                </a:lnTo>
                <a:lnTo>
                  <a:pt x="4810898" y="4208126"/>
                </a:lnTo>
                <a:lnTo>
                  <a:pt x="0" y="4208126"/>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25949087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1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ACB96620-7436-41A8-BA8C-0A311601555A}"/>
              </a:ext>
            </a:extLst>
          </p:cNvPr>
          <p:cNvSpPr>
            <a:spLocks noGrp="1"/>
          </p:cNvSpPr>
          <p:nvPr>
            <p:ph type="pic" sz="quarter" idx="20"/>
          </p:nvPr>
        </p:nvSpPr>
        <p:spPr>
          <a:xfrm>
            <a:off x="8102452" y="1515923"/>
            <a:ext cx="6842404" cy="5926927"/>
          </a:xfrm>
          <a:custGeom>
            <a:avLst/>
            <a:gdLst>
              <a:gd name="connsiteX0" fmla="*/ 1537956 w 5148899"/>
              <a:gd name="connsiteY0" fmla="*/ 0 h 4515754"/>
              <a:gd name="connsiteX1" fmla="*/ 5148899 w 5148899"/>
              <a:gd name="connsiteY1" fmla="*/ 0 h 4515754"/>
              <a:gd name="connsiteX2" fmla="*/ 5148899 w 5148899"/>
              <a:gd name="connsiteY2" fmla="*/ 2989125 h 4515754"/>
              <a:gd name="connsiteX3" fmla="*/ 3622270 w 5148899"/>
              <a:gd name="connsiteY3" fmla="*/ 4515754 h 4515754"/>
              <a:gd name="connsiteX4" fmla="*/ 0 w 5148899"/>
              <a:gd name="connsiteY4" fmla="*/ 4515754 h 4515754"/>
              <a:gd name="connsiteX5" fmla="*/ 0 w 5148899"/>
              <a:gd name="connsiteY5" fmla="*/ 1537956 h 451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8899" h="4515754">
                <a:moveTo>
                  <a:pt x="1537956" y="0"/>
                </a:moveTo>
                <a:lnTo>
                  <a:pt x="5148899" y="0"/>
                </a:lnTo>
                <a:lnTo>
                  <a:pt x="5148899" y="2989125"/>
                </a:lnTo>
                <a:lnTo>
                  <a:pt x="3622270" y="4515754"/>
                </a:lnTo>
                <a:lnTo>
                  <a:pt x="0" y="4515754"/>
                </a:lnTo>
                <a:lnTo>
                  <a:pt x="0" y="1537956"/>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42172646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7_1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xmlns="" id="{88C908F3-48E4-4CDA-8568-274A8B51CCDC}"/>
              </a:ext>
            </a:extLst>
          </p:cNvPr>
          <p:cNvSpPr>
            <a:spLocks noGrp="1"/>
          </p:cNvSpPr>
          <p:nvPr>
            <p:ph type="pic" sz="quarter" idx="20"/>
          </p:nvPr>
        </p:nvSpPr>
        <p:spPr>
          <a:xfrm>
            <a:off x="10332419" y="2044007"/>
            <a:ext cx="5400890" cy="6614340"/>
          </a:xfrm>
          <a:custGeom>
            <a:avLst/>
            <a:gdLst>
              <a:gd name="connsiteX0" fmla="*/ 0 w 4064162"/>
              <a:gd name="connsiteY0" fmla="*/ 0 h 5266710"/>
              <a:gd name="connsiteX1" fmla="*/ 4064162 w 4064162"/>
              <a:gd name="connsiteY1" fmla="*/ 0 h 5266710"/>
              <a:gd name="connsiteX2" fmla="*/ 4064162 w 4064162"/>
              <a:gd name="connsiteY2" fmla="*/ 5266710 h 5266710"/>
              <a:gd name="connsiteX3" fmla="*/ 0 w 4064162"/>
              <a:gd name="connsiteY3" fmla="*/ 5266710 h 5266710"/>
            </a:gdLst>
            <a:ahLst/>
            <a:cxnLst>
              <a:cxn ang="0">
                <a:pos x="connsiteX0" y="connsiteY0"/>
              </a:cxn>
              <a:cxn ang="0">
                <a:pos x="connsiteX1" y="connsiteY1"/>
              </a:cxn>
              <a:cxn ang="0">
                <a:pos x="connsiteX2" y="connsiteY2"/>
              </a:cxn>
              <a:cxn ang="0">
                <a:pos x="connsiteX3" y="connsiteY3"/>
              </a:cxn>
            </a:cxnLst>
            <a:rect l="l" t="t" r="r" b="b"/>
            <a:pathLst>
              <a:path w="4064162" h="5266710">
                <a:moveTo>
                  <a:pt x="0" y="0"/>
                </a:moveTo>
                <a:lnTo>
                  <a:pt x="4064162" y="0"/>
                </a:lnTo>
                <a:lnTo>
                  <a:pt x="4064162" y="5266710"/>
                </a:lnTo>
                <a:lnTo>
                  <a:pt x="0" y="526671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355998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NTRA FOTO 0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6200000">
            <a:off x="11384262" y="5368440"/>
            <a:ext cx="7128797" cy="493251"/>
          </a:xfrm>
          <a:prstGeom prst="rect">
            <a:avLst/>
          </a:prstGeom>
        </p:spPr>
      </p:pic>
      <p:sp>
        <p:nvSpPr>
          <p:cNvPr id="4" name="Picture Placeholder 3">
            <a:extLst>
              <a:ext uri="{FF2B5EF4-FFF2-40B4-BE49-F238E27FC236}">
                <a16:creationId xmlns:a16="http://schemas.microsoft.com/office/drawing/2014/main" xmlns="" id="{88C908F3-48E4-4CDA-8568-274A8B51CCDC}"/>
              </a:ext>
            </a:extLst>
          </p:cNvPr>
          <p:cNvSpPr>
            <a:spLocks noGrp="1"/>
          </p:cNvSpPr>
          <p:nvPr>
            <p:ph type="pic" sz="quarter" idx="20"/>
          </p:nvPr>
        </p:nvSpPr>
        <p:spPr>
          <a:xfrm>
            <a:off x="10236753" y="2044006"/>
            <a:ext cx="4465280" cy="6957119"/>
          </a:xfrm>
          <a:custGeom>
            <a:avLst/>
            <a:gdLst>
              <a:gd name="connsiteX0" fmla="*/ 0 w 4064162"/>
              <a:gd name="connsiteY0" fmla="*/ 0 h 5266710"/>
              <a:gd name="connsiteX1" fmla="*/ 4064162 w 4064162"/>
              <a:gd name="connsiteY1" fmla="*/ 0 h 5266710"/>
              <a:gd name="connsiteX2" fmla="*/ 4064162 w 4064162"/>
              <a:gd name="connsiteY2" fmla="*/ 5266710 h 5266710"/>
              <a:gd name="connsiteX3" fmla="*/ 0 w 4064162"/>
              <a:gd name="connsiteY3" fmla="*/ 5266710 h 5266710"/>
            </a:gdLst>
            <a:ahLst/>
            <a:cxnLst>
              <a:cxn ang="0">
                <a:pos x="connsiteX0" y="connsiteY0"/>
              </a:cxn>
              <a:cxn ang="0">
                <a:pos x="connsiteX1" y="connsiteY1"/>
              </a:cxn>
              <a:cxn ang="0">
                <a:pos x="connsiteX2" y="connsiteY2"/>
              </a:cxn>
              <a:cxn ang="0">
                <a:pos x="connsiteX3" y="connsiteY3"/>
              </a:cxn>
            </a:cxnLst>
            <a:rect l="l" t="t" r="r" b="b"/>
            <a:pathLst>
              <a:path w="4064162" h="5266710">
                <a:moveTo>
                  <a:pt x="0" y="0"/>
                </a:moveTo>
                <a:lnTo>
                  <a:pt x="4064162" y="0"/>
                </a:lnTo>
                <a:lnTo>
                  <a:pt x="4064162" y="5266710"/>
                </a:lnTo>
                <a:lnTo>
                  <a:pt x="0" y="526671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4060045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74_Blank">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xmlns="" id="{C71D479E-F1C7-4EB2-BB3E-1B729ECA1981}"/>
              </a:ext>
            </a:extLst>
          </p:cNvPr>
          <p:cNvSpPr>
            <a:spLocks noGrp="1"/>
          </p:cNvSpPr>
          <p:nvPr>
            <p:ph type="pic" sz="quarter" idx="15"/>
          </p:nvPr>
        </p:nvSpPr>
        <p:spPr>
          <a:xfrm rot="256262">
            <a:off x="10525046" y="1383503"/>
            <a:ext cx="2831243" cy="2854647"/>
          </a:xfrm>
          <a:custGeom>
            <a:avLst/>
            <a:gdLst>
              <a:gd name="connsiteX0" fmla="*/ 0 w 2130506"/>
              <a:gd name="connsiteY0" fmla="*/ 147804 h 2174969"/>
              <a:gd name="connsiteX1" fmla="*/ 1979113 w 2130506"/>
              <a:gd name="connsiteY1" fmla="*/ 0 h 2174969"/>
              <a:gd name="connsiteX2" fmla="*/ 2130506 w 2130506"/>
              <a:gd name="connsiteY2" fmla="*/ 2027165 h 2174969"/>
              <a:gd name="connsiteX3" fmla="*/ 151393 w 2130506"/>
              <a:gd name="connsiteY3" fmla="*/ 2174969 h 2174969"/>
            </a:gdLst>
            <a:ahLst/>
            <a:cxnLst>
              <a:cxn ang="0">
                <a:pos x="connsiteX0" y="connsiteY0"/>
              </a:cxn>
              <a:cxn ang="0">
                <a:pos x="connsiteX1" y="connsiteY1"/>
              </a:cxn>
              <a:cxn ang="0">
                <a:pos x="connsiteX2" y="connsiteY2"/>
              </a:cxn>
              <a:cxn ang="0">
                <a:pos x="connsiteX3" y="connsiteY3"/>
              </a:cxn>
            </a:cxnLst>
            <a:rect l="l" t="t" r="r" b="b"/>
            <a:pathLst>
              <a:path w="2130506" h="2174969">
                <a:moveTo>
                  <a:pt x="0" y="147804"/>
                </a:moveTo>
                <a:lnTo>
                  <a:pt x="1979113" y="0"/>
                </a:lnTo>
                <a:lnTo>
                  <a:pt x="2130506" y="2027165"/>
                </a:lnTo>
                <a:lnTo>
                  <a:pt x="151393" y="2174969"/>
                </a:lnTo>
                <a:close/>
              </a:path>
            </a:pathLst>
          </a:custGeom>
          <a:solidFill>
            <a:schemeClr val="bg1">
              <a:lumMod val="85000"/>
            </a:schemeClr>
          </a:solidFill>
        </p:spPr>
        <p:txBody>
          <a:bodyPr wrap="square">
            <a:noAutofit/>
          </a:bodyPr>
          <a:lstStyle>
            <a:lvl1pPr>
              <a:defRPr sz="1575"/>
            </a:lvl1pPr>
          </a:lstStyle>
          <a:p>
            <a:endParaRPr lang="en-US"/>
          </a:p>
        </p:txBody>
      </p:sp>
      <p:sp>
        <p:nvSpPr>
          <p:cNvPr id="13" name="Picture Placeholder 12">
            <a:extLst>
              <a:ext uri="{FF2B5EF4-FFF2-40B4-BE49-F238E27FC236}">
                <a16:creationId xmlns:a16="http://schemas.microsoft.com/office/drawing/2014/main" xmlns="" id="{2E0EFB4D-6CEB-425A-86D8-B9024D1CACCD}"/>
              </a:ext>
            </a:extLst>
          </p:cNvPr>
          <p:cNvSpPr>
            <a:spLocks noGrp="1"/>
          </p:cNvSpPr>
          <p:nvPr>
            <p:ph type="pic" sz="quarter" idx="13"/>
          </p:nvPr>
        </p:nvSpPr>
        <p:spPr>
          <a:xfrm rot="21011460">
            <a:off x="7747482" y="2134338"/>
            <a:ext cx="2767474" cy="2789093"/>
          </a:xfrm>
          <a:custGeom>
            <a:avLst/>
            <a:gdLst>
              <a:gd name="connsiteX0" fmla="*/ 2082520 w 2082520"/>
              <a:gd name="connsiteY0" fmla="*/ 94666 h 2125023"/>
              <a:gd name="connsiteX1" fmla="*/ 1982352 w 2082520"/>
              <a:gd name="connsiteY1" fmla="*/ 2125023 h 2125023"/>
              <a:gd name="connsiteX2" fmla="*/ 0 w 2082520"/>
              <a:gd name="connsiteY2" fmla="*/ 2030357 h 2125023"/>
              <a:gd name="connsiteX3" fmla="*/ 100168 w 2082520"/>
              <a:gd name="connsiteY3" fmla="*/ 0 h 2125023"/>
            </a:gdLst>
            <a:ahLst/>
            <a:cxnLst>
              <a:cxn ang="0">
                <a:pos x="connsiteX0" y="connsiteY0"/>
              </a:cxn>
              <a:cxn ang="0">
                <a:pos x="connsiteX1" y="connsiteY1"/>
              </a:cxn>
              <a:cxn ang="0">
                <a:pos x="connsiteX2" y="connsiteY2"/>
              </a:cxn>
              <a:cxn ang="0">
                <a:pos x="connsiteX3" y="connsiteY3"/>
              </a:cxn>
            </a:cxnLst>
            <a:rect l="l" t="t" r="r" b="b"/>
            <a:pathLst>
              <a:path w="2082520" h="2125023">
                <a:moveTo>
                  <a:pt x="2082520" y="94666"/>
                </a:moveTo>
                <a:lnTo>
                  <a:pt x="1982352" y="2125023"/>
                </a:lnTo>
                <a:lnTo>
                  <a:pt x="0" y="2030357"/>
                </a:lnTo>
                <a:lnTo>
                  <a:pt x="100168" y="0"/>
                </a:lnTo>
                <a:close/>
              </a:path>
            </a:pathLst>
          </a:custGeom>
          <a:solidFill>
            <a:schemeClr val="bg1">
              <a:lumMod val="85000"/>
            </a:schemeClr>
          </a:solidFill>
        </p:spPr>
        <p:txBody>
          <a:bodyPr wrap="square">
            <a:noAutofit/>
          </a:bodyPr>
          <a:lstStyle>
            <a:lvl1pPr>
              <a:defRPr sz="1575"/>
            </a:lvl1pPr>
          </a:lstStyle>
          <a:p>
            <a:endParaRPr lang="en-US"/>
          </a:p>
        </p:txBody>
      </p:sp>
      <p:sp>
        <p:nvSpPr>
          <p:cNvPr id="15" name="Picture Placeholder 14">
            <a:extLst>
              <a:ext uri="{FF2B5EF4-FFF2-40B4-BE49-F238E27FC236}">
                <a16:creationId xmlns:a16="http://schemas.microsoft.com/office/drawing/2014/main" xmlns="" id="{726A8336-1F07-4252-83B0-848C2C141AC1}"/>
              </a:ext>
            </a:extLst>
          </p:cNvPr>
          <p:cNvSpPr>
            <a:spLocks noGrp="1"/>
          </p:cNvSpPr>
          <p:nvPr>
            <p:ph type="pic" sz="quarter" idx="16"/>
          </p:nvPr>
        </p:nvSpPr>
        <p:spPr>
          <a:xfrm rot="256262">
            <a:off x="11806741" y="3509754"/>
            <a:ext cx="3027634" cy="3029129"/>
          </a:xfrm>
          <a:custGeom>
            <a:avLst/>
            <a:gdLst>
              <a:gd name="connsiteX0" fmla="*/ 316553 w 2278290"/>
              <a:gd name="connsiteY0" fmla="*/ 0 h 2307908"/>
              <a:gd name="connsiteX1" fmla="*/ 2278290 w 2278290"/>
              <a:gd name="connsiteY1" fmla="*/ 299749 h 2307908"/>
              <a:gd name="connsiteX2" fmla="*/ 1961736 w 2278290"/>
              <a:gd name="connsiteY2" fmla="*/ 2307908 h 2307908"/>
              <a:gd name="connsiteX3" fmla="*/ 0 w 2278290"/>
              <a:gd name="connsiteY3" fmla="*/ 2008159 h 2307908"/>
            </a:gdLst>
            <a:ahLst/>
            <a:cxnLst>
              <a:cxn ang="0">
                <a:pos x="connsiteX0" y="connsiteY0"/>
              </a:cxn>
              <a:cxn ang="0">
                <a:pos x="connsiteX1" y="connsiteY1"/>
              </a:cxn>
              <a:cxn ang="0">
                <a:pos x="connsiteX2" y="connsiteY2"/>
              </a:cxn>
              <a:cxn ang="0">
                <a:pos x="connsiteX3" y="connsiteY3"/>
              </a:cxn>
            </a:cxnLst>
            <a:rect l="l" t="t" r="r" b="b"/>
            <a:pathLst>
              <a:path w="2278290" h="2307908">
                <a:moveTo>
                  <a:pt x="316553" y="0"/>
                </a:moveTo>
                <a:lnTo>
                  <a:pt x="2278290" y="299749"/>
                </a:lnTo>
                <a:lnTo>
                  <a:pt x="1961736" y="2307908"/>
                </a:lnTo>
                <a:lnTo>
                  <a:pt x="0" y="2008159"/>
                </a:lnTo>
                <a:close/>
              </a:path>
            </a:pathLst>
          </a:custGeom>
          <a:solidFill>
            <a:schemeClr val="bg1">
              <a:lumMod val="95000"/>
            </a:schemeClr>
          </a:solidFill>
        </p:spPr>
        <p:txBody>
          <a:bodyPr wrap="square">
            <a:noAutofit/>
          </a:bodyPr>
          <a:lstStyle>
            <a:lvl1pPr>
              <a:defRPr sz="1575"/>
            </a:lvl1pPr>
          </a:lstStyle>
          <a:p>
            <a:endParaRPr lang="en-US"/>
          </a:p>
        </p:txBody>
      </p:sp>
      <p:sp>
        <p:nvSpPr>
          <p:cNvPr id="16" name="Picture Placeholder 15">
            <a:extLst>
              <a:ext uri="{FF2B5EF4-FFF2-40B4-BE49-F238E27FC236}">
                <a16:creationId xmlns:a16="http://schemas.microsoft.com/office/drawing/2014/main" xmlns="" id="{8B6DACDC-F046-4B40-B44C-A6E2BDBD5FD7}"/>
              </a:ext>
            </a:extLst>
          </p:cNvPr>
          <p:cNvSpPr>
            <a:spLocks noGrp="1"/>
          </p:cNvSpPr>
          <p:nvPr>
            <p:ph type="pic" sz="quarter" idx="14"/>
          </p:nvPr>
        </p:nvSpPr>
        <p:spPr>
          <a:xfrm rot="21301099">
            <a:off x="9227771" y="4505353"/>
            <a:ext cx="2862002" cy="2884179"/>
          </a:xfrm>
          <a:custGeom>
            <a:avLst/>
            <a:gdLst>
              <a:gd name="connsiteX0" fmla="*/ 176524 w 2153652"/>
              <a:gd name="connsiteY0" fmla="*/ 0 h 2197470"/>
              <a:gd name="connsiteX1" fmla="*/ 2153652 w 2153652"/>
              <a:gd name="connsiteY1" fmla="*/ 172339 h 2197470"/>
              <a:gd name="connsiteX2" fmla="*/ 1977128 w 2153652"/>
              <a:gd name="connsiteY2" fmla="*/ 2197470 h 2197470"/>
              <a:gd name="connsiteX3" fmla="*/ 0 w 2153652"/>
              <a:gd name="connsiteY3" fmla="*/ 2025131 h 2197470"/>
            </a:gdLst>
            <a:ahLst/>
            <a:cxnLst>
              <a:cxn ang="0">
                <a:pos x="connsiteX0" y="connsiteY0"/>
              </a:cxn>
              <a:cxn ang="0">
                <a:pos x="connsiteX1" y="connsiteY1"/>
              </a:cxn>
              <a:cxn ang="0">
                <a:pos x="connsiteX2" y="connsiteY2"/>
              </a:cxn>
              <a:cxn ang="0">
                <a:pos x="connsiteX3" y="connsiteY3"/>
              </a:cxn>
            </a:cxnLst>
            <a:rect l="l" t="t" r="r" b="b"/>
            <a:pathLst>
              <a:path w="2153652" h="2197470">
                <a:moveTo>
                  <a:pt x="176524" y="0"/>
                </a:moveTo>
                <a:lnTo>
                  <a:pt x="2153652" y="172339"/>
                </a:lnTo>
                <a:lnTo>
                  <a:pt x="1977128" y="2197470"/>
                </a:lnTo>
                <a:lnTo>
                  <a:pt x="0" y="2025131"/>
                </a:ln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6352160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ortadas">
    <p:spTree>
      <p:nvGrpSpPr>
        <p:cNvPr id="1" name=""/>
        <p:cNvGrpSpPr/>
        <p:nvPr/>
      </p:nvGrpSpPr>
      <p:grpSpPr>
        <a:xfrm>
          <a:off x="0" y="0"/>
          <a:ext cx="0" cy="0"/>
          <a:chOff x="0" y="0"/>
          <a:chExt cx="0" cy="0"/>
        </a:xfrm>
      </p:grpSpPr>
      <p:sp>
        <p:nvSpPr>
          <p:cNvPr id="4" name="Picture Placeholder 10">
            <a:extLst>
              <a:ext uri="{FF2B5EF4-FFF2-40B4-BE49-F238E27FC236}">
                <a16:creationId xmlns:a16="http://schemas.microsoft.com/office/drawing/2014/main" xmlns="" id="{1C086014-6BC4-46BA-9F52-8DDC86AB10D7}"/>
              </a:ext>
            </a:extLst>
          </p:cNvPr>
          <p:cNvSpPr>
            <a:spLocks noGrp="1"/>
          </p:cNvSpPr>
          <p:nvPr>
            <p:ph type="pic" sz="quarter" idx="20"/>
          </p:nvPr>
        </p:nvSpPr>
        <p:spPr>
          <a:xfrm>
            <a:off x="-3" y="0"/>
            <a:ext cx="7084078" cy="9001125"/>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3824837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ADEB6599-A90E-4D81-8C75-6538F85B66F6}"/>
              </a:ext>
            </a:extLst>
          </p:cNvPr>
          <p:cNvSpPr>
            <a:spLocks noGrp="1"/>
          </p:cNvSpPr>
          <p:nvPr>
            <p:ph type="pic" sz="quarter" idx="13"/>
          </p:nvPr>
        </p:nvSpPr>
        <p:spPr>
          <a:xfrm>
            <a:off x="671826" y="1634279"/>
            <a:ext cx="7129759" cy="5732567"/>
          </a:xfrm>
          <a:custGeom>
            <a:avLst/>
            <a:gdLst>
              <a:gd name="connsiteX0" fmla="*/ 1124337 w 5365133"/>
              <a:gd name="connsiteY0" fmla="*/ 4175837 h 4367670"/>
              <a:gd name="connsiteX1" fmla="*/ 1124200 w 5365133"/>
              <a:gd name="connsiteY1" fmla="*/ 4176076 h 4367670"/>
              <a:gd name="connsiteX2" fmla="*/ 1121211 w 5365133"/>
              <a:gd name="connsiteY2" fmla="*/ 4176821 h 4367670"/>
              <a:gd name="connsiteX3" fmla="*/ 1037572 w 5365133"/>
              <a:gd name="connsiteY3" fmla="*/ 4166789 h 4367670"/>
              <a:gd name="connsiteX4" fmla="*/ 1017483 w 5365133"/>
              <a:gd name="connsiteY4" fmla="*/ 4172529 h 4367670"/>
              <a:gd name="connsiteX5" fmla="*/ 1037572 w 5365133"/>
              <a:gd name="connsiteY5" fmla="*/ 4166789 h 4367670"/>
              <a:gd name="connsiteX6" fmla="*/ 1010986 w 5365133"/>
              <a:gd name="connsiteY6" fmla="*/ 4094014 h 4367670"/>
              <a:gd name="connsiteX7" fmla="*/ 1006882 w 5365133"/>
              <a:gd name="connsiteY7" fmla="*/ 4100035 h 4367670"/>
              <a:gd name="connsiteX8" fmla="*/ 989695 w 5365133"/>
              <a:gd name="connsiteY8" fmla="*/ 4105254 h 4367670"/>
              <a:gd name="connsiteX9" fmla="*/ 999409 w 5365133"/>
              <a:gd name="connsiteY9" fmla="*/ 4097053 h 4367670"/>
              <a:gd name="connsiteX10" fmla="*/ 1013607 w 5365133"/>
              <a:gd name="connsiteY10" fmla="*/ 4090169 h 4367670"/>
              <a:gd name="connsiteX11" fmla="*/ 1013607 w 5365133"/>
              <a:gd name="connsiteY11" fmla="*/ 4093325 h 4367670"/>
              <a:gd name="connsiteX12" fmla="*/ 1010986 w 5365133"/>
              <a:gd name="connsiteY12" fmla="*/ 4094014 h 4367670"/>
              <a:gd name="connsiteX13" fmla="*/ 994525 w 5365133"/>
              <a:gd name="connsiteY13" fmla="*/ 4057739 h 4367670"/>
              <a:gd name="connsiteX14" fmla="*/ 1000264 w 5365133"/>
              <a:gd name="connsiteY14" fmla="*/ 4088828 h 4367670"/>
              <a:gd name="connsiteX15" fmla="*/ 977306 w 5365133"/>
              <a:gd name="connsiteY15" fmla="*/ 4095046 h 4367670"/>
              <a:gd name="connsiteX16" fmla="*/ 983046 w 5365133"/>
              <a:gd name="connsiteY16" fmla="*/ 4082611 h 4367670"/>
              <a:gd name="connsiteX17" fmla="*/ 988785 w 5365133"/>
              <a:gd name="connsiteY17" fmla="*/ 4088828 h 4367670"/>
              <a:gd name="connsiteX18" fmla="*/ 994525 w 5365133"/>
              <a:gd name="connsiteY18" fmla="*/ 4076393 h 4367670"/>
              <a:gd name="connsiteX19" fmla="*/ 983046 w 5365133"/>
              <a:gd name="connsiteY19" fmla="*/ 4070174 h 4367670"/>
              <a:gd name="connsiteX20" fmla="*/ 994525 w 5365133"/>
              <a:gd name="connsiteY20" fmla="*/ 4057739 h 4367670"/>
              <a:gd name="connsiteX21" fmla="*/ 2161291 w 5365133"/>
              <a:gd name="connsiteY21" fmla="*/ 3675099 h 4367670"/>
              <a:gd name="connsiteX22" fmla="*/ 2161384 w 5365133"/>
              <a:gd name="connsiteY22" fmla="*/ 3675844 h 4367670"/>
              <a:gd name="connsiteX23" fmla="*/ 2161125 w 5365133"/>
              <a:gd name="connsiteY23" fmla="*/ 3676048 h 4367670"/>
              <a:gd name="connsiteX24" fmla="*/ 571333 w 5365133"/>
              <a:gd name="connsiteY24" fmla="*/ 3646405 h 4367670"/>
              <a:gd name="connsiteX25" fmla="*/ 571196 w 5365133"/>
              <a:gd name="connsiteY25" fmla="*/ 3646645 h 4367670"/>
              <a:gd name="connsiteX26" fmla="*/ 568207 w 5365133"/>
              <a:gd name="connsiteY26" fmla="*/ 3647390 h 4367670"/>
              <a:gd name="connsiteX27" fmla="*/ 484568 w 5365133"/>
              <a:gd name="connsiteY27" fmla="*/ 3637357 h 4367670"/>
              <a:gd name="connsiteX28" fmla="*/ 464479 w 5365133"/>
              <a:gd name="connsiteY28" fmla="*/ 3643097 h 4367670"/>
              <a:gd name="connsiteX29" fmla="*/ 484568 w 5365133"/>
              <a:gd name="connsiteY29" fmla="*/ 3637357 h 4367670"/>
              <a:gd name="connsiteX30" fmla="*/ 2374868 w 5365133"/>
              <a:gd name="connsiteY30" fmla="*/ 3575623 h 4367670"/>
              <a:gd name="connsiteX31" fmla="*/ 2392087 w 5365133"/>
              <a:gd name="connsiteY31" fmla="*/ 3575623 h 4367670"/>
              <a:gd name="connsiteX32" fmla="*/ 2386348 w 5365133"/>
              <a:gd name="connsiteY32" fmla="*/ 3592841 h 4367670"/>
              <a:gd name="connsiteX33" fmla="*/ 2334692 w 5365133"/>
              <a:gd name="connsiteY33" fmla="*/ 3604320 h 4367670"/>
              <a:gd name="connsiteX34" fmla="*/ 2369129 w 5365133"/>
              <a:gd name="connsiteY34" fmla="*/ 3581362 h 4367670"/>
              <a:gd name="connsiteX35" fmla="*/ 2374868 w 5365133"/>
              <a:gd name="connsiteY35" fmla="*/ 3575623 h 4367670"/>
              <a:gd name="connsiteX36" fmla="*/ 457982 w 5365133"/>
              <a:gd name="connsiteY36" fmla="*/ 3564582 h 4367670"/>
              <a:gd name="connsiteX37" fmla="*/ 453878 w 5365133"/>
              <a:gd name="connsiteY37" fmla="*/ 3570604 h 4367670"/>
              <a:gd name="connsiteX38" fmla="*/ 436690 w 5365133"/>
              <a:gd name="connsiteY38" fmla="*/ 3575823 h 4367670"/>
              <a:gd name="connsiteX39" fmla="*/ 446405 w 5365133"/>
              <a:gd name="connsiteY39" fmla="*/ 3567621 h 4367670"/>
              <a:gd name="connsiteX40" fmla="*/ 460603 w 5365133"/>
              <a:gd name="connsiteY40" fmla="*/ 3560737 h 4367670"/>
              <a:gd name="connsiteX41" fmla="*/ 460603 w 5365133"/>
              <a:gd name="connsiteY41" fmla="*/ 3563894 h 4367670"/>
              <a:gd name="connsiteX42" fmla="*/ 457982 w 5365133"/>
              <a:gd name="connsiteY42" fmla="*/ 3564582 h 4367670"/>
              <a:gd name="connsiteX43" fmla="*/ 2472487 w 5365133"/>
              <a:gd name="connsiteY43" fmla="*/ 3555629 h 4367670"/>
              <a:gd name="connsiteX44" fmla="*/ 2472240 w 5365133"/>
              <a:gd name="connsiteY44" fmla="*/ 3556564 h 4367670"/>
              <a:gd name="connsiteX45" fmla="*/ 2472170 w 5365133"/>
              <a:gd name="connsiteY45" fmla="*/ 3555793 h 4367670"/>
              <a:gd name="connsiteX46" fmla="*/ 2448329 w 5365133"/>
              <a:gd name="connsiteY46" fmla="*/ 3550601 h 4367670"/>
              <a:gd name="connsiteX47" fmla="*/ 2445340 w 5365133"/>
              <a:gd name="connsiteY47" fmla="*/ 3555073 h 4367670"/>
              <a:gd name="connsiteX48" fmla="*/ 2443014 w 5365133"/>
              <a:gd name="connsiteY48" fmla="*/ 3551594 h 4367670"/>
              <a:gd name="connsiteX49" fmla="*/ 2442350 w 5365133"/>
              <a:gd name="connsiteY49" fmla="*/ 3550601 h 4367670"/>
              <a:gd name="connsiteX50" fmla="*/ 2443014 w 5365133"/>
              <a:gd name="connsiteY50" fmla="*/ 3551594 h 4367670"/>
              <a:gd name="connsiteX51" fmla="*/ 2442274 w 5365133"/>
              <a:gd name="connsiteY51" fmla="*/ 3551733 h 4367670"/>
              <a:gd name="connsiteX52" fmla="*/ 2466263 w 5365133"/>
              <a:gd name="connsiteY52" fmla="*/ 3544637 h 4367670"/>
              <a:gd name="connsiteX53" fmla="*/ 2471494 w 5365133"/>
              <a:gd name="connsiteY53" fmla="*/ 3548365 h 4367670"/>
              <a:gd name="connsiteX54" fmla="*/ 2472170 w 5365133"/>
              <a:gd name="connsiteY54" fmla="*/ 3555793 h 4367670"/>
              <a:gd name="connsiteX55" fmla="*/ 2469251 w 5365133"/>
              <a:gd name="connsiteY55" fmla="*/ 3557310 h 4367670"/>
              <a:gd name="connsiteX56" fmla="*/ 2460285 w 5365133"/>
              <a:gd name="connsiteY56" fmla="*/ 3562528 h 4367670"/>
              <a:gd name="connsiteX57" fmla="*/ 2466263 w 5365133"/>
              <a:gd name="connsiteY57" fmla="*/ 3544637 h 4367670"/>
              <a:gd name="connsiteX58" fmla="*/ 441521 w 5365133"/>
              <a:gd name="connsiteY58" fmla="*/ 3528308 h 4367670"/>
              <a:gd name="connsiteX59" fmla="*/ 447260 w 5365133"/>
              <a:gd name="connsiteY59" fmla="*/ 3559396 h 4367670"/>
              <a:gd name="connsiteX60" fmla="*/ 424302 w 5365133"/>
              <a:gd name="connsiteY60" fmla="*/ 3565614 h 4367670"/>
              <a:gd name="connsiteX61" fmla="*/ 430042 w 5365133"/>
              <a:gd name="connsiteY61" fmla="*/ 3553179 h 4367670"/>
              <a:gd name="connsiteX62" fmla="*/ 435781 w 5365133"/>
              <a:gd name="connsiteY62" fmla="*/ 3559396 h 4367670"/>
              <a:gd name="connsiteX63" fmla="*/ 441521 w 5365133"/>
              <a:gd name="connsiteY63" fmla="*/ 3546961 h 4367670"/>
              <a:gd name="connsiteX64" fmla="*/ 430042 w 5365133"/>
              <a:gd name="connsiteY64" fmla="*/ 3540743 h 4367670"/>
              <a:gd name="connsiteX65" fmla="*/ 441521 w 5365133"/>
              <a:gd name="connsiteY65" fmla="*/ 3528308 h 4367670"/>
              <a:gd name="connsiteX66" fmla="*/ 2564900 w 5365133"/>
              <a:gd name="connsiteY66" fmla="*/ 3518543 h 4367670"/>
              <a:gd name="connsiteX67" fmla="*/ 2567889 w 5365133"/>
              <a:gd name="connsiteY67" fmla="*/ 3520781 h 4367670"/>
              <a:gd name="connsiteX68" fmla="*/ 2564302 w 5365133"/>
              <a:gd name="connsiteY68" fmla="*/ 3518991 h 4367670"/>
              <a:gd name="connsiteX69" fmla="*/ 2590098 w 5365133"/>
              <a:gd name="connsiteY69" fmla="*/ 3492400 h 4367670"/>
              <a:gd name="connsiteX70" fmla="*/ 2584358 w 5365133"/>
              <a:gd name="connsiteY70" fmla="*/ 3509618 h 4367670"/>
              <a:gd name="connsiteX71" fmla="*/ 2572880 w 5365133"/>
              <a:gd name="connsiteY71" fmla="*/ 3498139 h 4367670"/>
              <a:gd name="connsiteX72" fmla="*/ 2549922 w 5365133"/>
              <a:gd name="connsiteY72" fmla="*/ 3509618 h 4367670"/>
              <a:gd name="connsiteX73" fmla="*/ 2590098 w 5365133"/>
              <a:gd name="connsiteY73" fmla="*/ 3492400 h 4367670"/>
              <a:gd name="connsiteX74" fmla="*/ 2656102 w 5365133"/>
              <a:gd name="connsiteY74" fmla="*/ 3460834 h 4367670"/>
              <a:gd name="connsiteX75" fmla="*/ 2595838 w 5365133"/>
              <a:gd name="connsiteY75" fmla="*/ 3486662 h 4367670"/>
              <a:gd name="connsiteX76" fmla="*/ 2656102 w 5365133"/>
              <a:gd name="connsiteY76" fmla="*/ 3460834 h 4367670"/>
              <a:gd name="connsiteX77" fmla="*/ 2677177 w 5365133"/>
              <a:gd name="connsiteY77" fmla="*/ 3453226 h 4367670"/>
              <a:gd name="connsiteX78" fmla="*/ 2679060 w 5365133"/>
              <a:gd name="connsiteY78" fmla="*/ 3456050 h 4367670"/>
              <a:gd name="connsiteX79" fmla="*/ 2661842 w 5365133"/>
              <a:gd name="connsiteY79" fmla="*/ 3456050 h 4367670"/>
              <a:gd name="connsiteX80" fmla="*/ 2672603 w 5365133"/>
              <a:gd name="connsiteY80" fmla="*/ 3453539 h 4367670"/>
              <a:gd name="connsiteX81" fmla="*/ 2677177 w 5365133"/>
              <a:gd name="connsiteY81" fmla="*/ 3453226 h 4367670"/>
              <a:gd name="connsiteX82" fmla="*/ 2733584 w 5365133"/>
              <a:gd name="connsiteY82" fmla="*/ 3449354 h 4367670"/>
              <a:gd name="connsiteX83" fmla="*/ 2716366 w 5365133"/>
              <a:gd name="connsiteY83" fmla="*/ 3460834 h 4367670"/>
              <a:gd name="connsiteX84" fmla="*/ 2733584 w 5365133"/>
              <a:gd name="connsiteY84" fmla="*/ 3449354 h 4367670"/>
              <a:gd name="connsiteX85" fmla="*/ 2733586 w 5365133"/>
              <a:gd name="connsiteY85" fmla="*/ 3432136 h 4367670"/>
              <a:gd name="connsiteX86" fmla="*/ 2679060 w 5365133"/>
              <a:gd name="connsiteY86" fmla="*/ 3449354 h 4367670"/>
              <a:gd name="connsiteX87" fmla="*/ 2733586 w 5365133"/>
              <a:gd name="connsiteY87" fmla="*/ 3432136 h 4367670"/>
              <a:gd name="connsiteX88" fmla="*/ 2787590 w 5365133"/>
              <a:gd name="connsiteY88" fmla="*/ 3426397 h 4367670"/>
              <a:gd name="connsiteX89" fmla="*/ 2799590 w 5365133"/>
              <a:gd name="connsiteY89" fmla="*/ 3426397 h 4367670"/>
              <a:gd name="connsiteX90" fmla="*/ 2757587 w 5365133"/>
              <a:gd name="connsiteY90" fmla="*/ 3449354 h 4367670"/>
              <a:gd name="connsiteX91" fmla="*/ 2733584 w 5365133"/>
              <a:gd name="connsiteY91" fmla="*/ 3443615 h 4367670"/>
              <a:gd name="connsiteX92" fmla="*/ 2769587 w 5365133"/>
              <a:gd name="connsiteY92" fmla="*/ 3432136 h 4367670"/>
              <a:gd name="connsiteX93" fmla="*/ 2775588 w 5365133"/>
              <a:gd name="connsiteY93" fmla="*/ 3437876 h 4367670"/>
              <a:gd name="connsiteX94" fmla="*/ 2781588 w 5365133"/>
              <a:gd name="connsiteY94" fmla="*/ 3432136 h 4367670"/>
              <a:gd name="connsiteX95" fmla="*/ 2787590 w 5365133"/>
              <a:gd name="connsiteY95" fmla="*/ 3426397 h 4367670"/>
              <a:gd name="connsiteX96" fmla="*/ 2834464 w 5365133"/>
              <a:gd name="connsiteY96" fmla="*/ 3401735 h 4367670"/>
              <a:gd name="connsiteX97" fmla="*/ 2838600 w 5365133"/>
              <a:gd name="connsiteY97" fmla="*/ 3402721 h 4367670"/>
              <a:gd name="connsiteX98" fmla="*/ 2839171 w 5365133"/>
              <a:gd name="connsiteY98" fmla="*/ 3402704 h 4367670"/>
              <a:gd name="connsiteX99" fmla="*/ 2836179 w 5365133"/>
              <a:gd name="connsiteY99" fmla="*/ 3407026 h 4367670"/>
              <a:gd name="connsiteX100" fmla="*/ 2829722 w 5365133"/>
              <a:gd name="connsiteY100" fmla="*/ 3420657 h 4367670"/>
              <a:gd name="connsiteX101" fmla="*/ 2816808 w 5365133"/>
              <a:gd name="connsiteY101" fmla="*/ 3409179 h 4367670"/>
              <a:gd name="connsiteX102" fmla="*/ 2829722 w 5365133"/>
              <a:gd name="connsiteY102" fmla="*/ 3403439 h 4367670"/>
              <a:gd name="connsiteX103" fmla="*/ 2834464 w 5365133"/>
              <a:gd name="connsiteY103" fmla="*/ 3401735 h 4367670"/>
              <a:gd name="connsiteX104" fmla="*/ 2842636 w 5365133"/>
              <a:gd name="connsiteY104" fmla="*/ 3397699 h 4367670"/>
              <a:gd name="connsiteX105" fmla="*/ 2841526 w 5365133"/>
              <a:gd name="connsiteY105" fmla="*/ 3402632 h 4367670"/>
              <a:gd name="connsiteX106" fmla="*/ 2839171 w 5365133"/>
              <a:gd name="connsiteY106" fmla="*/ 3402704 h 4367670"/>
              <a:gd name="connsiteX107" fmla="*/ 2879762 w 5365133"/>
              <a:gd name="connsiteY107" fmla="*/ 3392228 h 4367670"/>
              <a:gd name="connsiteX108" fmla="*/ 2888550 w 5365133"/>
              <a:gd name="connsiteY108" fmla="*/ 3395785 h 4367670"/>
              <a:gd name="connsiteX109" fmla="*/ 2842635 w 5365133"/>
              <a:gd name="connsiteY109" fmla="*/ 3409179 h 4367670"/>
              <a:gd name="connsiteX110" fmla="*/ 2865592 w 5365133"/>
              <a:gd name="connsiteY110" fmla="*/ 3392437 h 4367670"/>
              <a:gd name="connsiteX111" fmla="*/ 2879762 w 5365133"/>
              <a:gd name="connsiteY111" fmla="*/ 3392228 h 4367670"/>
              <a:gd name="connsiteX112" fmla="*/ 2788110 w 5365133"/>
              <a:gd name="connsiteY112" fmla="*/ 3383350 h 4367670"/>
              <a:gd name="connsiteX113" fmla="*/ 2727845 w 5365133"/>
              <a:gd name="connsiteY113" fmla="*/ 3414918 h 4367670"/>
              <a:gd name="connsiteX114" fmla="*/ 2788110 w 5365133"/>
              <a:gd name="connsiteY114" fmla="*/ 3383350 h 4367670"/>
              <a:gd name="connsiteX115" fmla="*/ 2904925 w 5365133"/>
              <a:gd name="connsiteY115" fmla="*/ 3374572 h 4367670"/>
              <a:gd name="connsiteX116" fmla="*/ 2901825 w 5365133"/>
              <a:gd name="connsiteY116" fmla="*/ 3377610 h 4367670"/>
              <a:gd name="connsiteX117" fmla="*/ 2900987 w 5365133"/>
              <a:gd name="connsiteY117" fmla="*/ 3383350 h 4367670"/>
              <a:gd name="connsiteX118" fmla="*/ 2894290 w 5365133"/>
              <a:gd name="connsiteY118" fmla="*/ 3377610 h 4367670"/>
              <a:gd name="connsiteX119" fmla="*/ 2854114 w 5365133"/>
              <a:gd name="connsiteY119" fmla="*/ 3372109 h 4367670"/>
              <a:gd name="connsiteX120" fmla="*/ 2848114 w 5365133"/>
              <a:gd name="connsiteY120" fmla="*/ 3390046 h 4367670"/>
              <a:gd name="connsiteX121" fmla="*/ 2800110 w 5365133"/>
              <a:gd name="connsiteY121" fmla="*/ 3402003 h 4367670"/>
              <a:gd name="connsiteX122" fmla="*/ 2788110 w 5365133"/>
              <a:gd name="connsiteY122" fmla="*/ 3413961 h 4367670"/>
              <a:gd name="connsiteX123" fmla="*/ 2746109 w 5365133"/>
              <a:gd name="connsiteY123" fmla="*/ 3419939 h 4367670"/>
              <a:gd name="connsiteX124" fmla="*/ 2758108 w 5365133"/>
              <a:gd name="connsiteY124" fmla="*/ 3419939 h 4367670"/>
              <a:gd name="connsiteX125" fmla="*/ 2770110 w 5365133"/>
              <a:gd name="connsiteY125" fmla="*/ 3413961 h 4367670"/>
              <a:gd name="connsiteX126" fmla="*/ 2770110 w 5365133"/>
              <a:gd name="connsiteY126" fmla="*/ 3407981 h 4367670"/>
              <a:gd name="connsiteX127" fmla="*/ 2782109 w 5365133"/>
              <a:gd name="connsiteY127" fmla="*/ 3407981 h 4367670"/>
              <a:gd name="connsiteX128" fmla="*/ 2794110 w 5365133"/>
              <a:gd name="connsiteY128" fmla="*/ 3396026 h 4367670"/>
              <a:gd name="connsiteX129" fmla="*/ 2836112 w 5365133"/>
              <a:gd name="connsiteY129" fmla="*/ 3384067 h 4367670"/>
              <a:gd name="connsiteX130" fmla="*/ 2854114 w 5365133"/>
              <a:gd name="connsiteY130" fmla="*/ 3372109 h 4367670"/>
              <a:gd name="connsiteX131" fmla="*/ 2914379 w 5365133"/>
              <a:gd name="connsiteY131" fmla="*/ 3371871 h 4367670"/>
              <a:gd name="connsiteX132" fmla="*/ 2911031 w 5365133"/>
              <a:gd name="connsiteY132" fmla="*/ 3376175 h 4367670"/>
              <a:gd name="connsiteX133" fmla="*/ 2908900 w 5365133"/>
              <a:gd name="connsiteY133" fmla="*/ 3373436 h 4367670"/>
              <a:gd name="connsiteX134" fmla="*/ 2907683 w 5365133"/>
              <a:gd name="connsiteY134" fmla="*/ 3371871 h 4367670"/>
              <a:gd name="connsiteX135" fmla="*/ 2908900 w 5365133"/>
              <a:gd name="connsiteY135" fmla="*/ 3373436 h 4367670"/>
              <a:gd name="connsiteX136" fmla="*/ 2904925 w 5365133"/>
              <a:gd name="connsiteY136" fmla="*/ 3374572 h 4367670"/>
              <a:gd name="connsiteX137" fmla="*/ 2786419 w 5365133"/>
              <a:gd name="connsiteY137" fmla="*/ 3358426 h 4367670"/>
              <a:gd name="connsiteX138" fmla="*/ 2786087 w 5365133"/>
              <a:gd name="connsiteY138" fmla="*/ 3359006 h 4367670"/>
              <a:gd name="connsiteX139" fmla="*/ 2783098 w 5365133"/>
              <a:gd name="connsiteY139" fmla="*/ 3359752 h 4367670"/>
              <a:gd name="connsiteX140" fmla="*/ 2848374 w 5365133"/>
              <a:gd name="connsiteY140" fmla="*/ 3354652 h 4367670"/>
              <a:gd name="connsiteX141" fmla="*/ 2831155 w 5365133"/>
              <a:gd name="connsiteY141" fmla="*/ 3360392 h 4367670"/>
              <a:gd name="connsiteX142" fmla="*/ 2848374 w 5365133"/>
              <a:gd name="connsiteY142" fmla="*/ 3354652 h 4367670"/>
              <a:gd name="connsiteX143" fmla="*/ 2914379 w 5365133"/>
              <a:gd name="connsiteY143" fmla="*/ 3348913 h 4367670"/>
              <a:gd name="connsiteX144" fmla="*/ 2914379 w 5365133"/>
              <a:gd name="connsiteY144" fmla="*/ 3360392 h 4367670"/>
              <a:gd name="connsiteX145" fmla="*/ 2900987 w 5365133"/>
              <a:gd name="connsiteY145" fmla="*/ 3360392 h 4367670"/>
              <a:gd name="connsiteX146" fmla="*/ 2914379 w 5365133"/>
              <a:gd name="connsiteY146" fmla="*/ 3348913 h 4367670"/>
              <a:gd name="connsiteX147" fmla="*/ 2928011 w 5365133"/>
              <a:gd name="connsiteY147" fmla="*/ 3341021 h 4367670"/>
              <a:gd name="connsiteX148" fmla="*/ 2931597 w 5365133"/>
              <a:gd name="connsiteY148" fmla="*/ 3343173 h 4367670"/>
              <a:gd name="connsiteX149" fmla="*/ 2920118 w 5365133"/>
              <a:gd name="connsiteY149" fmla="*/ 3354652 h 4367670"/>
              <a:gd name="connsiteX150" fmla="*/ 2920118 w 5365133"/>
              <a:gd name="connsiteY150" fmla="*/ 3343173 h 4367670"/>
              <a:gd name="connsiteX151" fmla="*/ 2928011 w 5365133"/>
              <a:gd name="connsiteY151" fmla="*/ 3341021 h 4367670"/>
              <a:gd name="connsiteX152" fmla="*/ 3031746 w 5365133"/>
              <a:gd name="connsiteY152" fmla="*/ 3329093 h 4367670"/>
              <a:gd name="connsiteX153" fmla="*/ 3040152 w 5365133"/>
              <a:gd name="connsiteY153" fmla="*/ 3329932 h 4367670"/>
              <a:gd name="connsiteX154" fmla="*/ 3034174 w 5365133"/>
              <a:gd name="connsiteY154" fmla="*/ 3341859 h 4367670"/>
              <a:gd name="connsiteX155" fmla="*/ 3028196 w 5365133"/>
              <a:gd name="connsiteY155" fmla="*/ 3329932 h 4367670"/>
              <a:gd name="connsiteX156" fmla="*/ 3031746 w 5365133"/>
              <a:gd name="connsiteY156" fmla="*/ 3329093 h 4367670"/>
              <a:gd name="connsiteX157" fmla="*/ 2914140 w 5365133"/>
              <a:gd name="connsiteY157" fmla="*/ 3325955 h 4367670"/>
              <a:gd name="connsiteX158" fmla="*/ 2854354 w 5365133"/>
              <a:gd name="connsiteY158" fmla="*/ 3360392 h 4367670"/>
              <a:gd name="connsiteX159" fmla="*/ 2854354 w 5365133"/>
              <a:gd name="connsiteY159" fmla="*/ 3348913 h 4367670"/>
              <a:gd name="connsiteX160" fmla="*/ 2854354 w 5365133"/>
              <a:gd name="connsiteY160" fmla="*/ 3343173 h 4367670"/>
              <a:gd name="connsiteX161" fmla="*/ 2866310 w 5365133"/>
              <a:gd name="connsiteY161" fmla="*/ 3348913 h 4367670"/>
              <a:gd name="connsiteX162" fmla="*/ 2866310 w 5365133"/>
              <a:gd name="connsiteY162" fmla="*/ 3337434 h 4367670"/>
              <a:gd name="connsiteX163" fmla="*/ 2872290 w 5365133"/>
              <a:gd name="connsiteY163" fmla="*/ 3348913 h 4367670"/>
              <a:gd name="connsiteX164" fmla="*/ 2914140 w 5365133"/>
              <a:gd name="connsiteY164" fmla="*/ 3325955 h 4367670"/>
              <a:gd name="connsiteX165" fmla="*/ 3027637 w 5365133"/>
              <a:gd name="connsiteY165" fmla="*/ 3320237 h 4367670"/>
              <a:gd name="connsiteX166" fmla="*/ 3027637 w 5365133"/>
              <a:gd name="connsiteY166" fmla="*/ 3330740 h 4367670"/>
              <a:gd name="connsiteX167" fmla="*/ 3003914 w 5365133"/>
              <a:gd name="connsiteY167" fmla="*/ 3342855 h 4367670"/>
              <a:gd name="connsiteX168" fmla="*/ 2986121 w 5365133"/>
              <a:gd name="connsiteY168" fmla="*/ 3342855 h 4367670"/>
              <a:gd name="connsiteX169" fmla="*/ 2974234 w 5365133"/>
              <a:gd name="connsiteY169" fmla="*/ 3320215 h 4367670"/>
              <a:gd name="connsiteX170" fmla="*/ 2937337 w 5365133"/>
              <a:gd name="connsiteY170" fmla="*/ 3348913 h 4367670"/>
              <a:gd name="connsiteX171" fmla="*/ 2943486 w 5365133"/>
              <a:gd name="connsiteY171" fmla="*/ 3331695 h 4367670"/>
              <a:gd name="connsiteX172" fmla="*/ 2943486 w 5365133"/>
              <a:gd name="connsiteY172" fmla="*/ 3343173 h 4367670"/>
              <a:gd name="connsiteX173" fmla="*/ 2974234 w 5365133"/>
              <a:gd name="connsiteY173" fmla="*/ 3320215 h 4367670"/>
              <a:gd name="connsiteX174" fmla="*/ 3027637 w 5365133"/>
              <a:gd name="connsiteY174" fmla="*/ 3318623 h 4367670"/>
              <a:gd name="connsiteX175" fmla="*/ 3029463 w 5365133"/>
              <a:gd name="connsiteY175" fmla="*/ 3319243 h 4367670"/>
              <a:gd name="connsiteX176" fmla="*/ 3027637 w 5365133"/>
              <a:gd name="connsiteY176" fmla="*/ 3320237 h 4367670"/>
              <a:gd name="connsiteX177" fmla="*/ 2943076 w 5365133"/>
              <a:gd name="connsiteY177" fmla="*/ 3311607 h 4367670"/>
              <a:gd name="connsiteX178" fmla="*/ 2943076 w 5365133"/>
              <a:gd name="connsiteY178" fmla="*/ 3325001 h 4367670"/>
              <a:gd name="connsiteX179" fmla="*/ 2920118 w 5365133"/>
              <a:gd name="connsiteY179" fmla="*/ 3331696 h 4367670"/>
              <a:gd name="connsiteX180" fmla="*/ 2943076 w 5365133"/>
              <a:gd name="connsiteY180" fmla="*/ 3311607 h 4367670"/>
              <a:gd name="connsiteX181" fmla="*/ 2966260 w 5365133"/>
              <a:gd name="connsiteY181" fmla="*/ 3304104 h 4367670"/>
              <a:gd name="connsiteX182" fmla="*/ 2974644 w 5365133"/>
              <a:gd name="connsiteY182" fmla="*/ 3306824 h 4367670"/>
              <a:gd name="connsiteX183" fmla="*/ 2949390 w 5365133"/>
              <a:gd name="connsiteY183" fmla="*/ 3320217 h 4367670"/>
              <a:gd name="connsiteX184" fmla="*/ 2955703 w 5365133"/>
              <a:gd name="connsiteY184" fmla="*/ 3313521 h 4367670"/>
              <a:gd name="connsiteX185" fmla="*/ 2949390 w 5365133"/>
              <a:gd name="connsiteY185" fmla="*/ 3313521 h 4367670"/>
              <a:gd name="connsiteX186" fmla="*/ 2959649 w 5365133"/>
              <a:gd name="connsiteY186" fmla="*/ 3305150 h 4367670"/>
              <a:gd name="connsiteX187" fmla="*/ 2966260 w 5365133"/>
              <a:gd name="connsiteY187" fmla="*/ 3304104 h 4367670"/>
              <a:gd name="connsiteX188" fmla="*/ 3075085 w 5365133"/>
              <a:gd name="connsiteY188" fmla="*/ 3294389 h 4367670"/>
              <a:gd name="connsiteX189" fmla="*/ 3075085 w 5365133"/>
              <a:gd name="connsiteY189" fmla="*/ 3306506 h 4367670"/>
              <a:gd name="connsiteX190" fmla="*/ 3045431 w 5365133"/>
              <a:gd name="connsiteY190" fmla="*/ 3324681 h 4367670"/>
              <a:gd name="connsiteX191" fmla="*/ 3036535 w 5365133"/>
              <a:gd name="connsiteY191" fmla="*/ 3321651 h 4367670"/>
              <a:gd name="connsiteX192" fmla="*/ 3029463 w 5365133"/>
              <a:gd name="connsiteY192" fmla="*/ 3319243 h 4367670"/>
              <a:gd name="connsiteX193" fmla="*/ 3009079 w 5365133"/>
              <a:gd name="connsiteY193" fmla="*/ 3288649 h 4367670"/>
              <a:gd name="connsiteX194" fmla="*/ 2980382 w 5365133"/>
              <a:gd name="connsiteY194" fmla="*/ 3300128 h 4367670"/>
              <a:gd name="connsiteX195" fmla="*/ 3009079 w 5365133"/>
              <a:gd name="connsiteY195" fmla="*/ 3288649 h 4367670"/>
              <a:gd name="connsiteX196" fmla="*/ 3074925 w 5365133"/>
              <a:gd name="connsiteY196" fmla="*/ 3277170 h 4367670"/>
              <a:gd name="connsiteX197" fmla="*/ 3080824 w 5365133"/>
              <a:gd name="connsiteY197" fmla="*/ 3289222 h 4367670"/>
              <a:gd name="connsiteX198" fmla="*/ 2998238 w 5365133"/>
              <a:gd name="connsiteY198" fmla="*/ 3313330 h 4367670"/>
              <a:gd name="connsiteX199" fmla="*/ 2974643 w 5365133"/>
              <a:gd name="connsiteY199" fmla="*/ 3319355 h 4367670"/>
              <a:gd name="connsiteX200" fmla="*/ 3074925 w 5365133"/>
              <a:gd name="connsiteY200" fmla="*/ 3277170 h 4367670"/>
              <a:gd name="connsiteX201" fmla="*/ 3108392 w 5365133"/>
              <a:gd name="connsiteY201" fmla="*/ 3268326 h 4367670"/>
              <a:gd name="connsiteX202" fmla="*/ 3108803 w 5365133"/>
              <a:gd name="connsiteY202" fmla="*/ 3268561 h 4367670"/>
              <a:gd name="connsiteX203" fmla="*/ 3109521 w 5365133"/>
              <a:gd name="connsiteY203" fmla="*/ 3271431 h 4367670"/>
              <a:gd name="connsiteX204" fmla="*/ 3103782 w 5365133"/>
              <a:gd name="connsiteY204" fmla="*/ 3259952 h 4367670"/>
              <a:gd name="connsiteX205" fmla="*/ 3106651 w 5365133"/>
              <a:gd name="connsiteY205" fmla="*/ 3263539 h 4367670"/>
              <a:gd name="connsiteX206" fmla="*/ 3108392 w 5365133"/>
              <a:gd name="connsiteY206" fmla="*/ 3268326 h 4367670"/>
              <a:gd name="connsiteX207" fmla="*/ 3103782 w 5365133"/>
              <a:gd name="connsiteY207" fmla="*/ 3265691 h 4367670"/>
              <a:gd name="connsiteX208" fmla="*/ 3103782 w 5365133"/>
              <a:gd name="connsiteY208" fmla="*/ 3277170 h 4367670"/>
              <a:gd name="connsiteX209" fmla="*/ 3080824 w 5365133"/>
              <a:gd name="connsiteY209" fmla="*/ 3277170 h 4367670"/>
              <a:gd name="connsiteX210" fmla="*/ 3103782 w 5365133"/>
              <a:gd name="connsiteY210" fmla="*/ 3259952 h 4367670"/>
              <a:gd name="connsiteX211" fmla="*/ 3122914 w 5365133"/>
              <a:gd name="connsiteY211" fmla="*/ 3258516 h 4367670"/>
              <a:gd name="connsiteX212" fmla="*/ 3129610 w 5365133"/>
              <a:gd name="connsiteY212" fmla="*/ 3265691 h 4367670"/>
              <a:gd name="connsiteX213" fmla="*/ 3116218 w 5365133"/>
              <a:gd name="connsiteY213" fmla="*/ 3277170 h 4367670"/>
              <a:gd name="connsiteX214" fmla="*/ 3122914 w 5365133"/>
              <a:gd name="connsiteY214" fmla="*/ 3265691 h 4367670"/>
              <a:gd name="connsiteX215" fmla="*/ 3116218 w 5365133"/>
              <a:gd name="connsiteY215" fmla="*/ 3259952 h 4367670"/>
              <a:gd name="connsiteX216" fmla="*/ 3122914 w 5365133"/>
              <a:gd name="connsiteY216" fmla="*/ 3258516 h 4367670"/>
              <a:gd name="connsiteX217" fmla="*/ 3231447 w 5365133"/>
              <a:gd name="connsiteY217" fmla="*/ 3252399 h 4367670"/>
              <a:gd name="connsiteX218" fmla="*/ 3219493 w 5365133"/>
              <a:gd name="connsiteY218" fmla="*/ 3270290 h 4367670"/>
              <a:gd name="connsiteX219" fmla="*/ 3201559 w 5365133"/>
              <a:gd name="connsiteY219" fmla="*/ 3264327 h 4367670"/>
              <a:gd name="connsiteX220" fmla="*/ 3219493 w 5365133"/>
              <a:gd name="connsiteY220" fmla="*/ 3258363 h 4367670"/>
              <a:gd name="connsiteX221" fmla="*/ 3231447 w 5365133"/>
              <a:gd name="connsiteY221" fmla="*/ 3252399 h 4367670"/>
              <a:gd name="connsiteX222" fmla="*/ 3100912 w 5365133"/>
              <a:gd name="connsiteY222" fmla="*/ 3244169 h 4367670"/>
              <a:gd name="connsiteX223" fmla="*/ 3109521 w 5365133"/>
              <a:gd name="connsiteY223" fmla="*/ 3248473 h 4367670"/>
              <a:gd name="connsiteX224" fmla="*/ 3092303 w 5365133"/>
              <a:gd name="connsiteY224" fmla="*/ 3248473 h 4367670"/>
              <a:gd name="connsiteX225" fmla="*/ 3100912 w 5365133"/>
              <a:gd name="connsiteY225" fmla="*/ 3244169 h 4367670"/>
              <a:gd name="connsiteX226" fmla="*/ 3187824 w 5365133"/>
              <a:gd name="connsiteY226" fmla="*/ 3242016 h 4367670"/>
              <a:gd name="connsiteX227" fmla="*/ 3187824 w 5365133"/>
              <a:gd name="connsiteY227" fmla="*/ 3248473 h 4367670"/>
              <a:gd name="connsiteX228" fmla="*/ 3181674 w 5365133"/>
              <a:gd name="connsiteY228" fmla="*/ 3248473 h 4367670"/>
              <a:gd name="connsiteX229" fmla="*/ 3187824 w 5365133"/>
              <a:gd name="connsiteY229" fmla="*/ 3242016 h 4367670"/>
              <a:gd name="connsiteX230" fmla="*/ 3126576 w 5365133"/>
              <a:gd name="connsiteY230" fmla="*/ 3236231 h 4367670"/>
              <a:gd name="connsiteX231" fmla="*/ 3129610 w 5365133"/>
              <a:gd name="connsiteY231" fmla="*/ 3241777 h 4367670"/>
              <a:gd name="connsiteX232" fmla="*/ 3116218 w 5365133"/>
              <a:gd name="connsiteY232" fmla="*/ 3248473 h 4367670"/>
              <a:gd name="connsiteX233" fmla="*/ 3120403 w 5365133"/>
              <a:gd name="connsiteY233" fmla="*/ 3237590 h 4367670"/>
              <a:gd name="connsiteX234" fmla="*/ 3126576 w 5365133"/>
              <a:gd name="connsiteY234" fmla="*/ 3236231 h 4367670"/>
              <a:gd name="connsiteX235" fmla="*/ 3169785 w 5365133"/>
              <a:gd name="connsiteY235" fmla="*/ 3234124 h 4367670"/>
              <a:gd name="connsiteX236" fmla="*/ 3164045 w 5365133"/>
              <a:gd name="connsiteY236" fmla="*/ 3246558 h 4367670"/>
              <a:gd name="connsiteX237" fmla="*/ 3141087 w 5365133"/>
              <a:gd name="connsiteY237" fmla="*/ 3252777 h 4367670"/>
              <a:gd name="connsiteX238" fmla="*/ 3146827 w 5365133"/>
              <a:gd name="connsiteY238" fmla="*/ 3258995 h 4367670"/>
              <a:gd name="connsiteX239" fmla="*/ 3141087 w 5365133"/>
              <a:gd name="connsiteY239" fmla="*/ 3271431 h 4367670"/>
              <a:gd name="connsiteX240" fmla="*/ 3129608 w 5365133"/>
              <a:gd name="connsiteY240" fmla="*/ 3258995 h 4367670"/>
              <a:gd name="connsiteX241" fmla="*/ 3169785 w 5365133"/>
              <a:gd name="connsiteY241" fmla="*/ 3234124 h 4367670"/>
              <a:gd name="connsiteX242" fmla="*/ 3200123 w 5365133"/>
              <a:gd name="connsiteY242" fmla="*/ 3222644 h 4367670"/>
              <a:gd name="connsiteX243" fmla="*/ 3218571 w 5365133"/>
              <a:gd name="connsiteY243" fmla="*/ 3235559 h 4367670"/>
              <a:gd name="connsiteX244" fmla="*/ 3206273 w 5365133"/>
              <a:gd name="connsiteY244" fmla="*/ 3235559 h 4367670"/>
              <a:gd name="connsiteX245" fmla="*/ 3206273 w 5365133"/>
              <a:gd name="connsiteY245" fmla="*/ 3229102 h 4367670"/>
              <a:gd name="connsiteX246" fmla="*/ 3187824 w 5365133"/>
              <a:gd name="connsiteY246" fmla="*/ 3235559 h 4367670"/>
              <a:gd name="connsiteX247" fmla="*/ 3187824 w 5365133"/>
              <a:gd name="connsiteY247" fmla="*/ 3242016 h 4367670"/>
              <a:gd name="connsiteX248" fmla="*/ 3175524 w 5365133"/>
              <a:gd name="connsiteY248" fmla="*/ 3235559 h 4367670"/>
              <a:gd name="connsiteX249" fmla="*/ 3200123 w 5365133"/>
              <a:gd name="connsiteY249" fmla="*/ 3222644 h 4367670"/>
              <a:gd name="connsiteX250" fmla="*/ 3224311 w 5365133"/>
              <a:gd name="connsiteY250" fmla="*/ 3211165 h 4367670"/>
              <a:gd name="connsiteX251" fmla="*/ 3235789 w 5365133"/>
              <a:gd name="connsiteY251" fmla="*/ 3222644 h 4367670"/>
              <a:gd name="connsiteX252" fmla="*/ 3218571 w 5365133"/>
              <a:gd name="connsiteY252" fmla="*/ 3228384 h 4367670"/>
              <a:gd name="connsiteX253" fmla="*/ 3224311 w 5365133"/>
              <a:gd name="connsiteY253" fmla="*/ 3222644 h 4367670"/>
              <a:gd name="connsiteX254" fmla="*/ 3218571 w 5365133"/>
              <a:gd name="connsiteY254" fmla="*/ 3222644 h 4367670"/>
              <a:gd name="connsiteX255" fmla="*/ 3224311 w 5365133"/>
              <a:gd name="connsiteY255" fmla="*/ 3211165 h 4367670"/>
              <a:gd name="connsiteX256" fmla="*/ 3181263 w 5365133"/>
              <a:gd name="connsiteY256" fmla="*/ 3211165 h 4367670"/>
              <a:gd name="connsiteX257" fmla="*/ 3164045 w 5365133"/>
              <a:gd name="connsiteY257" fmla="*/ 3222644 h 4367670"/>
              <a:gd name="connsiteX258" fmla="*/ 3181263 w 5365133"/>
              <a:gd name="connsiteY258" fmla="*/ 3211165 h 4367670"/>
              <a:gd name="connsiteX259" fmla="*/ 3201353 w 5365133"/>
              <a:gd name="connsiteY259" fmla="*/ 3205426 h 4367670"/>
              <a:gd name="connsiteX260" fmla="*/ 3204710 w 5365133"/>
              <a:gd name="connsiteY260" fmla="*/ 3206898 h 4367670"/>
              <a:gd name="connsiteX261" fmla="*/ 3204671 w 5365133"/>
              <a:gd name="connsiteY261" fmla="*/ 3206950 h 4367670"/>
              <a:gd name="connsiteX262" fmla="*/ 3201353 w 5365133"/>
              <a:gd name="connsiteY262" fmla="*/ 3205426 h 4367670"/>
              <a:gd name="connsiteX263" fmla="*/ 3464591 w 5365133"/>
              <a:gd name="connsiteY263" fmla="*/ 3204687 h 4367670"/>
              <a:gd name="connsiteX264" fmla="*/ 3470569 w 5365133"/>
              <a:gd name="connsiteY264" fmla="*/ 3210650 h 4367670"/>
              <a:gd name="connsiteX265" fmla="*/ 3446657 w 5365133"/>
              <a:gd name="connsiteY265" fmla="*/ 3216615 h 4367670"/>
              <a:gd name="connsiteX266" fmla="*/ 3464591 w 5365133"/>
              <a:gd name="connsiteY266" fmla="*/ 3204687 h 4367670"/>
              <a:gd name="connsiteX267" fmla="*/ 3305252 w 5365133"/>
              <a:gd name="connsiteY267" fmla="*/ 3204627 h 4367670"/>
              <a:gd name="connsiteX268" fmla="*/ 3303227 w 5365133"/>
              <a:gd name="connsiteY268" fmla="*/ 3209013 h 4367670"/>
              <a:gd name="connsiteX269" fmla="*/ 3290313 w 5365133"/>
              <a:gd name="connsiteY269" fmla="*/ 3205426 h 4367670"/>
              <a:gd name="connsiteX270" fmla="*/ 3301075 w 5365133"/>
              <a:gd name="connsiteY270" fmla="*/ 3204709 h 4367670"/>
              <a:gd name="connsiteX271" fmla="*/ 3307531 w 5365133"/>
              <a:gd name="connsiteY271" fmla="*/ 3199687 h 4367670"/>
              <a:gd name="connsiteX272" fmla="*/ 3305648 w 5365133"/>
              <a:gd name="connsiteY272" fmla="*/ 3204619 h 4367670"/>
              <a:gd name="connsiteX273" fmla="*/ 3305252 w 5365133"/>
              <a:gd name="connsiteY273" fmla="*/ 3204627 h 4367670"/>
              <a:gd name="connsiteX274" fmla="*/ 3215073 w 5365133"/>
              <a:gd name="connsiteY274" fmla="*/ 3197355 h 4367670"/>
              <a:gd name="connsiteX275" fmla="*/ 3207621 w 5365133"/>
              <a:gd name="connsiteY275" fmla="*/ 3208175 h 4367670"/>
              <a:gd name="connsiteX276" fmla="*/ 3204710 w 5365133"/>
              <a:gd name="connsiteY276" fmla="*/ 3206898 h 4367670"/>
              <a:gd name="connsiteX277" fmla="*/ 3206375 w 5365133"/>
              <a:gd name="connsiteY277" fmla="*/ 3204708 h 4367670"/>
              <a:gd name="connsiteX278" fmla="*/ 3207092 w 5365133"/>
              <a:gd name="connsiteY278" fmla="*/ 3199687 h 4367670"/>
              <a:gd name="connsiteX279" fmla="*/ 3215073 w 5365133"/>
              <a:gd name="connsiteY279" fmla="*/ 3197355 h 4367670"/>
              <a:gd name="connsiteX280" fmla="*/ 3261618 w 5365133"/>
              <a:gd name="connsiteY280" fmla="*/ 3193947 h 4367670"/>
              <a:gd name="connsiteX281" fmla="*/ 3248704 w 5365133"/>
              <a:gd name="connsiteY281" fmla="*/ 3216905 h 4367670"/>
              <a:gd name="connsiteX282" fmla="*/ 3235789 w 5365133"/>
              <a:gd name="connsiteY282" fmla="*/ 3211165 h 4367670"/>
              <a:gd name="connsiteX283" fmla="*/ 3261618 w 5365133"/>
              <a:gd name="connsiteY283" fmla="*/ 3193947 h 4367670"/>
              <a:gd name="connsiteX284" fmla="*/ 3425266 w 5365133"/>
              <a:gd name="connsiteY284" fmla="*/ 3179339 h 4367670"/>
              <a:gd name="connsiteX285" fmla="*/ 3422744 w 5365133"/>
              <a:gd name="connsiteY285" fmla="*/ 3192760 h 4367670"/>
              <a:gd name="connsiteX286" fmla="*/ 3422744 w 5365133"/>
              <a:gd name="connsiteY286" fmla="*/ 3180830 h 4367670"/>
              <a:gd name="connsiteX287" fmla="*/ 3425266 w 5365133"/>
              <a:gd name="connsiteY287" fmla="*/ 3179339 h 4367670"/>
              <a:gd name="connsiteX288" fmla="*/ 3722393 w 5365133"/>
              <a:gd name="connsiteY288" fmla="*/ 3174121 h 4367670"/>
              <a:gd name="connsiteX289" fmla="*/ 3722077 w 5365133"/>
              <a:gd name="connsiteY289" fmla="*/ 3175065 h 4367670"/>
              <a:gd name="connsiteX290" fmla="*/ 3721645 w 5365133"/>
              <a:gd name="connsiteY290" fmla="*/ 3174867 h 4367670"/>
              <a:gd name="connsiteX291" fmla="*/ 3324750 w 5365133"/>
              <a:gd name="connsiteY291" fmla="*/ 3170989 h 4367670"/>
              <a:gd name="connsiteX292" fmla="*/ 3319011 w 5365133"/>
              <a:gd name="connsiteY292" fmla="*/ 3193947 h 4367670"/>
              <a:gd name="connsiteX293" fmla="*/ 3307531 w 5365133"/>
              <a:gd name="connsiteY293" fmla="*/ 3188207 h 4367670"/>
              <a:gd name="connsiteX294" fmla="*/ 3313271 w 5365133"/>
              <a:gd name="connsiteY294" fmla="*/ 3176729 h 4367670"/>
              <a:gd name="connsiteX295" fmla="*/ 3324750 w 5365133"/>
              <a:gd name="connsiteY295" fmla="*/ 3170989 h 4367670"/>
              <a:gd name="connsiteX296" fmla="*/ 3727623 w 5365133"/>
              <a:gd name="connsiteY296" fmla="*/ 3168903 h 4367670"/>
              <a:gd name="connsiteX297" fmla="*/ 3724635 w 5365133"/>
              <a:gd name="connsiteY297" fmla="*/ 3171885 h 4367670"/>
              <a:gd name="connsiteX298" fmla="*/ 3722393 w 5365133"/>
              <a:gd name="connsiteY298" fmla="*/ 3174121 h 4367670"/>
              <a:gd name="connsiteX299" fmla="*/ 3723140 w 5365133"/>
              <a:gd name="connsiteY299" fmla="*/ 3171885 h 4367670"/>
              <a:gd name="connsiteX300" fmla="*/ 3722760 w 5365133"/>
              <a:gd name="connsiteY300" fmla="*/ 3169609 h 4367670"/>
              <a:gd name="connsiteX301" fmla="*/ 3440679 w 5365133"/>
              <a:gd name="connsiteY301" fmla="*/ 3168903 h 4367670"/>
              <a:gd name="connsiteX302" fmla="*/ 3438075 w 5365133"/>
              <a:gd name="connsiteY302" fmla="*/ 3173450 h 4367670"/>
              <a:gd name="connsiteX303" fmla="*/ 3434701 w 5365133"/>
              <a:gd name="connsiteY303" fmla="*/ 3174867 h 4367670"/>
              <a:gd name="connsiteX304" fmla="*/ 3722437 w 5365133"/>
              <a:gd name="connsiteY304" fmla="*/ 3167674 h 4367670"/>
              <a:gd name="connsiteX305" fmla="*/ 3722760 w 5365133"/>
              <a:gd name="connsiteY305" fmla="*/ 3169609 h 4367670"/>
              <a:gd name="connsiteX306" fmla="*/ 3722486 w 5365133"/>
              <a:gd name="connsiteY306" fmla="*/ 3169648 h 4367670"/>
              <a:gd name="connsiteX307" fmla="*/ 3723420 w 5365133"/>
              <a:gd name="connsiteY307" fmla="*/ 3162193 h 4367670"/>
              <a:gd name="connsiteX308" fmla="*/ 3722393 w 5365133"/>
              <a:gd name="connsiteY308" fmla="*/ 3165921 h 4367670"/>
              <a:gd name="connsiteX309" fmla="*/ 3722437 w 5365133"/>
              <a:gd name="connsiteY309" fmla="*/ 3167674 h 4367670"/>
              <a:gd name="connsiteX310" fmla="*/ 3721645 w 5365133"/>
              <a:gd name="connsiteY310" fmla="*/ 3162939 h 4367670"/>
              <a:gd name="connsiteX311" fmla="*/ 3723420 w 5365133"/>
              <a:gd name="connsiteY311" fmla="*/ 3162193 h 4367670"/>
              <a:gd name="connsiteX312" fmla="*/ 3253725 w 5365133"/>
              <a:gd name="connsiteY312" fmla="*/ 3158077 h 4367670"/>
              <a:gd name="connsiteX313" fmla="*/ 3262011 w 5365133"/>
              <a:gd name="connsiteY313" fmla="*/ 3160687 h 4367670"/>
              <a:gd name="connsiteX314" fmla="*/ 3264716 w 5365133"/>
              <a:gd name="connsiteY314" fmla="*/ 3158290 h 4367670"/>
              <a:gd name="connsiteX315" fmla="*/ 3260182 w 5365133"/>
              <a:gd name="connsiteY315" fmla="*/ 3164534 h 4367670"/>
              <a:gd name="connsiteX316" fmla="*/ 3266640 w 5365133"/>
              <a:gd name="connsiteY316" fmla="*/ 3164534 h 4367670"/>
              <a:gd name="connsiteX317" fmla="*/ 3247268 w 5365133"/>
              <a:gd name="connsiteY317" fmla="*/ 3170991 h 4367670"/>
              <a:gd name="connsiteX318" fmla="*/ 3253725 w 5365133"/>
              <a:gd name="connsiteY318" fmla="*/ 3158077 h 4367670"/>
              <a:gd name="connsiteX319" fmla="*/ 3265529 w 5365133"/>
              <a:gd name="connsiteY319" fmla="*/ 3157169 h 4367670"/>
              <a:gd name="connsiteX320" fmla="*/ 3265005 w 5365133"/>
              <a:gd name="connsiteY320" fmla="*/ 3158034 h 4367670"/>
              <a:gd name="connsiteX321" fmla="*/ 3264716 w 5365133"/>
              <a:gd name="connsiteY321" fmla="*/ 3158290 h 4367670"/>
              <a:gd name="connsiteX322" fmla="*/ 3367797 w 5365133"/>
              <a:gd name="connsiteY322" fmla="*/ 3156642 h 4367670"/>
              <a:gd name="connsiteX323" fmla="*/ 3350579 w 5365133"/>
              <a:gd name="connsiteY323" fmla="*/ 3170991 h 4367670"/>
              <a:gd name="connsiteX324" fmla="*/ 3353448 w 5365133"/>
              <a:gd name="connsiteY324" fmla="*/ 3164713 h 4367670"/>
              <a:gd name="connsiteX325" fmla="*/ 3356080 w 5365133"/>
              <a:gd name="connsiteY325" fmla="*/ 3163295 h 4367670"/>
              <a:gd name="connsiteX326" fmla="*/ 3356319 w 5365133"/>
              <a:gd name="connsiteY326" fmla="*/ 3163816 h 4367670"/>
              <a:gd name="connsiteX327" fmla="*/ 3358650 w 5365133"/>
              <a:gd name="connsiteY327" fmla="*/ 3161910 h 4367670"/>
              <a:gd name="connsiteX328" fmla="*/ 3356080 w 5365133"/>
              <a:gd name="connsiteY328" fmla="*/ 3163295 h 4367670"/>
              <a:gd name="connsiteX329" fmla="*/ 3354884 w 5365133"/>
              <a:gd name="connsiteY329" fmla="*/ 3160677 h 4367670"/>
              <a:gd name="connsiteX330" fmla="*/ 3367797 w 5365133"/>
              <a:gd name="connsiteY330" fmla="*/ 3156642 h 4367670"/>
              <a:gd name="connsiteX331" fmla="*/ 3381474 w 5365133"/>
              <a:gd name="connsiteY331" fmla="*/ 3154432 h 4367670"/>
              <a:gd name="connsiteX332" fmla="*/ 3379276 w 5365133"/>
              <a:gd name="connsiteY332" fmla="*/ 3157986 h 4367670"/>
              <a:gd name="connsiteX333" fmla="*/ 3374615 w 5365133"/>
              <a:gd name="connsiteY333" fmla="*/ 3158491 h 4367670"/>
              <a:gd name="connsiteX334" fmla="*/ 3451019 w 5365133"/>
              <a:gd name="connsiteY334" fmla="*/ 3139423 h 4367670"/>
              <a:gd name="connsiteX335" fmla="*/ 3456758 w 5365133"/>
              <a:gd name="connsiteY335" fmla="*/ 3156642 h 4367670"/>
              <a:gd name="connsiteX336" fmla="*/ 3445279 w 5365133"/>
              <a:gd name="connsiteY336" fmla="*/ 3156642 h 4367670"/>
              <a:gd name="connsiteX337" fmla="*/ 3445279 w 5365133"/>
              <a:gd name="connsiteY337" fmla="*/ 3145162 h 4367670"/>
              <a:gd name="connsiteX338" fmla="*/ 3410842 w 5365133"/>
              <a:gd name="connsiteY338" fmla="*/ 3156642 h 4367670"/>
              <a:gd name="connsiteX339" fmla="*/ 3451019 w 5365133"/>
              <a:gd name="connsiteY339" fmla="*/ 3139423 h 4367670"/>
              <a:gd name="connsiteX340" fmla="*/ 3396494 w 5365133"/>
              <a:gd name="connsiteY340" fmla="*/ 3139423 h 4367670"/>
              <a:gd name="connsiteX341" fmla="*/ 3414154 w 5365133"/>
              <a:gd name="connsiteY341" fmla="*/ 3139898 h 4367670"/>
              <a:gd name="connsiteX342" fmla="*/ 3402594 w 5365133"/>
              <a:gd name="connsiteY342" fmla="*/ 3145162 h 4367670"/>
              <a:gd name="connsiteX343" fmla="*/ 3396494 w 5365133"/>
              <a:gd name="connsiteY343" fmla="*/ 3139423 h 4367670"/>
              <a:gd name="connsiteX344" fmla="*/ 3390755 w 5365133"/>
              <a:gd name="connsiteY344" fmla="*/ 3139423 h 4367670"/>
              <a:gd name="connsiteX345" fmla="*/ 3385015 w 5365133"/>
              <a:gd name="connsiteY345" fmla="*/ 3152337 h 4367670"/>
              <a:gd name="connsiteX346" fmla="*/ 3381474 w 5365133"/>
              <a:gd name="connsiteY346" fmla="*/ 3154432 h 4367670"/>
              <a:gd name="connsiteX347" fmla="*/ 3482587 w 5365133"/>
              <a:gd name="connsiteY347" fmla="*/ 3133684 h 4367670"/>
              <a:gd name="connsiteX348" fmla="*/ 3482587 w 5365133"/>
              <a:gd name="connsiteY348" fmla="*/ 3139423 h 4367670"/>
              <a:gd name="connsiteX349" fmla="*/ 3476130 w 5365133"/>
              <a:gd name="connsiteY349" fmla="*/ 3139423 h 4367670"/>
              <a:gd name="connsiteX350" fmla="*/ 3463215 w 5365133"/>
              <a:gd name="connsiteY350" fmla="*/ 3150902 h 4367670"/>
              <a:gd name="connsiteX351" fmla="*/ 3456758 w 5365133"/>
              <a:gd name="connsiteY351" fmla="*/ 3139423 h 4367670"/>
              <a:gd name="connsiteX352" fmla="*/ 3482587 w 5365133"/>
              <a:gd name="connsiteY352" fmla="*/ 3133684 h 4367670"/>
              <a:gd name="connsiteX353" fmla="*/ 3787403 w 5365133"/>
              <a:gd name="connsiteY353" fmla="*/ 3133120 h 4367670"/>
              <a:gd name="connsiteX354" fmla="*/ 3799359 w 5365133"/>
              <a:gd name="connsiteY354" fmla="*/ 3145047 h 4367670"/>
              <a:gd name="connsiteX355" fmla="*/ 3793381 w 5365133"/>
              <a:gd name="connsiteY355" fmla="*/ 3145047 h 4367670"/>
              <a:gd name="connsiteX356" fmla="*/ 3787403 w 5365133"/>
              <a:gd name="connsiteY356" fmla="*/ 3156974 h 4367670"/>
              <a:gd name="connsiteX357" fmla="*/ 3781424 w 5365133"/>
              <a:gd name="connsiteY357" fmla="*/ 3151010 h 4367670"/>
              <a:gd name="connsiteX358" fmla="*/ 3787403 w 5365133"/>
              <a:gd name="connsiteY358" fmla="*/ 3139083 h 4367670"/>
              <a:gd name="connsiteX359" fmla="*/ 3781424 w 5365133"/>
              <a:gd name="connsiteY359" fmla="*/ 3139083 h 4367670"/>
              <a:gd name="connsiteX360" fmla="*/ 3787403 w 5365133"/>
              <a:gd name="connsiteY360" fmla="*/ 3133120 h 4367670"/>
              <a:gd name="connsiteX361" fmla="*/ 3528502 w 5365133"/>
              <a:gd name="connsiteY361" fmla="*/ 3127944 h 4367670"/>
              <a:gd name="connsiteX362" fmla="*/ 3528502 w 5365133"/>
              <a:gd name="connsiteY362" fmla="*/ 3139423 h 4367670"/>
              <a:gd name="connsiteX363" fmla="*/ 3517023 w 5365133"/>
              <a:gd name="connsiteY363" fmla="*/ 3133684 h 4367670"/>
              <a:gd name="connsiteX364" fmla="*/ 3528502 w 5365133"/>
              <a:gd name="connsiteY364" fmla="*/ 3127944 h 4367670"/>
              <a:gd name="connsiteX365" fmla="*/ 3445281 w 5365133"/>
              <a:gd name="connsiteY365" fmla="*/ 3127944 h 4367670"/>
              <a:gd name="connsiteX366" fmla="*/ 3423174 w 5365133"/>
              <a:gd name="connsiteY366" fmla="*/ 3140141 h 4367670"/>
              <a:gd name="connsiteX367" fmla="*/ 3414154 w 5365133"/>
              <a:gd name="connsiteY367" fmla="*/ 3139898 h 4367670"/>
              <a:gd name="connsiteX368" fmla="*/ 3426224 w 5365133"/>
              <a:gd name="connsiteY368" fmla="*/ 3134401 h 4367670"/>
              <a:gd name="connsiteX369" fmla="*/ 3445281 w 5365133"/>
              <a:gd name="connsiteY369" fmla="*/ 3127944 h 4367670"/>
              <a:gd name="connsiteX370" fmla="*/ 3637952 w 5365133"/>
              <a:gd name="connsiteY370" fmla="*/ 3121191 h 4367670"/>
              <a:gd name="connsiteX371" fmla="*/ 3637952 w 5365133"/>
              <a:gd name="connsiteY371" fmla="*/ 3133120 h 4367670"/>
              <a:gd name="connsiteX372" fmla="*/ 3634963 w 5365133"/>
              <a:gd name="connsiteY372" fmla="*/ 3131628 h 4367670"/>
              <a:gd name="connsiteX373" fmla="*/ 3632876 w 5365133"/>
              <a:gd name="connsiteY373" fmla="*/ 3136832 h 4367670"/>
              <a:gd name="connsiteX374" fmla="*/ 3631465 w 5365133"/>
              <a:gd name="connsiteY374" fmla="*/ 3137864 h 4367670"/>
              <a:gd name="connsiteX375" fmla="*/ 3628237 w 5365133"/>
              <a:gd name="connsiteY375" fmla="*/ 3130137 h 4367670"/>
              <a:gd name="connsiteX376" fmla="*/ 3637952 w 5365133"/>
              <a:gd name="connsiteY376" fmla="*/ 3121191 h 4367670"/>
              <a:gd name="connsiteX377" fmla="*/ 3598536 w 5365133"/>
              <a:gd name="connsiteY377" fmla="*/ 3119607 h 4367670"/>
              <a:gd name="connsiteX378" fmla="*/ 3602086 w 5365133"/>
              <a:gd name="connsiteY378" fmla="*/ 3127154 h 4367670"/>
              <a:gd name="connsiteX379" fmla="*/ 3590129 w 5365133"/>
              <a:gd name="connsiteY379" fmla="*/ 3127154 h 4367670"/>
              <a:gd name="connsiteX380" fmla="*/ 3596107 w 5365133"/>
              <a:gd name="connsiteY380" fmla="*/ 3120446 h 4367670"/>
              <a:gd name="connsiteX381" fmla="*/ 3598536 w 5365133"/>
              <a:gd name="connsiteY381" fmla="*/ 3119607 h 4367670"/>
              <a:gd name="connsiteX382" fmla="*/ 3468603 w 5365133"/>
              <a:gd name="connsiteY382" fmla="*/ 3117093 h 4367670"/>
              <a:gd name="connsiteX383" fmla="*/ 3455073 w 5365133"/>
              <a:gd name="connsiteY383" fmla="*/ 3127944 h 4367670"/>
              <a:gd name="connsiteX384" fmla="*/ 3445279 w 5365133"/>
              <a:gd name="connsiteY384" fmla="*/ 3122205 h 4367670"/>
              <a:gd name="connsiteX385" fmla="*/ 3462323 w 5365133"/>
              <a:gd name="connsiteY385" fmla="*/ 3119514 h 4367670"/>
              <a:gd name="connsiteX386" fmla="*/ 3470419 w 5365133"/>
              <a:gd name="connsiteY386" fmla="*/ 3116393 h 4367670"/>
              <a:gd name="connsiteX387" fmla="*/ 3468603 w 5365133"/>
              <a:gd name="connsiteY387" fmla="*/ 3117093 h 4367670"/>
              <a:gd name="connsiteX388" fmla="*/ 3469385 w 5365133"/>
              <a:gd name="connsiteY388" fmla="*/ 3116465 h 4367670"/>
              <a:gd name="connsiteX389" fmla="*/ 3636278 w 5365133"/>
              <a:gd name="connsiteY389" fmla="*/ 3110725 h 4367670"/>
              <a:gd name="connsiteX390" fmla="*/ 3642337 w 5365133"/>
              <a:gd name="connsiteY390" fmla="*/ 3110725 h 4367670"/>
              <a:gd name="connsiteX391" fmla="*/ 3636278 w 5365133"/>
              <a:gd name="connsiteY391" fmla="*/ 3116465 h 4367670"/>
              <a:gd name="connsiteX392" fmla="*/ 3636278 w 5365133"/>
              <a:gd name="connsiteY392" fmla="*/ 3110725 h 4367670"/>
              <a:gd name="connsiteX393" fmla="*/ 3596107 w 5365133"/>
              <a:gd name="connsiteY393" fmla="*/ 3109263 h 4367670"/>
              <a:gd name="connsiteX394" fmla="*/ 3602086 w 5365133"/>
              <a:gd name="connsiteY394" fmla="*/ 3110009 h 4367670"/>
              <a:gd name="connsiteX395" fmla="*/ 3602359 w 5365133"/>
              <a:gd name="connsiteY395" fmla="*/ 3110248 h 4367670"/>
              <a:gd name="connsiteX396" fmla="*/ 3868703 w 5365133"/>
              <a:gd name="connsiteY396" fmla="*/ 3106877 h 4367670"/>
              <a:gd name="connsiteX397" fmla="*/ 3871094 w 5365133"/>
              <a:gd name="connsiteY397" fmla="*/ 3109263 h 4367670"/>
              <a:gd name="connsiteX398" fmla="*/ 3869661 w 5365133"/>
              <a:gd name="connsiteY398" fmla="*/ 3110217 h 4367670"/>
              <a:gd name="connsiteX399" fmla="*/ 3505545 w 5365133"/>
              <a:gd name="connsiteY399" fmla="*/ 3104986 h 4367670"/>
              <a:gd name="connsiteX400" fmla="*/ 3489725 w 5365133"/>
              <a:gd name="connsiteY400" fmla="*/ 3115030 h 4367670"/>
              <a:gd name="connsiteX401" fmla="*/ 3470419 w 5365133"/>
              <a:gd name="connsiteY401" fmla="*/ 3116393 h 4367670"/>
              <a:gd name="connsiteX402" fmla="*/ 3477672 w 5365133"/>
              <a:gd name="connsiteY402" fmla="*/ 3113595 h 4367670"/>
              <a:gd name="connsiteX403" fmla="*/ 3505545 w 5365133"/>
              <a:gd name="connsiteY403" fmla="*/ 3104986 h 4367670"/>
              <a:gd name="connsiteX404" fmla="*/ 3451019 w 5365133"/>
              <a:gd name="connsiteY404" fmla="*/ 3104986 h 4367670"/>
              <a:gd name="connsiteX405" fmla="*/ 3428061 w 5365133"/>
              <a:gd name="connsiteY405" fmla="*/ 3116465 h 4367670"/>
              <a:gd name="connsiteX406" fmla="*/ 3451019 w 5365133"/>
              <a:gd name="connsiteY406" fmla="*/ 3104986 h 4367670"/>
              <a:gd name="connsiteX407" fmla="*/ 3866052 w 5365133"/>
              <a:gd name="connsiteY407" fmla="*/ 3101808 h 4367670"/>
              <a:gd name="connsiteX408" fmla="*/ 3868105 w 5365133"/>
              <a:gd name="connsiteY408" fmla="*/ 3104789 h 4367670"/>
              <a:gd name="connsiteX409" fmla="*/ 3868703 w 5365133"/>
              <a:gd name="connsiteY409" fmla="*/ 3106877 h 4367670"/>
              <a:gd name="connsiteX410" fmla="*/ 3865118 w 5365133"/>
              <a:gd name="connsiteY410" fmla="*/ 3103299 h 4367670"/>
              <a:gd name="connsiteX411" fmla="*/ 3866052 w 5365133"/>
              <a:gd name="connsiteY411" fmla="*/ 3101808 h 4367670"/>
              <a:gd name="connsiteX412" fmla="*/ 3722393 w 5365133"/>
              <a:gd name="connsiteY412" fmla="*/ 3096589 h 4367670"/>
              <a:gd name="connsiteX413" fmla="*/ 3723420 w 5365133"/>
              <a:gd name="connsiteY413" fmla="*/ 3097428 h 4367670"/>
              <a:gd name="connsiteX414" fmla="*/ 3722828 w 5365133"/>
              <a:gd name="connsiteY414" fmla="*/ 3099385 h 4367670"/>
              <a:gd name="connsiteX415" fmla="*/ 3722486 w 5365133"/>
              <a:gd name="connsiteY415" fmla="*/ 3099106 h 4367670"/>
              <a:gd name="connsiteX416" fmla="*/ 3722393 w 5365133"/>
              <a:gd name="connsiteY416" fmla="*/ 3096589 h 4367670"/>
              <a:gd name="connsiteX417" fmla="*/ 3654455 w 5365133"/>
              <a:gd name="connsiteY417" fmla="*/ 3093507 h 4367670"/>
              <a:gd name="connsiteX418" fmla="*/ 3648395 w 5365133"/>
              <a:gd name="connsiteY418" fmla="*/ 3110725 h 4367670"/>
              <a:gd name="connsiteX419" fmla="*/ 3636278 w 5365133"/>
              <a:gd name="connsiteY419" fmla="*/ 3110725 h 4367670"/>
              <a:gd name="connsiteX420" fmla="*/ 3618103 w 5365133"/>
              <a:gd name="connsiteY420" fmla="*/ 3133684 h 4367670"/>
              <a:gd name="connsiteX421" fmla="*/ 3618103 w 5365133"/>
              <a:gd name="connsiteY421" fmla="*/ 3127154 h 4367670"/>
              <a:gd name="connsiteX422" fmla="*/ 3605073 w 5365133"/>
              <a:gd name="connsiteY422" fmla="*/ 3127154 h 4367670"/>
              <a:gd name="connsiteX423" fmla="*/ 3602086 w 5365133"/>
              <a:gd name="connsiteY423" fmla="*/ 3127154 h 4367670"/>
              <a:gd name="connsiteX424" fmla="*/ 3608063 w 5365133"/>
              <a:gd name="connsiteY424" fmla="*/ 3115227 h 4367670"/>
              <a:gd name="connsiteX425" fmla="*/ 3602359 w 5365133"/>
              <a:gd name="connsiteY425" fmla="*/ 3110248 h 4367670"/>
              <a:gd name="connsiteX426" fmla="*/ 3610305 w 5365133"/>
              <a:gd name="connsiteY426" fmla="*/ 3111499 h 4367670"/>
              <a:gd name="connsiteX427" fmla="*/ 3618103 w 5365133"/>
              <a:gd name="connsiteY427" fmla="*/ 3124070 h 4367670"/>
              <a:gd name="connsiteX428" fmla="*/ 3618103 w 5365133"/>
              <a:gd name="connsiteY428" fmla="*/ 3116465 h 4367670"/>
              <a:gd name="connsiteX429" fmla="*/ 3618103 w 5365133"/>
              <a:gd name="connsiteY429" fmla="*/ 3104986 h 4367670"/>
              <a:gd name="connsiteX430" fmla="*/ 3624163 w 5365133"/>
              <a:gd name="connsiteY430" fmla="*/ 3116465 h 4367670"/>
              <a:gd name="connsiteX431" fmla="*/ 3654455 w 5365133"/>
              <a:gd name="connsiteY431" fmla="*/ 3093507 h 4367670"/>
              <a:gd name="connsiteX432" fmla="*/ 3767363 w 5365133"/>
              <a:gd name="connsiteY432" fmla="*/ 3086624 h 4367670"/>
              <a:gd name="connsiteX433" fmla="*/ 3769561 w 5365133"/>
              <a:gd name="connsiteY433" fmla="*/ 3092072 h 4367670"/>
              <a:gd name="connsiteX434" fmla="*/ 3749471 w 5365133"/>
              <a:gd name="connsiteY434" fmla="*/ 3092072 h 4367670"/>
              <a:gd name="connsiteX435" fmla="*/ 3762027 w 5365133"/>
              <a:gd name="connsiteY435" fmla="*/ 3087229 h 4367670"/>
              <a:gd name="connsiteX436" fmla="*/ 3767363 w 5365133"/>
              <a:gd name="connsiteY436" fmla="*/ 3086624 h 4367670"/>
              <a:gd name="connsiteX437" fmla="*/ 3745556 w 5365133"/>
              <a:gd name="connsiteY437" fmla="*/ 3085407 h 4367670"/>
              <a:gd name="connsiteX438" fmla="*/ 3751535 w 5365133"/>
              <a:gd name="connsiteY438" fmla="*/ 3097334 h 4367670"/>
              <a:gd name="connsiteX439" fmla="*/ 3530348 w 5365133"/>
              <a:gd name="connsiteY439" fmla="*/ 3186794 h 4367670"/>
              <a:gd name="connsiteX440" fmla="*/ 3524370 w 5365133"/>
              <a:gd name="connsiteY440" fmla="*/ 3192760 h 4367670"/>
              <a:gd name="connsiteX441" fmla="*/ 3489346 w 5365133"/>
              <a:gd name="connsiteY441" fmla="*/ 3204407 h 4367670"/>
              <a:gd name="connsiteX442" fmla="*/ 3488326 w 5365133"/>
              <a:gd name="connsiteY442" fmla="*/ 3205426 h 4367670"/>
              <a:gd name="connsiteX443" fmla="*/ 3488424 w 5365133"/>
              <a:gd name="connsiteY443" fmla="*/ 3204714 h 4367670"/>
              <a:gd name="connsiteX444" fmla="*/ 3470569 w 5365133"/>
              <a:gd name="connsiteY444" fmla="*/ 3210650 h 4367670"/>
              <a:gd name="connsiteX445" fmla="*/ 3488501 w 5365133"/>
              <a:gd name="connsiteY445" fmla="*/ 3192760 h 4367670"/>
              <a:gd name="connsiteX446" fmla="*/ 3482523 w 5365133"/>
              <a:gd name="connsiteY446" fmla="*/ 3180830 h 4367670"/>
              <a:gd name="connsiteX447" fmla="*/ 3482523 w 5365133"/>
              <a:gd name="connsiteY447" fmla="*/ 3192760 h 4367670"/>
              <a:gd name="connsiteX448" fmla="*/ 3464591 w 5365133"/>
              <a:gd name="connsiteY448" fmla="*/ 3198723 h 4367670"/>
              <a:gd name="connsiteX449" fmla="*/ 3470569 w 5365133"/>
              <a:gd name="connsiteY449" fmla="*/ 3192760 h 4367670"/>
              <a:gd name="connsiteX450" fmla="*/ 3462162 w 5365133"/>
              <a:gd name="connsiteY450" fmla="*/ 3194437 h 4367670"/>
              <a:gd name="connsiteX451" fmla="*/ 3462125 w 5365133"/>
              <a:gd name="connsiteY451" fmla="*/ 3194419 h 4367670"/>
              <a:gd name="connsiteX452" fmla="*/ 3461602 w 5365133"/>
              <a:gd name="connsiteY452" fmla="*/ 3193505 h 4367670"/>
              <a:gd name="connsiteX453" fmla="*/ 3458613 w 5365133"/>
              <a:gd name="connsiteY453" fmla="*/ 3192760 h 4367670"/>
              <a:gd name="connsiteX454" fmla="*/ 3462125 w 5365133"/>
              <a:gd name="connsiteY454" fmla="*/ 3194419 h 4367670"/>
              <a:gd name="connsiteX455" fmla="*/ 3464591 w 5365133"/>
              <a:gd name="connsiteY455" fmla="*/ 3198723 h 4367670"/>
              <a:gd name="connsiteX456" fmla="*/ 3452634 w 5365133"/>
              <a:gd name="connsiteY456" fmla="*/ 3210650 h 4367670"/>
              <a:gd name="connsiteX457" fmla="*/ 3440679 w 5365133"/>
              <a:gd name="connsiteY457" fmla="*/ 3192760 h 4367670"/>
              <a:gd name="connsiteX458" fmla="*/ 3446657 w 5365133"/>
              <a:gd name="connsiteY458" fmla="*/ 3204687 h 4367670"/>
              <a:gd name="connsiteX459" fmla="*/ 3434701 w 5365133"/>
              <a:gd name="connsiteY459" fmla="*/ 3198723 h 4367670"/>
              <a:gd name="connsiteX460" fmla="*/ 3421249 w 5365133"/>
              <a:gd name="connsiteY460" fmla="*/ 3216615 h 4367670"/>
              <a:gd name="connsiteX461" fmla="*/ 3404810 w 5365133"/>
              <a:gd name="connsiteY461" fmla="*/ 3216615 h 4367670"/>
              <a:gd name="connsiteX462" fmla="*/ 3428722 w 5365133"/>
              <a:gd name="connsiteY462" fmla="*/ 3198723 h 4367670"/>
              <a:gd name="connsiteX463" fmla="*/ 3404810 w 5365133"/>
              <a:gd name="connsiteY463" fmla="*/ 3198723 h 4367670"/>
              <a:gd name="connsiteX464" fmla="*/ 3404810 w 5365133"/>
              <a:gd name="connsiteY464" fmla="*/ 3192760 h 4367670"/>
              <a:gd name="connsiteX465" fmla="*/ 3410788 w 5365133"/>
              <a:gd name="connsiteY465" fmla="*/ 3180830 h 4367670"/>
              <a:gd name="connsiteX466" fmla="*/ 3410788 w 5365133"/>
              <a:gd name="connsiteY466" fmla="*/ 3192760 h 4367670"/>
              <a:gd name="connsiteX467" fmla="*/ 3422744 w 5365133"/>
              <a:gd name="connsiteY467" fmla="*/ 3192760 h 4367670"/>
              <a:gd name="connsiteX468" fmla="*/ 3452634 w 5365133"/>
              <a:gd name="connsiteY468" fmla="*/ 3180830 h 4367670"/>
              <a:gd name="connsiteX469" fmla="*/ 3428722 w 5365133"/>
              <a:gd name="connsiteY469" fmla="*/ 3180830 h 4367670"/>
              <a:gd name="connsiteX470" fmla="*/ 3434701 w 5365133"/>
              <a:gd name="connsiteY470" fmla="*/ 3174867 h 4367670"/>
              <a:gd name="connsiteX471" fmla="*/ 3437690 w 5365133"/>
              <a:gd name="connsiteY471" fmla="*/ 3174121 h 4367670"/>
              <a:gd name="connsiteX472" fmla="*/ 3438075 w 5365133"/>
              <a:gd name="connsiteY472" fmla="*/ 3173450 h 4367670"/>
              <a:gd name="connsiteX473" fmla="*/ 3448898 w 5365133"/>
              <a:gd name="connsiteY473" fmla="*/ 3168903 h 4367670"/>
              <a:gd name="connsiteX474" fmla="*/ 3458613 w 5365133"/>
              <a:gd name="connsiteY474" fmla="*/ 3162939 h 4367670"/>
              <a:gd name="connsiteX475" fmla="*/ 3464591 w 5365133"/>
              <a:gd name="connsiteY475" fmla="*/ 3174867 h 4367670"/>
              <a:gd name="connsiteX476" fmla="*/ 3476547 w 5365133"/>
              <a:gd name="connsiteY476" fmla="*/ 3168903 h 4367670"/>
              <a:gd name="connsiteX477" fmla="*/ 3476547 w 5365133"/>
              <a:gd name="connsiteY477" fmla="*/ 3156974 h 4367670"/>
              <a:gd name="connsiteX478" fmla="*/ 3506436 w 5365133"/>
              <a:gd name="connsiteY478" fmla="*/ 3156974 h 4367670"/>
              <a:gd name="connsiteX479" fmla="*/ 3500458 w 5365133"/>
              <a:gd name="connsiteY479" fmla="*/ 3145047 h 4367670"/>
              <a:gd name="connsiteX480" fmla="*/ 3518392 w 5365133"/>
              <a:gd name="connsiteY480" fmla="*/ 3145047 h 4367670"/>
              <a:gd name="connsiteX481" fmla="*/ 3506436 w 5365133"/>
              <a:gd name="connsiteY481" fmla="*/ 3151010 h 4367670"/>
              <a:gd name="connsiteX482" fmla="*/ 3511230 w 5365133"/>
              <a:gd name="connsiteY482" fmla="*/ 3165358 h 4367670"/>
              <a:gd name="connsiteX483" fmla="*/ 3511283 w 5365133"/>
              <a:gd name="connsiteY483" fmla="*/ 3165249 h 4367670"/>
              <a:gd name="connsiteX484" fmla="*/ 3511283 w 5365133"/>
              <a:gd name="connsiteY484" fmla="*/ 3165521 h 4367670"/>
              <a:gd name="connsiteX485" fmla="*/ 3512414 w 5365133"/>
              <a:gd name="connsiteY485" fmla="*/ 3168903 h 4367670"/>
              <a:gd name="connsiteX486" fmla="*/ 3518392 w 5365133"/>
              <a:gd name="connsiteY486" fmla="*/ 3151010 h 4367670"/>
              <a:gd name="connsiteX487" fmla="*/ 3566217 w 5365133"/>
              <a:gd name="connsiteY487" fmla="*/ 3121191 h 4367670"/>
              <a:gd name="connsiteX488" fmla="*/ 3542304 w 5365133"/>
              <a:gd name="connsiteY488" fmla="*/ 3139083 h 4367670"/>
              <a:gd name="connsiteX489" fmla="*/ 3584151 w 5365133"/>
              <a:gd name="connsiteY489" fmla="*/ 3115227 h 4367670"/>
              <a:gd name="connsiteX490" fmla="*/ 3590129 w 5365133"/>
              <a:gd name="connsiteY490" fmla="*/ 3127154 h 4367670"/>
              <a:gd name="connsiteX491" fmla="*/ 3596107 w 5365133"/>
              <a:gd name="connsiteY491" fmla="*/ 3139083 h 4367670"/>
              <a:gd name="connsiteX492" fmla="*/ 3584151 w 5365133"/>
              <a:gd name="connsiteY492" fmla="*/ 3156974 h 4367670"/>
              <a:gd name="connsiteX493" fmla="*/ 3615534 w 5365133"/>
              <a:gd name="connsiteY493" fmla="*/ 3149521 h 4367670"/>
              <a:gd name="connsiteX494" fmla="*/ 3631465 w 5365133"/>
              <a:gd name="connsiteY494" fmla="*/ 3137864 h 4367670"/>
              <a:gd name="connsiteX495" fmla="*/ 3631974 w 5365133"/>
              <a:gd name="connsiteY495" fmla="*/ 3139083 h 4367670"/>
              <a:gd name="connsiteX496" fmla="*/ 3632876 w 5365133"/>
              <a:gd name="connsiteY496" fmla="*/ 3136832 h 4367670"/>
              <a:gd name="connsiteX497" fmla="*/ 3637952 w 5365133"/>
              <a:gd name="connsiteY497" fmla="*/ 3133120 h 4367670"/>
              <a:gd name="connsiteX498" fmla="*/ 3643930 w 5365133"/>
              <a:gd name="connsiteY498" fmla="*/ 3127154 h 4367670"/>
              <a:gd name="connsiteX499" fmla="*/ 3643930 w 5365133"/>
              <a:gd name="connsiteY499" fmla="*/ 3133120 h 4367670"/>
              <a:gd name="connsiteX500" fmla="*/ 3715667 w 5365133"/>
              <a:gd name="connsiteY500" fmla="*/ 3097334 h 4367670"/>
              <a:gd name="connsiteX501" fmla="*/ 3721645 w 5365133"/>
              <a:gd name="connsiteY501" fmla="*/ 3103299 h 4367670"/>
              <a:gd name="connsiteX502" fmla="*/ 3722828 w 5365133"/>
              <a:gd name="connsiteY502" fmla="*/ 3099385 h 4367670"/>
              <a:gd name="connsiteX503" fmla="*/ 3727623 w 5365133"/>
              <a:gd name="connsiteY503" fmla="*/ 3103299 h 4367670"/>
              <a:gd name="connsiteX504" fmla="*/ 3745556 w 5365133"/>
              <a:gd name="connsiteY504" fmla="*/ 3085407 h 4367670"/>
              <a:gd name="connsiteX505" fmla="*/ 3548591 w 5365133"/>
              <a:gd name="connsiteY505" fmla="*/ 3079158 h 4367670"/>
              <a:gd name="connsiteX506" fmla="*/ 3528502 w 5365133"/>
              <a:gd name="connsiteY506" fmla="*/ 3092551 h 4367670"/>
              <a:gd name="connsiteX507" fmla="*/ 3548591 w 5365133"/>
              <a:gd name="connsiteY507" fmla="*/ 3079158 h 4367670"/>
              <a:gd name="connsiteX508" fmla="*/ 3508415 w 5365133"/>
              <a:gd name="connsiteY508" fmla="*/ 3077722 h 4367670"/>
              <a:gd name="connsiteX509" fmla="*/ 3517023 w 5365133"/>
              <a:gd name="connsiteY509" fmla="*/ 3079158 h 4367670"/>
              <a:gd name="connsiteX510" fmla="*/ 3499805 w 5365133"/>
              <a:gd name="connsiteY510" fmla="*/ 3084897 h 4367670"/>
              <a:gd name="connsiteX511" fmla="*/ 3508415 w 5365133"/>
              <a:gd name="connsiteY511" fmla="*/ 3077722 h 4367670"/>
              <a:gd name="connsiteX512" fmla="*/ 3571547 w 5365133"/>
              <a:gd name="connsiteY512" fmla="*/ 3073418 h 4367670"/>
              <a:gd name="connsiteX513" fmla="*/ 3571547 w 5365133"/>
              <a:gd name="connsiteY513" fmla="*/ 3079158 h 4367670"/>
              <a:gd name="connsiteX514" fmla="*/ 3571547 w 5365133"/>
              <a:gd name="connsiteY514" fmla="*/ 3073418 h 4367670"/>
              <a:gd name="connsiteX515" fmla="*/ 3709009 w 5365133"/>
              <a:gd name="connsiteY515" fmla="*/ 3067679 h 4367670"/>
              <a:gd name="connsiteX516" fmla="*/ 3715035 w 5365133"/>
              <a:gd name="connsiteY516" fmla="*/ 3067679 h 4367670"/>
              <a:gd name="connsiteX517" fmla="*/ 3696957 w 5365133"/>
              <a:gd name="connsiteY517" fmla="*/ 3086333 h 4367670"/>
              <a:gd name="connsiteX518" fmla="*/ 3666824 w 5365133"/>
              <a:gd name="connsiteY518" fmla="*/ 3104986 h 4367670"/>
              <a:gd name="connsiteX519" fmla="*/ 3654771 w 5365133"/>
              <a:gd name="connsiteY519" fmla="*/ 3092551 h 4367670"/>
              <a:gd name="connsiteX520" fmla="*/ 3678877 w 5365133"/>
              <a:gd name="connsiteY520" fmla="*/ 3077005 h 4367670"/>
              <a:gd name="connsiteX521" fmla="*/ 3683273 w 5365133"/>
              <a:gd name="connsiteY521" fmla="*/ 3077572 h 4367670"/>
              <a:gd name="connsiteX522" fmla="*/ 3689207 w 5365133"/>
              <a:gd name="connsiteY522" fmla="*/ 3073418 h 4367670"/>
              <a:gd name="connsiteX523" fmla="*/ 3685641 w 5365133"/>
              <a:gd name="connsiteY523" fmla="*/ 3077878 h 4367670"/>
              <a:gd name="connsiteX524" fmla="*/ 3702984 w 5365133"/>
              <a:gd name="connsiteY524" fmla="*/ 3080114 h 4367670"/>
              <a:gd name="connsiteX525" fmla="*/ 3709009 w 5365133"/>
              <a:gd name="connsiteY525" fmla="*/ 3067679 h 4367670"/>
              <a:gd name="connsiteX526" fmla="*/ 3972721 w 5365133"/>
              <a:gd name="connsiteY526" fmla="*/ 3061551 h 4367670"/>
              <a:gd name="connsiteX527" fmla="*/ 3978699 w 5365133"/>
              <a:gd name="connsiteY527" fmla="*/ 3073478 h 4367670"/>
              <a:gd name="connsiteX528" fmla="*/ 3841205 w 5365133"/>
              <a:gd name="connsiteY528" fmla="*/ 3139083 h 4367670"/>
              <a:gd name="connsiteX529" fmla="*/ 3835227 w 5365133"/>
              <a:gd name="connsiteY529" fmla="*/ 3133120 h 4367670"/>
              <a:gd name="connsiteX530" fmla="*/ 3823270 w 5365133"/>
              <a:gd name="connsiteY530" fmla="*/ 3133120 h 4367670"/>
              <a:gd name="connsiteX531" fmla="*/ 3823270 w 5365133"/>
              <a:gd name="connsiteY531" fmla="*/ 3145047 h 4367670"/>
              <a:gd name="connsiteX532" fmla="*/ 3805336 w 5365133"/>
              <a:gd name="connsiteY532" fmla="*/ 3151010 h 4367670"/>
              <a:gd name="connsiteX533" fmla="*/ 3799359 w 5365133"/>
              <a:gd name="connsiteY533" fmla="*/ 3145047 h 4367670"/>
              <a:gd name="connsiteX534" fmla="*/ 3799359 w 5365133"/>
              <a:gd name="connsiteY534" fmla="*/ 3121191 h 4367670"/>
              <a:gd name="connsiteX535" fmla="*/ 3805336 w 5365133"/>
              <a:gd name="connsiteY535" fmla="*/ 3139083 h 4367670"/>
              <a:gd name="connsiteX536" fmla="*/ 3817292 w 5365133"/>
              <a:gd name="connsiteY536" fmla="*/ 3127154 h 4367670"/>
              <a:gd name="connsiteX537" fmla="*/ 3853161 w 5365133"/>
              <a:gd name="connsiteY537" fmla="*/ 3115227 h 4367670"/>
              <a:gd name="connsiteX538" fmla="*/ 3859885 w 5365133"/>
              <a:gd name="connsiteY538" fmla="*/ 3116718 h 4367670"/>
              <a:gd name="connsiteX539" fmla="*/ 3869661 w 5365133"/>
              <a:gd name="connsiteY539" fmla="*/ 3110217 h 4367670"/>
              <a:gd name="connsiteX540" fmla="*/ 3871094 w 5365133"/>
              <a:gd name="connsiteY540" fmla="*/ 3115227 h 4367670"/>
              <a:gd name="connsiteX541" fmla="*/ 3871094 w 5365133"/>
              <a:gd name="connsiteY541" fmla="*/ 3091370 h 4367670"/>
              <a:gd name="connsiteX542" fmla="*/ 3889028 w 5365133"/>
              <a:gd name="connsiteY542" fmla="*/ 3103299 h 4367670"/>
              <a:gd name="connsiteX543" fmla="*/ 3972721 w 5365133"/>
              <a:gd name="connsiteY543" fmla="*/ 3061551 h 4367670"/>
              <a:gd name="connsiteX544" fmla="*/ 3617463 w 5365133"/>
              <a:gd name="connsiteY544" fmla="*/ 3050460 h 4367670"/>
              <a:gd name="connsiteX545" fmla="*/ 3588766 w 5365133"/>
              <a:gd name="connsiteY545" fmla="*/ 3073418 h 4367670"/>
              <a:gd name="connsiteX546" fmla="*/ 3617463 w 5365133"/>
              <a:gd name="connsiteY546" fmla="*/ 3050460 h 4367670"/>
              <a:gd name="connsiteX547" fmla="*/ 3536326 w 5365133"/>
              <a:gd name="connsiteY547" fmla="*/ 3043658 h 4367670"/>
              <a:gd name="connsiteX548" fmla="*/ 3536326 w 5365133"/>
              <a:gd name="connsiteY548" fmla="*/ 3049623 h 4367670"/>
              <a:gd name="connsiteX549" fmla="*/ 3524370 w 5365133"/>
              <a:gd name="connsiteY549" fmla="*/ 3055587 h 4367670"/>
              <a:gd name="connsiteX550" fmla="*/ 3522875 w 5365133"/>
              <a:gd name="connsiteY550" fmla="*/ 3051207 h 4367670"/>
              <a:gd name="connsiteX551" fmla="*/ 3523854 w 5365133"/>
              <a:gd name="connsiteY551" fmla="*/ 3049956 h 4367670"/>
              <a:gd name="connsiteX552" fmla="*/ 3524370 w 5365133"/>
              <a:gd name="connsiteY552" fmla="*/ 3049623 h 4367670"/>
              <a:gd name="connsiteX553" fmla="*/ 3524262 w 5365133"/>
              <a:gd name="connsiteY553" fmla="*/ 3049435 h 4367670"/>
              <a:gd name="connsiteX554" fmla="*/ 3525864 w 5365133"/>
              <a:gd name="connsiteY554" fmla="*/ 3047386 h 4367670"/>
              <a:gd name="connsiteX555" fmla="*/ 3536326 w 5365133"/>
              <a:gd name="connsiteY555" fmla="*/ 3043658 h 4367670"/>
              <a:gd name="connsiteX556" fmla="*/ 3654771 w 5365133"/>
              <a:gd name="connsiteY556" fmla="*/ 3038981 h 4367670"/>
              <a:gd name="connsiteX557" fmla="*/ 3626073 w 5365133"/>
              <a:gd name="connsiteY557" fmla="*/ 3056200 h 4367670"/>
              <a:gd name="connsiteX558" fmla="*/ 3654771 w 5365133"/>
              <a:gd name="connsiteY558" fmla="*/ 3038981 h 4367670"/>
              <a:gd name="connsiteX559" fmla="*/ 3677728 w 5365133"/>
              <a:gd name="connsiteY559" fmla="*/ 3027503 h 4367670"/>
              <a:gd name="connsiteX560" fmla="*/ 3660510 w 5365133"/>
              <a:gd name="connsiteY560" fmla="*/ 3044721 h 4367670"/>
              <a:gd name="connsiteX561" fmla="*/ 3677728 w 5365133"/>
              <a:gd name="connsiteY561" fmla="*/ 3027503 h 4367670"/>
              <a:gd name="connsiteX562" fmla="*/ 3702600 w 5365133"/>
              <a:gd name="connsiteY562" fmla="*/ 3019610 h 4367670"/>
              <a:gd name="connsiteX563" fmla="*/ 3708819 w 5365133"/>
              <a:gd name="connsiteY563" fmla="*/ 3021763 h 4367670"/>
              <a:gd name="connsiteX564" fmla="*/ 3683948 w 5365133"/>
              <a:gd name="connsiteY564" fmla="*/ 3033242 h 4367670"/>
              <a:gd name="connsiteX565" fmla="*/ 3696382 w 5365133"/>
              <a:gd name="connsiteY565" fmla="*/ 3021763 h 4367670"/>
              <a:gd name="connsiteX566" fmla="*/ 3702600 w 5365133"/>
              <a:gd name="connsiteY566" fmla="*/ 3019610 h 4367670"/>
              <a:gd name="connsiteX567" fmla="*/ 3590129 w 5365133"/>
              <a:gd name="connsiteY567" fmla="*/ 2984018 h 4367670"/>
              <a:gd name="connsiteX568" fmla="*/ 3584151 w 5365133"/>
              <a:gd name="connsiteY568" fmla="*/ 2989982 h 4367670"/>
              <a:gd name="connsiteX569" fmla="*/ 3584453 w 5365133"/>
              <a:gd name="connsiteY569" fmla="*/ 2987868 h 4367670"/>
              <a:gd name="connsiteX570" fmla="*/ 3683774 w 5365133"/>
              <a:gd name="connsiteY570" fmla="*/ 2980670 h 4367670"/>
              <a:gd name="connsiteX571" fmla="*/ 3674816 w 5365133"/>
              <a:gd name="connsiteY571" fmla="*/ 2991728 h 4367670"/>
              <a:gd name="connsiteX572" fmla="*/ 3660773 w 5365133"/>
              <a:gd name="connsiteY572" fmla="*/ 3003590 h 4367670"/>
              <a:gd name="connsiteX573" fmla="*/ 3658554 w 5365133"/>
              <a:gd name="connsiteY573" fmla="*/ 2994693 h 4367670"/>
              <a:gd name="connsiteX574" fmla="*/ 3659928 w 5365133"/>
              <a:gd name="connsiteY574" fmla="*/ 2989184 h 4367670"/>
              <a:gd name="connsiteX575" fmla="*/ 3671416 w 5365133"/>
              <a:gd name="connsiteY575" fmla="*/ 2983425 h 4367670"/>
              <a:gd name="connsiteX576" fmla="*/ 3684426 w 5365133"/>
              <a:gd name="connsiteY576" fmla="*/ 2979865 h 4367670"/>
              <a:gd name="connsiteX577" fmla="*/ 3686208 w 5365133"/>
              <a:gd name="connsiteY577" fmla="*/ 2980128 h 4367670"/>
              <a:gd name="connsiteX578" fmla="*/ 3683774 w 5365133"/>
              <a:gd name="connsiteY578" fmla="*/ 2980670 h 4367670"/>
              <a:gd name="connsiteX579" fmla="*/ 4005405 w 5365133"/>
              <a:gd name="connsiteY579" fmla="*/ 2975075 h 4367670"/>
              <a:gd name="connsiteX580" fmla="*/ 4003577 w 5365133"/>
              <a:gd name="connsiteY580" fmla="*/ 2976031 h 4367670"/>
              <a:gd name="connsiteX581" fmla="*/ 3960221 w 5365133"/>
              <a:gd name="connsiteY581" fmla="*/ 2990103 h 4367670"/>
              <a:gd name="connsiteX582" fmla="*/ 3749019 w 5365133"/>
              <a:gd name="connsiteY582" fmla="*/ 2955686 h 4367670"/>
              <a:gd name="connsiteX583" fmla="*/ 3749473 w 5365133"/>
              <a:gd name="connsiteY583" fmla="*/ 2956143 h 4367670"/>
              <a:gd name="connsiteX584" fmla="*/ 3749066 w 5365133"/>
              <a:gd name="connsiteY584" fmla="*/ 2956347 h 4367670"/>
              <a:gd name="connsiteX585" fmla="*/ 3746979 w 5365133"/>
              <a:gd name="connsiteY585" fmla="*/ 2948729 h 4367670"/>
              <a:gd name="connsiteX586" fmla="*/ 3748734 w 5365133"/>
              <a:gd name="connsiteY586" fmla="*/ 2951694 h 4367670"/>
              <a:gd name="connsiteX587" fmla="*/ 3749019 w 5365133"/>
              <a:gd name="connsiteY587" fmla="*/ 2955686 h 4367670"/>
              <a:gd name="connsiteX588" fmla="*/ 3746517 w 5365133"/>
              <a:gd name="connsiteY588" fmla="*/ 2953177 h 4367670"/>
              <a:gd name="connsiteX589" fmla="*/ 3743560 w 5365133"/>
              <a:gd name="connsiteY589" fmla="*/ 2950212 h 4367670"/>
              <a:gd name="connsiteX590" fmla="*/ 3746979 w 5365133"/>
              <a:gd name="connsiteY590" fmla="*/ 2948729 h 4367670"/>
              <a:gd name="connsiteX591" fmla="*/ 4271765 w 5365133"/>
              <a:gd name="connsiteY591" fmla="*/ 2938541 h 4367670"/>
              <a:gd name="connsiteX592" fmla="*/ 4247636 w 5365133"/>
              <a:gd name="connsiteY592" fmla="*/ 2956150 h 4367670"/>
              <a:gd name="connsiteX593" fmla="*/ 3976181 w 5365133"/>
              <a:gd name="connsiteY593" fmla="*/ 3067680 h 4367670"/>
              <a:gd name="connsiteX594" fmla="*/ 4012376 w 5365133"/>
              <a:gd name="connsiteY594" fmla="*/ 3044200 h 4367670"/>
              <a:gd name="connsiteX595" fmla="*/ 4139054 w 5365133"/>
              <a:gd name="connsiteY595" fmla="*/ 2997241 h 4367670"/>
              <a:gd name="connsiteX596" fmla="*/ 4205409 w 5365133"/>
              <a:gd name="connsiteY596" fmla="*/ 2967891 h 4367670"/>
              <a:gd name="connsiteX597" fmla="*/ 4241603 w 5365133"/>
              <a:gd name="connsiteY597" fmla="*/ 2956150 h 4367670"/>
              <a:gd name="connsiteX598" fmla="*/ 4247636 w 5365133"/>
              <a:gd name="connsiteY598" fmla="*/ 2944411 h 4367670"/>
              <a:gd name="connsiteX599" fmla="*/ 4271765 w 5365133"/>
              <a:gd name="connsiteY599" fmla="*/ 2938541 h 4367670"/>
              <a:gd name="connsiteX600" fmla="*/ 4280821 w 5365133"/>
              <a:gd name="connsiteY600" fmla="*/ 2928063 h 4367670"/>
              <a:gd name="connsiteX601" fmla="*/ 4282525 w 5365133"/>
              <a:gd name="connsiteY601" fmla="*/ 2928377 h 4367670"/>
              <a:gd name="connsiteX602" fmla="*/ 4283242 w 5365133"/>
              <a:gd name="connsiteY602" fmla="*/ 2930888 h 4367670"/>
              <a:gd name="connsiteX603" fmla="*/ 4300460 w 5365133"/>
              <a:gd name="connsiteY603" fmla="*/ 2930888 h 4367670"/>
              <a:gd name="connsiteX604" fmla="*/ 4288982 w 5365133"/>
              <a:gd name="connsiteY604" fmla="*/ 2944281 h 4367670"/>
              <a:gd name="connsiteX605" fmla="*/ 4277502 w 5365133"/>
              <a:gd name="connsiteY605" fmla="*/ 2930888 h 4367670"/>
              <a:gd name="connsiteX606" fmla="*/ 4280821 w 5365133"/>
              <a:gd name="connsiteY606" fmla="*/ 2928063 h 4367670"/>
              <a:gd name="connsiteX607" fmla="*/ 3803997 w 5365133"/>
              <a:gd name="connsiteY607" fmla="*/ 2924192 h 4367670"/>
              <a:gd name="connsiteX608" fmla="*/ 3797899 w 5365133"/>
              <a:gd name="connsiteY608" fmla="*/ 2936627 h 4367670"/>
              <a:gd name="connsiteX609" fmla="*/ 3755211 w 5365133"/>
              <a:gd name="connsiteY609" fmla="*/ 2961499 h 4367670"/>
              <a:gd name="connsiteX610" fmla="*/ 3755211 w 5365133"/>
              <a:gd name="connsiteY610" fmla="*/ 2942846 h 4367670"/>
              <a:gd name="connsiteX611" fmla="*/ 3803997 w 5365133"/>
              <a:gd name="connsiteY611" fmla="*/ 2924192 h 4367670"/>
              <a:gd name="connsiteX612" fmla="*/ 3924527 w 5365133"/>
              <a:gd name="connsiteY612" fmla="*/ 2884015 h 4367670"/>
              <a:gd name="connsiteX613" fmla="*/ 3911135 w 5365133"/>
              <a:gd name="connsiteY613" fmla="*/ 2895495 h 4367670"/>
              <a:gd name="connsiteX614" fmla="*/ 3924527 w 5365133"/>
              <a:gd name="connsiteY614" fmla="*/ 2884015 h 4367670"/>
              <a:gd name="connsiteX615" fmla="*/ 4389423 w 5365133"/>
              <a:gd name="connsiteY615" fmla="*/ 2878276 h 4367670"/>
              <a:gd name="connsiteX616" fmla="*/ 4383505 w 5365133"/>
              <a:gd name="connsiteY616" fmla="*/ 2901234 h 4367670"/>
              <a:gd name="connsiteX617" fmla="*/ 4371666 w 5365133"/>
              <a:gd name="connsiteY617" fmla="*/ 2906973 h 4367670"/>
              <a:gd name="connsiteX618" fmla="*/ 4353910 w 5365133"/>
              <a:gd name="connsiteY618" fmla="*/ 2901234 h 4367670"/>
              <a:gd name="connsiteX619" fmla="*/ 4330235 w 5365133"/>
              <a:gd name="connsiteY619" fmla="*/ 2906973 h 4367670"/>
              <a:gd name="connsiteX620" fmla="*/ 4330235 w 5365133"/>
              <a:gd name="connsiteY620" fmla="*/ 2918452 h 4367670"/>
              <a:gd name="connsiteX621" fmla="*/ 4318396 w 5365133"/>
              <a:gd name="connsiteY621" fmla="*/ 2912713 h 4367670"/>
              <a:gd name="connsiteX622" fmla="*/ 4312478 w 5365133"/>
              <a:gd name="connsiteY622" fmla="*/ 2924192 h 4367670"/>
              <a:gd name="connsiteX623" fmla="*/ 4294721 w 5365133"/>
              <a:gd name="connsiteY623" fmla="*/ 2918452 h 4367670"/>
              <a:gd name="connsiteX624" fmla="*/ 4324315 w 5365133"/>
              <a:gd name="connsiteY624" fmla="*/ 2901234 h 4367670"/>
              <a:gd name="connsiteX625" fmla="*/ 4353910 w 5365133"/>
              <a:gd name="connsiteY625" fmla="*/ 2895495 h 4367670"/>
              <a:gd name="connsiteX626" fmla="*/ 4359829 w 5365133"/>
              <a:gd name="connsiteY626" fmla="*/ 2901234 h 4367670"/>
              <a:gd name="connsiteX627" fmla="*/ 4371666 w 5365133"/>
              <a:gd name="connsiteY627" fmla="*/ 2889755 h 4367670"/>
              <a:gd name="connsiteX628" fmla="*/ 4383505 w 5365133"/>
              <a:gd name="connsiteY628" fmla="*/ 2889755 h 4367670"/>
              <a:gd name="connsiteX629" fmla="*/ 4389423 w 5365133"/>
              <a:gd name="connsiteY629" fmla="*/ 2878276 h 4367670"/>
              <a:gd name="connsiteX630" fmla="*/ 4422784 w 5365133"/>
              <a:gd name="connsiteY630" fmla="*/ 2876841 h 4367670"/>
              <a:gd name="connsiteX631" fmla="*/ 4426731 w 5365133"/>
              <a:gd name="connsiteY631" fmla="*/ 2884015 h 4367670"/>
              <a:gd name="connsiteX632" fmla="*/ 4395163 w 5365133"/>
              <a:gd name="connsiteY632" fmla="*/ 2884015 h 4367670"/>
              <a:gd name="connsiteX633" fmla="*/ 4401477 w 5365133"/>
              <a:gd name="connsiteY633" fmla="*/ 2878276 h 4367670"/>
              <a:gd name="connsiteX634" fmla="*/ 4401477 w 5365133"/>
              <a:gd name="connsiteY634" fmla="*/ 2884015 h 4367670"/>
              <a:gd name="connsiteX635" fmla="*/ 4414103 w 5365133"/>
              <a:gd name="connsiteY635" fmla="*/ 2878276 h 4367670"/>
              <a:gd name="connsiteX636" fmla="*/ 4422784 w 5365133"/>
              <a:gd name="connsiteY636" fmla="*/ 2876841 h 4367670"/>
              <a:gd name="connsiteX637" fmla="*/ 4276205 w 5365133"/>
              <a:gd name="connsiteY637" fmla="*/ 2861099 h 4367670"/>
              <a:gd name="connsiteX638" fmla="*/ 4273432 w 5365133"/>
              <a:gd name="connsiteY638" fmla="*/ 2864945 h 4367670"/>
              <a:gd name="connsiteX639" fmla="*/ 4270083 w 5365133"/>
              <a:gd name="connsiteY639" fmla="*/ 2865247 h 4367670"/>
              <a:gd name="connsiteX640" fmla="*/ 4274549 w 5365133"/>
              <a:gd name="connsiteY640" fmla="*/ 2861790 h 4367670"/>
              <a:gd name="connsiteX641" fmla="*/ 4476515 w 5365133"/>
              <a:gd name="connsiteY641" fmla="*/ 2855940 h 4367670"/>
              <a:gd name="connsiteX642" fmla="*/ 4492734 w 5365133"/>
              <a:gd name="connsiteY642" fmla="*/ 2859145 h 4367670"/>
              <a:gd name="connsiteX643" fmla="*/ 4480734 w 5365133"/>
              <a:gd name="connsiteY643" fmla="*/ 2865364 h 4367670"/>
              <a:gd name="connsiteX644" fmla="*/ 4450731 w 5365133"/>
              <a:gd name="connsiteY644" fmla="*/ 2871582 h 4367670"/>
              <a:gd name="connsiteX645" fmla="*/ 4432731 w 5365133"/>
              <a:gd name="connsiteY645" fmla="*/ 2884017 h 4367670"/>
              <a:gd name="connsiteX646" fmla="*/ 4426728 w 5365133"/>
              <a:gd name="connsiteY646" fmla="*/ 2877799 h 4367670"/>
              <a:gd name="connsiteX647" fmla="*/ 4476515 w 5365133"/>
              <a:gd name="connsiteY647" fmla="*/ 2855940 h 4367670"/>
              <a:gd name="connsiteX648" fmla="*/ 4432207 w 5365133"/>
              <a:gd name="connsiteY648" fmla="*/ 2853972 h 4367670"/>
              <a:gd name="connsiteX649" fmla="*/ 4432279 w 5365133"/>
              <a:gd name="connsiteY649" fmla="*/ 2855047 h 4367670"/>
              <a:gd name="connsiteX650" fmla="*/ 4431252 w 5365133"/>
              <a:gd name="connsiteY650" fmla="*/ 2855327 h 4367670"/>
              <a:gd name="connsiteX651" fmla="*/ 4515691 w 5365133"/>
              <a:gd name="connsiteY651" fmla="*/ 2835231 h 4367670"/>
              <a:gd name="connsiteX652" fmla="*/ 4515691 w 5365133"/>
              <a:gd name="connsiteY652" fmla="*/ 2846710 h 4367670"/>
              <a:gd name="connsiteX653" fmla="*/ 4498473 w 5365133"/>
              <a:gd name="connsiteY653" fmla="*/ 2852449 h 4367670"/>
              <a:gd name="connsiteX654" fmla="*/ 4492734 w 5365133"/>
              <a:gd name="connsiteY654" fmla="*/ 2852449 h 4367670"/>
              <a:gd name="connsiteX655" fmla="*/ 4504213 w 5365133"/>
              <a:gd name="connsiteY655" fmla="*/ 2846710 h 4367670"/>
              <a:gd name="connsiteX656" fmla="*/ 4509952 w 5365133"/>
              <a:gd name="connsiteY656" fmla="*/ 2846710 h 4367670"/>
              <a:gd name="connsiteX657" fmla="*/ 4504213 w 5365133"/>
              <a:gd name="connsiteY657" fmla="*/ 2840970 h 4367670"/>
              <a:gd name="connsiteX658" fmla="*/ 4509952 w 5365133"/>
              <a:gd name="connsiteY658" fmla="*/ 2840970 h 4367670"/>
              <a:gd name="connsiteX659" fmla="*/ 4515691 w 5365133"/>
              <a:gd name="connsiteY659" fmla="*/ 2835231 h 4367670"/>
              <a:gd name="connsiteX660" fmla="*/ 4545734 w 5365133"/>
              <a:gd name="connsiteY660" fmla="*/ 2825456 h 4367670"/>
              <a:gd name="connsiteX661" fmla="*/ 4550128 w 5365133"/>
              <a:gd name="connsiteY661" fmla="*/ 2829491 h 4367670"/>
              <a:gd name="connsiteX662" fmla="*/ 4527170 w 5365133"/>
              <a:gd name="connsiteY662" fmla="*/ 2840970 h 4367670"/>
              <a:gd name="connsiteX663" fmla="*/ 4521431 w 5365133"/>
              <a:gd name="connsiteY663" fmla="*/ 2835231 h 4367670"/>
              <a:gd name="connsiteX664" fmla="*/ 4527170 w 5365133"/>
              <a:gd name="connsiteY664" fmla="*/ 2829491 h 4367670"/>
              <a:gd name="connsiteX665" fmla="*/ 4540802 w 5365133"/>
              <a:gd name="connsiteY665" fmla="*/ 2827339 h 4367670"/>
              <a:gd name="connsiteX666" fmla="*/ 4545734 w 5365133"/>
              <a:gd name="connsiteY666" fmla="*/ 2825456 h 4367670"/>
              <a:gd name="connsiteX667" fmla="*/ 4531751 w 5365133"/>
              <a:gd name="connsiteY667" fmla="*/ 2807774 h 4367670"/>
              <a:gd name="connsiteX668" fmla="*/ 4528674 w 5365133"/>
              <a:gd name="connsiteY668" fmla="*/ 2811062 h 4367670"/>
              <a:gd name="connsiteX669" fmla="*/ 4492276 w 5365133"/>
              <a:gd name="connsiteY669" fmla="*/ 2823255 h 4367670"/>
              <a:gd name="connsiteX670" fmla="*/ 4497291 w 5365133"/>
              <a:gd name="connsiteY670" fmla="*/ 2820753 h 4367670"/>
              <a:gd name="connsiteX671" fmla="*/ 4582190 w 5365133"/>
              <a:gd name="connsiteY671" fmla="*/ 2800166 h 4367670"/>
              <a:gd name="connsiteX672" fmla="*/ 4587436 w 5365133"/>
              <a:gd name="connsiteY672" fmla="*/ 2812273 h 4367670"/>
              <a:gd name="connsiteX673" fmla="*/ 4550128 w 5365133"/>
              <a:gd name="connsiteY673" fmla="*/ 2823752 h 4367670"/>
              <a:gd name="connsiteX674" fmla="*/ 4581219 w 5365133"/>
              <a:gd name="connsiteY674" fmla="*/ 2800794 h 4367670"/>
              <a:gd name="connsiteX675" fmla="*/ 4582190 w 5365133"/>
              <a:gd name="connsiteY675" fmla="*/ 2800166 h 4367670"/>
              <a:gd name="connsiteX676" fmla="*/ 4601155 w 5365133"/>
              <a:gd name="connsiteY676" fmla="*/ 2791019 h 4367670"/>
              <a:gd name="connsiteX677" fmla="*/ 4604652 w 5365133"/>
              <a:gd name="connsiteY677" fmla="*/ 2795055 h 4367670"/>
              <a:gd name="connsiteX678" fmla="*/ 4587434 w 5365133"/>
              <a:gd name="connsiteY678" fmla="*/ 2806533 h 4367670"/>
              <a:gd name="connsiteX679" fmla="*/ 4587434 w 5365133"/>
              <a:gd name="connsiteY679" fmla="*/ 2795055 h 4367670"/>
              <a:gd name="connsiteX680" fmla="*/ 4598195 w 5365133"/>
              <a:gd name="connsiteY680" fmla="*/ 2792901 h 4367670"/>
              <a:gd name="connsiteX681" fmla="*/ 4601155 w 5365133"/>
              <a:gd name="connsiteY681" fmla="*/ 2791019 h 4367670"/>
              <a:gd name="connsiteX682" fmla="*/ 4483550 w 5365133"/>
              <a:gd name="connsiteY682" fmla="*/ 2780540 h 4367670"/>
              <a:gd name="connsiteX683" fmla="*/ 4480495 w 5365133"/>
              <a:gd name="connsiteY683" fmla="*/ 2782740 h 4367670"/>
              <a:gd name="connsiteX684" fmla="*/ 4481200 w 5365133"/>
              <a:gd name="connsiteY684" fmla="*/ 2781114 h 4367670"/>
              <a:gd name="connsiteX685" fmla="*/ 4628961 w 5365133"/>
              <a:gd name="connsiteY685" fmla="*/ 2776974 h 4367670"/>
              <a:gd name="connsiteX686" fmla="*/ 4628961 w 5365133"/>
              <a:gd name="connsiteY686" fmla="*/ 2789028 h 4367670"/>
              <a:gd name="connsiteX687" fmla="*/ 4610730 w 5365133"/>
              <a:gd name="connsiteY687" fmla="*/ 2795055 h 4367670"/>
              <a:gd name="connsiteX688" fmla="*/ 4628961 w 5365133"/>
              <a:gd name="connsiteY688" fmla="*/ 2776974 h 4367670"/>
              <a:gd name="connsiteX689" fmla="*/ 4483019 w 5365133"/>
              <a:gd name="connsiteY689" fmla="*/ 2775243 h 4367670"/>
              <a:gd name="connsiteX690" fmla="*/ 4482739 w 5365133"/>
              <a:gd name="connsiteY690" fmla="*/ 2777558 h 4367670"/>
              <a:gd name="connsiteX691" fmla="*/ 4481200 w 5365133"/>
              <a:gd name="connsiteY691" fmla="*/ 2781114 h 4367670"/>
              <a:gd name="connsiteX692" fmla="*/ 4474515 w 5365133"/>
              <a:gd name="connsiteY692" fmla="*/ 2782740 h 4367670"/>
              <a:gd name="connsiteX693" fmla="*/ 4402753 w 5365133"/>
              <a:gd name="connsiteY693" fmla="*/ 2818289 h 4367670"/>
              <a:gd name="connsiteX694" fmla="*/ 4402753 w 5365133"/>
              <a:gd name="connsiteY694" fmla="*/ 2812365 h 4367670"/>
              <a:gd name="connsiteX695" fmla="*/ 4295111 w 5365133"/>
              <a:gd name="connsiteY695" fmla="*/ 2865685 h 4367670"/>
              <a:gd name="connsiteX696" fmla="*/ 4289129 w 5365133"/>
              <a:gd name="connsiteY696" fmla="*/ 2853837 h 4367670"/>
              <a:gd name="connsiteX697" fmla="*/ 4279412 w 5365133"/>
              <a:gd name="connsiteY697" fmla="*/ 2859761 h 4367670"/>
              <a:gd name="connsiteX698" fmla="*/ 4276205 w 5365133"/>
              <a:gd name="connsiteY698" fmla="*/ 2861099 h 4367670"/>
              <a:gd name="connsiteX699" fmla="*/ 4277170 w 5365133"/>
              <a:gd name="connsiteY699" fmla="*/ 2859761 h 4367670"/>
              <a:gd name="connsiteX700" fmla="*/ 4274549 w 5365133"/>
              <a:gd name="connsiteY700" fmla="*/ 2861790 h 4367670"/>
              <a:gd name="connsiteX701" fmla="*/ 4265210 w 5365133"/>
              <a:gd name="connsiteY701" fmla="*/ 2865685 h 4367670"/>
              <a:gd name="connsiteX702" fmla="*/ 4270083 w 5365133"/>
              <a:gd name="connsiteY702" fmla="*/ 2865247 h 4367670"/>
              <a:gd name="connsiteX703" fmla="*/ 4259229 w 5365133"/>
              <a:gd name="connsiteY703" fmla="*/ 2873648 h 4367670"/>
              <a:gd name="connsiteX704" fmla="*/ 4205407 w 5365133"/>
              <a:gd name="connsiteY704" fmla="*/ 2895308 h 4367670"/>
              <a:gd name="connsiteX705" fmla="*/ 4223349 w 5365133"/>
              <a:gd name="connsiteY705" fmla="*/ 2883460 h 4367670"/>
              <a:gd name="connsiteX706" fmla="*/ 4139627 w 5365133"/>
              <a:gd name="connsiteY706" fmla="*/ 2913084 h 4367670"/>
              <a:gd name="connsiteX707" fmla="*/ 4193448 w 5365133"/>
              <a:gd name="connsiteY707" fmla="*/ 2895308 h 4367670"/>
              <a:gd name="connsiteX708" fmla="*/ 4169528 w 5365133"/>
              <a:gd name="connsiteY708" fmla="*/ 2907158 h 4367670"/>
              <a:gd name="connsiteX709" fmla="*/ 4064874 w 5365133"/>
              <a:gd name="connsiteY709" fmla="*/ 2955295 h 4367670"/>
              <a:gd name="connsiteX710" fmla="*/ 4005405 w 5365133"/>
              <a:gd name="connsiteY710" fmla="*/ 2975075 h 4367670"/>
              <a:gd name="connsiteX711" fmla="*/ 4055905 w 5365133"/>
              <a:gd name="connsiteY711" fmla="*/ 2948630 h 4367670"/>
              <a:gd name="connsiteX712" fmla="*/ 3936301 w 5365133"/>
              <a:gd name="connsiteY712" fmla="*/ 2996028 h 4367670"/>
              <a:gd name="connsiteX713" fmla="*/ 3960221 w 5365133"/>
              <a:gd name="connsiteY713" fmla="*/ 2996028 h 4367670"/>
              <a:gd name="connsiteX714" fmla="*/ 3924340 w 5365133"/>
              <a:gd name="connsiteY714" fmla="*/ 3013802 h 4367670"/>
              <a:gd name="connsiteX715" fmla="*/ 3930322 w 5365133"/>
              <a:gd name="connsiteY715" fmla="*/ 3001952 h 4367670"/>
              <a:gd name="connsiteX716" fmla="*/ 3906400 w 5365133"/>
              <a:gd name="connsiteY716" fmla="*/ 3013802 h 4367670"/>
              <a:gd name="connsiteX717" fmla="*/ 3924340 w 5365133"/>
              <a:gd name="connsiteY717" fmla="*/ 3007876 h 4367670"/>
              <a:gd name="connsiteX718" fmla="*/ 3882478 w 5365133"/>
              <a:gd name="connsiteY718" fmla="*/ 3031575 h 4367670"/>
              <a:gd name="connsiteX719" fmla="*/ 3882478 w 5365133"/>
              <a:gd name="connsiteY719" fmla="*/ 3019726 h 4367670"/>
              <a:gd name="connsiteX720" fmla="*/ 3756896 w 5365133"/>
              <a:gd name="connsiteY720" fmla="*/ 3084897 h 4367670"/>
              <a:gd name="connsiteX721" fmla="*/ 3762875 w 5365133"/>
              <a:gd name="connsiteY721" fmla="*/ 3073047 h 4367670"/>
              <a:gd name="connsiteX722" fmla="*/ 3738956 w 5365133"/>
              <a:gd name="connsiteY722" fmla="*/ 3084897 h 4367670"/>
              <a:gd name="connsiteX723" fmla="*/ 3726996 w 5365133"/>
              <a:gd name="connsiteY723" fmla="*/ 3084897 h 4367670"/>
              <a:gd name="connsiteX724" fmla="*/ 3715034 w 5365133"/>
              <a:gd name="connsiteY724" fmla="*/ 3067123 h 4367670"/>
              <a:gd name="connsiteX725" fmla="*/ 3744935 w 5365133"/>
              <a:gd name="connsiteY725" fmla="*/ 3061198 h 4367670"/>
              <a:gd name="connsiteX726" fmla="*/ 3726996 w 5365133"/>
              <a:gd name="connsiteY726" fmla="*/ 3061198 h 4367670"/>
              <a:gd name="connsiteX727" fmla="*/ 3726996 w 5365133"/>
              <a:gd name="connsiteY727" fmla="*/ 3073047 h 4367670"/>
              <a:gd name="connsiteX728" fmla="*/ 3786797 w 5365133"/>
              <a:gd name="connsiteY728" fmla="*/ 3049348 h 4367670"/>
              <a:gd name="connsiteX729" fmla="*/ 3792776 w 5365133"/>
              <a:gd name="connsiteY729" fmla="*/ 3055274 h 4367670"/>
              <a:gd name="connsiteX730" fmla="*/ 4079824 w 5365133"/>
              <a:gd name="connsiteY730" fmla="*/ 2930857 h 4367670"/>
              <a:gd name="connsiteX731" fmla="*/ 4061884 w 5365133"/>
              <a:gd name="connsiteY731" fmla="*/ 2948630 h 4367670"/>
              <a:gd name="connsiteX732" fmla="*/ 4115705 w 5365133"/>
              <a:gd name="connsiteY732" fmla="*/ 2924933 h 4367670"/>
              <a:gd name="connsiteX733" fmla="*/ 4085804 w 5365133"/>
              <a:gd name="connsiteY733" fmla="*/ 2930857 h 4367670"/>
              <a:gd name="connsiteX734" fmla="*/ 4330993 w 5365133"/>
              <a:gd name="connsiteY734" fmla="*/ 2836062 h 4367670"/>
              <a:gd name="connsiteX735" fmla="*/ 4319031 w 5365133"/>
              <a:gd name="connsiteY735" fmla="*/ 2841988 h 4367670"/>
              <a:gd name="connsiteX736" fmla="*/ 4330993 w 5365133"/>
              <a:gd name="connsiteY736" fmla="*/ 2841988 h 4367670"/>
              <a:gd name="connsiteX737" fmla="*/ 4336972 w 5365133"/>
              <a:gd name="connsiteY737" fmla="*/ 2830139 h 4367670"/>
              <a:gd name="connsiteX738" fmla="*/ 4480495 w 5365133"/>
              <a:gd name="connsiteY738" fmla="*/ 2776816 h 4367670"/>
              <a:gd name="connsiteX739" fmla="*/ 4483019 w 5365133"/>
              <a:gd name="connsiteY739" fmla="*/ 2775243 h 4367670"/>
              <a:gd name="connsiteX740" fmla="*/ 4604802 w 5365133"/>
              <a:gd name="connsiteY740" fmla="*/ 2772203 h 4367670"/>
              <a:gd name="connsiteX741" fmla="*/ 4618346 w 5365133"/>
              <a:gd name="connsiteY741" fmla="*/ 2775278 h 4367670"/>
              <a:gd name="connsiteX742" fmla="*/ 4570521 w 5365133"/>
              <a:gd name="connsiteY742" fmla="*/ 2793169 h 4367670"/>
              <a:gd name="connsiteX743" fmla="*/ 4531751 w 5365133"/>
              <a:gd name="connsiteY743" fmla="*/ 2807774 h 4367670"/>
              <a:gd name="connsiteX744" fmla="*/ 4539135 w 5365133"/>
              <a:gd name="connsiteY744" fmla="*/ 2799879 h 4367670"/>
              <a:gd name="connsiteX745" fmla="*/ 4558565 w 5365133"/>
              <a:gd name="connsiteY745" fmla="*/ 2793169 h 4367670"/>
              <a:gd name="connsiteX746" fmla="*/ 4604802 w 5365133"/>
              <a:gd name="connsiteY746" fmla="*/ 2772203 h 4367670"/>
              <a:gd name="connsiteX747" fmla="*/ 4707411 w 5365133"/>
              <a:gd name="connsiteY747" fmla="*/ 2741011 h 4367670"/>
              <a:gd name="connsiteX748" fmla="*/ 4697328 w 5365133"/>
              <a:gd name="connsiteY748" fmla="*/ 2744581 h 4367670"/>
              <a:gd name="connsiteX749" fmla="*/ 4696260 w 5365133"/>
              <a:gd name="connsiteY749" fmla="*/ 2750415 h 4367670"/>
              <a:gd name="connsiteX750" fmla="*/ 4704915 w 5365133"/>
              <a:gd name="connsiteY750" fmla="*/ 2745193 h 4367670"/>
              <a:gd name="connsiteX751" fmla="*/ 4614552 w 5365133"/>
              <a:gd name="connsiteY751" fmla="*/ 2726024 h 4367670"/>
              <a:gd name="connsiteX752" fmla="*/ 4587393 w 5365133"/>
              <a:gd name="connsiteY752" fmla="*/ 2745713 h 4367670"/>
              <a:gd name="connsiteX753" fmla="*/ 4552257 w 5365133"/>
              <a:gd name="connsiteY753" fmla="*/ 2759043 h 4367670"/>
              <a:gd name="connsiteX754" fmla="*/ 4552257 w 5365133"/>
              <a:gd name="connsiteY754" fmla="*/ 2747194 h 4367670"/>
              <a:gd name="connsiteX755" fmla="*/ 4520115 w 5365133"/>
              <a:gd name="connsiteY755" fmla="*/ 2771632 h 4367670"/>
              <a:gd name="connsiteX756" fmla="*/ 4483550 w 5365133"/>
              <a:gd name="connsiteY756" fmla="*/ 2780540 h 4367670"/>
              <a:gd name="connsiteX757" fmla="*/ 4488718 w 5365133"/>
              <a:gd name="connsiteY757" fmla="*/ 2776816 h 4367670"/>
              <a:gd name="connsiteX758" fmla="*/ 4492457 w 5365133"/>
              <a:gd name="connsiteY758" fmla="*/ 2770893 h 4367670"/>
              <a:gd name="connsiteX759" fmla="*/ 4562723 w 5365133"/>
              <a:gd name="connsiteY759" fmla="*/ 2742009 h 4367670"/>
              <a:gd name="connsiteX760" fmla="*/ 4618040 w 5365133"/>
              <a:gd name="connsiteY760" fmla="*/ 2723495 h 4367670"/>
              <a:gd name="connsiteX761" fmla="*/ 4621192 w 5365133"/>
              <a:gd name="connsiteY761" fmla="*/ 2723975 h 4367670"/>
              <a:gd name="connsiteX762" fmla="*/ 4614552 w 5365133"/>
              <a:gd name="connsiteY762" fmla="*/ 2726024 h 4367670"/>
              <a:gd name="connsiteX763" fmla="*/ 4641960 w 5365133"/>
              <a:gd name="connsiteY763" fmla="*/ 2717571 h 4367670"/>
              <a:gd name="connsiteX764" fmla="*/ 4627757 w 5365133"/>
              <a:gd name="connsiteY764" fmla="*/ 2724977 h 4367670"/>
              <a:gd name="connsiteX765" fmla="*/ 4621192 w 5365133"/>
              <a:gd name="connsiteY765" fmla="*/ 2723975 h 4367670"/>
              <a:gd name="connsiteX766" fmla="*/ 4814144 w 5365133"/>
              <a:gd name="connsiteY766" fmla="*/ 2697484 h 4367670"/>
              <a:gd name="connsiteX767" fmla="*/ 4759905 w 5365133"/>
              <a:gd name="connsiteY767" fmla="*/ 2727775 h 4367670"/>
              <a:gd name="connsiteX768" fmla="*/ 4726761 w 5365133"/>
              <a:gd name="connsiteY768" fmla="*/ 2742165 h 4367670"/>
              <a:gd name="connsiteX769" fmla="*/ 4696103 w 5365133"/>
              <a:gd name="connsiteY769" fmla="*/ 2751270 h 4367670"/>
              <a:gd name="connsiteX770" fmla="*/ 4695810 w 5365133"/>
              <a:gd name="connsiteY770" fmla="*/ 2752868 h 4367670"/>
              <a:gd name="connsiteX771" fmla="*/ 4683862 w 5365133"/>
              <a:gd name="connsiteY771" fmla="*/ 2754602 h 4367670"/>
              <a:gd name="connsiteX772" fmla="*/ 4683655 w 5365133"/>
              <a:gd name="connsiteY772" fmla="*/ 2752868 h 4367670"/>
              <a:gd name="connsiteX773" fmla="*/ 4679586 w 5365133"/>
              <a:gd name="connsiteY773" fmla="*/ 2755224 h 4367670"/>
              <a:gd name="connsiteX774" fmla="*/ 4664665 w 5365133"/>
              <a:gd name="connsiteY774" fmla="*/ 2757389 h 4367670"/>
              <a:gd name="connsiteX775" fmla="*/ 4628961 w 5365133"/>
              <a:gd name="connsiteY775" fmla="*/ 2770949 h 4367670"/>
              <a:gd name="connsiteX776" fmla="*/ 4656307 w 5365133"/>
              <a:gd name="connsiteY776" fmla="*/ 2768687 h 4367670"/>
              <a:gd name="connsiteX777" fmla="*/ 4679586 w 5365133"/>
              <a:gd name="connsiteY777" fmla="*/ 2755224 h 4367670"/>
              <a:gd name="connsiteX778" fmla="*/ 4683862 w 5365133"/>
              <a:gd name="connsiteY778" fmla="*/ 2754602 h 4367670"/>
              <a:gd name="connsiteX779" fmla="*/ 4684509 w 5365133"/>
              <a:gd name="connsiteY779" fmla="*/ 2760025 h 4367670"/>
              <a:gd name="connsiteX780" fmla="*/ 4628961 w 5365133"/>
              <a:gd name="connsiteY780" fmla="*/ 2776974 h 4367670"/>
              <a:gd name="connsiteX781" fmla="*/ 4616807 w 5365133"/>
              <a:gd name="connsiteY781" fmla="*/ 2764922 h 4367670"/>
              <a:gd name="connsiteX782" fmla="*/ 4684320 w 5365133"/>
              <a:gd name="connsiteY782" fmla="*/ 2742888 h 4367670"/>
              <a:gd name="connsiteX783" fmla="*/ 4707504 w 5365133"/>
              <a:gd name="connsiteY783" fmla="*/ 2740856 h 4367670"/>
              <a:gd name="connsiteX784" fmla="*/ 4711694 w 5365133"/>
              <a:gd name="connsiteY784" fmla="*/ 2733835 h 4367670"/>
              <a:gd name="connsiteX785" fmla="*/ 4814144 w 5365133"/>
              <a:gd name="connsiteY785" fmla="*/ 2697484 h 4367670"/>
              <a:gd name="connsiteX786" fmla="*/ 4394734 w 5365133"/>
              <a:gd name="connsiteY786" fmla="*/ 2686005 h 4367670"/>
              <a:gd name="connsiteX787" fmla="*/ 4406642 w 5365133"/>
              <a:gd name="connsiteY787" fmla="*/ 2686005 h 4367670"/>
              <a:gd name="connsiteX788" fmla="*/ 4097052 w 5365133"/>
              <a:gd name="connsiteY788" fmla="*/ 2810997 h 4367670"/>
              <a:gd name="connsiteX789" fmla="*/ 4061331 w 5365133"/>
              <a:gd name="connsiteY789" fmla="*/ 2816950 h 4367670"/>
              <a:gd name="connsiteX790" fmla="*/ 4013702 w 5365133"/>
              <a:gd name="connsiteY790" fmla="*/ 2846710 h 4367670"/>
              <a:gd name="connsiteX791" fmla="*/ 4007748 w 5365133"/>
              <a:gd name="connsiteY791" fmla="*/ 2840757 h 4367670"/>
              <a:gd name="connsiteX792" fmla="*/ 4150636 w 5365133"/>
              <a:gd name="connsiteY792" fmla="*/ 2781236 h 4367670"/>
              <a:gd name="connsiteX793" fmla="*/ 4156588 w 5365133"/>
              <a:gd name="connsiteY793" fmla="*/ 2769333 h 4367670"/>
              <a:gd name="connsiteX794" fmla="*/ 4186357 w 5365133"/>
              <a:gd name="connsiteY794" fmla="*/ 2757429 h 4367670"/>
              <a:gd name="connsiteX795" fmla="*/ 4186357 w 5365133"/>
              <a:gd name="connsiteY795" fmla="*/ 2763382 h 4367670"/>
              <a:gd name="connsiteX796" fmla="*/ 4198265 w 5365133"/>
              <a:gd name="connsiteY796" fmla="*/ 2751476 h 4367670"/>
              <a:gd name="connsiteX797" fmla="*/ 4198265 w 5365133"/>
              <a:gd name="connsiteY797" fmla="*/ 2763382 h 4367670"/>
              <a:gd name="connsiteX798" fmla="*/ 4228033 w 5365133"/>
              <a:gd name="connsiteY798" fmla="*/ 2739573 h 4367670"/>
              <a:gd name="connsiteX799" fmla="*/ 4233986 w 5365133"/>
              <a:gd name="connsiteY799" fmla="*/ 2751476 h 4367670"/>
              <a:gd name="connsiteX800" fmla="*/ 4382826 w 5365133"/>
              <a:gd name="connsiteY800" fmla="*/ 2691956 h 4367670"/>
              <a:gd name="connsiteX801" fmla="*/ 4394734 w 5365133"/>
              <a:gd name="connsiteY801" fmla="*/ 2686005 h 4367670"/>
              <a:gd name="connsiteX802" fmla="*/ 4311791 w 5365133"/>
              <a:gd name="connsiteY802" fmla="*/ 2668786 h 4367670"/>
              <a:gd name="connsiteX803" fmla="*/ 4317681 w 5365133"/>
              <a:gd name="connsiteY803" fmla="*/ 2680903 h 4367670"/>
              <a:gd name="connsiteX804" fmla="*/ 4241104 w 5365133"/>
              <a:gd name="connsiteY804" fmla="*/ 2705137 h 4367670"/>
              <a:gd name="connsiteX805" fmla="*/ 4205760 w 5365133"/>
              <a:gd name="connsiteY805" fmla="*/ 2723312 h 4367670"/>
              <a:gd name="connsiteX806" fmla="*/ 4282338 w 5365133"/>
              <a:gd name="connsiteY806" fmla="*/ 2686961 h 4367670"/>
              <a:gd name="connsiteX807" fmla="*/ 4282338 w 5365133"/>
              <a:gd name="connsiteY807" fmla="*/ 2693020 h 4367670"/>
              <a:gd name="connsiteX808" fmla="*/ 4311791 w 5365133"/>
              <a:gd name="connsiteY808" fmla="*/ 2668786 h 4367670"/>
              <a:gd name="connsiteX809" fmla="*/ 4377944 w 5365133"/>
              <a:gd name="connsiteY809" fmla="*/ 2645829 h 4367670"/>
              <a:gd name="connsiteX810" fmla="*/ 4389423 w 5365133"/>
              <a:gd name="connsiteY810" fmla="*/ 2657307 h 4367670"/>
              <a:gd name="connsiteX811" fmla="*/ 4366465 w 5365133"/>
              <a:gd name="connsiteY811" fmla="*/ 2663047 h 4367670"/>
              <a:gd name="connsiteX812" fmla="*/ 4360726 w 5365133"/>
              <a:gd name="connsiteY812" fmla="*/ 2663047 h 4367670"/>
              <a:gd name="connsiteX813" fmla="*/ 4360726 w 5365133"/>
              <a:gd name="connsiteY813" fmla="*/ 2657307 h 4367670"/>
              <a:gd name="connsiteX814" fmla="*/ 4377944 w 5365133"/>
              <a:gd name="connsiteY814" fmla="*/ 2645829 h 4367670"/>
              <a:gd name="connsiteX815" fmla="*/ 4438029 w 5365133"/>
              <a:gd name="connsiteY815" fmla="*/ 2622107 h 4367670"/>
              <a:gd name="connsiteX816" fmla="*/ 4443947 w 5365133"/>
              <a:gd name="connsiteY816" fmla="*/ 2627654 h 4367670"/>
              <a:gd name="connsiteX817" fmla="*/ 4426728 w 5365133"/>
              <a:gd name="connsiteY817" fmla="*/ 2634349 h 4367670"/>
              <a:gd name="connsiteX818" fmla="*/ 4431033 w 5365133"/>
              <a:gd name="connsiteY818" fmla="*/ 2623467 h 4367670"/>
              <a:gd name="connsiteX819" fmla="*/ 4438029 w 5365133"/>
              <a:gd name="connsiteY819" fmla="*/ 2622107 h 4367670"/>
              <a:gd name="connsiteX820" fmla="*/ 4480681 w 5365133"/>
              <a:gd name="connsiteY820" fmla="*/ 2602781 h 4367670"/>
              <a:gd name="connsiteX821" fmla="*/ 4455426 w 5365133"/>
              <a:gd name="connsiteY821" fmla="*/ 2620000 h 4367670"/>
              <a:gd name="connsiteX822" fmla="*/ 4480681 w 5365133"/>
              <a:gd name="connsiteY822" fmla="*/ 2602781 h 4367670"/>
              <a:gd name="connsiteX823" fmla="*/ 4504213 w 5365133"/>
              <a:gd name="connsiteY823" fmla="*/ 2597042 h 4367670"/>
              <a:gd name="connsiteX824" fmla="*/ 4504213 w 5365133"/>
              <a:gd name="connsiteY824" fmla="*/ 2602781 h 4367670"/>
              <a:gd name="connsiteX825" fmla="*/ 4492734 w 5365133"/>
              <a:gd name="connsiteY825" fmla="*/ 2602781 h 4367670"/>
              <a:gd name="connsiteX826" fmla="*/ 4504213 w 5365133"/>
              <a:gd name="connsiteY826" fmla="*/ 2597042 h 4367670"/>
              <a:gd name="connsiteX827" fmla="*/ 4527170 w 5365133"/>
              <a:gd name="connsiteY827" fmla="*/ 2585563 h 4367670"/>
              <a:gd name="connsiteX828" fmla="*/ 4527170 w 5365133"/>
              <a:gd name="connsiteY828" fmla="*/ 2591303 h 4367670"/>
              <a:gd name="connsiteX829" fmla="*/ 4509952 w 5365133"/>
              <a:gd name="connsiteY829" fmla="*/ 2597042 h 4367670"/>
              <a:gd name="connsiteX830" fmla="*/ 4527170 w 5365133"/>
              <a:gd name="connsiteY830" fmla="*/ 2585563 h 4367670"/>
              <a:gd name="connsiteX831" fmla="*/ 4366823 w 5365133"/>
              <a:gd name="connsiteY831" fmla="*/ 2584176 h 4367670"/>
              <a:gd name="connsiteX832" fmla="*/ 4367270 w 5365133"/>
              <a:gd name="connsiteY832" fmla="*/ 2584429 h 4367670"/>
              <a:gd name="connsiteX833" fmla="*/ 4366858 w 5365133"/>
              <a:gd name="connsiteY833" fmla="*/ 2584636 h 4367670"/>
              <a:gd name="connsiteX834" fmla="*/ 4364747 w 5365133"/>
              <a:gd name="connsiteY834" fmla="*/ 2576974 h 4367670"/>
              <a:gd name="connsiteX835" fmla="*/ 4366521 w 5365133"/>
              <a:gd name="connsiteY835" fmla="*/ 2579957 h 4367670"/>
              <a:gd name="connsiteX836" fmla="*/ 4366823 w 5365133"/>
              <a:gd name="connsiteY836" fmla="*/ 2584176 h 4367670"/>
              <a:gd name="connsiteX837" fmla="*/ 4362039 w 5365133"/>
              <a:gd name="connsiteY837" fmla="*/ 2581447 h 4367670"/>
              <a:gd name="connsiteX838" fmla="*/ 4361292 w 5365133"/>
              <a:gd name="connsiteY838" fmla="*/ 2578466 h 4367670"/>
              <a:gd name="connsiteX839" fmla="*/ 4364747 w 5365133"/>
              <a:gd name="connsiteY839" fmla="*/ 2576974 h 4367670"/>
              <a:gd name="connsiteX840" fmla="*/ 4246961 w 5365133"/>
              <a:gd name="connsiteY840" fmla="*/ 2576230 h 4367670"/>
              <a:gd name="connsiteX841" fmla="*/ 4247238 w 5365133"/>
              <a:gd name="connsiteY841" fmla="*/ 2577052 h 4367670"/>
              <a:gd name="connsiteX842" fmla="*/ 4241732 w 5365133"/>
              <a:gd name="connsiteY842" fmla="*/ 2578466 h 4367670"/>
              <a:gd name="connsiteX843" fmla="*/ 4246961 w 5365133"/>
              <a:gd name="connsiteY843" fmla="*/ 2576230 h 4367670"/>
              <a:gd name="connsiteX844" fmla="*/ 4558739 w 5365133"/>
              <a:gd name="connsiteY844" fmla="*/ 2574084 h 4367670"/>
              <a:gd name="connsiteX845" fmla="*/ 4558739 w 5365133"/>
              <a:gd name="connsiteY845" fmla="*/ 2579823 h 4367670"/>
              <a:gd name="connsiteX846" fmla="*/ 4539367 w 5365133"/>
              <a:gd name="connsiteY846" fmla="*/ 2591303 h 4367670"/>
              <a:gd name="connsiteX847" fmla="*/ 4558739 w 5365133"/>
              <a:gd name="connsiteY847" fmla="*/ 2574084 h 4367670"/>
              <a:gd name="connsiteX848" fmla="*/ 4024248 w 5365133"/>
              <a:gd name="connsiteY848" fmla="*/ 2572649 h 4367670"/>
              <a:gd name="connsiteX849" fmla="*/ 4024966 w 5365133"/>
              <a:gd name="connsiteY849" fmla="*/ 2579823 h 4367670"/>
              <a:gd name="connsiteX850" fmla="*/ 4030705 w 5365133"/>
              <a:gd name="connsiteY850" fmla="*/ 2574084 h 4367670"/>
              <a:gd name="connsiteX851" fmla="*/ 4019226 w 5365133"/>
              <a:gd name="connsiteY851" fmla="*/ 2574084 h 4367670"/>
              <a:gd name="connsiteX852" fmla="*/ 4024248 w 5365133"/>
              <a:gd name="connsiteY852" fmla="*/ 2572649 h 4367670"/>
              <a:gd name="connsiteX853" fmla="*/ 4593173 w 5365133"/>
              <a:gd name="connsiteY853" fmla="*/ 2556865 h 4367670"/>
              <a:gd name="connsiteX854" fmla="*/ 4593173 w 5365133"/>
              <a:gd name="connsiteY854" fmla="*/ 2568345 h 4367670"/>
              <a:gd name="connsiteX855" fmla="*/ 4581695 w 5365133"/>
              <a:gd name="connsiteY855" fmla="*/ 2562605 h 4367670"/>
              <a:gd name="connsiteX856" fmla="*/ 4593173 w 5365133"/>
              <a:gd name="connsiteY856" fmla="*/ 2556865 h 4367670"/>
              <a:gd name="connsiteX857" fmla="*/ 4623306 w 5365133"/>
              <a:gd name="connsiteY857" fmla="*/ 2542518 h 4367670"/>
              <a:gd name="connsiteX858" fmla="*/ 4616132 w 5365133"/>
              <a:gd name="connsiteY858" fmla="*/ 2556867 h 4367670"/>
              <a:gd name="connsiteX859" fmla="*/ 4616132 w 5365133"/>
              <a:gd name="connsiteY859" fmla="*/ 2549693 h 4367670"/>
              <a:gd name="connsiteX860" fmla="*/ 4623306 w 5365133"/>
              <a:gd name="connsiteY860" fmla="*/ 2542518 h 4367670"/>
              <a:gd name="connsiteX861" fmla="*/ 4480852 w 5365133"/>
              <a:gd name="connsiteY861" fmla="*/ 2530753 h 4367670"/>
              <a:gd name="connsiteX862" fmla="*/ 4480104 w 5365133"/>
              <a:gd name="connsiteY862" fmla="*/ 2535971 h 4367670"/>
              <a:gd name="connsiteX863" fmla="*/ 4474874 w 5365133"/>
              <a:gd name="connsiteY863" fmla="*/ 2536717 h 4367670"/>
              <a:gd name="connsiteX864" fmla="*/ 4336501 w 5365133"/>
              <a:gd name="connsiteY864" fmla="*/ 2528474 h 4367670"/>
              <a:gd name="connsiteX865" fmla="*/ 4336633 w 5365133"/>
              <a:gd name="connsiteY865" fmla="*/ 2528517 h 4367670"/>
              <a:gd name="connsiteX866" fmla="*/ 4337792 w 5365133"/>
              <a:gd name="connsiteY866" fmla="*/ 2529931 h 4367670"/>
              <a:gd name="connsiteX867" fmla="*/ 4337379 w 5365133"/>
              <a:gd name="connsiteY867" fmla="*/ 2530753 h 4367670"/>
              <a:gd name="connsiteX868" fmla="*/ 4675858 w 5365133"/>
              <a:gd name="connsiteY868" fmla="*/ 2522340 h 4367670"/>
              <a:gd name="connsiteX869" fmla="*/ 4682136 w 5365133"/>
              <a:gd name="connsiteY869" fmla="*/ 2525299 h 4367670"/>
              <a:gd name="connsiteX870" fmla="*/ 4641960 w 5365133"/>
              <a:gd name="connsiteY870" fmla="*/ 2542518 h 4367670"/>
              <a:gd name="connsiteX871" fmla="*/ 4675858 w 5365133"/>
              <a:gd name="connsiteY871" fmla="*/ 2522340 h 4367670"/>
              <a:gd name="connsiteX872" fmla="*/ 4432279 w 5365133"/>
              <a:gd name="connsiteY872" fmla="*/ 2521808 h 4367670"/>
              <a:gd name="connsiteX873" fmla="*/ 4432279 w 5365133"/>
              <a:gd name="connsiteY873" fmla="*/ 2521808 h 4367670"/>
              <a:gd name="connsiteX874" fmla="*/ 4433027 w 5365133"/>
              <a:gd name="connsiteY874" fmla="*/ 2524789 h 4367670"/>
              <a:gd name="connsiteX875" fmla="*/ 4333643 w 5365133"/>
              <a:gd name="connsiteY875" fmla="*/ 2521062 h 4367670"/>
              <a:gd name="connsiteX876" fmla="*/ 4336501 w 5365133"/>
              <a:gd name="connsiteY876" fmla="*/ 2528474 h 4367670"/>
              <a:gd name="connsiteX877" fmla="*/ 4325423 w 5365133"/>
              <a:gd name="connsiteY877" fmla="*/ 2524789 h 4367670"/>
              <a:gd name="connsiteX878" fmla="*/ 4333643 w 5365133"/>
              <a:gd name="connsiteY878" fmla="*/ 2521062 h 4367670"/>
              <a:gd name="connsiteX879" fmla="*/ 4498473 w 5365133"/>
              <a:gd name="connsiteY879" fmla="*/ 2519560 h 4367670"/>
              <a:gd name="connsiteX880" fmla="*/ 4509952 w 5365133"/>
              <a:gd name="connsiteY880" fmla="*/ 2519560 h 4367670"/>
              <a:gd name="connsiteX881" fmla="*/ 4504213 w 5365133"/>
              <a:gd name="connsiteY881" fmla="*/ 2531039 h 4367670"/>
              <a:gd name="connsiteX882" fmla="*/ 4498473 w 5365133"/>
              <a:gd name="connsiteY882" fmla="*/ 2519560 h 4367670"/>
              <a:gd name="connsiteX883" fmla="*/ 4294723 w 5365133"/>
              <a:gd name="connsiteY883" fmla="*/ 2519560 h 4367670"/>
              <a:gd name="connsiteX884" fmla="*/ 4288625 w 5365133"/>
              <a:gd name="connsiteY884" fmla="*/ 2524582 h 4367670"/>
              <a:gd name="connsiteX885" fmla="*/ 4288213 w 5365133"/>
              <a:gd name="connsiteY885" fmla="*/ 2524631 h 4367670"/>
              <a:gd name="connsiteX886" fmla="*/ 4528674 w 5365133"/>
              <a:gd name="connsiteY886" fmla="*/ 2518826 h 4367670"/>
              <a:gd name="connsiteX887" fmla="*/ 4525315 w 5365133"/>
              <a:gd name="connsiteY887" fmla="*/ 2520218 h 4367670"/>
              <a:gd name="connsiteX888" fmla="*/ 4525685 w 5365133"/>
              <a:gd name="connsiteY888" fmla="*/ 2519571 h 4367670"/>
              <a:gd name="connsiteX889" fmla="*/ 4528674 w 5365133"/>
              <a:gd name="connsiteY889" fmla="*/ 2518826 h 4367670"/>
              <a:gd name="connsiteX890" fmla="*/ 4516719 w 5365133"/>
              <a:gd name="connsiteY890" fmla="*/ 2518826 h 4367670"/>
              <a:gd name="connsiteX891" fmla="*/ 4522603 w 5365133"/>
              <a:gd name="connsiteY891" fmla="*/ 2521342 h 4367670"/>
              <a:gd name="connsiteX892" fmla="*/ 4525315 w 5365133"/>
              <a:gd name="connsiteY892" fmla="*/ 2520218 h 4367670"/>
              <a:gd name="connsiteX893" fmla="*/ 4522697 w 5365133"/>
              <a:gd name="connsiteY893" fmla="*/ 2524789 h 4367670"/>
              <a:gd name="connsiteX894" fmla="*/ 4516719 w 5365133"/>
              <a:gd name="connsiteY894" fmla="*/ 2518826 h 4367670"/>
              <a:gd name="connsiteX895" fmla="*/ 4122172 w 5365133"/>
              <a:gd name="connsiteY895" fmla="*/ 2512861 h 4367670"/>
              <a:gd name="connsiteX896" fmla="*/ 4116193 w 5365133"/>
              <a:gd name="connsiteY896" fmla="*/ 2518826 h 4367670"/>
              <a:gd name="connsiteX897" fmla="*/ 4114750 w 5365133"/>
              <a:gd name="connsiteY897" fmla="*/ 2513786 h 4367670"/>
              <a:gd name="connsiteX898" fmla="*/ 4115113 w 5365133"/>
              <a:gd name="connsiteY898" fmla="*/ 2513741 h 4367670"/>
              <a:gd name="connsiteX899" fmla="*/ 4117874 w 5365133"/>
              <a:gd name="connsiteY899" fmla="*/ 2514632 h 4367670"/>
              <a:gd name="connsiteX900" fmla="*/ 4122172 w 5365133"/>
              <a:gd name="connsiteY900" fmla="*/ 2512861 h 4367670"/>
              <a:gd name="connsiteX901" fmla="*/ 4276428 w 5365133"/>
              <a:gd name="connsiteY901" fmla="*/ 2508081 h 4367670"/>
              <a:gd name="connsiteX902" fmla="*/ 4282526 w 5365133"/>
              <a:gd name="connsiteY902" fmla="*/ 2525299 h 4367670"/>
              <a:gd name="connsiteX903" fmla="*/ 4288213 w 5365133"/>
              <a:gd name="connsiteY903" fmla="*/ 2524631 h 4367670"/>
              <a:gd name="connsiteX904" fmla="*/ 4272616 w 5365133"/>
              <a:gd name="connsiteY904" fmla="*/ 2536778 h 4367670"/>
              <a:gd name="connsiteX905" fmla="*/ 4245936 w 5365133"/>
              <a:gd name="connsiteY905" fmla="*/ 2536778 h 4367670"/>
              <a:gd name="connsiteX906" fmla="*/ 4264232 w 5365133"/>
              <a:gd name="connsiteY906" fmla="*/ 2531039 h 4367670"/>
              <a:gd name="connsiteX907" fmla="*/ 4245936 w 5365133"/>
              <a:gd name="connsiteY907" fmla="*/ 2519560 h 4367670"/>
              <a:gd name="connsiteX908" fmla="*/ 4252035 w 5365133"/>
              <a:gd name="connsiteY908" fmla="*/ 2519560 h 4367670"/>
              <a:gd name="connsiteX909" fmla="*/ 4276428 w 5365133"/>
              <a:gd name="connsiteY909" fmla="*/ 2508081 h 4367670"/>
              <a:gd name="connsiteX910" fmla="*/ 4219032 w 5365133"/>
              <a:gd name="connsiteY910" fmla="*/ 2507274 h 4367670"/>
              <a:gd name="connsiteX911" fmla="*/ 4228718 w 5365133"/>
              <a:gd name="connsiteY911" fmla="*/ 2508081 h 4367670"/>
              <a:gd name="connsiteX912" fmla="*/ 4228718 w 5365133"/>
              <a:gd name="connsiteY912" fmla="*/ 2513821 h 4367670"/>
              <a:gd name="connsiteX913" fmla="*/ 4217239 w 5365133"/>
              <a:gd name="connsiteY913" fmla="*/ 2508081 h 4367670"/>
              <a:gd name="connsiteX914" fmla="*/ 4219032 w 5365133"/>
              <a:gd name="connsiteY914" fmla="*/ 2507274 h 4367670"/>
              <a:gd name="connsiteX915" fmla="*/ 4038607 w 5365133"/>
              <a:gd name="connsiteY915" fmla="*/ 2500926 h 4367670"/>
              <a:gd name="connsiteX916" fmla="*/ 4038520 w 5365133"/>
              <a:gd name="connsiteY916" fmla="*/ 2500962 h 4367670"/>
              <a:gd name="connsiteX917" fmla="*/ 4038479 w 5365133"/>
              <a:gd name="connsiteY917" fmla="*/ 2500934 h 4367670"/>
              <a:gd name="connsiteX918" fmla="*/ 4363309 w 5365133"/>
              <a:gd name="connsiteY918" fmla="*/ 2497564 h 4367670"/>
              <a:gd name="connsiteX919" fmla="*/ 4362230 w 5365133"/>
              <a:gd name="connsiteY919" fmla="*/ 2498755 h 4367670"/>
              <a:gd name="connsiteX920" fmla="*/ 4361622 w 5365133"/>
              <a:gd name="connsiteY920" fmla="*/ 2498594 h 4367670"/>
              <a:gd name="connsiteX921" fmla="*/ 4365928 w 5365133"/>
              <a:gd name="connsiteY921" fmla="*/ 2495964 h 4367670"/>
              <a:gd name="connsiteX922" fmla="*/ 4365928 w 5365133"/>
              <a:gd name="connsiteY922" fmla="*/ 2496602 h 4367670"/>
              <a:gd name="connsiteX923" fmla="*/ 4365474 w 5365133"/>
              <a:gd name="connsiteY923" fmla="*/ 2496241 h 4367670"/>
              <a:gd name="connsiteX924" fmla="*/ 4583979 w 5365133"/>
              <a:gd name="connsiteY924" fmla="*/ 2495939 h 4367670"/>
              <a:gd name="connsiteX925" fmla="*/ 4584065 w 5365133"/>
              <a:gd name="connsiteY925" fmla="*/ 2495995 h 4367670"/>
              <a:gd name="connsiteX926" fmla="*/ 4583907 w 5365133"/>
              <a:gd name="connsiteY926" fmla="*/ 2496177 h 4367670"/>
              <a:gd name="connsiteX927" fmla="*/ 4364911 w 5365133"/>
              <a:gd name="connsiteY927" fmla="*/ 2495794 h 4367670"/>
              <a:gd name="connsiteX928" fmla="*/ 4365474 w 5365133"/>
              <a:gd name="connsiteY928" fmla="*/ 2496241 h 4367670"/>
              <a:gd name="connsiteX929" fmla="*/ 4363309 w 5365133"/>
              <a:gd name="connsiteY929" fmla="*/ 2497564 h 4367670"/>
              <a:gd name="connsiteX930" fmla="*/ 4552587 w 5365133"/>
              <a:gd name="connsiteY930" fmla="*/ 2494970 h 4367670"/>
              <a:gd name="connsiteX931" fmla="*/ 4555640 w 5365133"/>
              <a:gd name="connsiteY931" fmla="*/ 2507152 h 4367670"/>
              <a:gd name="connsiteX932" fmla="*/ 4554081 w 5365133"/>
              <a:gd name="connsiteY932" fmla="*/ 2506152 h 4367670"/>
              <a:gd name="connsiteX933" fmla="*/ 4552587 w 5365133"/>
              <a:gd name="connsiteY933" fmla="*/ 2494970 h 4367670"/>
              <a:gd name="connsiteX934" fmla="*/ 4584719 w 5365133"/>
              <a:gd name="connsiteY934" fmla="*/ 2493478 h 4367670"/>
              <a:gd name="connsiteX935" fmla="*/ 4583979 w 5365133"/>
              <a:gd name="connsiteY935" fmla="*/ 2495939 h 4367670"/>
              <a:gd name="connsiteX936" fmla="*/ 4582477 w 5365133"/>
              <a:gd name="connsiteY936" fmla="*/ 2494970 h 4367670"/>
              <a:gd name="connsiteX937" fmla="*/ 4584719 w 5365133"/>
              <a:gd name="connsiteY937" fmla="*/ 2493478 h 4367670"/>
              <a:gd name="connsiteX938" fmla="*/ 4255470 w 5365133"/>
              <a:gd name="connsiteY938" fmla="*/ 2493343 h 4367670"/>
              <a:gd name="connsiteX939" fmla="*/ 4255980 w 5365133"/>
              <a:gd name="connsiteY939" fmla="*/ 2494449 h 4367670"/>
              <a:gd name="connsiteX940" fmla="*/ 4251675 w 5365133"/>
              <a:gd name="connsiteY940" fmla="*/ 2508081 h 4367670"/>
              <a:gd name="connsiteX941" fmla="*/ 4240197 w 5365133"/>
              <a:gd name="connsiteY941" fmla="*/ 2513821 h 4367670"/>
              <a:gd name="connsiteX942" fmla="*/ 4248268 w 5365133"/>
              <a:gd name="connsiteY942" fmla="*/ 2502521 h 4367670"/>
              <a:gd name="connsiteX943" fmla="*/ 4670657 w 5365133"/>
              <a:gd name="connsiteY943" fmla="*/ 2490863 h 4367670"/>
              <a:gd name="connsiteX944" fmla="*/ 4676397 w 5365133"/>
              <a:gd name="connsiteY944" fmla="*/ 2490863 h 4367670"/>
              <a:gd name="connsiteX945" fmla="*/ 4682136 w 5365133"/>
              <a:gd name="connsiteY945" fmla="*/ 2502341 h 4367670"/>
              <a:gd name="connsiteX946" fmla="*/ 4676397 w 5365133"/>
              <a:gd name="connsiteY946" fmla="*/ 2502341 h 4367670"/>
              <a:gd name="connsiteX947" fmla="*/ 4664918 w 5365133"/>
              <a:gd name="connsiteY947" fmla="*/ 2508081 h 4367670"/>
              <a:gd name="connsiteX948" fmla="*/ 4659178 w 5365133"/>
              <a:gd name="connsiteY948" fmla="*/ 2496602 h 4367670"/>
              <a:gd name="connsiteX949" fmla="*/ 4670657 w 5365133"/>
              <a:gd name="connsiteY949" fmla="*/ 2490863 h 4367670"/>
              <a:gd name="connsiteX950" fmla="*/ 4254107 w 5365133"/>
              <a:gd name="connsiteY950" fmla="*/ 2490390 h 4367670"/>
              <a:gd name="connsiteX951" fmla="*/ 4257416 w 5365133"/>
              <a:gd name="connsiteY951" fmla="*/ 2490863 h 4367670"/>
              <a:gd name="connsiteX952" fmla="*/ 4255470 w 5365133"/>
              <a:gd name="connsiteY952" fmla="*/ 2493343 h 4367670"/>
              <a:gd name="connsiteX953" fmla="*/ 4707008 w 5365133"/>
              <a:gd name="connsiteY953" fmla="*/ 2485123 h 4367670"/>
              <a:gd name="connsiteX954" fmla="*/ 4696649 w 5365133"/>
              <a:gd name="connsiteY954" fmla="*/ 2495616 h 4367670"/>
              <a:gd name="connsiteX955" fmla="*/ 4694312 w 5365133"/>
              <a:gd name="connsiteY955" fmla="*/ 2491954 h 4367670"/>
              <a:gd name="connsiteX956" fmla="*/ 4695312 w 5365133"/>
              <a:gd name="connsiteY956" fmla="*/ 2491242 h 4367670"/>
              <a:gd name="connsiteX957" fmla="*/ 4695473 w 5365133"/>
              <a:gd name="connsiteY957" fmla="*/ 2489469 h 4367670"/>
              <a:gd name="connsiteX958" fmla="*/ 4700312 w 5365133"/>
              <a:gd name="connsiteY958" fmla="*/ 2485840 h 4367670"/>
              <a:gd name="connsiteX959" fmla="*/ 4707008 w 5365133"/>
              <a:gd name="connsiteY959" fmla="*/ 2485123 h 4367670"/>
              <a:gd name="connsiteX960" fmla="*/ 4383686 w 5365133"/>
              <a:gd name="connsiteY960" fmla="*/ 2485123 h 4367670"/>
              <a:gd name="connsiteX961" fmla="*/ 4365928 w 5365133"/>
              <a:gd name="connsiteY961" fmla="*/ 2495964 h 4367670"/>
              <a:gd name="connsiteX962" fmla="*/ 4365928 w 5365133"/>
              <a:gd name="connsiteY962" fmla="*/ 2490863 h 4367670"/>
              <a:gd name="connsiteX963" fmla="*/ 4377028 w 5365133"/>
              <a:gd name="connsiteY963" fmla="*/ 2487992 h 4367670"/>
              <a:gd name="connsiteX964" fmla="*/ 4383686 w 5365133"/>
              <a:gd name="connsiteY964" fmla="*/ 2485123 h 4367670"/>
              <a:gd name="connsiteX965" fmla="*/ 4395163 w 5365133"/>
              <a:gd name="connsiteY965" fmla="*/ 2485123 h 4367670"/>
              <a:gd name="connsiteX966" fmla="*/ 4400902 w 5365133"/>
              <a:gd name="connsiteY966" fmla="*/ 2485123 h 4367670"/>
              <a:gd name="connsiteX967" fmla="*/ 4383683 w 5365133"/>
              <a:gd name="connsiteY967" fmla="*/ 2496602 h 4367670"/>
              <a:gd name="connsiteX968" fmla="*/ 4389423 w 5365133"/>
              <a:gd name="connsiteY968" fmla="*/ 2490863 h 4367670"/>
              <a:gd name="connsiteX969" fmla="*/ 4251675 w 5365133"/>
              <a:gd name="connsiteY969" fmla="*/ 2485123 h 4367670"/>
              <a:gd name="connsiteX970" fmla="*/ 4254107 w 5365133"/>
              <a:gd name="connsiteY970" fmla="*/ 2490390 h 4367670"/>
              <a:gd name="connsiteX971" fmla="*/ 4252393 w 5365133"/>
              <a:gd name="connsiteY971" fmla="*/ 2490145 h 4367670"/>
              <a:gd name="connsiteX972" fmla="*/ 4251675 w 5365133"/>
              <a:gd name="connsiteY972" fmla="*/ 2485123 h 4367670"/>
              <a:gd name="connsiteX973" fmla="*/ 4223282 w 5365133"/>
              <a:gd name="connsiteY973" fmla="*/ 2483782 h 4367670"/>
              <a:gd name="connsiteX974" fmla="*/ 4223553 w 5365133"/>
              <a:gd name="connsiteY974" fmla="*/ 2484022 h 4367670"/>
              <a:gd name="connsiteX975" fmla="*/ 4222978 w 5365133"/>
              <a:gd name="connsiteY975" fmla="*/ 2484644 h 4367670"/>
              <a:gd name="connsiteX976" fmla="*/ 4686097 w 5365133"/>
              <a:gd name="connsiteY976" fmla="*/ 2483041 h 4367670"/>
              <a:gd name="connsiteX977" fmla="*/ 4696059 w 5365133"/>
              <a:gd name="connsiteY977" fmla="*/ 2483041 h 4367670"/>
              <a:gd name="connsiteX978" fmla="*/ 4695473 w 5365133"/>
              <a:gd name="connsiteY978" fmla="*/ 2489469 h 4367670"/>
              <a:gd name="connsiteX979" fmla="*/ 4693615 w 5365133"/>
              <a:gd name="connsiteY979" fmla="*/ 2490863 h 4367670"/>
              <a:gd name="connsiteX980" fmla="*/ 4694312 w 5365133"/>
              <a:gd name="connsiteY980" fmla="*/ 2491954 h 4367670"/>
              <a:gd name="connsiteX981" fmla="*/ 4690081 w 5365133"/>
              <a:gd name="connsiteY981" fmla="*/ 2494970 h 4367670"/>
              <a:gd name="connsiteX982" fmla="*/ 4690081 w 5365133"/>
              <a:gd name="connsiteY982" fmla="*/ 2500934 h 4367670"/>
              <a:gd name="connsiteX983" fmla="*/ 4685598 w 5365133"/>
              <a:gd name="connsiteY983" fmla="*/ 2485278 h 4367670"/>
              <a:gd name="connsiteX984" fmla="*/ 4372205 w 5365133"/>
              <a:gd name="connsiteY984" fmla="*/ 2479383 h 4367670"/>
              <a:gd name="connsiteX985" fmla="*/ 4354986 w 5365133"/>
              <a:gd name="connsiteY985" fmla="*/ 2496602 h 4367670"/>
              <a:gd name="connsiteX986" fmla="*/ 4372205 w 5365133"/>
              <a:gd name="connsiteY986" fmla="*/ 2479383 h 4367670"/>
              <a:gd name="connsiteX987" fmla="*/ 4228718 w 5365133"/>
              <a:gd name="connsiteY987" fmla="*/ 2478427 h 4367670"/>
              <a:gd name="connsiteX988" fmla="*/ 4225132 w 5365133"/>
              <a:gd name="connsiteY988" fmla="*/ 2485421 h 4367670"/>
              <a:gd name="connsiteX989" fmla="*/ 4223553 w 5365133"/>
              <a:gd name="connsiteY989" fmla="*/ 2484022 h 4367670"/>
              <a:gd name="connsiteX990" fmla="*/ 4102928 w 5365133"/>
              <a:gd name="connsiteY990" fmla="*/ 2477661 h 4367670"/>
              <a:gd name="connsiteX991" fmla="*/ 4102928 w 5365133"/>
              <a:gd name="connsiteY991" fmla="*/ 2490288 h 4367670"/>
              <a:gd name="connsiteX992" fmla="*/ 4098259 w 5365133"/>
              <a:gd name="connsiteY992" fmla="*/ 2477077 h 4367670"/>
              <a:gd name="connsiteX993" fmla="*/ 4074347 w 5365133"/>
              <a:gd name="connsiteY993" fmla="*/ 2500934 h 4367670"/>
              <a:gd name="connsiteX994" fmla="*/ 4086303 w 5365133"/>
              <a:gd name="connsiteY994" fmla="*/ 2489006 h 4367670"/>
              <a:gd name="connsiteX995" fmla="*/ 4092281 w 5365133"/>
              <a:gd name="connsiteY995" fmla="*/ 2500934 h 4367670"/>
              <a:gd name="connsiteX996" fmla="*/ 4080325 w 5365133"/>
              <a:gd name="connsiteY996" fmla="*/ 2500934 h 4367670"/>
              <a:gd name="connsiteX997" fmla="*/ 4062390 w 5365133"/>
              <a:gd name="connsiteY997" fmla="*/ 2506897 h 4367670"/>
              <a:gd name="connsiteX998" fmla="*/ 4068368 w 5365133"/>
              <a:gd name="connsiteY998" fmla="*/ 2494970 h 4367670"/>
              <a:gd name="connsiteX999" fmla="*/ 4053425 w 5365133"/>
              <a:gd name="connsiteY999" fmla="*/ 2500189 h 4367670"/>
              <a:gd name="connsiteX1000" fmla="*/ 4038607 w 5365133"/>
              <a:gd name="connsiteY1000" fmla="*/ 2500926 h 4367670"/>
              <a:gd name="connsiteX1001" fmla="*/ 4042215 w 5365133"/>
              <a:gd name="connsiteY1001" fmla="*/ 2499442 h 4367670"/>
              <a:gd name="connsiteX1002" fmla="*/ 4098259 w 5365133"/>
              <a:gd name="connsiteY1002" fmla="*/ 2477077 h 4367670"/>
              <a:gd name="connsiteX1003" fmla="*/ 4312543 w 5365133"/>
              <a:gd name="connsiteY1003" fmla="*/ 2475957 h 4367670"/>
              <a:gd name="connsiteX1004" fmla="*/ 4318524 w 5365133"/>
              <a:gd name="connsiteY1004" fmla="*/ 2489588 h 4367670"/>
              <a:gd name="connsiteX1005" fmla="*/ 4312448 w 5365133"/>
              <a:gd name="connsiteY1005" fmla="*/ 2483530 h 4367670"/>
              <a:gd name="connsiteX1006" fmla="*/ 4300293 w 5365133"/>
              <a:gd name="connsiteY1006" fmla="*/ 2489588 h 4367670"/>
              <a:gd name="connsiteX1007" fmla="*/ 4312448 w 5365133"/>
              <a:gd name="connsiteY1007" fmla="*/ 2477471 h 4367670"/>
              <a:gd name="connsiteX1008" fmla="*/ 4312543 w 5365133"/>
              <a:gd name="connsiteY1008" fmla="*/ 2475957 h 4367670"/>
              <a:gd name="connsiteX1009" fmla="*/ 4518307 w 5365133"/>
              <a:gd name="connsiteY1009" fmla="*/ 2472884 h 4367670"/>
              <a:gd name="connsiteX1010" fmla="*/ 4518655 w 5365133"/>
              <a:gd name="connsiteY1010" fmla="*/ 2473217 h 4367670"/>
              <a:gd name="connsiteX1011" fmla="*/ 4515225 w 5365133"/>
              <a:gd name="connsiteY1011" fmla="*/ 2475213 h 4367670"/>
              <a:gd name="connsiteX1012" fmla="*/ 4514696 w 5365133"/>
              <a:gd name="connsiteY1012" fmla="*/ 2474729 h 4367670"/>
              <a:gd name="connsiteX1013" fmla="*/ 4730921 w 5365133"/>
              <a:gd name="connsiteY1013" fmla="*/ 2470774 h 4367670"/>
              <a:gd name="connsiteX1014" fmla="*/ 4730921 w 5365133"/>
              <a:gd name="connsiteY1014" fmla="*/ 2483688 h 4367670"/>
              <a:gd name="connsiteX1015" fmla="*/ 4707962 w 5365133"/>
              <a:gd name="connsiteY1015" fmla="*/ 2483688 h 4367670"/>
              <a:gd name="connsiteX1016" fmla="*/ 4730921 w 5365133"/>
              <a:gd name="connsiteY1016" fmla="*/ 2470774 h 4367670"/>
              <a:gd name="connsiteX1017" fmla="*/ 4389423 w 5365133"/>
              <a:gd name="connsiteY1017" fmla="*/ 2470774 h 4367670"/>
              <a:gd name="connsiteX1018" fmla="*/ 4389663 w 5365133"/>
              <a:gd name="connsiteY1018" fmla="*/ 2471485 h 4367670"/>
              <a:gd name="connsiteX1019" fmla="*/ 4389423 w 5365133"/>
              <a:gd name="connsiteY1019" fmla="*/ 2471730 h 4367670"/>
              <a:gd name="connsiteX1020" fmla="*/ 4389871 w 5365133"/>
              <a:gd name="connsiteY1020" fmla="*/ 2472103 h 4367670"/>
              <a:gd name="connsiteX1021" fmla="*/ 4390858 w 5365133"/>
              <a:gd name="connsiteY1021" fmla="*/ 2475033 h 4367670"/>
              <a:gd name="connsiteX1022" fmla="*/ 4377944 w 5365133"/>
              <a:gd name="connsiteY1022" fmla="*/ 2485123 h 4367670"/>
              <a:gd name="connsiteX1023" fmla="*/ 4377944 w 5365133"/>
              <a:gd name="connsiteY1023" fmla="*/ 2477948 h 4367670"/>
              <a:gd name="connsiteX1024" fmla="*/ 4389423 w 5365133"/>
              <a:gd name="connsiteY1024" fmla="*/ 2470774 h 4367670"/>
              <a:gd name="connsiteX1025" fmla="*/ 4199303 w 5365133"/>
              <a:gd name="connsiteY1025" fmla="*/ 2468980 h 4367670"/>
              <a:gd name="connsiteX1026" fmla="*/ 4205760 w 5365133"/>
              <a:gd name="connsiteY1026" fmla="*/ 2471346 h 4367670"/>
              <a:gd name="connsiteX1027" fmla="*/ 4192845 w 5365133"/>
              <a:gd name="connsiteY1027" fmla="*/ 2490288 h 4367670"/>
              <a:gd name="connsiteX1028" fmla="*/ 4179931 w 5365133"/>
              <a:gd name="connsiteY1028" fmla="*/ 2477661 h 4367670"/>
              <a:gd name="connsiteX1029" fmla="*/ 4192845 w 5365133"/>
              <a:gd name="connsiteY1029" fmla="*/ 2471346 h 4367670"/>
              <a:gd name="connsiteX1030" fmla="*/ 4199303 w 5365133"/>
              <a:gd name="connsiteY1030" fmla="*/ 2468980 h 4367670"/>
              <a:gd name="connsiteX1031" fmla="*/ 4773295 w 5365133"/>
              <a:gd name="connsiteY1031" fmla="*/ 2465845 h 4367670"/>
              <a:gd name="connsiteX1032" fmla="*/ 4773107 w 5365133"/>
              <a:gd name="connsiteY1032" fmla="*/ 2466673 h 4367670"/>
              <a:gd name="connsiteX1033" fmla="*/ 4772208 w 5365133"/>
              <a:gd name="connsiteY1033" fmla="*/ 2466215 h 4367670"/>
              <a:gd name="connsiteX1034" fmla="*/ 4772447 w 5365133"/>
              <a:gd name="connsiteY1034" fmla="*/ 2466097 h 4367670"/>
              <a:gd name="connsiteX1035" fmla="*/ 4330678 w 5365133"/>
              <a:gd name="connsiteY1035" fmla="*/ 2465354 h 4367670"/>
              <a:gd name="connsiteX1036" fmla="*/ 4342833 w 5365133"/>
              <a:gd name="connsiteY1036" fmla="*/ 2471413 h 4367670"/>
              <a:gd name="connsiteX1037" fmla="*/ 4354986 w 5365133"/>
              <a:gd name="connsiteY1037" fmla="*/ 2489588 h 4367670"/>
              <a:gd name="connsiteX1038" fmla="*/ 4348909 w 5365133"/>
              <a:gd name="connsiteY1038" fmla="*/ 2495647 h 4367670"/>
              <a:gd name="connsiteX1039" fmla="*/ 4336756 w 5365133"/>
              <a:gd name="connsiteY1039" fmla="*/ 2497160 h 4367670"/>
              <a:gd name="connsiteX1040" fmla="*/ 4330768 w 5365133"/>
              <a:gd name="connsiteY1040" fmla="*/ 2502383 h 4367670"/>
              <a:gd name="connsiteX1041" fmla="*/ 4342254 w 5365133"/>
              <a:gd name="connsiteY1041" fmla="*/ 2503777 h 4367670"/>
              <a:gd name="connsiteX1042" fmla="*/ 4354092 w 5365133"/>
              <a:gd name="connsiteY1042" fmla="*/ 2496602 h 4367670"/>
              <a:gd name="connsiteX1043" fmla="*/ 4361622 w 5365133"/>
              <a:gd name="connsiteY1043" fmla="*/ 2498594 h 4367670"/>
              <a:gd name="connsiteX1044" fmla="*/ 4343734 w 5365133"/>
              <a:gd name="connsiteY1044" fmla="*/ 2509516 h 4367670"/>
              <a:gd name="connsiteX1045" fmla="*/ 4294902 w 5365133"/>
              <a:gd name="connsiteY1045" fmla="*/ 2525299 h 4367670"/>
              <a:gd name="connsiteX1046" fmla="*/ 4300822 w 5365133"/>
              <a:gd name="connsiteY1046" fmla="*/ 2513821 h 4367670"/>
              <a:gd name="connsiteX1047" fmla="*/ 4317838 w 5365133"/>
              <a:gd name="connsiteY1047" fmla="*/ 2512385 h 4367670"/>
              <a:gd name="connsiteX1048" fmla="*/ 4324167 w 5365133"/>
              <a:gd name="connsiteY1048" fmla="*/ 2507331 h 4367670"/>
              <a:gd name="connsiteX1049" fmla="*/ 4321564 w 5365133"/>
              <a:gd name="connsiteY1049" fmla="*/ 2504735 h 4367670"/>
              <a:gd name="connsiteX1050" fmla="*/ 4318524 w 5365133"/>
              <a:gd name="connsiteY1050" fmla="*/ 2501705 h 4367670"/>
              <a:gd name="connsiteX1051" fmla="*/ 4318524 w 5365133"/>
              <a:gd name="connsiteY1051" fmla="*/ 2507762 h 4367670"/>
              <a:gd name="connsiteX1052" fmla="*/ 4294216 w 5365133"/>
              <a:gd name="connsiteY1052" fmla="*/ 2513822 h 4367670"/>
              <a:gd name="connsiteX1053" fmla="*/ 4282062 w 5365133"/>
              <a:gd name="connsiteY1053" fmla="*/ 2501705 h 4367670"/>
              <a:gd name="connsiteX1054" fmla="*/ 4300293 w 5365133"/>
              <a:gd name="connsiteY1054" fmla="*/ 2501705 h 4367670"/>
              <a:gd name="connsiteX1055" fmla="*/ 4263830 w 5365133"/>
              <a:gd name="connsiteY1055" fmla="*/ 2507762 h 4367670"/>
              <a:gd name="connsiteX1056" fmla="*/ 4263830 w 5365133"/>
              <a:gd name="connsiteY1056" fmla="*/ 2489588 h 4367670"/>
              <a:gd name="connsiteX1057" fmla="*/ 4294216 w 5365133"/>
              <a:gd name="connsiteY1057" fmla="*/ 2483530 h 4367670"/>
              <a:gd name="connsiteX1058" fmla="*/ 4288139 w 5365133"/>
              <a:gd name="connsiteY1058" fmla="*/ 2489588 h 4367670"/>
              <a:gd name="connsiteX1059" fmla="*/ 4300293 w 5365133"/>
              <a:gd name="connsiteY1059" fmla="*/ 2477471 h 4367670"/>
              <a:gd name="connsiteX1060" fmla="*/ 4300293 w 5365133"/>
              <a:gd name="connsiteY1060" fmla="*/ 2489588 h 4367670"/>
              <a:gd name="connsiteX1061" fmla="*/ 4300293 w 5365133"/>
              <a:gd name="connsiteY1061" fmla="*/ 2495647 h 4367670"/>
              <a:gd name="connsiteX1062" fmla="*/ 4342833 w 5365133"/>
              <a:gd name="connsiteY1062" fmla="*/ 2489588 h 4367670"/>
              <a:gd name="connsiteX1063" fmla="*/ 4324600 w 5365133"/>
              <a:gd name="connsiteY1063" fmla="*/ 2483530 h 4367670"/>
              <a:gd name="connsiteX1064" fmla="*/ 4330678 w 5365133"/>
              <a:gd name="connsiteY1064" fmla="*/ 2477471 h 4367670"/>
              <a:gd name="connsiteX1065" fmla="*/ 4330678 w 5365133"/>
              <a:gd name="connsiteY1065" fmla="*/ 2465354 h 4367670"/>
              <a:gd name="connsiteX1066" fmla="*/ 4400902 w 5365133"/>
              <a:gd name="connsiteY1066" fmla="*/ 2465034 h 4367670"/>
              <a:gd name="connsiteX1067" fmla="*/ 4395163 w 5365133"/>
              <a:gd name="connsiteY1067" fmla="*/ 2485123 h 4367670"/>
              <a:gd name="connsiteX1068" fmla="*/ 4394445 w 5365133"/>
              <a:gd name="connsiteY1068" fmla="*/ 2475915 h 4367670"/>
              <a:gd name="connsiteX1069" fmla="*/ 4389871 w 5365133"/>
              <a:gd name="connsiteY1069" fmla="*/ 2472103 h 4367670"/>
              <a:gd name="connsiteX1070" fmla="*/ 4389663 w 5365133"/>
              <a:gd name="connsiteY1070" fmla="*/ 2471485 h 4367670"/>
              <a:gd name="connsiteX1071" fmla="*/ 4395163 w 5365133"/>
              <a:gd name="connsiteY1071" fmla="*/ 2465871 h 4367670"/>
              <a:gd name="connsiteX1072" fmla="*/ 4400902 w 5365133"/>
              <a:gd name="connsiteY1072" fmla="*/ 2465034 h 4367670"/>
              <a:gd name="connsiteX1073" fmla="*/ 4764067 w 5365133"/>
              <a:gd name="connsiteY1073" fmla="*/ 2462062 h 4367670"/>
              <a:gd name="connsiteX1074" fmla="*/ 4772208 w 5365133"/>
              <a:gd name="connsiteY1074" fmla="*/ 2466215 h 4367670"/>
              <a:gd name="connsiteX1075" fmla="*/ 4758793 w 5365133"/>
              <a:gd name="connsiteY1075" fmla="*/ 2472824 h 4367670"/>
              <a:gd name="connsiteX1076" fmla="*/ 4730921 w 5365133"/>
              <a:gd name="connsiteY1076" fmla="*/ 2485123 h 4367670"/>
              <a:gd name="connsiteX1077" fmla="*/ 4736948 w 5365133"/>
              <a:gd name="connsiteY1077" fmla="*/ 2472824 h 4367670"/>
              <a:gd name="connsiteX1078" fmla="*/ 4736948 w 5365133"/>
              <a:gd name="connsiteY1078" fmla="*/ 2466673 h 4367670"/>
              <a:gd name="connsiteX1079" fmla="*/ 4742975 w 5365133"/>
              <a:gd name="connsiteY1079" fmla="*/ 2478973 h 4367670"/>
              <a:gd name="connsiteX1080" fmla="*/ 4755027 w 5365133"/>
              <a:gd name="connsiteY1080" fmla="*/ 2466673 h 4367670"/>
              <a:gd name="connsiteX1081" fmla="*/ 4764067 w 5365133"/>
              <a:gd name="connsiteY1081" fmla="*/ 2462062 h 4367670"/>
              <a:gd name="connsiteX1082" fmla="*/ 4414624 w 5365133"/>
              <a:gd name="connsiteY1082" fmla="*/ 2457501 h 4367670"/>
              <a:gd name="connsiteX1083" fmla="*/ 4426731 w 5365133"/>
              <a:gd name="connsiteY1083" fmla="*/ 2459868 h 4367670"/>
              <a:gd name="connsiteX1084" fmla="*/ 4407359 w 5365133"/>
              <a:gd name="connsiteY1084" fmla="*/ 2485123 h 4367670"/>
              <a:gd name="connsiteX1085" fmla="*/ 4407359 w 5365133"/>
              <a:gd name="connsiteY1085" fmla="*/ 2466182 h 4367670"/>
              <a:gd name="connsiteX1086" fmla="*/ 4413816 w 5365133"/>
              <a:gd name="connsiteY1086" fmla="*/ 2472496 h 4367670"/>
              <a:gd name="connsiteX1087" fmla="*/ 4420273 w 5365133"/>
              <a:gd name="connsiteY1087" fmla="*/ 2459868 h 4367670"/>
              <a:gd name="connsiteX1088" fmla="*/ 4407359 w 5365133"/>
              <a:gd name="connsiteY1088" fmla="*/ 2459868 h 4367670"/>
              <a:gd name="connsiteX1089" fmla="*/ 4414624 w 5365133"/>
              <a:gd name="connsiteY1089" fmla="*/ 2457501 h 4367670"/>
              <a:gd name="connsiteX1090" fmla="*/ 4749000 w 5365133"/>
              <a:gd name="connsiteY1090" fmla="*/ 2456680 h 4367670"/>
              <a:gd name="connsiteX1091" fmla="*/ 4755027 w 5365133"/>
              <a:gd name="connsiteY1091" fmla="*/ 2466673 h 4367670"/>
              <a:gd name="connsiteX1092" fmla="*/ 4742975 w 5365133"/>
              <a:gd name="connsiteY1092" fmla="*/ 2460524 h 4367670"/>
              <a:gd name="connsiteX1093" fmla="*/ 4749000 w 5365133"/>
              <a:gd name="connsiteY1093" fmla="*/ 2456680 h 4367670"/>
              <a:gd name="connsiteX1094" fmla="*/ 4354986 w 5365133"/>
              <a:gd name="connsiteY1094" fmla="*/ 2453555 h 4367670"/>
              <a:gd name="connsiteX1095" fmla="*/ 4360726 w 5365133"/>
              <a:gd name="connsiteY1095" fmla="*/ 2472926 h 4367670"/>
              <a:gd name="connsiteX1096" fmla="*/ 4343507 w 5365133"/>
              <a:gd name="connsiteY1096" fmla="*/ 2466469 h 4367670"/>
              <a:gd name="connsiteX1097" fmla="*/ 4354986 w 5365133"/>
              <a:gd name="connsiteY1097" fmla="*/ 2453555 h 4367670"/>
              <a:gd name="connsiteX1098" fmla="*/ 4228718 w 5365133"/>
              <a:gd name="connsiteY1098" fmla="*/ 2453555 h 4367670"/>
              <a:gd name="connsiteX1099" fmla="*/ 4240197 w 5365133"/>
              <a:gd name="connsiteY1099" fmla="*/ 2459773 h 4367670"/>
              <a:gd name="connsiteX1100" fmla="*/ 4234457 w 5365133"/>
              <a:gd name="connsiteY1100" fmla="*/ 2465990 h 4367670"/>
              <a:gd name="connsiteX1101" fmla="*/ 4228718 w 5365133"/>
              <a:gd name="connsiteY1101" fmla="*/ 2468322 h 4367670"/>
              <a:gd name="connsiteX1102" fmla="*/ 4223282 w 5365133"/>
              <a:gd name="connsiteY1102" fmla="*/ 2483782 h 4367670"/>
              <a:gd name="connsiteX1103" fmla="*/ 4217239 w 5365133"/>
              <a:gd name="connsiteY1103" fmla="*/ 2478427 h 4367670"/>
              <a:gd name="connsiteX1104" fmla="*/ 4222978 w 5365133"/>
              <a:gd name="connsiteY1104" fmla="*/ 2472209 h 4367670"/>
              <a:gd name="connsiteX1105" fmla="*/ 4211500 w 5365133"/>
              <a:gd name="connsiteY1105" fmla="*/ 2478427 h 4367670"/>
              <a:gd name="connsiteX1106" fmla="*/ 4211500 w 5365133"/>
              <a:gd name="connsiteY1106" fmla="*/ 2472209 h 4367670"/>
              <a:gd name="connsiteX1107" fmla="*/ 4222978 w 5365133"/>
              <a:gd name="connsiteY1107" fmla="*/ 2459773 h 4367670"/>
              <a:gd name="connsiteX1108" fmla="*/ 4228718 w 5365133"/>
              <a:gd name="connsiteY1108" fmla="*/ 2453555 h 4367670"/>
              <a:gd name="connsiteX1109" fmla="*/ 4179931 w 5365133"/>
              <a:gd name="connsiteY1109" fmla="*/ 2452120 h 4367670"/>
              <a:gd name="connsiteX1110" fmla="*/ 4185671 w 5365133"/>
              <a:gd name="connsiteY1110" fmla="*/ 2459295 h 4367670"/>
              <a:gd name="connsiteX1111" fmla="*/ 4185671 w 5365133"/>
              <a:gd name="connsiteY1111" fmla="*/ 2453555 h 4367670"/>
              <a:gd name="connsiteX1112" fmla="*/ 4191410 w 5365133"/>
              <a:gd name="connsiteY1112" fmla="*/ 2459295 h 4367670"/>
              <a:gd name="connsiteX1113" fmla="*/ 4174192 w 5365133"/>
              <a:gd name="connsiteY1113" fmla="*/ 2465034 h 4367670"/>
              <a:gd name="connsiteX1114" fmla="*/ 4174192 w 5365133"/>
              <a:gd name="connsiteY1114" fmla="*/ 2453555 h 4367670"/>
              <a:gd name="connsiteX1115" fmla="*/ 4179931 w 5365133"/>
              <a:gd name="connsiteY1115" fmla="*/ 2452120 h 4367670"/>
              <a:gd name="connsiteX1116" fmla="*/ 4785819 w 5365133"/>
              <a:gd name="connsiteY1116" fmla="*/ 2451973 h 4367670"/>
              <a:gd name="connsiteX1117" fmla="*/ 4791186 w 5365133"/>
              <a:gd name="connsiteY1117" fmla="*/ 2460524 h 4367670"/>
              <a:gd name="connsiteX1118" fmla="*/ 4773295 w 5365133"/>
              <a:gd name="connsiteY1118" fmla="*/ 2465845 h 4367670"/>
              <a:gd name="connsiteX1119" fmla="*/ 4775084 w 5365133"/>
              <a:gd name="connsiteY1119" fmla="*/ 2457931 h 4367670"/>
              <a:gd name="connsiteX1120" fmla="*/ 4779886 w 5365133"/>
              <a:gd name="connsiteY1120" fmla="*/ 2452069 h 4367670"/>
              <a:gd name="connsiteX1121" fmla="*/ 4785819 w 5365133"/>
              <a:gd name="connsiteY1121" fmla="*/ 2451973 h 4367670"/>
              <a:gd name="connsiteX1122" fmla="*/ 4300460 w 5365133"/>
              <a:gd name="connsiteY1122" fmla="*/ 2449250 h 4367670"/>
              <a:gd name="connsiteX1123" fmla="*/ 4306200 w 5365133"/>
              <a:gd name="connsiteY1123" fmla="*/ 2453555 h 4367670"/>
              <a:gd name="connsiteX1124" fmla="*/ 4294721 w 5365133"/>
              <a:gd name="connsiteY1124" fmla="*/ 2453555 h 4367670"/>
              <a:gd name="connsiteX1125" fmla="*/ 4300460 w 5365133"/>
              <a:gd name="connsiteY1125" fmla="*/ 2449250 h 4367670"/>
              <a:gd name="connsiteX1126" fmla="*/ 4201615 w 5365133"/>
              <a:gd name="connsiteY1126" fmla="*/ 2448361 h 4367670"/>
              <a:gd name="connsiteX1127" fmla="*/ 4199065 w 5365133"/>
              <a:gd name="connsiteY1127" fmla="*/ 2459295 h 4367670"/>
              <a:gd name="connsiteX1128" fmla="*/ 4194879 w 5365133"/>
              <a:gd name="connsiteY1128" fmla="*/ 2449251 h 4367670"/>
              <a:gd name="connsiteX1129" fmla="*/ 4251675 w 5365133"/>
              <a:gd name="connsiteY1129" fmla="*/ 2447815 h 4367670"/>
              <a:gd name="connsiteX1130" fmla="*/ 4251675 w 5365133"/>
              <a:gd name="connsiteY1130" fmla="*/ 2459295 h 4367670"/>
              <a:gd name="connsiteX1131" fmla="*/ 4245936 w 5365133"/>
              <a:gd name="connsiteY1131" fmla="*/ 2459295 h 4367670"/>
              <a:gd name="connsiteX1132" fmla="*/ 4240197 w 5365133"/>
              <a:gd name="connsiteY1132" fmla="*/ 2453555 h 4367670"/>
              <a:gd name="connsiteX1133" fmla="*/ 4251675 w 5365133"/>
              <a:gd name="connsiteY1133" fmla="*/ 2447815 h 4367670"/>
              <a:gd name="connsiteX1134" fmla="*/ 4162713 w 5365133"/>
              <a:gd name="connsiteY1134" fmla="*/ 2447815 h 4367670"/>
              <a:gd name="connsiteX1135" fmla="*/ 4151234 w 5365133"/>
              <a:gd name="connsiteY1135" fmla="*/ 2459295 h 4367670"/>
              <a:gd name="connsiteX1136" fmla="*/ 4151234 w 5365133"/>
              <a:gd name="connsiteY1136" fmla="*/ 2470774 h 4367670"/>
              <a:gd name="connsiteX1137" fmla="*/ 4144777 w 5365133"/>
              <a:gd name="connsiteY1137" fmla="*/ 2465752 h 4367670"/>
              <a:gd name="connsiteX1138" fmla="*/ 4140104 w 5365133"/>
              <a:gd name="connsiteY1138" fmla="*/ 2465439 h 4367670"/>
              <a:gd name="connsiteX1139" fmla="*/ 4151234 w 5365133"/>
              <a:gd name="connsiteY1139" fmla="*/ 2478427 h 4367670"/>
              <a:gd name="connsiteX1140" fmla="*/ 4145494 w 5365133"/>
              <a:gd name="connsiteY1140" fmla="*/ 2478427 h 4367670"/>
              <a:gd name="connsiteX1141" fmla="*/ 4139755 w 5365133"/>
              <a:gd name="connsiteY1141" fmla="*/ 2485123 h 4367670"/>
              <a:gd name="connsiteX1142" fmla="*/ 4134016 w 5365133"/>
              <a:gd name="connsiteY1142" fmla="*/ 2485123 h 4367670"/>
              <a:gd name="connsiteX1143" fmla="*/ 4134016 w 5365133"/>
              <a:gd name="connsiteY1143" fmla="*/ 2483975 h 4367670"/>
              <a:gd name="connsiteX1144" fmla="*/ 4118473 w 5365133"/>
              <a:gd name="connsiteY1144" fmla="*/ 2492656 h 4367670"/>
              <a:gd name="connsiteX1145" fmla="*/ 4102928 w 5365133"/>
              <a:gd name="connsiteY1145" fmla="*/ 2496602 h 4367670"/>
              <a:gd name="connsiteX1146" fmla="*/ 4102928 w 5365133"/>
              <a:gd name="connsiteY1146" fmla="*/ 2490288 h 4367670"/>
              <a:gd name="connsiteX1147" fmla="*/ 4109147 w 5365133"/>
              <a:gd name="connsiteY1147" fmla="*/ 2490288 h 4367670"/>
              <a:gd name="connsiteX1148" fmla="*/ 4115363 w 5365133"/>
              <a:gd name="connsiteY1148" fmla="*/ 2490288 h 4367670"/>
              <a:gd name="connsiteX1149" fmla="*/ 4109147 w 5365133"/>
              <a:gd name="connsiteY1149" fmla="*/ 2477661 h 4367670"/>
              <a:gd name="connsiteX1150" fmla="*/ 4121583 w 5365133"/>
              <a:gd name="connsiteY1150" fmla="*/ 2465034 h 4367670"/>
              <a:gd name="connsiteX1151" fmla="*/ 4121583 w 5365133"/>
              <a:gd name="connsiteY1151" fmla="*/ 2483975 h 4367670"/>
              <a:gd name="connsiteX1152" fmla="*/ 4123137 w 5365133"/>
              <a:gd name="connsiteY1152" fmla="*/ 2481607 h 4367670"/>
              <a:gd name="connsiteX1153" fmla="*/ 4134016 w 5365133"/>
              <a:gd name="connsiteY1153" fmla="*/ 2483973 h 4367670"/>
              <a:gd name="connsiteX1154" fmla="*/ 4134016 w 5365133"/>
              <a:gd name="connsiteY1154" fmla="*/ 2478427 h 4367670"/>
              <a:gd name="connsiteX1155" fmla="*/ 4139596 w 5365133"/>
              <a:gd name="connsiteY1155" fmla="*/ 2465406 h 4367670"/>
              <a:gd name="connsiteX1156" fmla="*/ 4134016 w 5365133"/>
              <a:gd name="connsiteY1156" fmla="*/ 2465034 h 4367670"/>
              <a:gd name="connsiteX1157" fmla="*/ 4151234 w 5365133"/>
              <a:gd name="connsiteY1157" fmla="*/ 2453555 h 4367670"/>
              <a:gd name="connsiteX1158" fmla="*/ 4156974 w 5365133"/>
              <a:gd name="connsiteY1158" fmla="*/ 2459295 h 4367670"/>
              <a:gd name="connsiteX1159" fmla="*/ 4162713 w 5365133"/>
              <a:gd name="connsiteY1159" fmla="*/ 2447815 h 4367670"/>
              <a:gd name="connsiteX1160" fmla="*/ 4202023 w 5365133"/>
              <a:gd name="connsiteY1160" fmla="*/ 2446613 h 4367670"/>
              <a:gd name="connsiteX1161" fmla="*/ 4205760 w 5365133"/>
              <a:gd name="connsiteY1161" fmla="*/ 2447815 h 4367670"/>
              <a:gd name="connsiteX1162" fmla="*/ 4201615 w 5365133"/>
              <a:gd name="connsiteY1162" fmla="*/ 2448361 h 4367670"/>
              <a:gd name="connsiteX1163" fmla="*/ 4796926 w 5365133"/>
              <a:gd name="connsiteY1163" fmla="*/ 2442076 h 4367670"/>
              <a:gd name="connsiteX1164" fmla="*/ 4802665 w 5365133"/>
              <a:gd name="connsiteY1164" fmla="*/ 2453555 h 4367670"/>
              <a:gd name="connsiteX1165" fmla="*/ 4791186 w 5365133"/>
              <a:gd name="connsiteY1165" fmla="*/ 2459295 h 4367670"/>
              <a:gd name="connsiteX1166" fmla="*/ 4791186 w 5365133"/>
              <a:gd name="connsiteY1166" fmla="*/ 2447815 h 4367670"/>
              <a:gd name="connsiteX1167" fmla="*/ 4796926 w 5365133"/>
              <a:gd name="connsiteY1167" fmla="*/ 2442076 h 4367670"/>
              <a:gd name="connsiteX1168" fmla="*/ 4641960 w 5365133"/>
              <a:gd name="connsiteY1168" fmla="*/ 2442076 h 4367670"/>
              <a:gd name="connsiteX1169" fmla="*/ 4647699 w 5365133"/>
              <a:gd name="connsiteY1169" fmla="*/ 2442076 h 4367670"/>
              <a:gd name="connsiteX1170" fmla="*/ 4653439 w 5365133"/>
              <a:gd name="connsiteY1170" fmla="*/ 2447815 h 4367670"/>
              <a:gd name="connsiteX1171" fmla="*/ 4647699 w 5365133"/>
              <a:gd name="connsiteY1171" fmla="*/ 2447815 h 4367670"/>
              <a:gd name="connsiteX1172" fmla="*/ 4641960 w 5365133"/>
              <a:gd name="connsiteY1172" fmla="*/ 2459295 h 4367670"/>
              <a:gd name="connsiteX1173" fmla="*/ 4636221 w 5365133"/>
              <a:gd name="connsiteY1173" fmla="*/ 2447815 h 4367670"/>
              <a:gd name="connsiteX1174" fmla="*/ 4641960 w 5365133"/>
              <a:gd name="connsiteY1174" fmla="*/ 2442076 h 4367670"/>
              <a:gd name="connsiteX1175" fmla="*/ 4389423 w 5365133"/>
              <a:gd name="connsiteY1175" fmla="*/ 2442076 h 4367670"/>
              <a:gd name="connsiteX1176" fmla="*/ 4400902 w 5365133"/>
              <a:gd name="connsiteY1176" fmla="*/ 2442076 h 4367670"/>
              <a:gd name="connsiteX1177" fmla="*/ 4395163 w 5365133"/>
              <a:gd name="connsiteY1177" fmla="*/ 2447815 h 4367670"/>
              <a:gd name="connsiteX1178" fmla="*/ 4389423 w 5365133"/>
              <a:gd name="connsiteY1178" fmla="*/ 2442076 h 4367670"/>
              <a:gd name="connsiteX1179" fmla="*/ 4277502 w 5365133"/>
              <a:gd name="connsiteY1179" fmla="*/ 2442076 h 4367670"/>
              <a:gd name="connsiteX1180" fmla="*/ 4288982 w 5365133"/>
              <a:gd name="connsiteY1180" fmla="*/ 2459295 h 4367670"/>
              <a:gd name="connsiteX1181" fmla="*/ 4277502 w 5365133"/>
              <a:gd name="connsiteY1181" fmla="*/ 2459295 h 4367670"/>
              <a:gd name="connsiteX1182" fmla="*/ 4277502 w 5365133"/>
              <a:gd name="connsiteY1182" fmla="*/ 2442076 h 4367670"/>
              <a:gd name="connsiteX1183" fmla="*/ 4287474 w 5365133"/>
              <a:gd name="connsiteY1183" fmla="*/ 2439562 h 4367670"/>
              <a:gd name="connsiteX1184" fmla="*/ 4288982 w 5365133"/>
              <a:gd name="connsiteY1184" fmla="*/ 2442076 h 4367670"/>
              <a:gd name="connsiteX1185" fmla="*/ 4287457 w 5365133"/>
              <a:gd name="connsiteY1185" fmla="*/ 2439565 h 4367670"/>
              <a:gd name="connsiteX1186" fmla="*/ 4407121 w 5365133"/>
              <a:gd name="connsiteY1186" fmla="*/ 2436337 h 4367670"/>
              <a:gd name="connsiteX1187" fmla="*/ 4411784 w 5365133"/>
              <a:gd name="connsiteY1187" fmla="*/ 2442076 h 4367670"/>
              <a:gd name="connsiteX1188" fmla="*/ 4407121 w 5365133"/>
              <a:gd name="connsiteY1188" fmla="*/ 2447815 h 4367670"/>
              <a:gd name="connsiteX1189" fmla="*/ 4407121 w 5365133"/>
              <a:gd name="connsiteY1189" fmla="*/ 2444945 h 4367670"/>
              <a:gd name="connsiteX1190" fmla="*/ 4407121 w 5365133"/>
              <a:gd name="connsiteY1190" fmla="*/ 2436337 h 4367670"/>
              <a:gd name="connsiteX1191" fmla="*/ 4438209 w 5365133"/>
              <a:gd name="connsiteY1191" fmla="*/ 2430597 h 4367670"/>
              <a:gd name="connsiteX1192" fmla="*/ 4431993 w 5365133"/>
              <a:gd name="connsiteY1192" fmla="*/ 2447815 h 4367670"/>
              <a:gd name="connsiteX1193" fmla="*/ 4407121 w 5365133"/>
              <a:gd name="connsiteY1193" fmla="*/ 2453555 h 4367670"/>
              <a:gd name="connsiteX1194" fmla="*/ 4407121 w 5365133"/>
              <a:gd name="connsiteY1194" fmla="*/ 2447815 h 4367670"/>
              <a:gd name="connsiteX1195" fmla="*/ 4419556 w 5365133"/>
              <a:gd name="connsiteY1195" fmla="*/ 2436337 h 4367670"/>
              <a:gd name="connsiteX1196" fmla="*/ 4413339 w 5365133"/>
              <a:gd name="connsiteY1196" fmla="*/ 2447815 h 4367670"/>
              <a:gd name="connsiteX1197" fmla="*/ 4425774 w 5365133"/>
              <a:gd name="connsiteY1197" fmla="*/ 2436337 h 4367670"/>
              <a:gd name="connsiteX1198" fmla="*/ 4438209 w 5365133"/>
              <a:gd name="connsiteY1198" fmla="*/ 2430597 h 4367670"/>
              <a:gd name="connsiteX1199" fmla="*/ 4311939 w 5365133"/>
              <a:gd name="connsiteY1199" fmla="*/ 2430597 h 4367670"/>
              <a:gd name="connsiteX1200" fmla="*/ 4317679 w 5365133"/>
              <a:gd name="connsiteY1200" fmla="*/ 2447815 h 4367670"/>
              <a:gd name="connsiteX1201" fmla="*/ 4306200 w 5365133"/>
              <a:gd name="connsiteY1201" fmla="*/ 2442076 h 4367670"/>
              <a:gd name="connsiteX1202" fmla="*/ 4311939 w 5365133"/>
              <a:gd name="connsiteY1202" fmla="*/ 2430597 h 4367670"/>
              <a:gd name="connsiteX1203" fmla="*/ 4240197 w 5365133"/>
              <a:gd name="connsiteY1203" fmla="*/ 2430597 h 4367670"/>
              <a:gd name="connsiteX1204" fmla="*/ 4234457 w 5365133"/>
              <a:gd name="connsiteY1204" fmla="*/ 2442076 h 4367670"/>
              <a:gd name="connsiteX1205" fmla="*/ 4205760 w 5365133"/>
              <a:gd name="connsiteY1205" fmla="*/ 2453555 h 4367670"/>
              <a:gd name="connsiteX1206" fmla="*/ 4222978 w 5365133"/>
              <a:gd name="connsiteY1206" fmla="*/ 2436337 h 4367670"/>
              <a:gd name="connsiteX1207" fmla="*/ 4222978 w 5365133"/>
              <a:gd name="connsiteY1207" fmla="*/ 2442076 h 4367670"/>
              <a:gd name="connsiteX1208" fmla="*/ 4240197 w 5365133"/>
              <a:gd name="connsiteY1208" fmla="*/ 2430597 h 4367670"/>
              <a:gd name="connsiteX1209" fmla="*/ 4205760 w 5365133"/>
              <a:gd name="connsiteY1209" fmla="*/ 2430597 h 4367670"/>
              <a:gd name="connsiteX1210" fmla="*/ 4202023 w 5365133"/>
              <a:gd name="connsiteY1210" fmla="*/ 2446613 h 4367670"/>
              <a:gd name="connsiteX1211" fmla="*/ 4199065 w 5365133"/>
              <a:gd name="connsiteY1211" fmla="*/ 2445663 h 4367670"/>
              <a:gd name="connsiteX1212" fmla="*/ 4192369 w 5365133"/>
              <a:gd name="connsiteY1212" fmla="*/ 2447815 h 4367670"/>
              <a:gd name="connsiteX1213" fmla="*/ 4205760 w 5365133"/>
              <a:gd name="connsiteY1213" fmla="*/ 2430597 h 4367670"/>
              <a:gd name="connsiteX1214" fmla="*/ 4306738 w 5365133"/>
              <a:gd name="connsiteY1214" fmla="*/ 2426562 h 4367670"/>
              <a:gd name="connsiteX1215" fmla="*/ 4311939 w 5365133"/>
              <a:gd name="connsiteY1215" fmla="*/ 2430597 h 4367670"/>
              <a:gd name="connsiteX1216" fmla="*/ 4300460 w 5365133"/>
              <a:gd name="connsiteY1216" fmla="*/ 2436337 h 4367670"/>
              <a:gd name="connsiteX1217" fmla="*/ 4300460 w 5365133"/>
              <a:gd name="connsiteY1217" fmla="*/ 2442076 h 4367670"/>
              <a:gd name="connsiteX1218" fmla="*/ 4294721 w 5365133"/>
              <a:gd name="connsiteY1218" fmla="*/ 2436337 h 4367670"/>
              <a:gd name="connsiteX1219" fmla="*/ 4289699 w 5365133"/>
              <a:gd name="connsiteY1219" fmla="*/ 2439206 h 4367670"/>
              <a:gd name="connsiteX1220" fmla="*/ 4287474 w 5365133"/>
              <a:gd name="connsiteY1220" fmla="*/ 2439562 h 4367670"/>
              <a:gd name="connsiteX1221" fmla="*/ 4286829 w 5365133"/>
              <a:gd name="connsiteY1221" fmla="*/ 2438489 h 4367670"/>
              <a:gd name="connsiteX1222" fmla="*/ 4288982 w 5365133"/>
              <a:gd name="connsiteY1222" fmla="*/ 2430597 h 4367670"/>
              <a:gd name="connsiteX1223" fmla="*/ 4300460 w 5365133"/>
              <a:gd name="connsiteY1223" fmla="*/ 2428444 h 4367670"/>
              <a:gd name="connsiteX1224" fmla="*/ 4306738 w 5365133"/>
              <a:gd name="connsiteY1224" fmla="*/ 2426562 h 4367670"/>
              <a:gd name="connsiteX1225" fmla="*/ 4455426 w 5365133"/>
              <a:gd name="connsiteY1225" fmla="*/ 2426293 h 4367670"/>
              <a:gd name="connsiteX1226" fmla="*/ 4455426 w 5365133"/>
              <a:gd name="connsiteY1226" fmla="*/ 2447815 h 4367670"/>
              <a:gd name="connsiteX1227" fmla="*/ 4455426 w 5365133"/>
              <a:gd name="connsiteY1227" fmla="*/ 2426293 h 4367670"/>
              <a:gd name="connsiteX1228" fmla="*/ 4270330 w 5365133"/>
              <a:gd name="connsiteY1228" fmla="*/ 2424857 h 4367670"/>
              <a:gd name="connsiteX1229" fmla="*/ 4257416 w 5365133"/>
              <a:gd name="connsiteY1229" fmla="*/ 2430597 h 4367670"/>
              <a:gd name="connsiteX1230" fmla="*/ 4270330 w 5365133"/>
              <a:gd name="connsiteY1230" fmla="*/ 2424857 h 4367670"/>
              <a:gd name="connsiteX1231" fmla="*/ 4249075 w 5365133"/>
              <a:gd name="connsiteY1231" fmla="*/ 2423333 h 4367670"/>
              <a:gd name="connsiteX1232" fmla="*/ 4251675 w 5365133"/>
              <a:gd name="connsiteY1232" fmla="*/ 2424857 h 4367670"/>
              <a:gd name="connsiteX1233" fmla="*/ 4245936 w 5365133"/>
              <a:gd name="connsiteY1233" fmla="*/ 2442076 h 4367670"/>
              <a:gd name="connsiteX1234" fmla="*/ 4240197 w 5365133"/>
              <a:gd name="connsiteY1234" fmla="*/ 2430597 h 4367670"/>
              <a:gd name="connsiteX1235" fmla="*/ 4249075 w 5365133"/>
              <a:gd name="connsiteY1235" fmla="*/ 2423333 h 4367670"/>
              <a:gd name="connsiteX1236" fmla="*/ 4666168 w 5365133"/>
              <a:gd name="connsiteY1236" fmla="*/ 2417437 h 4367670"/>
              <a:gd name="connsiteX1237" fmla="*/ 4678125 w 5365133"/>
              <a:gd name="connsiteY1237" fmla="*/ 2423401 h 4367670"/>
              <a:gd name="connsiteX1238" fmla="*/ 4666168 w 5365133"/>
              <a:gd name="connsiteY1238" fmla="*/ 2417437 h 4367670"/>
              <a:gd name="connsiteX1239" fmla="*/ 4332070 w 5365133"/>
              <a:gd name="connsiteY1239" fmla="*/ 2413993 h 4367670"/>
              <a:gd name="connsiteX1240" fmla="*/ 4347727 w 5365133"/>
              <a:gd name="connsiteY1240" fmla="*/ 2417752 h 4367670"/>
              <a:gd name="connsiteX1241" fmla="*/ 4352427 w 5365133"/>
              <a:gd name="connsiteY1241" fmla="*/ 2414290 h 4367670"/>
              <a:gd name="connsiteX1242" fmla="*/ 4347727 w 5365133"/>
              <a:gd name="connsiteY1242" fmla="*/ 2423764 h 4367670"/>
              <a:gd name="connsiteX1243" fmla="*/ 4341763 w 5365133"/>
              <a:gd name="connsiteY1243" fmla="*/ 2429776 h 4367670"/>
              <a:gd name="connsiteX1244" fmla="*/ 4341763 w 5365133"/>
              <a:gd name="connsiteY1244" fmla="*/ 2423764 h 4367670"/>
              <a:gd name="connsiteX1245" fmla="*/ 4317905 w 5365133"/>
              <a:gd name="connsiteY1245" fmla="*/ 2429776 h 4367670"/>
              <a:gd name="connsiteX1246" fmla="*/ 4323868 w 5365133"/>
              <a:gd name="connsiteY1246" fmla="*/ 2435789 h 4367670"/>
              <a:gd name="connsiteX1247" fmla="*/ 4311939 w 5365133"/>
              <a:gd name="connsiteY1247" fmla="*/ 2423764 h 4367670"/>
              <a:gd name="connsiteX1248" fmla="*/ 4332070 w 5365133"/>
              <a:gd name="connsiteY1248" fmla="*/ 2413993 h 4367670"/>
              <a:gd name="connsiteX1249" fmla="*/ 4353692 w 5365133"/>
              <a:gd name="connsiteY1249" fmla="*/ 2411739 h 4367670"/>
              <a:gd name="connsiteX1250" fmla="*/ 4354939 w 5365133"/>
              <a:gd name="connsiteY1250" fmla="*/ 2412437 h 4367670"/>
              <a:gd name="connsiteX1251" fmla="*/ 4352427 w 5365133"/>
              <a:gd name="connsiteY1251" fmla="*/ 2414290 h 4367670"/>
              <a:gd name="connsiteX1252" fmla="*/ 4897366 w 5365133"/>
              <a:gd name="connsiteY1252" fmla="*/ 2406206 h 4367670"/>
              <a:gd name="connsiteX1253" fmla="*/ 4897328 w 5365133"/>
              <a:gd name="connsiteY1253" fmla="*/ 2406875 h 4367670"/>
              <a:gd name="connsiteX1254" fmla="*/ 4897290 w 5365133"/>
              <a:gd name="connsiteY1254" fmla="*/ 2406424 h 4367670"/>
              <a:gd name="connsiteX1255" fmla="*/ 4874408 w 5365133"/>
              <a:gd name="connsiteY1255" fmla="*/ 2406206 h 4367670"/>
              <a:gd name="connsiteX1256" fmla="*/ 4885886 w 5365133"/>
              <a:gd name="connsiteY1256" fmla="*/ 2408538 h 4367670"/>
              <a:gd name="connsiteX1257" fmla="*/ 4897274 w 5365133"/>
              <a:gd name="connsiteY1257" fmla="*/ 2406224 h 4367670"/>
              <a:gd name="connsiteX1258" fmla="*/ 4897290 w 5365133"/>
              <a:gd name="connsiteY1258" fmla="*/ 2406424 h 4367670"/>
              <a:gd name="connsiteX1259" fmla="*/ 4894585 w 5365133"/>
              <a:gd name="connsiteY1259" fmla="*/ 2414270 h 4367670"/>
              <a:gd name="connsiteX1260" fmla="*/ 4874408 w 5365133"/>
              <a:gd name="connsiteY1260" fmla="*/ 2418641 h 4367670"/>
              <a:gd name="connsiteX1261" fmla="*/ 4874408 w 5365133"/>
              <a:gd name="connsiteY1261" fmla="*/ 2412425 h 4367670"/>
              <a:gd name="connsiteX1262" fmla="*/ 4874408 w 5365133"/>
              <a:gd name="connsiteY1262" fmla="*/ 2407643 h 4367670"/>
              <a:gd name="connsiteX1263" fmla="*/ 4868432 w 5365133"/>
              <a:gd name="connsiteY1263" fmla="*/ 2417683 h 4367670"/>
              <a:gd name="connsiteX1264" fmla="*/ 4862453 w 5365133"/>
              <a:gd name="connsiteY1264" fmla="*/ 2419118 h 4367670"/>
              <a:gd name="connsiteX1265" fmla="*/ 4868432 w 5365133"/>
              <a:gd name="connsiteY1265" fmla="*/ 2424857 h 4367670"/>
              <a:gd name="connsiteX1266" fmla="*/ 4826581 w 5365133"/>
              <a:gd name="connsiteY1266" fmla="*/ 2430597 h 4367670"/>
              <a:gd name="connsiteX1267" fmla="*/ 4826581 w 5365133"/>
              <a:gd name="connsiteY1267" fmla="*/ 2442076 h 4367670"/>
              <a:gd name="connsiteX1268" fmla="*/ 4814623 w 5365133"/>
              <a:gd name="connsiteY1268" fmla="*/ 2447815 h 4367670"/>
              <a:gd name="connsiteX1269" fmla="*/ 4802665 w 5365133"/>
              <a:gd name="connsiteY1269" fmla="*/ 2436337 h 4367670"/>
              <a:gd name="connsiteX1270" fmla="*/ 4814623 w 5365133"/>
              <a:gd name="connsiteY1270" fmla="*/ 2442076 h 4367670"/>
              <a:gd name="connsiteX1271" fmla="*/ 4838537 w 5365133"/>
              <a:gd name="connsiteY1271" fmla="*/ 2419118 h 4367670"/>
              <a:gd name="connsiteX1272" fmla="*/ 4850495 w 5365133"/>
              <a:gd name="connsiteY1272" fmla="*/ 2419118 h 4367670"/>
              <a:gd name="connsiteX1273" fmla="*/ 4844517 w 5365133"/>
              <a:gd name="connsiteY1273" fmla="*/ 2430597 h 4367670"/>
              <a:gd name="connsiteX1274" fmla="*/ 4862453 w 5365133"/>
              <a:gd name="connsiteY1274" fmla="*/ 2413379 h 4367670"/>
              <a:gd name="connsiteX1275" fmla="*/ 4874408 w 5365133"/>
              <a:gd name="connsiteY1275" fmla="*/ 2407639 h 4367670"/>
              <a:gd name="connsiteX1276" fmla="*/ 4311939 w 5365133"/>
              <a:gd name="connsiteY1276" fmla="*/ 2406206 h 4367670"/>
              <a:gd name="connsiteX1277" fmla="*/ 4329157 w 5365133"/>
              <a:gd name="connsiteY1277" fmla="*/ 2406206 h 4367670"/>
              <a:gd name="connsiteX1278" fmla="*/ 4311939 w 5365133"/>
              <a:gd name="connsiteY1278" fmla="*/ 2413381 h 4367670"/>
              <a:gd name="connsiteX1279" fmla="*/ 4897254 w 5365133"/>
              <a:gd name="connsiteY1279" fmla="*/ 2405995 h 4367670"/>
              <a:gd name="connsiteX1280" fmla="*/ 4897366 w 5365133"/>
              <a:gd name="connsiteY1280" fmla="*/ 2406206 h 4367670"/>
              <a:gd name="connsiteX1281" fmla="*/ 4897274 w 5365133"/>
              <a:gd name="connsiteY1281" fmla="*/ 2406224 h 4367670"/>
              <a:gd name="connsiteX1282" fmla="*/ 4395443 w 5365133"/>
              <a:gd name="connsiteY1282" fmla="*/ 2405727 h 4367670"/>
              <a:gd name="connsiteX1283" fmla="*/ 4395443 w 5365133"/>
              <a:gd name="connsiteY1283" fmla="*/ 2406477 h 4367670"/>
              <a:gd name="connsiteX1284" fmla="*/ 4395443 w 5365133"/>
              <a:gd name="connsiteY1284" fmla="*/ 2417752 h 4367670"/>
              <a:gd name="connsiteX1285" fmla="*/ 4389479 w 5365133"/>
              <a:gd name="connsiteY1285" fmla="*/ 2411739 h 4367670"/>
              <a:gd name="connsiteX1286" fmla="*/ 4395443 w 5365133"/>
              <a:gd name="connsiteY1286" fmla="*/ 2405727 h 4367670"/>
              <a:gd name="connsiteX1287" fmla="*/ 4910280 w 5365133"/>
              <a:gd name="connsiteY1287" fmla="*/ 2399569 h 4367670"/>
              <a:gd name="connsiteX1288" fmla="*/ 4917455 w 5365133"/>
              <a:gd name="connsiteY1288" fmla="*/ 2407641 h 4367670"/>
              <a:gd name="connsiteX1289" fmla="*/ 4903105 w 5365133"/>
              <a:gd name="connsiteY1289" fmla="*/ 2407641 h 4367670"/>
              <a:gd name="connsiteX1290" fmla="*/ 4910280 w 5365133"/>
              <a:gd name="connsiteY1290" fmla="*/ 2399569 h 4367670"/>
              <a:gd name="connsiteX1291" fmla="*/ 4894945 w 5365133"/>
              <a:gd name="connsiteY1291" fmla="*/ 2396587 h 4367670"/>
              <a:gd name="connsiteX1292" fmla="*/ 4897063 w 5365133"/>
              <a:gd name="connsiteY1292" fmla="*/ 2403692 h 4367670"/>
              <a:gd name="connsiteX1293" fmla="*/ 4897254 w 5365133"/>
              <a:gd name="connsiteY1293" fmla="*/ 2405995 h 4367670"/>
              <a:gd name="connsiteX1294" fmla="*/ 4894495 w 5365133"/>
              <a:gd name="connsiteY1294" fmla="*/ 2400765 h 4367670"/>
              <a:gd name="connsiteX1295" fmla="*/ 4891626 w 5365133"/>
              <a:gd name="connsiteY1295" fmla="*/ 2399987 h 4367670"/>
              <a:gd name="connsiteX1296" fmla="*/ 4894945 w 5365133"/>
              <a:gd name="connsiteY1296" fmla="*/ 2396587 h 4367670"/>
              <a:gd name="connsiteX1297" fmla="*/ 4539880 w 5365133"/>
              <a:gd name="connsiteY1297" fmla="*/ 2394439 h 4367670"/>
              <a:gd name="connsiteX1298" fmla="*/ 4533730 w 5365133"/>
              <a:gd name="connsiteY1298" fmla="*/ 2407066 h 4367670"/>
              <a:gd name="connsiteX1299" fmla="*/ 4564478 w 5365133"/>
              <a:gd name="connsiteY1299" fmla="*/ 2400754 h 4367670"/>
              <a:gd name="connsiteX1300" fmla="*/ 4539880 w 5365133"/>
              <a:gd name="connsiteY1300" fmla="*/ 2413381 h 4367670"/>
              <a:gd name="connsiteX1301" fmla="*/ 4527581 w 5365133"/>
              <a:gd name="connsiteY1301" fmla="*/ 2407066 h 4367670"/>
              <a:gd name="connsiteX1302" fmla="*/ 4533730 w 5365133"/>
              <a:gd name="connsiteY1302" fmla="*/ 2400754 h 4367670"/>
              <a:gd name="connsiteX1303" fmla="*/ 4539880 w 5365133"/>
              <a:gd name="connsiteY1303" fmla="*/ 2394439 h 4367670"/>
              <a:gd name="connsiteX1304" fmla="*/ 4630480 w 5365133"/>
              <a:gd name="connsiteY1304" fmla="*/ 2393292 h 4367670"/>
              <a:gd name="connsiteX1305" fmla="*/ 4420989 w 5365133"/>
              <a:gd name="connsiteY1305" fmla="*/ 2479383 h 4367670"/>
              <a:gd name="connsiteX1306" fmla="*/ 4426974 w 5365133"/>
              <a:gd name="connsiteY1306" fmla="*/ 2460936 h 4367670"/>
              <a:gd name="connsiteX1307" fmla="*/ 4450918 w 5365133"/>
              <a:gd name="connsiteY1307" fmla="*/ 2460936 h 4367670"/>
              <a:gd name="connsiteX1308" fmla="*/ 4456903 w 5365133"/>
              <a:gd name="connsiteY1308" fmla="*/ 2454786 h 4367670"/>
              <a:gd name="connsiteX1309" fmla="*/ 4462888 w 5365133"/>
              <a:gd name="connsiteY1309" fmla="*/ 2442486 h 4367670"/>
              <a:gd name="connsiteX1310" fmla="*/ 4480845 w 5365133"/>
              <a:gd name="connsiteY1310" fmla="*/ 2442486 h 4367670"/>
              <a:gd name="connsiteX1311" fmla="*/ 4480845 w 5365133"/>
              <a:gd name="connsiteY1311" fmla="*/ 2424039 h 4367670"/>
              <a:gd name="connsiteX1312" fmla="*/ 4492815 w 5365133"/>
              <a:gd name="connsiteY1312" fmla="*/ 2430189 h 4367670"/>
              <a:gd name="connsiteX1313" fmla="*/ 4486830 w 5365133"/>
              <a:gd name="connsiteY1313" fmla="*/ 2442486 h 4367670"/>
              <a:gd name="connsiteX1314" fmla="*/ 4496557 w 5365133"/>
              <a:gd name="connsiteY1314" fmla="*/ 2430957 h 4367670"/>
              <a:gd name="connsiteX1315" fmla="*/ 4509668 w 5365133"/>
              <a:gd name="connsiteY1315" fmla="*/ 2424576 h 4367670"/>
              <a:gd name="connsiteX1316" fmla="*/ 4502061 w 5365133"/>
              <a:gd name="connsiteY1316" fmla="*/ 2416967 h 4367670"/>
              <a:gd name="connsiteX1317" fmla="*/ 4498473 w 5365133"/>
              <a:gd name="connsiteY1317" fmla="*/ 2399604 h 4367670"/>
              <a:gd name="connsiteX1318" fmla="*/ 4509952 w 5365133"/>
              <a:gd name="connsiteY1318" fmla="*/ 2399604 h 4367670"/>
              <a:gd name="connsiteX1319" fmla="*/ 4504213 w 5365133"/>
              <a:gd name="connsiteY1319" fmla="*/ 2412233 h 4367670"/>
              <a:gd name="connsiteX1320" fmla="*/ 4509234 w 5365133"/>
              <a:gd name="connsiteY1320" fmla="*/ 2418545 h 4367670"/>
              <a:gd name="connsiteX1321" fmla="*/ 4509907 w 5365133"/>
              <a:gd name="connsiteY1321" fmla="*/ 2424460 h 4367670"/>
              <a:gd name="connsiteX1322" fmla="*/ 4510773 w 5365133"/>
              <a:gd name="connsiteY1322" fmla="*/ 2424039 h 4367670"/>
              <a:gd name="connsiteX1323" fmla="*/ 4510773 w 5365133"/>
              <a:gd name="connsiteY1323" fmla="*/ 2436337 h 4367670"/>
              <a:gd name="connsiteX1324" fmla="*/ 4522743 w 5365133"/>
              <a:gd name="connsiteY1324" fmla="*/ 2430189 h 4367670"/>
              <a:gd name="connsiteX1325" fmla="*/ 4516758 w 5365133"/>
              <a:gd name="connsiteY1325" fmla="*/ 2417889 h 4367670"/>
              <a:gd name="connsiteX1326" fmla="*/ 4630480 w 5365133"/>
              <a:gd name="connsiteY1326" fmla="*/ 2393292 h 4367670"/>
              <a:gd name="connsiteX1327" fmla="*/ 4533730 w 5365133"/>
              <a:gd name="connsiteY1327" fmla="*/ 2381813 h 4367670"/>
              <a:gd name="connsiteX1328" fmla="*/ 4539880 w 5365133"/>
              <a:gd name="connsiteY1328" fmla="*/ 2394439 h 4367670"/>
              <a:gd name="connsiteX1329" fmla="*/ 4532097 w 5365133"/>
              <a:gd name="connsiteY1329" fmla="*/ 2397103 h 4367670"/>
              <a:gd name="connsiteX1330" fmla="*/ 4533730 w 5365133"/>
              <a:gd name="connsiteY1330" fmla="*/ 2400754 h 4367670"/>
              <a:gd name="connsiteX1331" fmla="*/ 4528542 w 5365133"/>
              <a:gd name="connsiteY1331" fmla="*/ 2398682 h 4367670"/>
              <a:gd name="connsiteX1332" fmla="*/ 4533730 w 5365133"/>
              <a:gd name="connsiteY1332" fmla="*/ 2381813 h 4367670"/>
              <a:gd name="connsiteX1333" fmla="*/ 4994938 w 5365133"/>
              <a:gd name="connsiteY1333" fmla="*/ 2370334 h 4367670"/>
              <a:gd name="connsiteX1334" fmla="*/ 4953216 w 5365133"/>
              <a:gd name="connsiteY1334" fmla="*/ 2381813 h 4367670"/>
              <a:gd name="connsiteX1335" fmla="*/ 4923415 w 5365133"/>
              <a:gd name="connsiteY1335" fmla="*/ 2399031 h 4367670"/>
              <a:gd name="connsiteX1336" fmla="*/ 4923415 w 5365133"/>
              <a:gd name="connsiteY1336" fmla="*/ 2387552 h 4367670"/>
              <a:gd name="connsiteX1337" fmla="*/ 4941296 w 5365133"/>
              <a:gd name="connsiteY1337" fmla="*/ 2381813 h 4367670"/>
              <a:gd name="connsiteX1338" fmla="*/ 4941296 w 5365133"/>
              <a:gd name="connsiteY1338" fmla="*/ 2387552 h 4367670"/>
              <a:gd name="connsiteX1339" fmla="*/ 4959176 w 5365133"/>
              <a:gd name="connsiteY1339" fmla="*/ 2376073 h 4367670"/>
              <a:gd name="connsiteX1340" fmla="*/ 4994938 w 5365133"/>
              <a:gd name="connsiteY1340" fmla="*/ 2370334 h 4367670"/>
              <a:gd name="connsiteX1341" fmla="*/ 4951563 w 5365133"/>
              <a:gd name="connsiteY1341" fmla="*/ 2361120 h 4367670"/>
              <a:gd name="connsiteX1342" fmla="*/ 4945617 w 5365133"/>
              <a:gd name="connsiteY1342" fmla="*/ 2363732 h 4367670"/>
              <a:gd name="connsiteX1343" fmla="*/ 4908967 w 5365133"/>
              <a:gd name="connsiteY1343" fmla="*/ 2381811 h 4367670"/>
              <a:gd name="connsiteX1344" fmla="*/ 4891015 w 5365133"/>
              <a:gd name="connsiteY1344" fmla="*/ 2387838 h 4367670"/>
              <a:gd name="connsiteX1345" fmla="*/ 4861097 w 5365133"/>
              <a:gd name="connsiteY1345" fmla="*/ 2399891 h 4367670"/>
              <a:gd name="connsiteX1346" fmla="*/ 4867081 w 5365133"/>
              <a:gd name="connsiteY1346" fmla="*/ 2399891 h 4367670"/>
              <a:gd name="connsiteX1347" fmla="*/ 4771341 w 5365133"/>
              <a:gd name="connsiteY1347" fmla="*/ 2442076 h 4367670"/>
              <a:gd name="connsiteX1348" fmla="*/ 4771341 w 5365133"/>
              <a:gd name="connsiteY1348" fmla="*/ 2430022 h 4367670"/>
              <a:gd name="connsiteX1349" fmla="*/ 4880545 w 5365133"/>
              <a:gd name="connsiteY1349" fmla="*/ 2384072 h 4367670"/>
              <a:gd name="connsiteX1350" fmla="*/ 5012155 w 5365133"/>
              <a:gd name="connsiteY1350" fmla="*/ 2359157 h 4367670"/>
              <a:gd name="connsiteX1351" fmla="*/ 5012155 w 5365133"/>
              <a:gd name="connsiteY1351" fmla="*/ 2370334 h 4367670"/>
              <a:gd name="connsiteX1352" fmla="*/ 4994937 w 5365133"/>
              <a:gd name="connsiteY1352" fmla="*/ 2364594 h 4367670"/>
              <a:gd name="connsiteX1353" fmla="*/ 5004265 w 5365133"/>
              <a:gd name="connsiteY1353" fmla="*/ 2359572 h 4367670"/>
              <a:gd name="connsiteX1354" fmla="*/ 5012155 w 5365133"/>
              <a:gd name="connsiteY1354" fmla="*/ 2358855 h 4367670"/>
              <a:gd name="connsiteX1355" fmla="*/ 5017894 w 5365133"/>
              <a:gd name="connsiteY1355" fmla="*/ 2358855 h 4367670"/>
              <a:gd name="connsiteX1356" fmla="*/ 5012155 w 5365133"/>
              <a:gd name="connsiteY1356" fmla="*/ 2359157 h 4367670"/>
              <a:gd name="connsiteX1357" fmla="*/ 4623666 w 5365133"/>
              <a:gd name="connsiteY1357" fmla="*/ 2358855 h 4367670"/>
              <a:gd name="connsiteX1358" fmla="*/ 4574879 w 5365133"/>
              <a:gd name="connsiteY1358" fmla="*/ 2387552 h 4367670"/>
              <a:gd name="connsiteX1359" fmla="*/ 4544389 w 5365133"/>
              <a:gd name="connsiteY1359" fmla="*/ 2393292 h 4367670"/>
              <a:gd name="connsiteX1360" fmla="*/ 4593176 w 5365133"/>
              <a:gd name="connsiteY1360" fmla="*/ 2376073 h 4367670"/>
              <a:gd name="connsiteX1361" fmla="*/ 4605372 w 5365133"/>
              <a:gd name="connsiteY1361" fmla="*/ 2364594 h 4367670"/>
              <a:gd name="connsiteX1362" fmla="*/ 4623666 w 5365133"/>
              <a:gd name="connsiteY1362" fmla="*/ 2358855 h 4367670"/>
              <a:gd name="connsiteX1363" fmla="*/ 5059803 w 5365133"/>
              <a:gd name="connsiteY1363" fmla="*/ 2346687 h 4367670"/>
              <a:gd name="connsiteX1364" fmla="*/ 5059803 w 5365133"/>
              <a:gd name="connsiteY1364" fmla="*/ 2352656 h 4367670"/>
              <a:gd name="connsiteX1365" fmla="*/ 5029869 w 5365133"/>
              <a:gd name="connsiteY1365" fmla="*/ 2364594 h 4367670"/>
              <a:gd name="connsiteX1366" fmla="*/ 5029869 w 5365133"/>
              <a:gd name="connsiteY1366" fmla="*/ 2352656 h 4367670"/>
              <a:gd name="connsiteX1367" fmla="*/ 5059803 w 5365133"/>
              <a:gd name="connsiteY1367" fmla="*/ 2346687 h 4367670"/>
              <a:gd name="connsiteX1368" fmla="*/ 4985538 w 5365133"/>
              <a:gd name="connsiteY1368" fmla="*/ 2346188 h 4367670"/>
              <a:gd name="connsiteX1369" fmla="*/ 4980772 w 5365133"/>
              <a:gd name="connsiteY1369" fmla="*/ 2351680 h 4367670"/>
              <a:gd name="connsiteX1370" fmla="*/ 4951563 w 5365133"/>
              <a:gd name="connsiteY1370" fmla="*/ 2361120 h 4367670"/>
              <a:gd name="connsiteX1371" fmla="*/ 4676397 w 5365133"/>
              <a:gd name="connsiteY1371" fmla="*/ 2330157 h 4367670"/>
              <a:gd name="connsiteX1372" fmla="*/ 4682136 w 5365133"/>
              <a:gd name="connsiteY1372" fmla="*/ 2335897 h 4367670"/>
              <a:gd name="connsiteX1373" fmla="*/ 4664918 w 5365133"/>
              <a:gd name="connsiteY1373" fmla="*/ 2341636 h 4367670"/>
              <a:gd name="connsiteX1374" fmla="*/ 4641960 w 5365133"/>
              <a:gd name="connsiteY1374" fmla="*/ 2353115 h 4367670"/>
              <a:gd name="connsiteX1375" fmla="*/ 4647699 w 5365133"/>
              <a:gd name="connsiteY1375" fmla="*/ 2353115 h 4367670"/>
              <a:gd name="connsiteX1376" fmla="*/ 4641960 w 5365133"/>
              <a:gd name="connsiteY1376" fmla="*/ 2341636 h 4367670"/>
              <a:gd name="connsiteX1377" fmla="*/ 4676397 w 5365133"/>
              <a:gd name="connsiteY1377" fmla="*/ 2330157 h 4367670"/>
              <a:gd name="connsiteX1378" fmla="*/ 4635743 w 5365133"/>
              <a:gd name="connsiteY1378" fmla="*/ 2330157 h 4367670"/>
              <a:gd name="connsiteX1379" fmla="*/ 4635743 w 5365133"/>
              <a:gd name="connsiteY1379" fmla="*/ 2341636 h 4367670"/>
              <a:gd name="connsiteX1380" fmla="*/ 4629525 w 5365133"/>
              <a:gd name="connsiteY1380" fmla="*/ 2335897 h 4367670"/>
              <a:gd name="connsiteX1381" fmla="*/ 4604652 w 5365133"/>
              <a:gd name="connsiteY1381" fmla="*/ 2341636 h 4367670"/>
              <a:gd name="connsiteX1382" fmla="*/ 4635743 w 5365133"/>
              <a:gd name="connsiteY1382" fmla="*/ 2330157 h 4367670"/>
              <a:gd name="connsiteX1383" fmla="*/ 4427048 w 5365133"/>
              <a:gd name="connsiteY1383" fmla="*/ 2327977 h 4367670"/>
              <a:gd name="connsiteX1384" fmla="*/ 4427048 w 5365133"/>
              <a:gd name="connsiteY1384" fmla="*/ 2333941 h 4367670"/>
              <a:gd name="connsiteX1385" fmla="*/ 4409114 w 5365133"/>
              <a:gd name="connsiteY1385" fmla="*/ 2339905 h 4367670"/>
              <a:gd name="connsiteX1386" fmla="*/ 4427048 w 5365133"/>
              <a:gd name="connsiteY1386" fmla="*/ 2327977 h 4367670"/>
              <a:gd name="connsiteX1387" fmla="*/ 4594697 w 5365133"/>
              <a:gd name="connsiteY1387" fmla="*/ 2325963 h 4367670"/>
              <a:gd name="connsiteX1388" fmla="*/ 4586309 w 5365133"/>
              <a:gd name="connsiteY1388" fmla="*/ 2333572 h 4367670"/>
              <a:gd name="connsiteX1389" fmla="*/ 4610168 w 5365133"/>
              <a:gd name="connsiteY1389" fmla="*/ 2327560 h 4367670"/>
              <a:gd name="connsiteX1390" fmla="*/ 4604202 w 5365133"/>
              <a:gd name="connsiteY1390" fmla="*/ 2339585 h 4367670"/>
              <a:gd name="connsiteX1391" fmla="*/ 4580344 w 5365133"/>
              <a:gd name="connsiteY1391" fmla="*/ 2351611 h 4367670"/>
              <a:gd name="connsiteX1392" fmla="*/ 4478948 w 5365133"/>
              <a:gd name="connsiteY1392" fmla="*/ 2375663 h 4367670"/>
              <a:gd name="connsiteX1393" fmla="*/ 4478948 w 5365133"/>
              <a:gd name="connsiteY1393" fmla="*/ 2369648 h 4367670"/>
              <a:gd name="connsiteX1394" fmla="*/ 4472982 w 5365133"/>
              <a:gd name="connsiteY1394" fmla="*/ 2381675 h 4367670"/>
              <a:gd name="connsiteX1395" fmla="*/ 4467018 w 5365133"/>
              <a:gd name="connsiteY1395" fmla="*/ 2387687 h 4367670"/>
              <a:gd name="connsiteX1396" fmla="*/ 4467018 w 5365133"/>
              <a:gd name="connsiteY1396" fmla="*/ 2381675 h 4367670"/>
              <a:gd name="connsiteX1397" fmla="*/ 4461053 w 5365133"/>
              <a:gd name="connsiteY1397" fmla="*/ 2381675 h 4367670"/>
              <a:gd name="connsiteX1398" fmla="*/ 4455088 w 5365133"/>
              <a:gd name="connsiteY1398" fmla="*/ 2387687 h 4367670"/>
              <a:gd name="connsiteX1399" fmla="*/ 4437196 w 5365133"/>
              <a:gd name="connsiteY1399" fmla="*/ 2387687 h 4367670"/>
              <a:gd name="connsiteX1400" fmla="*/ 4425267 w 5365133"/>
              <a:gd name="connsiteY1400" fmla="*/ 2405727 h 4367670"/>
              <a:gd name="connsiteX1401" fmla="*/ 4419301 w 5365133"/>
              <a:gd name="connsiteY1401" fmla="*/ 2393700 h 4367670"/>
              <a:gd name="connsiteX1402" fmla="*/ 4413337 w 5365133"/>
              <a:gd name="connsiteY1402" fmla="*/ 2399713 h 4367670"/>
              <a:gd name="connsiteX1403" fmla="*/ 4413337 w 5365133"/>
              <a:gd name="connsiteY1403" fmla="*/ 2405727 h 4367670"/>
              <a:gd name="connsiteX1404" fmla="*/ 4401408 w 5365133"/>
              <a:gd name="connsiteY1404" fmla="*/ 2411739 h 4367670"/>
              <a:gd name="connsiteX1405" fmla="*/ 4401408 w 5365133"/>
              <a:gd name="connsiteY1405" fmla="*/ 2399713 h 4367670"/>
              <a:gd name="connsiteX1406" fmla="*/ 4395443 w 5365133"/>
              <a:gd name="connsiteY1406" fmla="*/ 2399713 h 4367670"/>
              <a:gd name="connsiteX1407" fmla="*/ 4395443 w 5365133"/>
              <a:gd name="connsiteY1407" fmla="*/ 2405727 h 4367670"/>
              <a:gd name="connsiteX1408" fmla="*/ 4371585 w 5365133"/>
              <a:gd name="connsiteY1408" fmla="*/ 2405727 h 4367670"/>
              <a:gd name="connsiteX1409" fmla="*/ 4360402 w 5365133"/>
              <a:gd name="connsiteY1409" fmla="*/ 2415498 h 4367670"/>
              <a:gd name="connsiteX1410" fmla="*/ 4354939 w 5365133"/>
              <a:gd name="connsiteY1410" fmla="*/ 2412437 h 4367670"/>
              <a:gd name="connsiteX1411" fmla="*/ 4367112 w 5365133"/>
              <a:gd name="connsiteY1411" fmla="*/ 2403471 h 4367670"/>
              <a:gd name="connsiteX1412" fmla="*/ 4395443 w 5365133"/>
              <a:gd name="connsiteY1412" fmla="*/ 2393700 h 4367670"/>
              <a:gd name="connsiteX1413" fmla="*/ 4407371 w 5365133"/>
              <a:gd name="connsiteY1413" fmla="*/ 2399713 h 4367670"/>
              <a:gd name="connsiteX1414" fmla="*/ 4401408 w 5365133"/>
              <a:gd name="connsiteY1414" fmla="*/ 2393700 h 4367670"/>
              <a:gd name="connsiteX1415" fmla="*/ 4562451 w 5365133"/>
              <a:gd name="connsiteY1415" fmla="*/ 2333572 h 4367670"/>
              <a:gd name="connsiteX1416" fmla="*/ 4580344 w 5365133"/>
              <a:gd name="connsiteY1416" fmla="*/ 2345599 h 4367670"/>
              <a:gd name="connsiteX1417" fmla="*/ 4580344 w 5365133"/>
              <a:gd name="connsiteY1417" fmla="*/ 2339585 h 4367670"/>
              <a:gd name="connsiteX1418" fmla="*/ 4592273 w 5365133"/>
              <a:gd name="connsiteY1418" fmla="*/ 2327560 h 4367670"/>
              <a:gd name="connsiteX1419" fmla="*/ 4594697 w 5365133"/>
              <a:gd name="connsiteY1419" fmla="*/ 2325963 h 4367670"/>
              <a:gd name="connsiteX1420" fmla="*/ 5046592 w 5365133"/>
              <a:gd name="connsiteY1420" fmla="*/ 2321547 h 4367670"/>
              <a:gd name="connsiteX1421" fmla="*/ 4986755 w 5365133"/>
              <a:gd name="connsiteY1421" fmla="*/ 2345653 h 4367670"/>
              <a:gd name="connsiteX1422" fmla="*/ 4985538 w 5365133"/>
              <a:gd name="connsiteY1422" fmla="*/ 2346188 h 4367670"/>
              <a:gd name="connsiteX1423" fmla="*/ 4994422 w 5365133"/>
              <a:gd name="connsiteY1423" fmla="*/ 2335955 h 4367670"/>
              <a:gd name="connsiteX1424" fmla="*/ 5046592 w 5365133"/>
              <a:gd name="connsiteY1424" fmla="*/ 2321547 h 4367670"/>
              <a:gd name="connsiteX1425" fmla="*/ 4456678 w 5365133"/>
              <a:gd name="connsiteY1425" fmla="*/ 2316057 h 4367670"/>
              <a:gd name="connsiteX1426" fmla="*/ 4454697 w 5365133"/>
              <a:gd name="connsiteY1426" fmla="*/ 2316795 h 4367670"/>
              <a:gd name="connsiteX1427" fmla="*/ 4444983 w 5365133"/>
              <a:gd name="connsiteY1427" fmla="*/ 2322014 h 4367670"/>
              <a:gd name="connsiteX1428" fmla="*/ 4454230 w 5365133"/>
              <a:gd name="connsiteY1428" fmla="*/ 2316141 h 4367670"/>
              <a:gd name="connsiteX1429" fmla="*/ 4456878 w 5365133"/>
              <a:gd name="connsiteY1429" fmla="*/ 2315983 h 4367670"/>
              <a:gd name="connsiteX1430" fmla="*/ 4456939 w 5365133"/>
              <a:gd name="connsiteY1430" fmla="*/ 2316048 h 4367670"/>
              <a:gd name="connsiteX1431" fmla="*/ 4456678 w 5365133"/>
              <a:gd name="connsiteY1431" fmla="*/ 2316057 h 4367670"/>
              <a:gd name="connsiteX1432" fmla="*/ 5018872 w 5365133"/>
              <a:gd name="connsiteY1432" fmla="*/ 2274301 h 4367670"/>
              <a:gd name="connsiteX1433" fmla="*/ 4863444 w 5365133"/>
              <a:gd name="connsiteY1433" fmla="*/ 2339905 h 4367670"/>
              <a:gd name="connsiteX1434" fmla="*/ 4977026 w 5365133"/>
              <a:gd name="connsiteY1434" fmla="*/ 2304121 h 4367670"/>
              <a:gd name="connsiteX1435" fmla="*/ 4743884 w 5365133"/>
              <a:gd name="connsiteY1435" fmla="*/ 2399545 h 4367670"/>
              <a:gd name="connsiteX1436" fmla="*/ 4791707 w 5365133"/>
              <a:gd name="connsiteY1436" fmla="*/ 2369725 h 4367670"/>
              <a:gd name="connsiteX1437" fmla="*/ 4737906 w 5365133"/>
              <a:gd name="connsiteY1437" fmla="*/ 2387617 h 4367670"/>
              <a:gd name="connsiteX1438" fmla="*/ 4743884 w 5365133"/>
              <a:gd name="connsiteY1438" fmla="*/ 2399545 h 4367670"/>
              <a:gd name="connsiteX1439" fmla="*/ 4719972 w 5365133"/>
              <a:gd name="connsiteY1439" fmla="*/ 2405510 h 4367670"/>
              <a:gd name="connsiteX1440" fmla="*/ 4708015 w 5365133"/>
              <a:gd name="connsiteY1440" fmla="*/ 2399545 h 4367670"/>
              <a:gd name="connsiteX1441" fmla="*/ 4707268 w 5365133"/>
              <a:gd name="connsiteY1441" fmla="*/ 2399545 h 4367670"/>
              <a:gd name="connsiteX1442" fmla="*/ 4707174 w 5365133"/>
              <a:gd name="connsiteY1442" fmla="*/ 2399545 h 4367670"/>
              <a:gd name="connsiteX1443" fmla="*/ 4706241 w 5365133"/>
              <a:gd name="connsiteY1443" fmla="*/ 2399545 h 4367670"/>
              <a:gd name="connsiteX1444" fmla="*/ 4702037 w 5365133"/>
              <a:gd name="connsiteY1444" fmla="*/ 2399545 h 4367670"/>
              <a:gd name="connsiteX1445" fmla="*/ 4713993 w 5365133"/>
              <a:gd name="connsiteY1445" fmla="*/ 2399545 h 4367670"/>
              <a:gd name="connsiteX1446" fmla="*/ 4702037 w 5365133"/>
              <a:gd name="connsiteY1446" fmla="*/ 2417437 h 4367670"/>
              <a:gd name="connsiteX1447" fmla="*/ 4690081 w 5365133"/>
              <a:gd name="connsiteY1447" fmla="*/ 2405510 h 4367670"/>
              <a:gd name="connsiteX1448" fmla="*/ 4666168 w 5365133"/>
              <a:gd name="connsiteY1448" fmla="*/ 2417437 h 4367670"/>
              <a:gd name="connsiteX1449" fmla="*/ 4642257 w 5365133"/>
              <a:gd name="connsiteY1449" fmla="*/ 2435330 h 4367670"/>
              <a:gd name="connsiteX1450" fmla="*/ 4645084 w 5365133"/>
              <a:gd name="connsiteY1450" fmla="*/ 2429690 h 4367670"/>
              <a:gd name="connsiteX1451" fmla="*/ 4654212 w 5365133"/>
              <a:gd name="connsiteY1451" fmla="*/ 2429364 h 4367670"/>
              <a:gd name="connsiteX1452" fmla="*/ 4645993 w 5365133"/>
              <a:gd name="connsiteY1452" fmla="*/ 2427875 h 4367670"/>
              <a:gd name="connsiteX1453" fmla="*/ 4645084 w 5365133"/>
              <a:gd name="connsiteY1453" fmla="*/ 2429690 h 4367670"/>
              <a:gd name="connsiteX1454" fmla="*/ 4633290 w 5365133"/>
              <a:gd name="connsiteY1454" fmla="*/ 2430111 h 4367670"/>
              <a:gd name="connsiteX1455" fmla="*/ 4612368 w 5365133"/>
              <a:gd name="connsiteY1455" fmla="*/ 2435330 h 4367670"/>
              <a:gd name="connsiteX1456" fmla="*/ 4618346 w 5365133"/>
              <a:gd name="connsiteY1456" fmla="*/ 2447257 h 4367670"/>
              <a:gd name="connsiteX1457" fmla="*/ 4606390 w 5365133"/>
              <a:gd name="connsiteY1457" fmla="*/ 2453221 h 4367670"/>
              <a:gd name="connsiteX1458" fmla="*/ 4600412 w 5365133"/>
              <a:gd name="connsiteY1458" fmla="*/ 2441294 h 4367670"/>
              <a:gd name="connsiteX1459" fmla="*/ 4594433 w 5365133"/>
              <a:gd name="connsiteY1459" fmla="*/ 2459184 h 4367670"/>
              <a:gd name="connsiteX1460" fmla="*/ 4582477 w 5365133"/>
              <a:gd name="connsiteY1460" fmla="*/ 2447257 h 4367670"/>
              <a:gd name="connsiteX1461" fmla="*/ 4582477 w 5365133"/>
              <a:gd name="connsiteY1461" fmla="*/ 2459184 h 4367670"/>
              <a:gd name="connsiteX1462" fmla="*/ 4564543 w 5365133"/>
              <a:gd name="connsiteY1462" fmla="*/ 2465149 h 4367670"/>
              <a:gd name="connsiteX1463" fmla="*/ 4564543 w 5365133"/>
              <a:gd name="connsiteY1463" fmla="*/ 2459184 h 4367670"/>
              <a:gd name="connsiteX1464" fmla="*/ 4552587 w 5365133"/>
              <a:gd name="connsiteY1464" fmla="*/ 2465149 h 4367670"/>
              <a:gd name="connsiteX1465" fmla="*/ 4552587 w 5365133"/>
              <a:gd name="connsiteY1465" fmla="*/ 2471113 h 4367670"/>
              <a:gd name="connsiteX1466" fmla="*/ 4528674 w 5365133"/>
              <a:gd name="connsiteY1466" fmla="*/ 2483041 h 4367670"/>
              <a:gd name="connsiteX1467" fmla="*/ 4528674 w 5365133"/>
              <a:gd name="connsiteY1467" fmla="*/ 2479314 h 4367670"/>
              <a:gd name="connsiteX1468" fmla="*/ 4528674 w 5365133"/>
              <a:gd name="connsiteY1468" fmla="*/ 2471113 h 4367670"/>
              <a:gd name="connsiteX1469" fmla="*/ 4516719 w 5365133"/>
              <a:gd name="connsiteY1469" fmla="*/ 2489006 h 4367670"/>
              <a:gd name="connsiteX1470" fmla="*/ 4522697 w 5365133"/>
              <a:gd name="connsiteY1470" fmla="*/ 2477077 h 4367670"/>
              <a:gd name="connsiteX1471" fmla="*/ 4518655 w 5365133"/>
              <a:gd name="connsiteY1471" fmla="*/ 2473217 h 4367670"/>
              <a:gd name="connsiteX1472" fmla="*/ 4519708 w 5365133"/>
              <a:gd name="connsiteY1472" fmla="*/ 2472605 h 4367670"/>
              <a:gd name="connsiteX1473" fmla="*/ 4528674 w 5365133"/>
              <a:gd name="connsiteY1473" fmla="*/ 2465149 h 4367670"/>
              <a:gd name="connsiteX1474" fmla="*/ 4552587 w 5365133"/>
              <a:gd name="connsiteY1474" fmla="*/ 2453221 h 4367670"/>
              <a:gd name="connsiteX1475" fmla="*/ 4576499 w 5365133"/>
              <a:gd name="connsiteY1475" fmla="*/ 2441294 h 4367670"/>
              <a:gd name="connsiteX1476" fmla="*/ 4588455 w 5365133"/>
              <a:gd name="connsiteY1476" fmla="*/ 2435330 h 4367670"/>
              <a:gd name="connsiteX1477" fmla="*/ 5018872 w 5365133"/>
              <a:gd name="connsiteY1477" fmla="*/ 2274301 h 4367670"/>
              <a:gd name="connsiteX1478" fmla="*/ 5043411 w 5365133"/>
              <a:gd name="connsiteY1478" fmla="*/ 2268575 h 4367670"/>
              <a:gd name="connsiteX1479" fmla="*/ 5036969 w 5365133"/>
              <a:gd name="connsiteY1479" fmla="*/ 2270699 h 4367670"/>
              <a:gd name="connsiteX1480" fmla="*/ 5035688 w 5365133"/>
              <a:gd name="connsiteY1480" fmla="*/ 2269892 h 4367670"/>
              <a:gd name="connsiteX1481" fmla="*/ 4564543 w 5365133"/>
              <a:gd name="connsiteY1481" fmla="*/ 2268337 h 4367670"/>
              <a:gd name="connsiteX1482" fmla="*/ 4565250 w 5365133"/>
              <a:gd name="connsiteY1482" fmla="*/ 2268466 h 4367670"/>
              <a:gd name="connsiteX1483" fmla="*/ 4561450 w 5365133"/>
              <a:gd name="connsiteY1483" fmla="*/ 2269702 h 4367670"/>
              <a:gd name="connsiteX1484" fmla="*/ 5048314 w 5365133"/>
              <a:gd name="connsiteY1484" fmla="*/ 2267739 h 4367670"/>
              <a:gd name="connsiteX1485" fmla="*/ 5060941 w 5365133"/>
              <a:gd name="connsiteY1485" fmla="*/ 2269892 h 4367670"/>
              <a:gd name="connsiteX1486" fmla="*/ 5047231 w 5365133"/>
              <a:gd name="connsiteY1486" fmla="*/ 2267923 h 4367670"/>
              <a:gd name="connsiteX1487" fmla="*/ 5045946 w 5365133"/>
              <a:gd name="connsiteY1487" fmla="*/ 2267739 h 4367670"/>
              <a:gd name="connsiteX1488" fmla="*/ 5047231 w 5365133"/>
              <a:gd name="connsiteY1488" fmla="*/ 2267923 h 4367670"/>
              <a:gd name="connsiteX1489" fmla="*/ 5043411 w 5365133"/>
              <a:gd name="connsiteY1489" fmla="*/ 2268575 h 4367670"/>
              <a:gd name="connsiteX1490" fmla="*/ 4544389 w 5365133"/>
              <a:gd name="connsiteY1490" fmla="*/ 2252673 h 4367670"/>
              <a:gd name="connsiteX1491" fmla="*/ 4521431 w 5365133"/>
              <a:gd name="connsiteY1491" fmla="*/ 2258413 h 4367670"/>
              <a:gd name="connsiteX1492" fmla="*/ 4544389 w 5365133"/>
              <a:gd name="connsiteY1492" fmla="*/ 2252673 h 4367670"/>
              <a:gd name="connsiteX1493" fmla="*/ 5288965 w 5365133"/>
              <a:gd name="connsiteY1493" fmla="*/ 2246517 h 4367670"/>
              <a:gd name="connsiteX1494" fmla="*/ 5268596 w 5365133"/>
              <a:gd name="connsiteY1494" fmla="*/ 2260882 h 4367670"/>
              <a:gd name="connsiteX1495" fmla="*/ 5233422 w 5365133"/>
              <a:gd name="connsiteY1495" fmla="*/ 2269089 h 4367670"/>
              <a:gd name="connsiteX1496" fmla="*/ 5261110 w 5365133"/>
              <a:gd name="connsiteY1496" fmla="*/ 2254913 h 4367670"/>
              <a:gd name="connsiteX1497" fmla="*/ 5293291 w 5365133"/>
              <a:gd name="connsiteY1497" fmla="*/ 2245213 h 4367670"/>
              <a:gd name="connsiteX1498" fmla="*/ 5288965 w 5365133"/>
              <a:gd name="connsiteY1498" fmla="*/ 2246517 h 4367670"/>
              <a:gd name="connsiteX1499" fmla="*/ 5289773 w 5365133"/>
              <a:gd name="connsiteY1499" fmla="*/ 2245947 h 4367670"/>
              <a:gd name="connsiteX1500" fmla="*/ 4618346 w 5365133"/>
              <a:gd name="connsiteY1500" fmla="*/ 2244481 h 4367670"/>
              <a:gd name="connsiteX1501" fmla="*/ 4624324 w 5365133"/>
              <a:gd name="connsiteY1501" fmla="*/ 2256409 h 4367670"/>
              <a:gd name="connsiteX1502" fmla="*/ 4577247 w 5365133"/>
              <a:gd name="connsiteY1502" fmla="*/ 2270665 h 4367670"/>
              <a:gd name="connsiteX1503" fmla="*/ 4565250 w 5365133"/>
              <a:gd name="connsiteY1503" fmla="*/ 2268466 h 4367670"/>
              <a:gd name="connsiteX1504" fmla="*/ 4570521 w 5365133"/>
              <a:gd name="connsiteY1504" fmla="*/ 2266752 h 4367670"/>
              <a:gd name="connsiteX1505" fmla="*/ 4582477 w 5365133"/>
              <a:gd name="connsiteY1505" fmla="*/ 2268337 h 4367670"/>
              <a:gd name="connsiteX1506" fmla="*/ 4618346 w 5365133"/>
              <a:gd name="connsiteY1506" fmla="*/ 2244481 h 4367670"/>
              <a:gd name="connsiteX1507" fmla="*/ 5118336 w 5365133"/>
              <a:gd name="connsiteY1507" fmla="*/ 2238326 h 4367670"/>
              <a:gd name="connsiteX1508" fmla="*/ 5083899 w 5365133"/>
              <a:gd name="connsiteY1508" fmla="*/ 2258415 h 4367670"/>
              <a:gd name="connsiteX1509" fmla="*/ 5118336 w 5365133"/>
              <a:gd name="connsiteY1509" fmla="*/ 2238326 h 4367670"/>
              <a:gd name="connsiteX1510" fmla="*/ 5365133 w 5365133"/>
              <a:gd name="connsiteY1510" fmla="*/ 2215368 h 4367670"/>
              <a:gd name="connsiteX1511" fmla="*/ 5305265 w 5365133"/>
              <a:gd name="connsiteY1511" fmla="*/ 2245213 h 4367670"/>
              <a:gd name="connsiteX1512" fmla="*/ 5299278 w 5365133"/>
              <a:gd name="connsiteY1512" fmla="*/ 2239244 h 4367670"/>
              <a:gd name="connsiteX1513" fmla="*/ 5289773 w 5365133"/>
              <a:gd name="connsiteY1513" fmla="*/ 2245947 h 4367670"/>
              <a:gd name="connsiteX1514" fmla="*/ 5261110 w 5365133"/>
              <a:gd name="connsiteY1514" fmla="*/ 2251929 h 4367670"/>
              <a:gd name="connsiteX1515" fmla="*/ 5233422 w 5365133"/>
              <a:gd name="connsiteY1515" fmla="*/ 2263120 h 4367670"/>
              <a:gd name="connsiteX1516" fmla="*/ 5203488 w 5365133"/>
              <a:gd name="connsiteY1516" fmla="*/ 2286996 h 4367670"/>
              <a:gd name="connsiteX1517" fmla="*/ 5203488 w 5365133"/>
              <a:gd name="connsiteY1517" fmla="*/ 2281027 h 4367670"/>
              <a:gd name="connsiteX1518" fmla="*/ 5059803 w 5365133"/>
              <a:gd name="connsiteY1518" fmla="*/ 2340718 h 4367670"/>
              <a:gd name="connsiteX1519" fmla="*/ 5059803 w 5365133"/>
              <a:gd name="connsiteY1519" fmla="*/ 2346687 h 4367670"/>
              <a:gd name="connsiteX1520" fmla="*/ 5053816 w 5365133"/>
              <a:gd name="connsiteY1520" fmla="*/ 2340718 h 4367670"/>
              <a:gd name="connsiteX1521" fmla="*/ 5143618 w 5365133"/>
              <a:gd name="connsiteY1521" fmla="*/ 2310873 h 4367670"/>
              <a:gd name="connsiteX1522" fmla="*/ 5143618 w 5365133"/>
              <a:gd name="connsiteY1522" fmla="*/ 2298935 h 4367670"/>
              <a:gd name="connsiteX1523" fmla="*/ 5149606 w 5365133"/>
              <a:gd name="connsiteY1523" fmla="*/ 2304904 h 4367670"/>
              <a:gd name="connsiteX1524" fmla="*/ 5221450 w 5365133"/>
              <a:gd name="connsiteY1524" fmla="*/ 2269089 h 4367670"/>
              <a:gd name="connsiteX1525" fmla="*/ 5155593 w 5365133"/>
              <a:gd name="connsiteY1525" fmla="*/ 2286996 h 4367670"/>
              <a:gd name="connsiteX1526" fmla="*/ 5155593 w 5365133"/>
              <a:gd name="connsiteY1526" fmla="*/ 2292965 h 4367670"/>
              <a:gd name="connsiteX1527" fmla="*/ 5047830 w 5365133"/>
              <a:gd name="connsiteY1527" fmla="*/ 2322811 h 4367670"/>
              <a:gd name="connsiteX1528" fmla="*/ 5365133 w 5365133"/>
              <a:gd name="connsiteY1528" fmla="*/ 2215368 h 4367670"/>
              <a:gd name="connsiteX1529" fmla="*/ 4450961 w 5365133"/>
              <a:gd name="connsiteY1529" fmla="*/ 2213452 h 4367670"/>
              <a:gd name="connsiteX1530" fmla="*/ 4450961 w 5365133"/>
              <a:gd name="connsiteY1530" fmla="*/ 2214661 h 4367670"/>
              <a:gd name="connsiteX1531" fmla="*/ 4450399 w 5365133"/>
              <a:gd name="connsiteY1531" fmla="*/ 2213540 h 4367670"/>
              <a:gd name="connsiteX1532" fmla="*/ 4450961 w 5365133"/>
              <a:gd name="connsiteY1532" fmla="*/ 2202732 h 4367670"/>
              <a:gd name="connsiteX1533" fmla="*/ 4453390 w 5365133"/>
              <a:gd name="connsiteY1533" fmla="*/ 2213076 h 4367670"/>
              <a:gd name="connsiteX1534" fmla="*/ 4450961 w 5365133"/>
              <a:gd name="connsiteY1534" fmla="*/ 2213452 h 4367670"/>
              <a:gd name="connsiteX1535" fmla="*/ 4624324 w 5365133"/>
              <a:gd name="connsiteY1535" fmla="*/ 2196769 h 4367670"/>
              <a:gd name="connsiteX1536" fmla="*/ 4624324 w 5365133"/>
              <a:gd name="connsiteY1536" fmla="*/ 2208695 h 4367670"/>
              <a:gd name="connsiteX1537" fmla="*/ 4618346 w 5365133"/>
              <a:gd name="connsiteY1537" fmla="*/ 2208695 h 4367670"/>
              <a:gd name="connsiteX1538" fmla="*/ 4624324 w 5365133"/>
              <a:gd name="connsiteY1538" fmla="*/ 2196769 h 4367670"/>
              <a:gd name="connsiteX1539" fmla="*/ 4647699 w 5365133"/>
              <a:gd name="connsiteY1539" fmla="*/ 2186671 h 4367670"/>
              <a:gd name="connsiteX1540" fmla="*/ 4659178 w 5365133"/>
              <a:gd name="connsiteY1540" fmla="*/ 2198149 h 4367670"/>
              <a:gd name="connsiteX1541" fmla="*/ 4630480 w 5365133"/>
              <a:gd name="connsiteY1541" fmla="*/ 2198149 h 4367670"/>
              <a:gd name="connsiteX1542" fmla="*/ 4647699 w 5365133"/>
              <a:gd name="connsiteY1542" fmla="*/ 2186671 h 4367670"/>
              <a:gd name="connsiteX1543" fmla="*/ 4696055 w 5365133"/>
              <a:gd name="connsiteY1543" fmla="*/ 2169327 h 4367670"/>
              <a:gd name="connsiteX1544" fmla="*/ 4707965 w 5365133"/>
              <a:gd name="connsiteY1544" fmla="*/ 2173469 h 4367670"/>
              <a:gd name="connsiteX1545" fmla="*/ 4659178 w 5365133"/>
              <a:gd name="connsiteY1545" fmla="*/ 2192411 h 4367670"/>
              <a:gd name="connsiteX1546" fmla="*/ 4681285 w 5365133"/>
              <a:gd name="connsiteY1546" fmla="*/ 2173469 h 4367670"/>
              <a:gd name="connsiteX1547" fmla="*/ 4696055 w 5365133"/>
              <a:gd name="connsiteY1547" fmla="*/ 2169327 h 4367670"/>
              <a:gd name="connsiteX1548" fmla="*/ 4725181 w 5365133"/>
              <a:gd name="connsiteY1548" fmla="*/ 2155103 h 4367670"/>
              <a:gd name="connsiteX1549" fmla="*/ 4707962 w 5365133"/>
              <a:gd name="connsiteY1549" fmla="*/ 2166582 h 4367670"/>
              <a:gd name="connsiteX1550" fmla="*/ 4725181 w 5365133"/>
              <a:gd name="connsiteY1550" fmla="*/ 2155103 h 4367670"/>
              <a:gd name="connsiteX1551" fmla="*/ 4755224 w 5365133"/>
              <a:gd name="connsiteY1551" fmla="*/ 2147120 h 4367670"/>
              <a:gd name="connsiteX1552" fmla="*/ 4759618 w 5365133"/>
              <a:gd name="connsiteY1552" fmla="*/ 2149363 h 4367670"/>
              <a:gd name="connsiteX1553" fmla="*/ 4736660 w 5365133"/>
              <a:gd name="connsiteY1553" fmla="*/ 2160842 h 4367670"/>
              <a:gd name="connsiteX1554" fmla="*/ 4745988 w 5365133"/>
              <a:gd name="connsiteY1554" fmla="*/ 2148646 h 4367670"/>
              <a:gd name="connsiteX1555" fmla="*/ 4755224 w 5365133"/>
              <a:gd name="connsiteY1555" fmla="*/ 2147120 h 4367670"/>
              <a:gd name="connsiteX1556" fmla="*/ 4810108 w 5365133"/>
              <a:gd name="connsiteY1556" fmla="*/ 2119948 h 4367670"/>
              <a:gd name="connsiteX1557" fmla="*/ 4814144 w 5365133"/>
              <a:gd name="connsiteY1557" fmla="*/ 2126405 h 4367670"/>
              <a:gd name="connsiteX1558" fmla="*/ 4785447 w 5365133"/>
              <a:gd name="connsiteY1558" fmla="*/ 2132145 h 4367670"/>
              <a:gd name="connsiteX1559" fmla="*/ 4808404 w 5365133"/>
              <a:gd name="connsiteY1559" fmla="*/ 2120665 h 4367670"/>
              <a:gd name="connsiteX1560" fmla="*/ 4810108 w 5365133"/>
              <a:gd name="connsiteY1560" fmla="*/ 2119948 h 4367670"/>
              <a:gd name="connsiteX1561" fmla="*/ 4844366 w 5365133"/>
              <a:gd name="connsiteY1561" fmla="*/ 2113491 h 4367670"/>
              <a:gd name="connsiteX1562" fmla="*/ 4857191 w 5365133"/>
              <a:gd name="connsiteY1562" fmla="*/ 2114926 h 4367670"/>
              <a:gd name="connsiteX1563" fmla="*/ 4819884 w 5365133"/>
              <a:gd name="connsiteY1563" fmla="*/ 2126405 h 4367670"/>
              <a:gd name="connsiteX1564" fmla="*/ 4844366 w 5365133"/>
              <a:gd name="connsiteY1564" fmla="*/ 2113491 h 4367670"/>
              <a:gd name="connsiteX1565" fmla="*/ 4871539 w 5365133"/>
              <a:gd name="connsiteY1565" fmla="*/ 2106316 h 4367670"/>
              <a:gd name="connsiteX1566" fmla="*/ 4868668 w 5365133"/>
              <a:gd name="connsiteY1566" fmla="*/ 2109187 h 4367670"/>
              <a:gd name="connsiteX1567" fmla="*/ 4867061 w 5365133"/>
              <a:gd name="connsiteY1567" fmla="*/ 2107809 h 4367670"/>
              <a:gd name="connsiteX1568" fmla="*/ 4863646 w 5365133"/>
              <a:gd name="connsiteY1568" fmla="*/ 2104882 h 4367670"/>
              <a:gd name="connsiteX1569" fmla="*/ 4867061 w 5365133"/>
              <a:gd name="connsiteY1569" fmla="*/ 2107809 h 4367670"/>
              <a:gd name="connsiteX1570" fmla="*/ 4862929 w 5365133"/>
              <a:gd name="connsiteY1570" fmla="*/ 2109187 h 4367670"/>
              <a:gd name="connsiteX1571" fmla="*/ 4863646 w 5365133"/>
              <a:gd name="connsiteY1571" fmla="*/ 2104882 h 4367670"/>
              <a:gd name="connsiteX1572" fmla="*/ 4897366 w 5365133"/>
              <a:gd name="connsiteY1572" fmla="*/ 2097708 h 4367670"/>
              <a:gd name="connsiteX1573" fmla="*/ 4885886 w 5365133"/>
              <a:gd name="connsiteY1573" fmla="*/ 2103447 h 4367670"/>
              <a:gd name="connsiteX1574" fmla="*/ 4897366 w 5365133"/>
              <a:gd name="connsiteY1574" fmla="*/ 2097708 h 4367670"/>
              <a:gd name="connsiteX1575" fmla="*/ 4880147 w 5365133"/>
              <a:gd name="connsiteY1575" fmla="*/ 2097708 h 4367670"/>
              <a:gd name="connsiteX1576" fmla="*/ 4880147 w 5365133"/>
              <a:gd name="connsiteY1576" fmla="*/ 2103447 h 4367670"/>
              <a:gd name="connsiteX1577" fmla="*/ 4871539 w 5365133"/>
              <a:gd name="connsiteY1577" fmla="*/ 2106316 h 4367670"/>
              <a:gd name="connsiteX1578" fmla="*/ 4773013 w 5365133"/>
              <a:gd name="connsiteY1578" fmla="*/ 2066142 h 4367670"/>
              <a:gd name="connsiteX1579" fmla="*/ 4779709 w 5365133"/>
              <a:gd name="connsiteY1579" fmla="*/ 2066142 h 4367670"/>
              <a:gd name="connsiteX1580" fmla="*/ 4766317 w 5365133"/>
              <a:gd name="connsiteY1580" fmla="*/ 2077621 h 4367670"/>
              <a:gd name="connsiteX1581" fmla="*/ 4773013 w 5365133"/>
              <a:gd name="connsiteY1581" fmla="*/ 2066142 h 4367670"/>
              <a:gd name="connsiteX1582" fmla="*/ 5000676 w 5365133"/>
              <a:gd name="connsiteY1582" fmla="*/ 2054663 h 4367670"/>
              <a:gd name="connsiteX1583" fmla="*/ 4976282 w 5365133"/>
              <a:gd name="connsiteY1583" fmla="*/ 2079260 h 4367670"/>
              <a:gd name="connsiteX1584" fmla="*/ 4903105 w 5365133"/>
              <a:gd name="connsiteY1584" fmla="*/ 2097709 h 4367670"/>
              <a:gd name="connsiteX1585" fmla="*/ 4903105 w 5365133"/>
              <a:gd name="connsiteY1585" fmla="*/ 2085410 h 4367670"/>
              <a:gd name="connsiteX1586" fmla="*/ 5000676 w 5365133"/>
              <a:gd name="connsiteY1586" fmla="*/ 2054663 h 4367670"/>
              <a:gd name="connsiteX1587" fmla="*/ 5017894 w 5365133"/>
              <a:gd name="connsiteY1587" fmla="*/ 2043183 h 4367670"/>
              <a:gd name="connsiteX1588" fmla="*/ 5017894 w 5365133"/>
              <a:gd name="connsiteY1588" fmla="*/ 2048923 h 4367670"/>
              <a:gd name="connsiteX1589" fmla="*/ 5023634 w 5365133"/>
              <a:gd name="connsiteY1589" fmla="*/ 2048923 h 4367670"/>
              <a:gd name="connsiteX1590" fmla="*/ 5006415 w 5365133"/>
              <a:gd name="connsiteY1590" fmla="*/ 2054663 h 4367670"/>
              <a:gd name="connsiteX1591" fmla="*/ 5017894 w 5365133"/>
              <a:gd name="connsiteY1591" fmla="*/ 2043183 h 4367670"/>
              <a:gd name="connsiteX1592" fmla="*/ 4616132 w 5365133"/>
              <a:gd name="connsiteY1592" fmla="*/ 2043183 h 4367670"/>
              <a:gd name="connsiteX1593" fmla="*/ 4593173 w 5365133"/>
              <a:gd name="connsiteY1593" fmla="*/ 2054663 h 4367670"/>
              <a:gd name="connsiteX1594" fmla="*/ 4616132 w 5365133"/>
              <a:gd name="connsiteY1594" fmla="*/ 2043183 h 4367670"/>
              <a:gd name="connsiteX1595" fmla="*/ 4928935 w 5365133"/>
              <a:gd name="connsiteY1595" fmla="*/ 2037444 h 4367670"/>
              <a:gd name="connsiteX1596" fmla="*/ 4922838 w 5365133"/>
              <a:gd name="connsiteY1596" fmla="*/ 2048923 h 4367670"/>
              <a:gd name="connsiteX1597" fmla="*/ 4904542 w 5365133"/>
              <a:gd name="connsiteY1597" fmla="*/ 2043183 h 4367670"/>
              <a:gd name="connsiteX1598" fmla="*/ 4916739 w 5365133"/>
              <a:gd name="connsiteY1598" fmla="*/ 2043183 h 4367670"/>
              <a:gd name="connsiteX1599" fmla="*/ 4928935 w 5365133"/>
              <a:gd name="connsiteY1599" fmla="*/ 2037444 h 4367670"/>
              <a:gd name="connsiteX1600" fmla="*/ 4946152 w 5365133"/>
              <a:gd name="connsiteY1600" fmla="*/ 2031705 h 4367670"/>
              <a:gd name="connsiteX1601" fmla="*/ 4946152 w 5365133"/>
              <a:gd name="connsiteY1601" fmla="*/ 2037444 h 4367670"/>
              <a:gd name="connsiteX1602" fmla="*/ 4934673 w 5365133"/>
              <a:gd name="connsiteY1602" fmla="*/ 2037444 h 4367670"/>
              <a:gd name="connsiteX1603" fmla="*/ 4946152 w 5365133"/>
              <a:gd name="connsiteY1603" fmla="*/ 2031705 h 4367670"/>
              <a:gd name="connsiteX1604" fmla="*/ 4862357 w 5365133"/>
              <a:gd name="connsiteY1604" fmla="*/ 2031705 h 4367670"/>
              <a:gd name="connsiteX1605" fmla="*/ 4868670 w 5365133"/>
              <a:gd name="connsiteY1605" fmla="*/ 2037444 h 4367670"/>
              <a:gd name="connsiteX1606" fmla="*/ 4843416 w 5365133"/>
              <a:gd name="connsiteY1606" fmla="*/ 2054663 h 4367670"/>
              <a:gd name="connsiteX1607" fmla="*/ 4837102 w 5365133"/>
              <a:gd name="connsiteY1607" fmla="*/ 2048923 h 4367670"/>
              <a:gd name="connsiteX1608" fmla="*/ 4862357 w 5365133"/>
              <a:gd name="connsiteY1608" fmla="*/ 2031705 h 4367670"/>
              <a:gd name="connsiteX1609" fmla="*/ 4033528 w 5365133"/>
              <a:gd name="connsiteY1609" fmla="*/ 2026515 h 4367670"/>
              <a:gd name="connsiteX1610" fmla="*/ 4026522 w 5365133"/>
              <a:gd name="connsiteY1610" fmla="*/ 2029776 h 4367670"/>
              <a:gd name="connsiteX1611" fmla="*/ 4027550 w 5365133"/>
              <a:gd name="connsiteY1611" fmla="*/ 2036579 h 4367670"/>
              <a:gd name="connsiteX1612" fmla="*/ 4029119 w 5365133"/>
              <a:gd name="connsiteY1612" fmla="*/ 2035662 h 4367670"/>
              <a:gd name="connsiteX1613" fmla="*/ 4028691 w 5365133"/>
              <a:gd name="connsiteY1613" fmla="*/ 2033174 h 4367670"/>
              <a:gd name="connsiteX1614" fmla="*/ 4034340 w 5365133"/>
              <a:gd name="connsiteY1614" fmla="*/ 2030752 h 4367670"/>
              <a:gd name="connsiteX1615" fmla="*/ 4036615 w 5365133"/>
              <a:gd name="connsiteY1615" fmla="*/ 2029458 h 4367670"/>
              <a:gd name="connsiteX1616" fmla="*/ 5083899 w 5365133"/>
              <a:gd name="connsiteY1616" fmla="*/ 2025965 h 4367670"/>
              <a:gd name="connsiteX1617" fmla="*/ 5052331 w 5365133"/>
              <a:gd name="connsiteY1617" fmla="*/ 2043183 h 4367670"/>
              <a:gd name="connsiteX1618" fmla="*/ 5083899 w 5365133"/>
              <a:gd name="connsiteY1618" fmla="*/ 2025965 h 4367670"/>
              <a:gd name="connsiteX1619" fmla="*/ 4630480 w 5365133"/>
              <a:gd name="connsiteY1619" fmla="*/ 2017355 h 4367670"/>
              <a:gd name="connsiteX1620" fmla="*/ 4641960 w 5365133"/>
              <a:gd name="connsiteY1620" fmla="*/ 2031705 h 4367670"/>
              <a:gd name="connsiteX1621" fmla="*/ 4630480 w 5365133"/>
              <a:gd name="connsiteY1621" fmla="*/ 2017355 h 4367670"/>
              <a:gd name="connsiteX1622" fmla="*/ 4932410 w 5365133"/>
              <a:gd name="connsiteY1622" fmla="*/ 2016023 h 4367670"/>
              <a:gd name="connsiteX1623" fmla="*/ 4930520 w 5365133"/>
              <a:gd name="connsiteY1623" fmla="*/ 2022432 h 4367670"/>
              <a:gd name="connsiteX1624" fmla="*/ 4927576 w 5365133"/>
              <a:gd name="connsiteY1624" fmla="*/ 2018586 h 4367670"/>
              <a:gd name="connsiteX1625" fmla="*/ 4892233 w 5365133"/>
              <a:gd name="connsiteY1625" fmla="*/ 2037036 h 4367670"/>
              <a:gd name="connsiteX1626" fmla="*/ 4892233 w 5365133"/>
              <a:gd name="connsiteY1626" fmla="*/ 2030886 h 4367670"/>
              <a:gd name="connsiteX1627" fmla="*/ 4868670 w 5365133"/>
              <a:gd name="connsiteY1627" fmla="*/ 2037036 h 4367670"/>
              <a:gd name="connsiteX1628" fmla="*/ 4939526 w 5365133"/>
              <a:gd name="connsiteY1628" fmla="*/ 2013677 h 4367670"/>
              <a:gd name="connsiteX1629" fmla="*/ 4940094 w 5365133"/>
              <a:gd name="connsiteY1629" fmla="*/ 2017818 h 4367670"/>
              <a:gd name="connsiteX1630" fmla="*/ 4945248 w 5365133"/>
              <a:gd name="connsiteY1630" fmla="*/ 2018586 h 4367670"/>
              <a:gd name="connsiteX1631" fmla="*/ 4939356 w 5365133"/>
              <a:gd name="connsiteY1631" fmla="*/ 2022432 h 4367670"/>
              <a:gd name="connsiteX1632" fmla="*/ 4935064 w 5365133"/>
              <a:gd name="connsiteY1632" fmla="*/ 2015148 h 4367670"/>
              <a:gd name="connsiteX1633" fmla="*/ 4933467 w 5365133"/>
              <a:gd name="connsiteY1633" fmla="*/ 2012438 h 4367670"/>
              <a:gd name="connsiteX1634" fmla="*/ 4935064 w 5365133"/>
              <a:gd name="connsiteY1634" fmla="*/ 2015148 h 4367670"/>
              <a:gd name="connsiteX1635" fmla="*/ 4932410 w 5365133"/>
              <a:gd name="connsiteY1635" fmla="*/ 2016023 h 4367670"/>
              <a:gd name="connsiteX1636" fmla="*/ 4946705 w 5365133"/>
              <a:gd name="connsiteY1636" fmla="*/ 2011310 h 4367670"/>
              <a:gd name="connsiteX1637" fmla="*/ 4939526 w 5365133"/>
              <a:gd name="connsiteY1637" fmla="*/ 2013677 h 4367670"/>
              <a:gd name="connsiteX1638" fmla="*/ 4939356 w 5365133"/>
              <a:gd name="connsiteY1638" fmla="*/ 2012438 h 4367670"/>
              <a:gd name="connsiteX1639" fmla="*/ 4630302 w 5365133"/>
              <a:gd name="connsiteY1639" fmla="*/ 2005920 h 4367670"/>
              <a:gd name="connsiteX1640" fmla="*/ 4631184 w 5365133"/>
              <a:gd name="connsiteY1640" fmla="*/ 2006800 h 4367670"/>
              <a:gd name="connsiteX1641" fmla="*/ 4630302 w 5365133"/>
              <a:gd name="connsiteY1641" fmla="*/ 2007134 h 4367670"/>
              <a:gd name="connsiteX1642" fmla="*/ 4980590 w 5365133"/>
              <a:gd name="connsiteY1642" fmla="*/ 2000139 h 4367670"/>
              <a:gd name="connsiteX1643" fmla="*/ 4964392 w 5365133"/>
              <a:gd name="connsiteY1643" fmla="*/ 2008595 h 4367670"/>
              <a:gd name="connsiteX1644" fmla="*/ 4946705 w 5365133"/>
              <a:gd name="connsiteY1644" fmla="*/ 2011310 h 4367670"/>
              <a:gd name="connsiteX1645" fmla="*/ 4222978 w 5365133"/>
              <a:gd name="connsiteY1645" fmla="*/ 2000139 h 4367670"/>
              <a:gd name="connsiteX1646" fmla="*/ 4228718 w 5365133"/>
              <a:gd name="connsiteY1646" fmla="*/ 2006451 h 4367670"/>
              <a:gd name="connsiteX1647" fmla="*/ 4222978 w 5365133"/>
              <a:gd name="connsiteY1647" fmla="*/ 2006451 h 4367670"/>
              <a:gd name="connsiteX1648" fmla="*/ 4234457 w 5365133"/>
              <a:gd name="connsiteY1648" fmla="*/ 2012765 h 4367670"/>
              <a:gd name="connsiteX1649" fmla="*/ 4240197 w 5365133"/>
              <a:gd name="connsiteY1649" fmla="*/ 2006451 h 4367670"/>
              <a:gd name="connsiteX1650" fmla="*/ 4234457 w 5365133"/>
              <a:gd name="connsiteY1650" fmla="*/ 2019080 h 4367670"/>
              <a:gd name="connsiteX1651" fmla="*/ 4217239 w 5365133"/>
              <a:gd name="connsiteY1651" fmla="*/ 2012765 h 4367670"/>
              <a:gd name="connsiteX1652" fmla="*/ 4211500 w 5365133"/>
              <a:gd name="connsiteY1652" fmla="*/ 2012765 h 4367670"/>
              <a:gd name="connsiteX1653" fmla="*/ 4222978 w 5365133"/>
              <a:gd name="connsiteY1653" fmla="*/ 2000139 h 4367670"/>
              <a:gd name="connsiteX1654" fmla="*/ 5138423 w 5365133"/>
              <a:gd name="connsiteY1654" fmla="*/ 2000137 h 4367670"/>
              <a:gd name="connsiteX1655" fmla="*/ 5144163 w 5365133"/>
              <a:gd name="connsiteY1655" fmla="*/ 2000137 h 4367670"/>
              <a:gd name="connsiteX1656" fmla="*/ 5155642 w 5365133"/>
              <a:gd name="connsiteY1656" fmla="*/ 2000137 h 4367670"/>
              <a:gd name="connsiteX1657" fmla="*/ 5138423 w 5365133"/>
              <a:gd name="connsiteY1657" fmla="*/ 2011616 h 4367670"/>
              <a:gd name="connsiteX1658" fmla="*/ 5138423 w 5365133"/>
              <a:gd name="connsiteY1658" fmla="*/ 2000137 h 4367670"/>
              <a:gd name="connsiteX1659" fmla="*/ 4797685 w 5365133"/>
              <a:gd name="connsiteY1659" fmla="*/ 1999956 h 4367670"/>
              <a:gd name="connsiteX1660" fmla="*/ 4792237 w 5365133"/>
              <a:gd name="connsiteY1660" fmla="*/ 2006071 h 4367670"/>
              <a:gd name="connsiteX1661" fmla="*/ 4792455 w 5365133"/>
              <a:gd name="connsiteY1661" fmla="*/ 2003683 h 4367670"/>
              <a:gd name="connsiteX1662" fmla="*/ 4797685 w 5365133"/>
              <a:gd name="connsiteY1662" fmla="*/ 1999956 h 4367670"/>
              <a:gd name="connsiteX1663" fmla="*/ 4139757 w 5365133"/>
              <a:gd name="connsiteY1663" fmla="*/ 1994397 h 4367670"/>
              <a:gd name="connsiteX1664" fmla="*/ 4113928 w 5365133"/>
              <a:gd name="connsiteY1664" fmla="*/ 2005876 h 4367670"/>
              <a:gd name="connsiteX1665" fmla="*/ 4139757 w 5365133"/>
              <a:gd name="connsiteY1665" fmla="*/ 1994397 h 4367670"/>
              <a:gd name="connsiteX1666" fmla="*/ 4825140 w 5365133"/>
              <a:gd name="connsiteY1666" fmla="*/ 1993993 h 4367670"/>
              <a:gd name="connsiteX1667" fmla="*/ 4825729 w 5365133"/>
              <a:gd name="connsiteY1667" fmla="*/ 1994186 h 4367670"/>
              <a:gd name="connsiteX1668" fmla="*/ 4825623 w 5365133"/>
              <a:gd name="connsiteY1668" fmla="*/ 1994399 h 4367670"/>
              <a:gd name="connsiteX1669" fmla="*/ 4821677 w 5365133"/>
              <a:gd name="connsiteY1669" fmla="*/ 1991081 h 4367670"/>
              <a:gd name="connsiteX1670" fmla="*/ 4825140 w 5365133"/>
              <a:gd name="connsiteY1670" fmla="*/ 1993993 h 4367670"/>
              <a:gd name="connsiteX1671" fmla="*/ 4824189 w 5365133"/>
              <a:gd name="connsiteY1671" fmla="*/ 1993681 h 4367670"/>
              <a:gd name="connsiteX1672" fmla="*/ 4821677 w 5365133"/>
              <a:gd name="connsiteY1672" fmla="*/ 1991081 h 4367670"/>
              <a:gd name="connsiteX1673" fmla="*/ 5149185 w 5365133"/>
              <a:gd name="connsiteY1673" fmla="*/ 1981483 h 4367670"/>
              <a:gd name="connsiteX1674" fmla="*/ 5155642 w 5365133"/>
              <a:gd name="connsiteY1674" fmla="*/ 1988658 h 4367670"/>
              <a:gd name="connsiteX1675" fmla="*/ 5138423 w 5365133"/>
              <a:gd name="connsiteY1675" fmla="*/ 1982919 h 4367670"/>
              <a:gd name="connsiteX1676" fmla="*/ 5149185 w 5365133"/>
              <a:gd name="connsiteY1676" fmla="*/ 1981483 h 4367670"/>
              <a:gd name="connsiteX1677" fmla="*/ 4832977 w 5365133"/>
              <a:gd name="connsiteY1677" fmla="*/ 1979781 h 4367670"/>
              <a:gd name="connsiteX1678" fmla="*/ 4831362 w 5365133"/>
              <a:gd name="connsiteY1678" fmla="*/ 1988660 h 4367670"/>
              <a:gd name="connsiteX1679" fmla="*/ 4828852 w 5365133"/>
              <a:gd name="connsiteY1679" fmla="*/ 1995205 h 4367670"/>
              <a:gd name="connsiteX1680" fmla="*/ 4825729 w 5365133"/>
              <a:gd name="connsiteY1680" fmla="*/ 1994186 h 4367670"/>
              <a:gd name="connsiteX1681" fmla="*/ 4831362 w 5365133"/>
              <a:gd name="connsiteY1681" fmla="*/ 1982921 h 4367670"/>
              <a:gd name="connsiteX1682" fmla="*/ 4832977 w 5365133"/>
              <a:gd name="connsiteY1682" fmla="*/ 1979781 h 4367670"/>
              <a:gd name="connsiteX1683" fmla="*/ 4731927 w 5365133"/>
              <a:gd name="connsiteY1683" fmla="*/ 1970543 h 4367670"/>
              <a:gd name="connsiteX1684" fmla="*/ 4731927 w 5365133"/>
              <a:gd name="connsiteY1684" fmla="*/ 1976100 h 4367670"/>
              <a:gd name="connsiteX1685" fmla="*/ 4743884 w 5365133"/>
              <a:gd name="connsiteY1685" fmla="*/ 1988029 h 4367670"/>
              <a:gd name="connsiteX1686" fmla="*/ 4737906 w 5365133"/>
              <a:gd name="connsiteY1686" fmla="*/ 1993993 h 4367670"/>
              <a:gd name="connsiteX1687" fmla="*/ 4725950 w 5365133"/>
              <a:gd name="connsiteY1687" fmla="*/ 1982063 h 4367670"/>
              <a:gd name="connsiteX1688" fmla="*/ 4725950 w 5365133"/>
              <a:gd name="connsiteY1688" fmla="*/ 1988029 h 4367670"/>
              <a:gd name="connsiteX1689" fmla="*/ 4713993 w 5365133"/>
              <a:gd name="connsiteY1689" fmla="*/ 1993993 h 4367670"/>
              <a:gd name="connsiteX1690" fmla="*/ 4719972 w 5365133"/>
              <a:gd name="connsiteY1690" fmla="*/ 1988029 h 4367670"/>
              <a:gd name="connsiteX1691" fmla="*/ 4692323 w 5365133"/>
              <a:gd name="connsiteY1691" fmla="*/ 1989518 h 4367670"/>
              <a:gd name="connsiteX1692" fmla="*/ 4685025 w 5365133"/>
              <a:gd name="connsiteY1692" fmla="*/ 1994883 h 4367670"/>
              <a:gd name="connsiteX1693" fmla="*/ 4692970 w 5365133"/>
              <a:gd name="connsiteY1693" fmla="*/ 1996552 h 4367670"/>
              <a:gd name="connsiteX1694" fmla="*/ 4707965 w 5365133"/>
              <a:gd name="connsiteY1694" fmla="*/ 1994399 h 4367670"/>
              <a:gd name="connsiteX1695" fmla="*/ 4687544 w 5365133"/>
              <a:gd name="connsiteY1695" fmla="*/ 2005699 h 4367670"/>
              <a:gd name="connsiteX1696" fmla="*/ 4683529 w 5365133"/>
              <a:gd name="connsiteY1696" fmla="*/ 2005764 h 4367670"/>
              <a:gd name="connsiteX1697" fmla="*/ 4677380 w 5365133"/>
              <a:gd name="connsiteY1697" fmla="*/ 2004091 h 4367670"/>
              <a:gd name="connsiteX1698" fmla="*/ 4680692 w 5365133"/>
              <a:gd name="connsiteY1698" fmla="*/ 1998071 h 4367670"/>
              <a:gd name="connsiteX1699" fmla="*/ 4678125 w 5365133"/>
              <a:gd name="connsiteY1699" fmla="*/ 1999956 h 4367670"/>
              <a:gd name="connsiteX1700" fmla="*/ 4672147 w 5365133"/>
              <a:gd name="connsiteY1700" fmla="*/ 1993993 h 4367670"/>
              <a:gd name="connsiteX1701" fmla="*/ 4660190 w 5365133"/>
              <a:gd name="connsiteY1701" fmla="*/ 2005920 h 4367670"/>
              <a:gd name="connsiteX1702" fmla="*/ 4667663 w 5365133"/>
              <a:gd name="connsiteY1702" fmla="*/ 2001447 h 4367670"/>
              <a:gd name="connsiteX1703" fmla="*/ 4677380 w 5365133"/>
              <a:gd name="connsiteY1703" fmla="*/ 2004091 h 4367670"/>
              <a:gd name="connsiteX1704" fmla="*/ 4676397 w 5365133"/>
              <a:gd name="connsiteY1704" fmla="*/ 2005878 h 4367670"/>
              <a:gd name="connsiteX1705" fmla="*/ 4683529 w 5365133"/>
              <a:gd name="connsiteY1705" fmla="*/ 2005764 h 4367670"/>
              <a:gd name="connsiteX1706" fmla="*/ 4684103 w 5365133"/>
              <a:gd name="connsiteY1706" fmla="*/ 2005920 h 4367670"/>
              <a:gd name="connsiteX1707" fmla="*/ 4660190 w 5365133"/>
              <a:gd name="connsiteY1707" fmla="*/ 2017849 h 4367670"/>
              <a:gd name="connsiteX1708" fmla="*/ 4642257 w 5365133"/>
              <a:gd name="connsiteY1708" fmla="*/ 2005920 h 4367670"/>
              <a:gd name="connsiteX1709" fmla="*/ 4654212 w 5365133"/>
              <a:gd name="connsiteY1709" fmla="*/ 2011884 h 4367670"/>
              <a:gd name="connsiteX1710" fmla="*/ 4648234 w 5365133"/>
              <a:gd name="connsiteY1710" fmla="*/ 2023812 h 4367670"/>
              <a:gd name="connsiteX1711" fmla="*/ 4636280 w 5365133"/>
              <a:gd name="connsiteY1711" fmla="*/ 2011884 h 4367670"/>
              <a:gd name="connsiteX1712" fmla="*/ 4631184 w 5365133"/>
              <a:gd name="connsiteY1712" fmla="*/ 2006800 h 4367670"/>
              <a:gd name="connsiteX1713" fmla="*/ 4651225 w 5365133"/>
              <a:gd name="connsiteY1713" fmla="*/ 1999212 h 4367670"/>
              <a:gd name="connsiteX1714" fmla="*/ 4731927 w 5365133"/>
              <a:gd name="connsiteY1714" fmla="*/ 1970136 h 4367670"/>
              <a:gd name="connsiteX1715" fmla="*/ 4732538 w 5365133"/>
              <a:gd name="connsiteY1715" fmla="*/ 1970326 h 4367670"/>
              <a:gd name="connsiteX1716" fmla="*/ 4731927 w 5365133"/>
              <a:gd name="connsiteY1716" fmla="*/ 1970543 h 4367670"/>
              <a:gd name="connsiteX1717" fmla="*/ 4270809 w 5365133"/>
              <a:gd name="connsiteY1717" fmla="*/ 1965702 h 4367670"/>
              <a:gd name="connsiteX1718" fmla="*/ 4264113 w 5365133"/>
              <a:gd name="connsiteY1718" fmla="*/ 1988660 h 4367670"/>
              <a:gd name="connsiteX1719" fmla="*/ 4257416 w 5365133"/>
              <a:gd name="connsiteY1719" fmla="*/ 1977181 h 4367670"/>
              <a:gd name="connsiteX1720" fmla="*/ 4270809 w 5365133"/>
              <a:gd name="connsiteY1720" fmla="*/ 1965702 h 4367670"/>
              <a:gd name="connsiteX1721" fmla="*/ 4956334 w 5365133"/>
              <a:gd name="connsiteY1721" fmla="*/ 1962743 h 4367670"/>
              <a:gd name="connsiteX1722" fmla="*/ 4959515 w 5365133"/>
              <a:gd name="connsiteY1722" fmla="*/ 1963329 h 4367670"/>
              <a:gd name="connsiteX1723" fmla="*/ 4952576 w 5365133"/>
              <a:gd name="connsiteY1723" fmla="*/ 1970364 h 4367670"/>
              <a:gd name="connsiteX1724" fmla="*/ 4956334 w 5365133"/>
              <a:gd name="connsiteY1724" fmla="*/ 1962743 h 4367670"/>
              <a:gd name="connsiteX1725" fmla="*/ 4960594 w 5365133"/>
              <a:gd name="connsiteY1725" fmla="*/ 1962233 h 4367670"/>
              <a:gd name="connsiteX1726" fmla="*/ 4964601 w 5365133"/>
              <a:gd name="connsiteY1726" fmla="*/ 1964266 h 4367670"/>
              <a:gd name="connsiteX1727" fmla="*/ 4959515 w 5365133"/>
              <a:gd name="connsiteY1727" fmla="*/ 1963329 h 4367670"/>
              <a:gd name="connsiteX1728" fmla="*/ 5017896 w 5365133"/>
              <a:gd name="connsiteY1728" fmla="*/ 1959962 h 4367670"/>
              <a:gd name="connsiteX1729" fmla="*/ 4951891 w 5365133"/>
              <a:gd name="connsiteY1729" fmla="*/ 1988660 h 4367670"/>
              <a:gd name="connsiteX1730" fmla="*/ 4951891 w 5365133"/>
              <a:gd name="connsiteY1730" fmla="*/ 1982921 h 4367670"/>
              <a:gd name="connsiteX1731" fmla="*/ 5017896 w 5365133"/>
              <a:gd name="connsiteY1731" fmla="*/ 1959962 h 4367670"/>
              <a:gd name="connsiteX1732" fmla="*/ 4179931 w 5365133"/>
              <a:gd name="connsiteY1732" fmla="*/ 1959961 h 4367670"/>
              <a:gd name="connsiteX1733" fmla="*/ 4174192 w 5365133"/>
              <a:gd name="connsiteY1733" fmla="*/ 1977179 h 4367670"/>
              <a:gd name="connsiteX1734" fmla="*/ 4168452 w 5365133"/>
              <a:gd name="connsiteY1734" fmla="*/ 1971439 h 4367670"/>
              <a:gd name="connsiteX1735" fmla="*/ 4162713 w 5365133"/>
              <a:gd name="connsiteY1735" fmla="*/ 1971439 h 4367670"/>
              <a:gd name="connsiteX1736" fmla="*/ 4174192 w 5365133"/>
              <a:gd name="connsiteY1736" fmla="*/ 1965700 h 4367670"/>
              <a:gd name="connsiteX1737" fmla="*/ 4179931 w 5365133"/>
              <a:gd name="connsiteY1737" fmla="*/ 1959961 h 4367670"/>
              <a:gd name="connsiteX1738" fmla="*/ 4222978 w 5365133"/>
              <a:gd name="connsiteY1738" fmla="*/ 1940949 h 4367670"/>
              <a:gd name="connsiteX1739" fmla="*/ 4228718 w 5365133"/>
              <a:gd name="connsiteY1739" fmla="*/ 1947048 h 4367670"/>
              <a:gd name="connsiteX1740" fmla="*/ 4233740 w 5365133"/>
              <a:gd name="connsiteY1740" fmla="*/ 1943236 h 4367670"/>
              <a:gd name="connsiteX1741" fmla="*/ 4233896 w 5365133"/>
              <a:gd name="connsiteY1741" fmla="*/ 1941413 h 4367670"/>
              <a:gd name="connsiteX1742" fmla="*/ 4234457 w 5365133"/>
              <a:gd name="connsiteY1742" fmla="*/ 1947048 h 4367670"/>
              <a:gd name="connsiteX1743" fmla="*/ 4222978 w 5365133"/>
              <a:gd name="connsiteY1743" fmla="*/ 1953146 h 4367670"/>
              <a:gd name="connsiteX1744" fmla="*/ 4228718 w 5365133"/>
              <a:gd name="connsiteY1744" fmla="*/ 1959244 h 4367670"/>
              <a:gd name="connsiteX1745" fmla="*/ 4222978 w 5365133"/>
              <a:gd name="connsiteY1745" fmla="*/ 1965342 h 4367670"/>
              <a:gd name="connsiteX1746" fmla="*/ 4217239 w 5365133"/>
              <a:gd name="connsiteY1746" fmla="*/ 1953146 h 4367670"/>
              <a:gd name="connsiteX1747" fmla="*/ 4222978 w 5365133"/>
              <a:gd name="connsiteY1747" fmla="*/ 1940949 h 4367670"/>
              <a:gd name="connsiteX1748" fmla="*/ 4839531 w 5365133"/>
              <a:gd name="connsiteY1748" fmla="*/ 1940316 h 4367670"/>
              <a:gd name="connsiteX1749" fmla="*/ 4845510 w 5365133"/>
              <a:gd name="connsiteY1749" fmla="*/ 1940316 h 4367670"/>
              <a:gd name="connsiteX1750" fmla="*/ 4839531 w 5365133"/>
              <a:gd name="connsiteY1750" fmla="*/ 1946280 h 4367670"/>
              <a:gd name="connsiteX1751" fmla="*/ 4839531 w 5365133"/>
              <a:gd name="connsiteY1751" fmla="*/ 1942552 h 4367670"/>
              <a:gd name="connsiteX1752" fmla="*/ 4185450 w 5365133"/>
              <a:gd name="connsiteY1752" fmla="*/ 1940316 h 4367670"/>
              <a:gd name="connsiteX1753" fmla="*/ 4186852 w 5365133"/>
              <a:gd name="connsiteY1753" fmla="*/ 1943178 h 4367670"/>
              <a:gd name="connsiteX1754" fmla="*/ 4187928 w 5365133"/>
              <a:gd name="connsiteY1754" fmla="*/ 1940316 h 4367670"/>
              <a:gd name="connsiteX1755" fmla="*/ 4181950 w 5365133"/>
              <a:gd name="connsiteY1755" fmla="*/ 1940316 h 4367670"/>
              <a:gd name="connsiteX1756" fmla="*/ 4179709 w 5365133"/>
              <a:gd name="connsiteY1756" fmla="*/ 1946280 h 4367670"/>
              <a:gd name="connsiteX1757" fmla="*/ 4180661 w 5365133"/>
              <a:gd name="connsiteY1757" fmla="*/ 1948815 h 4367670"/>
              <a:gd name="connsiteX1758" fmla="*/ 4180930 w 5365133"/>
              <a:gd name="connsiteY1758" fmla="*/ 1947236 h 4367670"/>
              <a:gd name="connsiteX1759" fmla="*/ 4183944 w 5365133"/>
              <a:gd name="connsiteY1759" fmla="*/ 1943392 h 4367670"/>
              <a:gd name="connsiteX1760" fmla="*/ 4183944 w 5365133"/>
              <a:gd name="connsiteY1760" fmla="*/ 1942623 h 4367670"/>
              <a:gd name="connsiteX1761" fmla="*/ 4183944 w 5365133"/>
              <a:gd name="connsiteY1761" fmla="*/ 1940316 h 4367670"/>
              <a:gd name="connsiteX1762" fmla="*/ 4182698 w 5365133"/>
              <a:gd name="connsiteY1762" fmla="*/ 1940316 h 4367670"/>
              <a:gd name="connsiteX1763" fmla="*/ 4181950 w 5365133"/>
              <a:gd name="connsiteY1763" fmla="*/ 1940316 h 4367670"/>
              <a:gd name="connsiteX1764" fmla="*/ 4994666 w 5365133"/>
              <a:gd name="connsiteY1764" fmla="*/ 1939873 h 4367670"/>
              <a:gd name="connsiteX1765" fmla="*/ 5000678 w 5365133"/>
              <a:gd name="connsiteY1765" fmla="*/ 1945971 h 4367670"/>
              <a:gd name="connsiteX1766" fmla="*/ 4976627 w 5365133"/>
              <a:gd name="connsiteY1766" fmla="*/ 1952070 h 4367670"/>
              <a:gd name="connsiteX1767" fmla="*/ 4970614 w 5365133"/>
              <a:gd name="connsiteY1767" fmla="*/ 1952070 h 4367670"/>
              <a:gd name="connsiteX1768" fmla="*/ 4960594 w 5365133"/>
              <a:gd name="connsiteY1768" fmla="*/ 1962233 h 4367670"/>
              <a:gd name="connsiteX1769" fmla="*/ 4952576 w 5365133"/>
              <a:gd name="connsiteY1769" fmla="*/ 1958167 h 4367670"/>
              <a:gd name="connsiteX1770" fmla="*/ 4880422 w 5365133"/>
              <a:gd name="connsiteY1770" fmla="*/ 1988660 h 4367670"/>
              <a:gd name="connsiteX1771" fmla="*/ 4874410 w 5365133"/>
              <a:gd name="connsiteY1771" fmla="*/ 1982560 h 4367670"/>
              <a:gd name="connsiteX1772" fmla="*/ 4994666 w 5365133"/>
              <a:gd name="connsiteY1772" fmla="*/ 1939873 h 4367670"/>
              <a:gd name="connsiteX1773" fmla="*/ 4334899 w 5365133"/>
              <a:gd name="connsiteY1773" fmla="*/ 1939873 h 4367670"/>
              <a:gd name="connsiteX1774" fmla="*/ 4300462 w 5365133"/>
              <a:gd name="connsiteY1774" fmla="*/ 1965127 h 4367670"/>
              <a:gd name="connsiteX1775" fmla="*/ 4300462 w 5365133"/>
              <a:gd name="connsiteY1775" fmla="*/ 1958814 h 4367670"/>
              <a:gd name="connsiteX1776" fmla="*/ 4277504 w 5365133"/>
              <a:gd name="connsiteY1776" fmla="*/ 1971441 h 4367670"/>
              <a:gd name="connsiteX1777" fmla="*/ 4334899 w 5365133"/>
              <a:gd name="connsiteY1777" fmla="*/ 1939873 h 4367670"/>
              <a:gd name="connsiteX1778" fmla="*/ 4234210 w 5365133"/>
              <a:gd name="connsiteY1778" fmla="*/ 1937741 h 4367670"/>
              <a:gd name="connsiteX1779" fmla="*/ 4233896 w 5365133"/>
              <a:gd name="connsiteY1779" fmla="*/ 1941413 h 4367670"/>
              <a:gd name="connsiteX1780" fmla="*/ 4233650 w 5365133"/>
              <a:gd name="connsiteY1780" fmla="*/ 1938949 h 4367670"/>
              <a:gd name="connsiteX1781" fmla="*/ 4220291 w 5365133"/>
              <a:gd name="connsiteY1781" fmla="*/ 1936414 h 4367670"/>
              <a:gd name="connsiteX1782" fmla="*/ 4220103 w 5365133"/>
              <a:gd name="connsiteY1782" fmla="*/ 1937242 h 4367670"/>
              <a:gd name="connsiteX1783" fmla="*/ 4219204 w 5365133"/>
              <a:gd name="connsiteY1783" fmla="*/ 1936784 h 4367670"/>
              <a:gd name="connsiteX1784" fmla="*/ 4219443 w 5365133"/>
              <a:gd name="connsiteY1784" fmla="*/ 1936665 h 4367670"/>
              <a:gd name="connsiteX1785" fmla="*/ 4838013 w 5365133"/>
              <a:gd name="connsiteY1785" fmla="*/ 1935204 h 4367670"/>
              <a:gd name="connsiteX1786" fmla="*/ 4815619 w 5365133"/>
              <a:gd name="connsiteY1786" fmla="*/ 1947771 h 4367670"/>
              <a:gd name="connsiteX1787" fmla="*/ 4791707 w 5365133"/>
              <a:gd name="connsiteY1787" fmla="*/ 1952244 h 4367670"/>
              <a:gd name="connsiteX1788" fmla="*/ 4809641 w 5365133"/>
              <a:gd name="connsiteY1788" fmla="*/ 1952244 h 4367670"/>
              <a:gd name="connsiteX1789" fmla="*/ 4803663 w 5365133"/>
              <a:gd name="connsiteY1789" fmla="*/ 1964172 h 4367670"/>
              <a:gd name="connsiteX1790" fmla="*/ 4791707 w 5365133"/>
              <a:gd name="connsiteY1790" fmla="*/ 1958209 h 4367670"/>
              <a:gd name="connsiteX1791" fmla="*/ 4755840 w 5365133"/>
              <a:gd name="connsiteY1791" fmla="*/ 1964172 h 4367670"/>
              <a:gd name="connsiteX1792" fmla="*/ 4743884 w 5365133"/>
              <a:gd name="connsiteY1792" fmla="*/ 1973864 h 4367670"/>
              <a:gd name="connsiteX1793" fmla="*/ 4732538 w 5365133"/>
              <a:gd name="connsiteY1793" fmla="*/ 1970326 h 4367670"/>
              <a:gd name="connsiteX1794" fmla="*/ 4749862 w 5365133"/>
              <a:gd name="connsiteY1794" fmla="*/ 1964172 h 4367670"/>
              <a:gd name="connsiteX1795" fmla="*/ 4813378 w 5365133"/>
              <a:gd name="connsiteY1795" fmla="*/ 1941808 h 4367670"/>
              <a:gd name="connsiteX1796" fmla="*/ 4839531 w 5365133"/>
              <a:gd name="connsiteY1796" fmla="*/ 1934353 h 4367670"/>
              <a:gd name="connsiteX1797" fmla="*/ 4839531 w 5365133"/>
              <a:gd name="connsiteY1797" fmla="*/ 1934797 h 4367670"/>
              <a:gd name="connsiteX1798" fmla="*/ 4838013 w 5365133"/>
              <a:gd name="connsiteY1798" fmla="*/ 1935204 h 4367670"/>
              <a:gd name="connsiteX1799" fmla="*/ 4190014 w 5365133"/>
              <a:gd name="connsiteY1799" fmla="*/ 1934214 h 4367670"/>
              <a:gd name="connsiteX1800" fmla="*/ 4187980 w 5365133"/>
              <a:gd name="connsiteY1800" fmla="*/ 1934962 h 4367670"/>
              <a:gd name="connsiteX1801" fmla="*/ 4187928 w 5365133"/>
              <a:gd name="connsiteY1801" fmla="*/ 1934353 h 4367670"/>
              <a:gd name="connsiteX1802" fmla="*/ 5028655 w 5365133"/>
              <a:gd name="connsiteY1802" fmla="*/ 1932698 h 4367670"/>
              <a:gd name="connsiteX1803" fmla="*/ 5035112 w 5365133"/>
              <a:gd name="connsiteY1803" fmla="*/ 1934134 h 4367670"/>
              <a:gd name="connsiteX1804" fmla="*/ 5017894 w 5365133"/>
              <a:gd name="connsiteY1804" fmla="*/ 1939873 h 4367670"/>
              <a:gd name="connsiteX1805" fmla="*/ 5028655 w 5365133"/>
              <a:gd name="connsiteY1805" fmla="*/ 1932698 h 4367670"/>
              <a:gd name="connsiteX1806" fmla="*/ 4980589 w 5365133"/>
              <a:gd name="connsiteY1806" fmla="*/ 1928395 h 4367670"/>
              <a:gd name="connsiteX1807" fmla="*/ 4880147 w 5365133"/>
              <a:gd name="connsiteY1807" fmla="*/ 1971441 h 4367670"/>
              <a:gd name="connsiteX1808" fmla="*/ 4945140 w 5365133"/>
              <a:gd name="connsiteY1808" fmla="*/ 1940694 h 4367670"/>
              <a:gd name="connsiteX1809" fmla="*/ 4980589 w 5365133"/>
              <a:gd name="connsiteY1809" fmla="*/ 1928395 h 4367670"/>
              <a:gd name="connsiteX1810" fmla="*/ 4874408 w 5365133"/>
              <a:gd name="connsiteY1810" fmla="*/ 1928395 h 4367670"/>
              <a:gd name="connsiteX1811" fmla="*/ 4885886 w 5365133"/>
              <a:gd name="connsiteY1811" fmla="*/ 1928395 h 4367670"/>
              <a:gd name="connsiteX1812" fmla="*/ 4874408 w 5365133"/>
              <a:gd name="connsiteY1812" fmla="*/ 1928395 h 4367670"/>
              <a:gd name="connsiteX1813" fmla="*/ 4863444 w 5365133"/>
              <a:gd name="connsiteY1813" fmla="*/ 1928389 h 4367670"/>
              <a:gd name="connsiteX1814" fmla="*/ 4857466 w 5365133"/>
              <a:gd name="connsiteY1814" fmla="*/ 1940316 h 4367670"/>
              <a:gd name="connsiteX1815" fmla="*/ 4857466 w 5365133"/>
              <a:gd name="connsiteY1815" fmla="*/ 1934353 h 4367670"/>
              <a:gd name="connsiteX1816" fmla="*/ 4839531 w 5365133"/>
              <a:gd name="connsiteY1816" fmla="*/ 1940316 h 4367670"/>
              <a:gd name="connsiteX1817" fmla="*/ 4839531 w 5365133"/>
              <a:gd name="connsiteY1817" fmla="*/ 1934797 h 4367670"/>
              <a:gd name="connsiteX1818" fmla="*/ 4195996 w 5365133"/>
              <a:gd name="connsiteY1818" fmla="*/ 1927249 h 4367670"/>
              <a:gd name="connsiteX1819" fmla="*/ 4198349 w 5365133"/>
              <a:gd name="connsiteY1819" fmla="*/ 1931151 h 4367670"/>
              <a:gd name="connsiteX1820" fmla="*/ 4205863 w 5365133"/>
              <a:gd name="connsiteY1820" fmla="*/ 1928389 h 4367670"/>
              <a:gd name="connsiteX1821" fmla="*/ 4199610 w 5365133"/>
              <a:gd name="connsiteY1821" fmla="*/ 1933241 h 4367670"/>
              <a:gd name="connsiteX1822" fmla="*/ 4202023 w 5365133"/>
              <a:gd name="connsiteY1822" fmla="*/ 1937242 h 4367670"/>
              <a:gd name="connsiteX1823" fmla="*/ 4196677 w 5365133"/>
              <a:gd name="connsiteY1823" fmla="*/ 1933771 h 4367670"/>
              <a:gd name="connsiteX1824" fmla="*/ 4190014 w 5365133"/>
              <a:gd name="connsiteY1824" fmla="*/ 1934214 h 4367670"/>
              <a:gd name="connsiteX1825" fmla="*/ 4194705 w 5365133"/>
              <a:gd name="connsiteY1825" fmla="*/ 1932490 h 4367670"/>
              <a:gd name="connsiteX1826" fmla="*/ 4193737 w 5365133"/>
              <a:gd name="connsiteY1826" fmla="*/ 1931861 h 4367670"/>
              <a:gd name="connsiteX1827" fmla="*/ 4189970 w 5365133"/>
              <a:gd name="connsiteY1827" fmla="*/ 1931093 h 4367670"/>
              <a:gd name="connsiteX1828" fmla="*/ 4195996 w 5365133"/>
              <a:gd name="connsiteY1828" fmla="*/ 1927249 h 4367670"/>
              <a:gd name="connsiteX1829" fmla="*/ 4232815 w 5365133"/>
              <a:gd name="connsiteY1829" fmla="*/ 1922541 h 4367670"/>
              <a:gd name="connsiteX1830" fmla="*/ 4233632 w 5365133"/>
              <a:gd name="connsiteY1830" fmla="*/ 1923842 h 4367670"/>
              <a:gd name="connsiteX1831" fmla="*/ 4234457 w 5365133"/>
              <a:gd name="connsiteY1831" fmla="*/ 1922655 h 4367670"/>
              <a:gd name="connsiteX1832" fmla="*/ 4238493 w 5365133"/>
              <a:gd name="connsiteY1832" fmla="*/ 1927323 h 4367670"/>
              <a:gd name="connsiteX1833" fmla="*/ 4237519 w 5365133"/>
              <a:gd name="connsiteY1833" fmla="*/ 1930035 h 4367670"/>
              <a:gd name="connsiteX1834" fmla="*/ 4238182 w 5365133"/>
              <a:gd name="connsiteY1834" fmla="*/ 1931093 h 4367670"/>
              <a:gd name="connsiteX1835" fmla="*/ 4237014 w 5365133"/>
              <a:gd name="connsiteY1835" fmla="*/ 1931440 h 4367670"/>
              <a:gd name="connsiteX1836" fmla="*/ 4236610 w 5365133"/>
              <a:gd name="connsiteY1836" fmla="*/ 1932564 h 4367670"/>
              <a:gd name="connsiteX1837" fmla="*/ 4234210 w 5365133"/>
              <a:gd name="connsiteY1837" fmla="*/ 1937741 h 4367670"/>
              <a:gd name="connsiteX1838" fmla="*/ 4234457 w 5365133"/>
              <a:gd name="connsiteY1838" fmla="*/ 1934852 h 4367670"/>
              <a:gd name="connsiteX1839" fmla="*/ 4222978 w 5365133"/>
              <a:gd name="connsiteY1839" fmla="*/ 1940949 h 4367670"/>
              <a:gd name="connsiteX1840" fmla="*/ 4220504 w 5365133"/>
              <a:gd name="connsiteY1840" fmla="*/ 1936350 h 4367670"/>
              <a:gd name="connsiteX1841" fmla="*/ 4220291 w 5365133"/>
              <a:gd name="connsiteY1841" fmla="*/ 1936414 h 4367670"/>
              <a:gd name="connsiteX1842" fmla="*/ 4220364 w 5365133"/>
              <a:gd name="connsiteY1842" fmla="*/ 1936089 h 4367670"/>
              <a:gd name="connsiteX1843" fmla="*/ 4220108 w 5365133"/>
              <a:gd name="connsiteY1843" fmla="*/ 1935614 h 4367670"/>
              <a:gd name="connsiteX1844" fmla="*/ 4217239 w 5365133"/>
              <a:gd name="connsiteY1844" fmla="*/ 1934852 h 4367670"/>
              <a:gd name="connsiteX1845" fmla="*/ 4215087 w 5365133"/>
              <a:gd name="connsiteY1845" fmla="*/ 1932088 h 4367670"/>
              <a:gd name="connsiteX1846" fmla="*/ 4221504 w 5365133"/>
              <a:gd name="connsiteY1846" fmla="*/ 1931046 h 4367670"/>
              <a:gd name="connsiteX1847" fmla="*/ 4222080 w 5365133"/>
              <a:gd name="connsiteY1847" fmla="*/ 1928499 h 4367670"/>
              <a:gd name="connsiteX1848" fmla="*/ 4226882 w 5365133"/>
              <a:gd name="connsiteY1848" fmla="*/ 1922638 h 4367670"/>
              <a:gd name="connsiteX1849" fmla="*/ 4232815 w 5365133"/>
              <a:gd name="connsiteY1849" fmla="*/ 1922541 h 4367670"/>
              <a:gd name="connsiteX1850" fmla="*/ 5017896 w 5365133"/>
              <a:gd name="connsiteY1850" fmla="*/ 1916915 h 4367670"/>
              <a:gd name="connsiteX1851" fmla="*/ 4980589 w 5365133"/>
              <a:gd name="connsiteY1851" fmla="*/ 1928395 h 4367670"/>
              <a:gd name="connsiteX1852" fmla="*/ 5017896 w 5365133"/>
              <a:gd name="connsiteY1852" fmla="*/ 1916915 h 4367670"/>
              <a:gd name="connsiteX1853" fmla="*/ 4243922 w 5365133"/>
              <a:gd name="connsiteY1853" fmla="*/ 1912644 h 4367670"/>
              <a:gd name="connsiteX1854" fmla="*/ 4249661 w 5365133"/>
              <a:gd name="connsiteY1854" fmla="*/ 1924124 h 4367670"/>
              <a:gd name="connsiteX1855" fmla="*/ 4238182 w 5365133"/>
              <a:gd name="connsiteY1855" fmla="*/ 1929863 h 4367670"/>
              <a:gd name="connsiteX1856" fmla="*/ 4238182 w 5365133"/>
              <a:gd name="connsiteY1856" fmla="*/ 1918384 h 4367670"/>
              <a:gd name="connsiteX1857" fmla="*/ 4243922 w 5365133"/>
              <a:gd name="connsiteY1857" fmla="*/ 1912644 h 4367670"/>
              <a:gd name="connsiteX1858" fmla="*/ 5035112 w 5365133"/>
              <a:gd name="connsiteY1858" fmla="*/ 1911176 h 4367670"/>
              <a:gd name="connsiteX1859" fmla="*/ 5023634 w 5365133"/>
              <a:gd name="connsiteY1859" fmla="*/ 1922655 h 4367670"/>
              <a:gd name="connsiteX1860" fmla="*/ 5035112 w 5365133"/>
              <a:gd name="connsiteY1860" fmla="*/ 1911176 h 4367670"/>
              <a:gd name="connsiteX1861" fmla="*/ 4616132 w 5365133"/>
              <a:gd name="connsiteY1861" fmla="*/ 1911176 h 4367670"/>
              <a:gd name="connsiteX1862" fmla="*/ 4610392 w 5365133"/>
              <a:gd name="connsiteY1862" fmla="*/ 1922655 h 4367670"/>
              <a:gd name="connsiteX1863" fmla="*/ 4598913 w 5365133"/>
              <a:gd name="connsiteY1863" fmla="*/ 1916915 h 4367670"/>
              <a:gd name="connsiteX1864" fmla="*/ 4616132 w 5365133"/>
              <a:gd name="connsiteY1864" fmla="*/ 1911176 h 4367670"/>
              <a:gd name="connsiteX1865" fmla="*/ 4712509 w 5365133"/>
              <a:gd name="connsiteY1865" fmla="*/ 1905437 h 4367670"/>
              <a:gd name="connsiteX1866" fmla="*/ 4716044 w 5365133"/>
              <a:gd name="connsiteY1866" fmla="*/ 1906285 h 4367670"/>
              <a:gd name="connsiteX1867" fmla="*/ 4714097 w 5365133"/>
              <a:gd name="connsiteY1867" fmla="*/ 1906961 h 4367670"/>
              <a:gd name="connsiteX1868" fmla="*/ 4712364 w 5365133"/>
              <a:gd name="connsiteY1868" fmla="*/ 1905947 h 4367670"/>
              <a:gd name="connsiteX1869" fmla="*/ 4748500 w 5365133"/>
              <a:gd name="connsiteY1869" fmla="*/ 1905078 h 4367670"/>
              <a:gd name="connsiteX1870" fmla="*/ 4736662 w 5365133"/>
              <a:gd name="connsiteY1870" fmla="*/ 1911178 h 4367670"/>
              <a:gd name="connsiteX1871" fmla="*/ 4740001 w 5365133"/>
              <a:gd name="connsiteY1871" fmla="*/ 1906017 h 4367670"/>
              <a:gd name="connsiteX1872" fmla="*/ 4744800 w 5365133"/>
              <a:gd name="connsiteY1872" fmla="*/ 1907367 h 4367670"/>
              <a:gd name="connsiteX1873" fmla="*/ 4748500 w 5365133"/>
              <a:gd name="connsiteY1873" fmla="*/ 1905078 h 4367670"/>
              <a:gd name="connsiteX1874" fmla="*/ 4656309 w 5365133"/>
              <a:gd name="connsiteY1874" fmla="*/ 1901132 h 4367670"/>
              <a:gd name="connsiteX1875" fmla="*/ 4656992 w 5365133"/>
              <a:gd name="connsiteY1875" fmla="*/ 1902157 h 4367670"/>
              <a:gd name="connsiteX1876" fmla="*/ 4653439 w 5365133"/>
              <a:gd name="connsiteY1876" fmla="*/ 1905437 h 4367670"/>
              <a:gd name="connsiteX1877" fmla="*/ 4656309 w 5365133"/>
              <a:gd name="connsiteY1877" fmla="*/ 1901132 h 4367670"/>
              <a:gd name="connsiteX1878" fmla="*/ 4743897 w 5365133"/>
              <a:gd name="connsiteY1878" fmla="*/ 1899997 h 4367670"/>
              <a:gd name="connsiteX1879" fmla="*/ 4740001 w 5365133"/>
              <a:gd name="connsiteY1879" fmla="*/ 1906017 h 4367670"/>
              <a:gd name="connsiteX1880" fmla="*/ 4736662 w 5365133"/>
              <a:gd name="connsiteY1880" fmla="*/ 1905078 h 4367670"/>
              <a:gd name="connsiteX1881" fmla="*/ 4205863 w 5365133"/>
              <a:gd name="connsiteY1881" fmla="*/ 1892604 h 4367670"/>
              <a:gd name="connsiteX1882" fmla="*/ 4203248 w 5365133"/>
              <a:gd name="connsiteY1882" fmla="*/ 1900618 h 4367670"/>
              <a:gd name="connsiteX1883" fmla="*/ 4201208 w 5365133"/>
              <a:gd name="connsiteY1883" fmla="*/ 1903514 h 4367670"/>
              <a:gd name="connsiteX1884" fmla="*/ 4205863 w 5365133"/>
              <a:gd name="connsiteY1884" fmla="*/ 1901322 h 4367670"/>
              <a:gd name="connsiteX1885" fmla="*/ 4205863 w 5365133"/>
              <a:gd name="connsiteY1885" fmla="*/ 1900804 h 4367670"/>
              <a:gd name="connsiteX1886" fmla="*/ 4205863 w 5365133"/>
              <a:gd name="connsiteY1886" fmla="*/ 1892604 h 4367670"/>
              <a:gd name="connsiteX1887" fmla="*/ 4676397 w 5365133"/>
              <a:gd name="connsiteY1887" fmla="*/ 1888218 h 4367670"/>
              <a:gd name="connsiteX1888" fmla="*/ 4659178 w 5365133"/>
              <a:gd name="connsiteY1888" fmla="*/ 1905437 h 4367670"/>
              <a:gd name="connsiteX1889" fmla="*/ 4656992 w 5365133"/>
              <a:gd name="connsiteY1889" fmla="*/ 1902157 h 4367670"/>
              <a:gd name="connsiteX1890" fmla="*/ 4662766 w 5365133"/>
              <a:gd name="connsiteY1890" fmla="*/ 1896827 h 4367670"/>
              <a:gd name="connsiteX1891" fmla="*/ 4676397 w 5365133"/>
              <a:gd name="connsiteY1891" fmla="*/ 1888218 h 4367670"/>
              <a:gd name="connsiteX1892" fmla="*/ 4234445 w 5365133"/>
              <a:gd name="connsiteY1892" fmla="*/ 1886081 h 4367670"/>
              <a:gd name="connsiteX1893" fmla="*/ 4219874 w 5365133"/>
              <a:gd name="connsiteY1893" fmla="*/ 1897636 h 4367670"/>
              <a:gd name="connsiteX1894" fmla="*/ 4211533 w 5365133"/>
              <a:gd name="connsiteY1894" fmla="*/ 1901742 h 4367670"/>
              <a:gd name="connsiteX1895" fmla="*/ 4213017 w 5365133"/>
              <a:gd name="connsiteY1895" fmla="*/ 1902729 h 4367670"/>
              <a:gd name="connsiteX1896" fmla="*/ 4215539 w 5365133"/>
              <a:gd name="connsiteY1896" fmla="*/ 1908880 h 4367670"/>
              <a:gd name="connsiteX1897" fmla="*/ 4214834 w 5365133"/>
              <a:gd name="connsiteY1897" fmla="*/ 1914034 h 4367670"/>
              <a:gd name="connsiteX1898" fmla="*/ 4216521 w 5365133"/>
              <a:gd name="connsiteY1898" fmla="*/ 1915481 h 4367670"/>
              <a:gd name="connsiteX1899" fmla="*/ 4218763 w 5365133"/>
              <a:gd name="connsiteY1899" fmla="*/ 1916019 h 4367670"/>
              <a:gd name="connsiteX1900" fmla="*/ 4217548 w 5365133"/>
              <a:gd name="connsiteY1900" fmla="*/ 1912160 h 4367670"/>
              <a:gd name="connsiteX1901" fmla="*/ 4216654 w 5365133"/>
              <a:gd name="connsiteY1901" fmla="*/ 1911609 h 4367670"/>
              <a:gd name="connsiteX1902" fmla="*/ 4217334 w 5365133"/>
              <a:gd name="connsiteY1902" fmla="*/ 1910505 h 4367670"/>
              <a:gd name="connsiteX1903" fmla="*/ 4217956 w 5365133"/>
              <a:gd name="connsiteY1903" fmla="*/ 1906154 h 4367670"/>
              <a:gd name="connsiteX1904" fmla="*/ 4219628 w 5365133"/>
              <a:gd name="connsiteY1904" fmla="*/ 1905915 h 4367670"/>
              <a:gd name="connsiteX1905" fmla="*/ 4220020 w 5365133"/>
              <a:gd name="connsiteY1905" fmla="*/ 1905017 h 4367670"/>
              <a:gd name="connsiteX1906" fmla="*/ 4218337 w 5365133"/>
              <a:gd name="connsiteY1906" fmla="*/ 1900591 h 4367670"/>
              <a:gd name="connsiteX1907" fmla="*/ 4240013 w 5365133"/>
              <a:gd name="connsiteY1907" fmla="*/ 1891065 h 4367670"/>
              <a:gd name="connsiteX1908" fmla="*/ 4796926 w 5365133"/>
              <a:gd name="connsiteY1908" fmla="*/ 1882479 h 4367670"/>
              <a:gd name="connsiteX1909" fmla="*/ 4773968 w 5365133"/>
              <a:gd name="connsiteY1909" fmla="*/ 1893957 h 4367670"/>
              <a:gd name="connsiteX1910" fmla="*/ 4796926 w 5365133"/>
              <a:gd name="connsiteY1910" fmla="*/ 1882479 h 4367670"/>
              <a:gd name="connsiteX1911" fmla="*/ 4283244 w 5365133"/>
              <a:gd name="connsiteY1911" fmla="*/ 1882479 h 4367670"/>
              <a:gd name="connsiteX1912" fmla="*/ 4277094 w 5365133"/>
              <a:gd name="connsiteY1912" fmla="*/ 1893957 h 4367670"/>
              <a:gd name="connsiteX1913" fmla="*/ 4258646 w 5365133"/>
              <a:gd name="connsiteY1913" fmla="*/ 1905437 h 4367670"/>
              <a:gd name="connsiteX1914" fmla="*/ 4246347 w 5365133"/>
              <a:gd name="connsiteY1914" fmla="*/ 1899697 h 4367670"/>
              <a:gd name="connsiteX1915" fmla="*/ 4283244 w 5365133"/>
              <a:gd name="connsiteY1915" fmla="*/ 1882479 h 4367670"/>
              <a:gd name="connsiteX1916" fmla="*/ 5021264 w 5365133"/>
              <a:gd name="connsiteY1916" fmla="*/ 1881869 h 4367670"/>
              <a:gd name="connsiteX1917" fmla="*/ 5006916 w 5365133"/>
              <a:gd name="connsiteY1917" fmla="*/ 1886640 h 4367670"/>
              <a:gd name="connsiteX1918" fmla="*/ 4863444 w 5365133"/>
              <a:gd name="connsiteY1918" fmla="*/ 1928389 h 4367670"/>
              <a:gd name="connsiteX1919" fmla="*/ 4962081 w 5365133"/>
              <a:gd name="connsiteY1919" fmla="*/ 1892604 h 4367670"/>
              <a:gd name="connsiteX1920" fmla="*/ 4736662 w 5365133"/>
              <a:gd name="connsiteY1920" fmla="*/ 1880686 h 4367670"/>
              <a:gd name="connsiteX1921" fmla="*/ 4747020 w 5365133"/>
              <a:gd name="connsiteY1921" fmla="*/ 1882210 h 4367670"/>
              <a:gd name="connsiteX1922" fmla="*/ 4749152 w 5365133"/>
              <a:gd name="connsiteY1922" fmla="*/ 1881113 h 4367670"/>
              <a:gd name="connsiteX1923" fmla="*/ 4756638 w 5365133"/>
              <a:gd name="connsiteY1923" fmla="*/ 1886022 h 4367670"/>
              <a:gd name="connsiteX1924" fmla="*/ 4760337 w 5365133"/>
              <a:gd name="connsiteY1924" fmla="*/ 1886785 h 4367670"/>
              <a:gd name="connsiteX1925" fmla="*/ 4752938 w 5365133"/>
              <a:gd name="connsiteY1925" fmla="*/ 1893645 h 4367670"/>
              <a:gd name="connsiteX1926" fmla="*/ 4743897 w 5365133"/>
              <a:gd name="connsiteY1926" fmla="*/ 1899997 h 4367670"/>
              <a:gd name="connsiteX1927" fmla="*/ 4748500 w 5365133"/>
              <a:gd name="connsiteY1927" fmla="*/ 1892882 h 4367670"/>
              <a:gd name="connsiteX1928" fmla="*/ 4742370 w 5365133"/>
              <a:gd name="connsiteY1928" fmla="*/ 1888289 h 4367670"/>
              <a:gd name="connsiteX1929" fmla="*/ 4742402 w 5365133"/>
              <a:gd name="connsiteY1929" fmla="*/ 1888218 h 4367670"/>
              <a:gd name="connsiteX1930" fmla="*/ 4742296 w 5365133"/>
              <a:gd name="connsiteY1930" fmla="*/ 1888234 h 4367670"/>
              <a:gd name="connsiteX1931" fmla="*/ 4740361 w 5365133"/>
              <a:gd name="connsiteY1931" fmla="*/ 1886784 h 4367670"/>
              <a:gd name="connsiteX1932" fmla="*/ 4736662 w 5365133"/>
              <a:gd name="connsiteY1932" fmla="*/ 1880686 h 4367670"/>
              <a:gd name="connsiteX1933" fmla="*/ 4241732 w 5365133"/>
              <a:gd name="connsiteY1933" fmla="*/ 1880676 h 4367670"/>
              <a:gd name="connsiteX1934" fmla="*/ 4239490 w 5365133"/>
              <a:gd name="connsiteY1934" fmla="*/ 1884403 h 4367670"/>
              <a:gd name="connsiteX1935" fmla="*/ 4241172 w 5365133"/>
              <a:gd name="connsiteY1935" fmla="*/ 1890555 h 4367670"/>
              <a:gd name="connsiteX1936" fmla="*/ 4251121 w 5365133"/>
              <a:gd name="connsiteY1936" fmla="*/ 1886182 h 4367670"/>
              <a:gd name="connsiteX1937" fmla="*/ 4248457 w 5365133"/>
              <a:gd name="connsiteY1937" fmla="*/ 1885708 h 4367670"/>
              <a:gd name="connsiteX1938" fmla="*/ 4241732 w 5365133"/>
              <a:gd name="connsiteY1938" fmla="*/ 1880676 h 4367670"/>
              <a:gd name="connsiteX1939" fmla="*/ 4749906 w 5365133"/>
              <a:gd name="connsiteY1939" fmla="*/ 1880379 h 4367670"/>
              <a:gd name="connsiteX1940" fmla="*/ 4749980 w 5365133"/>
              <a:gd name="connsiteY1940" fmla="*/ 1880686 h 4367670"/>
              <a:gd name="connsiteX1941" fmla="*/ 4749152 w 5365133"/>
              <a:gd name="connsiteY1941" fmla="*/ 1881113 h 4367670"/>
              <a:gd name="connsiteX1942" fmla="*/ 4748500 w 5365133"/>
              <a:gd name="connsiteY1942" fmla="*/ 1880686 h 4367670"/>
              <a:gd name="connsiteX1943" fmla="*/ 5036058 w 5365133"/>
              <a:gd name="connsiteY1943" fmla="*/ 1876949 h 4367670"/>
              <a:gd name="connsiteX1944" fmla="*/ 5042783 w 5365133"/>
              <a:gd name="connsiteY1944" fmla="*/ 1877964 h 4367670"/>
              <a:gd name="connsiteX1945" fmla="*/ 5021264 w 5365133"/>
              <a:gd name="connsiteY1945" fmla="*/ 1881869 h 4367670"/>
              <a:gd name="connsiteX1946" fmla="*/ 4344362 w 5365133"/>
              <a:gd name="connsiteY1946" fmla="*/ 1876775 h 4367670"/>
              <a:gd name="connsiteX1947" fmla="*/ 4344324 w 5365133"/>
              <a:gd name="connsiteY1947" fmla="*/ 1877444 h 4367670"/>
              <a:gd name="connsiteX1948" fmla="*/ 4344286 w 5365133"/>
              <a:gd name="connsiteY1948" fmla="*/ 1876993 h 4367670"/>
              <a:gd name="connsiteX1949" fmla="*/ 4321404 w 5365133"/>
              <a:gd name="connsiteY1949" fmla="*/ 1876775 h 4367670"/>
              <a:gd name="connsiteX1950" fmla="*/ 4332882 w 5365133"/>
              <a:gd name="connsiteY1950" fmla="*/ 1879106 h 4367670"/>
              <a:gd name="connsiteX1951" fmla="*/ 4344270 w 5365133"/>
              <a:gd name="connsiteY1951" fmla="*/ 1876794 h 4367670"/>
              <a:gd name="connsiteX1952" fmla="*/ 4344286 w 5365133"/>
              <a:gd name="connsiteY1952" fmla="*/ 1876993 h 4367670"/>
              <a:gd name="connsiteX1953" fmla="*/ 4341581 w 5365133"/>
              <a:gd name="connsiteY1953" fmla="*/ 1884838 h 4367670"/>
              <a:gd name="connsiteX1954" fmla="*/ 4321404 w 5365133"/>
              <a:gd name="connsiteY1954" fmla="*/ 1889210 h 4367670"/>
              <a:gd name="connsiteX1955" fmla="*/ 4321404 w 5365133"/>
              <a:gd name="connsiteY1955" fmla="*/ 1882993 h 4367670"/>
              <a:gd name="connsiteX1956" fmla="*/ 4321404 w 5365133"/>
              <a:gd name="connsiteY1956" fmla="*/ 1878212 h 4367670"/>
              <a:gd name="connsiteX1957" fmla="*/ 4315428 w 5365133"/>
              <a:gd name="connsiteY1957" fmla="*/ 1888252 h 4367670"/>
              <a:gd name="connsiteX1958" fmla="*/ 4309449 w 5365133"/>
              <a:gd name="connsiteY1958" fmla="*/ 1889687 h 4367670"/>
              <a:gd name="connsiteX1959" fmla="*/ 4315428 w 5365133"/>
              <a:gd name="connsiteY1959" fmla="*/ 1895426 h 4367670"/>
              <a:gd name="connsiteX1960" fmla="*/ 4273577 w 5365133"/>
              <a:gd name="connsiteY1960" fmla="*/ 1901166 h 4367670"/>
              <a:gd name="connsiteX1961" fmla="*/ 4273577 w 5365133"/>
              <a:gd name="connsiteY1961" fmla="*/ 1912644 h 4367670"/>
              <a:gd name="connsiteX1962" fmla="*/ 4261619 w 5365133"/>
              <a:gd name="connsiteY1962" fmla="*/ 1918384 h 4367670"/>
              <a:gd name="connsiteX1963" fmla="*/ 4255640 w 5365133"/>
              <a:gd name="connsiteY1963" fmla="*/ 1910492 h 4367670"/>
              <a:gd name="connsiteX1964" fmla="*/ 4252215 w 5365133"/>
              <a:gd name="connsiteY1964" fmla="*/ 1908437 h 4367670"/>
              <a:gd name="connsiteX1965" fmla="*/ 4246347 w 5365133"/>
              <a:gd name="connsiteY1965" fmla="*/ 1911176 h 4367670"/>
              <a:gd name="connsiteX1966" fmla="*/ 4240197 w 5365133"/>
              <a:gd name="connsiteY1966" fmla="*/ 1899697 h 4367670"/>
              <a:gd name="connsiteX1967" fmla="*/ 4258646 w 5365133"/>
              <a:gd name="connsiteY1967" fmla="*/ 1905437 h 4367670"/>
              <a:gd name="connsiteX1968" fmla="*/ 4258206 w 5365133"/>
              <a:gd name="connsiteY1968" fmla="*/ 1905642 h 4367670"/>
              <a:gd name="connsiteX1969" fmla="*/ 4260592 w 5365133"/>
              <a:gd name="connsiteY1969" fmla="*/ 1906905 h 4367670"/>
              <a:gd name="connsiteX1970" fmla="*/ 4261619 w 5365133"/>
              <a:gd name="connsiteY1970" fmla="*/ 1912644 h 4367670"/>
              <a:gd name="connsiteX1971" fmla="*/ 4285533 w 5365133"/>
              <a:gd name="connsiteY1971" fmla="*/ 1889687 h 4367670"/>
              <a:gd name="connsiteX1972" fmla="*/ 4297491 w 5365133"/>
              <a:gd name="connsiteY1972" fmla="*/ 1889687 h 4367670"/>
              <a:gd name="connsiteX1973" fmla="*/ 4291513 w 5365133"/>
              <a:gd name="connsiteY1973" fmla="*/ 1901166 h 4367670"/>
              <a:gd name="connsiteX1974" fmla="*/ 4309449 w 5365133"/>
              <a:gd name="connsiteY1974" fmla="*/ 1883947 h 4367670"/>
              <a:gd name="connsiteX1975" fmla="*/ 4321404 w 5365133"/>
              <a:gd name="connsiteY1975" fmla="*/ 1878208 h 4367670"/>
              <a:gd name="connsiteX1976" fmla="*/ 4713704 w 5365133"/>
              <a:gd name="connsiteY1976" fmla="*/ 1876739 h 4367670"/>
              <a:gd name="connsiteX1977" fmla="*/ 4701269 w 5365133"/>
              <a:gd name="connsiteY1977" fmla="*/ 1882479 h 4367670"/>
              <a:gd name="connsiteX1978" fmla="*/ 4713704 w 5365133"/>
              <a:gd name="connsiteY1978" fmla="*/ 1876739 h 4367670"/>
              <a:gd name="connsiteX1979" fmla="*/ 4344251 w 5365133"/>
              <a:gd name="connsiteY1979" fmla="*/ 1876564 h 4367670"/>
              <a:gd name="connsiteX1980" fmla="*/ 4344362 w 5365133"/>
              <a:gd name="connsiteY1980" fmla="*/ 1876775 h 4367670"/>
              <a:gd name="connsiteX1981" fmla="*/ 4344270 w 5365133"/>
              <a:gd name="connsiteY1981" fmla="*/ 1876794 h 4367670"/>
              <a:gd name="connsiteX1982" fmla="*/ 4357276 w 5365133"/>
              <a:gd name="connsiteY1982" fmla="*/ 1870139 h 4367670"/>
              <a:gd name="connsiteX1983" fmla="*/ 4364451 w 5365133"/>
              <a:gd name="connsiteY1983" fmla="*/ 1878210 h 4367670"/>
              <a:gd name="connsiteX1984" fmla="*/ 4350101 w 5365133"/>
              <a:gd name="connsiteY1984" fmla="*/ 1878210 h 4367670"/>
              <a:gd name="connsiteX1985" fmla="*/ 4357276 w 5365133"/>
              <a:gd name="connsiteY1985" fmla="*/ 1870139 h 4367670"/>
              <a:gd name="connsiteX1986" fmla="*/ 4259666 w 5365133"/>
              <a:gd name="connsiteY1986" fmla="*/ 1868747 h 4367670"/>
              <a:gd name="connsiteX1987" fmla="*/ 4247710 w 5365133"/>
              <a:gd name="connsiteY1987" fmla="*/ 1874713 h 4367670"/>
              <a:gd name="connsiteX1988" fmla="*/ 4259666 w 5365133"/>
              <a:gd name="connsiteY1988" fmla="*/ 1874713 h 4367670"/>
              <a:gd name="connsiteX1989" fmla="*/ 4256677 w 5365133"/>
              <a:gd name="connsiteY1989" fmla="*/ 1880676 h 4367670"/>
              <a:gd name="connsiteX1990" fmla="*/ 4254707 w 5365133"/>
              <a:gd name="connsiteY1990" fmla="*/ 1884606 h 4367670"/>
              <a:gd name="connsiteX1991" fmla="*/ 4264882 w 5365133"/>
              <a:gd name="connsiteY1991" fmla="*/ 1880134 h 4367670"/>
              <a:gd name="connsiteX1992" fmla="*/ 4260413 w 5365133"/>
              <a:gd name="connsiteY1992" fmla="*/ 1876949 h 4367670"/>
              <a:gd name="connsiteX1993" fmla="*/ 4259666 w 5365133"/>
              <a:gd name="connsiteY1993" fmla="*/ 1868747 h 4367670"/>
              <a:gd name="connsiteX1994" fmla="*/ 4341941 w 5365133"/>
              <a:gd name="connsiteY1994" fmla="*/ 1867155 h 4367670"/>
              <a:gd name="connsiteX1995" fmla="*/ 4344059 w 5365133"/>
              <a:gd name="connsiteY1995" fmla="*/ 1874261 h 4367670"/>
              <a:gd name="connsiteX1996" fmla="*/ 4344251 w 5365133"/>
              <a:gd name="connsiteY1996" fmla="*/ 1876564 h 4367670"/>
              <a:gd name="connsiteX1997" fmla="*/ 4341492 w 5365133"/>
              <a:gd name="connsiteY1997" fmla="*/ 1871333 h 4367670"/>
              <a:gd name="connsiteX1998" fmla="*/ 4338622 w 5365133"/>
              <a:gd name="connsiteY1998" fmla="*/ 1870556 h 4367670"/>
              <a:gd name="connsiteX1999" fmla="*/ 4341941 w 5365133"/>
              <a:gd name="connsiteY1999" fmla="*/ 1867155 h 4367670"/>
              <a:gd name="connsiteX2000" fmla="*/ 4728321 w 5365133"/>
              <a:gd name="connsiteY2000" fmla="*/ 1864497 h 4367670"/>
              <a:gd name="connsiteX2001" fmla="*/ 4730921 w 5365133"/>
              <a:gd name="connsiteY2001" fmla="*/ 1870043 h 4367670"/>
              <a:gd name="connsiteX2002" fmla="*/ 4719442 w 5365133"/>
              <a:gd name="connsiteY2002" fmla="*/ 1876739 h 4367670"/>
              <a:gd name="connsiteX2003" fmla="*/ 4723030 w 5365133"/>
              <a:gd name="connsiteY2003" fmla="*/ 1865857 h 4367670"/>
              <a:gd name="connsiteX2004" fmla="*/ 4728321 w 5365133"/>
              <a:gd name="connsiteY2004" fmla="*/ 1864497 h 4367670"/>
              <a:gd name="connsiteX2005" fmla="*/ 4283577 w 5365133"/>
              <a:gd name="connsiteY2005" fmla="*/ 1862784 h 4367670"/>
              <a:gd name="connsiteX2006" fmla="*/ 4277599 w 5365133"/>
              <a:gd name="connsiteY2006" fmla="*/ 1874713 h 4367670"/>
              <a:gd name="connsiteX2007" fmla="*/ 4271620 w 5365133"/>
              <a:gd name="connsiteY2007" fmla="*/ 1868747 h 4367670"/>
              <a:gd name="connsiteX2008" fmla="*/ 4264148 w 5365133"/>
              <a:gd name="connsiteY2008" fmla="*/ 1874712 h 4367670"/>
              <a:gd name="connsiteX2009" fmla="*/ 4265444 w 5365133"/>
              <a:gd name="connsiteY2009" fmla="*/ 1879888 h 4367670"/>
              <a:gd name="connsiteX2010" fmla="*/ 4271257 w 5365133"/>
              <a:gd name="connsiteY2010" fmla="*/ 1877333 h 4367670"/>
              <a:gd name="connsiteX2011" fmla="*/ 4288624 w 5365133"/>
              <a:gd name="connsiteY2011" fmla="*/ 1870331 h 4367670"/>
              <a:gd name="connsiteX2012" fmla="*/ 4288621 w 5365133"/>
              <a:gd name="connsiteY2012" fmla="*/ 1870332 h 4367670"/>
              <a:gd name="connsiteX2013" fmla="*/ 4283577 w 5365133"/>
              <a:gd name="connsiteY2013" fmla="*/ 1862784 h 4367670"/>
              <a:gd name="connsiteX2014" fmla="*/ 4320849 w 5365133"/>
              <a:gd name="connsiteY2014" fmla="*/ 1862728 h 4367670"/>
              <a:gd name="connsiteX2015" fmla="*/ 4314451 w 5365133"/>
              <a:gd name="connsiteY2015" fmla="*/ 1864339 h 4367670"/>
              <a:gd name="connsiteX2016" fmla="*/ 4311969 w 5365133"/>
              <a:gd name="connsiteY2016" fmla="*/ 1866728 h 4367670"/>
              <a:gd name="connsiteX2017" fmla="*/ 4789932 w 5365133"/>
              <a:gd name="connsiteY2017" fmla="*/ 1862391 h 4367670"/>
              <a:gd name="connsiteX2018" fmla="*/ 4795852 w 5365133"/>
              <a:gd name="connsiteY2018" fmla="*/ 1868489 h 4367670"/>
              <a:gd name="connsiteX2019" fmla="*/ 4772176 w 5365133"/>
              <a:gd name="connsiteY2019" fmla="*/ 1880686 h 4367670"/>
              <a:gd name="connsiteX2020" fmla="*/ 4756361 w 5365133"/>
              <a:gd name="connsiteY2020" fmla="*/ 1878971 h 4367670"/>
              <a:gd name="connsiteX2021" fmla="*/ 4749906 w 5365133"/>
              <a:gd name="connsiteY2021" fmla="*/ 1880379 h 4367670"/>
              <a:gd name="connsiteX2022" fmla="*/ 4748500 w 5365133"/>
              <a:gd name="connsiteY2022" fmla="*/ 1874588 h 4367670"/>
              <a:gd name="connsiteX2023" fmla="*/ 4764037 w 5365133"/>
              <a:gd name="connsiteY2023" fmla="*/ 1873826 h 4367670"/>
              <a:gd name="connsiteX2024" fmla="*/ 4783397 w 5365133"/>
              <a:gd name="connsiteY2024" fmla="*/ 1868653 h 4367670"/>
              <a:gd name="connsiteX2025" fmla="*/ 4782534 w 5365133"/>
              <a:gd name="connsiteY2025" fmla="*/ 1870013 h 4367670"/>
              <a:gd name="connsiteX2026" fmla="*/ 4784013 w 5365133"/>
              <a:gd name="connsiteY2026" fmla="*/ 1868489 h 4367670"/>
              <a:gd name="connsiteX2027" fmla="*/ 4783397 w 5365133"/>
              <a:gd name="connsiteY2027" fmla="*/ 1868653 h 4367670"/>
              <a:gd name="connsiteX2028" fmla="*/ 4785678 w 5365133"/>
              <a:gd name="connsiteY2028" fmla="*/ 1865059 h 4367670"/>
              <a:gd name="connsiteX2029" fmla="*/ 4789932 w 5365133"/>
              <a:gd name="connsiteY2029" fmla="*/ 1862391 h 4367670"/>
              <a:gd name="connsiteX2030" fmla="*/ 5130592 w 5365133"/>
              <a:gd name="connsiteY2030" fmla="*/ 1859557 h 4367670"/>
              <a:gd name="connsiteX2031" fmla="*/ 5130960 w 5365133"/>
              <a:gd name="connsiteY2031" fmla="*/ 1859802 h 4367670"/>
              <a:gd name="connsiteX2032" fmla="*/ 5126476 w 5365133"/>
              <a:gd name="connsiteY2032" fmla="*/ 1862784 h 4367670"/>
              <a:gd name="connsiteX2033" fmla="*/ 5121432 w 5365133"/>
              <a:gd name="connsiteY2033" fmla="*/ 1851881 h 4367670"/>
              <a:gd name="connsiteX2034" fmla="*/ 5129466 w 5365133"/>
              <a:gd name="connsiteY2034" fmla="*/ 1853092 h 4367670"/>
              <a:gd name="connsiteX2035" fmla="*/ 5133014 w 5365133"/>
              <a:gd name="connsiteY2035" fmla="*/ 1857659 h 4367670"/>
              <a:gd name="connsiteX2036" fmla="*/ 5130592 w 5365133"/>
              <a:gd name="connsiteY2036" fmla="*/ 1859557 h 4367670"/>
              <a:gd name="connsiteX2037" fmla="*/ 5126476 w 5365133"/>
              <a:gd name="connsiteY2037" fmla="*/ 1856820 h 4367670"/>
              <a:gd name="connsiteX2038" fmla="*/ 5096586 w 5365133"/>
              <a:gd name="connsiteY2038" fmla="*/ 1868747 h 4367670"/>
              <a:gd name="connsiteX2039" fmla="*/ 5060717 w 5365133"/>
              <a:gd name="connsiteY2039" fmla="*/ 1880676 h 4367670"/>
              <a:gd name="connsiteX2040" fmla="*/ 5042783 w 5365133"/>
              <a:gd name="connsiteY2040" fmla="*/ 1877964 h 4367670"/>
              <a:gd name="connsiteX2041" fmla="*/ 5060717 w 5365133"/>
              <a:gd name="connsiteY2041" fmla="*/ 1874713 h 4367670"/>
              <a:gd name="connsiteX2042" fmla="*/ 5114520 w 5365133"/>
              <a:gd name="connsiteY2042" fmla="*/ 1856820 h 4367670"/>
              <a:gd name="connsiteX2043" fmla="*/ 5121432 w 5365133"/>
              <a:gd name="connsiteY2043" fmla="*/ 1851881 h 4367670"/>
              <a:gd name="connsiteX2044" fmla="*/ 5149806 w 5365133"/>
              <a:gd name="connsiteY2044" fmla="*/ 1851151 h 4367670"/>
              <a:gd name="connsiteX2045" fmla="*/ 5210169 w 5365133"/>
              <a:gd name="connsiteY2045" fmla="*/ 1857131 h 4367670"/>
              <a:gd name="connsiteX2046" fmla="*/ 5173952 w 5365133"/>
              <a:gd name="connsiteY2046" fmla="*/ 1863109 h 4367670"/>
              <a:gd name="connsiteX2047" fmla="*/ 5119625 w 5365133"/>
              <a:gd name="connsiteY2047" fmla="*/ 1887023 h 4367670"/>
              <a:gd name="connsiteX2048" fmla="*/ 5041151 w 5365133"/>
              <a:gd name="connsiteY2048" fmla="*/ 1916917 h 4367670"/>
              <a:gd name="connsiteX2049" fmla="*/ 5041151 w 5365133"/>
              <a:gd name="connsiteY2049" fmla="*/ 1910939 h 4367670"/>
              <a:gd name="connsiteX2050" fmla="*/ 5059261 w 5365133"/>
              <a:gd name="connsiteY2050" fmla="*/ 1904959 h 4367670"/>
              <a:gd name="connsiteX2051" fmla="*/ 5167916 w 5365133"/>
              <a:gd name="connsiteY2051" fmla="*/ 1863109 h 4367670"/>
              <a:gd name="connsiteX2052" fmla="*/ 5137733 w 5365133"/>
              <a:gd name="connsiteY2052" fmla="*/ 1863109 h 4367670"/>
              <a:gd name="connsiteX2053" fmla="*/ 5149806 w 5365133"/>
              <a:gd name="connsiteY2053" fmla="*/ 1851151 h 4367670"/>
              <a:gd name="connsiteX2054" fmla="*/ 4808404 w 5365133"/>
              <a:gd name="connsiteY2054" fmla="*/ 1850912 h 4367670"/>
              <a:gd name="connsiteX2055" fmla="*/ 4819884 w 5365133"/>
              <a:gd name="connsiteY2055" fmla="*/ 1850912 h 4367670"/>
              <a:gd name="connsiteX2056" fmla="*/ 4808404 w 5365133"/>
              <a:gd name="connsiteY2056" fmla="*/ 1850912 h 4367670"/>
              <a:gd name="connsiteX2057" fmla="*/ 4441934 w 5365133"/>
              <a:gd name="connsiteY2057" fmla="*/ 1840902 h 4367670"/>
              <a:gd name="connsiteX2058" fmla="*/ 4400212 w 5365133"/>
              <a:gd name="connsiteY2058" fmla="*/ 1852381 h 4367670"/>
              <a:gd name="connsiteX2059" fmla="*/ 4370411 w 5365133"/>
              <a:gd name="connsiteY2059" fmla="*/ 1869600 h 4367670"/>
              <a:gd name="connsiteX2060" fmla="*/ 4370411 w 5365133"/>
              <a:gd name="connsiteY2060" fmla="*/ 1858120 h 4367670"/>
              <a:gd name="connsiteX2061" fmla="*/ 4388292 w 5365133"/>
              <a:gd name="connsiteY2061" fmla="*/ 1852381 h 4367670"/>
              <a:gd name="connsiteX2062" fmla="*/ 4388292 w 5365133"/>
              <a:gd name="connsiteY2062" fmla="*/ 1858120 h 4367670"/>
              <a:gd name="connsiteX2063" fmla="*/ 4406172 w 5365133"/>
              <a:gd name="connsiteY2063" fmla="*/ 1846642 h 4367670"/>
              <a:gd name="connsiteX2064" fmla="*/ 4441934 w 5365133"/>
              <a:gd name="connsiteY2064" fmla="*/ 1840902 h 4367670"/>
              <a:gd name="connsiteX2065" fmla="*/ 4312439 w 5365133"/>
              <a:gd name="connsiteY2065" fmla="*/ 1837344 h 4367670"/>
              <a:gd name="connsiteX2066" fmla="*/ 4301510 w 5365133"/>
              <a:gd name="connsiteY2066" fmla="*/ 1844892 h 4367670"/>
              <a:gd name="connsiteX2067" fmla="*/ 4307488 w 5365133"/>
              <a:gd name="connsiteY2067" fmla="*/ 1844892 h 4367670"/>
              <a:gd name="connsiteX2068" fmla="*/ 4301510 w 5365133"/>
              <a:gd name="connsiteY2068" fmla="*/ 1856820 h 4367670"/>
              <a:gd name="connsiteX2069" fmla="*/ 4289554 w 5365133"/>
              <a:gd name="connsiteY2069" fmla="*/ 1850856 h 4367670"/>
              <a:gd name="connsiteX2070" fmla="*/ 4295532 w 5365133"/>
              <a:gd name="connsiteY2070" fmla="*/ 1856820 h 4367670"/>
              <a:gd name="connsiteX2071" fmla="*/ 4292170 w 5365133"/>
              <a:gd name="connsiteY2071" fmla="*/ 1862690 h 4367670"/>
              <a:gd name="connsiteX2072" fmla="*/ 4294988 w 5365133"/>
              <a:gd name="connsiteY2072" fmla="*/ 1867766 h 4367670"/>
              <a:gd name="connsiteX2073" fmla="*/ 4327541 w 5365133"/>
              <a:gd name="connsiteY2073" fmla="*/ 1854641 h 4367670"/>
              <a:gd name="connsiteX2074" fmla="*/ 4337199 w 5365133"/>
              <a:gd name="connsiteY2074" fmla="*/ 1851520 h 4367670"/>
              <a:gd name="connsiteX2075" fmla="*/ 4349335 w 5365133"/>
              <a:gd name="connsiteY2075" fmla="*/ 1838927 h 4367670"/>
              <a:gd name="connsiteX2076" fmla="*/ 4313467 w 5365133"/>
              <a:gd name="connsiteY2076" fmla="*/ 1856820 h 4367670"/>
              <a:gd name="connsiteX2077" fmla="*/ 4313467 w 5365133"/>
              <a:gd name="connsiteY2077" fmla="*/ 1838927 h 4367670"/>
              <a:gd name="connsiteX2078" fmla="*/ 4312439 w 5365133"/>
              <a:gd name="connsiteY2078" fmla="*/ 1837344 h 4367670"/>
              <a:gd name="connsiteX2079" fmla="*/ 4459151 w 5365133"/>
              <a:gd name="connsiteY2079" fmla="*/ 1829725 h 4367670"/>
              <a:gd name="connsiteX2080" fmla="*/ 4459151 w 5365133"/>
              <a:gd name="connsiteY2080" fmla="*/ 1840902 h 4367670"/>
              <a:gd name="connsiteX2081" fmla="*/ 4441933 w 5365133"/>
              <a:gd name="connsiteY2081" fmla="*/ 1835163 h 4367670"/>
              <a:gd name="connsiteX2082" fmla="*/ 4451261 w 5365133"/>
              <a:gd name="connsiteY2082" fmla="*/ 1830141 h 4367670"/>
              <a:gd name="connsiteX2083" fmla="*/ 4459151 w 5365133"/>
              <a:gd name="connsiteY2083" fmla="*/ 1829423 h 4367670"/>
              <a:gd name="connsiteX2084" fmla="*/ 4464890 w 5365133"/>
              <a:gd name="connsiteY2084" fmla="*/ 1829423 h 4367670"/>
              <a:gd name="connsiteX2085" fmla="*/ 4459151 w 5365133"/>
              <a:gd name="connsiteY2085" fmla="*/ 1829725 h 4367670"/>
              <a:gd name="connsiteX2086" fmla="*/ 4506799 w 5365133"/>
              <a:gd name="connsiteY2086" fmla="*/ 1817256 h 4367670"/>
              <a:gd name="connsiteX2087" fmla="*/ 4506799 w 5365133"/>
              <a:gd name="connsiteY2087" fmla="*/ 1823225 h 4367670"/>
              <a:gd name="connsiteX2088" fmla="*/ 4476865 w 5365133"/>
              <a:gd name="connsiteY2088" fmla="*/ 1835163 h 4367670"/>
              <a:gd name="connsiteX2089" fmla="*/ 4476865 w 5365133"/>
              <a:gd name="connsiteY2089" fmla="*/ 1823225 h 4367670"/>
              <a:gd name="connsiteX2090" fmla="*/ 4506799 w 5365133"/>
              <a:gd name="connsiteY2090" fmla="*/ 1817256 h 4367670"/>
              <a:gd name="connsiteX2091" fmla="*/ 4432534 w 5365133"/>
              <a:gd name="connsiteY2091" fmla="*/ 1816757 h 4367670"/>
              <a:gd name="connsiteX2092" fmla="*/ 4427768 w 5365133"/>
              <a:gd name="connsiteY2092" fmla="*/ 1822248 h 4367670"/>
              <a:gd name="connsiteX2093" fmla="*/ 4398559 w 5365133"/>
              <a:gd name="connsiteY2093" fmla="*/ 1831689 h 4367670"/>
              <a:gd name="connsiteX2094" fmla="*/ 4225938 w 5365133"/>
              <a:gd name="connsiteY2094" fmla="*/ 1799854 h 4367670"/>
              <a:gd name="connsiteX2095" fmla="*/ 4218546 w 5365133"/>
              <a:gd name="connsiteY2095" fmla="*/ 1802615 h 4367670"/>
              <a:gd name="connsiteX2096" fmla="*/ 4217719 w 5365133"/>
              <a:gd name="connsiteY2096" fmla="*/ 1803044 h 4367670"/>
              <a:gd name="connsiteX2097" fmla="*/ 4223797 w 5365133"/>
              <a:gd name="connsiteY2097" fmla="*/ 1809107 h 4367670"/>
              <a:gd name="connsiteX2098" fmla="*/ 4985851 w 5365133"/>
              <a:gd name="connsiteY2098" fmla="*/ 1794976 h 4367670"/>
              <a:gd name="connsiteX2099" fmla="*/ 4969630 w 5365133"/>
              <a:gd name="connsiteY2099" fmla="*/ 1803402 h 4367670"/>
              <a:gd name="connsiteX2100" fmla="*/ 4891626 w 5365133"/>
              <a:gd name="connsiteY2100" fmla="*/ 1833694 h 4367670"/>
              <a:gd name="connsiteX2101" fmla="*/ 4927628 w 5365133"/>
              <a:gd name="connsiteY2101" fmla="*/ 1809460 h 4367670"/>
              <a:gd name="connsiteX2102" fmla="*/ 4985851 w 5365133"/>
              <a:gd name="connsiteY2102" fmla="*/ 1794976 h 4367670"/>
              <a:gd name="connsiteX2103" fmla="*/ 4493588 w 5365133"/>
              <a:gd name="connsiteY2103" fmla="*/ 1792116 h 4367670"/>
              <a:gd name="connsiteX2104" fmla="*/ 4433751 w 5365133"/>
              <a:gd name="connsiteY2104" fmla="*/ 1816222 h 4367670"/>
              <a:gd name="connsiteX2105" fmla="*/ 4432534 w 5365133"/>
              <a:gd name="connsiteY2105" fmla="*/ 1816757 h 4367670"/>
              <a:gd name="connsiteX2106" fmla="*/ 4441418 w 5365133"/>
              <a:gd name="connsiteY2106" fmla="*/ 1806523 h 4367670"/>
              <a:gd name="connsiteX2107" fmla="*/ 4449926 w 5365133"/>
              <a:gd name="connsiteY2107" fmla="*/ 1803442 h 4367670"/>
              <a:gd name="connsiteX2108" fmla="*/ 4449058 w 5365133"/>
              <a:gd name="connsiteY2108" fmla="*/ 1803291 h 4367670"/>
              <a:gd name="connsiteX2109" fmla="*/ 4443947 w 5365133"/>
              <a:gd name="connsiteY2109" fmla="*/ 1804995 h 4367670"/>
              <a:gd name="connsiteX2110" fmla="*/ 4450404 w 5365133"/>
              <a:gd name="connsiteY2110" fmla="*/ 1797820 h 4367670"/>
              <a:gd name="connsiteX2111" fmla="*/ 4461165 w 5365133"/>
              <a:gd name="connsiteY2111" fmla="*/ 1799255 h 4367670"/>
              <a:gd name="connsiteX2112" fmla="*/ 4460659 w 5365133"/>
              <a:gd name="connsiteY2112" fmla="*/ 1800580 h 4367670"/>
              <a:gd name="connsiteX2113" fmla="*/ 4470658 w 5365133"/>
              <a:gd name="connsiteY2113" fmla="*/ 1799001 h 4367670"/>
              <a:gd name="connsiteX2114" fmla="*/ 4493588 w 5365133"/>
              <a:gd name="connsiteY2114" fmla="*/ 1792116 h 4367670"/>
              <a:gd name="connsiteX2115" fmla="*/ 4189937 w 5365133"/>
              <a:gd name="connsiteY2115" fmla="*/ 1779853 h 4367670"/>
              <a:gd name="connsiteX2116" fmla="*/ 4188676 w 5365133"/>
              <a:gd name="connsiteY2116" fmla="*/ 1780033 h 4367670"/>
              <a:gd name="connsiteX2117" fmla="*/ 4188639 w 5365133"/>
              <a:gd name="connsiteY2117" fmla="*/ 1780288 h 4367670"/>
              <a:gd name="connsiteX2118" fmla="*/ 4265642 w 5365133"/>
              <a:gd name="connsiteY2118" fmla="*/ 1776468 h 4367670"/>
              <a:gd name="connsiteX2119" fmla="*/ 4265642 w 5365133"/>
              <a:gd name="connsiteY2119" fmla="*/ 1779287 h 4367670"/>
              <a:gd name="connsiteX2120" fmla="*/ 4259114 w 5365133"/>
              <a:gd name="connsiteY2120" fmla="*/ 1785801 h 4367670"/>
              <a:gd name="connsiteX2121" fmla="*/ 4259506 w 5365133"/>
              <a:gd name="connsiteY2121" fmla="*/ 1787847 h 4367670"/>
              <a:gd name="connsiteX2122" fmla="*/ 4256172 w 5365133"/>
              <a:gd name="connsiteY2122" fmla="*/ 1788736 h 4367670"/>
              <a:gd name="connsiteX2123" fmla="*/ 4253898 w 5365133"/>
              <a:gd name="connsiteY2123" fmla="*/ 1791005 h 4367670"/>
              <a:gd name="connsiteX2124" fmla="*/ 4253758 w 5365133"/>
              <a:gd name="connsiteY2124" fmla="*/ 1791271 h 4367670"/>
              <a:gd name="connsiteX2125" fmla="*/ 4260412 w 5365133"/>
              <a:gd name="connsiteY2125" fmla="*/ 1796434 h 4367670"/>
              <a:gd name="connsiteX2126" fmla="*/ 4271620 w 5365133"/>
              <a:gd name="connsiteY2126" fmla="*/ 1797180 h 4367670"/>
              <a:gd name="connsiteX2127" fmla="*/ 4276103 w 5365133"/>
              <a:gd name="connsiteY2127" fmla="*/ 1783015 h 4367670"/>
              <a:gd name="connsiteX2128" fmla="*/ 4273897 w 5365133"/>
              <a:gd name="connsiteY2128" fmla="*/ 1778244 h 4367670"/>
              <a:gd name="connsiteX2129" fmla="*/ 4270984 w 5365133"/>
              <a:gd name="connsiteY2129" fmla="*/ 1782108 h 4367670"/>
              <a:gd name="connsiteX2130" fmla="*/ 4268114 w 5365133"/>
              <a:gd name="connsiteY2130" fmla="*/ 1777086 h 4367670"/>
              <a:gd name="connsiteX2131" fmla="*/ 4285934 w 5365133"/>
              <a:gd name="connsiteY2131" fmla="*/ 1772736 h 4367670"/>
              <a:gd name="connsiteX2132" fmla="*/ 4283946 w 5365133"/>
              <a:gd name="connsiteY2132" fmla="*/ 1773259 h 4367670"/>
              <a:gd name="connsiteX2133" fmla="*/ 4284324 w 5365133"/>
              <a:gd name="connsiteY2133" fmla="*/ 1779288 h 4367670"/>
              <a:gd name="connsiteX2134" fmla="*/ 4289554 w 5365133"/>
              <a:gd name="connsiteY2134" fmla="*/ 1791216 h 4367670"/>
              <a:gd name="connsiteX2135" fmla="*/ 4288807 w 5365133"/>
              <a:gd name="connsiteY2135" fmla="*/ 1779288 h 4367670"/>
              <a:gd name="connsiteX2136" fmla="*/ 4515785 w 5365133"/>
              <a:gd name="connsiteY2136" fmla="*/ 1758041 h 4367670"/>
              <a:gd name="connsiteX2137" fmla="*/ 4515899 w 5365133"/>
              <a:gd name="connsiteY2137" fmla="*/ 1758453 h 4367670"/>
              <a:gd name="connsiteX2138" fmla="*/ 4515351 w 5365133"/>
              <a:gd name="connsiteY2138" fmla="*/ 1758749 h 4367670"/>
              <a:gd name="connsiteX2139" fmla="*/ 4529702 w 5365133"/>
              <a:gd name="connsiteY2139" fmla="*/ 1754873 h 4367670"/>
              <a:gd name="connsiteX2140" fmla="*/ 4540630 w 5365133"/>
              <a:gd name="connsiteY2140" fmla="*/ 1761396 h 4367670"/>
              <a:gd name="connsiteX2141" fmla="*/ 4516719 w 5365133"/>
              <a:gd name="connsiteY2141" fmla="*/ 1767360 h 4367670"/>
              <a:gd name="connsiteX2142" fmla="*/ 4516719 w 5365133"/>
              <a:gd name="connsiteY2142" fmla="*/ 1761396 h 4367670"/>
              <a:gd name="connsiteX2143" fmla="*/ 4515899 w 5365133"/>
              <a:gd name="connsiteY2143" fmla="*/ 1758453 h 4367670"/>
              <a:gd name="connsiteX2144" fmla="*/ 4515972 w 5365133"/>
              <a:gd name="connsiteY2144" fmla="*/ 1758414 h 4367670"/>
              <a:gd name="connsiteX2145" fmla="*/ 4529702 w 5365133"/>
              <a:gd name="connsiteY2145" fmla="*/ 1754873 h 4367670"/>
              <a:gd name="connsiteX2146" fmla="*/ 4331191 w 5365133"/>
              <a:gd name="connsiteY2146" fmla="*/ 1753449 h 4367670"/>
              <a:gd name="connsiteX2147" fmla="*/ 4328159 w 5365133"/>
              <a:gd name="connsiteY2147" fmla="*/ 1755431 h 4367670"/>
              <a:gd name="connsiteX2148" fmla="*/ 4331401 w 5365133"/>
              <a:gd name="connsiteY2148" fmla="*/ 1755431 h 4367670"/>
              <a:gd name="connsiteX2149" fmla="*/ 4452893 w 5365133"/>
              <a:gd name="connsiteY2149" fmla="*/ 1751577 h 4367670"/>
              <a:gd name="connsiteX2150" fmla="*/ 4449825 w 5365133"/>
              <a:gd name="connsiteY2150" fmla="*/ 1753163 h 4367670"/>
              <a:gd name="connsiteX2151" fmla="*/ 4450961 w 5365133"/>
              <a:gd name="connsiteY2151" fmla="*/ 1755431 h 4367670"/>
              <a:gd name="connsiteX2152" fmla="*/ 4275565 w 5365133"/>
              <a:gd name="connsiteY2152" fmla="*/ 1748911 h 4367670"/>
              <a:gd name="connsiteX2153" fmla="*/ 4272488 w 5365133"/>
              <a:gd name="connsiteY2153" fmla="*/ 1752199 h 4367670"/>
              <a:gd name="connsiteX2154" fmla="*/ 4236090 w 5365133"/>
              <a:gd name="connsiteY2154" fmla="*/ 1764392 h 4367670"/>
              <a:gd name="connsiteX2155" fmla="*/ 4241105 w 5365133"/>
              <a:gd name="connsiteY2155" fmla="*/ 1761890 h 4367670"/>
              <a:gd name="connsiteX2156" fmla="*/ 4527647 w 5365133"/>
              <a:gd name="connsiteY2156" fmla="*/ 1740149 h 4367670"/>
              <a:gd name="connsiteX2157" fmla="*/ 4528674 w 5365133"/>
              <a:gd name="connsiteY2157" fmla="*/ 1743504 h 4367670"/>
              <a:gd name="connsiteX2158" fmla="*/ 4510742 w 5365133"/>
              <a:gd name="connsiteY2158" fmla="*/ 1749468 h 4367670"/>
              <a:gd name="connsiteX2159" fmla="*/ 4516719 w 5365133"/>
              <a:gd name="connsiteY2159" fmla="*/ 1743504 h 4367670"/>
              <a:gd name="connsiteX2160" fmla="*/ 4524938 w 5365133"/>
              <a:gd name="connsiteY2160" fmla="*/ 1743504 h 4367670"/>
              <a:gd name="connsiteX2161" fmla="*/ 4527647 w 5365133"/>
              <a:gd name="connsiteY2161" fmla="*/ 1740149 h 4367670"/>
              <a:gd name="connsiteX2162" fmla="*/ 4735961 w 5365133"/>
              <a:gd name="connsiteY2162" fmla="*/ 1717085 h 4367670"/>
              <a:gd name="connsiteX2163" fmla="*/ 4715592 w 5365133"/>
              <a:gd name="connsiteY2163" fmla="*/ 1731451 h 4367670"/>
              <a:gd name="connsiteX2164" fmla="*/ 4680418 w 5365133"/>
              <a:gd name="connsiteY2164" fmla="*/ 1739658 h 4367670"/>
              <a:gd name="connsiteX2165" fmla="*/ 4708106 w 5365133"/>
              <a:gd name="connsiteY2165" fmla="*/ 1725482 h 4367670"/>
              <a:gd name="connsiteX2166" fmla="*/ 4740287 w 5365133"/>
              <a:gd name="connsiteY2166" fmla="*/ 1715782 h 4367670"/>
              <a:gd name="connsiteX2167" fmla="*/ 4735961 w 5365133"/>
              <a:gd name="connsiteY2167" fmla="*/ 1717085 h 4367670"/>
              <a:gd name="connsiteX2168" fmla="*/ 4736769 w 5365133"/>
              <a:gd name="connsiteY2168" fmla="*/ 1716516 h 4367670"/>
              <a:gd name="connsiteX2169" fmla="*/ 4348615 w 5365133"/>
              <a:gd name="connsiteY2169" fmla="*/ 1713340 h 4367670"/>
              <a:gd name="connsiteX2170" fmla="*/ 4362159 w 5365133"/>
              <a:gd name="connsiteY2170" fmla="*/ 1716416 h 4367670"/>
              <a:gd name="connsiteX2171" fmla="*/ 4314335 w 5365133"/>
              <a:gd name="connsiteY2171" fmla="*/ 1734306 h 4367670"/>
              <a:gd name="connsiteX2172" fmla="*/ 4275565 w 5365133"/>
              <a:gd name="connsiteY2172" fmla="*/ 1748911 h 4367670"/>
              <a:gd name="connsiteX2173" fmla="*/ 4282950 w 5365133"/>
              <a:gd name="connsiteY2173" fmla="*/ 1741016 h 4367670"/>
              <a:gd name="connsiteX2174" fmla="*/ 4302379 w 5365133"/>
              <a:gd name="connsiteY2174" fmla="*/ 1734306 h 4367670"/>
              <a:gd name="connsiteX2175" fmla="*/ 4348615 w 5365133"/>
              <a:gd name="connsiteY2175" fmla="*/ 1713340 h 4367670"/>
              <a:gd name="connsiteX2176" fmla="*/ 4582477 w 5365133"/>
              <a:gd name="connsiteY2176" fmla="*/ 1707720 h 4367670"/>
              <a:gd name="connsiteX2177" fmla="*/ 4579363 w 5365133"/>
              <a:gd name="connsiteY2177" fmla="*/ 1708684 h 4367670"/>
              <a:gd name="connsiteX2178" fmla="*/ 4579488 w 5365133"/>
              <a:gd name="connsiteY2178" fmla="*/ 1708465 h 4367670"/>
              <a:gd name="connsiteX2179" fmla="*/ 4582477 w 5365133"/>
              <a:gd name="connsiteY2179" fmla="*/ 1707720 h 4367670"/>
              <a:gd name="connsiteX2180" fmla="*/ 4432468 w 5365133"/>
              <a:gd name="connsiteY2180" fmla="*/ 1701684 h 4367670"/>
              <a:gd name="connsiteX2181" fmla="*/ 4432468 w 5365133"/>
              <a:gd name="connsiteY2181" fmla="*/ 1714599 h 4367670"/>
              <a:gd name="connsiteX2182" fmla="*/ 4415250 w 5365133"/>
              <a:gd name="connsiteY2182" fmla="*/ 1727513 h 4367670"/>
              <a:gd name="connsiteX2183" fmla="*/ 4432468 w 5365133"/>
              <a:gd name="connsiteY2183" fmla="*/ 1701684 h 4367670"/>
              <a:gd name="connsiteX2184" fmla="*/ 4349128 w 5365133"/>
              <a:gd name="connsiteY2184" fmla="*/ 1696638 h 4367670"/>
              <a:gd name="connsiteX2185" fmla="*/ 4344775 w 5365133"/>
              <a:gd name="connsiteY2185" fmla="*/ 1698790 h 4367670"/>
              <a:gd name="connsiteX2186" fmla="*/ 4342204 w 5365133"/>
              <a:gd name="connsiteY2186" fmla="*/ 1697094 h 4367670"/>
              <a:gd name="connsiteX2187" fmla="*/ 4550128 w 5365133"/>
              <a:gd name="connsiteY2187" fmla="*/ 1695945 h 4367670"/>
              <a:gd name="connsiteX2188" fmla="*/ 4521431 w 5365133"/>
              <a:gd name="connsiteY2188" fmla="*/ 1716034 h 4367670"/>
              <a:gd name="connsiteX2189" fmla="*/ 4527170 w 5365133"/>
              <a:gd name="connsiteY2189" fmla="*/ 1702640 h 4367670"/>
              <a:gd name="connsiteX2190" fmla="*/ 4550128 w 5365133"/>
              <a:gd name="connsiteY2190" fmla="*/ 1695945 h 4367670"/>
              <a:gd name="connsiteX2191" fmla="*/ 4455426 w 5365133"/>
              <a:gd name="connsiteY2191" fmla="*/ 1695945 h 4367670"/>
              <a:gd name="connsiteX2192" fmla="*/ 4443947 w 5365133"/>
              <a:gd name="connsiteY2192" fmla="*/ 1716034 h 4367670"/>
              <a:gd name="connsiteX2193" fmla="*/ 4438208 w 5365133"/>
              <a:gd name="connsiteY2193" fmla="*/ 1702640 h 4367670"/>
              <a:gd name="connsiteX2194" fmla="*/ 4455426 w 5365133"/>
              <a:gd name="connsiteY2194" fmla="*/ 1695945 h 4367670"/>
              <a:gd name="connsiteX2195" fmla="*/ 4630302 w 5365133"/>
              <a:gd name="connsiteY2195" fmla="*/ 1695791 h 4367670"/>
              <a:gd name="connsiteX2196" fmla="*/ 4632294 w 5365133"/>
              <a:gd name="connsiteY2196" fmla="*/ 1696288 h 4367670"/>
              <a:gd name="connsiteX2197" fmla="*/ 4630302 w 5365133"/>
              <a:gd name="connsiteY2197" fmla="*/ 1696749 h 4367670"/>
              <a:gd name="connsiteX2198" fmla="*/ 4360205 w 5365133"/>
              <a:gd name="connsiteY2198" fmla="*/ 1691164 h 4367670"/>
              <a:gd name="connsiteX2199" fmla="*/ 4353454 w 5365133"/>
              <a:gd name="connsiteY2199" fmla="*/ 1696353 h 4367670"/>
              <a:gd name="connsiteX2200" fmla="*/ 4349128 w 5365133"/>
              <a:gd name="connsiteY2200" fmla="*/ 1696638 h 4367670"/>
              <a:gd name="connsiteX2201" fmla="*/ 4558739 w 5365133"/>
              <a:gd name="connsiteY2201" fmla="*/ 1690207 h 4367670"/>
              <a:gd name="connsiteX2202" fmla="*/ 4564478 w 5365133"/>
              <a:gd name="connsiteY2202" fmla="*/ 1695946 h 4367670"/>
              <a:gd name="connsiteX2203" fmla="*/ 4558739 w 5365133"/>
              <a:gd name="connsiteY2203" fmla="*/ 1690207 h 4367670"/>
              <a:gd name="connsiteX2204" fmla="*/ 4812129 w 5365133"/>
              <a:gd name="connsiteY2204" fmla="*/ 1685936 h 4367670"/>
              <a:gd name="connsiteX2205" fmla="*/ 4752261 w 5365133"/>
              <a:gd name="connsiteY2205" fmla="*/ 1715782 h 4367670"/>
              <a:gd name="connsiteX2206" fmla="*/ 4746274 w 5365133"/>
              <a:gd name="connsiteY2206" fmla="*/ 1709813 h 4367670"/>
              <a:gd name="connsiteX2207" fmla="*/ 4736769 w 5365133"/>
              <a:gd name="connsiteY2207" fmla="*/ 1716516 h 4367670"/>
              <a:gd name="connsiteX2208" fmla="*/ 4708106 w 5365133"/>
              <a:gd name="connsiteY2208" fmla="*/ 1722498 h 4367670"/>
              <a:gd name="connsiteX2209" fmla="*/ 4680418 w 5365133"/>
              <a:gd name="connsiteY2209" fmla="*/ 1733689 h 4367670"/>
              <a:gd name="connsiteX2210" fmla="*/ 4650484 w 5365133"/>
              <a:gd name="connsiteY2210" fmla="*/ 1757565 h 4367670"/>
              <a:gd name="connsiteX2211" fmla="*/ 4650484 w 5365133"/>
              <a:gd name="connsiteY2211" fmla="*/ 1751596 h 4367670"/>
              <a:gd name="connsiteX2212" fmla="*/ 4506799 w 5365133"/>
              <a:gd name="connsiteY2212" fmla="*/ 1811287 h 4367670"/>
              <a:gd name="connsiteX2213" fmla="*/ 4506799 w 5365133"/>
              <a:gd name="connsiteY2213" fmla="*/ 1817256 h 4367670"/>
              <a:gd name="connsiteX2214" fmla="*/ 4500812 w 5365133"/>
              <a:gd name="connsiteY2214" fmla="*/ 1811287 h 4367670"/>
              <a:gd name="connsiteX2215" fmla="*/ 4590614 w 5365133"/>
              <a:gd name="connsiteY2215" fmla="*/ 1781441 h 4367670"/>
              <a:gd name="connsiteX2216" fmla="*/ 4590614 w 5365133"/>
              <a:gd name="connsiteY2216" fmla="*/ 1769503 h 4367670"/>
              <a:gd name="connsiteX2217" fmla="*/ 4596602 w 5365133"/>
              <a:gd name="connsiteY2217" fmla="*/ 1775472 h 4367670"/>
              <a:gd name="connsiteX2218" fmla="*/ 4668446 w 5365133"/>
              <a:gd name="connsiteY2218" fmla="*/ 1739658 h 4367670"/>
              <a:gd name="connsiteX2219" fmla="*/ 4602589 w 5365133"/>
              <a:gd name="connsiteY2219" fmla="*/ 1757565 h 4367670"/>
              <a:gd name="connsiteX2220" fmla="*/ 4602589 w 5365133"/>
              <a:gd name="connsiteY2220" fmla="*/ 1763534 h 4367670"/>
              <a:gd name="connsiteX2221" fmla="*/ 4494826 w 5365133"/>
              <a:gd name="connsiteY2221" fmla="*/ 1793379 h 4367670"/>
              <a:gd name="connsiteX2222" fmla="*/ 4812129 w 5365133"/>
              <a:gd name="connsiteY2222" fmla="*/ 1685936 h 4367670"/>
              <a:gd name="connsiteX2223" fmla="*/ 4527170 w 5365133"/>
              <a:gd name="connsiteY2223" fmla="*/ 1684467 h 4367670"/>
              <a:gd name="connsiteX2224" fmla="*/ 4504213 w 5365133"/>
              <a:gd name="connsiteY2224" fmla="*/ 1695946 h 4367670"/>
              <a:gd name="connsiteX2225" fmla="*/ 4527170 w 5365133"/>
              <a:gd name="connsiteY2225" fmla="*/ 1684467 h 4367670"/>
              <a:gd name="connsiteX2226" fmla="*/ 4451225 w 5365133"/>
              <a:gd name="connsiteY2226" fmla="*/ 1682148 h 4367670"/>
              <a:gd name="connsiteX2227" fmla="*/ 4450498 w 5365133"/>
              <a:gd name="connsiteY2227" fmla="*/ 1682406 h 4367670"/>
              <a:gd name="connsiteX2228" fmla="*/ 4449688 w 5365133"/>
              <a:gd name="connsiteY2228" fmla="*/ 1684467 h 4367670"/>
              <a:gd name="connsiteX2229" fmla="*/ 4446819 w 5365133"/>
              <a:gd name="connsiteY2229" fmla="*/ 1683750 h 4367670"/>
              <a:gd name="connsiteX2230" fmla="*/ 4446799 w 5365133"/>
              <a:gd name="connsiteY2230" fmla="*/ 1683715 h 4367670"/>
              <a:gd name="connsiteX2231" fmla="*/ 4441142 w 5365133"/>
              <a:gd name="connsiteY2231" fmla="*/ 1685719 h 4367670"/>
              <a:gd name="connsiteX2232" fmla="*/ 4440073 w 5365133"/>
              <a:gd name="connsiteY2232" fmla="*/ 1691552 h 4367670"/>
              <a:gd name="connsiteX2233" fmla="*/ 4448729 w 5365133"/>
              <a:gd name="connsiteY2233" fmla="*/ 1686330 h 4367670"/>
              <a:gd name="connsiteX2234" fmla="*/ 4451360 w 5365133"/>
              <a:gd name="connsiteY2234" fmla="*/ 1681921 h 4367670"/>
              <a:gd name="connsiteX2235" fmla="*/ 4450675 w 5365133"/>
              <a:gd name="connsiteY2235" fmla="*/ 1681956 h 4367670"/>
              <a:gd name="connsiteX2236" fmla="*/ 4450638 w 5365133"/>
              <a:gd name="connsiteY2236" fmla="*/ 1682053 h 4367670"/>
              <a:gd name="connsiteX2237" fmla="*/ 4451317 w 5365133"/>
              <a:gd name="connsiteY2237" fmla="*/ 1681993 h 4367670"/>
              <a:gd name="connsiteX2238" fmla="*/ 4673528 w 5365133"/>
              <a:gd name="connsiteY2238" fmla="*/ 1680879 h 4367670"/>
              <a:gd name="connsiteX2239" fmla="*/ 4687876 w 5365133"/>
              <a:gd name="connsiteY2239" fmla="*/ 1684466 h 4367670"/>
              <a:gd name="connsiteX2240" fmla="*/ 4664918 w 5365133"/>
              <a:gd name="connsiteY2240" fmla="*/ 1695945 h 4367670"/>
              <a:gd name="connsiteX2241" fmla="*/ 4659646 w 5365133"/>
              <a:gd name="connsiteY2241" fmla="*/ 1690673 h 4367670"/>
              <a:gd name="connsiteX2242" fmla="*/ 4653466 w 5365133"/>
              <a:gd name="connsiteY2242" fmla="*/ 1700265 h 4367670"/>
              <a:gd name="connsiteX2243" fmla="*/ 4642257 w 5365133"/>
              <a:gd name="connsiteY2243" fmla="*/ 1701755 h 4367670"/>
              <a:gd name="connsiteX2244" fmla="*/ 4648234 w 5365133"/>
              <a:gd name="connsiteY2244" fmla="*/ 1695791 h 4367670"/>
              <a:gd name="connsiteX2245" fmla="*/ 4639268 w 5365133"/>
              <a:gd name="connsiteY2245" fmla="*/ 1698027 h 4367670"/>
              <a:gd name="connsiteX2246" fmla="*/ 4632294 w 5365133"/>
              <a:gd name="connsiteY2246" fmla="*/ 1696288 h 4367670"/>
              <a:gd name="connsiteX2247" fmla="*/ 4659522 w 5365133"/>
              <a:gd name="connsiteY2247" fmla="*/ 1689983 h 4367670"/>
              <a:gd name="connsiteX2248" fmla="*/ 4492323 w 5365133"/>
              <a:gd name="connsiteY2248" fmla="*/ 1678727 h 4367670"/>
              <a:gd name="connsiteX2249" fmla="*/ 4498473 w 5365133"/>
              <a:gd name="connsiteY2249" fmla="*/ 1709018 h 4367670"/>
              <a:gd name="connsiteX2250" fmla="*/ 4455426 w 5365133"/>
              <a:gd name="connsiteY2250" fmla="*/ 1715078 h 4367670"/>
              <a:gd name="connsiteX2251" fmla="*/ 4486175 w 5365133"/>
              <a:gd name="connsiteY2251" fmla="*/ 1702961 h 4367670"/>
              <a:gd name="connsiteX2252" fmla="*/ 4486175 w 5365133"/>
              <a:gd name="connsiteY2252" fmla="*/ 1684784 h 4367670"/>
              <a:gd name="connsiteX2253" fmla="*/ 4492323 w 5365133"/>
              <a:gd name="connsiteY2253" fmla="*/ 1678727 h 4367670"/>
              <a:gd name="connsiteX2254" fmla="*/ 4602769 w 5365133"/>
              <a:gd name="connsiteY2254" fmla="*/ 1673973 h 4367670"/>
              <a:gd name="connsiteX2255" fmla="*/ 4604652 w 5365133"/>
              <a:gd name="connsiteY2255" fmla="*/ 1678727 h 4367670"/>
              <a:gd name="connsiteX2256" fmla="*/ 4587434 w 5365133"/>
              <a:gd name="connsiteY2256" fmla="*/ 1684466 h 4367670"/>
              <a:gd name="connsiteX2257" fmla="*/ 4598195 w 5365133"/>
              <a:gd name="connsiteY2257" fmla="*/ 1675140 h 4367670"/>
              <a:gd name="connsiteX2258" fmla="*/ 4602769 w 5365133"/>
              <a:gd name="connsiteY2258" fmla="*/ 1673973 h 4367670"/>
              <a:gd name="connsiteX2259" fmla="*/ 4504213 w 5365133"/>
              <a:gd name="connsiteY2259" fmla="*/ 1672987 h 4367670"/>
              <a:gd name="connsiteX2260" fmla="*/ 4504213 w 5365133"/>
              <a:gd name="connsiteY2260" fmla="*/ 1690205 h 4367670"/>
              <a:gd name="connsiteX2261" fmla="*/ 4498473 w 5365133"/>
              <a:gd name="connsiteY2261" fmla="*/ 1678727 h 4367670"/>
              <a:gd name="connsiteX2262" fmla="*/ 4504213 w 5365133"/>
              <a:gd name="connsiteY2262" fmla="*/ 1672987 h 4367670"/>
              <a:gd name="connsiteX2263" fmla="*/ 4713131 w 5365133"/>
              <a:gd name="connsiteY2263" fmla="*/ 1667247 h 4367670"/>
              <a:gd name="connsiteX2264" fmla="*/ 4700502 w 5365133"/>
              <a:gd name="connsiteY2264" fmla="*/ 1678727 h 4367670"/>
              <a:gd name="connsiteX2265" fmla="*/ 4687876 w 5365133"/>
              <a:gd name="connsiteY2265" fmla="*/ 1678727 h 4367670"/>
              <a:gd name="connsiteX2266" fmla="*/ 4713131 w 5365133"/>
              <a:gd name="connsiteY2266" fmla="*/ 1667247 h 4367670"/>
              <a:gd name="connsiteX2267" fmla="*/ 4461168 w 5365133"/>
              <a:gd name="connsiteY2267" fmla="*/ 1650031 h 4367670"/>
              <a:gd name="connsiteX2268" fmla="*/ 4461168 w 5365133"/>
              <a:gd name="connsiteY2268" fmla="*/ 1661509 h 4367670"/>
              <a:gd name="connsiteX2269" fmla="*/ 4449688 w 5365133"/>
              <a:gd name="connsiteY2269" fmla="*/ 1667249 h 4367670"/>
              <a:gd name="connsiteX2270" fmla="*/ 4455427 w 5365133"/>
              <a:gd name="connsiteY2270" fmla="*/ 1661509 h 4367670"/>
              <a:gd name="connsiteX2271" fmla="*/ 4443949 w 5365133"/>
              <a:gd name="connsiteY2271" fmla="*/ 1661509 h 4367670"/>
              <a:gd name="connsiteX2272" fmla="*/ 4461168 w 5365133"/>
              <a:gd name="connsiteY2272" fmla="*/ 1650031 h 4367670"/>
              <a:gd name="connsiteX2273" fmla="*/ 4466905 w 5365133"/>
              <a:gd name="connsiteY2273" fmla="*/ 1650029 h 4367670"/>
              <a:gd name="connsiteX2274" fmla="*/ 4472644 w 5365133"/>
              <a:gd name="connsiteY2274" fmla="*/ 1655769 h 4367670"/>
              <a:gd name="connsiteX2275" fmla="*/ 4466905 w 5365133"/>
              <a:gd name="connsiteY2275" fmla="*/ 1661508 h 4367670"/>
              <a:gd name="connsiteX2276" fmla="*/ 4466905 w 5365133"/>
              <a:gd name="connsiteY2276" fmla="*/ 1655769 h 4367670"/>
              <a:gd name="connsiteX2277" fmla="*/ 4466905 w 5365133"/>
              <a:gd name="connsiteY2277" fmla="*/ 1650029 h 4367670"/>
              <a:gd name="connsiteX2278" fmla="*/ 4472644 w 5365133"/>
              <a:gd name="connsiteY2278" fmla="*/ 1644290 h 4367670"/>
              <a:gd name="connsiteX2279" fmla="*/ 4478383 w 5365133"/>
              <a:gd name="connsiteY2279" fmla="*/ 1650029 h 4367670"/>
              <a:gd name="connsiteX2280" fmla="*/ 4472644 w 5365133"/>
              <a:gd name="connsiteY2280" fmla="*/ 1655769 h 4367670"/>
              <a:gd name="connsiteX2281" fmla="*/ 4472644 w 5365133"/>
              <a:gd name="connsiteY2281" fmla="*/ 1644290 h 4367670"/>
              <a:gd name="connsiteX2282" fmla="*/ 4557958 w 5365133"/>
              <a:gd name="connsiteY2282" fmla="*/ 1638621 h 4367670"/>
              <a:gd name="connsiteX2283" fmla="*/ 4503720 w 5365133"/>
              <a:gd name="connsiteY2283" fmla="*/ 1668913 h 4367670"/>
              <a:gd name="connsiteX2284" fmla="*/ 4470575 w 5365133"/>
              <a:gd name="connsiteY2284" fmla="*/ 1683302 h 4367670"/>
              <a:gd name="connsiteX2285" fmla="*/ 4439916 w 5365133"/>
              <a:gd name="connsiteY2285" fmla="*/ 1692407 h 4367670"/>
              <a:gd name="connsiteX2286" fmla="*/ 4439623 w 5365133"/>
              <a:gd name="connsiteY2286" fmla="*/ 1694005 h 4367670"/>
              <a:gd name="connsiteX2287" fmla="*/ 4427676 w 5365133"/>
              <a:gd name="connsiteY2287" fmla="*/ 1695739 h 4367670"/>
              <a:gd name="connsiteX2288" fmla="*/ 4427468 w 5365133"/>
              <a:gd name="connsiteY2288" fmla="*/ 1694005 h 4367670"/>
              <a:gd name="connsiteX2289" fmla="*/ 4423399 w 5365133"/>
              <a:gd name="connsiteY2289" fmla="*/ 1696361 h 4367670"/>
              <a:gd name="connsiteX2290" fmla="*/ 4408479 w 5365133"/>
              <a:gd name="connsiteY2290" fmla="*/ 1698527 h 4367670"/>
              <a:gd name="connsiteX2291" fmla="*/ 4398930 w 5365133"/>
              <a:gd name="connsiteY2291" fmla="*/ 1702165 h 4367670"/>
              <a:gd name="connsiteX2292" fmla="*/ 4400902 w 5365133"/>
              <a:gd name="connsiteY2292" fmla="*/ 1707424 h 4367670"/>
              <a:gd name="connsiteX2293" fmla="*/ 4389423 w 5365133"/>
              <a:gd name="connsiteY2293" fmla="*/ 1707424 h 4367670"/>
              <a:gd name="connsiteX2294" fmla="*/ 4391070 w 5365133"/>
              <a:gd name="connsiteY2294" fmla="*/ 1705159 h 4367670"/>
              <a:gd name="connsiteX2295" fmla="*/ 4389203 w 5365133"/>
              <a:gd name="connsiteY2295" fmla="*/ 1705871 h 4367670"/>
              <a:gd name="connsiteX2296" fmla="*/ 4373563 w 5365133"/>
              <a:gd name="connsiteY2296" fmla="*/ 1711788 h 4367670"/>
              <a:gd name="connsiteX2297" fmla="*/ 4374448 w 5365133"/>
              <a:gd name="connsiteY2297" fmla="*/ 1712259 h 4367670"/>
              <a:gd name="connsiteX2298" fmla="*/ 4386449 w 5365133"/>
              <a:gd name="connsiteY2298" fmla="*/ 1713497 h 4367670"/>
              <a:gd name="connsiteX2299" fmla="*/ 4400122 w 5365133"/>
              <a:gd name="connsiteY2299" fmla="*/ 1709825 h 4367670"/>
              <a:gd name="connsiteX2300" fmla="*/ 4423399 w 5365133"/>
              <a:gd name="connsiteY2300" fmla="*/ 1696361 h 4367670"/>
              <a:gd name="connsiteX2301" fmla="*/ 4427676 w 5365133"/>
              <a:gd name="connsiteY2301" fmla="*/ 1695739 h 4367670"/>
              <a:gd name="connsiteX2302" fmla="*/ 4428324 w 5365133"/>
              <a:gd name="connsiteY2302" fmla="*/ 1701162 h 4367670"/>
              <a:gd name="connsiteX2303" fmla="*/ 4372774 w 5365133"/>
              <a:gd name="connsiteY2303" fmla="*/ 1718111 h 4367670"/>
              <a:gd name="connsiteX2304" fmla="*/ 4372625 w 5365133"/>
              <a:gd name="connsiteY2304" fmla="*/ 1718019 h 4367670"/>
              <a:gd name="connsiteX2305" fmla="*/ 4371487 w 5365133"/>
              <a:gd name="connsiteY2305" fmla="*/ 1718305 h 4367670"/>
              <a:gd name="connsiteX2306" fmla="*/ 4365837 w 5365133"/>
              <a:gd name="connsiteY2306" fmla="*/ 1720712 h 4367670"/>
              <a:gd name="connsiteX2307" fmla="*/ 4364832 w 5365133"/>
              <a:gd name="connsiteY2307" fmla="*/ 1722050 h 4367670"/>
              <a:gd name="connsiteX2308" fmla="*/ 4372774 w 5365133"/>
              <a:gd name="connsiteY2308" fmla="*/ 1718111 h 4367670"/>
              <a:gd name="connsiteX2309" fmla="*/ 4372774 w 5365133"/>
              <a:gd name="connsiteY2309" fmla="*/ 1730165 h 4367670"/>
              <a:gd name="connsiteX2310" fmla="*/ 4366508 w 5365133"/>
              <a:gd name="connsiteY2310" fmla="*/ 1730259 h 4367670"/>
              <a:gd name="connsiteX2311" fmla="*/ 4366465 w 5365133"/>
              <a:gd name="connsiteY2311" fmla="*/ 1730269 h 4367670"/>
              <a:gd name="connsiteX2312" fmla="*/ 4366465 w 5365133"/>
              <a:gd name="connsiteY2312" fmla="*/ 1738274 h 4367670"/>
              <a:gd name="connsiteX2313" fmla="*/ 4366465 w 5365133"/>
              <a:gd name="connsiteY2313" fmla="*/ 1744731 h 4367670"/>
              <a:gd name="connsiteX2314" fmla="*/ 4354986 w 5365133"/>
              <a:gd name="connsiteY2314" fmla="*/ 1744731 h 4367670"/>
              <a:gd name="connsiteX2315" fmla="*/ 4360726 w 5365133"/>
              <a:gd name="connsiteY2315" fmla="*/ 1733252 h 4367670"/>
              <a:gd name="connsiteX2316" fmla="*/ 4363595 w 5365133"/>
              <a:gd name="connsiteY2316" fmla="*/ 1732535 h 4367670"/>
              <a:gd name="connsiteX2317" fmla="*/ 4364650 w 5365133"/>
              <a:gd name="connsiteY2317" fmla="*/ 1730689 h 4367670"/>
              <a:gd name="connsiteX2318" fmla="*/ 4363660 w 5365133"/>
              <a:gd name="connsiteY2318" fmla="*/ 1730919 h 4367670"/>
              <a:gd name="connsiteX2319" fmla="*/ 4354544 w 5365133"/>
              <a:gd name="connsiteY2319" fmla="*/ 1736192 h 4367670"/>
              <a:gd name="connsiteX2320" fmla="*/ 4359102 w 5365133"/>
              <a:gd name="connsiteY2320" fmla="*/ 1724892 h 4367670"/>
              <a:gd name="connsiteX2321" fmla="*/ 4360726 w 5365133"/>
              <a:gd name="connsiteY2321" fmla="*/ 1724086 h 4367670"/>
              <a:gd name="connsiteX2322" fmla="*/ 4360726 w 5365133"/>
              <a:gd name="connsiteY2322" fmla="*/ 1721654 h 4367670"/>
              <a:gd name="connsiteX2323" fmla="*/ 4360726 w 5365133"/>
              <a:gd name="connsiteY2323" fmla="*/ 1720817 h 4367670"/>
              <a:gd name="connsiteX2324" fmla="*/ 4365997 w 5365133"/>
              <a:gd name="connsiteY2324" fmla="*/ 1713982 h 4367670"/>
              <a:gd name="connsiteX2325" fmla="*/ 4362520 w 5365133"/>
              <a:gd name="connsiteY2325" fmla="*/ 1712179 h 4367670"/>
              <a:gd name="connsiteX2326" fmla="*/ 4360621 w 5365133"/>
              <a:gd name="connsiteY2326" fmla="*/ 1706059 h 4367670"/>
              <a:gd name="connsiteX2327" fmla="*/ 4428134 w 5365133"/>
              <a:gd name="connsiteY2327" fmla="*/ 1684025 h 4367670"/>
              <a:gd name="connsiteX2328" fmla="*/ 4446077 w 5365133"/>
              <a:gd name="connsiteY2328" fmla="*/ 1682452 h 4367670"/>
              <a:gd name="connsiteX2329" fmla="*/ 4443949 w 5365133"/>
              <a:gd name="connsiteY2329" fmla="*/ 1678728 h 4367670"/>
              <a:gd name="connsiteX2330" fmla="*/ 4455427 w 5365133"/>
              <a:gd name="connsiteY2330" fmla="*/ 1672989 h 4367670"/>
              <a:gd name="connsiteX2331" fmla="*/ 4455427 w 5365133"/>
              <a:gd name="connsiteY2331" fmla="*/ 1675106 h 4367670"/>
              <a:gd name="connsiteX2332" fmla="*/ 4455508 w 5365133"/>
              <a:gd name="connsiteY2332" fmla="*/ 1674972 h 4367670"/>
              <a:gd name="connsiteX2333" fmla="*/ 4479990 w 5365133"/>
              <a:gd name="connsiteY2333" fmla="*/ 1670996 h 4367670"/>
              <a:gd name="connsiteX2334" fmla="*/ 4490366 w 5365133"/>
              <a:gd name="connsiteY2334" fmla="*/ 1667250 h 4367670"/>
              <a:gd name="connsiteX2335" fmla="*/ 4483700 w 5365133"/>
              <a:gd name="connsiteY2335" fmla="*/ 1668684 h 4367670"/>
              <a:gd name="connsiteX2336" fmla="*/ 4472646 w 5365133"/>
              <a:gd name="connsiteY2336" fmla="*/ 1667249 h 4367670"/>
              <a:gd name="connsiteX2337" fmla="*/ 4497040 w 5365133"/>
              <a:gd name="connsiteY2337" fmla="*/ 1661509 h 4367670"/>
              <a:gd name="connsiteX2338" fmla="*/ 4516873 w 5365133"/>
              <a:gd name="connsiteY2338" fmla="*/ 1656843 h 4367670"/>
              <a:gd name="connsiteX2339" fmla="*/ 4515694 w 5365133"/>
              <a:gd name="connsiteY2339" fmla="*/ 1636399 h 4367670"/>
              <a:gd name="connsiteX2340" fmla="*/ 4509477 w 5365133"/>
              <a:gd name="connsiteY2340" fmla="*/ 1642856 h 4367670"/>
              <a:gd name="connsiteX2341" fmla="*/ 4504442 w 5365133"/>
              <a:gd name="connsiteY2341" fmla="*/ 1637628 h 4367670"/>
              <a:gd name="connsiteX2342" fmla="*/ 4503258 w 5365133"/>
              <a:gd name="connsiteY2342" fmla="*/ 1636399 h 4367670"/>
              <a:gd name="connsiteX2343" fmla="*/ 4504442 w 5365133"/>
              <a:gd name="connsiteY2343" fmla="*/ 1637628 h 4367670"/>
              <a:gd name="connsiteX2344" fmla="*/ 4502419 w 5365133"/>
              <a:gd name="connsiteY2344" fmla="*/ 1637850 h 4367670"/>
              <a:gd name="connsiteX2345" fmla="*/ 4490822 w 5365133"/>
              <a:gd name="connsiteY2345" fmla="*/ 1636399 h 4367670"/>
              <a:gd name="connsiteX2346" fmla="*/ 4490822 w 5365133"/>
              <a:gd name="connsiteY2346" fmla="*/ 1649314 h 4367670"/>
              <a:gd name="connsiteX2347" fmla="*/ 4500926 w 5365133"/>
              <a:gd name="connsiteY2347" fmla="*/ 1638013 h 4367670"/>
              <a:gd name="connsiteX2348" fmla="*/ 4502419 w 5365133"/>
              <a:gd name="connsiteY2348" fmla="*/ 1637850 h 4367670"/>
              <a:gd name="connsiteX2349" fmla="*/ 4496262 w 5365133"/>
              <a:gd name="connsiteY2349" fmla="*/ 1648505 h 4367670"/>
              <a:gd name="connsiteX2350" fmla="*/ 4484604 w 5365133"/>
              <a:gd name="connsiteY2350" fmla="*/ 1655770 h 4367670"/>
              <a:gd name="connsiteX2351" fmla="*/ 4484604 w 5365133"/>
              <a:gd name="connsiteY2351" fmla="*/ 1649314 h 4367670"/>
              <a:gd name="connsiteX2352" fmla="*/ 4484604 w 5365133"/>
              <a:gd name="connsiteY2352" fmla="*/ 1642856 h 4367670"/>
              <a:gd name="connsiteX2353" fmla="*/ 4490822 w 5365133"/>
              <a:gd name="connsiteY2353" fmla="*/ 1636399 h 4367670"/>
              <a:gd name="connsiteX2354" fmla="*/ 4862930 w 5365133"/>
              <a:gd name="connsiteY2354" fmla="*/ 1618463 h 4367670"/>
              <a:gd name="connsiteX2355" fmla="*/ 4831362 w 5365133"/>
              <a:gd name="connsiteY2355" fmla="*/ 1635681 h 4367670"/>
              <a:gd name="connsiteX2356" fmla="*/ 4862930 w 5365133"/>
              <a:gd name="connsiteY2356" fmla="*/ 1618463 h 4367670"/>
              <a:gd name="connsiteX2357" fmla="*/ 4891626 w 5365133"/>
              <a:gd name="connsiteY2357" fmla="*/ 1606984 h 4367670"/>
              <a:gd name="connsiteX2358" fmla="*/ 4874408 w 5365133"/>
              <a:gd name="connsiteY2358" fmla="*/ 1618463 h 4367670"/>
              <a:gd name="connsiteX2359" fmla="*/ 4891626 w 5365133"/>
              <a:gd name="connsiteY2359" fmla="*/ 1606984 h 4367670"/>
              <a:gd name="connsiteX2360" fmla="*/ 5215907 w 5365133"/>
              <a:gd name="connsiteY2360" fmla="*/ 1601244 h 4367670"/>
              <a:gd name="connsiteX2361" fmla="*/ 5227386 w 5365133"/>
              <a:gd name="connsiteY2361" fmla="*/ 1606984 h 4367670"/>
              <a:gd name="connsiteX2362" fmla="*/ 5215907 w 5365133"/>
              <a:gd name="connsiteY2362" fmla="*/ 1601244 h 4367670"/>
              <a:gd name="connsiteX2363" fmla="*/ 4616133 w 5365133"/>
              <a:gd name="connsiteY2363" fmla="*/ 1595505 h 4367670"/>
              <a:gd name="connsiteX2364" fmla="*/ 4539325 w 5365133"/>
              <a:gd name="connsiteY2364" fmla="*/ 1632094 h 4367670"/>
              <a:gd name="connsiteX2365" fmla="*/ 4539325 w 5365133"/>
              <a:gd name="connsiteY2365" fmla="*/ 1625996 h 4367670"/>
              <a:gd name="connsiteX2366" fmla="*/ 4515691 w 5365133"/>
              <a:gd name="connsiteY2366" fmla="*/ 1632094 h 4367670"/>
              <a:gd name="connsiteX2367" fmla="*/ 4616133 w 5365133"/>
              <a:gd name="connsiteY2367" fmla="*/ 1595505 h 4367670"/>
              <a:gd name="connsiteX2368" fmla="*/ 4639808 w 5365133"/>
              <a:gd name="connsiteY2368" fmla="*/ 1582591 h 4367670"/>
              <a:gd name="connsiteX2369" fmla="*/ 4653439 w 5365133"/>
              <a:gd name="connsiteY2369" fmla="*/ 1584026 h 4367670"/>
              <a:gd name="connsiteX2370" fmla="*/ 4630480 w 5365133"/>
              <a:gd name="connsiteY2370" fmla="*/ 1589765 h 4367670"/>
              <a:gd name="connsiteX2371" fmla="*/ 4639808 w 5365133"/>
              <a:gd name="connsiteY2371" fmla="*/ 1582591 h 4367670"/>
              <a:gd name="connsiteX2372" fmla="*/ 4525901 w 5365133"/>
              <a:gd name="connsiteY2372" fmla="*/ 1567778 h 4367670"/>
              <a:gd name="connsiteX2373" fmla="*/ 4522697 w 5365133"/>
              <a:gd name="connsiteY2373" fmla="*/ 1569056 h 4367670"/>
              <a:gd name="connsiteX2374" fmla="*/ 4510742 w 5365133"/>
              <a:gd name="connsiteY2374" fmla="*/ 1576511 h 4367670"/>
              <a:gd name="connsiteX2375" fmla="*/ 4523444 w 5365133"/>
              <a:gd name="connsiteY2375" fmla="*/ 1568310 h 4367670"/>
              <a:gd name="connsiteX2376" fmla="*/ 4529235 w 5365133"/>
              <a:gd name="connsiteY2376" fmla="*/ 1566447 h 4367670"/>
              <a:gd name="connsiteX2377" fmla="*/ 4529859 w 5365133"/>
              <a:gd name="connsiteY2377" fmla="*/ 1566919 h 4367670"/>
              <a:gd name="connsiteX2378" fmla="*/ 4525901 w 5365133"/>
              <a:gd name="connsiteY2378" fmla="*/ 1567778 h 4367670"/>
              <a:gd name="connsiteX2379" fmla="*/ 3857859 w 5365133"/>
              <a:gd name="connsiteY2379" fmla="*/ 1536750 h 4367670"/>
              <a:gd name="connsiteX2380" fmla="*/ 3830117 w 5365133"/>
              <a:gd name="connsiteY2380" fmla="*/ 1543459 h 4367670"/>
              <a:gd name="connsiteX2381" fmla="*/ 3827875 w 5365133"/>
              <a:gd name="connsiteY2381" fmla="*/ 1549423 h 4367670"/>
              <a:gd name="connsiteX2382" fmla="*/ 3828077 w 5365133"/>
              <a:gd name="connsiteY2382" fmla="*/ 1549961 h 4367670"/>
              <a:gd name="connsiteX2383" fmla="*/ 3835255 w 5365133"/>
              <a:gd name="connsiteY2383" fmla="*/ 1548099 h 4367670"/>
              <a:gd name="connsiteX2384" fmla="*/ 3844712 w 5365133"/>
              <a:gd name="connsiteY2384" fmla="*/ 1543132 h 4367670"/>
              <a:gd name="connsiteX2385" fmla="*/ 3848285 w 5365133"/>
              <a:gd name="connsiteY2385" fmla="*/ 1544719 h 4367670"/>
              <a:gd name="connsiteX2386" fmla="*/ 3862915 w 5365133"/>
              <a:gd name="connsiteY2386" fmla="*/ 1540924 h 4367670"/>
              <a:gd name="connsiteX2387" fmla="*/ 4610394 w 5365133"/>
              <a:gd name="connsiteY2387" fmla="*/ 1535241 h 4367670"/>
              <a:gd name="connsiteX2388" fmla="*/ 4611110 w 5365133"/>
              <a:gd name="connsiteY2388" fmla="*/ 1540169 h 4367670"/>
              <a:gd name="connsiteX2389" fmla="*/ 4611095 w 5365133"/>
              <a:gd name="connsiteY2389" fmla="*/ 1540174 h 4367670"/>
              <a:gd name="connsiteX2390" fmla="*/ 4607524 w 5365133"/>
              <a:gd name="connsiteY2390" fmla="*/ 1540264 h 4367670"/>
              <a:gd name="connsiteX2391" fmla="*/ 4604654 w 5365133"/>
              <a:gd name="connsiteY2391" fmla="*/ 1540981 h 4367670"/>
              <a:gd name="connsiteX2392" fmla="*/ 4593176 w 5365133"/>
              <a:gd name="connsiteY2392" fmla="*/ 1540981 h 4367670"/>
              <a:gd name="connsiteX2393" fmla="*/ 4610394 w 5365133"/>
              <a:gd name="connsiteY2393" fmla="*/ 1535241 h 4367670"/>
              <a:gd name="connsiteX2394" fmla="*/ 3876363 w 5365133"/>
              <a:gd name="connsiteY2394" fmla="*/ 1528672 h 4367670"/>
              <a:gd name="connsiteX2395" fmla="*/ 3865985 w 5365133"/>
              <a:gd name="connsiteY2395" fmla="*/ 1531530 h 4367670"/>
              <a:gd name="connsiteX2396" fmla="*/ 3865985 w 5365133"/>
              <a:gd name="connsiteY2396" fmla="*/ 1534974 h 4367670"/>
              <a:gd name="connsiteX2397" fmla="*/ 3869320 w 5365133"/>
              <a:gd name="connsiteY2397" fmla="*/ 1535787 h 4367670"/>
              <a:gd name="connsiteX2398" fmla="*/ 3867358 w 5365133"/>
              <a:gd name="connsiteY2398" fmla="*/ 1538490 h 4367670"/>
              <a:gd name="connsiteX2399" fmla="*/ 3866052 w 5365133"/>
              <a:gd name="connsiteY2399" fmla="*/ 1540110 h 4367670"/>
              <a:gd name="connsiteX2400" fmla="*/ 3878528 w 5365133"/>
              <a:gd name="connsiteY2400" fmla="*/ 1536874 h 4367670"/>
              <a:gd name="connsiteX2401" fmla="*/ 3880930 w 5365133"/>
              <a:gd name="connsiteY2401" fmla="*/ 1536117 h 4367670"/>
              <a:gd name="connsiteX2402" fmla="*/ 3881481 w 5365133"/>
              <a:gd name="connsiteY2402" fmla="*/ 1529502 h 4367670"/>
              <a:gd name="connsiteX2403" fmla="*/ 3875741 w 5365133"/>
              <a:gd name="connsiteY2403" fmla="*/ 1529502 h 4367670"/>
              <a:gd name="connsiteX2404" fmla="*/ 1205065 w 5365133"/>
              <a:gd name="connsiteY2404" fmla="*/ 1528134 h 4367670"/>
              <a:gd name="connsiteX2405" fmla="*/ 1199794 w 5365133"/>
              <a:gd name="connsiteY2405" fmla="*/ 1531530 h 4367670"/>
              <a:gd name="connsiteX2406" fmla="*/ 1203852 w 5365133"/>
              <a:gd name="connsiteY2406" fmla="*/ 1531530 h 4367670"/>
              <a:gd name="connsiteX2407" fmla="*/ 4074806 w 5365133"/>
              <a:gd name="connsiteY2407" fmla="*/ 1510679 h 4367670"/>
              <a:gd name="connsiteX2408" fmla="*/ 4074347 w 5365133"/>
              <a:gd name="connsiteY2408" fmla="*/ 1510908 h 4367670"/>
              <a:gd name="connsiteX2409" fmla="*/ 4074873 w 5365133"/>
              <a:gd name="connsiteY2409" fmla="*/ 1511170 h 4367670"/>
              <a:gd name="connsiteX2410" fmla="*/ 4055943 w 5365133"/>
              <a:gd name="connsiteY2410" fmla="*/ 1510674 h 4367670"/>
              <a:gd name="connsiteX2411" fmla="*/ 4055638 w 5365133"/>
              <a:gd name="connsiteY2411" fmla="*/ 1510822 h 4367670"/>
              <a:gd name="connsiteX2412" fmla="*/ 4056412 w 5365133"/>
              <a:gd name="connsiteY2412" fmla="*/ 1510908 h 4367670"/>
              <a:gd name="connsiteX2413" fmla="*/ 4642257 w 5365133"/>
              <a:gd name="connsiteY2413" fmla="*/ 1498979 h 4367670"/>
              <a:gd name="connsiteX2414" fmla="*/ 4637027 w 5365133"/>
              <a:gd name="connsiteY2414" fmla="*/ 1503451 h 4367670"/>
              <a:gd name="connsiteX2415" fmla="*/ 4636991 w 5365133"/>
              <a:gd name="connsiteY2415" fmla="*/ 1503236 h 4367670"/>
              <a:gd name="connsiteX2416" fmla="*/ 1265551 w 5365133"/>
              <a:gd name="connsiteY2416" fmla="*/ 1495747 h 4367670"/>
              <a:gd name="connsiteX2417" fmla="*/ 1271530 w 5365133"/>
              <a:gd name="connsiteY2417" fmla="*/ 1501710 h 4367670"/>
              <a:gd name="connsiteX2418" fmla="*/ 1269032 w 5365133"/>
              <a:gd name="connsiteY2418" fmla="*/ 1502692 h 4367670"/>
              <a:gd name="connsiteX2419" fmla="*/ 4087170 w 5365133"/>
              <a:gd name="connsiteY2419" fmla="*/ 1489785 h 4367670"/>
              <a:gd name="connsiteX2420" fmla="*/ 4086132 w 5365133"/>
              <a:gd name="connsiteY2420" fmla="*/ 1490968 h 4367670"/>
              <a:gd name="connsiteX2421" fmla="*/ 4086430 w 5365133"/>
              <a:gd name="connsiteY2421" fmla="*/ 1491457 h 4367670"/>
              <a:gd name="connsiteX2422" fmla="*/ 4087838 w 5365133"/>
              <a:gd name="connsiteY2422" fmla="*/ 1490723 h 4367670"/>
              <a:gd name="connsiteX2423" fmla="*/ 4087174 w 5365133"/>
              <a:gd name="connsiteY2423" fmla="*/ 1489788 h 4367670"/>
              <a:gd name="connsiteX2424" fmla="*/ 4682136 w 5365133"/>
              <a:gd name="connsiteY2424" fmla="*/ 1489325 h 4367670"/>
              <a:gd name="connsiteX2425" fmla="*/ 4647699 w 5365133"/>
              <a:gd name="connsiteY2425" fmla="*/ 1500805 h 4367670"/>
              <a:gd name="connsiteX2426" fmla="*/ 4682136 w 5365133"/>
              <a:gd name="connsiteY2426" fmla="*/ 1489325 h 4367670"/>
              <a:gd name="connsiteX2427" fmla="*/ 4077298 w 5365133"/>
              <a:gd name="connsiteY2427" fmla="*/ 1476488 h 4367670"/>
              <a:gd name="connsiteX2428" fmla="*/ 4078180 w 5365133"/>
              <a:gd name="connsiteY2428" fmla="*/ 1477369 h 4367670"/>
              <a:gd name="connsiteX2429" fmla="*/ 4077298 w 5365133"/>
              <a:gd name="connsiteY2429" fmla="*/ 1477703 h 4367670"/>
              <a:gd name="connsiteX2430" fmla="*/ 4144218 w 5365133"/>
              <a:gd name="connsiteY2430" fmla="*/ 1473084 h 4367670"/>
              <a:gd name="connsiteX2431" fmla="*/ 4143871 w 5365133"/>
              <a:gd name="connsiteY2431" fmla="*/ 1473270 h 4367670"/>
              <a:gd name="connsiteX2432" fmla="*/ 4141544 w 5365133"/>
              <a:gd name="connsiteY2432" fmla="*/ 1475012 h 4367670"/>
              <a:gd name="connsiteX2433" fmla="*/ 4140141 w 5365133"/>
              <a:gd name="connsiteY2433" fmla="*/ 1475263 h 4367670"/>
              <a:gd name="connsiteX2434" fmla="*/ 4138442 w 5365133"/>
              <a:gd name="connsiteY2434" fmla="*/ 1476172 h 4367670"/>
              <a:gd name="connsiteX2435" fmla="*/ 4140972 w 5365133"/>
              <a:gd name="connsiteY2435" fmla="*/ 1477854 h 4367670"/>
              <a:gd name="connsiteX2436" fmla="*/ 4134994 w 5365133"/>
              <a:gd name="connsiteY2436" fmla="*/ 1480091 h 4367670"/>
              <a:gd name="connsiteX2437" fmla="*/ 4132709 w 5365133"/>
              <a:gd name="connsiteY2437" fmla="*/ 1479236 h 4367670"/>
              <a:gd name="connsiteX2438" fmla="*/ 4125473 w 5365133"/>
              <a:gd name="connsiteY2438" fmla="*/ 1483103 h 4367670"/>
              <a:gd name="connsiteX2439" fmla="*/ 4123039 w 5365133"/>
              <a:gd name="connsiteY2439" fmla="*/ 1489783 h 4367670"/>
              <a:gd name="connsiteX2440" fmla="*/ 4117509 w 5365133"/>
              <a:gd name="connsiteY2440" fmla="*/ 1489101 h 4367670"/>
              <a:gd name="connsiteX2441" fmla="*/ 4111473 w 5365133"/>
              <a:gd name="connsiteY2441" fmla="*/ 1491086 h 4367670"/>
              <a:gd name="connsiteX2442" fmla="*/ 4094523 w 5365133"/>
              <a:gd name="connsiteY2442" fmla="*/ 1500842 h 4367670"/>
              <a:gd name="connsiteX2443" fmla="*/ 4085761 w 5365133"/>
              <a:gd name="connsiteY2443" fmla="*/ 1505214 h 4367670"/>
              <a:gd name="connsiteX2444" fmla="*/ 4087171 w 5365133"/>
              <a:gd name="connsiteY2444" fmla="*/ 1507674 h 4367670"/>
              <a:gd name="connsiteX2445" fmla="*/ 4084000 w 5365133"/>
              <a:gd name="connsiteY2445" fmla="*/ 1506092 h 4367670"/>
              <a:gd name="connsiteX2446" fmla="*/ 4077323 w 5365133"/>
              <a:gd name="connsiteY2446" fmla="*/ 1509423 h 4367670"/>
              <a:gd name="connsiteX2447" fmla="*/ 4077456 w 5365133"/>
              <a:gd name="connsiteY2447" fmla="*/ 1509911 h 4367670"/>
              <a:gd name="connsiteX2448" fmla="*/ 4076278 w 5365133"/>
              <a:gd name="connsiteY2448" fmla="*/ 1511871 h 4367670"/>
              <a:gd name="connsiteX2449" fmla="*/ 4080325 w 5365133"/>
              <a:gd name="connsiteY2449" fmla="*/ 1513889 h 4367670"/>
              <a:gd name="connsiteX2450" fmla="*/ 4086303 w 5365133"/>
              <a:gd name="connsiteY2450" fmla="*/ 1516871 h 4367670"/>
              <a:gd name="connsiteX2451" fmla="*/ 4122172 w 5365133"/>
              <a:gd name="connsiteY2451" fmla="*/ 1504943 h 4367670"/>
              <a:gd name="connsiteX2452" fmla="*/ 4140104 w 5365133"/>
              <a:gd name="connsiteY2452" fmla="*/ 1487051 h 4367670"/>
              <a:gd name="connsiteX2453" fmla="*/ 4140852 w 5365133"/>
              <a:gd name="connsiteY2453" fmla="*/ 1478850 h 4367670"/>
              <a:gd name="connsiteX2454" fmla="*/ 4145587 w 5365133"/>
              <a:gd name="connsiteY2454" fmla="*/ 1475475 h 4367670"/>
              <a:gd name="connsiteX2455" fmla="*/ 4586120 w 5365133"/>
              <a:gd name="connsiteY2455" fmla="*/ 1472575 h 4367670"/>
              <a:gd name="connsiteX2456" fmla="*/ 4581731 w 5365133"/>
              <a:gd name="connsiteY2456" fmla="*/ 1474378 h 4367670"/>
              <a:gd name="connsiteX2457" fmla="*/ 4582162 w 5365133"/>
              <a:gd name="connsiteY2457" fmla="*/ 1474809 h 4367670"/>
              <a:gd name="connsiteX2458" fmla="*/ 4565291 w 5365133"/>
              <a:gd name="connsiteY2458" fmla="*/ 1482577 h 4367670"/>
              <a:gd name="connsiteX2459" fmla="*/ 4546515 w 5365133"/>
              <a:gd name="connsiteY2459" fmla="*/ 1494319 h 4367670"/>
              <a:gd name="connsiteX2460" fmla="*/ 4528075 w 5365133"/>
              <a:gd name="connsiteY2460" fmla="*/ 1502544 h 4367670"/>
              <a:gd name="connsiteX2461" fmla="*/ 4527739 w 5365133"/>
              <a:gd name="connsiteY2461" fmla="*/ 1503260 h 4367670"/>
              <a:gd name="connsiteX2462" fmla="*/ 4525216 w 5365133"/>
              <a:gd name="connsiteY2462" fmla="*/ 1504550 h 4367670"/>
              <a:gd name="connsiteX2463" fmla="*/ 4547823 w 5365133"/>
              <a:gd name="connsiteY2463" fmla="*/ 1501028 h 4367670"/>
              <a:gd name="connsiteX2464" fmla="*/ 4571268 w 5365133"/>
              <a:gd name="connsiteY2464" fmla="*/ 1491523 h 4367670"/>
              <a:gd name="connsiteX2465" fmla="*/ 4590246 w 5365133"/>
              <a:gd name="connsiteY2465" fmla="*/ 1482453 h 4367670"/>
              <a:gd name="connsiteX2466" fmla="*/ 4585419 w 5365133"/>
              <a:gd name="connsiteY2466" fmla="*/ 1482184 h 4367670"/>
              <a:gd name="connsiteX2467" fmla="*/ 4587571 w 5365133"/>
              <a:gd name="connsiteY2467" fmla="*/ 1476445 h 4367670"/>
              <a:gd name="connsiteX2468" fmla="*/ 4586700 w 5365133"/>
              <a:gd name="connsiteY2468" fmla="*/ 1474120 h 4367670"/>
              <a:gd name="connsiteX2469" fmla="*/ 4582477 w 5365133"/>
              <a:gd name="connsiteY2469" fmla="*/ 1475122 h 4367670"/>
              <a:gd name="connsiteX2470" fmla="*/ 4582162 w 5365133"/>
              <a:gd name="connsiteY2470" fmla="*/ 1474809 h 4367670"/>
              <a:gd name="connsiteX2471" fmla="*/ 4586252 w 5365133"/>
              <a:gd name="connsiteY2471" fmla="*/ 1472926 h 4367670"/>
              <a:gd name="connsiteX2472" fmla="*/ 3976463 w 5365133"/>
              <a:gd name="connsiteY2472" fmla="*/ 1471883 h 4367670"/>
              <a:gd name="connsiteX2473" fmla="*/ 3971187 w 5365133"/>
              <a:gd name="connsiteY2473" fmla="*/ 1476488 h 4367670"/>
              <a:gd name="connsiteX2474" fmla="*/ 3955414 w 5365133"/>
              <a:gd name="connsiteY2474" fmla="*/ 1486174 h 4367670"/>
              <a:gd name="connsiteX2475" fmla="*/ 3955654 w 5365133"/>
              <a:gd name="connsiteY2475" fmla="*/ 1489783 h 4367670"/>
              <a:gd name="connsiteX2476" fmla="*/ 3969853 w 5365133"/>
              <a:gd name="connsiteY2476" fmla="*/ 1484564 h 4367670"/>
              <a:gd name="connsiteX2477" fmla="*/ 4080314 w 5365133"/>
              <a:gd name="connsiteY2477" fmla="*/ 1469611 h 4367670"/>
              <a:gd name="connsiteX2478" fmla="*/ 4080446 w 5365133"/>
              <a:gd name="connsiteY2478" fmla="*/ 1469654 h 4367670"/>
              <a:gd name="connsiteX2479" fmla="*/ 4081605 w 5365133"/>
              <a:gd name="connsiteY2479" fmla="*/ 1471068 h 4367670"/>
              <a:gd name="connsiteX2480" fmla="*/ 4081193 w 5365133"/>
              <a:gd name="connsiteY2480" fmla="*/ 1471890 h 4367670"/>
              <a:gd name="connsiteX2481" fmla="*/ 4701269 w 5365133"/>
              <a:gd name="connsiteY2481" fmla="*/ 1469236 h 4367670"/>
              <a:gd name="connsiteX2482" fmla="*/ 4707965 w 5365133"/>
              <a:gd name="connsiteY2482" fmla="*/ 1475932 h 4367670"/>
              <a:gd name="connsiteX2483" fmla="*/ 4687876 w 5365133"/>
              <a:gd name="connsiteY2483" fmla="*/ 1489325 h 4367670"/>
              <a:gd name="connsiteX2484" fmla="*/ 4701269 w 5365133"/>
              <a:gd name="connsiteY2484" fmla="*/ 1469236 h 4367670"/>
              <a:gd name="connsiteX2485" fmla="*/ 4594433 w 5365133"/>
              <a:gd name="connsiteY2485" fmla="*/ 1469158 h 4367670"/>
              <a:gd name="connsiteX2486" fmla="*/ 4590668 w 5365133"/>
              <a:gd name="connsiteY2486" fmla="*/ 1470706 h 4367670"/>
              <a:gd name="connsiteX2487" fmla="*/ 4591074 w 5365133"/>
              <a:gd name="connsiteY2487" fmla="*/ 1470706 h 4367670"/>
              <a:gd name="connsiteX2488" fmla="*/ 4077456 w 5365133"/>
              <a:gd name="connsiteY2488" fmla="*/ 1462200 h 4367670"/>
              <a:gd name="connsiteX2489" fmla="*/ 4080314 w 5365133"/>
              <a:gd name="connsiteY2489" fmla="*/ 1469611 h 4367670"/>
              <a:gd name="connsiteX2490" fmla="*/ 4069236 w 5365133"/>
              <a:gd name="connsiteY2490" fmla="*/ 1465927 h 4367670"/>
              <a:gd name="connsiteX2491" fmla="*/ 4077456 w 5365133"/>
              <a:gd name="connsiteY2491" fmla="*/ 1462200 h 4367670"/>
              <a:gd name="connsiteX2492" fmla="*/ 4038536 w 5365133"/>
              <a:gd name="connsiteY2492" fmla="*/ 1460698 h 4367670"/>
              <a:gd name="connsiteX2493" fmla="*/ 4032439 w 5365133"/>
              <a:gd name="connsiteY2493" fmla="*/ 1465719 h 4367670"/>
              <a:gd name="connsiteX2494" fmla="*/ 4032027 w 5365133"/>
              <a:gd name="connsiteY2494" fmla="*/ 1465768 h 4367670"/>
              <a:gd name="connsiteX2495" fmla="*/ 1332097 w 5365133"/>
              <a:gd name="connsiteY2495" fmla="*/ 1454532 h 4367670"/>
              <a:gd name="connsiteX2496" fmla="*/ 1330173 w 5365133"/>
              <a:gd name="connsiteY2496" fmla="*/ 1455103 h 4367670"/>
              <a:gd name="connsiteX2497" fmla="*/ 1330421 w 5365133"/>
              <a:gd name="connsiteY2497" fmla="*/ 1454772 h 4367670"/>
              <a:gd name="connsiteX2498" fmla="*/ 4653439 w 5365133"/>
              <a:gd name="connsiteY2498" fmla="*/ 1452018 h 4367670"/>
              <a:gd name="connsiteX2499" fmla="*/ 4636221 w 5365133"/>
              <a:gd name="connsiteY2499" fmla="*/ 1457757 h 4367670"/>
              <a:gd name="connsiteX2500" fmla="*/ 4653439 w 5365133"/>
              <a:gd name="connsiteY2500" fmla="*/ 1452018 h 4367670"/>
              <a:gd name="connsiteX2501" fmla="*/ 4416419 w 5365133"/>
              <a:gd name="connsiteY2501" fmla="*/ 1449320 h 4367670"/>
              <a:gd name="connsiteX2502" fmla="*/ 4405833 w 5365133"/>
              <a:gd name="connsiteY2502" fmla="*/ 1455303 h 4367670"/>
              <a:gd name="connsiteX2503" fmla="*/ 4409114 w 5365133"/>
              <a:gd name="connsiteY2503" fmla="*/ 1460213 h 4367670"/>
              <a:gd name="connsiteX2504" fmla="*/ 4412957 w 5365133"/>
              <a:gd name="connsiteY2504" fmla="*/ 1465963 h 4367670"/>
              <a:gd name="connsiteX2505" fmla="*/ 4415365 w 5365133"/>
              <a:gd name="connsiteY2505" fmla="*/ 1465071 h 4367670"/>
              <a:gd name="connsiteX2506" fmla="*/ 4011539 w 5365133"/>
              <a:gd name="connsiteY2506" fmla="*/ 1446669 h 4367670"/>
              <a:gd name="connsiteX2507" fmla="*/ 4010546 w 5365133"/>
              <a:gd name="connsiteY2507" fmla="*/ 1446697 h 4367670"/>
              <a:gd name="connsiteX2508" fmla="*/ 4007645 w 5365133"/>
              <a:gd name="connsiteY2508" fmla="*/ 1448900 h 4367670"/>
              <a:gd name="connsiteX2509" fmla="*/ 4006391 w 5365133"/>
              <a:gd name="connsiteY2509" fmla="*/ 1446815 h 4367670"/>
              <a:gd name="connsiteX2510" fmla="*/ 4005001 w 5365133"/>
              <a:gd name="connsiteY2510" fmla="*/ 1446855 h 4367670"/>
              <a:gd name="connsiteX2511" fmla="*/ 3999583 w 5365133"/>
              <a:gd name="connsiteY2511" fmla="*/ 1452632 h 4367670"/>
              <a:gd name="connsiteX2512" fmla="*/ 4005561 w 5365133"/>
              <a:gd name="connsiteY2512" fmla="*/ 1452632 h 4367670"/>
              <a:gd name="connsiteX2513" fmla="*/ 4003375 w 5365133"/>
              <a:gd name="connsiteY2513" fmla="*/ 1456571 h 4367670"/>
              <a:gd name="connsiteX2514" fmla="*/ 4010332 w 5365133"/>
              <a:gd name="connsiteY2514" fmla="*/ 1457110 h 4367670"/>
              <a:gd name="connsiteX2515" fmla="*/ 4017289 w 5365133"/>
              <a:gd name="connsiteY2515" fmla="*/ 1456662 h 4367670"/>
              <a:gd name="connsiteX2516" fmla="*/ 4018499 w 5365133"/>
              <a:gd name="connsiteY2516" fmla="*/ 1453612 h 4367670"/>
              <a:gd name="connsiteX2517" fmla="*/ 3782420 w 5365133"/>
              <a:gd name="connsiteY2517" fmla="*/ 1442063 h 4367670"/>
              <a:gd name="connsiteX2518" fmla="*/ 3782334 w 5365133"/>
              <a:gd name="connsiteY2518" fmla="*/ 1442100 h 4367670"/>
              <a:gd name="connsiteX2519" fmla="*/ 3782292 w 5365133"/>
              <a:gd name="connsiteY2519" fmla="*/ 1442071 h 4367670"/>
              <a:gd name="connsiteX2520" fmla="*/ 4171343 w 5365133"/>
              <a:gd name="connsiteY2520" fmla="*/ 1441673 h 4367670"/>
              <a:gd name="connsiteX2521" fmla="*/ 4169181 w 5365133"/>
              <a:gd name="connsiteY2521" fmla="*/ 1444493 h 4367670"/>
              <a:gd name="connsiteX2522" fmla="*/ 4169213 w 5365133"/>
              <a:gd name="connsiteY2522" fmla="*/ 1444561 h 4367670"/>
              <a:gd name="connsiteX2523" fmla="*/ 4171671 w 5365133"/>
              <a:gd name="connsiteY2523" fmla="*/ 1443688 h 4367670"/>
              <a:gd name="connsiteX2524" fmla="*/ 4107121 w 5365133"/>
              <a:gd name="connsiteY2524" fmla="*/ 1438702 h 4367670"/>
              <a:gd name="connsiteX2525" fmla="*/ 4106043 w 5365133"/>
              <a:gd name="connsiteY2525" fmla="*/ 1439892 h 4367670"/>
              <a:gd name="connsiteX2526" fmla="*/ 4105436 w 5365133"/>
              <a:gd name="connsiteY2526" fmla="*/ 1439731 h 4367670"/>
              <a:gd name="connsiteX2527" fmla="*/ 4036764 w 5365133"/>
              <a:gd name="connsiteY2527" fmla="*/ 1438521 h 4367670"/>
              <a:gd name="connsiteX2528" fmla="*/ 4035451 w 5365133"/>
              <a:gd name="connsiteY2528" fmla="*/ 1440705 h 4367670"/>
              <a:gd name="connsiteX2529" fmla="*/ 4039001 w 5365133"/>
              <a:gd name="connsiteY2529" fmla="*/ 1442289 h 4367670"/>
              <a:gd name="connsiteX2530" fmla="*/ 4040584 w 5365133"/>
              <a:gd name="connsiteY2530" fmla="*/ 1440770 h 4367670"/>
              <a:gd name="connsiteX2531" fmla="*/ 4403137 w 5365133"/>
              <a:gd name="connsiteY2531" fmla="*/ 1437318 h 4367670"/>
              <a:gd name="connsiteX2532" fmla="*/ 4400022 w 5365133"/>
              <a:gd name="connsiteY2532" fmla="*/ 1440476 h 4367670"/>
              <a:gd name="connsiteX2533" fmla="*/ 4403137 w 5365133"/>
              <a:gd name="connsiteY2533" fmla="*/ 1445303 h 4367670"/>
              <a:gd name="connsiteX2534" fmla="*/ 4403137 w 5365133"/>
              <a:gd name="connsiteY2534" fmla="*/ 1441575 h 4367670"/>
              <a:gd name="connsiteX2535" fmla="*/ 4403137 w 5365133"/>
              <a:gd name="connsiteY2535" fmla="*/ 1437793 h 4367670"/>
              <a:gd name="connsiteX2536" fmla="*/ 4402992 w 5365133"/>
              <a:gd name="connsiteY2536" fmla="*/ 1437740 h 4367670"/>
              <a:gd name="connsiteX2537" fmla="*/ 4403137 w 5365133"/>
              <a:gd name="connsiteY2537" fmla="*/ 1437667 h 4367670"/>
              <a:gd name="connsiteX2538" fmla="*/ 4109742 w 5365133"/>
              <a:gd name="connsiteY2538" fmla="*/ 1437101 h 4367670"/>
              <a:gd name="connsiteX2539" fmla="*/ 4109742 w 5365133"/>
              <a:gd name="connsiteY2539" fmla="*/ 1437740 h 4367670"/>
              <a:gd name="connsiteX2540" fmla="*/ 4109288 w 5365133"/>
              <a:gd name="connsiteY2540" fmla="*/ 1437379 h 4367670"/>
              <a:gd name="connsiteX2541" fmla="*/ 4108725 w 5365133"/>
              <a:gd name="connsiteY2541" fmla="*/ 1436932 h 4367670"/>
              <a:gd name="connsiteX2542" fmla="*/ 4109288 w 5365133"/>
              <a:gd name="connsiteY2542" fmla="*/ 1437379 h 4367670"/>
              <a:gd name="connsiteX2543" fmla="*/ 4107121 w 5365133"/>
              <a:gd name="connsiteY2543" fmla="*/ 1438702 h 4367670"/>
              <a:gd name="connsiteX2544" fmla="*/ 4891707 w 5365133"/>
              <a:gd name="connsiteY2544" fmla="*/ 1436907 h 4367670"/>
              <a:gd name="connsiteX2545" fmla="*/ 4880507 w 5365133"/>
              <a:gd name="connsiteY2545" fmla="*/ 1446279 h 4367670"/>
              <a:gd name="connsiteX2546" fmla="*/ 4880507 w 5365133"/>
              <a:gd name="connsiteY2546" fmla="*/ 1440539 h 4367670"/>
              <a:gd name="connsiteX2547" fmla="*/ 3812183 w 5365133"/>
              <a:gd name="connsiteY2547" fmla="*/ 1436107 h 4367670"/>
              <a:gd name="connsiteX2548" fmla="*/ 3811641 w 5365133"/>
              <a:gd name="connsiteY2548" fmla="*/ 1436296 h 4367670"/>
              <a:gd name="connsiteX2549" fmla="*/ 3811884 w 5365133"/>
              <a:gd name="connsiteY2549" fmla="*/ 1436703 h 4367670"/>
              <a:gd name="connsiteX2550" fmla="*/ 4738467 w 5365133"/>
              <a:gd name="connsiteY2550" fmla="*/ 1435239 h 4367670"/>
              <a:gd name="connsiteX2551" fmla="*/ 4743884 w 5365133"/>
              <a:gd name="connsiteY2551" fmla="*/ 1439339 h 4367670"/>
              <a:gd name="connsiteX2552" fmla="*/ 4678125 w 5365133"/>
              <a:gd name="connsiteY2552" fmla="*/ 1463195 h 4367670"/>
              <a:gd name="connsiteX2553" fmla="*/ 4719972 w 5365133"/>
              <a:gd name="connsiteY2553" fmla="*/ 1445303 h 4367670"/>
              <a:gd name="connsiteX2554" fmla="*/ 4731927 w 5365133"/>
              <a:gd name="connsiteY2554" fmla="*/ 1437848 h 4367670"/>
              <a:gd name="connsiteX2555" fmla="*/ 4738467 w 5365133"/>
              <a:gd name="connsiteY2555" fmla="*/ 1435239 h 4367670"/>
              <a:gd name="connsiteX2556" fmla="*/ 4894228 w 5365133"/>
              <a:gd name="connsiteY2556" fmla="*/ 1434799 h 4367670"/>
              <a:gd name="connsiteX2557" fmla="*/ 4897658 w 5365133"/>
              <a:gd name="connsiteY2557" fmla="*/ 1434979 h 4367670"/>
              <a:gd name="connsiteX2558" fmla="*/ 4891707 w 5365133"/>
              <a:gd name="connsiteY2558" fmla="*/ 1436907 h 4367670"/>
              <a:gd name="connsiteX2559" fmla="*/ 4747247 w 5365133"/>
              <a:gd name="connsiteY2559" fmla="*/ 1431791 h 4367670"/>
              <a:gd name="connsiteX2560" fmla="*/ 4749862 w 5365133"/>
              <a:gd name="connsiteY2560" fmla="*/ 1433375 h 4367670"/>
              <a:gd name="connsiteX2561" fmla="*/ 4749862 w 5365133"/>
              <a:gd name="connsiteY2561" fmla="*/ 1445303 h 4367670"/>
              <a:gd name="connsiteX2562" fmla="*/ 4743884 w 5365133"/>
              <a:gd name="connsiteY2562" fmla="*/ 1439339 h 4367670"/>
              <a:gd name="connsiteX2563" fmla="*/ 4747247 w 5365133"/>
              <a:gd name="connsiteY2563" fmla="*/ 1431791 h 4367670"/>
              <a:gd name="connsiteX2564" fmla="*/ 4371162 w 5365133"/>
              <a:gd name="connsiteY2564" fmla="*/ 1431351 h 4367670"/>
              <a:gd name="connsiteX2565" fmla="*/ 4369011 w 5365133"/>
              <a:gd name="connsiteY2565" fmla="*/ 1432469 h 4367670"/>
              <a:gd name="connsiteX2566" fmla="*/ 4370076 w 5365133"/>
              <a:gd name="connsiteY2566" fmla="*/ 1435301 h 4367670"/>
              <a:gd name="connsiteX2567" fmla="*/ 4369668 w 5365133"/>
              <a:gd name="connsiteY2567" fmla="*/ 1436725 h 4367670"/>
              <a:gd name="connsiteX2568" fmla="*/ 4369982 w 5365133"/>
              <a:gd name="connsiteY2568" fmla="*/ 1437163 h 4367670"/>
              <a:gd name="connsiteX2569" fmla="*/ 4370379 w 5365133"/>
              <a:gd name="connsiteY2569" fmla="*/ 1436107 h 4367670"/>
              <a:gd name="connsiteX2570" fmla="*/ 4370076 w 5365133"/>
              <a:gd name="connsiteY2570" fmla="*/ 1435301 h 4367670"/>
              <a:gd name="connsiteX2571" fmla="*/ 4371126 w 5365133"/>
              <a:gd name="connsiteY2571" fmla="*/ 1431634 h 4367670"/>
              <a:gd name="connsiteX2572" fmla="*/ 4374043 w 5365133"/>
              <a:gd name="connsiteY2572" fmla="*/ 1429852 h 4367670"/>
              <a:gd name="connsiteX2573" fmla="*/ 4373814 w 5365133"/>
              <a:gd name="connsiteY2573" fmla="*/ 1429971 h 4367670"/>
              <a:gd name="connsiteX2574" fmla="*/ 4374116 w 5365133"/>
              <a:gd name="connsiteY2574" fmla="*/ 1430143 h 4367670"/>
              <a:gd name="connsiteX2575" fmla="*/ 4037392 w 5365133"/>
              <a:gd name="connsiteY2575" fmla="*/ 1429123 h 4367670"/>
              <a:gd name="connsiteX2576" fmla="*/ 4037270 w 5365133"/>
              <a:gd name="connsiteY2576" fmla="*/ 1429968 h 4367670"/>
              <a:gd name="connsiteX2577" fmla="*/ 4035648 w 5365133"/>
              <a:gd name="connsiteY2577" fmla="*/ 1430199 h 4367670"/>
              <a:gd name="connsiteX2578" fmla="*/ 4035877 w 5365133"/>
              <a:gd name="connsiteY2578" fmla="*/ 1431843 h 4367670"/>
              <a:gd name="connsiteX2579" fmla="*/ 4037270 w 5365133"/>
              <a:gd name="connsiteY2579" fmla="*/ 1432241 h 4367670"/>
              <a:gd name="connsiteX2580" fmla="*/ 4041468 w 5365133"/>
              <a:gd name="connsiteY2580" fmla="*/ 1429849 h 4367670"/>
              <a:gd name="connsiteX2581" fmla="*/ 4400143 w 5365133"/>
              <a:gd name="connsiteY2581" fmla="*/ 1429026 h 4367670"/>
              <a:gd name="connsiteX2582" fmla="*/ 4399745 w 5365133"/>
              <a:gd name="connsiteY2582" fmla="*/ 1429667 h 4367670"/>
              <a:gd name="connsiteX2583" fmla="*/ 4400465 w 5365133"/>
              <a:gd name="connsiteY2583" fmla="*/ 1429188 h 4367670"/>
              <a:gd name="connsiteX2584" fmla="*/ 3832198 w 5365133"/>
              <a:gd name="connsiteY2584" fmla="*/ 1428417 h 4367670"/>
              <a:gd name="connsiteX2585" fmla="*/ 3829192 w 5365133"/>
              <a:gd name="connsiteY2585" fmla="*/ 1429617 h 4367670"/>
              <a:gd name="connsiteX2586" fmla="*/ 3829775 w 5365133"/>
              <a:gd name="connsiteY2586" fmla="*/ 1430611 h 4367670"/>
              <a:gd name="connsiteX2587" fmla="*/ 3830117 w 5365133"/>
              <a:gd name="connsiteY2587" fmla="*/ 1430143 h 4367670"/>
              <a:gd name="connsiteX2588" fmla="*/ 3832198 w 5365133"/>
              <a:gd name="connsiteY2588" fmla="*/ 1430640 h 4367670"/>
              <a:gd name="connsiteX2589" fmla="*/ 4164016 w 5365133"/>
              <a:gd name="connsiteY2589" fmla="*/ 1427412 h 4367670"/>
              <a:gd name="connsiteX2590" fmla="*/ 4163270 w 5365133"/>
              <a:gd name="connsiteY2590" fmla="*/ 1433375 h 4367670"/>
              <a:gd name="connsiteX2591" fmla="*/ 4158038 w 5365133"/>
              <a:gd name="connsiteY2591" fmla="*/ 1439339 h 4367670"/>
              <a:gd name="connsiteX2592" fmla="*/ 4469252 w 5365133"/>
              <a:gd name="connsiteY2592" fmla="*/ 1426777 h 4367670"/>
              <a:gd name="connsiteX2593" fmla="*/ 4463256 w 5365133"/>
              <a:gd name="connsiteY2593" fmla="*/ 1429668 h 4367670"/>
              <a:gd name="connsiteX2594" fmla="*/ 4456978 w 5365133"/>
              <a:gd name="connsiteY2594" fmla="*/ 1430273 h 4367670"/>
              <a:gd name="connsiteX2595" fmla="*/ 4454831 w 5365133"/>
              <a:gd name="connsiteY2595" fmla="*/ 1428024 h 4367670"/>
              <a:gd name="connsiteX2596" fmla="*/ 4451239 w 5365133"/>
              <a:gd name="connsiteY2596" fmla="*/ 1429067 h 4367670"/>
              <a:gd name="connsiteX2597" fmla="*/ 4451555 w 5365133"/>
              <a:gd name="connsiteY2597" fmla="*/ 1431193 h 4367670"/>
              <a:gd name="connsiteX2598" fmla="*/ 4449107 w 5365133"/>
              <a:gd name="connsiteY2598" fmla="*/ 1433380 h 4367670"/>
              <a:gd name="connsiteX2599" fmla="*/ 4464892 w 5365133"/>
              <a:gd name="connsiteY2599" fmla="*/ 1430531 h 4367670"/>
              <a:gd name="connsiteX2600" fmla="*/ 4442121 w 5365133"/>
              <a:gd name="connsiteY2600" fmla="*/ 1437462 h 4367670"/>
              <a:gd name="connsiteX2601" fmla="*/ 4439285 w 5365133"/>
              <a:gd name="connsiteY2601" fmla="*/ 1442507 h 4367670"/>
              <a:gd name="connsiteX2602" fmla="*/ 4433027 w 5365133"/>
              <a:gd name="connsiteY2602" fmla="*/ 1445303 h 4367670"/>
              <a:gd name="connsiteX2603" fmla="*/ 4450961 w 5365133"/>
              <a:gd name="connsiteY2603" fmla="*/ 1451266 h 4367670"/>
              <a:gd name="connsiteX2604" fmla="*/ 4468895 w 5365133"/>
              <a:gd name="connsiteY2604" fmla="*/ 1451266 h 4367670"/>
              <a:gd name="connsiteX2605" fmla="*/ 4474873 w 5365133"/>
              <a:gd name="connsiteY2605" fmla="*/ 1439339 h 4367670"/>
              <a:gd name="connsiteX2606" fmla="*/ 4472724 w 5365133"/>
              <a:gd name="connsiteY2606" fmla="*/ 1436580 h 4367670"/>
              <a:gd name="connsiteX2607" fmla="*/ 4466905 w 5365133"/>
              <a:gd name="connsiteY2607" fmla="*/ 1434799 h 4367670"/>
              <a:gd name="connsiteX2608" fmla="*/ 4469595 w 5365133"/>
              <a:gd name="connsiteY2608" fmla="*/ 1431918 h 4367670"/>
              <a:gd name="connsiteX2609" fmla="*/ 4127499 w 5365133"/>
              <a:gd name="connsiteY2609" fmla="*/ 1426260 h 4367670"/>
              <a:gd name="connsiteX2610" fmla="*/ 4109742 w 5365133"/>
              <a:gd name="connsiteY2610" fmla="*/ 1437101 h 4367670"/>
              <a:gd name="connsiteX2611" fmla="*/ 4109742 w 5365133"/>
              <a:gd name="connsiteY2611" fmla="*/ 1432000 h 4367670"/>
              <a:gd name="connsiteX2612" fmla="*/ 4120841 w 5365133"/>
              <a:gd name="connsiteY2612" fmla="*/ 1429129 h 4367670"/>
              <a:gd name="connsiteX2613" fmla="*/ 4059364 w 5365133"/>
              <a:gd name="connsiteY2613" fmla="*/ 1422812 h 4367670"/>
              <a:gd name="connsiteX2614" fmla="*/ 4059805 w 5365133"/>
              <a:gd name="connsiteY2614" fmla="*/ 1425675 h 4367670"/>
              <a:gd name="connsiteX2615" fmla="*/ 4062339 w 5365133"/>
              <a:gd name="connsiteY2615" fmla="*/ 1430725 h 4367670"/>
              <a:gd name="connsiteX2616" fmla="*/ 4060415 w 5365133"/>
              <a:gd name="connsiteY2616" fmla="*/ 1429630 h 4367670"/>
              <a:gd name="connsiteX2617" fmla="*/ 4060672 w 5365133"/>
              <a:gd name="connsiteY2617" fmla="*/ 1431293 h 4367670"/>
              <a:gd name="connsiteX2618" fmla="*/ 4056374 w 5365133"/>
              <a:gd name="connsiteY2618" fmla="*/ 1432505 h 4367670"/>
              <a:gd name="connsiteX2619" fmla="*/ 4045736 w 5365133"/>
              <a:gd name="connsiteY2619" fmla="*/ 1430609 h 4367670"/>
              <a:gd name="connsiteX2620" fmla="*/ 4044106 w 5365133"/>
              <a:gd name="connsiteY2620" fmla="*/ 1430725 h 4367670"/>
              <a:gd name="connsiteX2621" fmla="*/ 4044556 w 5365133"/>
              <a:gd name="connsiteY2621" fmla="*/ 1430399 h 4367670"/>
              <a:gd name="connsiteX2622" fmla="*/ 4044268 w 5365133"/>
              <a:gd name="connsiteY2622" fmla="*/ 1430348 h 4367670"/>
              <a:gd name="connsiteX2623" fmla="*/ 4044106 w 5365133"/>
              <a:gd name="connsiteY2623" fmla="*/ 1430725 h 4367670"/>
              <a:gd name="connsiteX2624" fmla="*/ 4044106 w 5365133"/>
              <a:gd name="connsiteY2624" fmla="*/ 1436785 h 4367670"/>
              <a:gd name="connsiteX2625" fmla="*/ 4045014 w 5365133"/>
              <a:gd name="connsiteY2625" fmla="*/ 1436830 h 4367670"/>
              <a:gd name="connsiteX2626" fmla="*/ 4047408 w 5365133"/>
              <a:gd name="connsiteY2626" fmla="*/ 1434741 h 4367670"/>
              <a:gd name="connsiteX2627" fmla="*/ 4050116 w 5365133"/>
              <a:gd name="connsiteY2627" fmla="*/ 1433995 h 4367670"/>
              <a:gd name="connsiteX2628" fmla="*/ 4050980 w 5365133"/>
              <a:gd name="connsiteY2628" fmla="*/ 1437127 h 4367670"/>
              <a:gd name="connsiteX2629" fmla="*/ 4059299 w 5365133"/>
              <a:gd name="connsiteY2629" fmla="*/ 1437542 h 4367670"/>
              <a:gd name="connsiteX2630" fmla="*/ 4086647 w 5365133"/>
              <a:gd name="connsiteY2630" fmla="*/ 1430725 h 4367670"/>
              <a:gd name="connsiteX2631" fmla="*/ 4087216 w 5365133"/>
              <a:gd name="connsiteY2631" fmla="*/ 1424667 h 4367670"/>
              <a:gd name="connsiteX2632" fmla="*/ 4084263 w 5365133"/>
              <a:gd name="connsiteY2632" fmla="*/ 1423795 h 4367670"/>
              <a:gd name="connsiteX2633" fmla="*/ 4073748 w 5365133"/>
              <a:gd name="connsiteY2633" fmla="*/ 1426540 h 4367670"/>
              <a:gd name="connsiteX2634" fmla="*/ 4059364 w 5365133"/>
              <a:gd name="connsiteY2634" fmla="*/ 1422812 h 4367670"/>
              <a:gd name="connsiteX2635" fmla="*/ 4408021 w 5365133"/>
              <a:gd name="connsiteY2635" fmla="*/ 1422781 h 4367670"/>
              <a:gd name="connsiteX2636" fmla="*/ 4401763 w 5365133"/>
              <a:gd name="connsiteY2636" fmla="*/ 1426415 h 4367670"/>
              <a:gd name="connsiteX2637" fmla="*/ 4401014 w 5365133"/>
              <a:gd name="connsiteY2637" fmla="*/ 1427622 h 4367670"/>
              <a:gd name="connsiteX2638" fmla="*/ 4411034 w 5365133"/>
              <a:gd name="connsiteY2638" fmla="*/ 1423972 h 4367670"/>
              <a:gd name="connsiteX2639" fmla="*/ 4412105 w 5365133"/>
              <a:gd name="connsiteY2639" fmla="*/ 1423499 h 4367670"/>
              <a:gd name="connsiteX2640" fmla="*/ 4417610 w 5365133"/>
              <a:gd name="connsiteY2640" fmla="*/ 1422639 h 4367670"/>
              <a:gd name="connsiteX2641" fmla="*/ 4407590 w 5365133"/>
              <a:gd name="connsiteY2641" fmla="*/ 1432801 h 4367670"/>
              <a:gd name="connsiteX2642" fmla="*/ 4402126 w 5365133"/>
              <a:gd name="connsiteY2642" fmla="*/ 1430031 h 4367670"/>
              <a:gd name="connsiteX2643" fmla="*/ 4399400 w 5365133"/>
              <a:gd name="connsiteY2643" fmla="*/ 1437102 h 4367670"/>
              <a:gd name="connsiteX2644" fmla="*/ 4396068 w 5365133"/>
              <a:gd name="connsiteY2644" fmla="*/ 1435592 h 4367670"/>
              <a:gd name="connsiteX2645" fmla="*/ 4392048 w 5365133"/>
              <a:gd name="connsiteY2645" fmla="*/ 1442071 h 4367670"/>
              <a:gd name="connsiteX2646" fmla="*/ 4392452 w 5365133"/>
              <a:gd name="connsiteY2646" fmla="*/ 1442542 h 4367670"/>
              <a:gd name="connsiteX2647" fmla="*/ 4394917 w 5365133"/>
              <a:gd name="connsiteY2647" fmla="*/ 1440084 h 4367670"/>
              <a:gd name="connsiteX2648" fmla="*/ 4398746 w 5365133"/>
              <a:gd name="connsiteY2648" fmla="*/ 1438500 h 4367670"/>
              <a:gd name="connsiteX2649" fmla="*/ 4399727 w 5365133"/>
              <a:gd name="connsiteY2649" fmla="*/ 1440019 h 4367670"/>
              <a:gd name="connsiteX2650" fmla="*/ 4400605 w 5365133"/>
              <a:gd name="connsiteY2650" fmla="*/ 1434835 h 4367670"/>
              <a:gd name="connsiteX2651" fmla="*/ 4403137 w 5365133"/>
              <a:gd name="connsiteY2651" fmla="*/ 1433420 h 4367670"/>
              <a:gd name="connsiteX2652" fmla="*/ 4403137 w 5365133"/>
              <a:gd name="connsiteY2652" fmla="*/ 1433375 h 4367670"/>
              <a:gd name="connsiteX2653" fmla="*/ 4403178 w 5365133"/>
              <a:gd name="connsiteY2653" fmla="*/ 1433396 h 4367670"/>
              <a:gd name="connsiteX2654" fmla="*/ 4403330 w 5365133"/>
              <a:gd name="connsiteY2654" fmla="*/ 1433311 h 4367670"/>
              <a:gd name="connsiteX2655" fmla="*/ 4406511 w 5365133"/>
              <a:gd name="connsiteY2655" fmla="*/ 1433897 h 4367670"/>
              <a:gd name="connsiteX2656" fmla="*/ 4405743 w 5365133"/>
              <a:gd name="connsiteY2656" fmla="*/ 1434675 h 4367670"/>
              <a:gd name="connsiteX2657" fmla="*/ 4407434 w 5365133"/>
              <a:gd name="connsiteY2657" fmla="*/ 1435519 h 4367670"/>
              <a:gd name="connsiteX2658" fmla="*/ 4408732 w 5365133"/>
              <a:gd name="connsiteY2658" fmla="*/ 1434869 h 4367670"/>
              <a:gd name="connsiteX2659" fmla="*/ 4409554 w 5365133"/>
              <a:gd name="connsiteY2659" fmla="*/ 1434458 h 4367670"/>
              <a:gd name="connsiteX2660" fmla="*/ 4406511 w 5365133"/>
              <a:gd name="connsiteY2660" fmla="*/ 1433897 h 4367670"/>
              <a:gd name="connsiteX2661" fmla="*/ 4407590 w 5365133"/>
              <a:gd name="connsiteY2661" fmla="*/ 1432801 h 4367670"/>
              <a:gd name="connsiteX2662" fmla="*/ 4409270 w 5365133"/>
              <a:gd name="connsiteY2662" fmla="*/ 1433654 h 4367670"/>
              <a:gd name="connsiteX2663" fmla="*/ 4409114 w 5365133"/>
              <a:gd name="connsiteY2663" fmla="*/ 1433375 h 4367670"/>
              <a:gd name="connsiteX2664" fmla="*/ 4415092 w 5365133"/>
              <a:gd name="connsiteY2664" fmla="*/ 1428157 h 4367670"/>
              <a:gd name="connsiteX2665" fmla="*/ 4420421 w 5365133"/>
              <a:gd name="connsiteY2665" fmla="*/ 1427493 h 4367670"/>
              <a:gd name="connsiteX2666" fmla="*/ 4116018 w 5365133"/>
              <a:gd name="connsiteY2666" fmla="*/ 1420521 h 4367670"/>
              <a:gd name="connsiteX2667" fmla="*/ 4098800 w 5365133"/>
              <a:gd name="connsiteY2667" fmla="*/ 1437740 h 4367670"/>
              <a:gd name="connsiteX2668" fmla="*/ 4116018 w 5365133"/>
              <a:gd name="connsiteY2668" fmla="*/ 1420521 h 4367670"/>
              <a:gd name="connsiteX2669" fmla="*/ 4477482 w 5365133"/>
              <a:gd name="connsiteY2669" fmla="*/ 1419364 h 4367670"/>
              <a:gd name="connsiteX2670" fmla="*/ 4474873 w 5365133"/>
              <a:gd name="connsiteY2670" fmla="*/ 1421446 h 4367670"/>
              <a:gd name="connsiteX2671" fmla="*/ 4476642 w 5365133"/>
              <a:gd name="connsiteY2671" fmla="*/ 1421740 h 4367670"/>
              <a:gd name="connsiteX2672" fmla="*/ 4477371 w 5365133"/>
              <a:gd name="connsiteY2672" fmla="*/ 1420014 h 4367670"/>
              <a:gd name="connsiteX2673" fmla="*/ 4228864 w 5365133"/>
              <a:gd name="connsiteY2673" fmla="*/ 1416982 h 4367670"/>
              <a:gd name="connsiteX2674" fmla="*/ 4228401 w 5365133"/>
              <a:gd name="connsiteY2674" fmla="*/ 1418214 h 4367670"/>
              <a:gd name="connsiteX2675" fmla="*/ 4230201 w 5365133"/>
              <a:gd name="connsiteY2675" fmla="*/ 1423000 h 4367670"/>
              <a:gd name="connsiteX2676" fmla="*/ 4233952 w 5365133"/>
              <a:gd name="connsiteY2676" fmla="*/ 1421680 h 4367670"/>
              <a:gd name="connsiteX2677" fmla="*/ 4231708 w 5365133"/>
              <a:gd name="connsiteY2677" fmla="*/ 1417702 h 4367670"/>
              <a:gd name="connsiteX2678" fmla="*/ 4473679 w 5365133"/>
              <a:gd name="connsiteY2678" fmla="*/ 1415077 h 4367670"/>
              <a:gd name="connsiteX2679" fmla="*/ 4472582 w 5365133"/>
              <a:gd name="connsiteY2679" fmla="*/ 1418368 h 4367670"/>
              <a:gd name="connsiteX2680" fmla="*/ 4472817 w 5365133"/>
              <a:gd name="connsiteY2680" fmla="*/ 1419072 h 4367670"/>
              <a:gd name="connsiteX2681" fmla="*/ 4474873 w 5365133"/>
              <a:gd name="connsiteY2681" fmla="*/ 1415482 h 4367670"/>
              <a:gd name="connsiteX2682" fmla="*/ 4470483 w 5365133"/>
              <a:gd name="connsiteY2682" fmla="*/ 1413992 h 4367670"/>
              <a:gd name="connsiteX2683" fmla="*/ 4466653 w 5365133"/>
              <a:gd name="connsiteY2683" fmla="*/ 1416973 h 4367670"/>
              <a:gd name="connsiteX2684" fmla="*/ 4464452 w 5365133"/>
              <a:gd name="connsiteY2684" fmla="*/ 1423123 h 4367670"/>
              <a:gd name="connsiteX2685" fmla="*/ 4465408 w 5365133"/>
              <a:gd name="connsiteY2685" fmla="*/ 1423211 h 4367670"/>
              <a:gd name="connsiteX2686" fmla="*/ 4468726 w 5365133"/>
              <a:gd name="connsiteY2686" fmla="*/ 1421193 h 4367670"/>
              <a:gd name="connsiteX2687" fmla="*/ 4472864 w 5365133"/>
              <a:gd name="connsiteY2687" fmla="*/ 1414800 h 4367670"/>
              <a:gd name="connsiteX2688" fmla="*/ 4272488 w 5365133"/>
              <a:gd name="connsiteY2688" fmla="*/ 1412799 h 4367670"/>
              <a:gd name="connsiteX2689" fmla="*/ 4272263 w 5365133"/>
              <a:gd name="connsiteY2689" fmla="*/ 1412925 h 4367670"/>
              <a:gd name="connsiteX2690" fmla="*/ 4268752 w 5365133"/>
              <a:gd name="connsiteY2690" fmla="*/ 1423433 h 4367670"/>
              <a:gd name="connsiteX2691" fmla="*/ 4260532 w 5365133"/>
              <a:gd name="connsiteY2691" fmla="*/ 1430143 h 4367670"/>
              <a:gd name="connsiteX2692" fmla="*/ 4266510 w 5365133"/>
              <a:gd name="connsiteY2692" fmla="*/ 1418214 h 4367670"/>
              <a:gd name="connsiteX2693" fmla="*/ 4265151 w 5365133"/>
              <a:gd name="connsiteY2693" fmla="*/ 1416916 h 4367670"/>
              <a:gd name="connsiteX2694" fmla="*/ 4262615 w 5365133"/>
              <a:gd name="connsiteY2694" fmla="*/ 1418340 h 4367670"/>
              <a:gd name="connsiteX2695" fmla="*/ 4254556 w 5365133"/>
              <a:gd name="connsiteY2695" fmla="*/ 1419847 h 4367670"/>
              <a:gd name="connsiteX2696" fmla="*/ 4254556 w 5365133"/>
              <a:gd name="connsiteY2696" fmla="*/ 1422423 h 4367670"/>
              <a:gd name="connsiteX2697" fmla="*/ 4256637 w 5365133"/>
              <a:gd name="connsiteY2697" fmla="*/ 1422812 h 4367670"/>
              <a:gd name="connsiteX2698" fmla="*/ 4255890 w 5365133"/>
              <a:gd name="connsiteY2698" fmla="*/ 1426540 h 4367670"/>
              <a:gd name="connsiteX2699" fmla="*/ 4255875 w 5365133"/>
              <a:gd name="connsiteY2699" fmla="*/ 1426564 h 4367670"/>
              <a:gd name="connsiteX2700" fmla="*/ 4257416 w 5365133"/>
              <a:gd name="connsiteY2700" fmla="*/ 1429060 h 4367670"/>
              <a:gd name="connsiteX2701" fmla="*/ 4254556 w 5365133"/>
              <a:gd name="connsiteY2701" fmla="*/ 1429060 h 4367670"/>
              <a:gd name="connsiteX2702" fmla="*/ 4254556 w 5365133"/>
              <a:gd name="connsiteY2702" fmla="*/ 1430143 h 4367670"/>
              <a:gd name="connsiteX2703" fmla="*/ 4253829 w 5365133"/>
              <a:gd name="connsiteY2703" fmla="*/ 1429771 h 4367670"/>
              <a:gd name="connsiteX2704" fmla="*/ 4250659 w 5365133"/>
              <a:gd name="connsiteY2704" fmla="*/ 1434741 h 4367670"/>
              <a:gd name="connsiteX2705" fmla="*/ 4242673 w 5365133"/>
              <a:gd name="connsiteY2705" fmla="*/ 1430757 h 4367670"/>
              <a:gd name="connsiteX2706" fmla="*/ 4240197 w 5365133"/>
              <a:gd name="connsiteY2706" fmla="*/ 1431802 h 4367670"/>
              <a:gd name="connsiteX2707" fmla="*/ 4240197 w 5365133"/>
              <a:gd name="connsiteY2707" fmla="*/ 1434082 h 4367670"/>
              <a:gd name="connsiteX2708" fmla="*/ 4240197 w 5365133"/>
              <a:gd name="connsiteY2708" fmla="*/ 1434799 h 4367670"/>
              <a:gd name="connsiteX2709" fmla="*/ 4234457 w 5365133"/>
              <a:gd name="connsiteY2709" fmla="*/ 1440539 h 4367670"/>
              <a:gd name="connsiteX2710" fmla="*/ 4231116 w 5365133"/>
              <a:gd name="connsiteY2710" fmla="*/ 1433856 h 4367670"/>
              <a:gd name="connsiteX2711" fmla="*/ 4229465 w 5365133"/>
              <a:gd name="connsiteY2711" fmla="*/ 1433769 h 4367670"/>
              <a:gd name="connsiteX2712" fmla="*/ 4220769 w 5365133"/>
              <a:gd name="connsiteY2712" fmla="*/ 1438468 h 4367670"/>
              <a:gd name="connsiteX2713" fmla="*/ 4215078 w 5365133"/>
              <a:gd name="connsiteY2713" fmla="*/ 1439237 h 4367670"/>
              <a:gd name="connsiteX2714" fmla="*/ 4213177 w 5365133"/>
              <a:gd name="connsiteY2714" fmla="*/ 1444028 h 4367670"/>
              <a:gd name="connsiteX2715" fmla="*/ 4205984 w 5365133"/>
              <a:gd name="connsiteY2715" fmla="*/ 1451761 h 4367670"/>
              <a:gd name="connsiteX2716" fmla="*/ 4190587 w 5365133"/>
              <a:gd name="connsiteY2716" fmla="*/ 1459109 h 4367670"/>
              <a:gd name="connsiteX2717" fmla="*/ 4187891 w 5365133"/>
              <a:gd name="connsiteY2717" fmla="*/ 1463816 h 4367670"/>
              <a:gd name="connsiteX2718" fmla="*/ 4185003 w 5365133"/>
              <a:gd name="connsiteY2718" fmla="*/ 1464536 h 4367670"/>
              <a:gd name="connsiteX2719" fmla="*/ 4184472 w 5365133"/>
              <a:gd name="connsiteY2719" fmla="*/ 1464779 h 4367670"/>
              <a:gd name="connsiteX2720" fmla="*/ 4182698 w 5365133"/>
              <a:gd name="connsiteY2720" fmla="*/ 1462450 h 4367670"/>
              <a:gd name="connsiteX2721" fmla="*/ 4182535 w 5365133"/>
              <a:gd name="connsiteY2721" fmla="*/ 1461314 h 4367670"/>
              <a:gd name="connsiteX2722" fmla="*/ 4180071 w 5365133"/>
              <a:gd name="connsiteY2722" fmla="*/ 1457935 h 4367670"/>
              <a:gd name="connsiteX2723" fmla="*/ 4175286 w 5365133"/>
              <a:gd name="connsiteY2723" fmla="*/ 1459725 h 4367670"/>
              <a:gd name="connsiteX2724" fmla="*/ 4176841 w 5365133"/>
              <a:gd name="connsiteY2724" fmla="*/ 1465927 h 4367670"/>
              <a:gd name="connsiteX2725" fmla="*/ 4176093 w 5365133"/>
              <a:gd name="connsiteY2725" fmla="*/ 1462945 h 4367670"/>
              <a:gd name="connsiteX2726" fmla="*/ 4172486 w 5365133"/>
              <a:gd name="connsiteY2726" fmla="*/ 1460889 h 4367670"/>
              <a:gd name="connsiteX2727" fmla="*/ 4171918 w 5365133"/>
              <a:gd name="connsiteY2727" fmla="*/ 1463722 h 4367670"/>
              <a:gd name="connsiteX2728" fmla="*/ 4170863 w 5365133"/>
              <a:gd name="connsiteY2728" fmla="*/ 1463758 h 4367670"/>
              <a:gd name="connsiteX2729" fmla="*/ 4170863 w 5365133"/>
              <a:gd name="connsiteY2729" fmla="*/ 1465927 h 4367670"/>
              <a:gd name="connsiteX2730" fmla="*/ 4158906 w 5365133"/>
              <a:gd name="connsiteY2730" fmla="*/ 1465927 h 4367670"/>
              <a:gd name="connsiteX2731" fmla="*/ 4151340 w 5365133"/>
              <a:gd name="connsiteY2731" fmla="*/ 1474313 h 4367670"/>
              <a:gd name="connsiteX2732" fmla="*/ 4147307 w 5365133"/>
              <a:gd name="connsiteY2732" fmla="*/ 1477566 h 4367670"/>
              <a:gd name="connsiteX2733" fmla="*/ 4149625 w 5365133"/>
              <a:gd name="connsiteY2733" fmla="*/ 1482191 h 4367670"/>
              <a:gd name="connsiteX2734" fmla="*/ 4146082 w 5365133"/>
              <a:gd name="connsiteY2734" fmla="*/ 1487051 h 4367670"/>
              <a:gd name="connsiteX2735" fmla="*/ 4150681 w 5365133"/>
              <a:gd name="connsiteY2735" fmla="*/ 1484298 h 4367670"/>
              <a:gd name="connsiteX2736" fmla="*/ 4152061 w 5365133"/>
              <a:gd name="connsiteY2736" fmla="*/ 1487051 h 4367670"/>
              <a:gd name="connsiteX2737" fmla="*/ 4153555 w 5365133"/>
              <a:gd name="connsiteY2737" fmla="*/ 1482577 h 4367670"/>
              <a:gd name="connsiteX2738" fmla="*/ 4150681 w 5365133"/>
              <a:gd name="connsiteY2738" fmla="*/ 1484298 h 4367670"/>
              <a:gd name="connsiteX2739" fmla="*/ 4149625 w 5365133"/>
              <a:gd name="connsiteY2739" fmla="*/ 1482191 h 4367670"/>
              <a:gd name="connsiteX2740" fmla="*/ 4152061 w 5365133"/>
              <a:gd name="connsiteY2740" fmla="*/ 1478850 h 4367670"/>
              <a:gd name="connsiteX2741" fmla="*/ 4158038 w 5365133"/>
              <a:gd name="connsiteY2741" fmla="*/ 1475122 h 4367670"/>
              <a:gd name="connsiteX2742" fmla="*/ 4164016 w 5365133"/>
              <a:gd name="connsiteY2742" fmla="*/ 1481086 h 4367670"/>
              <a:gd name="connsiteX2743" fmla="*/ 4175972 w 5365133"/>
              <a:gd name="connsiteY2743" fmla="*/ 1463195 h 4367670"/>
              <a:gd name="connsiteX2744" fmla="*/ 4181950 w 5365133"/>
              <a:gd name="connsiteY2744" fmla="*/ 1469158 h 4367670"/>
              <a:gd name="connsiteX2745" fmla="*/ 4253688 w 5365133"/>
              <a:gd name="connsiteY2745" fmla="*/ 1433375 h 4367670"/>
              <a:gd name="connsiteX2746" fmla="*/ 4271620 w 5365133"/>
              <a:gd name="connsiteY2746" fmla="*/ 1433375 h 4367670"/>
              <a:gd name="connsiteX2747" fmla="*/ 4273862 w 5365133"/>
              <a:gd name="connsiteY2747" fmla="*/ 1427411 h 4367670"/>
              <a:gd name="connsiteX2748" fmla="*/ 4272585 w 5365133"/>
              <a:gd name="connsiteY2748" fmla="*/ 1424014 h 4367670"/>
              <a:gd name="connsiteX2749" fmla="*/ 4272488 w 5365133"/>
              <a:gd name="connsiteY2749" fmla="*/ 1424178 h 4367670"/>
              <a:gd name="connsiteX2750" fmla="*/ 4272488 w 5365133"/>
              <a:gd name="connsiteY2750" fmla="*/ 1423756 h 4367670"/>
              <a:gd name="connsiteX2751" fmla="*/ 4271620 w 5365133"/>
              <a:gd name="connsiteY2751" fmla="*/ 1421446 h 4367670"/>
              <a:gd name="connsiteX2752" fmla="*/ 4272488 w 5365133"/>
              <a:gd name="connsiteY2752" fmla="*/ 1421570 h 4367670"/>
              <a:gd name="connsiteX2753" fmla="*/ 4272488 w 5365133"/>
              <a:gd name="connsiteY2753" fmla="*/ 1420451 h 4367670"/>
              <a:gd name="connsiteX2754" fmla="*/ 4272488 w 5365133"/>
              <a:gd name="connsiteY2754" fmla="*/ 1414953 h 4367670"/>
              <a:gd name="connsiteX2755" fmla="*/ 4421939 w 5365133"/>
              <a:gd name="connsiteY2755" fmla="*/ 1412250 h 4367670"/>
              <a:gd name="connsiteX2756" fmla="*/ 4420898 w 5365133"/>
              <a:gd name="connsiteY2756" fmla="*/ 1413081 h 4367670"/>
              <a:gd name="connsiteX2757" fmla="*/ 4421070 w 5365133"/>
              <a:gd name="connsiteY2757" fmla="*/ 1415482 h 4367670"/>
              <a:gd name="connsiteX2758" fmla="*/ 4419749 w 5365133"/>
              <a:gd name="connsiteY2758" fmla="*/ 1413999 h 4367670"/>
              <a:gd name="connsiteX2759" fmla="*/ 4414466 w 5365133"/>
              <a:gd name="connsiteY2759" fmla="*/ 1418214 h 4367670"/>
              <a:gd name="connsiteX2760" fmla="*/ 4415423 w 5365133"/>
              <a:gd name="connsiteY2760" fmla="*/ 1422033 h 4367670"/>
              <a:gd name="connsiteX2761" fmla="*/ 4424772 w 5365133"/>
              <a:gd name="connsiteY2761" fmla="*/ 1417903 h 4367670"/>
              <a:gd name="connsiteX2762" fmla="*/ 4133237 w 5365133"/>
              <a:gd name="connsiteY2762" fmla="*/ 1411911 h 4367670"/>
              <a:gd name="connsiteX2763" fmla="*/ 4133476 w 5365133"/>
              <a:gd name="connsiteY2763" fmla="*/ 1412622 h 4367670"/>
              <a:gd name="connsiteX2764" fmla="*/ 4133237 w 5365133"/>
              <a:gd name="connsiteY2764" fmla="*/ 1412867 h 4367670"/>
              <a:gd name="connsiteX2765" fmla="*/ 4133684 w 5365133"/>
              <a:gd name="connsiteY2765" fmla="*/ 1413240 h 4367670"/>
              <a:gd name="connsiteX2766" fmla="*/ 4134671 w 5365133"/>
              <a:gd name="connsiteY2766" fmla="*/ 1416171 h 4367670"/>
              <a:gd name="connsiteX2767" fmla="*/ 4121758 w 5365133"/>
              <a:gd name="connsiteY2767" fmla="*/ 1426260 h 4367670"/>
              <a:gd name="connsiteX2768" fmla="*/ 4121758 w 5365133"/>
              <a:gd name="connsiteY2768" fmla="*/ 1419086 h 4367670"/>
              <a:gd name="connsiteX2769" fmla="*/ 4133237 w 5365133"/>
              <a:gd name="connsiteY2769" fmla="*/ 1411911 h 4367670"/>
              <a:gd name="connsiteX2770" fmla="*/ 4508291 w 5365133"/>
              <a:gd name="connsiteY2770" fmla="*/ 1411161 h 4367670"/>
              <a:gd name="connsiteX2771" fmla="*/ 4502607 w 5365133"/>
              <a:gd name="connsiteY2771" fmla="*/ 1413961 h 4367670"/>
              <a:gd name="connsiteX2772" fmla="*/ 4496032 w 5365133"/>
              <a:gd name="connsiteY2772" fmla="*/ 1417492 h 4367670"/>
              <a:gd name="connsiteX2773" fmla="*/ 4498786 w 5365133"/>
              <a:gd name="connsiteY2773" fmla="*/ 1419210 h 4367670"/>
              <a:gd name="connsiteX2774" fmla="*/ 4504764 w 5365133"/>
              <a:gd name="connsiteY2774" fmla="*/ 1427412 h 4367670"/>
              <a:gd name="connsiteX2775" fmla="*/ 4508967 w 5365133"/>
              <a:gd name="connsiteY2775" fmla="*/ 1411476 h 4367670"/>
              <a:gd name="connsiteX2776" fmla="*/ 4391180 w 5365133"/>
              <a:gd name="connsiteY2776" fmla="*/ 1409519 h 4367670"/>
              <a:gd name="connsiteX2777" fmla="*/ 4382401 w 5365133"/>
              <a:gd name="connsiteY2777" fmla="*/ 1410730 h 4367670"/>
              <a:gd name="connsiteX2778" fmla="*/ 4379766 w 5365133"/>
              <a:gd name="connsiteY2778" fmla="*/ 1417768 h 4367670"/>
              <a:gd name="connsiteX2779" fmla="*/ 4387524 w 5365133"/>
              <a:gd name="connsiteY2779" fmla="*/ 1413688 h 4367670"/>
              <a:gd name="connsiteX2780" fmla="*/ 4480761 w 5365133"/>
              <a:gd name="connsiteY2780" fmla="*/ 1408684 h 4367670"/>
              <a:gd name="connsiteX2781" fmla="*/ 4479915 w 5365133"/>
              <a:gd name="connsiteY2781" fmla="*/ 1408981 h 4367670"/>
              <a:gd name="connsiteX2782" fmla="*/ 4480761 w 5365133"/>
              <a:gd name="connsiteY2782" fmla="*/ 1409251 h 4367670"/>
              <a:gd name="connsiteX2783" fmla="*/ 4414340 w 5365133"/>
              <a:gd name="connsiteY2783" fmla="*/ 1407364 h 4367670"/>
              <a:gd name="connsiteX2784" fmla="*/ 4413255 w 5365133"/>
              <a:gd name="connsiteY2784" fmla="*/ 1408052 h 4367670"/>
              <a:gd name="connsiteX2785" fmla="*/ 4415092 w 5365133"/>
              <a:gd name="connsiteY2785" fmla="*/ 1409519 h 4367670"/>
              <a:gd name="connsiteX2786" fmla="*/ 4412650 w 5365133"/>
              <a:gd name="connsiteY2786" fmla="*/ 1411525 h 4367670"/>
              <a:gd name="connsiteX2787" fmla="*/ 4416339 w 5365133"/>
              <a:gd name="connsiteY2787" fmla="*/ 1410172 h 4367670"/>
              <a:gd name="connsiteX2788" fmla="*/ 4415092 w 5365133"/>
              <a:gd name="connsiteY2788" fmla="*/ 1408773 h 4367670"/>
              <a:gd name="connsiteX2789" fmla="*/ 4517109 w 5365133"/>
              <a:gd name="connsiteY2789" fmla="*/ 1406982 h 4367670"/>
              <a:gd name="connsiteX2790" fmla="*/ 4516922 w 5365133"/>
              <a:gd name="connsiteY2790" fmla="*/ 1407811 h 4367670"/>
              <a:gd name="connsiteX2791" fmla="*/ 4516022 w 5365133"/>
              <a:gd name="connsiteY2791" fmla="*/ 1407352 h 4367670"/>
              <a:gd name="connsiteX2792" fmla="*/ 4516261 w 5365133"/>
              <a:gd name="connsiteY2792" fmla="*/ 1407235 h 4367670"/>
              <a:gd name="connsiteX2793" fmla="*/ 4144716 w 5365133"/>
              <a:gd name="connsiteY2793" fmla="*/ 1406171 h 4367670"/>
              <a:gd name="connsiteX2794" fmla="*/ 4138976 w 5365133"/>
              <a:gd name="connsiteY2794" fmla="*/ 1426260 h 4367670"/>
              <a:gd name="connsiteX2795" fmla="*/ 4138259 w 5365133"/>
              <a:gd name="connsiteY2795" fmla="*/ 1417053 h 4367670"/>
              <a:gd name="connsiteX2796" fmla="*/ 4133684 w 5365133"/>
              <a:gd name="connsiteY2796" fmla="*/ 1413240 h 4367670"/>
              <a:gd name="connsiteX2797" fmla="*/ 4133476 w 5365133"/>
              <a:gd name="connsiteY2797" fmla="*/ 1412622 h 4367670"/>
              <a:gd name="connsiteX2798" fmla="*/ 4138976 w 5365133"/>
              <a:gd name="connsiteY2798" fmla="*/ 1407009 h 4367670"/>
              <a:gd name="connsiteX2799" fmla="*/ 4144716 w 5365133"/>
              <a:gd name="connsiteY2799" fmla="*/ 1406171 h 4367670"/>
              <a:gd name="connsiteX2800" fmla="*/ 4246654 w 5365133"/>
              <a:gd name="connsiteY2800" fmla="*/ 1404827 h 4367670"/>
              <a:gd name="connsiteX2801" fmla="*/ 4248304 w 5365133"/>
              <a:gd name="connsiteY2801" fmla="*/ 1408171 h 4367670"/>
              <a:gd name="connsiteX2802" fmla="*/ 4251566 w 5365133"/>
              <a:gd name="connsiteY2802" fmla="*/ 1407032 h 4367670"/>
              <a:gd name="connsiteX2803" fmla="*/ 4254646 w 5365133"/>
              <a:gd name="connsiteY2803" fmla="*/ 1405994 h 4367670"/>
              <a:gd name="connsiteX2804" fmla="*/ 4252634 w 5365133"/>
              <a:gd name="connsiteY2804" fmla="*/ 1404827 h 4367670"/>
              <a:gd name="connsiteX2805" fmla="*/ 4246654 w 5365133"/>
              <a:gd name="connsiteY2805" fmla="*/ 1404827 h 4367670"/>
              <a:gd name="connsiteX2806" fmla="*/ 4322186 w 5365133"/>
              <a:gd name="connsiteY2806" fmla="*/ 1400663 h 4367670"/>
              <a:gd name="connsiteX2807" fmla="*/ 4317324 w 5365133"/>
              <a:gd name="connsiteY2807" fmla="*/ 1401067 h 4367670"/>
              <a:gd name="connsiteX2808" fmla="*/ 4308639 w 5365133"/>
              <a:gd name="connsiteY2808" fmla="*/ 1406123 h 4367670"/>
              <a:gd name="connsiteX2809" fmla="*/ 4304462 w 5365133"/>
              <a:gd name="connsiteY2809" fmla="*/ 1410885 h 4367670"/>
              <a:gd name="connsiteX2810" fmla="*/ 4304462 w 5365133"/>
              <a:gd name="connsiteY2810" fmla="*/ 1404921 h 4367670"/>
              <a:gd name="connsiteX2811" fmla="*/ 4302889 w 5365133"/>
              <a:gd name="connsiteY2811" fmla="*/ 1405095 h 4367670"/>
              <a:gd name="connsiteX2812" fmla="*/ 4302379 w 5365133"/>
              <a:gd name="connsiteY2812" fmla="*/ 1405541 h 4367670"/>
              <a:gd name="connsiteX2813" fmla="*/ 4298318 w 5365133"/>
              <a:gd name="connsiteY2813" fmla="*/ 1406048 h 4367670"/>
              <a:gd name="connsiteX2814" fmla="*/ 4300462 w 5365133"/>
              <a:gd name="connsiteY2814" fmla="*/ 1411126 h 4367670"/>
              <a:gd name="connsiteX2815" fmla="*/ 4296247 w 5365133"/>
              <a:gd name="connsiteY2815" fmla="*/ 1413951 h 4367670"/>
              <a:gd name="connsiteX2816" fmla="*/ 4293005 w 5365133"/>
              <a:gd name="connsiteY2816" fmla="*/ 1414307 h 4367670"/>
              <a:gd name="connsiteX2817" fmla="*/ 4293252 w 5365133"/>
              <a:gd name="connsiteY2817" fmla="*/ 1416009 h 4367670"/>
              <a:gd name="connsiteX2818" fmla="*/ 4289644 w 5365133"/>
              <a:gd name="connsiteY2818" fmla="*/ 1415688 h 4367670"/>
              <a:gd name="connsiteX2819" fmla="*/ 4288983 w 5365133"/>
              <a:gd name="connsiteY2819" fmla="*/ 1417583 h 4367670"/>
              <a:gd name="connsiteX2820" fmla="*/ 4287551 w 5365133"/>
              <a:gd name="connsiteY2820" fmla="*/ 1415502 h 4367670"/>
              <a:gd name="connsiteX2821" fmla="*/ 4287368 w 5365133"/>
              <a:gd name="connsiteY2821" fmla="*/ 1415486 h 4367670"/>
              <a:gd name="connsiteX2822" fmla="*/ 4286527 w 5365133"/>
              <a:gd name="connsiteY2822" fmla="*/ 1416848 h 4367670"/>
              <a:gd name="connsiteX2823" fmla="*/ 4284846 w 5365133"/>
              <a:gd name="connsiteY2823" fmla="*/ 1415823 h 4367670"/>
              <a:gd name="connsiteX2824" fmla="*/ 4286235 w 5365133"/>
              <a:gd name="connsiteY2824" fmla="*/ 1413590 h 4367670"/>
              <a:gd name="connsiteX2825" fmla="*/ 4285780 w 5365133"/>
              <a:gd name="connsiteY2825" fmla="*/ 1412929 h 4367670"/>
              <a:gd name="connsiteX2826" fmla="*/ 4286164 w 5365133"/>
              <a:gd name="connsiteY2826" fmla="*/ 1411787 h 4367670"/>
              <a:gd name="connsiteX2827" fmla="*/ 4279961 w 5365133"/>
              <a:gd name="connsiteY2827" fmla="*/ 1411505 h 4367670"/>
              <a:gd name="connsiteX2828" fmla="*/ 4273907 w 5365133"/>
              <a:gd name="connsiteY2828" fmla="*/ 1421772 h 4367670"/>
              <a:gd name="connsiteX2829" fmla="*/ 4276851 w 5365133"/>
              <a:gd name="connsiteY2829" fmla="*/ 1422192 h 4367670"/>
              <a:gd name="connsiteX2830" fmla="*/ 4283577 w 5365133"/>
              <a:gd name="connsiteY2830" fmla="*/ 1415482 h 4367670"/>
              <a:gd name="connsiteX2831" fmla="*/ 4289554 w 5365133"/>
              <a:gd name="connsiteY2831" fmla="*/ 1427412 h 4367670"/>
              <a:gd name="connsiteX2832" fmla="*/ 4313467 w 5365133"/>
              <a:gd name="connsiteY2832" fmla="*/ 1415482 h 4367670"/>
              <a:gd name="connsiteX2833" fmla="*/ 4322434 w 5365133"/>
              <a:gd name="connsiteY2833" fmla="*/ 1406536 h 4367670"/>
              <a:gd name="connsiteX2834" fmla="*/ 4323849 w 5365133"/>
              <a:gd name="connsiteY2834" fmla="*/ 1404277 h 4367670"/>
              <a:gd name="connsiteX2835" fmla="*/ 4158438 w 5365133"/>
              <a:gd name="connsiteY2835" fmla="*/ 1398639 h 4367670"/>
              <a:gd name="connsiteX2836" fmla="*/ 4170544 w 5365133"/>
              <a:gd name="connsiteY2836" fmla="*/ 1401005 h 4367670"/>
              <a:gd name="connsiteX2837" fmla="*/ 4151173 w 5365133"/>
              <a:gd name="connsiteY2837" fmla="*/ 1426260 h 4367670"/>
              <a:gd name="connsiteX2838" fmla="*/ 4151173 w 5365133"/>
              <a:gd name="connsiteY2838" fmla="*/ 1407319 h 4367670"/>
              <a:gd name="connsiteX2839" fmla="*/ 4157630 w 5365133"/>
              <a:gd name="connsiteY2839" fmla="*/ 1413634 h 4367670"/>
              <a:gd name="connsiteX2840" fmla="*/ 4164087 w 5365133"/>
              <a:gd name="connsiteY2840" fmla="*/ 1401005 h 4367670"/>
              <a:gd name="connsiteX2841" fmla="*/ 4151173 w 5365133"/>
              <a:gd name="connsiteY2841" fmla="*/ 1401005 h 4367670"/>
              <a:gd name="connsiteX2842" fmla="*/ 4158438 w 5365133"/>
              <a:gd name="connsiteY2842" fmla="*/ 1398639 h 4367670"/>
              <a:gd name="connsiteX2843" fmla="*/ 4409114 w 5365133"/>
              <a:gd name="connsiteY2843" fmla="*/ 1397589 h 4367670"/>
              <a:gd name="connsiteX2844" fmla="*/ 4407620 w 5365133"/>
              <a:gd name="connsiteY2844" fmla="*/ 1403555 h 4367670"/>
              <a:gd name="connsiteX2845" fmla="*/ 4412242 w 5365133"/>
              <a:gd name="connsiteY2845" fmla="*/ 1407244 h 4367670"/>
              <a:gd name="connsiteX2846" fmla="*/ 4413819 w 5365133"/>
              <a:gd name="connsiteY2846" fmla="*/ 1406392 h 4367670"/>
              <a:gd name="connsiteX2847" fmla="*/ 4326291 w 5365133"/>
              <a:gd name="connsiteY2847" fmla="*/ 1397589 h 4367670"/>
              <a:gd name="connsiteX2848" fmla="*/ 4326291 w 5365133"/>
              <a:gd name="connsiteY2848" fmla="*/ 1398963 h 4367670"/>
              <a:gd name="connsiteX2849" fmla="*/ 4327143 w 5365133"/>
              <a:gd name="connsiteY2849" fmla="*/ 1398963 h 4367670"/>
              <a:gd name="connsiteX2850" fmla="*/ 4329509 w 5365133"/>
              <a:gd name="connsiteY2850" fmla="*/ 1398963 h 4367670"/>
              <a:gd name="connsiteX2851" fmla="*/ 4331401 w 5365133"/>
              <a:gd name="connsiteY2851" fmla="*/ 1397589 h 4367670"/>
              <a:gd name="connsiteX2852" fmla="*/ 4479455 w 5365133"/>
              <a:gd name="connsiteY2852" fmla="*/ 1392877 h 4367670"/>
              <a:gd name="connsiteX2853" fmla="*/ 4475512 w 5365133"/>
              <a:gd name="connsiteY2853" fmla="*/ 1394796 h 4367670"/>
              <a:gd name="connsiteX2854" fmla="*/ 4476951 w 5365133"/>
              <a:gd name="connsiteY2854" fmla="*/ 1395342 h 4367670"/>
              <a:gd name="connsiteX2855" fmla="*/ 4621506 w 5365133"/>
              <a:gd name="connsiteY2855" fmla="*/ 1391999 h 4367670"/>
              <a:gd name="connsiteX2856" fmla="*/ 4621873 w 5365133"/>
              <a:gd name="connsiteY2856" fmla="*/ 1397494 h 4367670"/>
              <a:gd name="connsiteX2857" fmla="*/ 4617568 w 5365133"/>
              <a:gd name="connsiteY2857" fmla="*/ 1394624 h 4367670"/>
              <a:gd name="connsiteX2858" fmla="*/ 4621873 w 5365133"/>
              <a:gd name="connsiteY2858" fmla="*/ 1391754 h 4367670"/>
              <a:gd name="connsiteX2859" fmla="*/ 4621506 w 5365133"/>
              <a:gd name="connsiteY2859" fmla="*/ 1391999 h 4367670"/>
              <a:gd name="connsiteX2860" fmla="*/ 4621502 w 5365133"/>
              <a:gd name="connsiteY2860" fmla="*/ 1391939 h 4367670"/>
              <a:gd name="connsiteX2861" fmla="*/ 4240197 w 5365133"/>
              <a:gd name="connsiteY2861" fmla="*/ 1391753 h 4367670"/>
              <a:gd name="connsiteX2862" fmla="*/ 4245936 w 5365133"/>
              <a:gd name="connsiteY2862" fmla="*/ 1391753 h 4367670"/>
              <a:gd name="connsiteX2863" fmla="*/ 4245936 w 5365133"/>
              <a:gd name="connsiteY2863" fmla="*/ 1398448 h 4367670"/>
              <a:gd name="connsiteX2864" fmla="*/ 4228718 w 5365133"/>
              <a:gd name="connsiteY2864" fmla="*/ 1411841 h 4367670"/>
              <a:gd name="connsiteX2865" fmla="*/ 4240197 w 5365133"/>
              <a:gd name="connsiteY2865" fmla="*/ 1391753 h 4367670"/>
              <a:gd name="connsiteX2866" fmla="*/ 4021317 w 5365133"/>
              <a:gd name="connsiteY2866" fmla="*/ 1388956 h 4367670"/>
              <a:gd name="connsiteX2867" fmla="*/ 4013033 w 5365133"/>
              <a:gd name="connsiteY2867" fmla="*/ 1392247 h 4367670"/>
              <a:gd name="connsiteX2868" fmla="*/ 3996983 w 5365133"/>
              <a:gd name="connsiteY2868" fmla="*/ 1398440 h 4367670"/>
              <a:gd name="connsiteX2869" fmla="*/ 3995490 w 5365133"/>
              <a:gd name="connsiteY2869" fmla="*/ 1400432 h 4367670"/>
              <a:gd name="connsiteX2870" fmla="*/ 3994245 w 5365133"/>
              <a:gd name="connsiteY2870" fmla="*/ 1399498 h 4367670"/>
              <a:gd name="connsiteX2871" fmla="*/ 3977697 w 5365133"/>
              <a:gd name="connsiteY2871" fmla="*/ 1405883 h 4367670"/>
              <a:gd name="connsiteX2872" fmla="*/ 3978271 w 5365133"/>
              <a:gd name="connsiteY2872" fmla="*/ 1407127 h 4367670"/>
              <a:gd name="connsiteX2873" fmla="*/ 3972533 w 5365133"/>
              <a:gd name="connsiteY2873" fmla="*/ 1409459 h 4367670"/>
              <a:gd name="connsiteX2874" fmla="*/ 3967096 w 5365133"/>
              <a:gd name="connsiteY2874" fmla="*/ 1424919 h 4367670"/>
              <a:gd name="connsiteX2875" fmla="*/ 3961053 w 5365133"/>
              <a:gd name="connsiteY2875" fmla="*/ 1419565 h 4367670"/>
              <a:gd name="connsiteX2876" fmla="*/ 3966792 w 5365133"/>
              <a:gd name="connsiteY2876" fmla="*/ 1413346 h 4367670"/>
              <a:gd name="connsiteX2877" fmla="*/ 3955313 w 5365133"/>
              <a:gd name="connsiteY2877" fmla="*/ 1419565 h 4367670"/>
              <a:gd name="connsiteX2878" fmla="*/ 3955313 w 5365133"/>
              <a:gd name="connsiteY2878" fmla="*/ 1414520 h 4367670"/>
              <a:gd name="connsiteX2879" fmla="*/ 3948078 w 5365133"/>
              <a:gd name="connsiteY2879" fmla="*/ 1417313 h 4367670"/>
              <a:gd name="connsiteX2880" fmla="*/ 3947556 w 5365133"/>
              <a:gd name="connsiteY2880" fmla="*/ 1418995 h 4367670"/>
              <a:gd name="connsiteX2881" fmla="*/ 3936660 w 5365133"/>
              <a:gd name="connsiteY2881" fmla="*/ 1431425 h 4367670"/>
              <a:gd name="connsiteX2882" fmla="*/ 3935550 w 5365133"/>
              <a:gd name="connsiteY2882" fmla="*/ 1433004 h 4367670"/>
              <a:gd name="connsiteX2883" fmla="*/ 3934876 w 5365133"/>
              <a:gd name="connsiteY2883" fmla="*/ 1432277 h 4367670"/>
              <a:gd name="connsiteX2884" fmla="*/ 3939804 w 5365133"/>
              <a:gd name="connsiteY2884" fmla="*/ 1440705 h 4367670"/>
              <a:gd name="connsiteX2885" fmla="*/ 3951760 w 5365133"/>
              <a:gd name="connsiteY2885" fmla="*/ 1422812 h 4367670"/>
              <a:gd name="connsiteX2886" fmla="*/ 3951760 w 5365133"/>
              <a:gd name="connsiteY2886" fmla="*/ 1428777 h 4367670"/>
              <a:gd name="connsiteX2887" fmla="*/ 3958859 w 5365133"/>
              <a:gd name="connsiteY2887" fmla="*/ 1426075 h 4367670"/>
              <a:gd name="connsiteX2888" fmla="*/ 3967004 w 5365133"/>
              <a:gd name="connsiteY2888" fmla="*/ 1425181 h 4367670"/>
              <a:gd name="connsiteX2889" fmla="*/ 3967096 w 5365133"/>
              <a:gd name="connsiteY2889" fmla="*/ 1424919 h 4367670"/>
              <a:gd name="connsiteX2890" fmla="*/ 3967348 w 5365133"/>
              <a:gd name="connsiteY2890" fmla="*/ 1425143 h 4367670"/>
              <a:gd name="connsiteX2891" fmla="*/ 3967386 w 5365133"/>
              <a:gd name="connsiteY2891" fmla="*/ 1425138 h 4367670"/>
              <a:gd name="connsiteX2892" fmla="*/ 3972533 w 5365133"/>
              <a:gd name="connsiteY2892" fmla="*/ 1419565 h 4367670"/>
              <a:gd name="connsiteX2893" fmla="*/ 3971825 w 5365133"/>
              <a:gd name="connsiteY2893" fmla="*/ 1423955 h 4367670"/>
              <a:gd name="connsiteX2894" fmla="*/ 3975297 w 5365133"/>
              <a:gd name="connsiteY2894" fmla="*/ 1422906 h 4367670"/>
              <a:gd name="connsiteX2895" fmla="*/ 3975671 w 5365133"/>
              <a:gd name="connsiteY2895" fmla="*/ 1416848 h 4367670"/>
              <a:gd name="connsiteX2896" fmla="*/ 3981648 w 5365133"/>
              <a:gd name="connsiteY2896" fmla="*/ 1422812 h 4367670"/>
              <a:gd name="connsiteX2897" fmla="*/ 3999583 w 5365133"/>
              <a:gd name="connsiteY2897" fmla="*/ 1404921 h 4367670"/>
              <a:gd name="connsiteX2898" fmla="*/ 4024242 w 5365133"/>
              <a:gd name="connsiteY2898" fmla="*/ 1403429 h 4367670"/>
              <a:gd name="connsiteX2899" fmla="*/ 4030698 w 5365133"/>
              <a:gd name="connsiteY2899" fmla="*/ 1400432 h 4367670"/>
              <a:gd name="connsiteX2900" fmla="*/ 4027056 w 5365133"/>
              <a:gd name="connsiteY2900" fmla="*/ 1400432 h 4367670"/>
              <a:gd name="connsiteX2901" fmla="*/ 4021317 w 5365133"/>
              <a:gd name="connsiteY2901" fmla="*/ 1400432 h 4367670"/>
              <a:gd name="connsiteX2902" fmla="*/ 4021317 w 5365133"/>
              <a:gd name="connsiteY2902" fmla="*/ 1389670 h 4367670"/>
              <a:gd name="connsiteX2903" fmla="*/ 4326291 w 5365133"/>
              <a:gd name="connsiteY2903" fmla="*/ 1388395 h 4367670"/>
              <a:gd name="connsiteX2904" fmla="*/ 4326291 w 5365133"/>
              <a:gd name="connsiteY2904" fmla="*/ 1392593 h 4367670"/>
              <a:gd name="connsiteX2905" fmla="*/ 4329681 w 5365133"/>
              <a:gd name="connsiteY2905" fmla="*/ 1391232 h 4367670"/>
              <a:gd name="connsiteX2906" fmla="*/ 4272244 w 5365133"/>
              <a:gd name="connsiteY2906" fmla="*/ 1387622 h 4367670"/>
              <a:gd name="connsiteX2907" fmla="*/ 4275800 w 5365133"/>
              <a:gd name="connsiteY2907" fmla="*/ 1389683 h 4367670"/>
              <a:gd name="connsiteX2908" fmla="*/ 4276548 w 5365133"/>
              <a:gd name="connsiteY2908" fmla="*/ 1392710 h 4367670"/>
              <a:gd name="connsiteX2909" fmla="*/ 4270570 w 5365133"/>
              <a:gd name="connsiteY2909" fmla="*/ 1392710 h 4367670"/>
              <a:gd name="connsiteX2910" fmla="*/ 4273185 w 5365133"/>
              <a:gd name="connsiteY2910" fmla="*/ 1384760 h 4367670"/>
              <a:gd name="connsiteX2911" fmla="*/ 4272244 w 5365133"/>
              <a:gd name="connsiteY2911" fmla="*/ 1387622 h 4367670"/>
              <a:gd name="connsiteX2912" fmla="*/ 4270570 w 5365133"/>
              <a:gd name="connsiteY2912" fmla="*/ 1386653 h 4367670"/>
              <a:gd name="connsiteX2913" fmla="*/ 4344225 w 5365133"/>
              <a:gd name="connsiteY2913" fmla="*/ 1382431 h 4367670"/>
              <a:gd name="connsiteX2914" fmla="*/ 4341692 w 5365133"/>
              <a:gd name="connsiteY2914" fmla="*/ 1385681 h 4367670"/>
              <a:gd name="connsiteX2915" fmla="*/ 4344942 w 5365133"/>
              <a:gd name="connsiteY2915" fmla="*/ 1384395 h 4367670"/>
              <a:gd name="connsiteX2916" fmla="*/ 4616133 w 5365133"/>
              <a:gd name="connsiteY2916" fmla="*/ 1380276 h 4367670"/>
              <a:gd name="connsiteX2917" fmla="*/ 4621155 w 5365133"/>
              <a:gd name="connsiteY2917" fmla="*/ 1386732 h 4367670"/>
              <a:gd name="connsiteX2918" fmla="*/ 4621502 w 5365133"/>
              <a:gd name="connsiteY2918" fmla="*/ 1391939 h 4367670"/>
              <a:gd name="connsiteX2919" fmla="*/ 4610394 w 5365133"/>
              <a:gd name="connsiteY2919" fmla="*/ 1397494 h 4367670"/>
              <a:gd name="connsiteX2920" fmla="*/ 4610394 w 5365133"/>
              <a:gd name="connsiteY2920" fmla="*/ 1391754 h 4367670"/>
              <a:gd name="connsiteX2921" fmla="*/ 4610394 w 5365133"/>
              <a:gd name="connsiteY2921" fmla="*/ 1385492 h 4367670"/>
              <a:gd name="connsiteX2922" fmla="*/ 4612547 w 5365133"/>
              <a:gd name="connsiteY2922" fmla="*/ 1385297 h 4367670"/>
              <a:gd name="connsiteX2923" fmla="*/ 4616133 w 5365133"/>
              <a:gd name="connsiteY2923" fmla="*/ 1380276 h 4367670"/>
              <a:gd name="connsiteX2924" fmla="*/ 4610394 w 5365133"/>
              <a:gd name="connsiteY2924" fmla="*/ 1380276 h 4367670"/>
              <a:gd name="connsiteX2925" fmla="*/ 4610394 w 5365133"/>
              <a:gd name="connsiteY2925" fmla="*/ 1385492 h 4367670"/>
              <a:gd name="connsiteX2926" fmla="*/ 4604654 w 5365133"/>
              <a:gd name="connsiteY2926" fmla="*/ 1386015 h 4367670"/>
              <a:gd name="connsiteX2927" fmla="*/ 4610394 w 5365133"/>
              <a:gd name="connsiteY2927" fmla="*/ 1380276 h 4367670"/>
              <a:gd name="connsiteX2928" fmla="*/ 4421070 w 5365133"/>
              <a:gd name="connsiteY2928" fmla="*/ 1379699 h 4367670"/>
              <a:gd name="connsiteX2929" fmla="*/ 4420324 w 5365133"/>
              <a:gd name="connsiteY2929" fmla="*/ 1387154 h 4367670"/>
              <a:gd name="connsiteX2930" fmla="*/ 4419277 w 5365133"/>
              <a:gd name="connsiteY2930" fmla="*/ 1386856 h 4367670"/>
              <a:gd name="connsiteX2931" fmla="*/ 4559592 w 5365133"/>
              <a:gd name="connsiteY2931" fmla="*/ 1378115 h 4367670"/>
              <a:gd name="connsiteX2932" fmla="*/ 4557605 w 5365133"/>
              <a:gd name="connsiteY2932" fmla="*/ 1378564 h 4367670"/>
              <a:gd name="connsiteX2933" fmla="*/ 4558437 w 5365133"/>
              <a:gd name="connsiteY2933" fmla="*/ 1383214 h 4367670"/>
              <a:gd name="connsiteX2934" fmla="*/ 4560978 w 5365133"/>
              <a:gd name="connsiteY2934" fmla="*/ 1378883 h 4367670"/>
              <a:gd name="connsiteX2935" fmla="*/ 4505632 w 5365133"/>
              <a:gd name="connsiteY2935" fmla="*/ 1376467 h 4367670"/>
              <a:gd name="connsiteX2936" fmla="*/ 4502148 w 5365133"/>
              <a:gd name="connsiteY2936" fmla="*/ 1379057 h 4367670"/>
              <a:gd name="connsiteX2937" fmla="*/ 4505973 w 5365133"/>
              <a:gd name="connsiteY2937" fmla="*/ 1379825 h 4367670"/>
              <a:gd name="connsiteX2938" fmla="*/ 4506111 w 5365133"/>
              <a:gd name="connsiteY2938" fmla="*/ 1377740 h 4367670"/>
              <a:gd name="connsiteX2939" fmla="*/ 4159505 w 5365133"/>
              <a:gd name="connsiteY2939" fmla="*/ 1376005 h 4367670"/>
              <a:gd name="connsiteX2940" fmla="*/ 4163040 w 5365133"/>
              <a:gd name="connsiteY2940" fmla="*/ 1376854 h 4367670"/>
              <a:gd name="connsiteX2941" fmla="*/ 4161093 w 5365133"/>
              <a:gd name="connsiteY2941" fmla="*/ 1377529 h 4367670"/>
              <a:gd name="connsiteX2942" fmla="*/ 4159360 w 5365133"/>
              <a:gd name="connsiteY2942" fmla="*/ 1376516 h 4367670"/>
              <a:gd name="connsiteX2943" fmla="*/ 4300462 w 5365133"/>
              <a:gd name="connsiteY2943" fmla="*/ 1374536 h 4367670"/>
              <a:gd name="connsiteX2944" fmla="*/ 4294484 w 5365133"/>
              <a:gd name="connsiteY2944" fmla="*/ 1386653 h 4367670"/>
              <a:gd name="connsiteX2945" fmla="*/ 4288506 w 5365133"/>
              <a:gd name="connsiteY2945" fmla="*/ 1392710 h 4367670"/>
              <a:gd name="connsiteX2946" fmla="*/ 4276548 w 5365133"/>
              <a:gd name="connsiteY2946" fmla="*/ 1392710 h 4367670"/>
              <a:gd name="connsiteX2947" fmla="*/ 4282526 w 5365133"/>
              <a:gd name="connsiteY2947" fmla="*/ 1380593 h 4367670"/>
              <a:gd name="connsiteX2948" fmla="*/ 4300462 w 5365133"/>
              <a:gd name="connsiteY2948" fmla="*/ 1374536 h 4367670"/>
              <a:gd name="connsiteX2949" fmla="*/ 4400600 w 5365133"/>
              <a:gd name="connsiteY2949" fmla="*/ 1374383 h 4367670"/>
              <a:gd name="connsiteX2950" fmla="*/ 4391900 w 5365133"/>
              <a:gd name="connsiteY2950" fmla="*/ 1377186 h 4367670"/>
              <a:gd name="connsiteX2951" fmla="*/ 4391180 w 5365133"/>
              <a:gd name="connsiteY2951" fmla="*/ 1379699 h 4367670"/>
              <a:gd name="connsiteX2952" fmla="*/ 4509028 w 5365133"/>
              <a:gd name="connsiteY2952" fmla="*/ 1372761 h 4367670"/>
              <a:gd name="connsiteX2953" fmla="*/ 4509835 w 5365133"/>
              <a:gd name="connsiteY2953" fmla="*/ 1373298 h 4367670"/>
              <a:gd name="connsiteX2954" fmla="*/ 4510224 w 5365133"/>
              <a:gd name="connsiteY2954" fmla="*/ 1374247 h 4367670"/>
              <a:gd name="connsiteX2955" fmla="*/ 4513780 w 5365133"/>
              <a:gd name="connsiteY2955" fmla="*/ 1373100 h 4367670"/>
              <a:gd name="connsiteX2956" fmla="*/ 4103305 w 5365133"/>
              <a:gd name="connsiteY2956" fmla="*/ 1371700 h 4367670"/>
              <a:gd name="connsiteX2957" fmla="*/ 4103988 w 5365133"/>
              <a:gd name="connsiteY2957" fmla="*/ 1372725 h 4367670"/>
              <a:gd name="connsiteX2958" fmla="*/ 4100435 w 5365133"/>
              <a:gd name="connsiteY2958" fmla="*/ 1376005 h 4367670"/>
              <a:gd name="connsiteX2959" fmla="*/ 4103305 w 5365133"/>
              <a:gd name="connsiteY2959" fmla="*/ 1371700 h 4367670"/>
              <a:gd name="connsiteX2960" fmla="*/ 4380627 w 5365133"/>
              <a:gd name="connsiteY2960" fmla="*/ 1371122 h 4367670"/>
              <a:gd name="connsiteX2961" fmla="*/ 4377104 w 5365133"/>
              <a:gd name="connsiteY2961" fmla="*/ 1371248 h 4367670"/>
              <a:gd name="connsiteX2962" fmla="*/ 4356181 w 5365133"/>
              <a:gd name="connsiteY2962" fmla="*/ 1376467 h 4367670"/>
              <a:gd name="connsiteX2963" fmla="*/ 4357650 w 5365133"/>
              <a:gd name="connsiteY2963" fmla="*/ 1379396 h 4367670"/>
              <a:gd name="connsiteX2964" fmla="*/ 4588826 w 5365133"/>
              <a:gd name="connsiteY2964" fmla="*/ 1370783 h 4367670"/>
              <a:gd name="connsiteX2965" fmla="*/ 4588330 w 5365133"/>
              <a:gd name="connsiteY2965" fmla="*/ 1371734 h 4367670"/>
              <a:gd name="connsiteX2966" fmla="*/ 4589551 w 5365133"/>
              <a:gd name="connsiteY2966" fmla="*/ 1371818 h 4367670"/>
              <a:gd name="connsiteX2967" fmla="*/ 4190893 w 5365133"/>
              <a:gd name="connsiteY2967" fmla="*/ 1370565 h 4367670"/>
              <a:gd name="connsiteX2968" fmla="*/ 4186997 w 5365133"/>
              <a:gd name="connsiteY2968" fmla="*/ 1376585 h 4367670"/>
              <a:gd name="connsiteX2969" fmla="*/ 4183658 w 5365133"/>
              <a:gd name="connsiteY2969" fmla="*/ 1375647 h 4367670"/>
              <a:gd name="connsiteX2970" fmla="*/ 4199240 w 5365133"/>
              <a:gd name="connsiteY2970" fmla="*/ 1367430 h 4367670"/>
              <a:gd name="connsiteX2971" fmla="*/ 4199240 w 5365133"/>
              <a:gd name="connsiteY2971" fmla="*/ 1388953 h 4367670"/>
              <a:gd name="connsiteX2972" fmla="*/ 4197976 w 5365133"/>
              <a:gd name="connsiteY2972" fmla="*/ 1377570 h 4367670"/>
              <a:gd name="connsiteX2973" fmla="*/ 4196236 w 5365133"/>
              <a:gd name="connsiteY2973" fmla="*/ 1378697 h 4367670"/>
              <a:gd name="connsiteX2974" fmla="*/ 4183658 w 5365133"/>
              <a:gd name="connsiteY2974" fmla="*/ 1381746 h 4367670"/>
              <a:gd name="connsiteX2975" fmla="*/ 4186997 w 5365133"/>
              <a:gd name="connsiteY2975" fmla="*/ 1376585 h 4367670"/>
              <a:gd name="connsiteX2976" fmla="*/ 4191796 w 5365133"/>
              <a:gd name="connsiteY2976" fmla="*/ 1377936 h 4367670"/>
              <a:gd name="connsiteX2977" fmla="*/ 4195496 w 5365133"/>
              <a:gd name="connsiteY2977" fmla="*/ 1375647 h 4367670"/>
              <a:gd name="connsiteX2978" fmla="*/ 4197825 w 5365133"/>
              <a:gd name="connsiteY2978" fmla="*/ 1376205 h 4367670"/>
              <a:gd name="connsiteX2979" fmla="*/ 4197627 w 5365133"/>
              <a:gd name="connsiteY2979" fmla="*/ 1374425 h 4367670"/>
              <a:gd name="connsiteX2980" fmla="*/ 4199240 w 5365133"/>
              <a:gd name="connsiteY2980" fmla="*/ 1367430 h 4367670"/>
              <a:gd name="connsiteX2981" fmla="*/ 4155011 w 5365133"/>
              <a:gd name="connsiteY2981" fmla="*/ 1366900 h 4367670"/>
              <a:gd name="connsiteX2982" fmla="*/ 4149033 w 5365133"/>
              <a:gd name="connsiteY2982" fmla="*/ 1369136 h 4367670"/>
              <a:gd name="connsiteX2983" fmla="*/ 4149033 w 5365133"/>
              <a:gd name="connsiteY2983" fmla="*/ 1375101 h 4367670"/>
              <a:gd name="connsiteX2984" fmla="*/ 4132594 w 5365133"/>
              <a:gd name="connsiteY2984" fmla="*/ 1383301 h 4367670"/>
              <a:gd name="connsiteX2985" fmla="*/ 4131390 w 5365133"/>
              <a:gd name="connsiteY2985" fmla="*/ 1386786 h 4367670"/>
              <a:gd name="connsiteX2986" fmla="*/ 4133622 w 5365133"/>
              <a:gd name="connsiteY2986" fmla="*/ 1385909 h 4367670"/>
              <a:gd name="connsiteX2987" fmla="*/ 4133237 w 5365133"/>
              <a:gd name="connsiteY2987" fmla="*/ 1383214 h 4367670"/>
              <a:gd name="connsiteX2988" fmla="*/ 4136945 w 5365133"/>
              <a:gd name="connsiteY2988" fmla="*/ 1384604 h 4367670"/>
              <a:gd name="connsiteX2989" fmla="*/ 4146052 w 5365133"/>
              <a:gd name="connsiteY2989" fmla="*/ 1381027 h 4367670"/>
              <a:gd name="connsiteX2990" fmla="*/ 4153525 w 5365133"/>
              <a:gd name="connsiteY2990" fmla="*/ 1370266 h 4367670"/>
              <a:gd name="connsiteX2991" fmla="*/ 4157262 w 5365133"/>
              <a:gd name="connsiteY2991" fmla="*/ 1375288 h 4367670"/>
              <a:gd name="connsiteX2992" fmla="*/ 4159360 w 5365133"/>
              <a:gd name="connsiteY2992" fmla="*/ 1376516 h 4367670"/>
              <a:gd name="connsiteX2993" fmla="*/ 4157565 w 5365133"/>
              <a:gd name="connsiteY2993" fmla="*/ 1382832 h 4367670"/>
              <a:gd name="connsiteX2994" fmla="*/ 4163369 w 5365133"/>
              <a:gd name="connsiteY2994" fmla="*/ 1377474 h 4367670"/>
              <a:gd name="connsiteX2995" fmla="*/ 4164925 w 5365133"/>
              <a:gd name="connsiteY2995" fmla="*/ 1383214 h 4367670"/>
              <a:gd name="connsiteX2996" fmla="*/ 4159390 w 5365133"/>
              <a:gd name="connsiteY2996" fmla="*/ 1387300 h 4367670"/>
              <a:gd name="connsiteX2997" fmla="*/ 4159505 w 5365133"/>
              <a:gd name="connsiteY2997" fmla="*/ 1387484 h 4367670"/>
              <a:gd name="connsiteX2998" fmla="*/ 4158938 w 5365133"/>
              <a:gd name="connsiteY2998" fmla="*/ 1387634 h 4367670"/>
              <a:gd name="connsiteX2999" fmla="*/ 4157153 w 5365133"/>
              <a:gd name="connsiteY2999" fmla="*/ 1388953 h 4367670"/>
              <a:gd name="connsiteX3000" fmla="*/ 4165702 w 5365133"/>
              <a:gd name="connsiteY3000" fmla="*/ 1387518 h 4367670"/>
              <a:gd name="connsiteX3001" fmla="*/ 4169411 w 5365133"/>
              <a:gd name="connsiteY3001" fmla="*/ 1377932 h 4367670"/>
              <a:gd name="connsiteX3002" fmla="*/ 4168472 w 5365133"/>
              <a:gd name="connsiteY3002" fmla="*/ 1378157 h 4367670"/>
              <a:gd name="connsiteX3003" fmla="*/ 4163040 w 5365133"/>
              <a:gd name="connsiteY3003" fmla="*/ 1376854 h 4367670"/>
              <a:gd name="connsiteX3004" fmla="*/ 4165483 w 5365133"/>
              <a:gd name="connsiteY3004" fmla="*/ 1376005 h 4367670"/>
              <a:gd name="connsiteX3005" fmla="*/ 4160989 w 5365133"/>
              <a:gd name="connsiteY3005" fmla="*/ 1367377 h 4367670"/>
              <a:gd name="connsiteX3006" fmla="*/ 4160989 w 5365133"/>
              <a:gd name="connsiteY3006" fmla="*/ 1369136 h 4367670"/>
              <a:gd name="connsiteX3007" fmla="*/ 4155011 w 5365133"/>
              <a:gd name="connsiteY3007" fmla="*/ 1366900 h 4367670"/>
              <a:gd name="connsiteX3008" fmla="*/ 4446384 w 5365133"/>
              <a:gd name="connsiteY3008" fmla="*/ 1361061 h 4367670"/>
              <a:gd name="connsiteX3009" fmla="*/ 4427048 w 5365133"/>
              <a:gd name="connsiteY3009" fmla="*/ 1367770 h 4367670"/>
              <a:gd name="connsiteX3010" fmla="*/ 4433027 w 5365133"/>
              <a:gd name="connsiteY3010" fmla="*/ 1391626 h 4367670"/>
              <a:gd name="connsiteX3011" fmla="*/ 4427048 w 5365133"/>
              <a:gd name="connsiteY3011" fmla="*/ 1397589 h 4367670"/>
              <a:gd name="connsiteX3012" fmla="*/ 4427048 w 5365133"/>
              <a:gd name="connsiteY3012" fmla="*/ 1379699 h 4367670"/>
              <a:gd name="connsiteX3013" fmla="*/ 4424059 w 5365133"/>
              <a:gd name="connsiteY3013" fmla="*/ 1373735 h 4367670"/>
              <a:gd name="connsiteX3014" fmla="*/ 4421079 w 5365133"/>
              <a:gd name="connsiteY3014" fmla="*/ 1367786 h 4367670"/>
              <a:gd name="connsiteX3015" fmla="*/ 4421068 w 5365133"/>
              <a:gd name="connsiteY3015" fmla="*/ 1367789 h 4367670"/>
              <a:gd name="connsiteX3016" fmla="*/ 4420323 w 5365133"/>
              <a:gd name="connsiteY3016" fmla="*/ 1372989 h 4367670"/>
              <a:gd name="connsiteX3017" fmla="*/ 4415092 w 5365133"/>
              <a:gd name="connsiteY3017" fmla="*/ 1373735 h 4367670"/>
              <a:gd name="connsiteX3018" fmla="*/ 4415092 w 5365133"/>
              <a:gd name="connsiteY3018" fmla="*/ 1385662 h 4367670"/>
              <a:gd name="connsiteX3019" fmla="*/ 4419277 w 5365133"/>
              <a:gd name="connsiteY3019" fmla="*/ 1386856 h 4367670"/>
              <a:gd name="connsiteX3020" fmla="*/ 4415092 w 5365133"/>
              <a:gd name="connsiteY3020" fmla="*/ 1403555 h 4367670"/>
              <a:gd name="connsiteX3021" fmla="*/ 4417699 w 5365133"/>
              <a:gd name="connsiteY3021" fmla="*/ 1404298 h 4367670"/>
              <a:gd name="connsiteX3022" fmla="*/ 4427585 w 5365133"/>
              <a:gd name="connsiteY3022" fmla="*/ 1398963 h 4367670"/>
              <a:gd name="connsiteX3023" fmla="*/ 4418717 w 5365133"/>
              <a:gd name="connsiteY3023" fmla="*/ 1404588 h 4367670"/>
              <a:gd name="connsiteX3024" fmla="*/ 4420323 w 5365133"/>
              <a:gd name="connsiteY3024" fmla="*/ 1405046 h 4367670"/>
              <a:gd name="connsiteX3025" fmla="*/ 4420579 w 5365133"/>
              <a:gd name="connsiteY3025" fmla="*/ 1408617 h 4367670"/>
              <a:gd name="connsiteX3026" fmla="*/ 4437575 w 5365133"/>
              <a:gd name="connsiteY3026" fmla="*/ 1402382 h 4367670"/>
              <a:gd name="connsiteX3027" fmla="*/ 4437307 w 5365133"/>
              <a:gd name="connsiteY3027" fmla="*/ 1401050 h 4367670"/>
              <a:gd name="connsiteX3028" fmla="*/ 4436038 w 5365133"/>
              <a:gd name="connsiteY3028" fmla="*/ 1401205 h 4367670"/>
              <a:gd name="connsiteX3029" fmla="*/ 4427585 w 5365133"/>
              <a:gd name="connsiteY3029" fmla="*/ 1398963 h 4367670"/>
              <a:gd name="connsiteX3030" fmla="*/ 4437654 w 5365133"/>
              <a:gd name="connsiteY3030" fmla="*/ 1397241 h 4367670"/>
              <a:gd name="connsiteX3031" fmla="*/ 4438258 w 5365133"/>
              <a:gd name="connsiteY3031" fmla="*/ 1392372 h 4367670"/>
              <a:gd name="connsiteX3032" fmla="*/ 4433027 w 5365133"/>
              <a:gd name="connsiteY3032" fmla="*/ 1379699 h 4367670"/>
              <a:gd name="connsiteX3033" fmla="*/ 4444983 w 5365133"/>
              <a:gd name="connsiteY3033" fmla="*/ 1379699 h 4367670"/>
              <a:gd name="connsiteX3034" fmla="*/ 4439005 w 5365133"/>
              <a:gd name="connsiteY3034" fmla="*/ 1373735 h 4367670"/>
              <a:gd name="connsiteX3035" fmla="*/ 4450961 w 5365133"/>
              <a:gd name="connsiteY3035" fmla="*/ 1361806 h 4367670"/>
              <a:gd name="connsiteX3036" fmla="*/ 4446384 w 5365133"/>
              <a:gd name="connsiteY3036" fmla="*/ 1361061 h 4367670"/>
              <a:gd name="connsiteX3037" fmla="*/ 4835331 w 5365133"/>
              <a:gd name="connsiteY3037" fmla="*/ 1359228 h 4367670"/>
              <a:gd name="connsiteX3038" fmla="*/ 4833553 w 5365133"/>
              <a:gd name="connsiteY3038" fmla="*/ 1361806 h 4367670"/>
              <a:gd name="connsiteX3039" fmla="*/ 4833553 w 5365133"/>
              <a:gd name="connsiteY3039" fmla="*/ 1359820 h 4367670"/>
              <a:gd name="connsiteX3040" fmla="*/ 4123392 w 5365133"/>
              <a:gd name="connsiteY3040" fmla="*/ 1358787 h 4367670"/>
              <a:gd name="connsiteX3041" fmla="*/ 4106174 w 5365133"/>
              <a:gd name="connsiteY3041" fmla="*/ 1376005 h 4367670"/>
              <a:gd name="connsiteX3042" fmla="*/ 4103988 w 5365133"/>
              <a:gd name="connsiteY3042" fmla="*/ 1372725 h 4367670"/>
              <a:gd name="connsiteX3043" fmla="*/ 4109762 w 5365133"/>
              <a:gd name="connsiteY3043" fmla="*/ 1367396 h 4367670"/>
              <a:gd name="connsiteX3044" fmla="*/ 4123392 w 5365133"/>
              <a:gd name="connsiteY3044" fmla="*/ 1358787 h 4367670"/>
              <a:gd name="connsiteX3045" fmla="*/ 4243922 w 5365133"/>
              <a:gd name="connsiteY3045" fmla="*/ 1353047 h 4367670"/>
              <a:gd name="connsiteX3046" fmla="*/ 4220964 w 5365133"/>
              <a:gd name="connsiteY3046" fmla="*/ 1364526 h 4367670"/>
              <a:gd name="connsiteX3047" fmla="*/ 4243922 w 5365133"/>
              <a:gd name="connsiteY3047" fmla="*/ 1353047 h 4367670"/>
              <a:gd name="connsiteX3048" fmla="*/ 4670657 w 5365133"/>
              <a:gd name="connsiteY3048" fmla="*/ 1351578 h 4367670"/>
              <a:gd name="connsiteX3049" fmla="*/ 4670657 w 5365133"/>
              <a:gd name="connsiteY3049" fmla="*/ 1363057 h 4367670"/>
              <a:gd name="connsiteX3050" fmla="*/ 4664918 w 5365133"/>
              <a:gd name="connsiteY3050" fmla="*/ 1357317 h 4367670"/>
              <a:gd name="connsiteX3051" fmla="*/ 4664918 w 5365133"/>
              <a:gd name="connsiteY3051" fmla="*/ 1368797 h 4367670"/>
              <a:gd name="connsiteX3052" fmla="*/ 4647699 w 5365133"/>
              <a:gd name="connsiteY3052" fmla="*/ 1363057 h 4367670"/>
              <a:gd name="connsiteX3053" fmla="*/ 4670657 w 5365133"/>
              <a:gd name="connsiteY3053" fmla="*/ 1351578 h 4367670"/>
              <a:gd name="connsiteX3054" fmla="*/ 4183658 w 5365133"/>
              <a:gd name="connsiteY3054" fmla="*/ 1351254 h 4367670"/>
              <a:gd name="connsiteX3055" fmla="*/ 4194016 w 5365133"/>
              <a:gd name="connsiteY3055" fmla="*/ 1352779 h 4367670"/>
              <a:gd name="connsiteX3056" fmla="*/ 4196148 w 5365133"/>
              <a:gd name="connsiteY3056" fmla="*/ 1351681 h 4367670"/>
              <a:gd name="connsiteX3057" fmla="*/ 4203634 w 5365133"/>
              <a:gd name="connsiteY3057" fmla="*/ 1356590 h 4367670"/>
              <a:gd name="connsiteX3058" fmla="*/ 4207333 w 5365133"/>
              <a:gd name="connsiteY3058" fmla="*/ 1357353 h 4367670"/>
              <a:gd name="connsiteX3059" fmla="*/ 4199934 w 5365133"/>
              <a:gd name="connsiteY3059" fmla="*/ 1364213 h 4367670"/>
              <a:gd name="connsiteX3060" fmla="*/ 4190893 w 5365133"/>
              <a:gd name="connsiteY3060" fmla="*/ 1370565 h 4367670"/>
              <a:gd name="connsiteX3061" fmla="*/ 4195496 w 5365133"/>
              <a:gd name="connsiteY3061" fmla="*/ 1363451 h 4367670"/>
              <a:gd name="connsiteX3062" fmla="*/ 4189365 w 5365133"/>
              <a:gd name="connsiteY3062" fmla="*/ 1358857 h 4367670"/>
              <a:gd name="connsiteX3063" fmla="*/ 4189398 w 5365133"/>
              <a:gd name="connsiteY3063" fmla="*/ 1358787 h 4367670"/>
              <a:gd name="connsiteX3064" fmla="*/ 4189292 w 5365133"/>
              <a:gd name="connsiteY3064" fmla="*/ 1358802 h 4367670"/>
              <a:gd name="connsiteX3065" fmla="*/ 4187357 w 5365133"/>
              <a:gd name="connsiteY3065" fmla="*/ 1357353 h 4367670"/>
              <a:gd name="connsiteX3066" fmla="*/ 4183658 w 5365133"/>
              <a:gd name="connsiteY3066" fmla="*/ 1351254 h 4367670"/>
              <a:gd name="connsiteX3067" fmla="*/ 4196902 w 5365133"/>
              <a:gd name="connsiteY3067" fmla="*/ 1350947 h 4367670"/>
              <a:gd name="connsiteX3068" fmla="*/ 4196976 w 5365133"/>
              <a:gd name="connsiteY3068" fmla="*/ 1351255 h 4367670"/>
              <a:gd name="connsiteX3069" fmla="*/ 4196148 w 5365133"/>
              <a:gd name="connsiteY3069" fmla="*/ 1351681 h 4367670"/>
              <a:gd name="connsiteX3070" fmla="*/ 4195496 w 5365133"/>
              <a:gd name="connsiteY3070" fmla="*/ 1351254 h 4367670"/>
              <a:gd name="connsiteX3071" fmla="*/ 4583561 w 5365133"/>
              <a:gd name="connsiteY3071" fmla="*/ 1350758 h 4367670"/>
              <a:gd name="connsiteX3072" fmla="*/ 4560782 w 5365133"/>
              <a:gd name="connsiteY3072" fmla="*/ 1357601 h 4367670"/>
              <a:gd name="connsiteX3073" fmla="*/ 4548214 w 5365133"/>
              <a:gd name="connsiteY3073" fmla="*/ 1362610 h 4367670"/>
              <a:gd name="connsiteX3074" fmla="*/ 4560583 w 5365133"/>
              <a:gd name="connsiteY3074" fmla="*/ 1359087 h 4367670"/>
              <a:gd name="connsiteX3075" fmla="*/ 4496246 w 5365133"/>
              <a:gd name="connsiteY3075" fmla="*/ 1349511 h 4367670"/>
              <a:gd name="connsiteX3076" fmla="*/ 4496544 w 5365133"/>
              <a:gd name="connsiteY3076" fmla="*/ 1349879 h 4367670"/>
              <a:gd name="connsiteX3077" fmla="*/ 4498786 w 5365133"/>
              <a:gd name="connsiteY3077" fmla="*/ 1351641 h 4367670"/>
              <a:gd name="connsiteX3078" fmla="*/ 4498786 w 5365133"/>
              <a:gd name="connsiteY3078" fmla="*/ 1355842 h 4367670"/>
              <a:gd name="connsiteX3079" fmla="*/ 4486830 w 5365133"/>
              <a:gd name="connsiteY3079" fmla="*/ 1354352 h 4367670"/>
              <a:gd name="connsiteX3080" fmla="*/ 4481819 w 5365133"/>
              <a:gd name="connsiteY3080" fmla="*/ 1349978 h 4367670"/>
              <a:gd name="connsiteX3081" fmla="*/ 4475578 w 5365133"/>
              <a:gd name="connsiteY3081" fmla="*/ 1351110 h 4367670"/>
              <a:gd name="connsiteX3082" fmla="*/ 4477862 w 5365133"/>
              <a:gd name="connsiteY3082" fmla="*/ 1355097 h 4367670"/>
              <a:gd name="connsiteX3083" fmla="*/ 4480852 w 5365133"/>
              <a:gd name="connsiteY3083" fmla="*/ 1355842 h 4367670"/>
              <a:gd name="connsiteX3084" fmla="*/ 4456939 w 5365133"/>
              <a:gd name="connsiteY3084" fmla="*/ 1379699 h 4367670"/>
              <a:gd name="connsiteX3085" fmla="*/ 4456192 w 5365133"/>
              <a:gd name="connsiteY3085" fmla="*/ 1388644 h 4367670"/>
              <a:gd name="connsiteX3086" fmla="*/ 4452923 w 5365133"/>
              <a:gd name="connsiteY3086" fmla="*/ 1394235 h 4367670"/>
              <a:gd name="connsiteX3087" fmla="*/ 4456440 w 5365133"/>
              <a:gd name="connsiteY3087" fmla="*/ 1393313 h 4367670"/>
              <a:gd name="connsiteX3088" fmla="*/ 4464892 w 5365133"/>
              <a:gd name="connsiteY3088" fmla="*/ 1387484 h 4367670"/>
              <a:gd name="connsiteX3089" fmla="*/ 4462760 w 5365133"/>
              <a:gd name="connsiteY3089" fmla="*/ 1390686 h 4367670"/>
              <a:gd name="connsiteX3090" fmla="*/ 4501911 w 5365133"/>
              <a:gd name="connsiteY3090" fmla="*/ 1372253 h 4367670"/>
              <a:gd name="connsiteX3091" fmla="*/ 4501775 w 5365133"/>
              <a:gd name="connsiteY3091" fmla="*/ 1372244 h 4367670"/>
              <a:gd name="connsiteX3092" fmla="*/ 4480852 w 5365133"/>
              <a:gd name="connsiteY3092" fmla="*/ 1379699 h 4367670"/>
              <a:gd name="connsiteX3093" fmla="*/ 4474873 w 5365133"/>
              <a:gd name="connsiteY3093" fmla="*/ 1361806 h 4367670"/>
              <a:gd name="connsiteX3094" fmla="*/ 4480852 w 5365133"/>
              <a:gd name="connsiteY3094" fmla="*/ 1373735 h 4367670"/>
              <a:gd name="connsiteX3095" fmla="*/ 4486830 w 5365133"/>
              <a:gd name="connsiteY3095" fmla="*/ 1361806 h 4367670"/>
              <a:gd name="connsiteX3096" fmla="*/ 4498786 w 5365133"/>
              <a:gd name="connsiteY3096" fmla="*/ 1367770 h 4367670"/>
              <a:gd name="connsiteX3097" fmla="*/ 4498786 w 5365133"/>
              <a:gd name="connsiteY3097" fmla="*/ 1355842 h 4367670"/>
              <a:gd name="connsiteX3098" fmla="*/ 4499627 w 5365133"/>
              <a:gd name="connsiteY3098" fmla="*/ 1352302 h 4367670"/>
              <a:gd name="connsiteX3099" fmla="*/ 4498786 w 5365133"/>
              <a:gd name="connsiteY3099" fmla="*/ 1351641 h 4367670"/>
              <a:gd name="connsiteX3100" fmla="*/ 4498786 w 5365133"/>
              <a:gd name="connsiteY3100" fmla="*/ 1349895 h 4367670"/>
              <a:gd name="connsiteX3101" fmla="*/ 4618221 w 5365133"/>
              <a:gd name="connsiteY3101" fmla="*/ 1348780 h 4367670"/>
              <a:gd name="connsiteX3102" fmla="*/ 4616137 w 5365133"/>
              <a:gd name="connsiteY3102" fmla="*/ 1352282 h 4367670"/>
              <a:gd name="connsiteX3103" fmla="*/ 4618221 w 5365133"/>
              <a:gd name="connsiteY3103" fmla="*/ 1352537 h 4367670"/>
              <a:gd name="connsiteX3104" fmla="*/ 4151186 w 5365133"/>
              <a:gd name="connsiteY3104" fmla="*/ 1347615 h 4367670"/>
              <a:gd name="connsiteX3105" fmla="*/ 4147086 w 5365133"/>
              <a:gd name="connsiteY3105" fmla="*/ 1347709 h 4367670"/>
              <a:gd name="connsiteX3106" fmla="*/ 4145938 w 5365133"/>
              <a:gd name="connsiteY3106" fmla="*/ 1350891 h 4367670"/>
              <a:gd name="connsiteX3107" fmla="*/ 4150013 w 5365133"/>
              <a:gd name="connsiteY3107" fmla="*/ 1348205 h 4367670"/>
              <a:gd name="connsiteX3108" fmla="*/ 4152648 w 5365133"/>
              <a:gd name="connsiteY3108" fmla="*/ 1347983 h 4367670"/>
              <a:gd name="connsiteX3109" fmla="*/ 4433895 w 5365133"/>
              <a:gd name="connsiteY3109" fmla="*/ 1346647 h 4367670"/>
              <a:gd name="connsiteX3110" fmla="*/ 4409983 w 5365133"/>
              <a:gd name="connsiteY3110" fmla="*/ 1358574 h 4367670"/>
              <a:gd name="connsiteX3111" fmla="*/ 4405158 w 5365133"/>
              <a:gd name="connsiteY3111" fmla="*/ 1364128 h 4367670"/>
              <a:gd name="connsiteX3112" fmla="*/ 4405384 w 5365133"/>
              <a:gd name="connsiteY3112" fmla="*/ 1364387 h 4367670"/>
              <a:gd name="connsiteX3113" fmla="*/ 4409077 w 5365133"/>
              <a:gd name="connsiteY3113" fmla="*/ 1363172 h 4367670"/>
              <a:gd name="connsiteX3114" fmla="*/ 4412443 w 5365133"/>
              <a:gd name="connsiteY3114" fmla="*/ 1362562 h 4367670"/>
              <a:gd name="connsiteX3115" fmla="*/ 4409983 w 5365133"/>
              <a:gd name="connsiteY3115" fmla="*/ 1358574 h 4367670"/>
              <a:gd name="connsiteX3116" fmla="*/ 4415961 w 5365133"/>
              <a:gd name="connsiteY3116" fmla="*/ 1361556 h 4367670"/>
              <a:gd name="connsiteX3117" fmla="*/ 4416501 w 5365133"/>
              <a:gd name="connsiteY3117" fmla="*/ 1361825 h 4367670"/>
              <a:gd name="connsiteX3118" fmla="*/ 4433863 w 5365133"/>
              <a:gd name="connsiteY3118" fmla="*/ 1358676 h 4367670"/>
              <a:gd name="connsiteX3119" fmla="*/ 4435268 w 5365133"/>
              <a:gd name="connsiteY3119" fmla="*/ 1358079 h 4367670"/>
              <a:gd name="connsiteX3120" fmla="*/ 4439797 w 5365133"/>
              <a:gd name="connsiteY3120" fmla="*/ 1355829 h 4367670"/>
              <a:gd name="connsiteX3121" fmla="*/ 4437631 w 5365133"/>
              <a:gd name="connsiteY3121" fmla="*/ 1354847 h 4367670"/>
              <a:gd name="connsiteX3122" fmla="*/ 4433895 w 5365133"/>
              <a:gd name="connsiteY3122" fmla="*/ 1346647 h 4367670"/>
              <a:gd name="connsiteX3123" fmla="*/ 4377944 w 5365133"/>
              <a:gd name="connsiteY3123" fmla="*/ 1345839 h 4367670"/>
              <a:gd name="connsiteX3124" fmla="*/ 4343507 w 5365133"/>
              <a:gd name="connsiteY3124" fmla="*/ 1363057 h 4367670"/>
              <a:gd name="connsiteX3125" fmla="*/ 4343507 w 5365133"/>
              <a:gd name="connsiteY3125" fmla="*/ 1357317 h 4367670"/>
              <a:gd name="connsiteX3126" fmla="*/ 4377944 w 5365133"/>
              <a:gd name="connsiteY3126" fmla="*/ 1345839 h 4367670"/>
              <a:gd name="connsiteX3127" fmla="*/ 4693615 w 5365133"/>
              <a:gd name="connsiteY3127" fmla="*/ 1345837 h 4367670"/>
              <a:gd name="connsiteX3128" fmla="*/ 4687876 w 5365133"/>
              <a:gd name="connsiteY3128" fmla="*/ 1357315 h 4367670"/>
              <a:gd name="connsiteX3129" fmla="*/ 4693615 w 5365133"/>
              <a:gd name="connsiteY3129" fmla="*/ 1345837 h 4367670"/>
              <a:gd name="connsiteX3130" fmla="*/ 4099714 w 5365133"/>
              <a:gd name="connsiteY3130" fmla="*/ 1345281 h 4367670"/>
              <a:gd name="connsiteX3131" fmla="*/ 4089252 w 5365133"/>
              <a:gd name="connsiteY3131" fmla="*/ 1351245 h 4367670"/>
              <a:gd name="connsiteX3132" fmla="*/ 4099340 w 5365133"/>
              <a:gd name="connsiteY3132" fmla="*/ 1352083 h 4367670"/>
              <a:gd name="connsiteX3133" fmla="*/ 4099644 w 5365133"/>
              <a:gd name="connsiteY3133" fmla="*/ 1352917 h 4367670"/>
              <a:gd name="connsiteX3134" fmla="*/ 4102198 w 5365133"/>
              <a:gd name="connsiteY3134" fmla="*/ 1351036 h 4367670"/>
              <a:gd name="connsiteX3135" fmla="*/ 4102703 w 5365133"/>
              <a:gd name="connsiteY3135" fmla="*/ 1347889 h 4367670"/>
              <a:gd name="connsiteX3136" fmla="*/ 4099714 w 5365133"/>
              <a:gd name="connsiteY3136" fmla="*/ 1345281 h 4367670"/>
              <a:gd name="connsiteX3137" fmla="*/ 4452912 w 5365133"/>
              <a:gd name="connsiteY3137" fmla="*/ 1344344 h 4367670"/>
              <a:gd name="connsiteX3138" fmla="*/ 4447543 w 5365133"/>
              <a:gd name="connsiteY3138" fmla="*/ 1345239 h 4367670"/>
              <a:gd name="connsiteX3139" fmla="*/ 4447719 w 5365133"/>
              <a:gd name="connsiteY3139" fmla="*/ 1345714 h 4367670"/>
              <a:gd name="connsiteX3140" fmla="*/ 4451829 w 5365133"/>
              <a:gd name="connsiteY3140" fmla="*/ 1345155 h 4367670"/>
              <a:gd name="connsiteX3141" fmla="*/ 4498786 w 5365133"/>
              <a:gd name="connsiteY3141" fmla="*/ 1343915 h 4367670"/>
              <a:gd name="connsiteX3142" fmla="*/ 4494583 w 5365133"/>
              <a:gd name="connsiteY3142" fmla="*/ 1347456 h 4367670"/>
              <a:gd name="connsiteX3143" fmla="*/ 4494728 w 5365133"/>
              <a:gd name="connsiteY3143" fmla="*/ 1347636 h 4367670"/>
              <a:gd name="connsiteX3144" fmla="*/ 4498786 w 5365133"/>
              <a:gd name="connsiteY3144" fmla="*/ 1346900 h 4367670"/>
              <a:gd name="connsiteX3145" fmla="*/ 4476659 w 5365133"/>
              <a:gd name="connsiteY3145" fmla="*/ 1343001 h 4367670"/>
              <a:gd name="connsiteX3146" fmla="*/ 4474873 w 5365133"/>
              <a:gd name="connsiteY3146" fmla="*/ 1343376 h 4367670"/>
              <a:gd name="connsiteX3147" fmla="*/ 4474873 w 5365133"/>
              <a:gd name="connsiteY3147" fmla="*/ 1343915 h 4367670"/>
              <a:gd name="connsiteX3148" fmla="*/ 4474873 w 5365133"/>
              <a:gd name="connsiteY3148" fmla="*/ 1349879 h 4367670"/>
              <a:gd name="connsiteX3149" fmla="*/ 4475046 w 5365133"/>
              <a:gd name="connsiteY3149" fmla="*/ 1350181 h 4367670"/>
              <a:gd name="connsiteX3150" fmla="*/ 4480118 w 5365133"/>
              <a:gd name="connsiteY3150" fmla="*/ 1348494 h 4367670"/>
              <a:gd name="connsiteX3151" fmla="*/ 4474873 w 5365133"/>
              <a:gd name="connsiteY3151" fmla="*/ 1343915 h 4367670"/>
              <a:gd name="connsiteX3152" fmla="*/ 4454483 w 5365133"/>
              <a:gd name="connsiteY3152" fmla="*/ 1340201 h 4367670"/>
              <a:gd name="connsiteX3153" fmla="*/ 4451830 w 5365133"/>
              <a:gd name="connsiteY3153" fmla="*/ 1340682 h 4367670"/>
              <a:gd name="connsiteX3154" fmla="*/ 4451082 w 5365133"/>
              <a:gd name="connsiteY3154" fmla="*/ 1340682 h 4367670"/>
              <a:gd name="connsiteX3155" fmla="*/ 4450988 w 5365133"/>
              <a:gd name="connsiteY3155" fmla="*/ 1340682 h 4367670"/>
              <a:gd name="connsiteX3156" fmla="*/ 4450054 w 5365133"/>
              <a:gd name="connsiteY3156" fmla="*/ 1340682 h 4367670"/>
              <a:gd name="connsiteX3157" fmla="*/ 4445851 w 5365133"/>
              <a:gd name="connsiteY3157" fmla="*/ 1340682 h 4367670"/>
              <a:gd name="connsiteX3158" fmla="*/ 4446929 w 5365133"/>
              <a:gd name="connsiteY3158" fmla="*/ 1343586 h 4367670"/>
              <a:gd name="connsiteX3159" fmla="*/ 4448252 w 5365133"/>
              <a:gd name="connsiteY3159" fmla="*/ 1342588 h 4367670"/>
              <a:gd name="connsiteX3160" fmla="*/ 4452556 w 5365133"/>
              <a:gd name="connsiteY3160" fmla="*/ 1341355 h 4367670"/>
              <a:gd name="connsiteX3161" fmla="*/ 4460049 w 5365133"/>
              <a:gd name="connsiteY3161" fmla="*/ 1339191 h 4367670"/>
              <a:gd name="connsiteX3162" fmla="*/ 4459389 w 5365133"/>
              <a:gd name="connsiteY3162" fmla="*/ 1339310 h 4367670"/>
              <a:gd name="connsiteX3163" fmla="*/ 4459282 w 5365133"/>
              <a:gd name="connsiteY3163" fmla="*/ 1339785 h 4367670"/>
              <a:gd name="connsiteX3164" fmla="*/ 4457872 w 5365133"/>
              <a:gd name="connsiteY3164" fmla="*/ 1341098 h 4367670"/>
              <a:gd name="connsiteX3165" fmla="*/ 4458637 w 5365133"/>
              <a:gd name="connsiteY3165" fmla="*/ 1346083 h 4367670"/>
              <a:gd name="connsiteX3166" fmla="*/ 4462028 w 5365133"/>
              <a:gd name="connsiteY3166" fmla="*/ 1343139 h 4367670"/>
              <a:gd name="connsiteX3167" fmla="*/ 4151147 w 5365133"/>
              <a:gd name="connsiteY3167" fmla="*/ 1338470 h 4367670"/>
              <a:gd name="connsiteX3168" fmla="*/ 4149248 w 5365133"/>
              <a:gd name="connsiteY3168" fmla="*/ 1339287 h 4367670"/>
              <a:gd name="connsiteX3169" fmla="*/ 4151186 w 5365133"/>
              <a:gd name="connsiteY3169" fmla="*/ 1340850 h 4367670"/>
              <a:gd name="connsiteX3170" fmla="*/ 4152770 w 5365133"/>
              <a:gd name="connsiteY3170" fmla="*/ 1339910 h 4367670"/>
              <a:gd name="connsiteX3171" fmla="*/ 4516719 w 5365133"/>
              <a:gd name="connsiteY3171" fmla="*/ 1337949 h 4367670"/>
              <a:gd name="connsiteX3172" fmla="*/ 4516284 w 5365133"/>
              <a:gd name="connsiteY3172" fmla="*/ 1338689 h 4367670"/>
              <a:gd name="connsiteX3173" fmla="*/ 4517228 w 5365133"/>
              <a:gd name="connsiteY3173" fmla="*/ 1337964 h 4367670"/>
              <a:gd name="connsiteX3174" fmla="*/ 4510742 w 5365133"/>
              <a:gd name="connsiteY3174" fmla="*/ 1337949 h 4367670"/>
              <a:gd name="connsiteX3175" fmla="*/ 4504764 w 5365133"/>
              <a:gd name="connsiteY3175" fmla="*/ 1343915 h 4367670"/>
              <a:gd name="connsiteX3176" fmla="*/ 4505110 w 5365133"/>
              <a:gd name="connsiteY3176" fmla="*/ 1345753 h 4367670"/>
              <a:gd name="connsiteX3177" fmla="*/ 4507713 w 5365133"/>
              <a:gd name="connsiteY3177" fmla="*/ 1345281 h 4367670"/>
              <a:gd name="connsiteX3178" fmla="*/ 4510742 w 5365133"/>
              <a:gd name="connsiteY3178" fmla="*/ 1342952 h 4367670"/>
              <a:gd name="connsiteX3179" fmla="*/ 4283695 w 5365133"/>
              <a:gd name="connsiteY3179" fmla="*/ 1335576 h 4367670"/>
              <a:gd name="connsiteX3180" fmla="*/ 4277545 w 5365133"/>
              <a:gd name="connsiteY3180" fmla="*/ 1348203 h 4367670"/>
              <a:gd name="connsiteX3181" fmla="*/ 4308292 w 5365133"/>
              <a:gd name="connsiteY3181" fmla="*/ 1341891 h 4367670"/>
              <a:gd name="connsiteX3182" fmla="*/ 4283695 w 5365133"/>
              <a:gd name="connsiteY3182" fmla="*/ 1354518 h 4367670"/>
              <a:gd name="connsiteX3183" fmla="*/ 4271395 w 5365133"/>
              <a:gd name="connsiteY3183" fmla="*/ 1348203 h 4367670"/>
              <a:gd name="connsiteX3184" fmla="*/ 4277545 w 5365133"/>
              <a:gd name="connsiteY3184" fmla="*/ 1341891 h 4367670"/>
              <a:gd name="connsiteX3185" fmla="*/ 4283695 w 5365133"/>
              <a:gd name="connsiteY3185" fmla="*/ 1335576 h 4367670"/>
              <a:gd name="connsiteX3186" fmla="*/ 4613979 w 5365133"/>
              <a:gd name="connsiteY3186" fmla="*/ 1334225 h 4367670"/>
              <a:gd name="connsiteX3187" fmla="*/ 4611269 w 5365133"/>
              <a:gd name="connsiteY3187" fmla="*/ 1334908 h 4367670"/>
              <a:gd name="connsiteX3188" fmla="*/ 4608853 w 5365133"/>
              <a:gd name="connsiteY3188" fmla="*/ 1337234 h 4367670"/>
              <a:gd name="connsiteX3189" fmla="*/ 4236928 w 5365133"/>
              <a:gd name="connsiteY3189" fmla="*/ 1332960 h 4367670"/>
              <a:gd name="connsiteX3190" fmla="*/ 4242848 w 5365133"/>
              <a:gd name="connsiteY3190" fmla="*/ 1339057 h 4367670"/>
              <a:gd name="connsiteX3191" fmla="*/ 4248766 w 5365133"/>
              <a:gd name="connsiteY3191" fmla="*/ 1340583 h 4367670"/>
              <a:gd name="connsiteX3192" fmla="*/ 4243918 w 5365133"/>
              <a:gd name="connsiteY3192" fmla="*/ 1342209 h 4367670"/>
              <a:gd name="connsiteX3193" fmla="*/ 4250178 w 5365133"/>
              <a:gd name="connsiteY3193" fmla="*/ 1347845 h 4367670"/>
              <a:gd name="connsiteX3194" fmla="*/ 4253766 w 5365133"/>
              <a:gd name="connsiteY3194" fmla="*/ 1340741 h 4367670"/>
              <a:gd name="connsiteX3195" fmla="*/ 4248026 w 5365133"/>
              <a:gd name="connsiteY3195" fmla="*/ 1353370 h 4367670"/>
              <a:gd name="connsiteX3196" fmla="*/ 4253048 w 5365133"/>
              <a:gd name="connsiteY3196" fmla="*/ 1359683 h 4367670"/>
              <a:gd name="connsiteX3197" fmla="*/ 4253720 w 5365133"/>
              <a:gd name="connsiteY3197" fmla="*/ 1365597 h 4367670"/>
              <a:gd name="connsiteX3198" fmla="*/ 4254587 w 5365133"/>
              <a:gd name="connsiteY3198" fmla="*/ 1365176 h 4367670"/>
              <a:gd name="connsiteX3199" fmla="*/ 4254587 w 5365133"/>
              <a:gd name="connsiteY3199" fmla="*/ 1377474 h 4367670"/>
              <a:gd name="connsiteX3200" fmla="*/ 4266557 w 5365133"/>
              <a:gd name="connsiteY3200" fmla="*/ 1371326 h 4367670"/>
              <a:gd name="connsiteX3201" fmla="*/ 4260572 w 5365133"/>
              <a:gd name="connsiteY3201" fmla="*/ 1359026 h 4367670"/>
              <a:gd name="connsiteX3202" fmla="*/ 4374295 w 5365133"/>
              <a:gd name="connsiteY3202" fmla="*/ 1334429 h 4367670"/>
              <a:gd name="connsiteX3203" fmla="*/ 4280772 w 5365133"/>
              <a:gd name="connsiteY3203" fmla="*/ 1372863 h 4367670"/>
              <a:gd name="connsiteX3204" fmla="*/ 4276542 w 5365133"/>
              <a:gd name="connsiteY3204" fmla="*/ 1374601 h 4367670"/>
              <a:gd name="connsiteX3205" fmla="*/ 4275801 w 5365133"/>
              <a:gd name="connsiteY3205" fmla="*/ 1382866 h 4367670"/>
              <a:gd name="connsiteX3206" fmla="*/ 4273185 w 5365133"/>
              <a:gd name="connsiteY3206" fmla="*/ 1384760 h 4367670"/>
              <a:gd name="connsiteX3207" fmla="*/ 4276524 w 5365133"/>
              <a:gd name="connsiteY3207" fmla="*/ 1374608 h 4367670"/>
              <a:gd name="connsiteX3208" fmla="*/ 4164803 w 5365133"/>
              <a:gd name="connsiteY3208" fmla="*/ 1420521 h 4367670"/>
              <a:gd name="connsiteX3209" fmla="*/ 4170788 w 5365133"/>
              <a:gd name="connsiteY3209" fmla="*/ 1402074 h 4367670"/>
              <a:gd name="connsiteX3210" fmla="*/ 4194732 w 5365133"/>
              <a:gd name="connsiteY3210" fmla="*/ 1402074 h 4367670"/>
              <a:gd name="connsiteX3211" fmla="*/ 4200716 w 5365133"/>
              <a:gd name="connsiteY3211" fmla="*/ 1395924 h 4367670"/>
              <a:gd name="connsiteX3212" fmla="*/ 4206702 w 5365133"/>
              <a:gd name="connsiteY3212" fmla="*/ 1383624 h 4367670"/>
              <a:gd name="connsiteX3213" fmla="*/ 4224658 w 5365133"/>
              <a:gd name="connsiteY3213" fmla="*/ 1383624 h 4367670"/>
              <a:gd name="connsiteX3214" fmla="*/ 4224658 w 5365133"/>
              <a:gd name="connsiteY3214" fmla="*/ 1365176 h 4367670"/>
              <a:gd name="connsiteX3215" fmla="*/ 4236629 w 5365133"/>
              <a:gd name="connsiteY3215" fmla="*/ 1371326 h 4367670"/>
              <a:gd name="connsiteX3216" fmla="*/ 4230643 w 5365133"/>
              <a:gd name="connsiteY3216" fmla="*/ 1383624 h 4367670"/>
              <a:gd name="connsiteX3217" fmla="*/ 4240371 w 5365133"/>
              <a:gd name="connsiteY3217" fmla="*/ 1372094 h 4367670"/>
              <a:gd name="connsiteX3218" fmla="*/ 4253482 w 5365133"/>
              <a:gd name="connsiteY3218" fmla="*/ 1365713 h 4367670"/>
              <a:gd name="connsiteX3219" fmla="*/ 4245875 w 5365133"/>
              <a:gd name="connsiteY3219" fmla="*/ 1358104 h 4367670"/>
              <a:gd name="connsiteX3220" fmla="*/ 4242676 w 5365133"/>
              <a:gd name="connsiteY3220" fmla="*/ 1342625 h 4367670"/>
              <a:gd name="connsiteX3221" fmla="*/ 4232859 w 5365133"/>
              <a:gd name="connsiteY3221" fmla="*/ 1345918 h 4367670"/>
              <a:gd name="connsiteX3222" fmla="*/ 4219172 w 5365133"/>
              <a:gd name="connsiteY3222" fmla="*/ 1351254 h 4367670"/>
              <a:gd name="connsiteX3223" fmla="*/ 4203357 w 5365133"/>
              <a:gd name="connsiteY3223" fmla="*/ 1349539 h 4367670"/>
              <a:gd name="connsiteX3224" fmla="*/ 4196902 w 5365133"/>
              <a:gd name="connsiteY3224" fmla="*/ 1350947 h 4367670"/>
              <a:gd name="connsiteX3225" fmla="*/ 4195496 w 5365133"/>
              <a:gd name="connsiteY3225" fmla="*/ 1345157 h 4367670"/>
              <a:gd name="connsiteX3226" fmla="*/ 4211033 w 5365133"/>
              <a:gd name="connsiteY3226" fmla="*/ 1344394 h 4367670"/>
              <a:gd name="connsiteX3227" fmla="*/ 4230393 w 5365133"/>
              <a:gd name="connsiteY3227" fmla="*/ 1339222 h 4367670"/>
              <a:gd name="connsiteX3228" fmla="*/ 4229530 w 5365133"/>
              <a:gd name="connsiteY3228" fmla="*/ 1340582 h 4367670"/>
              <a:gd name="connsiteX3229" fmla="*/ 4231010 w 5365133"/>
              <a:gd name="connsiteY3229" fmla="*/ 1339057 h 4367670"/>
              <a:gd name="connsiteX3230" fmla="*/ 4230393 w 5365133"/>
              <a:gd name="connsiteY3230" fmla="*/ 1339222 h 4367670"/>
              <a:gd name="connsiteX3231" fmla="*/ 4232674 w 5365133"/>
              <a:gd name="connsiteY3231" fmla="*/ 1335628 h 4367670"/>
              <a:gd name="connsiteX3232" fmla="*/ 4236928 w 5365133"/>
              <a:gd name="connsiteY3232" fmla="*/ 1332960 h 4367670"/>
              <a:gd name="connsiteX3233" fmla="*/ 4562784 w 5365133"/>
              <a:gd name="connsiteY3233" fmla="*/ 1332893 h 4367670"/>
              <a:gd name="connsiteX3234" fmla="*/ 4558527 w 5365133"/>
              <a:gd name="connsiteY3234" fmla="*/ 1333352 h 4367670"/>
              <a:gd name="connsiteX3235" fmla="*/ 4551615 w 5365133"/>
              <a:gd name="connsiteY3235" fmla="*/ 1334097 h 4367670"/>
              <a:gd name="connsiteX3236" fmla="*/ 4548193 w 5365133"/>
              <a:gd name="connsiteY3236" fmla="*/ 1336320 h 4367670"/>
              <a:gd name="connsiteX3237" fmla="*/ 4550128 w 5365133"/>
              <a:gd name="connsiteY3237" fmla="*/ 1339143 h 4367670"/>
              <a:gd name="connsiteX3238" fmla="*/ 4538650 w 5365133"/>
              <a:gd name="connsiteY3238" fmla="*/ 1345839 h 4367670"/>
              <a:gd name="connsiteX3239" fmla="*/ 4539367 w 5365133"/>
              <a:gd name="connsiteY3239" fmla="*/ 1336631 h 4367670"/>
              <a:gd name="connsiteX3240" fmla="*/ 4539932 w 5365133"/>
              <a:gd name="connsiteY3240" fmla="*/ 1336160 h 4367670"/>
              <a:gd name="connsiteX3241" fmla="*/ 4537977 w 5365133"/>
              <a:gd name="connsiteY3241" fmla="*/ 1334470 h 4367670"/>
              <a:gd name="connsiteX3242" fmla="*/ 4525648 w 5365133"/>
              <a:gd name="connsiteY3242" fmla="*/ 1336334 h 4367670"/>
              <a:gd name="connsiteX3243" fmla="*/ 4523413 w 5365133"/>
              <a:gd name="connsiteY3243" fmla="*/ 1337483 h 4367670"/>
              <a:gd name="connsiteX3244" fmla="*/ 4522697 w 5365133"/>
              <a:gd name="connsiteY3244" fmla="*/ 1343915 h 4367670"/>
              <a:gd name="connsiteX3245" fmla="*/ 4521949 w 5365133"/>
              <a:gd name="connsiteY3245" fmla="*/ 1343169 h 4367670"/>
              <a:gd name="connsiteX3246" fmla="*/ 4520499 w 5365133"/>
              <a:gd name="connsiteY3246" fmla="*/ 1338980 h 4367670"/>
              <a:gd name="connsiteX3247" fmla="*/ 4516271 w 5365133"/>
              <a:gd name="connsiteY3247" fmla="*/ 1341153 h 4367670"/>
              <a:gd name="connsiteX3248" fmla="*/ 4517466 w 5365133"/>
              <a:gd name="connsiteY3248" fmla="*/ 1341678 h 4367670"/>
              <a:gd name="connsiteX3249" fmla="*/ 4522697 w 5365133"/>
              <a:gd name="connsiteY3249" fmla="*/ 1349879 h 4367670"/>
              <a:gd name="connsiteX3250" fmla="*/ 4510742 w 5365133"/>
              <a:gd name="connsiteY3250" fmla="*/ 1349879 h 4367670"/>
              <a:gd name="connsiteX3251" fmla="*/ 4510742 w 5365133"/>
              <a:gd name="connsiteY3251" fmla="*/ 1346611 h 4367670"/>
              <a:gd name="connsiteX3252" fmla="*/ 4507713 w 5365133"/>
              <a:gd name="connsiteY3252" fmla="*/ 1351245 h 4367670"/>
              <a:gd name="connsiteX3253" fmla="*/ 4506095 w 5365133"/>
              <a:gd name="connsiteY3253" fmla="*/ 1351000 h 4367670"/>
              <a:gd name="connsiteX3254" fmla="*/ 4507005 w 5365133"/>
              <a:gd name="connsiteY3254" fmla="*/ 1355842 h 4367670"/>
              <a:gd name="connsiteX3255" fmla="*/ 4505803 w 5365133"/>
              <a:gd name="connsiteY3255" fmla="*/ 1362238 h 4367670"/>
              <a:gd name="connsiteX3256" fmla="*/ 4504764 w 5365133"/>
              <a:gd name="connsiteY3256" fmla="*/ 1361806 h 4367670"/>
              <a:gd name="connsiteX3257" fmla="*/ 4504764 w 5365133"/>
              <a:gd name="connsiteY3257" fmla="*/ 1367770 h 4367670"/>
              <a:gd name="connsiteX3258" fmla="*/ 4505803 w 5365133"/>
              <a:gd name="connsiteY3258" fmla="*/ 1362238 h 4367670"/>
              <a:gd name="connsiteX3259" fmla="*/ 4513730 w 5365133"/>
              <a:gd name="connsiteY3259" fmla="*/ 1365534 h 4367670"/>
              <a:gd name="connsiteX3260" fmla="*/ 4516532 w 5365133"/>
              <a:gd name="connsiteY3260" fmla="*/ 1369354 h 4367670"/>
              <a:gd name="connsiteX3261" fmla="*/ 4517576 w 5365133"/>
              <a:gd name="connsiteY3261" fmla="*/ 1370096 h 4367670"/>
              <a:gd name="connsiteX3262" fmla="*/ 4522805 w 5365133"/>
              <a:gd name="connsiteY3262" fmla="*/ 1367798 h 4367670"/>
              <a:gd name="connsiteX3263" fmla="*/ 4515691 w 5365133"/>
              <a:gd name="connsiteY3263" fmla="*/ 1363055 h 4367670"/>
              <a:gd name="connsiteX3264" fmla="*/ 4527170 w 5365133"/>
              <a:gd name="connsiteY3264" fmla="*/ 1363055 h 4367670"/>
              <a:gd name="connsiteX3265" fmla="*/ 4538650 w 5365133"/>
              <a:gd name="connsiteY3265" fmla="*/ 1357315 h 4367670"/>
              <a:gd name="connsiteX3266" fmla="*/ 4537490 w 5365133"/>
              <a:gd name="connsiteY3266" fmla="*/ 1361344 h 4367670"/>
              <a:gd name="connsiteX3267" fmla="*/ 4544389 w 5365133"/>
              <a:gd name="connsiteY3267" fmla="*/ 1358312 h 4367670"/>
              <a:gd name="connsiteX3268" fmla="*/ 4544389 w 5365133"/>
              <a:gd name="connsiteY3268" fmla="*/ 1357532 h 4367670"/>
              <a:gd name="connsiteX3269" fmla="*/ 4544389 w 5365133"/>
              <a:gd name="connsiteY3269" fmla="*/ 1356743 h 4367670"/>
              <a:gd name="connsiteX3270" fmla="*/ 4557573 w 5365133"/>
              <a:gd name="connsiteY3270" fmla="*/ 1337211 h 4367670"/>
              <a:gd name="connsiteX3271" fmla="*/ 4565127 w 5365133"/>
              <a:gd name="connsiteY3271" fmla="*/ 1332640 h 4367670"/>
              <a:gd name="connsiteX3272" fmla="*/ 4564478 w 5365133"/>
              <a:gd name="connsiteY3272" fmla="*/ 1332710 h 4367670"/>
              <a:gd name="connsiteX3273" fmla="*/ 4564478 w 5365133"/>
              <a:gd name="connsiteY3273" fmla="*/ 1337014 h 4367670"/>
              <a:gd name="connsiteX3274" fmla="*/ 4564478 w 5365133"/>
              <a:gd name="connsiteY3274" fmla="*/ 1337804 h 4367670"/>
              <a:gd name="connsiteX3275" fmla="*/ 4557782 w 5365133"/>
              <a:gd name="connsiteY3275" fmla="*/ 1349640 h 4367670"/>
              <a:gd name="connsiteX3276" fmla="*/ 4553298 w 5365133"/>
              <a:gd name="connsiteY3276" fmla="*/ 1354396 h 4367670"/>
              <a:gd name="connsiteX3277" fmla="*/ 4568074 w 5365133"/>
              <a:gd name="connsiteY3277" fmla="*/ 1347902 h 4367670"/>
              <a:gd name="connsiteX3278" fmla="*/ 4582477 w 5365133"/>
              <a:gd name="connsiteY3278" fmla="*/ 1342095 h 4367670"/>
              <a:gd name="connsiteX3279" fmla="*/ 4582477 w 5365133"/>
              <a:gd name="connsiteY3279" fmla="*/ 1338696 h 4367670"/>
              <a:gd name="connsiteX3280" fmla="*/ 4582477 w 5365133"/>
              <a:gd name="connsiteY3280" fmla="*/ 1337949 h 4367670"/>
              <a:gd name="connsiteX3281" fmla="*/ 4569867 w 5365133"/>
              <a:gd name="connsiteY3281" fmla="*/ 1337951 h 4367670"/>
              <a:gd name="connsiteX3282" fmla="*/ 4602084 w 5365133"/>
              <a:gd name="connsiteY3282" fmla="*/ 1331436 h 4367670"/>
              <a:gd name="connsiteX3283" fmla="*/ 4585950 w 5365133"/>
              <a:gd name="connsiteY3283" fmla="*/ 1333520 h 4367670"/>
              <a:gd name="connsiteX3284" fmla="*/ 4583180 w 5365133"/>
              <a:gd name="connsiteY3284" fmla="*/ 1341812 h 4367670"/>
              <a:gd name="connsiteX3285" fmla="*/ 4606850 w 5365133"/>
              <a:gd name="connsiteY3285" fmla="*/ 1332269 h 4367670"/>
              <a:gd name="connsiteX3286" fmla="*/ 4577588 w 5365133"/>
              <a:gd name="connsiteY3286" fmla="*/ 1330126 h 4367670"/>
              <a:gd name="connsiteX3287" fmla="*/ 4577956 w 5365133"/>
              <a:gd name="connsiteY3287" fmla="*/ 1330370 h 4367670"/>
              <a:gd name="connsiteX3288" fmla="*/ 4573472 w 5365133"/>
              <a:gd name="connsiteY3288" fmla="*/ 1333352 h 4367670"/>
              <a:gd name="connsiteX3289" fmla="*/ 4518123 w 5365133"/>
              <a:gd name="connsiteY3289" fmla="*/ 1326227 h 4367670"/>
              <a:gd name="connsiteX3290" fmla="*/ 4513619 w 5365133"/>
              <a:gd name="connsiteY3290" fmla="*/ 1328367 h 4367670"/>
              <a:gd name="connsiteX3291" fmla="*/ 4516719 w 5365133"/>
              <a:gd name="connsiteY3291" fmla="*/ 1331986 h 4367670"/>
              <a:gd name="connsiteX3292" fmla="*/ 4518494 w 5365133"/>
              <a:gd name="connsiteY3292" fmla="*/ 1327607 h 4367670"/>
              <a:gd name="connsiteX3293" fmla="*/ 4534652 w 5365133"/>
              <a:gd name="connsiteY3293" fmla="*/ 1326022 h 4367670"/>
              <a:gd name="connsiteX3294" fmla="*/ 4533580 w 5365133"/>
              <a:gd name="connsiteY3294" fmla="*/ 1326482 h 4367670"/>
              <a:gd name="connsiteX3295" fmla="*/ 4533925 w 5365133"/>
              <a:gd name="connsiteY3295" fmla="*/ 1326095 h 4367670"/>
              <a:gd name="connsiteX3296" fmla="*/ 4277545 w 5365133"/>
              <a:gd name="connsiteY3296" fmla="*/ 1322950 h 4367670"/>
              <a:gd name="connsiteX3297" fmla="*/ 4283695 w 5365133"/>
              <a:gd name="connsiteY3297" fmla="*/ 1335576 h 4367670"/>
              <a:gd name="connsiteX3298" fmla="*/ 4275911 w 5365133"/>
              <a:gd name="connsiteY3298" fmla="*/ 1338240 h 4367670"/>
              <a:gd name="connsiteX3299" fmla="*/ 4277545 w 5365133"/>
              <a:gd name="connsiteY3299" fmla="*/ 1341891 h 4367670"/>
              <a:gd name="connsiteX3300" fmla="*/ 4272355 w 5365133"/>
              <a:gd name="connsiteY3300" fmla="*/ 1339819 h 4367670"/>
              <a:gd name="connsiteX3301" fmla="*/ 4277545 w 5365133"/>
              <a:gd name="connsiteY3301" fmla="*/ 1322950 h 4367670"/>
              <a:gd name="connsiteX3302" fmla="*/ 4502590 w 5365133"/>
              <a:gd name="connsiteY3302" fmla="*/ 1322100 h 4367670"/>
              <a:gd name="connsiteX3303" fmla="*/ 4496852 w 5365133"/>
              <a:gd name="connsiteY3303" fmla="*/ 1324281 h 4367670"/>
              <a:gd name="connsiteX3304" fmla="*/ 4481719 w 5365133"/>
              <a:gd name="connsiteY3304" fmla="*/ 1328755 h 4367670"/>
              <a:gd name="connsiteX3305" fmla="*/ 4484708 w 5365133"/>
              <a:gd name="connsiteY3305" fmla="*/ 1334718 h 4367670"/>
              <a:gd name="connsiteX3306" fmla="*/ 4486219 w 5365133"/>
              <a:gd name="connsiteY3306" fmla="*/ 1337732 h 4367670"/>
              <a:gd name="connsiteX3307" fmla="*/ 4492061 w 5365133"/>
              <a:gd name="connsiteY3307" fmla="*/ 1331986 h 4367670"/>
              <a:gd name="connsiteX3308" fmla="*/ 4550909 w 5365133"/>
              <a:gd name="connsiteY3308" fmla="*/ 1321580 h 4367670"/>
              <a:gd name="connsiteX3309" fmla="*/ 4546048 w 5365133"/>
              <a:gd name="connsiteY3309" fmla="*/ 1321829 h 4367670"/>
              <a:gd name="connsiteX3310" fmla="*/ 4542228 w 5365133"/>
              <a:gd name="connsiteY3310" fmla="*/ 1328992 h 4367670"/>
              <a:gd name="connsiteX3311" fmla="*/ 4561516 w 5365133"/>
              <a:gd name="connsiteY3311" fmla="*/ 1327389 h 4367670"/>
              <a:gd name="connsiteX3312" fmla="*/ 4563041 w 5365133"/>
              <a:gd name="connsiteY3312" fmla="*/ 1326299 h 4367670"/>
              <a:gd name="connsiteX3313" fmla="*/ 4560629 w 5365133"/>
              <a:gd name="connsiteY3313" fmla="*/ 1326743 h 4367670"/>
              <a:gd name="connsiteX3314" fmla="*/ 4550909 w 5365133"/>
              <a:gd name="connsiteY3314" fmla="*/ 1321580 h 4367670"/>
              <a:gd name="connsiteX3315" fmla="*/ 4255400 w 5365133"/>
              <a:gd name="connsiteY3315" fmla="*/ 1321481 h 4367670"/>
              <a:gd name="connsiteX3316" fmla="*/ 4266880 w 5365133"/>
              <a:gd name="connsiteY3316" fmla="*/ 1321481 h 4367670"/>
              <a:gd name="connsiteX3317" fmla="*/ 4255400 w 5365133"/>
              <a:gd name="connsiteY3317" fmla="*/ 1321481 h 4367670"/>
              <a:gd name="connsiteX3318" fmla="*/ 4431687 w 5365133"/>
              <a:gd name="connsiteY3318" fmla="*/ 1320010 h 4367670"/>
              <a:gd name="connsiteX3319" fmla="*/ 4437689 w 5365133"/>
              <a:gd name="connsiteY3319" fmla="*/ 1320010 h 4367670"/>
              <a:gd name="connsiteX3320" fmla="*/ 4395685 w 5365133"/>
              <a:gd name="connsiteY3320" fmla="*/ 1345839 h 4367670"/>
              <a:gd name="connsiteX3321" fmla="*/ 4413686 w 5365133"/>
              <a:gd name="connsiteY3321" fmla="*/ 1326467 h 4367670"/>
              <a:gd name="connsiteX3322" fmla="*/ 4431687 w 5365133"/>
              <a:gd name="connsiteY3322" fmla="*/ 1320010 h 4367670"/>
              <a:gd name="connsiteX3323" fmla="*/ 4181810 w 5365133"/>
              <a:gd name="connsiteY3323" fmla="*/ 1319580 h 4367670"/>
              <a:gd name="connsiteX3324" fmla="*/ 4180412 w 5365133"/>
              <a:gd name="connsiteY3324" fmla="*/ 1320010 h 4367670"/>
              <a:gd name="connsiteX3325" fmla="*/ 4180607 w 5365133"/>
              <a:gd name="connsiteY3325" fmla="*/ 1319831 h 4367670"/>
              <a:gd name="connsiteX3326" fmla="*/ 4186996 w 5365133"/>
              <a:gd name="connsiteY3326" fmla="*/ 1317984 h 4367670"/>
              <a:gd name="connsiteX3327" fmla="*/ 4186631 w 5365133"/>
              <a:gd name="connsiteY3327" fmla="*/ 1318574 h 4367670"/>
              <a:gd name="connsiteX3328" fmla="*/ 4181810 w 5365133"/>
              <a:gd name="connsiteY3328" fmla="*/ 1319580 h 4367670"/>
              <a:gd name="connsiteX3329" fmla="*/ 4519708 w 5365133"/>
              <a:gd name="connsiteY3329" fmla="*/ 1317823 h 4367670"/>
              <a:gd name="connsiteX3330" fmla="*/ 4520305 w 5365133"/>
              <a:gd name="connsiteY3330" fmla="*/ 1318269 h 4367670"/>
              <a:gd name="connsiteX3331" fmla="*/ 4516719 w 5365133"/>
              <a:gd name="connsiteY3331" fmla="*/ 1320059 h 4367670"/>
              <a:gd name="connsiteX3332" fmla="*/ 4519708 w 5365133"/>
              <a:gd name="connsiteY3332" fmla="*/ 1317823 h 4367670"/>
              <a:gd name="connsiteX3333" fmla="*/ 4961537 w 5365133"/>
              <a:gd name="connsiteY3333" fmla="*/ 1317618 h 4367670"/>
              <a:gd name="connsiteX3334" fmla="*/ 4959091 w 5365133"/>
              <a:gd name="connsiteY3334" fmla="*/ 1320059 h 4367670"/>
              <a:gd name="connsiteX3335" fmla="*/ 4957145 w 5365133"/>
              <a:gd name="connsiteY3335" fmla="*/ 1319650 h 4367670"/>
              <a:gd name="connsiteX3336" fmla="*/ 4540255 w 5365133"/>
              <a:gd name="connsiteY3336" fmla="*/ 1315971 h 4367670"/>
              <a:gd name="connsiteX3337" fmla="*/ 4539456 w 5365133"/>
              <a:gd name="connsiteY3337" fmla="*/ 1316293 h 4367670"/>
              <a:gd name="connsiteX3338" fmla="*/ 4534652 w 5365133"/>
              <a:gd name="connsiteY3338" fmla="*/ 1325277 h 4367670"/>
              <a:gd name="connsiteX3339" fmla="*/ 4533925 w 5365133"/>
              <a:gd name="connsiteY3339" fmla="*/ 1326095 h 4367670"/>
              <a:gd name="connsiteX3340" fmla="*/ 4527180 w 5365133"/>
              <a:gd name="connsiteY3340" fmla="*/ 1326768 h 4367670"/>
              <a:gd name="connsiteX3341" fmla="*/ 4527805 w 5365133"/>
              <a:gd name="connsiteY3341" fmla="*/ 1328950 h 4367670"/>
              <a:gd name="connsiteX3342" fmla="*/ 4524192 w 5365133"/>
              <a:gd name="connsiteY3342" fmla="*/ 1330495 h 4367670"/>
              <a:gd name="connsiteX3343" fmla="*/ 4523813 w 5365133"/>
              <a:gd name="connsiteY3343" fmla="*/ 1333891 h 4367670"/>
              <a:gd name="connsiteX3344" fmla="*/ 4528671 w 5365133"/>
              <a:gd name="connsiteY3344" fmla="*/ 1331972 h 4367670"/>
              <a:gd name="connsiteX3345" fmla="*/ 4527805 w 5365133"/>
              <a:gd name="connsiteY3345" fmla="*/ 1328950 h 4367670"/>
              <a:gd name="connsiteX3346" fmla="*/ 4533580 w 5365133"/>
              <a:gd name="connsiteY3346" fmla="*/ 1326482 h 4367670"/>
              <a:gd name="connsiteX3347" fmla="*/ 4528696 w 5365133"/>
              <a:gd name="connsiteY3347" fmla="*/ 1331963 h 4367670"/>
              <a:gd name="connsiteX3348" fmla="*/ 4534614 w 5365133"/>
              <a:gd name="connsiteY3348" fmla="*/ 1329625 h 4367670"/>
              <a:gd name="connsiteX3349" fmla="*/ 4539700 w 5365133"/>
              <a:gd name="connsiteY3349" fmla="*/ 1329202 h 4367670"/>
              <a:gd name="connsiteX3350" fmla="*/ 4538389 w 5365133"/>
              <a:gd name="connsiteY3350" fmla="*/ 1325277 h 4367670"/>
              <a:gd name="connsiteX3351" fmla="*/ 4917245 w 5365133"/>
              <a:gd name="connsiteY3351" fmla="*/ 1314096 h 4367670"/>
              <a:gd name="connsiteX3352" fmla="*/ 4917245 w 5365133"/>
              <a:gd name="connsiteY3352" fmla="*/ 1320059 h 4367670"/>
              <a:gd name="connsiteX3353" fmla="*/ 4911267 w 5365133"/>
              <a:gd name="connsiteY3353" fmla="*/ 1320059 h 4367670"/>
              <a:gd name="connsiteX3354" fmla="*/ 4917245 w 5365133"/>
              <a:gd name="connsiteY3354" fmla="*/ 1314096 h 4367670"/>
              <a:gd name="connsiteX3355" fmla="*/ 4881378 w 5365133"/>
              <a:gd name="connsiteY3355" fmla="*/ 1314096 h 4367670"/>
              <a:gd name="connsiteX3356" fmla="*/ 4833553 w 5365133"/>
              <a:gd name="connsiteY3356" fmla="*/ 1337949 h 4367670"/>
              <a:gd name="connsiteX3357" fmla="*/ 4833553 w 5365133"/>
              <a:gd name="connsiteY3357" fmla="*/ 1359820 h 4367670"/>
              <a:gd name="connsiteX3358" fmla="*/ 4820281 w 5365133"/>
              <a:gd name="connsiteY3358" fmla="*/ 1364232 h 4367670"/>
              <a:gd name="connsiteX3359" fmla="*/ 4819884 w 5365133"/>
              <a:gd name="connsiteY3359" fmla="*/ 1368795 h 4367670"/>
              <a:gd name="connsiteX3360" fmla="*/ 4817289 w 5365133"/>
              <a:gd name="connsiteY3360" fmla="*/ 1365228 h 4367670"/>
              <a:gd name="connsiteX3361" fmla="*/ 4809641 w 5365133"/>
              <a:gd name="connsiteY3361" fmla="*/ 1367770 h 4367670"/>
              <a:gd name="connsiteX3362" fmla="*/ 4779750 w 5365133"/>
              <a:gd name="connsiteY3362" fmla="*/ 1379699 h 4367670"/>
              <a:gd name="connsiteX3363" fmla="*/ 4791707 w 5365133"/>
              <a:gd name="connsiteY3363" fmla="*/ 1373735 h 4367670"/>
              <a:gd name="connsiteX3364" fmla="*/ 4779750 w 5365133"/>
              <a:gd name="connsiteY3364" fmla="*/ 1361806 h 4367670"/>
              <a:gd name="connsiteX3365" fmla="*/ 4755840 w 5365133"/>
              <a:gd name="connsiteY3365" fmla="*/ 1361806 h 4367670"/>
              <a:gd name="connsiteX3366" fmla="*/ 4881378 w 5365133"/>
              <a:gd name="connsiteY3366" fmla="*/ 1314096 h 4367670"/>
              <a:gd name="connsiteX3367" fmla="*/ 4535521 w 5365133"/>
              <a:gd name="connsiteY3367" fmla="*/ 1310862 h 4367670"/>
              <a:gd name="connsiteX3368" fmla="*/ 4508621 w 5365133"/>
              <a:gd name="connsiteY3368" fmla="*/ 1319808 h 4367670"/>
              <a:gd name="connsiteX3369" fmla="*/ 4504764 w 5365133"/>
              <a:gd name="connsiteY3369" fmla="*/ 1321274 h 4367670"/>
              <a:gd name="connsiteX3370" fmla="*/ 4504764 w 5365133"/>
              <a:gd name="connsiteY3370" fmla="*/ 1323041 h 4367670"/>
              <a:gd name="connsiteX3371" fmla="*/ 4504764 w 5365133"/>
              <a:gd name="connsiteY3371" fmla="*/ 1325482 h 4367670"/>
              <a:gd name="connsiteX3372" fmla="*/ 4509367 w 5365133"/>
              <a:gd name="connsiteY3372" fmla="*/ 1323535 h 4367670"/>
              <a:gd name="connsiteX3373" fmla="*/ 4517559 w 5365133"/>
              <a:gd name="connsiteY3373" fmla="*/ 1321089 h 4367670"/>
              <a:gd name="connsiteX3374" fmla="*/ 4517560 w 5365133"/>
              <a:gd name="connsiteY3374" fmla="*/ 1321084 h 4367670"/>
              <a:gd name="connsiteX3375" fmla="*/ 4517613 w 5365133"/>
              <a:gd name="connsiteY3375" fmla="*/ 1321073 h 4367670"/>
              <a:gd name="connsiteX3376" fmla="*/ 4522163 w 5365133"/>
              <a:gd name="connsiteY3376" fmla="*/ 1319714 h 4367670"/>
              <a:gd name="connsiteX3377" fmla="*/ 4522202 w 5365133"/>
              <a:gd name="connsiteY3377" fmla="*/ 1319690 h 4367670"/>
              <a:gd name="connsiteX3378" fmla="*/ 4520305 w 5365133"/>
              <a:gd name="connsiteY3378" fmla="*/ 1318269 h 4367670"/>
              <a:gd name="connsiteX3379" fmla="*/ 4527179 w 5365133"/>
              <a:gd name="connsiteY3379" fmla="*/ 1314840 h 4367670"/>
              <a:gd name="connsiteX3380" fmla="*/ 4529662 w 5365133"/>
              <a:gd name="connsiteY3380" fmla="*/ 1314745 h 4367670"/>
              <a:gd name="connsiteX3381" fmla="*/ 4192848 w 5365133"/>
              <a:gd name="connsiteY3381" fmla="*/ 1308531 h 4367670"/>
              <a:gd name="connsiteX3382" fmla="*/ 4199066 w 5365133"/>
              <a:gd name="connsiteY3382" fmla="*/ 1308531 h 4367670"/>
              <a:gd name="connsiteX3383" fmla="*/ 4199066 w 5365133"/>
              <a:gd name="connsiteY3383" fmla="*/ 1314271 h 4367670"/>
              <a:gd name="connsiteX3384" fmla="*/ 4186996 w 5365133"/>
              <a:gd name="connsiteY3384" fmla="*/ 1317984 h 4367670"/>
              <a:gd name="connsiteX3385" fmla="*/ 4572185 w 5365133"/>
              <a:gd name="connsiteY3385" fmla="*/ 1303151 h 4367670"/>
              <a:gd name="connsiteX3386" fmla="*/ 4567767 w 5365133"/>
              <a:gd name="connsiteY3386" fmla="*/ 1304925 h 4367670"/>
              <a:gd name="connsiteX3387" fmla="*/ 4570521 w 5365133"/>
              <a:gd name="connsiteY3387" fmla="*/ 1308130 h 4367670"/>
              <a:gd name="connsiteX3388" fmla="*/ 4994960 w 5365133"/>
              <a:gd name="connsiteY3388" fmla="*/ 1302166 h 4367670"/>
              <a:gd name="connsiteX3389" fmla="*/ 4961537 w 5365133"/>
              <a:gd name="connsiteY3389" fmla="*/ 1317618 h 4367670"/>
              <a:gd name="connsiteX3390" fmla="*/ 4970301 w 5365133"/>
              <a:gd name="connsiteY3390" fmla="*/ 1308877 h 4367670"/>
              <a:gd name="connsiteX3391" fmla="*/ 4994960 w 5365133"/>
              <a:gd name="connsiteY3391" fmla="*/ 1302166 h 4367670"/>
              <a:gd name="connsiteX3392" fmla="*/ 4911267 w 5365133"/>
              <a:gd name="connsiteY3392" fmla="*/ 1302166 h 4367670"/>
              <a:gd name="connsiteX3393" fmla="*/ 4912355 w 5365133"/>
              <a:gd name="connsiteY3393" fmla="*/ 1302432 h 4367670"/>
              <a:gd name="connsiteX3394" fmla="*/ 4908927 w 5365133"/>
              <a:gd name="connsiteY3394" fmla="*/ 1303723 h 4367670"/>
              <a:gd name="connsiteX3395" fmla="*/ 4755968 w 5365133"/>
              <a:gd name="connsiteY3395" fmla="*/ 1300294 h 4367670"/>
              <a:gd name="connsiteX3396" fmla="*/ 4755968 w 5365133"/>
              <a:gd name="connsiteY3396" fmla="*/ 1311471 h 4367670"/>
              <a:gd name="connsiteX3397" fmla="*/ 4738750 w 5365133"/>
              <a:gd name="connsiteY3397" fmla="*/ 1305732 h 4367670"/>
              <a:gd name="connsiteX3398" fmla="*/ 4748078 w 5365133"/>
              <a:gd name="connsiteY3398" fmla="*/ 1300709 h 4367670"/>
              <a:gd name="connsiteX3399" fmla="*/ 4755968 w 5365133"/>
              <a:gd name="connsiteY3399" fmla="*/ 1299992 h 4367670"/>
              <a:gd name="connsiteX3400" fmla="*/ 4761709 w 5365133"/>
              <a:gd name="connsiteY3400" fmla="*/ 1299992 h 4367670"/>
              <a:gd name="connsiteX3401" fmla="*/ 4755968 w 5365133"/>
              <a:gd name="connsiteY3401" fmla="*/ 1300294 h 4367670"/>
              <a:gd name="connsiteX3402" fmla="*/ 4367480 w 5365133"/>
              <a:gd name="connsiteY3402" fmla="*/ 1299992 h 4367670"/>
              <a:gd name="connsiteX3403" fmla="*/ 4318693 w 5365133"/>
              <a:gd name="connsiteY3403" fmla="*/ 1328689 h 4367670"/>
              <a:gd name="connsiteX3404" fmla="*/ 4288203 w 5365133"/>
              <a:gd name="connsiteY3404" fmla="*/ 1334429 h 4367670"/>
              <a:gd name="connsiteX3405" fmla="*/ 4336989 w 5365133"/>
              <a:gd name="connsiteY3405" fmla="*/ 1317210 h 4367670"/>
              <a:gd name="connsiteX3406" fmla="*/ 4349186 w 5365133"/>
              <a:gd name="connsiteY3406" fmla="*/ 1305732 h 4367670"/>
              <a:gd name="connsiteX3407" fmla="*/ 4367480 w 5365133"/>
              <a:gd name="connsiteY3407" fmla="*/ 1299992 h 4367670"/>
              <a:gd name="connsiteX3408" fmla="*/ 4228718 w 5365133"/>
              <a:gd name="connsiteY3408" fmla="*/ 1297052 h 4367670"/>
              <a:gd name="connsiteX3409" fmla="*/ 4205760 w 5365133"/>
              <a:gd name="connsiteY3409" fmla="*/ 1302792 h 4367670"/>
              <a:gd name="connsiteX3410" fmla="*/ 4228718 w 5365133"/>
              <a:gd name="connsiteY3410" fmla="*/ 1297052 h 4367670"/>
              <a:gd name="connsiteX3411" fmla="*/ 4803616 w 5365133"/>
              <a:gd name="connsiteY3411" fmla="*/ 1287824 h 4367670"/>
              <a:gd name="connsiteX3412" fmla="*/ 4803616 w 5365133"/>
              <a:gd name="connsiteY3412" fmla="*/ 1293793 h 4367670"/>
              <a:gd name="connsiteX3413" fmla="*/ 4773682 w 5365133"/>
              <a:gd name="connsiteY3413" fmla="*/ 1305732 h 4367670"/>
              <a:gd name="connsiteX3414" fmla="*/ 4773682 w 5365133"/>
              <a:gd name="connsiteY3414" fmla="*/ 1293793 h 4367670"/>
              <a:gd name="connsiteX3415" fmla="*/ 4803616 w 5365133"/>
              <a:gd name="connsiteY3415" fmla="*/ 1287824 h 4367670"/>
              <a:gd name="connsiteX3416" fmla="*/ 4729352 w 5365133"/>
              <a:gd name="connsiteY3416" fmla="*/ 1287325 h 4367670"/>
              <a:gd name="connsiteX3417" fmla="*/ 4724585 w 5365133"/>
              <a:gd name="connsiteY3417" fmla="*/ 1292817 h 4367670"/>
              <a:gd name="connsiteX3418" fmla="*/ 4695376 w 5365133"/>
              <a:gd name="connsiteY3418" fmla="*/ 1302257 h 4367670"/>
              <a:gd name="connsiteX3419" fmla="*/ 1630209 w 5365133"/>
              <a:gd name="connsiteY3419" fmla="*/ 1287005 h 4367670"/>
              <a:gd name="connsiteX3420" fmla="*/ 1626054 w 5365133"/>
              <a:gd name="connsiteY3420" fmla="*/ 1291722 h 4367670"/>
              <a:gd name="connsiteX3421" fmla="*/ 1632047 w 5365133"/>
              <a:gd name="connsiteY3421" fmla="*/ 1289297 h 4367670"/>
              <a:gd name="connsiteX3422" fmla="*/ 4880724 w 5365133"/>
              <a:gd name="connsiteY3422" fmla="*/ 1284731 h 4367670"/>
              <a:gd name="connsiteX3423" fmla="*/ 4856618 w 5365133"/>
              <a:gd name="connsiteY3423" fmla="*/ 1296884 h 4367670"/>
              <a:gd name="connsiteX3424" fmla="*/ 4754167 w 5365133"/>
              <a:gd name="connsiteY3424" fmla="*/ 1327270 h 4367670"/>
              <a:gd name="connsiteX3425" fmla="*/ 4880724 w 5365133"/>
              <a:gd name="connsiteY3425" fmla="*/ 1284731 h 4367670"/>
              <a:gd name="connsiteX3426" fmla="*/ 4965070 w 5365133"/>
              <a:gd name="connsiteY3426" fmla="*/ 1284273 h 4367670"/>
              <a:gd name="connsiteX3427" fmla="*/ 4958495 w 5365133"/>
              <a:gd name="connsiteY3427" fmla="*/ 1290836 h 4367670"/>
              <a:gd name="connsiteX3428" fmla="*/ 4950490 w 5365133"/>
              <a:gd name="connsiteY3428" fmla="*/ 1295561 h 4367670"/>
              <a:gd name="connsiteX3429" fmla="*/ 4943212 w 5365133"/>
              <a:gd name="connsiteY3429" fmla="*/ 1293780 h 4367670"/>
              <a:gd name="connsiteX3430" fmla="*/ 4921168 w 5365133"/>
              <a:gd name="connsiteY3430" fmla="*/ 1304588 h 4367670"/>
              <a:gd name="connsiteX3431" fmla="*/ 4912355 w 5365133"/>
              <a:gd name="connsiteY3431" fmla="*/ 1302432 h 4367670"/>
              <a:gd name="connsiteX3432" fmla="*/ 4920981 w 5365133"/>
              <a:gd name="connsiteY3432" fmla="*/ 1299183 h 4367670"/>
              <a:gd name="connsiteX3433" fmla="*/ 4965070 w 5365133"/>
              <a:gd name="connsiteY3433" fmla="*/ 1284273 h 4367670"/>
              <a:gd name="connsiteX3434" fmla="*/ 4921610 w 5365133"/>
              <a:gd name="connsiteY3434" fmla="*/ 1279796 h 4367670"/>
              <a:gd name="connsiteX3435" fmla="*/ 4921214 w 5365133"/>
              <a:gd name="connsiteY3435" fmla="*/ 1280173 h 4367670"/>
              <a:gd name="connsiteX3436" fmla="*/ 4920979 w 5365133"/>
              <a:gd name="connsiteY3436" fmla="*/ 1280090 h 4367670"/>
              <a:gd name="connsiteX3437" fmla="*/ 4413918 w 5365133"/>
              <a:gd name="connsiteY3437" fmla="*/ 1274965 h 4367670"/>
              <a:gd name="connsiteX3438" fmla="*/ 4394670 w 5365133"/>
              <a:gd name="connsiteY3438" fmla="*/ 1282032 h 4367670"/>
              <a:gd name="connsiteX3439" fmla="*/ 4402992 w 5365133"/>
              <a:gd name="connsiteY3439" fmla="*/ 1281339 h 4367670"/>
              <a:gd name="connsiteX3440" fmla="*/ 4684103 w 5365133"/>
              <a:gd name="connsiteY3440" fmla="*/ 1272346 h 4367670"/>
              <a:gd name="connsiteX3441" fmla="*/ 4558565 w 5365133"/>
              <a:gd name="connsiteY3441" fmla="*/ 1320059 h 4367670"/>
              <a:gd name="connsiteX3442" fmla="*/ 4552587 w 5365133"/>
              <a:gd name="connsiteY3442" fmla="*/ 1314096 h 4367670"/>
              <a:gd name="connsiteX3443" fmla="*/ 4554104 w 5365133"/>
              <a:gd name="connsiteY3443" fmla="*/ 1310411 h 4367670"/>
              <a:gd name="connsiteX3444" fmla="*/ 4544752 w 5365133"/>
              <a:gd name="connsiteY3444" fmla="*/ 1314166 h 4367670"/>
              <a:gd name="connsiteX3445" fmla="*/ 4546608 w 5365133"/>
              <a:gd name="connsiteY3445" fmla="*/ 1314096 h 4367670"/>
              <a:gd name="connsiteX3446" fmla="*/ 4540630 w 5365133"/>
              <a:gd name="connsiteY3446" fmla="*/ 1320059 h 4367670"/>
              <a:gd name="connsiteX3447" fmla="*/ 4558565 w 5365133"/>
              <a:gd name="connsiteY3447" fmla="*/ 1320059 h 4367670"/>
              <a:gd name="connsiteX3448" fmla="*/ 4559312 w 5365133"/>
              <a:gd name="connsiteY3448" fmla="*/ 1325277 h 4367670"/>
              <a:gd name="connsiteX3449" fmla="*/ 4563613 w 5365133"/>
              <a:gd name="connsiteY3449" fmla="*/ 1325890 h 4367670"/>
              <a:gd name="connsiteX3450" fmla="*/ 4568428 w 5365133"/>
              <a:gd name="connsiteY3450" fmla="*/ 1322450 h 4367670"/>
              <a:gd name="connsiteX3451" fmla="*/ 4576462 w 5365133"/>
              <a:gd name="connsiteY3451" fmla="*/ 1323661 h 4367670"/>
              <a:gd name="connsiteX3452" fmla="*/ 4580010 w 5365133"/>
              <a:gd name="connsiteY3452" fmla="*/ 1328227 h 4367670"/>
              <a:gd name="connsiteX3453" fmla="*/ 4577588 w 5365133"/>
              <a:gd name="connsiteY3453" fmla="*/ 1330126 h 4367670"/>
              <a:gd name="connsiteX3454" fmla="*/ 4573472 w 5365133"/>
              <a:gd name="connsiteY3454" fmla="*/ 1327389 h 4367670"/>
              <a:gd name="connsiteX3455" fmla="*/ 4566096 w 5365133"/>
              <a:gd name="connsiteY3455" fmla="*/ 1332180 h 4367670"/>
              <a:gd name="connsiteX3456" fmla="*/ 4570521 w 5365133"/>
              <a:gd name="connsiteY3456" fmla="*/ 1332732 h 4367670"/>
              <a:gd name="connsiteX3457" fmla="*/ 4576499 w 5365133"/>
              <a:gd name="connsiteY3457" fmla="*/ 1337949 h 4367670"/>
              <a:gd name="connsiteX3458" fmla="*/ 4594433 w 5365133"/>
              <a:gd name="connsiteY3458" fmla="*/ 1320059 h 4367670"/>
              <a:gd name="connsiteX3459" fmla="*/ 4588455 w 5365133"/>
              <a:gd name="connsiteY3459" fmla="*/ 1320059 h 4367670"/>
              <a:gd name="connsiteX3460" fmla="*/ 4606390 w 5365133"/>
              <a:gd name="connsiteY3460" fmla="*/ 1320059 h 4367670"/>
              <a:gd name="connsiteX3461" fmla="*/ 4630302 w 5365133"/>
              <a:gd name="connsiteY3461" fmla="*/ 1296203 h 4367670"/>
              <a:gd name="connsiteX3462" fmla="*/ 4630302 w 5365133"/>
              <a:gd name="connsiteY3462" fmla="*/ 1308130 h 4367670"/>
              <a:gd name="connsiteX3463" fmla="*/ 4648234 w 5365133"/>
              <a:gd name="connsiteY3463" fmla="*/ 1290239 h 4367670"/>
              <a:gd name="connsiteX3464" fmla="*/ 4648234 w 5365133"/>
              <a:gd name="connsiteY3464" fmla="*/ 1296203 h 4367670"/>
              <a:gd name="connsiteX3465" fmla="*/ 4684103 w 5365133"/>
              <a:gd name="connsiteY3465" fmla="*/ 1272346 h 4367670"/>
              <a:gd name="connsiteX3466" fmla="*/ 4170863 w 5365133"/>
              <a:gd name="connsiteY3466" fmla="*/ 1269115 h 4367670"/>
              <a:gd name="connsiteX3467" fmla="*/ 4170863 w 5365133"/>
              <a:gd name="connsiteY3467" fmla="*/ 1275078 h 4367670"/>
              <a:gd name="connsiteX3468" fmla="*/ 4152928 w 5365133"/>
              <a:gd name="connsiteY3468" fmla="*/ 1281042 h 4367670"/>
              <a:gd name="connsiteX3469" fmla="*/ 4170863 w 5365133"/>
              <a:gd name="connsiteY3469" fmla="*/ 1269115 h 4367670"/>
              <a:gd name="connsiteX3470" fmla="*/ 4736660 w 5365133"/>
              <a:gd name="connsiteY3470" fmla="*/ 1268355 h 4367670"/>
              <a:gd name="connsiteX3471" fmla="*/ 4742400 w 5365133"/>
              <a:gd name="connsiteY3471" fmla="*/ 1268355 h 4367670"/>
              <a:gd name="connsiteX3472" fmla="*/ 4730921 w 5365133"/>
              <a:gd name="connsiteY3472" fmla="*/ 1274094 h 4367670"/>
              <a:gd name="connsiteX3473" fmla="*/ 4736660 w 5365133"/>
              <a:gd name="connsiteY3473" fmla="*/ 1268355 h 4367670"/>
              <a:gd name="connsiteX3474" fmla="*/ 4947081 w 5365133"/>
              <a:gd name="connsiteY3474" fmla="*/ 1267914 h 4367670"/>
              <a:gd name="connsiteX3475" fmla="*/ 4940988 w 5365133"/>
              <a:gd name="connsiteY3475" fmla="*/ 1272576 h 4367670"/>
              <a:gd name="connsiteX3476" fmla="*/ 4940255 w 5365133"/>
              <a:gd name="connsiteY3476" fmla="*/ 1271099 h 4367670"/>
              <a:gd name="connsiteX3477" fmla="*/ 4922909 w 5365133"/>
              <a:gd name="connsiteY3477" fmla="*/ 1266498 h 4367670"/>
              <a:gd name="connsiteX3478" fmla="*/ 4916882 w 5365133"/>
              <a:gd name="connsiteY3478" fmla="*/ 1278653 h 4367670"/>
              <a:gd name="connsiteX3479" fmla="*/ 4920979 w 5365133"/>
              <a:gd name="connsiteY3479" fmla="*/ 1280090 h 4367670"/>
              <a:gd name="connsiteX3480" fmla="*/ 4878464 w 5365133"/>
              <a:gd name="connsiteY3480" fmla="*/ 1299923 h 4367670"/>
              <a:gd name="connsiteX3481" fmla="*/ 4754167 w 5365133"/>
              <a:gd name="connsiteY3481" fmla="*/ 1351578 h 4367670"/>
              <a:gd name="connsiteX3482" fmla="*/ 4760195 w 5365133"/>
              <a:gd name="connsiteY3482" fmla="*/ 1339423 h 4367670"/>
              <a:gd name="connsiteX3483" fmla="*/ 4856618 w 5365133"/>
              <a:gd name="connsiteY3483" fmla="*/ 1296884 h 4367670"/>
              <a:gd name="connsiteX3484" fmla="*/ 4886749 w 5365133"/>
              <a:gd name="connsiteY3484" fmla="*/ 1278653 h 4367670"/>
              <a:gd name="connsiteX3485" fmla="*/ 4922909 w 5365133"/>
              <a:gd name="connsiteY3485" fmla="*/ 1266498 h 4367670"/>
              <a:gd name="connsiteX3486" fmla="*/ 1679239 w 5365133"/>
              <a:gd name="connsiteY3486" fmla="*/ 1266358 h 4367670"/>
              <a:gd name="connsiteX3487" fmla="*/ 1672056 w 5365133"/>
              <a:gd name="connsiteY3487" fmla="*/ 1269115 h 4367670"/>
              <a:gd name="connsiteX3488" fmla="*/ 1666078 w 5365133"/>
              <a:gd name="connsiteY3488" fmla="*/ 1269115 h 4367670"/>
              <a:gd name="connsiteX3489" fmla="*/ 1663836 w 5365133"/>
              <a:gd name="connsiteY3489" fmla="*/ 1274426 h 4367670"/>
              <a:gd name="connsiteX3490" fmla="*/ 1656385 w 5365133"/>
              <a:gd name="connsiteY3490" fmla="*/ 1281302 h 4367670"/>
              <a:gd name="connsiteX3491" fmla="*/ 1679239 w 5365133"/>
              <a:gd name="connsiteY3491" fmla="*/ 1274334 h 4367670"/>
              <a:gd name="connsiteX3492" fmla="*/ 1679239 w 5365133"/>
              <a:gd name="connsiteY3492" fmla="*/ 1268390 h 4367670"/>
              <a:gd name="connsiteX3493" fmla="*/ 4432847 w 5365133"/>
              <a:gd name="connsiteY3493" fmla="*/ 1265545 h 4367670"/>
              <a:gd name="connsiteX3494" fmla="*/ 4430327 w 5365133"/>
              <a:gd name="connsiteY3494" fmla="*/ 1267521 h 4367670"/>
              <a:gd name="connsiteX3495" fmla="*/ 4420431 w 5365133"/>
              <a:gd name="connsiteY3495" fmla="*/ 1272179 h 4367670"/>
              <a:gd name="connsiteX3496" fmla="*/ 4420928 w 5365133"/>
              <a:gd name="connsiteY3496" fmla="*/ 1274165 h 4367670"/>
              <a:gd name="connsiteX3497" fmla="*/ 4425950 w 5365133"/>
              <a:gd name="connsiteY3497" fmla="*/ 1277034 h 4367670"/>
              <a:gd name="connsiteX3498" fmla="*/ 4408732 w 5365133"/>
              <a:gd name="connsiteY3498" fmla="*/ 1282774 h 4367670"/>
              <a:gd name="connsiteX3499" fmla="*/ 4385774 w 5365133"/>
              <a:gd name="connsiteY3499" fmla="*/ 1294252 h 4367670"/>
              <a:gd name="connsiteX3500" fmla="*/ 4391513 w 5365133"/>
              <a:gd name="connsiteY3500" fmla="*/ 1294252 h 4367670"/>
              <a:gd name="connsiteX3501" fmla="*/ 4390795 w 5365133"/>
              <a:gd name="connsiteY3501" fmla="*/ 1286361 h 4367670"/>
              <a:gd name="connsiteX3502" fmla="*/ 4388109 w 5365133"/>
              <a:gd name="connsiteY3502" fmla="*/ 1284442 h 4367670"/>
              <a:gd name="connsiteX3503" fmla="*/ 4375375 w 5365133"/>
              <a:gd name="connsiteY3503" fmla="*/ 1289117 h 4367670"/>
              <a:gd name="connsiteX3504" fmla="*/ 4338622 w 5365133"/>
              <a:gd name="connsiteY3504" fmla="*/ 1304262 h 4367670"/>
              <a:gd name="connsiteX3505" fmla="*/ 4356623 w 5365133"/>
              <a:gd name="connsiteY3505" fmla="*/ 1287602 h 4367670"/>
              <a:gd name="connsiteX3506" fmla="*/ 4364835 w 5365133"/>
              <a:gd name="connsiteY3506" fmla="*/ 1284147 h 4367670"/>
              <a:gd name="connsiteX3507" fmla="*/ 4365566 w 5365133"/>
              <a:gd name="connsiteY3507" fmla="*/ 1284208 h 4367670"/>
              <a:gd name="connsiteX3508" fmla="*/ 4366301 w 5365133"/>
              <a:gd name="connsiteY3508" fmla="*/ 1283530 h 4367670"/>
              <a:gd name="connsiteX3509" fmla="*/ 4374624 w 5365133"/>
              <a:gd name="connsiteY3509" fmla="*/ 1280028 h 4367670"/>
              <a:gd name="connsiteX3510" fmla="*/ 4375177 w 5365133"/>
              <a:gd name="connsiteY3510" fmla="*/ 1280003 h 4367670"/>
              <a:gd name="connsiteX3511" fmla="*/ 4373338 w 5365133"/>
              <a:gd name="connsiteY3511" fmla="*/ 1277034 h 4367670"/>
              <a:gd name="connsiteX3512" fmla="*/ 4366301 w 5365133"/>
              <a:gd name="connsiteY3512" fmla="*/ 1283530 h 4367670"/>
              <a:gd name="connsiteX3513" fmla="*/ 4364835 w 5365133"/>
              <a:gd name="connsiteY3513" fmla="*/ 1284147 h 4367670"/>
              <a:gd name="connsiteX3514" fmla="*/ 4348466 w 5365133"/>
              <a:gd name="connsiteY3514" fmla="*/ 1282774 h 4367670"/>
              <a:gd name="connsiteX3515" fmla="*/ 4379557 w 5365133"/>
              <a:gd name="connsiteY3515" fmla="*/ 1271294 h 4367670"/>
              <a:gd name="connsiteX3516" fmla="*/ 4381888 w 5365133"/>
              <a:gd name="connsiteY3516" fmla="*/ 1277034 h 4367670"/>
              <a:gd name="connsiteX3517" fmla="*/ 4380785 w 5365133"/>
              <a:gd name="connsiteY3517" fmla="*/ 1279749 h 4367670"/>
              <a:gd name="connsiteX3518" fmla="*/ 4383128 w 5365133"/>
              <a:gd name="connsiteY3518" fmla="*/ 1279643 h 4367670"/>
              <a:gd name="connsiteX3519" fmla="*/ 4432847 w 5365133"/>
              <a:gd name="connsiteY3519" fmla="*/ 1265545 h 4367670"/>
              <a:gd name="connsiteX3520" fmla="*/ 4790406 w 5365133"/>
              <a:gd name="connsiteY3520" fmla="*/ 1262684 h 4367670"/>
              <a:gd name="connsiteX3521" fmla="*/ 4730568 w 5365133"/>
              <a:gd name="connsiteY3521" fmla="*/ 1286790 h 4367670"/>
              <a:gd name="connsiteX3522" fmla="*/ 4729352 w 5365133"/>
              <a:gd name="connsiteY3522" fmla="*/ 1287325 h 4367670"/>
              <a:gd name="connsiteX3523" fmla="*/ 4738235 w 5365133"/>
              <a:gd name="connsiteY3523" fmla="*/ 1277092 h 4367670"/>
              <a:gd name="connsiteX3524" fmla="*/ 4790406 w 5365133"/>
              <a:gd name="connsiteY3524" fmla="*/ 1262684 h 4367670"/>
              <a:gd name="connsiteX3525" fmla="*/ 1742746 w 5365133"/>
              <a:gd name="connsiteY3525" fmla="*/ 1262684 h 4367670"/>
              <a:gd name="connsiteX3526" fmla="*/ 1759964 w 5365133"/>
              <a:gd name="connsiteY3526" fmla="*/ 1262684 h 4367670"/>
              <a:gd name="connsiteX3527" fmla="*/ 1742746 w 5365133"/>
              <a:gd name="connsiteY3527" fmla="*/ 1262684 h 4367670"/>
              <a:gd name="connsiteX3528" fmla="*/ 4934960 w 5365133"/>
              <a:gd name="connsiteY3528" fmla="*/ 1260421 h 4367670"/>
              <a:gd name="connsiteX3529" fmla="*/ 4940255 w 5365133"/>
              <a:gd name="connsiteY3529" fmla="*/ 1271099 h 4367670"/>
              <a:gd name="connsiteX3530" fmla="*/ 4921610 w 5365133"/>
              <a:gd name="connsiteY3530" fmla="*/ 1279796 h 4367670"/>
              <a:gd name="connsiteX3531" fmla="*/ 4924415 w 5365133"/>
              <a:gd name="connsiteY3531" fmla="*/ 1277134 h 4367670"/>
              <a:gd name="connsiteX3532" fmla="*/ 4922909 w 5365133"/>
              <a:gd name="connsiteY3532" fmla="*/ 1266498 h 4367670"/>
              <a:gd name="connsiteX3533" fmla="*/ 4928935 w 5365133"/>
              <a:gd name="connsiteY3533" fmla="*/ 1272576 h 4367670"/>
              <a:gd name="connsiteX3534" fmla="*/ 4934960 w 5365133"/>
              <a:gd name="connsiteY3534" fmla="*/ 1260421 h 4367670"/>
              <a:gd name="connsiteX3535" fmla="*/ 5006916 w 5365133"/>
              <a:gd name="connsiteY3535" fmla="*/ 1260419 h 4367670"/>
              <a:gd name="connsiteX3536" fmla="*/ 5018872 w 5365133"/>
              <a:gd name="connsiteY3536" fmla="*/ 1266382 h 4367670"/>
              <a:gd name="connsiteX3537" fmla="*/ 4935179 w 5365133"/>
              <a:gd name="connsiteY3537" fmla="*/ 1314096 h 4367670"/>
              <a:gd name="connsiteX3538" fmla="*/ 4944894 w 5365133"/>
              <a:gd name="connsiteY3538" fmla="*/ 1317076 h 4367670"/>
              <a:gd name="connsiteX3539" fmla="*/ 4957145 w 5365133"/>
              <a:gd name="connsiteY3539" fmla="*/ 1319650 h 4367670"/>
              <a:gd name="connsiteX3540" fmla="*/ 4933686 w 5365133"/>
              <a:gd name="connsiteY3540" fmla="*/ 1330495 h 4367670"/>
              <a:gd name="connsiteX3541" fmla="*/ 4863444 w 5365133"/>
              <a:gd name="connsiteY3541" fmla="*/ 1349879 h 4367670"/>
              <a:gd name="connsiteX3542" fmla="*/ 4835331 w 5365133"/>
              <a:gd name="connsiteY3542" fmla="*/ 1359228 h 4367670"/>
              <a:gd name="connsiteX3543" fmla="*/ 4841773 w 5365133"/>
              <a:gd name="connsiteY3543" fmla="*/ 1349879 h 4367670"/>
              <a:gd name="connsiteX3544" fmla="*/ 4845510 w 5365133"/>
              <a:gd name="connsiteY3544" fmla="*/ 1337949 h 4367670"/>
              <a:gd name="connsiteX3545" fmla="*/ 4851487 w 5365133"/>
              <a:gd name="connsiteY3545" fmla="*/ 1349879 h 4367670"/>
              <a:gd name="connsiteX3546" fmla="*/ 4863444 w 5365133"/>
              <a:gd name="connsiteY3546" fmla="*/ 1343915 h 4367670"/>
              <a:gd name="connsiteX3547" fmla="*/ 4851487 w 5365133"/>
              <a:gd name="connsiteY3547" fmla="*/ 1337949 h 4367670"/>
              <a:gd name="connsiteX3548" fmla="*/ 4869422 w 5365133"/>
              <a:gd name="connsiteY3548" fmla="*/ 1331986 h 4367670"/>
              <a:gd name="connsiteX3549" fmla="*/ 4869422 w 5365133"/>
              <a:gd name="connsiteY3549" fmla="*/ 1343915 h 4367670"/>
              <a:gd name="connsiteX3550" fmla="*/ 4893334 w 5365133"/>
              <a:gd name="connsiteY3550" fmla="*/ 1337949 h 4367670"/>
              <a:gd name="connsiteX3551" fmla="*/ 4899312 w 5365133"/>
              <a:gd name="connsiteY3551" fmla="*/ 1331986 h 4367670"/>
              <a:gd name="connsiteX3552" fmla="*/ 4893334 w 5365133"/>
              <a:gd name="connsiteY3552" fmla="*/ 1337949 h 4367670"/>
              <a:gd name="connsiteX3553" fmla="*/ 4869422 w 5365133"/>
              <a:gd name="connsiteY3553" fmla="*/ 1331986 h 4367670"/>
              <a:gd name="connsiteX3554" fmla="*/ 4881378 w 5365133"/>
              <a:gd name="connsiteY3554" fmla="*/ 1320059 h 4367670"/>
              <a:gd name="connsiteX3555" fmla="*/ 4887356 w 5365133"/>
              <a:gd name="connsiteY3555" fmla="*/ 1326022 h 4367670"/>
              <a:gd name="connsiteX3556" fmla="*/ 4893334 w 5365133"/>
              <a:gd name="connsiteY3556" fmla="*/ 1326022 h 4367670"/>
              <a:gd name="connsiteX3557" fmla="*/ 4881378 w 5365133"/>
              <a:gd name="connsiteY3557" fmla="*/ 1314096 h 4367670"/>
              <a:gd name="connsiteX3558" fmla="*/ 4908927 w 5365133"/>
              <a:gd name="connsiteY3558" fmla="*/ 1303723 h 4367670"/>
              <a:gd name="connsiteX3559" fmla="*/ 4893334 w 5365133"/>
              <a:gd name="connsiteY3559" fmla="*/ 1314096 h 4367670"/>
              <a:gd name="connsiteX3560" fmla="*/ 4899312 w 5365133"/>
              <a:gd name="connsiteY3560" fmla="*/ 1325277 h 4367670"/>
              <a:gd name="connsiteX3561" fmla="*/ 4899940 w 5365133"/>
              <a:gd name="connsiteY3561" fmla="*/ 1325981 h 4367670"/>
              <a:gd name="connsiteX3562" fmla="*/ 4899312 w 5365133"/>
              <a:gd name="connsiteY3562" fmla="*/ 1326022 h 4367670"/>
              <a:gd name="connsiteX3563" fmla="*/ 4900343 w 5365133"/>
              <a:gd name="connsiteY3563" fmla="*/ 1326434 h 4367670"/>
              <a:gd name="connsiteX3564" fmla="*/ 4905288 w 5365133"/>
              <a:gd name="connsiteY3564" fmla="*/ 1331986 h 4367670"/>
              <a:gd name="connsiteX3565" fmla="*/ 4906783 w 5365133"/>
              <a:gd name="connsiteY3565" fmla="*/ 1329004 h 4367670"/>
              <a:gd name="connsiteX3566" fmla="*/ 4900343 w 5365133"/>
              <a:gd name="connsiteY3566" fmla="*/ 1326434 h 4367670"/>
              <a:gd name="connsiteX3567" fmla="*/ 4899940 w 5365133"/>
              <a:gd name="connsiteY3567" fmla="*/ 1325981 h 4367670"/>
              <a:gd name="connsiteX3568" fmla="*/ 4910520 w 5365133"/>
              <a:gd name="connsiteY3568" fmla="*/ 1325277 h 4367670"/>
              <a:gd name="connsiteX3569" fmla="*/ 4917245 w 5365133"/>
              <a:gd name="connsiteY3569" fmla="*/ 1320059 h 4367670"/>
              <a:gd name="connsiteX3570" fmla="*/ 4917245 w 5365133"/>
              <a:gd name="connsiteY3570" fmla="*/ 1326022 h 4367670"/>
              <a:gd name="connsiteX3571" fmla="*/ 4929201 w 5365133"/>
              <a:gd name="connsiteY3571" fmla="*/ 1320059 h 4367670"/>
              <a:gd name="connsiteX3572" fmla="*/ 4923223 w 5365133"/>
              <a:gd name="connsiteY3572" fmla="*/ 1314096 h 4367670"/>
              <a:gd name="connsiteX3573" fmla="*/ 4929201 w 5365133"/>
              <a:gd name="connsiteY3573" fmla="*/ 1308130 h 4367670"/>
              <a:gd name="connsiteX3574" fmla="*/ 4950490 w 5365133"/>
              <a:gd name="connsiteY3574" fmla="*/ 1295561 h 4367670"/>
              <a:gd name="connsiteX3575" fmla="*/ 4953113 w 5365133"/>
              <a:gd name="connsiteY3575" fmla="*/ 1296203 h 4367670"/>
              <a:gd name="connsiteX3576" fmla="*/ 4958495 w 5365133"/>
              <a:gd name="connsiteY3576" fmla="*/ 1290836 h 4367670"/>
              <a:gd name="connsiteX3577" fmla="*/ 4965818 w 5365133"/>
              <a:gd name="connsiteY3577" fmla="*/ 1286511 h 4367670"/>
              <a:gd name="connsiteX3578" fmla="*/ 5006916 w 5365133"/>
              <a:gd name="connsiteY3578" fmla="*/ 1260419 h 4367670"/>
              <a:gd name="connsiteX3579" fmla="*/ 4200492 w 5365133"/>
              <a:gd name="connsiteY3579" fmla="*/ 1257195 h 4367670"/>
              <a:gd name="connsiteX3580" fmla="*/ 4198511 w 5365133"/>
              <a:gd name="connsiteY3580" fmla="*/ 1257932 h 4367670"/>
              <a:gd name="connsiteX3581" fmla="*/ 4188796 w 5365133"/>
              <a:gd name="connsiteY3581" fmla="*/ 1263151 h 4367670"/>
              <a:gd name="connsiteX3582" fmla="*/ 4198044 w 5365133"/>
              <a:gd name="connsiteY3582" fmla="*/ 1257279 h 4367670"/>
              <a:gd name="connsiteX3583" fmla="*/ 4200691 w 5365133"/>
              <a:gd name="connsiteY3583" fmla="*/ 1257120 h 4367670"/>
              <a:gd name="connsiteX3584" fmla="*/ 4200753 w 5365133"/>
              <a:gd name="connsiteY3584" fmla="*/ 1257186 h 4367670"/>
              <a:gd name="connsiteX3585" fmla="*/ 4200492 w 5365133"/>
              <a:gd name="connsiteY3585" fmla="*/ 1257195 h 4367670"/>
              <a:gd name="connsiteX3586" fmla="*/ 4989199 w 5365133"/>
              <a:gd name="connsiteY3586" fmla="*/ 1248268 h 4367670"/>
              <a:gd name="connsiteX3587" fmla="*/ 4947081 w 5365133"/>
              <a:gd name="connsiteY3587" fmla="*/ 1267914 h 4367670"/>
              <a:gd name="connsiteX3588" fmla="*/ 4962833 w 5365133"/>
              <a:gd name="connsiteY3588" fmla="*/ 1255863 h 4367670"/>
              <a:gd name="connsiteX3589" fmla="*/ 4989199 w 5365133"/>
              <a:gd name="connsiteY3589" fmla="*/ 1248268 h 4367670"/>
              <a:gd name="connsiteX3590" fmla="*/ 4766140 w 5365133"/>
              <a:gd name="connsiteY3590" fmla="*/ 1243101 h 4367670"/>
              <a:gd name="connsiteX3591" fmla="*/ 4772142 w 5365133"/>
              <a:gd name="connsiteY3591" fmla="*/ 1255728 h 4367670"/>
              <a:gd name="connsiteX3592" fmla="*/ 4748139 w 5365133"/>
              <a:gd name="connsiteY3592" fmla="*/ 1268355 h 4367670"/>
              <a:gd name="connsiteX3593" fmla="*/ 4766140 w 5365133"/>
              <a:gd name="connsiteY3593" fmla="*/ 1243101 h 4367670"/>
              <a:gd name="connsiteX3594" fmla="*/ 4753519 w 5365133"/>
              <a:gd name="connsiteY3594" fmla="*/ 1242830 h 4367670"/>
              <a:gd name="connsiteX3595" fmla="*/ 4736662 w 5365133"/>
              <a:gd name="connsiteY3595" fmla="*/ 1254007 h 4367670"/>
              <a:gd name="connsiteX3596" fmla="*/ 4752232 w 5365133"/>
              <a:gd name="connsiteY3596" fmla="*/ 1243246 h 4367670"/>
              <a:gd name="connsiteX3597" fmla="*/ 4770765 w 5365133"/>
              <a:gd name="connsiteY3597" fmla="*/ 1241093 h 4367670"/>
              <a:gd name="connsiteX3598" fmla="*/ 4776726 w 5365133"/>
              <a:gd name="connsiteY3598" fmla="*/ 1242247 h 4367670"/>
              <a:gd name="connsiteX3599" fmla="*/ 4772246 w 5365133"/>
              <a:gd name="connsiteY3599" fmla="*/ 1248268 h 4367670"/>
              <a:gd name="connsiteX3600" fmla="*/ 4770765 w 5365133"/>
              <a:gd name="connsiteY3600" fmla="*/ 1241093 h 4367670"/>
              <a:gd name="connsiteX3601" fmla="*/ 4777903 w 5365133"/>
              <a:gd name="connsiteY3601" fmla="*/ 1240665 h 4367670"/>
              <a:gd name="connsiteX3602" fmla="*/ 4778178 w 5365133"/>
              <a:gd name="connsiteY3602" fmla="*/ 1242528 h 4367670"/>
              <a:gd name="connsiteX3603" fmla="*/ 4776726 w 5365133"/>
              <a:gd name="connsiteY3603" fmla="*/ 1242247 h 4367670"/>
              <a:gd name="connsiteX3604" fmla="*/ 5029373 w 5365133"/>
              <a:gd name="connsiteY3604" fmla="*/ 1236787 h 4367670"/>
              <a:gd name="connsiteX3605" fmla="*/ 5006415 w 5365133"/>
              <a:gd name="connsiteY3605" fmla="*/ 1242527 h 4367670"/>
              <a:gd name="connsiteX3606" fmla="*/ 5029373 w 5365133"/>
              <a:gd name="connsiteY3606" fmla="*/ 1236787 h 4367670"/>
              <a:gd name="connsiteX3607" fmla="*/ 4825625 w 5365133"/>
              <a:gd name="connsiteY3607" fmla="*/ 1213831 h 4367670"/>
              <a:gd name="connsiteX3608" fmla="*/ 4782255 w 5365133"/>
              <a:gd name="connsiteY3608" fmla="*/ 1234816 h 4367670"/>
              <a:gd name="connsiteX3609" fmla="*/ 4777903 w 5365133"/>
              <a:gd name="connsiteY3609" fmla="*/ 1240665 h 4367670"/>
              <a:gd name="connsiteX3610" fmla="*/ 4777437 w 5365133"/>
              <a:gd name="connsiteY3610" fmla="*/ 1237506 h 4367670"/>
              <a:gd name="connsiteX3611" fmla="*/ 4772246 w 5365133"/>
              <a:gd name="connsiteY3611" fmla="*/ 1236789 h 4367670"/>
              <a:gd name="connsiteX3612" fmla="*/ 4753519 w 5365133"/>
              <a:gd name="connsiteY3612" fmla="*/ 1242830 h 4367670"/>
              <a:gd name="connsiteX3613" fmla="*/ 4776696 w 5365133"/>
              <a:gd name="connsiteY3613" fmla="*/ 1227463 h 4367670"/>
              <a:gd name="connsiteX3614" fmla="*/ 4825625 w 5365133"/>
              <a:gd name="connsiteY3614" fmla="*/ 1213831 h 4367670"/>
              <a:gd name="connsiteX3615" fmla="*/ 4787224 w 5365133"/>
              <a:gd name="connsiteY3615" fmla="*/ 1209712 h 4367670"/>
              <a:gd name="connsiteX3616" fmla="*/ 4780783 w 5365133"/>
              <a:gd name="connsiteY3616" fmla="*/ 1211836 h 4367670"/>
              <a:gd name="connsiteX3617" fmla="*/ 4779501 w 5365133"/>
              <a:gd name="connsiteY3617" fmla="*/ 1211030 h 4367670"/>
              <a:gd name="connsiteX3618" fmla="*/ 4308357 w 5365133"/>
              <a:gd name="connsiteY3618" fmla="*/ 1209475 h 4367670"/>
              <a:gd name="connsiteX3619" fmla="*/ 4309064 w 5365133"/>
              <a:gd name="connsiteY3619" fmla="*/ 1209603 h 4367670"/>
              <a:gd name="connsiteX3620" fmla="*/ 4305264 w 5365133"/>
              <a:gd name="connsiteY3620" fmla="*/ 1210839 h 4367670"/>
              <a:gd name="connsiteX3621" fmla="*/ 4792129 w 5365133"/>
              <a:gd name="connsiteY3621" fmla="*/ 1208876 h 4367670"/>
              <a:gd name="connsiteX3622" fmla="*/ 4804755 w 5365133"/>
              <a:gd name="connsiteY3622" fmla="*/ 1211030 h 4367670"/>
              <a:gd name="connsiteX3623" fmla="*/ 4791046 w 5365133"/>
              <a:gd name="connsiteY3623" fmla="*/ 1209060 h 4367670"/>
              <a:gd name="connsiteX3624" fmla="*/ 4789760 w 5365133"/>
              <a:gd name="connsiteY3624" fmla="*/ 1208876 h 4367670"/>
              <a:gd name="connsiteX3625" fmla="*/ 4791046 w 5365133"/>
              <a:gd name="connsiteY3625" fmla="*/ 1209060 h 4367670"/>
              <a:gd name="connsiteX3626" fmla="*/ 4787224 w 5365133"/>
              <a:gd name="connsiteY3626" fmla="*/ 1209712 h 4367670"/>
              <a:gd name="connsiteX3627" fmla="*/ 2017653 w 5365133"/>
              <a:gd name="connsiteY3627" fmla="*/ 1193828 h 4367670"/>
              <a:gd name="connsiteX3628" fmla="*/ 2004325 w 5365133"/>
              <a:gd name="connsiteY3628" fmla="*/ 1199852 h 4367670"/>
              <a:gd name="connsiteX3629" fmla="*/ 2002524 w 5365133"/>
              <a:gd name="connsiteY3629" fmla="*/ 1201695 h 4367670"/>
              <a:gd name="connsiteX3630" fmla="*/ 2003275 w 5365133"/>
              <a:gd name="connsiteY3630" fmla="*/ 1203417 h 4367670"/>
              <a:gd name="connsiteX3631" fmla="*/ 2000847 w 5365133"/>
              <a:gd name="connsiteY3631" fmla="*/ 1209475 h 4367670"/>
              <a:gd name="connsiteX3632" fmla="*/ 2012801 w 5365133"/>
              <a:gd name="connsiteY3632" fmla="*/ 1203509 h 4367670"/>
              <a:gd name="connsiteX3633" fmla="*/ 4288203 w 5365133"/>
              <a:gd name="connsiteY3633" fmla="*/ 1193811 h 4367670"/>
              <a:gd name="connsiteX3634" fmla="*/ 4265245 w 5365133"/>
              <a:gd name="connsiteY3634" fmla="*/ 1199550 h 4367670"/>
              <a:gd name="connsiteX3635" fmla="*/ 4288203 w 5365133"/>
              <a:gd name="connsiteY3635" fmla="*/ 1193811 h 4367670"/>
              <a:gd name="connsiteX3636" fmla="*/ 1899634 w 5365133"/>
              <a:gd name="connsiteY3636" fmla="*/ 1193030 h 4367670"/>
              <a:gd name="connsiteX3637" fmla="*/ 1899634 w 5365133"/>
              <a:gd name="connsiteY3637" fmla="*/ 1196908 h 4367670"/>
              <a:gd name="connsiteX3638" fmla="*/ 1900714 w 5365133"/>
              <a:gd name="connsiteY3638" fmla="*/ 1196800 h 4367670"/>
              <a:gd name="connsiteX3639" fmla="*/ 5032780 w 5365133"/>
              <a:gd name="connsiteY3639" fmla="*/ 1187654 h 4367670"/>
              <a:gd name="connsiteX3640" fmla="*/ 5012410 w 5365133"/>
              <a:gd name="connsiteY3640" fmla="*/ 1202019 h 4367670"/>
              <a:gd name="connsiteX3641" fmla="*/ 4977235 w 5365133"/>
              <a:gd name="connsiteY3641" fmla="*/ 1210227 h 4367670"/>
              <a:gd name="connsiteX3642" fmla="*/ 5004925 w 5365133"/>
              <a:gd name="connsiteY3642" fmla="*/ 1196051 h 4367670"/>
              <a:gd name="connsiteX3643" fmla="*/ 1852285 w 5365133"/>
              <a:gd name="connsiteY3643" fmla="*/ 1186603 h 4367670"/>
              <a:gd name="connsiteX3644" fmla="*/ 1864912 w 5365133"/>
              <a:gd name="connsiteY3644" fmla="*/ 1198081 h 4367670"/>
              <a:gd name="connsiteX3645" fmla="*/ 1839656 w 5365133"/>
              <a:gd name="connsiteY3645" fmla="*/ 1203821 h 4367670"/>
              <a:gd name="connsiteX3646" fmla="*/ 1852285 w 5365133"/>
              <a:gd name="connsiteY3646" fmla="*/ 1186603 h 4367670"/>
              <a:gd name="connsiteX3647" fmla="*/ 5037105 w 5365133"/>
              <a:gd name="connsiteY3647" fmla="*/ 1186350 h 4367670"/>
              <a:gd name="connsiteX3648" fmla="*/ 5032780 w 5365133"/>
              <a:gd name="connsiteY3648" fmla="*/ 1187654 h 4367670"/>
              <a:gd name="connsiteX3649" fmla="*/ 5033588 w 5365133"/>
              <a:gd name="connsiteY3649" fmla="*/ 1187084 h 4367670"/>
              <a:gd name="connsiteX3650" fmla="*/ 4862150 w 5365133"/>
              <a:gd name="connsiteY3650" fmla="*/ 1179463 h 4367670"/>
              <a:gd name="connsiteX3651" fmla="*/ 4827713 w 5365133"/>
              <a:gd name="connsiteY3651" fmla="*/ 1199552 h 4367670"/>
              <a:gd name="connsiteX3652" fmla="*/ 4862150 w 5365133"/>
              <a:gd name="connsiteY3652" fmla="*/ 1179463 h 4367670"/>
              <a:gd name="connsiteX3653" fmla="*/ 1829726 w 5365133"/>
              <a:gd name="connsiteY3653" fmla="*/ 1172944 h 4367670"/>
              <a:gd name="connsiteX3654" fmla="*/ 1815714 w 5365133"/>
              <a:gd name="connsiteY3654" fmla="*/ 1173680 h 4367670"/>
              <a:gd name="connsiteX3655" fmla="*/ 1815593 w 5365133"/>
              <a:gd name="connsiteY3655" fmla="*/ 1173821 h 4367670"/>
              <a:gd name="connsiteX3656" fmla="*/ 1819202 w 5365133"/>
              <a:gd name="connsiteY3656" fmla="*/ 1181021 h 4367670"/>
              <a:gd name="connsiteX3657" fmla="*/ 1821547 w 5365133"/>
              <a:gd name="connsiteY3657" fmla="*/ 1177992 h 4367670"/>
              <a:gd name="connsiteX3658" fmla="*/ 1815648 w 5365133"/>
              <a:gd name="connsiteY3658" fmla="*/ 1195929 h 4367670"/>
              <a:gd name="connsiteX3659" fmla="*/ 1775000 w 5365133"/>
              <a:gd name="connsiteY3659" fmla="*/ 1216107 h 4367670"/>
              <a:gd name="connsiteX3660" fmla="*/ 1774602 w 5365133"/>
              <a:gd name="connsiteY3660" fmla="*/ 1216035 h 4367670"/>
              <a:gd name="connsiteX3661" fmla="*/ 1761727 w 5365133"/>
              <a:gd name="connsiteY3661" fmla="*/ 1224384 h 4367670"/>
              <a:gd name="connsiteX3662" fmla="*/ 1756331 w 5365133"/>
              <a:gd name="connsiteY3662" fmla="*/ 1226818 h 4367670"/>
              <a:gd name="connsiteX3663" fmla="*/ 1756659 w 5365133"/>
              <a:gd name="connsiteY3663" fmla="*/ 1231801 h 4367670"/>
              <a:gd name="connsiteX3664" fmla="*/ 1815648 w 5365133"/>
              <a:gd name="connsiteY3664" fmla="*/ 1195929 h 4367670"/>
              <a:gd name="connsiteX3665" fmla="*/ 1827447 w 5365133"/>
              <a:gd name="connsiteY3665" fmla="*/ 1195929 h 4367670"/>
              <a:gd name="connsiteX3666" fmla="*/ 1803851 w 5365133"/>
              <a:gd name="connsiteY3666" fmla="*/ 1225822 h 4367670"/>
              <a:gd name="connsiteX3667" fmla="*/ 1733063 w 5365133"/>
              <a:gd name="connsiteY3667" fmla="*/ 1243758 h 4367670"/>
              <a:gd name="connsiteX3668" fmla="*/ 1747995 w 5365133"/>
              <a:gd name="connsiteY3668" fmla="*/ 1232828 h 4367670"/>
              <a:gd name="connsiteX3669" fmla="*/ 1749075 w 5365133"/>
              <a:gd name="connsiteY3669" fmla="*/ 1230092 h 4367670"/>
              <a:gd name="connsiteX3670" fmla="*/ 1732397 w 5365133"/>
              <a:gd name="connsiteY3670" fmla="*/ 1237617 h 4367670"/>
              <a:gd name="connsiteX3671" fmla="*/ 1713607 w 5365133"/>
              <a:gd name="connsiteY3671" fmla="*/ 1242332 h 4367670"/>
              <a:gd name="connsiteX3672" fmla="*/ 1709369 w 5365133"/>
              <a:gd name="connsiteY3672" fmla="*/ 1244612 h 4367670"/>
              <a:gd name="connsiteX3673" fmla="*/ 1715396 w 5365133"/>
              <a:gd name="connsiteY3673" fmla="*/ 1262447 h 4367670"/>
              <a:gd name="connsiteX3674" fmla="*/ 1685263 w 5365133"/>
              <a:gd name="connsiteY3674" fmla="*/ 1280280 h 4367670"/>
              <a:gd name="connsiteX3675" fmla="*/ 1631026 w 5365133"/>
              <a:gd name="connsiteY3675" fmla="*/ 1304058 h 4367670"/>
              <a:gd name="connsiteX3676" fmla="*/ 1615960 w 5365133"/>
              <a:gd name="connsiteY3676" fmla="*/ 1304057 h 4367670"/>
              <a:gd name="connsiteX3677" fmla="*/ 1611660 w 5365133"/>
              <a:gd name="connsiteY3677" fmla="*/ 1303026 h 4367670"/>
              <a:gd name="connsiteX3678" fmla="*/ 1602561 w 5365133"/>
              <a:gd name="connsiteY3678" fmla="*/ 1307880 h 4367670"/>
              <a:gd name="connsiteX3679" fmla="*/ 1583974 w 5365133"/>
              <a:gd name="connsiteY3679" fmla="*/ 1317199 h 4367670"/>
              <a:gd name="connsiteX3680" fmla="*/ 1574445 w 5365133"/>
              <a:gd name="connsiteY3680" fmla="*/ 1325329 h 4367670"/>
              <a:gd name="connsiteX3681" fmla="*/ 1574937 w 5365133"/>
              <a:gd name="connsiteY3681" fmla="*/ 1326023 h 4367670"/>
              <a:gd name="connsiteX3682" fmla="*/ 1577938 w 5365133"/>
              <a:gd name="connsiteY3682" fmla="*/ 1335350 h 4367670"/>
              <a:gd name="connsiteX3683" fmla="*/ 1567522 w 5365133"/>
              <a:gd name="connsiteY3683" fmla="*/ 1329636 h 4367670"/>
              <a:gd name="connsiteX3684" fmla="*/ 1542781 w 5365133"/>
              <a:gd name="connsiteY3684" fmla="*/ 1337141 h 4367670"/>
              <a:gd name="connsiteX3685" fmla="*/ 1515133 w 5365133"/>
              <a:gd name="connsiteY3685" fmla="*/ 1351119 h 4367670"/>
              <a:gd name="connsiteX3686" fmla="*/ 1493899 w 5365133"/>
              <a:gd name="connsiteY3686" fmla="*/ 1364671 h 4367670"/>
              <a:gd name="connsiteX3687" fmla="*/ 1494716 w 5365133"/>
              <a:gd name="connsiteY3687" fmla="*/ 1364526 h 4367670"/>
              <a:gd name="connsiteX3688" fmla="*/ 1483641 w 5365133"/>
              <a:gd name="connsiteY3688" fmla="*/ 1373763 h 4367670"/>
              <a:gd name="connsiteX3689" fmla="*/ 1478619 w 5365133"/>
              <a:gd name="connsiteY3689" fmla="*/ 1375349 h 4367670"/>
              <a:gd name="connsiteX3690" fmla="*/ 1468805 w 5365133"/>
              <a:gd name="connsiteY3690" fmla="*/ 1382431 h 4367670"/>
              <a:gd name="connsiteX3691" fmla="*/ 1463146 w 5365133"/>
              <a:gd name="connsiteY3691" fmla="*/ 1379607 h 4367670"/>
              <a:gd name="connsiteX3692" fmla="*/ 1460903 w 5365133"/>
              <a:gd name="connsiteY3692" fmla="*/ 1380102 h 4367670"/>
              <a:gd name="connsiteX3693" fmla="*/ 1453859 w 5365133"/>
              <a:gd name="connsiteY3693" fmla="*/ 1383921 h 4367670"/>
              <a:gd name="connsiteX3694" fmla="*/ 1438914 w 5365133"/>
              <a:gd name="connsiteY3694" fmla="*/ 1394358 h 4367670"/>
              <a:gd name="connsiteX3695" fmla="*/ 1444892 w 5365133"/>
              <a:gd name="connsiteY3695" fmla="*/ 1400322 h 4367670"/>
              <a:gd name="connsiteX3696" fmla="*/ 1438914 w 5365133"/>
              <a:gd name="connsiteY3696" fmla="*/ 1406287 h 4367670"/>
              <a:gd name="connsiteX3697" fmla="*/ 1426211 w 5365133"/>
              <a:gd name="connsiteY3697" fmla="*/ 1401813 h 4367670"/>
              <a:gd name="connsiteX3698" fmla="*/ 1420564 w 5365133"/>
              <a:gd name="connsiteY3698" fmla="*/ 1403283 h 4367670"/>
              <a:gd name="connsiteX3699" fmla="*/ 1421775 w 5365133"/>
              <a:gd name="connsiteY3699" fmla="*/ 1406528 h 4367670"/>
              <a:gd name="connsiteX3700" fmla="*/ 1408737 w 5365133"/>
              <a:gd name="connsiteY3700" fmla="*/ 1409644 h 4367670"/>
              <a:gd name="connsiteX3701" fmla="*/ 1408276 w 5365133"/>
              <a:gd name="connsiteY3701" fmla="*/ 1415046 h 4367670"/>
              <a:gd name="connsiteX3702" fmla="*/ 1400889 w 5365133"/>
              <a:gd name="connsiteY3702" fmla="*/ 1421350 h 4367670"/>
              <a:gd name="connsiteX3703" fmla="*/ 1404677 w 5365133"/>
              <a:gd name="connsiteY3703" fmla="*/ 1419320 h 4367670"/>
              <a:gd name="connsiteX3704" fmla="*/ 1417233 w 5365133"/>
              <a:gd name="connsiteY3704" fmla="*/ 1410442 h 4367670"/>
              <a:gd name="connsiteX3705" fmla="*/ 1403108 w 5365133"/>
              <a:gd name="connsiteY3705" fmla="*/ 1427694 h 4367670"/>
              <a:gd name="connsiteX3706" fmla="*/ 1397896 w 5365133"/>
              <a:gd name="connsiteY3706" fmla="*/ 1423903 h 4367670"/>
              <a:gd name="connsiteX3707" fmla="*/ 1394078 w 5365133"/>
              <a:gd name="connsiteY3707" fmla="*/ 1427161 h 4367670"/>
              <a:gd name="connsiteX3708" fmla="*/ 1367177 w 5365133"/>
              <a:gd name="connsiteY3708" fmla="*/ 1434499 h 4367670"/>
              <a:gd name="connsiteX3709" fmla="*/ 1363883 w 5365133"/>
              <a:gd name="connsiteY3709" fmla="*/ 1432099 h 4367670"/>
              <a:gd name="connsiteX3710" fmla="*/ 1361242 w 5365133"/>
              <a:gd name="connsiteY3710" fmla="*/ 1434280 h 4367670"/>
              <a:gd name="connsiteX3711" fmla="*/ 1353995 w 5365133"/>
              <a:gd name="connsiteY3711" fmla="*/ 1437596 h 4367670"/>
              <a:gd name="connsiteX3712" fmla="*/ 1348590 w 5365133"/>
              <a:gd name="connsiteY3712" fmla="*/ 1443189 h 4367670"/>
              <a:gd name="connsiteX3713" fmla="*/ 1332057 w 5365133"/>
              <a:gd name="connsiteY3713" fmla="*/ 1453998 h 4367670"/>
              <a:gd name="connsiteX3714" fmla="*/ 1330529 w 5365133"/>
              <a:gd name="connsiteY3714" fmla="*/ 1454626 h 4367670"/>
              <a:gd name="connsiteX3715" fmla="*/ 1330421 w 5365133"/>
              <a:gd name="connsiteY3715" fmla="*/ 1454772 h 4367670"/>
              <a:gd name="connsiteX3716" fmla="*/ 1330045 w 5365133"/>
              <a:gd name="connsiteY3716" fmla="*/ 1454826 h 4367670"/>
              <a:gd name="connsiteX3717" fmla="*/ 1327274 w 5365133"/>
              <a:gd name="connsiteY3717" fmla="*/ 1455965 h 4367670"/>
              <a:gd name="connsiteX3718" fmla="*/ 1330173 w 5365133"/>
              <a:gd name="connsiteY3718" fmla="*/ 1455103 h 4367670"/>
              <a:gd name="connsiteX3719" fmla="*/ 1326117 w 5365133"/>
              <a:gd name="connsiteY3719" fmla="*/ 1460532 h 4367670"/>
              <a:gd name="connsiteX3720" fmla="*/ 1326736 w 5365133"/>
              <a:gd name="connsiteY3720" fmla="*/ 1456186 h 4367670"/>
              <a:gd name="connsiteX3721" fmla="*/ 1316645 w 5365133"/>
              <a:gd name="connsiteY3721" fmla="*/ 1460335 h 4367670"/>
              <a:gd name="connsiteX3722" fmla="*/ 1313064 w 5365133"/>
              <a:gd name="connsiteY3722" fmla="*/ 1460192 h 4367670"/>
              <a:gd name="connsiteX3723" fmla="*/ 1311919 w 5365133"/>
              <a:gd name="connsiteY3723" fmla="*/ 1460532 h 4367670"/>
              <a:gd name="connsiteX3724" fmla="*/ 1303873 w 5365133"/>
              <a:gd name="connsiteY3724" fmla="*/ 1465589 h 4367670"/>
              <a:gd name="connsiteX3725" fmla="*/ 1300859 w 5365133"/>
              <a:gd name="connsiteY3725" fmla="*/ 1470399 h 4367670"/>
              <a:gd name="connsiteX3726" fmla="*/ 1290959 w 5365133"/>
              <a:gd name="connsiteY3726" fmla="*/ 1476363 h 4367670"/>
              <a:gd name="connsiteX3727" fmla="*/ 1270914 w 5365133"/>
              <a:gd name="connsiteY3727" fmla="*/ 1482245 h 4367670"/>
              <a:gd name="connsiteX3728" fmla="*/ 1271656 w 5365133"/>
              <a:gd name="connsiteY3728" fmla="*/ 1482846 h 4367670"/>
              <a:gd name="connsiteX3729" fmla="*/ 1284267 w 5365133"/>
              <a:gd name="connsiteY3729" fmla="*/ 1484533 h 4367670"/>
              <a:gd name="connsiteX3730" fmla="*/ 1260353 w 5365133"/>
              <a:gd name="connsiteY3730" fmla="*/ 1496534 h 4367670"/>
              <a:gd name="connsiteX3731" fmla="*/ 1260139 w 5365133"/>
              <a:gd name="connsiteY3731" fmla="*/ 1495701 h 4367670"/>
              <a:gd name="connsiteX3732" fmla="*/ 1235661 w 5365133"/>
              <a:gd name="connsiteY3732" fmla="*/ 1508420 h 4367670"/>
              <a:gd name="connsiteX3733" fmla="*/ 1229417 w 5365133"/>
              <a:gd name="connsiteY3733" fmla="*/ 1512443 h 4367670"/>
              <a:gd name="connsiteX3734" fmla="*/ 1225787 w 5365133"/>
              <a:gd name="connsiteY3734" fmla="*/ 1518237 h 4367670"/>
              <a:gd name="connsiteX3735" fmla="*/ 1225043 w 5365133"/>
              <a:gd name="connsiteY3735" fmla="*/ 1515263 h 4367670"/>
              <a:gd name="connsiteX3736" fmla="*/ 1208033 w 5365133"/>
              <a:gd name="connsiteY3736" fmla="*/ 1526222 h 4367670"/>
              <a:gd name="connsiteX3737" fmla="*/ 1213480 w 5365133"/>
              <a:gd name="connsiteY3737" fmla="*/ 1525231 h 4367670"/>
              <a:gd name="connsiteX3738" fmla="*/ 1209894 w 5365133"/>
              <a:gd name="connsiteY3738" fmla="*/ 1530971 h 4367670"/>
              <a:gd name="connsiteX3739" fmla="*/ 1209124 w 5365133"/>
              <a:gd name="connsiteY3739" fmla="*/ 1531530 h 4367670"/>
              <a:gd name="connsiteX3740" fmla="*/ 1212497 w 5365133"/>
              <a:gd name="connsiteY3740" fmla="*/ 1531530 h 4367670"/>
              <a:gd name="connsiteX3741" fmla="*/ 1229683 w 5365133"/>
              <a:gd name="connsiteY3741" fmla="*/ 1531530 h 4367670"/>
              <a:gd name="connsiteX3742" fmla="*/ 1217728 w 5365133"/>
              <a:gd name="connsiteY3742" fmla="*/ 1525567 h 4367670"/>
              <a:gd name="connsiteX3743" fmla="*/ 1246870 w 5365133"/>
              <a:gd name="connsiteY3743" fmla="*/ 1511401 h 4367670"/>
              <a:gd name="connsiteX3744" fmla="*/ 1269032 w 5365133"/>
              <a:gd name="connsiteY3744" fmla="*/ 1502692 h 4367670"/>
              <a:gd name="connsiteX3745" fmla="*/ 1271530 w 5365133"/>
              <a:gd name="connsiteY3745" fmla="*/ 1507674 h 4367670"/>
              <a:gd name="connsiteX3746" fmla="*/ 1285886 w 5365133"/>
              <a:gd name="connsiteY3746" fmla="*/ 1504440 h 4367670"/>
              <a:gd name="connsiteX3747" fmla="*/ 1287242 w 5365133"/>
              <a:gd name="connsiteY3747" fmla="*/ 1503708 h 4367670"/>
              <a:gd name="connsiteX3748" fmla="*/ 1300442 w 5365133"/>
              <a:gd name="connsiteY3748" fmla="*/ 1499060 h 4367670"/>
              <a:gd name="connsiteX3749" fmla="*/ 1304316 w 5365133"/>
              <a:gd name="connsiteY3749" fmla="*/ 1496771 h 4367670"/>
              <a:gd name="connsiteX3750" fmla="*/ 1313376 w 5365133"/>
              <a:gd name="connsiteY3750" fmla="*/ 1483818 h 4367670"/>
              <a:gd name="connsiteX3751" fmla="*/ 1333925 w 5365133"/>
              <a:gd name="connsiteY3751" fmla="*/ 1483166 h 4367670"/>
              <a:gd name="connsiteX3752" fmla="*/ 1337352 w 5365133"/>
              <a:gd name="connsiteY3752" fmla="*/ 1481475 h 4367670"/>
              <a:gd name="connsiteX3753" fmla="*/ 1331141 w 5365133"/>
              <a:gd name="connsiteY3753" fmla="*/ 1482184 h 4367670"/>
              <a:gd name="connsiteX3754" fmla="*/ 1351230 w 5365133"/>
              <a:gd name="connsiteY3754" fmla="*/ 1470706 h 4367670"/>
              <a:gd name="connsiteX3755" fmla="*/ 1346564 w 5365133"/>
              <a:gd name="connsiteY3755" fmla="*/ 1476926 h 4367670"/>
              <a:gd name="connsiteX3756" fmla="*/ 1352232 w 5365133"/>
              <a:gd name="connsiteY3756" fmla="*/ 1474127 h 4367670"/>
              <a:gd name="connsiteX3757" fmla="*/ 1386039 w 5365133"/>
              <a:gd name="connsiteY3757" fmla="*/ 1446237 h 4367670"/>
              <a:gd name="connsiteX3758" fmla="*/ 1386045 w 5365133"/>
              <a:gd name="connsiteY3758" fmla="*/ 1446264 h 4367670"/>
              <a:gd name="connsiteX3759" fmla="*/ 1386293 w 5365133"/>
              <a:gd name="connsiteY3759" fmla="*/ 1446028 h 4367670"/>
              <a:gd name="connsiteX3760" fmla="*/ 1391090 w 5365133"/>
              <a:gd name="connsiteY3760" fmla="*/ 1442071 h 4367670"/>
              <a:gd name="connsiteX3761" fmla="*/ 1388100 w 5365133"/>
              <a:gd name="connsiteY3761" fmla="*/ 1444307 h 4367670"/>
              <a:gd name="connsiteX3762" fmla="*/ 1386293 w 5365133"/>
              <a:gd name="connsiteY3762" fmla="*/ 1446028 h 4367670"/>
              <a:gd name="connsiteX3763" fmla="*/ 1386039 w 5365133"/>
              <a:gd name="connsiteY3763" fmla="*/ 1446237 h 4367670"/>
              <a:gd name="connsiteX3764" fmla="*/ 1385111 w 5365133"/>
              <a:gd name="connsiteY3764" fmla="*/ 1442071 h 4367670"/>
              <a:gd name="connsiteX3765" fmla="*/ 1397067 w 5365133"/>
              <a:gd name="connsiteY3765" fmla="*/ 1436107 h 4367670"/>
              <a:gd name="connsiteX3766" fmla="*/ 1397067 w 5365133"/>
              <a:gd name="connsiteY3766" fmla="*/ 1448034 h 4367670"/>
              <a:gd name="connsiteX3767" fmla="*/ 1403354 w 5365133"/>
              <a:gd name="connsiteY3767" fmla="*/ 1447437 h 4367670"/>
              <a:gd name="connsiteX3768" fmla="*/ 1402883 w 5365133"/>
              <a:gd name="connsiteY3768" fmla="*/ 1447747 h 4367670"/>
              <a:gd name="connsiteX3769" fmla="*/ 1404345 w 5365133"/>
              <a:gd name="connsiteY3769" fmla="*/ 1447343 h 4367670"/>
              <a:gd name="connsiteX3770" fmla="*/ 1412760 w 5365133"/>
              <a:gd name="connsiteY3770" fmla="*/ 1446543 h 4367670"/>
              <a:gd name="connsiteX3771" fmla="*/ 1419129 w 5365133"/>
              <a:gd name="connsiteY3771" fmla="*/ 1443249 h 4367670"/>
              <a:gd name="connsiteX3772" fmla="*/ 1404345 w 5365133"/>
              <a:gd name="connsiteY3772" fmla="*/ 1447343 h 4367670"/>
              <a:gd name="connsiteX3773" fmla="*/ 1403354 w 5365133"/>
              <a:gd name="connsiteY3773" fmla="*/ 1447437 h 4367670"/>
              <a:gd name="connsiteX3774" fmla="*/ 1419205 w 5365133"/>
              <a:gd name="connsiteY3774" fmla="*/ 1436986 h 4367670"/>
              <a:gd name="connsiteX3775" fmla="*/ 1429543 w 5365133"/>
              <a:gd name="connsiteY3775" fmla="*/ 1434545 h 4367670"/>
              <a:gd name="connsiteX3776" fmla="*/ 1423222 w 5365133"/>
              <a:gd name="connsiteY3776" fmla="*/ 1431634 h 4367670"/>
              <a:gd name="connsiteX3777" fmla="*/ 1409023 w 5365133"/>
              <a:gd name="connsiteY3777" fmla="*/ 1436107 h 4367670"/>
              <a:gd name="connsiteX3778" fmla="*/ 1464320 w 5365133"/>
              <a:gd name="connsiteY3778" fmla="*/ 1413742 h 4367670"/>
              <a:gd name="connsiteX3779" fmla="*/ 1481336 w 5365133"/>
              <a:gd name="connsiteY3779" fmla="*/ 1405663 h 4367670"/>
              <a:gd name="connsiteX3780" fmla="*/ 1485119 w 5365133"/>
              <a:gd name="connsiteY3780" fmla="*/ 1403267 h 4367670"/>
              <a:gd name="connsiteX3781" fmla="*/ 1488415 w 5365133"/>
              <a:gd name="connsiteY3781" fmla="*/ 1402302 h 4367670"/>
              <a:gd name="connsiteX3782" fmla="*/ 1491408 w 5365133"/>
              <a:gd name="connsiteY3782" fmla="*/ 1400882 h 4367670"/>
              <a:gd name="connsiteX3783" fmla="*/ 1510649 w 5365133"/>
              <a:gd name="connsiteY3783" fmla="*/ 1382431 h 4367670"/>
              <a:gd name="connsiteX3784" fmla="*/ 1558474 w 5365133"/>
              <a:gd name="connsiteY3784" fmla="*/ 1364538 h 4367670"/>
              <a:gd name="connsiteX3785" fmla="*/ 1719881 w 5365133"/>
              <a:gd name="connsiteY3785" fmla="*/ 1281042 h 4367670"/>
              <a:gd name="connsiteX3786" fmla="*/ 1725858 w 5365133"/>
              <a:gd name="connsiteY3786" fmla="*/ 1287005 h 4367670"/>
              <a:gd name="connsiteX3787" fmla="*/ 1791616 w 5365133"/>
              <a:gd name="connsiteY3787" fmla="*/ 1239294 h 4367670"/>
              <a:gd name="connsiteX3788" fmla="*/ 1803572 w 5365133"/>
              <a:gd name="connsiteY3788" fmla="*/ 1245258 h 4367670"/>
              <a:gd name="connsiteX3789" fmla="*/ 1857375 w 5365133"/>
              <a:gd name="connsiteY3789" fmla="*/ 1209475 h 4367670"/>
              <a:gd name="connsiteX3790" fmla="*/ 1864686 w 5365133"/>
              <a:gd name="connsiteY3790" fmla="*/ 1207755 h 4367670"/>
              <a:gd name="connsiteX3791" fmla="*/ 1866489 w 5365133"/>
              <a:gd name="connsiteY3791" fmla="*/ 1196510 h 4367670"/>
              <a:gd name="connsiteX3792" fmla="*/ 1869502 w 5365133"/>
              <a:gd name="connsiteY3792" fmla="*/ 1173211 h 4367670"/>
              <a:gd name="connsiteX3793" fmla="*/ 1861004 w 5365133"/>
              <a:gd name="connsiteY3793" fmla="*/ 1173969 h 4367670"/>
              <a:gd name="connsiteX3794" fmla="*/ 1854386 w 5365133"/>
              <a:gd name="connsiteY3794" fmla="*/ 1180866 h 4367670"/>
              <a:gd name="connsiteX3795" fmla="*/ 1846989 w 5365133"/>
              <a:gd name="connsiteY3795" fmla="*/ 1183218 h 4367670"/>
              <a:gd name="connsiteX3796" fmla="*/ 1841535 w 5365133"/>
              <a:gd name="connsiteY3796" fmla="*/ 1187584 h 4367670"/>
              <a:gd name="connsiteX3797" fmla="*/ 1833344 w 5365133"/>
              <a:gd name="connsiteY3797" fmla="*/ 1185236 h 4367670"/>
              <a:gd name="connsiteX3798" fmla="*/ 1837891 w 5365133"/>
              <a:gd name="connsiteY3798" fmla="*/ 1182433 h 4367670"/>
              <a:gd name="connsiteX3799" fmla="*/ 1834863 w 5365133"/>
              <a:gd name="connsiteY3799" fmla="*/ 1176205 h 4367670"/>
              <a:gd name="connsiteX3800" fmla="*/ 1829726 w 5365133"/>
              <a:gd name="connsiteY3800" fmla="*/ 1172944 h 4367670"/>
              <a:gd name="connsiteX3801" fmla="*/ 1958855 w 5365133"/>
              <a:gd name="connsiteY3801" fmla="*/ 1172095 h 4367670"/>
              <a:gd name="connsiteX3802" fmla="*/ 1953017 w 5365133"/>
              <a:gd name="connsiteY3802" fmla="*/ 1175306 h 4367670"/>
              <a:gd name="connsiteX3803" fmla="*/ 1959000 w 5365133"/>
              <a:gd name="connsiteY3803" fmla="*/ 1173689 h 4367670"/>
              <a:gd name="connsiteX3804" fmla="*/ 1958044 w 5365133"/>
              <a:gd name="connsiteY3804" fmla="*/ 1165340 h 4367670"/>
              <a:gd name="connsiteX3805" fmla="*/ 1958254 w 5365133"/>
              <a:gd name="connsiteY3805" fmla="*/ 1165489 h 4367670"/>
              <a:gd name="connsiteX3806" fmla="*/ 1958297 w 5365133"/>
              <a:gd name="connsiteY3806" fmla="*/ 1165972 h 4367670"/>
              <a:gd name="connsiteX3807" fmla="*/ 2036714 w 5365133"/>
              <a:gd name="connsiteY3807" fmla="*/ 1161762 h 4367670"/>
              <a:gd name="connsiteX3808" fmla="*/ 2002247 w 5365133"/>
              <a:gd name="connsiteY3808" fmla="*/ 1188600 h 4367670"/>
              <a:gd name="connsiteX3809" fmla="*/ 1999674 w 5365133"/>
              <a:gd name="connsiteY3809" fmla="*/ 1191719 h 4367670"/>
              <a:gd name="connsiteX3810" fmla="*/ 2010591 w 5365133"/>
              <a:gd name="connsiteY3810" fmla="*/ 1187893 h 4367670"/>
              <a:gd name="connsiteX3811" fmla="*/ 2032621 w 5365133"/>
              <a:gd name="connsiteY3811" fmla="*/ 1180172 h 4367670"/>
              <a:gd name="connsiteX3812" fmla="*/ 2048020 w 5365133"/>
              <a:gd name="connsiteY3812" fmla="*/ 1168387 h 4367670"/>
              <a:gd name="connsiteX3813" fmla="*/ 2042132 w 5365133"/>
              <a:gd name="connsiteY3813" fmla="*/ 1167632 h 4367670"/>
              <a:gd name="connsiteX3814" fmla="*/ 2036714 w 5365133"/>
              <a:gd name="connsiteY3814" fmla="*/ 1161762 h 4367670"/>
              <a:gd name="connsiteX3815" fmla="*/ 5108947 w 5365133"/>
              <a:gd name="connsiteY3815" fmla="*/ 1156505 h 4367670"/>
              <a:gd name="connsiteX3816" fmla="*/ 5049080 w 5365133"/>
              <a:gd name="connsiteY3816" fmla="*/ 1186350 h 4367670"/>
              <a:gd name="connsiteX3817" fmla="*/ 5043092 w 5365133"/>
              <a:gd name="connsiteY3817" fmla="*/ 1180381 h 4367670"/>
              <a:gd name="connsiteX3818" fmla="*/ 5033588 w 5365133"/>
              <a:gd name="connsiteY3818" fmla="*/ 1187084 h 4367670"/>
              <a:gd name="connsiteX3819" fmla="*/ 5004925 w 5365133"/>
              <a:gd name="connsiteY3819" fmla="*/ 1193066 h 4367670"/>
              <a:gd name="connsiteX3820" fmla="*/ 4977235 w 5365133"/>
              <a:gd name="connsiteY3820" fmla="*/ 1204258 h 4367670"/>
              <a:gd name="connsiteX3821" fmla="*/ 4947302 w 5365133"/>
              <a:gd name="connsiteY3821" fmla="*/ 1228133 h 4367670"/>
              <a:gd name="connsiteX3822" fmla="*/ 4947302 w 5365133"/>
              <a:gd name="connsiteY3822" fmla="*/ 1222165 h 4367670"/>
              <a:gd name="connsiteX3823" fmla="*/ 4803616 w 5365133"/>
              <a:gd name="connsiteY3823" fmla="*/ 1281855 h 4367670"/>
              <a:gd name="connsiteX3824" fmla="*/ 4803616 w 5365133"/>
              <a:gd name="connsiteY3824" fmla="*/ 1287824 h 4367670"/>
              <a:gd name="connsiteX3825" fmla="*/ 4797629 w 5365133"/>
              <a:gd name="connsiteY3825" fmla="*/ 1281855 h 4367670"/>
              <a:gd name="connsiteX3826" fmla="*/ 4887433 w 5365133"/>
              <a:gd name="connsiteY3826" fmla="*/ 1252010 h 4367670"/>
              <a:gd name="connsiteX3827" fmla="*/ 4887433 w 5365133"/>
              <a:gd name="connsiteY3827" fmla="*/ 1240072 h 4367670"/>
              <a:gd name="connsiteX3828" fmla="*/ 4893420 w 5365133"/>
              <a:gd name="connsiteY3828" fmla="*/ 1246041 h 4367670"/>
              <a:gd name="connsiteX3829" fmla="*/ 4965263 w 5365133"/>
              <a:gd name="connsiteY3829" fmla="*/ 1210227 h 4367670"/>
              <a:gd name="connsiteX3830" fmla="*/ 4899407 w 5365133"/>
              <a:gd name="connsiteY3830" fmla="*/ 1228133 h 4367670"/>
              <a:gd name="connsiteX3831" fmla="*/ 4899407 w 5365133"/>
              <a:gd name="connsiteY3831" fmla="*/ 1234102 h 4367670"/>
              <a:gd name="connsiteX3832" fmla="*/ 4791644 w 5365133"/>
              <a:gd name="connsiteY3832" fmla="*/ 1263948 h 4367670"/>
              <a:gd name="connsiteX3833" fmla="*/ 5108947 w 5365133"/>
              <a:gd name="connsiteY3833" fmla="*/ 1156505 h 4367670"/>
              <a:gd name="connsiteX3834" fmla="*/ 4194775 w 5365133"/>
              <a:gd name="connsiteY3834" fmla="*/ 1154589 h 4367670"/>
              <a:gd name="connsiteX3835" fmla="*/ 4194775 w 5365133"/>
              <a:gd name="connsiteY3835" fmla="*/ 1155798 h 4367670"/>
              <a:gd name="connsiteX3836" fmla="*/ 4194212 w 5365133"/>
              <a:gd name="connsiteY3836" fmla="*/ 1154678 h 4367670"/>
              <a:gd name="connsiteX3837" fmla="*/ 4194775 w 5365133"/>
              <a:gd name="connsiteY3837" fmla="*/ 1143869 h 4367670"/>
              <a:gd name="connsiteX3838" fmla="*/ 4197205 w 5365133"/>
              <a:gd name="connsiteY3838" fmla="*/ 1154213 h 4367670"/>
              <a:gd name="connsiteX3839" fmla="*/ 4194775 w 5365133"/>
              <a:gd name="connsiteY3839" fmla="*/ 1154589 h 4367670"/>
              <a:gd name="connsiteX3840" fmla="*/ 4472646 w 5365133"/>
              <a:gd name="connsiteY3840" fmla="*/ 1142087 h 4367670"/>
              <a:gd name="connsiteX3841" fmla="*/ 4443949 w 5365133"/>
              <a:gd name="connsiteY3841" fmla="*/ 1153565 h 4367670"/>
              <a:gd name="connsiteX3842" fmla="*/ 4472646 w 5365133"/>
              <a:gd name="connsiteY3842" fmla="*/ 1142087 h 4367670"/>
              <a:gd name="connsiteX3843" fmla="*/ 4368137 w 5365133"/>
              <a:gd name="connsiteY3843" fmla="*/ 1137906 h 4367670"/>
              <a:gd name="connsiteX3844" fmla="*/ 4368137 w 5365133"/>
              <a:gd name="connsiteY3844" fmla="*/ 1149833 h 4367670"/>
              <a:gd name="connsiteX3845" fmla="*/ 4362159 w 5365133"/>
              <a:gd name="connsiteY3845" fmla="*/ 1149833 h 4367670"/>
              <a:gd name="connsiteX3846" fmla="*/ 4368137 w 5365133"/>
              <a:gd name="connsiteY3846" fmla="*/ 1137906 h 4367670"/>
              <a:gd name="connsiteX3847" fmla="*/ 4391513 w 5365133"/>
              <a:gd name="connsiteY3847" fmla="*/ 1127808 h 4367670"/>
              <a:gd name="connsiteX3848" fmla="*/ 4402992 w 5365133"/>
              <a:gd name="connsiteY3848" fmla="*/ 1139286 h 4367670"/>
              <a:gd name="connsiteX3849" fmla="*/ 4374295 w 5365133"/>
              <a:gd name="connsiteY3849" fmla="*/ 1139286 h 4367670"/>
              <a:gd name="connsiteX3850" fmla="*/ 4391513 w 5365133"/>
              <a:gd name="connsiteY3850" fmla="*/ 1127808 h 4367670"/>
              <a:gd name="connsiteX3851" fmla="*/ 2184686 w 5365133"/>
              <a:gd name="connsiteY3851" fmla="*/ 1120817 h 4367670"/>
              <a:gd name="connsiteX3852" fmla="*/ 2179863 w 5365133"/>
              <a:gd name="connsiteY3852" fmla="*/ 1121424 h 4367670"/>
              <a:gd name="connsiteX3853" fmla="*/ 2176448 w 5365133"/>
              <a:gd name="connsiteY3853" fmla="*/ 1124775 h 4367670"/>
              <a:gd name="connsiteX3854" fmla="*/ 2184686 w 5365133"/>
              <a:gd name="connsiteY3854" fmla="*/ 1121409 h 4367670"/>
              <a:gd name="connsiteX3855" fmla="*/ 2155332 w 5365133"/>
              <a:gd name="connsiteY3855" fmla="*/ 1113153 h 4367670"/>
              <a:gd name="connsiteX3856" fmla="*/ 2152537 w 5365133"/>
              <a:gd name="connsiteY3856" fmla="*/ 1114795 h 4367670"/>
              <a:gd name="connsiteX3857" fmla="*/ 2138339 w 5365133"/>
              <a:gd name="connsiteY3857" fmla="*/ 1120013 h 4367670"/>
              <a:gd name="connsiteX3858" fmla="*/ 2138339 w 5365133"/>
              <a:gd name="connsiteY3858" fmla="*/ 1125978 h 4367670"/>
              <a:gd name="connsiteX3859" fmla="*/ 2128627 w 5365133"/>
              <a:gd name="connsiteY3859" fmla="*/ 1120759 h 4367670"/>
              <a:gd name="connsiteX3860" fmla="*/ 2116522 w 5365133"/>
              <a:gd name="connsiteY3860" fmla="*/ 1120123 h 4367670"/>
              <a:gd name="connsiteX3861" fmla="*/ 2115397 w 5365133"/>
              <a:gd name="connsiteY3861" fmla="*/ 1120395 h 4367670"/>
              <a:gd name="connsiteX3862" fmla="*/ 2115611 w 5365133"/>
              <a:gd name="connsiteY3862" fmla="*/ 1120075 h 4367670"/>
              <a:gd name="connsiteX3863" fmla="*/ 2114429 w 5365133"/>
              <a:gd name="connsiteY3863" fmla="*/ 1120013 h 4367670"/>
              <a:gd name="connsiteX3864" fmla="*/ 2084538 w 5365133"/>
              <a:gd name="connsiteY3864" fmla="*/ 1131942 h 4367670"/>
              <a:gd name="connsiteX3865" fmla="*/ 2060626 w 5365133"/>
              <a:gd name="connsiteY3865" fmla="*/ 1161762 h 4367670"/>
              <a:gd name="connsiteX3866" fmla="*/ 2052522 w 5365133"/>
              <a:gd name="connsiteY3866" fmla="*/ 1166309 h 4367670"/>
              <a:gd name="connsiteX3867" fmla="*/ 2052372 w 5365133"/>
              <a:gd name="connsiteY3867" fmla="*/ 1167554 h 4367670"/>
              <a:gd name="connsiteX3868" fmla="*/ 2050093 w 5365133"/>
              <a:gd name="connsiteY3868" fmla="*/ 1172827 h 4367670"/>
              <a:gd name="connsiteX3869" fmla="*/ 2074401 w 5365133"/>
              <a:gd name="connsiteY3869" fmla="*/ 1166801 h 4367670"/>
              <a:gd name="connsiteX3870" fmla="*/ 2051802 w 5365133"/>
              <a:gd name="connsiteY3870" fmla="*/ 1179324 h 4367670"/>
              <a:gd name="connsiteX3871" fmla="*/ 2039191 w 5365133"/>
              <a:gd name="connsiteY3871" fmla="*/ 1184574 h 4367670"/>
              <a:gd name="connsiteX3872" fmla="*/ 2042785 w 5365133"/>
              <a:gd name="connsiteY3872" fmla="*/ 1184314 h 4367670"/>
              <a:gd name="connsiteX3873" fmla="*/ 2081083 w 5365133"/>
              <a:gd name="connsiteY3873" fmla="*/ 1163812 h 4367670"/>
              <a:gd name="connsiteX3874" fmla="*/ 2091620 w 5365133"/>
              <a:gd name="connsiteY3874" fmla="*/ 1159864 h 4367670"/>
              <a:gd name="connsiteX3875" fmla="*/ 2091620 w 5365133"/>
              <a:gd name="connsiteY3875" fmla="*/ 1155034 h 4367670"/>
              <a:gd name="connsiteX3876" fmla="*/ 2091620 w 5365133"/>
              <a:gd name="connsiteY3876" fmla="*/ 1149295 h 4367670"/>
              <a:gd name="connsiteX3877" fmla="*/ 2108838 w 5365133"/>
              <a:gd name="connsiteY3877" fmla="*/ 1143555 h 4367670"/>
              <a:gd name="connsiteX3878" fmla="*/ 2114578 w 5365133"/>
              <a:gd name="connsiteY3878" fmla="*/ 1143555 h 4367670"/>
              <a:gd name="connsiteX3879" fmla="*/ 2097628 w 5365133"/>
              <a:gd name="connsiteY3879" fmla="*/ 1154855 h 4367670"/>
              <a:gd name="connsiteX3880" fmla="*/ 2093110 w 5365133"/>
              <a:gd name="connsiteY3880" fmla="*/ 1159306 h 4367670"/>
              <a:gd name="connsiteX3881" fmla="*/ 2102473 w 5365133"/>
              <a:gd name="connsiteY3881" fmla="*/ 1155798 h 4367670"/>
              <a:gd name="connsiteX3882" fmla="*/ 2090516 w 5365133"/>
              <a:gd name="connsiteY3882" fmla="*/ 1167725 h 4367670"/>
              <a:gd name="connsiteX3883" fmla="*/ 2144318 w 5365133"/>
              <a:gd name="connsiteY3883" fmla="*/ 1143869 h 4367670"/>
              <a:gd name="connsiteX3884" fmla="*/ 2144318 w 5365133"/>
              <a:gd name="connsiteY3884" fmla="*/ 1143124 h 4367670"/>
              <a:gd name="connsiteX3885" fmla="*/ 2144318 w 5365133"/>
              <a:gd name="connsiteY3885" fmla="*/ 1139719 h 4367670"/>
              <a:gd name="connsiteX3886" fmla="*/ 2144171 w 5365133"/>
              <a:gd name="connsiteY3886" fmla="*/ 1139785 h 4367670"/>
              <a:gd name="connsiteX3887" fmla="*/ 2134665 w 5365133"/>
              <a:gd name="connsiteY3887" fmla="*/ 1137243 h 4367670"/>
              <a:gd name="connsiteX3888" fmla="*/ 2146143 w 5365133"/>
              <a:gd name="connsiteY3888" fmla="*/ 1125191 h 4367670"/>
              <a:gd name="connsiteX3889" fmla="*/ 2151883 w 5365133"/>
              <a:gd name="connsiteY3889" fmla="*/ 1131218 h 4367670"/>
              <a:gd name="connsiteX3890" fmla="*/ 2156188 w 5365133"/>
              <a:gd name="connsiteY3890" fmla="*/ 1116151 h 4367670"/>
              <a:gd name="connsiteX3891" fmla="*/ 4439868 w 5365133"/>
              <a:gd name="connsiteY3891" fmla="*/ 1110464 h 4367670"/>
              <a:gd name="connsiteX3892" fmla="*/ 4451778 w 5365133"/>
              <a:gd name="connsiteY3892" fmla="*/ 1114606 h 4367670"/>
              <a:gd name="connsiteX3893" fmla="*/ 4402992 w 5365133"/>
              <a:gd name="connsiteY3893" fmla="*/ 1133547 h 4367670"/>
              <a:gd name="connsiteX3894" fmla="*/ 4425098 w 5365133"/>
              <a:gd name="connsiteY3894" fmla="*/ 1114606 h 4367670"/>
              <a:gd name="connsiteX3895" fmla="*/ 4439868 w 5365133"/>
              <a:gd name="connsiteY3895" fmla="*/ 1110464 h 4367670"/>
              <a:gd name="connsiteX3896" fmla="*/ 1748488 w 5365133"/>
              <a:gd name="connsiteY3896" fmla="*/ 1107719 h 4367670"/>
              <a:gd name="connsiteX3897" fmla="*/ 1737008 w 5365133"/>
              <a:gd name="connsiteY3897" fmla="*/ 1122068 h 4367670"/>
              <a:gd name="connsiteX3898" fmla="*/ 1748488 w 5365133"/>
              <a:gd name="connsiteY3898" fmla="*/ 1107719 h 4367670"/>
              <a:gd name="connsiteX3899" fmla="*/ 2152292 w 5365133"/>
              <a:gd name="connsiteY3899" fmla="*/ 1102517 h 4367670"/>
              <a:gd name="connsiteX3900" fmla="*/ 2144318 w 5365133"/>
              <a:gd name="connsiteY3900" fmla="*/ 1108085 h 4367670"/>
              <a:gd name="connsiteX3901" fmla="*/ 2154215 w 5365133"/>
              <a:gd name="connsiteY3901" fmla="*/ 1109247 h 4367670"/>
              <a:gd name="connsiteX3902" fmla="*/ 2014136 w 5365133"/>
              <a:gd name="connsiteY3902" fmla="*/ 1101056 h 4367670"/>
              <a:gd name="connsiteX3903" fmla="*/ 2008111 w 5365133"/>
              <a:gd name="connsiteY3903" fmla="*/ 1119095 h 4367670"/>
              <a:gd name="connsiteX3904" fmla="*/ 1996057 w 5365133"/>
              <a:gd name="connsiteY3904" fmla="*/ 1113083 h 4367670"/>
              <a:gd name="connsiteX3905" fmla="*/ 2014136 w 5365133"/>
              <a:gd name="connsiteY3905" fmla="*/ 1101056 h 4367670"/>
              <a:gd name="connsiteX3906" fmla="*/ 4468995 w 5365133"/>
              <a:gd name="connsiteY3906" fmla="*/ 1096240 h 4367670"/>
              <a:gd name="connsiteX3907" fmla="*/ 4451777 w 5365133"/>
              <a:gd name="connsiteY3907" fmla="*/ 1107719 h 4367670"/>
              <a:gd name="connsiteX3908" fmla="*/ 4468995 w 5365133"/>
              <a:gd name="connsiteY3908" fmla="*/ 1096240 h 4367670"/>
              <a:gd name="connsiteX3909" fmla="*/ 2037096 w 5365133"/>
              <a:gd name="connsiteY3909" fmla="*/ 1089031 h 4367670"/>
              <a:gd name="connsiteX3910" fmla="*/ 2025616 w 5365133"/>
              <a:gd name="connsiteY3910" fmla="*/ 1106250 h 4367670"/>
              <a:gd name="connsiteX3911" fmla="*/ 2014138 w 5365133"/>
              <a:gd name="connsiteY3911" fmla="*/ 1100510 h 4367670"/>
              <a:gd name="connsiteX3912" fmla="*/ 2037096 w 5365133"/>
              <a:gd name="connsiteY3912" fmla="*/ 1089031 h 4367670"/>
              <a:gd name="connsiteX3913" fmla="*/ 4499038 w 5365133"/>
              <a:gd name="connsiteY3913" fmla="*/ 1088258 h 4367670"/>
              <a:gd name="connsiteX3914" fmla="*/ 4503432 w 5365133"/>
              <a:gd name="connsiteY3914" fmla="*/ 1090500 h 4367670"/>
              <a:gd name="connsiteX3915" fmla="*/ 4480474 w 5365133"/>
              <a:gd name="connsiteY3915" fmla="*/ 1101979 h 4367670"/>
              <a:gd name="connsiteX3916" fmla="*/ 4489802 w 5365133"/>
              <a:gd name="connsiteY3916" fmla="*/ 1089782 h 4367670"/>
              <a:gd name="connsiteX3917" fmla="*/ 4499038 w 5365133"/>
              <a:gd name="connsiteY3917" fmla="*/ 1088258 h 4367670"/>
              <a:gd name="connsiteX3918" fmla="*/ 1408960 w 5365133"/>
              <a:gd name="connsiteY3918" fmla="*/ 1083886 h 4367670"/>
              <a:gd name="connsiteX3919" fmla="*/ 1418467 w 5365133"/>
              <a:gd name="connsiteY3919" fmla="*/ 1085401 h 4367670"/>
              <a:gd name="connsiteX3920" fmla="*/ 1384030 w 5365133"/>
              <a:gd name="connsiteY3920" fmla="*/ 1103576 h 4367670"/>
              <a:gd name="connsiteX3921" fmla="*/ 1406988 w 5365133"/>
              <a:gd name="connsiteY3921" fmla="*/ 1097518 h 4367670"/>
              <a:gd name="connsiteX3922" fmla="*/ 1361072 w 5365133"/>
              <a:gd name="connsiteY3922" fmla="*/ 1127810 h 4367670"/>
              <a:gd name="connsiteX3923" fmla="*/ 1378290 w 5365133"/>
              <a:gd name="connsiteY3923" fmla="*/ 1097518 h 4367670"/>
              <a:gd name="connsiteX3924" fmla="*/ 1408960 w 5365133"/>
              <a:gd name="connsiteY3924" fmla="*/ 1083886 h 4367670"/>
              <a:gd name="connsiteX3925" fmla="*/ 2080141 w 5365133"/>
              <a:gd name="connsiteY3925" fmla="*/ 1083292 h 4367670"/>
              <a:gd name="connsiteX3926" fmla="*/ 2076552 w 5365133"/>
              <a:gd name="connsiteY3926" fmla="*/ 1091184 h 4367670"/>
              <a:gd name="connsiteX3927" fmla="*/ 2068664 w 5365133"/>
              <a:gd name="connsiteY3927" fmla="*/ 1094771 h 4367670"/>
              <a:gd name="connsiteX3928" fmla="*/ 2068662 w 5365133"/>
              <a:gd name="connsiteY3928" fmla="*/ 1094771 h 4367670"/>
              <a:gd name="connsiteX3929" fmla="*/ 2056995 w 5365133"/>
              <a:gd name="connsiteY3929" fmla="*/ 1090234 h 4367670"/>
              <a:gd name="connsiteX3930" fmla="*/ 2060372 w 5365133"/>
              <a:gd name="connsiteY3930" fmla="*/ 1096266 h 4367670"/>
              <a:gd name="connsiteX3931" fmla="*/ 2044268 w 5365133"/>
              <a:gd name="connsiteY3931" fmla="*/ 1119095 h 4367670"/>
              <a:gd name="connsiteX3932" fmla="*/ 1969691 w 5365133"/>
              <a:gd name="connsiteY3932" fmla="*/ 1144461 h 4367670"/>
              <a:gd name="connsiteX3933" fmla="*/ 1956991 w 5365133"/>
              <a:gd name="connsiteY3933" fmla="*/ 1162714 h 4367670"/>
              <a:gd name="connsiteX3934" fmla="*/ 1958044 w 5365133"/>
              <a:gd name="connsiteY3934" fmla="*/ 1165340 h 4367670"/>
              <a:gd name="connsiteX3935" fmla="*/ 1956119 w 5365133"/>
              <a:gd name="connsiteY3935" fmla="*/ 1163968 h 4367670"/>
              <a:gd name="connsiteX3936" fmla="*/ 1953872 w 5365133"/>
              <a:gd name="connsiteY3936" fmla="*/ 1167197 h 4367670"/>
              <a:gd name="connsiteX3937" fmla="*/ 1953872 w 5365133"/>
              <a:gd name="connsiteY3937" fmla="*/ 1155172 h 4367670"/>
              <a:gd name="connsiteX3938" fmla="*/ 1875528 w 5365133"/>
              <a:gd name="connsiteY3938" fmla="*/ 1191249 h 4367670"/>
              <a:gd name="connsiteX3939" fmla="*/ 1885322 w 5365133"/>
              <a:gd name="connsiteY3939" fmla="*/ 1195758 h 4367670"/>
              <a:gd name="connsiteX3940" fmla="*/ 1899260 w 5365133"/>
              <a:gd name="connsiteY3940" fmla="*/ 1191366 h 4367670"/>
              <a:gd name="connsiteX3941" fmla="*/ 1900154 w 5365133"/>
              <a:gd name="connsiteY3941" fmla="*/ 1186643 h 4367670"/>
              <a:gd name="connsiteX3942" fmla="*/ 1905198 w 5365133"/>
              <a:gd name="connsiteY3942" fmla="*/ 1197546 h 4367670"/>
              <a:gd name="connsiteX3943" fmla="*/ 1923132 w 5365133"/>
              <a:gd name="connsiteY3943" fmla="*/ 1183382 h 4367670"/>
              <a:gd name="connsiteX3944" fmla="*/ 1949172 w 5365133"/>
              <a:gd name="connsiteY3944" fmla="*/ 1176345 h 4367670"/>
              <a:gd name="connsiteX3945" fmla="*/ 1951810 w 5365133"/>
              <a:gd name="connsiteY3945" fmla="*/ 1172163 h 4367670"/>
              <a:gd name="connsiteX3946" fmla="*/ 1958412 w 5365133"/>
              <a:gd name="connsiteY3946" fmla="*/ 1167229 h 4367670"/>
              <a:gd name="connsiteX3947" fmla="*/ 1958297 w 5365133"/>
              <a:gd name="connsiteY3947" fmla="*/ 1165972 h 4367670"/>
              <a:gd name="connsiteX3948" fmla="*/ 1958711 w 5365133"/>
              <a:gd name="connsiteY3948" fmla="*/ 1167005 h 4367670"/>
              <a:gd name="connsiteX3949" fmla="*/ 1959183 w 5365133"/>
              <a:gd name="connsiteY3949" fmla="*/ 1166653 h 4367670"/>
              <a:gd name="connsiteX3950" fmla="*/ 1960028 w 5365133"/>
              <a:gd name="connsiteY3950" fmla="*/ 1161668 h 4367670"/>
              <a:gd name="connsiteX3951" fmla="*/ 1970956 w 5365133"/>
              <a:gd name="connsiteY3951" fmla="*/ 1155798 h 4367670"/>
              <a:gd name="connsiteX3952" fmla="*/ 1976935 w 5365133"/>
              <a:gd name="connsiteY3952" fmla="*/ 1161762 h 4367670"/>
              <a:gd name="connsiteX3953" fmla="*/ 1982913 w 5365133"/>
              <a:gd name="connsiteY3953" fmla="*/ 1155798 h 4367670"/>
              <a:gd name="connsiteX3954" fmla="*/ 1982983 w 5365133"/>
              <a:gd name="connsiteY3954" fmla="*/ 1155659 h 4367670"/>
              <a:gd name="connsiteX3955" fmla="*/ 1982570 w 5365133"/>
              <a:gd name="connsiteY3955" fmla="*/ 1155034 h 4367670"/>
              <a:gd name="connsiteX3956" fmla="*/ 1983538 w 5365133"/>
              <a:gd name="connsiteY3956" fmla="*/ 1154550 h 4367670"/>
              <a:gd name="connsiteX3957" fmla="*/ 1985902 w 5365133"/>
              <a:gd name="connsiteY3957" fmla="*/ 1149834 h 4367670"/>
              <a:gd name="connsiteX3958" fmla="*/ 1988891 w 5365133"/>
              <a:gd name="connsiteY3958" fmla="*/ 1143869 h 4367670"/>
              <a:gd name="connsiteX3959" fmla="*/ 1997111 w 5365133"/>
              <a:gd name="connsiteY3959" fmla="*/ 1144614 h 4367670"/>
              <a:gd name="connsiteX3960" fmla="*/ 2000569 w 5365133"/>
              <a:gd name="connsiteY3960" fmla="*/ 1149444 h 4367670"/>
              <a:gd name="connsiteX3961" fmla="*/ 2001802 w 5365133"/>
              <a:gd name="connsiteY3961" fmla="*/ 1149356 h 4367670"/>
              <a:gd name="connsiteX3962" fmla="*/ 2006823 w 5365133"/>
              <a:gd name="connsiteY3962" fmla="*/ 1146852 h 4367670"/>
              <a:gd name="connsiteX3963" fmla="*/ 2012801 w 5365133"/>
              <a:gd name="connsiteY3963" fmla="*/ 1143869 h 4367670"/>
              <a:gd name="connsiteX3964" fmla="*/ 2012801 w 5365133"/>
              <a:gd name="connsiteY3964" fmla="*/ 1137906 h 4367670"/>
              <a:gd name="connsiteX3965" fmla="*/ 2090516 w 5365133"/>
              <a:gd name="connsiteY3965" fmla="*/ 1108085 h 4367670"/>
              <a:gd name="connsiteX3966" fmla="*/ 2091357 w 5365133"/>
              <a:gd name="connsiteY3966" fmla="*/ 1103892 h 4367670"/>
              <a:gd name="connsiteX3967" fmla="*/ 2090963 w 5365133"/>
              <a:gd name="connsiteY3967" fmla="*/ 1100264 h 4367670"/>
              <a:gd name="connsiteX3968" fmla="*/ 2086598 w 5365133"/>
              <a:gd name="connsiteY3968" fmla="*/ 1098627 h 4367670"/>
              <a:gd name="connsiteX3969" fmla="*/ 2080141 w 5365133"/>
              <a:gd name="connsiteY3969" fmla="*/ 1083292 h 4367670"/>
              <a:gd name="connsiteX3970" fmla="*/ 2011572 w 5365133"/>
              <a:gd name="connsiteY3970" fmla="*/ 1079732 h 4367670"/>
              <a:gd name="connsiteX3971" fmla="*/ 2008676 w 5365133"/>
              <a:gd name="connsiteY3971" fmla="*/ 1081208 h 4367670"/>
              <a:gd name="connsiteX3972" fmla="*/ 2009275 w 5365133"/>
              <a:gd name="connsiteY3972" fmla="*/ 1080142 h 4367670"/>
              <a:gd name="connsiteX3973" fmla="*/ 2012263 w 5365133"/>
              <a:gd name="connsiteY3973" fmla="*/ 1079379 h 4367670"/>
              <a:gd name="connsiteX3974" fmla="*/ 2013011 w 5365133"/>
              <a:gd name="connsiteY3974" fmla="*/ 1079474 h 4367670"/>
              <a:gd name="connsiteX3975" fmla="*/ 2011572 w 5365133"/>
              <a:gd name="connsiteY3975" fmla="*/ 1079732 h 4367670"/>
              <a:gd name="connsiteX3976" fmla="*/ 1355334 w 5365133"/>
              <a:gd name="connsiteY3976" fmla="*/ 1073282 h 4367670"/>
              <a:gd name="connsiteX3977" fmla="*/ 1300808 w 5365133"/>
              <a:gd name="connsiteY3977" fmla="*/ 1107719 h 4367670"/>
              <a:gd name="connsiteX3978" fmla="*/ 1355334 w 5365133"/>
              <a:gd name="connsiteY3978" fmla="*/ 1073282 h 4367670"/>
              <a:gd name="connsiteX3979" fmla="*/ 4662903 w 5365133"/>
              <a:gd name="connsiteY3979" fmla="*/ 1071813 h 4367670"/>
              <a:gd name="connsiteX3980" fmla="*/ 4674382 w 5365133"/>
              <a:gd name="connsiteY3980" fmla="*/ 1077552 h 4367670"/>
              <a:gd name="connsiteX3981" fmla="*/ 4662903 w 5365133"/>
              <a:gd name="connsiteY3981" fmla="*/ 1071813 h 4367670"/>
              <a:gd name="connsiteX3982" fmla="*/ 2036244 w 5365133"/>
              <a:gd name="connsiteY3982" fmla="*/ 1066661 h 4367670"/>
              <a:gd name="connsiteX3983" fmla="*/ 2048243 w 5365133"/>
              <a:gd name="connsiteY3983" fmla="*/ 1072620 h 4367670"/>
              <a:gd name="connsiteX3984" fmla="*/ 2054245 w 5365133"/>
              <a:gd name="connsiteY3984" fmla="*/ 1078582 h 4367670"/>
              <a:gd name="connsiteX3985" fmla="*/ 2030242 w 5365133"/>
              <a:gd name="connsiteY3985" fmla="*/ 1090502 h 4367670"/>
              <a:gd name="connsiteX3986" fmla="*/ 2018242 w 5365133"/>
              <a:gd name="connsiteY3986" fmla="*/ 1078582 h 4367670"/>
              <a:gd name="connsiteX3987" fmla="*/ 2024242 w 5365133"/>
              <a:gd name="connsiteY3987" fmla="*/ 1078582 h 4367670"/>
              <a:gd name="connsiteX3988" fmla="*/ 2030243 w 5365133"/>
              <a:gd name="connsiteY3988" fmla="*/ 1080072 h 4367670"/>
              <a:gd name="connsiteX3989" fmla="*/ 2032454 w 5365133"/>
              <a:gd name="connsiteY3989" fmla="*/ 1077327 h 4367670"/>
              <a:gd name="connsiteX3990" fmla="*/ 2035493 w 5365133"/>
              <a:gd name="connsiteY3990" fmla="*/ 1075601 h 4367670"/>
              <a:gd name="connsiteX3991" fmla="*/ 2036244 w 5365133"/>
              <a:gd name="connsiteY3991" fmla="*/ 1072620 h 4367670"/>
              <a:gd name="connsiteX3992" fmla="*/ 2032454 w 5365133"/>
              <a:gd name="connsiteY3992" fmla="*/ 1077327 h 4367670"/>
              <a:gd name="connsiteX3993" fmla="*/ 2030242 w 5365133"/>
              <a:gd name="connsiteY3993" fmla="*/ 1078582 h 4367670"/>
              <a:gd name="connsiteX3994" fmla="*/ 2036244 w 5365133"/>
              <a:gd name="connsiteY3994" fmla="*/ 1066661 h 4367670"/>
              <a:gd name="connsiteX3995" fmla="*/ 2301111 w 5365133"/>
              <a:gd name="connsiteY3995" fmla="*/ 1066073 h 4367670"/>
              <a:gd name="connsiteX3996" fmla="*/ 2289632 w 5365133"/>
              <a:gd name="connsiteY3996" fmla="*/ 1077552 h 4367670"/>
              <a:gd name="connsiteX3997" fmla="*/ 2301111 w 5365133"/>
              <a:gd name="connsiteY3997" fmla="*/ 1066073 h 4367670"/>
              <a:gd name="connsiteX3998" fmla="*/ 1412728 w 5365133"/>
              <a:gd name="connsiteY3998" fmla="*/ 1061803 h 4367670"/>
              <a:gd name="connsiteX3999" fmla="*/ 1353738 w 5365133"/>
              <a:gd name="connsiteY3999" fmla="*/ 1103805 h 4367670"/>
              <a:gd name="connsiteX4000" fmla="*/ 1341939 w 5365133"/>
              <a:gd name="connsiteY4000" fmla="*/ 1103805 h 4367670"/>
              <a:gd name="connsiteX4001" fmla="*/ 1312445 w 5365133"/>
              <a:gd name="connsiteY4001" fmla="*/ 1127808 h 4367670"/>
              <a:gd name="connsiteX4002" fmla="*/ 1312445 w 5365133"/>
              <a:gd name="connsiteY4002" fmla="*/ 1115806 h 4367670"/>
              <a:gd name="connsiteX4003" fmla="*/ 1412728 w 5365133"/>
              <a:gd name="connsiteY4003" fmla="*/ 1061803 h 4367670"/>
              <a:gd name="connsiteX4004" fmla="*/ 4553923 w 5365133"/>
              <a:gd name="connsiteY4004" fmla="*/ 1061085 h 4367670"/>
              <a:gd name="connsiteX4005" fmla="*/ 4557958 w 5365133"/>
              <a:gd name="connsiteY4005" fmla="*/ 1067542 h 4367670"/>
              <a:gd name="connsiteX4006" fmla="*/ 4529260 w 5365133"/>
              <a:gd name="connsiteY4006" fmla="*/ 1073282 h 4367670"/>
              <a:gd name="connsiteX4007" fmla="*/ 4552219 w 5365133"/>
              <a:gd name="connsiteY4007" fmla="*/ 1061803 h 4367670"/>
              <a:gd name="connsiteX4008" fmla="*/ 4553923 w 5365133"/>
              <a:gd name="connsiteY4008" fmla="*/ 1061085 h 4367670"/>
              <a:gd name="connsiteX4009" fmla="*/ 2114578 w 5365133"/>
              <a:gd name="connsiteY4009" fmla="*/ 1058809 h 4367670"/>
              <a:gd name="connsiteX4010" fmla="*/ 2114578 w 5365133"/>
              <a:gd name="connsiteY4010" fmla="*/ 1060334 h 4367670"/>
              <a:gd name="connsiteX4011" fmla="*/ 2108896 w 5365133"/>
              <a:gd name="connsiteY4011" fmla="*/ 1063175 h 4367670"/>
              <a:gd name="connsiteX4012" fmla="*/ 2110273 w 5365133"/>
              <a:gd name="connsiteY4012" fmla="*/ 1061051 h 4367670"/>
              <a:gd name="connsiteX4013" fmla="*/ 2114578 w 5365133"/>
              <a:gd name="connsiteY4013" fmla="*/ 1058809 h 4367670"/>
              <a:gd name="connsiteX4014" fmla="*/ 1868326 w 5365133"/>
              <a:gd name="connsiteY4014" fmla="*/ 1056295 h 4367670"/>
              <a:gd name="connsiteX4015" fmla="*/ 1862004 w 5365133"/>
              <a:gd name="connsiteY4015" fmla="*/ 1061085 h 4367670"/>
              <a:gd name="connsiteX4016" fmla="*/ 1844753 w 5365133"/>
              <a:gd name="connsiteY4016" fmla="*/ 1079021 h 4367670"/>
              <a:gd name="connsiteX4017" fmla="*/ 1832752 w 5365133"/>
              <a:gd name="connsiteY4017" fmla="*/ 1079021 h 4367670"/>
              <a:gd name="connsiteX4018" fmla="*/ 1864817 w 5365133"/>
              <a:gd name="connsiteY4018" fmla="*/ 1056422 h 4367670"/>
              <a:gd name="connsiteX4019" fmla="*/ 1550475 w 5365133"/>
              <a:gd name="connsiteY4019" fmla="*/ 1056064 h 4367670"/>
              <a:gd name="connsiteX4020" fmla="*/ 1498820 w 5365133"/>
              <a:gd name="connsiteY4020" fmla="*/ 1073282 h 4367670"/>
              <a:gd name="connsiteX4021" fmla="*/ 1550475 w 5365133"/>
              <a:gd name="connsiteY4021" fmla="*/ 1056064 h 4367670"/>
              <a:gd name="connsiteX4022" fmla="*/ 1869224 w 5365133"/>
              <a:gd name="connsiteY4022" fmla="*/ 1055615 h 4367670"/>
              <a:gd name="connsiteX4023" fmla="*/ 1874756 w 5365133"/>
              <a:gd name="connsiteY4023" fmla="*/ 1056064 h 4367670"/>
              <a:gd name="connsiteX4024" fmla="*/ 1868326 w 5365133"/>
              <a:gd name="connsiteY4024" fmla="*/ 1056295 h 4367670"/>
              <a:gd name="connsiteX4025" fmla="*/ 4588180 w 5365133"/>
              <a:gd name="connsiteY4025" fmla="*/ 1054629 h 4367670"/>
              <a:gd name="connsiteX4026" fmla="*/ 4601004 w 5365133"/>
              <a:gd name="connsiteY4026" fmla="*/ 1056064 h 4367670"/>
              <a:gd name="connsiteX4027" fmla="*/ 4563697 w 5365133"/>
              <a:gd name="connsiteY4027" fmla="*/ 1067542 h 4367670"/>
              <a:gd name="connsiteX4028" fmla="*/ 4588180 w 5365133"/>
              <a:gd name="connsiteY4028" fmla="*/ 1054629 h 4367670"/>
              <a:gd name="connsiteX4029" fmla="*/ 1430419 w 5365133"/>
              <a:gd name="connsiteY4029" fmla="*/ 1054283 h 4367670"/>
              <a:gd name="connsiteX4030" fmla="*/ 1418467 w 5365133"/>
              <a:gd name="connsiteY4030" fmla="*/ 1060943 h 4367670"/>
              <a:gd name="connsiteX4031" fmla="*/ 1426966 w 5365133"/>
              <a:gd name="connsiteY4031" fmla="*/ 1055670 h 4367670"/>
              <a:gd name="connsiteX4032" fmla="*/ 1391205 w 5365133"/>
              <a:gd name="connsiteY4032" fmla="*/ 1048888 h 4367670"/>
              <a:gd name="connsiteX4033" fmla="*/ 1401248 w 5365133"/>
              <a:gd name="connsiteY4033" fmla="*/ 1050324 h 4367670"/>
              <a:gd name="connsiteX4034" fmla="*/ 1389770 w 5365133"/>
              <a:gd name="connsiteY4034" fmla="*/ 1056064 h 4367670"/>
              <a:gd name="connsiteX4035" fmla="*/ 1391205 w 5365133"/>
              <a:gd name="connsiteY4035" fmla="*/ 1048888 h 4367670"/>
              <a:gd name="connsiteX4036" fmla="*/ 4615353 w 5365133"/>
              <a:gd name="connsiteY4036" fmla="*/ 1047453 h 4367670"/>
              <a:gd name="connsiteX4037" fmla="*/ 4612482 w 5365133"/>
              <a:gd name="connsiteY4037" fmla="*/ 1050324 h 4367670"/>
              <a:gd name="connsiteX4038" fmla="*/ 4610874 w 5365133"/>
              <a:gd name="connsiteY4038" fmla="*/ 1048946 h 4367670"/>
              <a:gd name="connsiteX4039" fmla="*/ 4607460 w 5365133"/>
              <a:gd name="connsiteY4039" fmla="*/ 1046020 h 4367670"/>
              <a:gd name="connsiteX4040" fmla="*/ 4610874 w 5365133"/>
              <a:gd name="connsiteY4040" fmla="*/ 1048946 h 4367670"/>
              <a:gd name="connsiteX4041" fmla="*/ 4606742 w 5365133"/>
              <a:gd name="connsiteY4041" fmla="*/ 1050324 h 4367670"/>
              <a:gd name="connsiteX4042" fmla="*/ 4607460 w 5365133"/>
              <a:gd name="connsiteY4042" fmla="*/ 1046020 h 4367670"/>
              <a:gd name="connsiteX4043" fmla="*/ 2285329 w 5365133"/>
              <a:gd name="connsiteY4043" fmla="*/ 1042246 h 4367670"/>
              <a:gd name="connsiteX4044" fmla="*/ 2274901 w 5365133"/>
              <a:gd name="connsiteY4044" fmla="*/ 1048259 h 4367670"/>
              <a:gd name="connsiteX4045" fmla="*/ 2273198 w 5365133"/>
              <a:gd name="connsiteY4045" fmla="*/ 1048875 h 4367670"/>
              <a:gd name="connsiteX4046" fmla="*/ 2265194 w 5365133"/>
              <a:gd name="connsiteY4046" fmla="*/ 1058182 h 4367670"/>
              <a:gd name="connsiteX4047" fmla="*/ 2260907 w 5365133"/>
              <a:gd name="connsiteY4047" fmla="*/ 1059950 h 4367670"/>
              <a:gd name="connsiteX4048" fmla="*/ 2263880 w 5365133"/>
              <a:gd name="connsiteY4048" fmla="*/ 1060373 h 4367670"/>
              <a:gd name="connsiteX4049" fmla="*/ 2259864 w 5365133"/>
              <a:gd name="connsiteY4049" fmla="*/ 1062777 h 4367670"/>
              <a:gd name="connsiteX4050" fmla="*/ 2262190 w 5365133"/>
              <a:gd name="connsiteY4050" fmla="*/ 1061933 h 4367670"/>
              <a:gd name="connsiteX4051" fmla="*/ 2282253 w 5365133"/>
              <a:gd name="connsiteY4051" fmla="*/ 1059378 h 4367670"/>
              <a:gd name="connsiteX4052" fmla="*/ 2288105 w 5365133"/>
              <a:gd name="connsiteY4052" fmla="*/ 1043189 h 4367670"/>
              <a:gd name="connsiteX4053" fmla="*/ 4641179 w 5365133"/>
              <a:gd name="connsiteY4053" fmla="*/ 1038845 h 4367670"/>
              <a:gd name="connsiteX4054" fmla="*/ 4629701 w 5365133"/>
              <a:gd name="connsiteY4054" fmla="*/ 1044584 h 4367670"/>
              <a:gd name="connsiteX4055" fmla="*/ 4641179 w 5365133"/>
              <a:gd name="connsiteY4055" fmla="*/ 1038845 h 4367670"/>
              <a:gd name="connsiteX4056" fmla="*/ 4623960 w 5365133"/>
              <a:gd name="connsiteY4056" fmla="*/ 1038845 h 4367670"/>
              <a:gd name="connsiteX4057" fmla="*/ 4623960 w 5365133"/>
              <a:gd name="connsiteY4057" fmla="*/ 1044584 h 4367670"/>
              <a:gd name="connsiteX4058" fmla="*/ 4615353 w 5365133"/>
              <a:gd name="connsiteY4058" fmla="*/ 1047453 h 4367670"/>
              <a:gd name="connsiteX4059" fmla="*/ 2253772 w 5365133"/>
              <a:gd name="connsiteY4059" fmla="*/ 1033012 h 4367670"/>
              <a:gd name="connsiteX4060" fmla="*/ 2254018 w 5365133"/>
              <a:gd name="connsiteY4060" fmla="*/ 1033731 h 4367670"/>
              <a:gd name="connsiteX4061" fmla="*/ 2254165 w 5365133"/>
              <a:gd name="connsiteY4061" fmla="*/ 1033535 h 4367670"/>
              <a:gd name="connsiteX4062" fmla="*/ 1630209 w 5365133"/>
              <a:gd name="connsiteY4062" fmla="*/ 1030553 h 4367670"/>
              <a:gd name="connsiteX4063" fmla="*/ 1636187 w 5365133"/>
              <a:gd name="connsiteY4063" fmla="*/ 1030553 h 4367670"/>
              <a:gd name="connsiteX4064" fmla="*/ 1634435 w 5365133"/>
              <a:gd name="connsiteY4064" fmla="*/ 1031397 h 4367670"/>
              <a:gd name="connsiteX4065" fmla="*/ 2151723 w 5365133"/>
              <a:gd name="connsiteY4065" fmla="*/ 1018942 h 4367670"/>
              <a:gd name="connsiteX4066" fmla="*/ 2155990 w 5365133"/>
              <a:gd name="connsiteY4066" fmla="*/ 1019475 h 4367670"/>
              <a:gd name="connsiteX4067" fmla="*/ 2161729 w 5365133"/>
              <a:gd name="connsiteY4067" fmla="*/ 1024497 h 4367670"/>
              <a:gd name="connsiteX4068" fmla="*/ 2150250 w 5365133"/>
              <a:gd name="connsiteY4068" fmla="*/ 1030237 h 4367670"/>
              <a:gd name="connsiteX4069" fmla="*/ 1963716 w 5365133"/>
              <a:gd name="connsiteY4069" fmla="*/ 1018758 h 4367670"/>
              <a:gd name="connsiteX4070" fmla="*/ 1952238 w 5365133"/>
              <a:gd name="connsiteY4070" fmla="*/ 1037206 h 4367670"/>
              <a:gd name="connsiteX4071" fmla="*/ 1957977 w 5365133"/>
              <a:gd name="connsiteY4071" fmla="*/ 1043355 h 4367670"/>
              <a:gd name="connsiteX4072" fmla="*/ 1946498 w 5365133"/>
              <a:gd name="connsiteY4072" fmla="*/ 1043355 h 4367670"/>
              <a:gd name="connsiteX4073" fmla="*/ 1957977 w 5365133"/>
              <a:gd name="connsiteY4073" fmla="*/ 1061805 h 4367670"/>
              <a:gd name="connsiteX4074" fmla="*/ 1940759 w 5365133"/>
              <a:gd name="connsiteY4074" fmla="*/ 1049505 h 4367670"/>
              <a:gd name="connsiteX4075" fmla="*/ 1963716 w 5365133"/>
              <a:gd name="connsiteY4075" fmla="*/ 1018758 h 4367670"/>
              <a:gd name="connsiteX4076" fmla="*/ 1498820 w 5365133"/>
              <a:gd name="connsiteY4076" fmla="*/ 1018758 h 4367670"/>
              <a:gd name="connsiteX4077" fmla="*/ 1492639 w 5365133"/>
              <a:gd name="connsiteY4077" fmla="*/ 1024785 h 4367670"/>
              <a:gd name="connsiteX4078" fmla="*/ 1498820 w 5365133"/>
              <a:gd name="connsiteY4078" fmla="*/ 1048890 h 4367670"/>
              <a:gd name="connsiteX4079" fmla="*/ 1437009 w 5365133"/>
              <a:gd name="connsiteY4079" fmla="*/ 1072996 h 4367670"/>
              <a:gd name="connsiteX4080" fmla="*/ 1486456 w 5365133"/>
              <a:gd name="connsiteY4080" fmla="*/ 1048890 h 4367670"/>
              <a:gd name="connsiteX4081" fmla="*/ 1486456 w 5365133"/>
              <a:gd name="connsiteY4081" fmla="*/ 1030810 h 4367670"/>
              <a:gd name="connsiteX4082" fmla="*/ 1461732 w 5365133"/>
              <a:gd name="connsiteY4082" fmla="*/ 1048890 h 4367670"/>
              <a:gd name="connsiteX4083" fmla="*/ 1440100 w 5365133"/>
              <a:gd name="connsiteY4083" fmla="*/ 1050397 h 4367670"/>
              <a:gd name="connsiteX4084" fmla="*/ 1430419 w 5365133"/>
              <a:gd name="connsiteY4084" fmla="*/ 1054283 h 4367670"/>
              <a:gd name="connsiteX4085" fmla="*/ 1456326 w 5365133"/>
              <a:gd name="connsiteY4085" fmla="*/ 1039850 h 4367670"/>
              <a:gd name="connsiteX4086" fmla="*/ 1498820 w 5365133"/>
              <a:gd name="connsiteY4086" fmla="*/ 1018758 h 4367670"/>
              <a:gd name="connsiteX4087" fmla="*/ 2151800 w 5365133"/>
              <a:gd name="connsiteY4087" fmla="*/ 1018362 h 4367670"/>
              <a:gd name="connsiteX4088" fmla="*/ 2151723 w 5365133"/>
              <a:gd name="connsiteY4088" fmla="*/ 1018942 h 4367670"/>
              <a:gd name="connsiteX4089" fmla="*/ 2150250 w 5365133"/>
              <a:gd name="connsiteY4089" fmla="*/ 1018758 h 4367670"/>
              <a:gd name="connsiteX4090" fmla="*/ 2144249 w 5365133"/>
              <a:gd name="connsiteY4090" fmla="*/ 1013018 h 4367670"/>
              <a:gd name="connsiteX4091" fmla="*/ 2144249 w 5365133"/>
              <a:gd name="connsiteY4091" fmla="*/ 1030898 h 4367670"/>
              <a:gd name="connsiteX4092" fmla="*/ 2120248 w 5365133"/>
              <a:gd name="connsiteY4092" fmla="*/ 1042820 h 4367670"/>
              <a:gd name="connsiteX4093" fmla="*/ 2078246 w 5365133"/>
              <a:gd name="connsiteY4093" fmla="*/ 1060701 h 4367670"/>
              <a:gd name="connsiteX4094" fmla="*/ 2066244 w 5365133"/>
              <a:gd name="connsiteY4094" fmla="*/ 1072620 h 4367670"/>
              <a:gd name="connsiteX4095" fmla="*/ 2060245 w 5365133"/>
              <a:gd name="connsiteY4095" fmla="*/ 1066661 h 4367670"/>
              <a:gd name="connsiteX4096" fmla="*/ 2048243 w 5365133"/>
              <a:gd name="connsiteY4096" fmla="*/ 1072620 h 4367670"/>
              <a:gd name="connsiteX4097" fmla="*/ 2066244 w 5365133"/>
              <a:gd name="connsiteY4097" fmla="*/ 1060701 h 4367670"/>
              <a:gd name="connsiteX4098" fmla="*/ 2084246 w 5365133"/>
              <a:gd name="connsiteY4098" fmla="*/ 1048780 h 4367670"/>
              <a:gd name="connsiteX4099" fmla="*/ 2108249 w 5365133"/>
              <a:gd name="connsiteY4099" fmla="*/ 1042820 h 4367670"/>
              <a:gd name="connsiteX4100" fmla="*/ 2108249 w 5365133"/>
              <a:gd name="connsiteY4100" fmla="*/ 1030898 h 4367670"/>
              <a:gd name="connsiteX4101" fmla="*/ 2144249 w 5365133"/>
              <a:gd name="connsiteY4101" fmla="*/ 1013018 h 4367670"/>
              <a:gd name="connsiteX4102" fmla="*/ 1633698 w 5365133"/>
              <a:gd name="connsiteY4102" fmla="*/ 1013018 h 4367670"/>
              <a:gd name="connsiteX4103" fmla="*/ 1587782 w 5365133"/>
              <a:gd name="connsiteY4103" fmla="*/ 1044586 h 4367670"/>
              <a:gd name="connsiteX4104" fmla="*/ 1633698 w 5365133"/>
              <a:gd name="connsiteY4104" fmla="*/ 1013018 h 4367670"/>
              <a:gd name="connsiteX4105" fmla="*/ 2212150 w 5365133"/>
              <a:gd name="connsiteY4105" fmla="*/ 1011548 h 4367670"/>
              <a:gd name="connsiteX4106" fmla="*/ 2212150 w 5365133"/>
              <a:gd name="connsiteY4106" fmla="*/ 1028766 h 4367670"/>
              <a:gd name="connsiteX4107" fmla="*/ 2197801 w 5365133"/>
              <a:gd name="connsiteY4107" fmla="*/ 1028766 h 4367670"/>
              <a:gd name="connsiteX4108" fmla="*/ 2212150 w 5365133"/>
              <a:gd name="connsiteY4108" fmla="*/ 1011548 h 4367670"/>
              <a:gd name="connsiteX4109" fmla="*/ 2369529 w 5365133"/>
              <a:gd name="connsiteY4109" fmla="*/ 1008428 h 4367670"/>
              <a:gd name="connsiteX4110" fmla="*/ 2366158 w 5365133"/>
              <a:gd name="connsiteY4110" fmla="*/ 1010113 h 4367670"/>
              <a:gd name="connsiteX4111" fmla="*/ 2360099 w 5365133"/>
              <a:gd name="connsiteY4111" fmla="*/ 1013142 h 4367670"/>
              <a:gd name="connsiteX4112" fmla="*/ 2360188 w 5365133"/>
              <a:gd name="connsiteY4112" fmla="*/ 1013857 h 4367670"/>
              <a:gd name="connsiteX4113" fmla="*/ 2362643 w 5365133"/>
              <a:gd name="connsiteY4113" fmla="*/ 1013108 h 4367670"/>
              <a:gd name="connsiteX4114" fmla="*/ 4516827 w 5365133"/>
              <a:gd name="connsiteY4114" fmla="*/ 1007279 h 4367670"/>
              <a:gd name="connsiteX4115" fmla="*/ 4523522 w 5365133"/>
              <a:gd name="connsiteY4115" fmla="*/ 1007279 h 4367670"/>
              <a:gd name="connsiteX4116" fmla="*/ 4510131 w 5365133"/>
              <a:gd name="connsiteY4116" fmla="*/ 1018758 h 4367670"/>
              <a:gd name="connsiteX4117" fmla="*/ 4516827 w 5365133"/>
              <a:gd name="connsiteY4117" fmla="*/ 1007279 h 4367670"/>
              <a:gd name="connsiteX4118" fmla="*/ 1556214 w 5365133"/>
              <a:gd name="connsiteY4118" fmla="*/ 1007279 h 4367670"/>
              <a:gd name="connsiteX4119" fmla="*/ 1533256 w 5365133"/>
              <a:gd name="connsiteY4119" fmla="*/ 1030237 h 4367670"/>
              <a:gd name="connsiteX4120" fmla="*/ 1538996 w 5365133"/>
              <a:gd name="connsiteY4120" fmla="*/ 1013018 h 4367670"/>
              <a:gd name="connsiteX4121" fmla="*/ 1556214 w 5365133"/>
              <a:gd name="connsiteY4121" fmla="*/ 1007279 h 4367670"/>
              <a:gd name="connsiteX4122" fmla="*/ 1633698 w 5365133"/>
              <a:gd name="connsiteY4122" fmla="*/ 1001540 h 4367670"/>
              <a:gd name="connsiteX4123" fmla="*/ 1587782 w 5365133"/>
              <a:gd name="connsiteY4123" fmla="*/ 1024497 h 4367670"/>
              <a:gd name="connsiteX4124" fmla="*/ 1633698 w 5365133"/>
              <a:gd name="connsiteY4124" fmla="*/ 1001540 h 4367670"/>
              <a:gd name="connsiteX4125" fmla="*/ 2234866 w 5365133"/>
              <a:gd name="connsiteY4125" fmla="*/ 1000965 h 4367670"/>
              <a:gd name="connsiteX4126" fmla="*/ 2252802 w 5365133"/>
              <a:gd name="connsiteY4126" fmla="*/ 1006884 h 4367670"/>
              <a:gd name="connsiteX4127" fmla="*/ 2258782 w 5365133"/>
              <a:gd name="connsiteY4127" fmla="*/ 1012804 h 4367670"/>
              <a:gd name="connsiteX4128" fmla="*/ 2258782 w 5365133"/>
              <a:gd name="connsiteY4128" fmla="*/ 1024641 h 4367670"/>
              <a:gd name="connsiteX4129" fmla="*/ 2234866 w 5365133"/>
              <a:gd name="connsiteY4129" fmla="*/ 1024641 h 4367670"/>
              <a:gd name="connsiteX4130" fmla="*/ 2210952 w 5365133"/>
              <a:gd name="connsiteY4130" fmla="*/ 1042398 h 4367670"/>
              <a:gd name="connsiteX4131" fmla="*/ 2210952 w 5365133"/>
              <a:gd name="connsiteY4131" fmla="*/ 1048316 h 4367670"/>
              <a:gd name="connsiteX4132" fmla="*/ 2198996 w 5365133"/>
              <a:gd name="connsiteY4132" fmla="*/ 1042398 h 4367670"/>
              <a:gd name="connsiteX4133" fmla="*/ 2187037 w 5365133"/>
              <a:gd name="connsiteY4133" fmla="*/ 1054234 h 4367670"/>
              <a:gd name="connsiteX4134" fmla="*/ 2181059 w 5365133"/>
              <a:gd name="connsiteY4134" fmla="*/ 1060155 h 4367670"/>
              <a:gd name="connsiteX4135" fmla="*/ 2175082 w 5365133"/>
              <a:gd name="connsiteY4135" fmla="*/ 1042398 h 4367670"/>
              <a:gd name="connsiteX4136" fmla="*/ 2204974 w 5365133"/>
              <a:gd name="connsiteY4136" fmla="*/ 1036479 h 4367670"/>
              <a:gd name="connsiteX4137" fmla="*/ 2228888 w 5365133"/>
              <a:gd name="connsiteY4137" fmla="*/ 1024641 h 4367670"/>
              <a:gd name="connsiteX4138" fmla="*/ 2222910 w 5365133"/>
              <a:gd name="connsiteY4138" fmla="*/ 1012804 h 4367670"/>
              <a:gd name="connsiteX4139" fmla="*/ 2216932 w 5365133"/>
              <a:gd name="connsiteY4139" fmla="*/ 1024641 h 4367670"/>
              <a:gd name="connsiteX4140" fmla="*/ 2222910 w 5365133"/>
              <a:gd name="connsiteY4140" fmla="*/ 1006884 h 4367670"/>
              <a:gd name="connsiteX4141" fmla="*/ 2228888 w 5365133"/>
              <a:gd name="connsiteY4141" fmla="*/ 1018723 h 4367670"/>
              <a:gd name="connsiteX4142" fmla="*/ 2234866 w 5365133"/>
              <a:gd name="connsiteY4142" fmla="*/ 1018723 h 4367670"/>
              <a:gd name="connsiteX4143" fmla="*/ 2234866 w 5365133"/>
              <a:gd name="connsiteY4143" fmla="*/ 1000965 h 4367670"/>
              <a:gd name="connsiteX4144" fmla="*/ 2346850 w 5365133"/>
              <a:gd name="connsiteY4144" fmla="*/ 998577 h 4367670"/>
              <a:gd name="connsiteX4145" fmla="*/ 2347571 w 5365133"/>
              <a:gd name="connsiteY4145" fmla="*/ 1000733 h 4367670"/>
              <a:gd name="connsiteX4146" fmla="*/ 2348308 w 5365133"/>
              <a:gd name="connsiteY4146" fmla="*/ 999806 h 4367670"/>
              <a:gd name="connsiteX4147" fmla="*/ 2347600 w 5365133"/>
              <a:gd name="connsiteY4147" fmla="*/ 1000070 h 4367670"/>
              <a:gd name="connsiteX4148" fmla="*/ 4744490 w 5365133"/>
              <a:gd name="connsiteY4148" fmla="*/ 995800 h 4367670"/>
              <a:gd name="connsiteX4149" fmla="*/ 4720097 w 5365133"/>
              <a:gd name="connsiteY4149" fmla="*/ 1020398 h 4367670"/>
              <a:gd name="connsiteX4150" fmla="*/ 4646919 w 5365133"/>
              <a:gd name="connsiteY4150" fmla="*/ 1038846 h 4367670"/>
              <a:gd name="connsiteX4151" fmla="*/ 4646919 w 5365133"/>
              <a:gd name="connsiteY4151" fmla="*/ 1026547 h 4367670"/>
              <a:gd name="connsiteX4152" fmla="*/ 4744490 w 5365133"/>
              <a:gd name="connsiteY4152" fmla="*/ 995800 h 4367670"/>
              <a:gd name="connsiteX4153" fmla="*/ 1510298 w 5365133"/>
              <a:gd name="connsiteY4153" fmla="*/ 995800 h 4367670"/>
              <a:gd name="connsiteX4154" fmla="*/ 1498820 w 5365133"/>
              <a:gd name="connsiteY4154" fmla="*/ 1007279 h 4367670"/>
              <a:gd name="connsiteX4155" fmla="*/ 1510298 w 5365133"/>
              <a:gd name="connsiteY4155" fmla="*/ 995800 h 4367670"/>
              <a:gd name="connsiteX4156" fmla="*/ 2207646 w 5365133"/>
              <a:gd name="connsiteY4156" fmla="*/ 990060 h 4367670"/>
              <a:gd name="connsiteX4157" fmla="*/ 2207646 w 5365133"/>
              <a:gd name="connsiteY4157" fmla="*/ 1007279 h 4367670"/>
              <a:gd name="connsiteX4158" fmla="*/ 2181099 w 5365133"/>
              <a:gd name="connsiteY4158" fmla="*/ 1010865 h 4367670"/>
              <a:gd name="connsiteX4159" fmla="*/ 2151800 w 5365133"/>
              <a:gd name="connsiteY4159" fmla="*/ 1018362 h 4367670"/>
              <a:gd name="connsiteX4160" fmla="*/ 2152402 w 5365133"/>
              <a:gd name="connsiteY4160" fmla="*/ 1013736 h 4367670"/>
              <a:gd name="connsiteX4161" fmla="*/ 2167469 w 5365133"/>
              <a:gd name="connsiteY4161" fmla="*/ 1001540 h 4367670"/>
              <a:gd name="connsiteX4162" fmla="*/ 2161729 w 5365133"/>
              <a:gd name="connsiteY4162" fmla="*/ 1007279 h 4367670"/>
              <a:gd name="connsiteX4163" fmla="*/ 2170338 w 5365133"/>
              <a:gd name="connsiteY4163" fmla="*/ 1009431 h 4367670"/>
              <a:gd name="connsiteX4164" fmla="*/ 2175817 w 5365133"/>
              <a:gd name="connsiteY4164" fmla="*/ 1008062 h 4367670"/>
              <a:gd name="connsiteX4165" fmla="*/ 2176077 w 5365133"/>
              <a:gd name="connsiteY4165" fmla="*/ 1008714 h 4367670"/>
              <a:gd name="connsiteX4166" fmla="*/ 2176847 w 5365133"/>
              <a:gd name="connsiteY4166" fmla="*/ 1007804 h 4367670"/>
              <a:gd name="connsiteX4167" fmla="*/ 2178948 w 5365133"/>
              <a:gd name="connsiteY4167" fmla="*/ 1007279 h 4367670"/>
              <a:gd name="connsiteX4168" fmla="*/ 2178051 w 5365133"/>
              <a:gd name="connsiteY4168" fmla="*/ 1006381 h 4367670"/>
              <a:gd name="connsiteX4169" fmla="*/ 2176847 w 5365133"/>
              <a:gd name="connsiteY4169" fmla="*/ 1007804 h 4367670"/>
              <a:gd name="connsiteX4170" fmla="*/ 2175817 w 5365133"/>
              <a:gd name="connsiteY4170" fmla="*/ 1008062 h 4367670"/>
              <a:gd name="connsiteX4171" fmla="*/ 2173208 w 5365133"/>
              <a:gd name="connsiteY4171" fmla="*/ 1001540 h 4367670"/>
              <a:gd name="connsiteX4172" fmla="*/ 2201906 w 5365133"/>
              <a:gd name="connsiteY4172" fmla="*/ 995800 h 4367670"/>
              <a:gd name="connsiteX4173" fmla="*/ 2207646 w 5365133"/>
              <a:gd name="connsiteY4173" fmla="*/ 990060 h 4367670"/>
              <a:gd name="connsiteX4174" fmla="*/ 1556214 w 5365133"/>
              <a:gd name="connsiteY4174" fmla="*/ 990060 h 4367670"/>
              <a:gd name="connsiteX4175" fmla="*/ 1521777 w 5365133"/>
              <a:gd name="connsiteY4175" fmla="*/ 1007279 h 4367670"/>
              <a:gd name="connsiteX4176" fmla="*/ 1556214 w 5365133"/>
              <a:gd name="connsiteY4176" fmla="*/ 990060 h 4367670"/>
              <a:gd name="connsiteX4177" fmla="*/ 4761709 w 5365133"/>
              <a:gd name="connsiteY4177" fmla="*/ 984321 h 4367670"/>
              <a:gd name="connsiteX4178" fmla="*/ 4761709 w 5365133"/>
              <a:gd name="connsiteY4178" fmla="*/ 990060 h 4367670"/>
              <a:gd name="connsiteX4179" fmla="*/ 4767448 w 5365133"/>
              <a:gd name="connsiteY4179" fmla="*/ 990060 h 4367670"/>
              <a:gd name="connsiteX4180" fmla="*/ 4750229 w 5365133"/>
              <a:gd name="connsiteY4180" fmla="*/ 995800 h 4367670"/>
              <a:gd name="connsiteX4181" fmla="*/ 4761709 w 5365133"/>
              <a:gd name="connsiteY4181" fmla="*/ 984321 h 4367670"/>
              <a:gd name="connsiteX4182" fmla="*/ 4359945 w 5365133"/>
              <a:gd name="connsiteY4182" fmla="*/ 984321 h 4367670"/>
              <a:gd name="connsiteX4183" fmla="*/ 4336987 w 5365133"/>
              <a:gd name="connsiteY4183" fmla="*/ 995800 h 4367670"/>
              <a:gd name="connsiteX4184" fmla="*/ 4359945 w 5365133"/>
              <a:gd name="connsiteY4184" fmla="*/ 984321 h 4367670"/>
              <a:gd name="connsiteX4185" fmla="*/ 1671004 w 5365133"/>
              <a:gd name="connsiteY4185" fmla="*/ 984321 h 4367670"/>
              <a:gd name="connsiteX4186" fmla="*/ 1648046 w 5365133"/>
              <a:gd name="connsiteY4186" fmla="*/ 995800 h 4367670"/>
              <a:gd name="connsiteX4187" fmla="*/ 1671004 w 5365133"/>
              <a:gd name="connsiteY4187" fmla="*/ 984321 h 4367670"/>
              <a:gd name="connsiteX4188" fmla="*/ 1488530 w 5365133"/>
              <a:gd name="connsiteY4188" fmla="*/ 983439 h 4367670"/>
              <a:gd name="connsiteX4189" fmla="*/ 1486737 w 5365133"/>
              <a:gd name="connsiteY4189" fmla="*/ 988806 h 4367670"/>
              <a:gd name="connsiteX4190" fmla="*/ 1487484 w 5365133"/>
              <a:gd name="connsiteY4190" fmla="*/ 983588 h 4367670"/>
              <a:gd name="connsiteX4191" fmla="*/ 2426740 w 5365133"/>
              <a:gd name="connsiteY4191" fmla="*/ 982850 h 4367670"/>
              <a:gd name="connsiteX4192" fmla="*/ 2426740 w 5365133"/>
              <a:gd name="connsiteY4192" fmla="*/ 988908 h 4367670"/>
              <a:gd name="connsiteX4193" fmla="*/ 2422841 w 5365133"/>
              <a:gd name="connsiteY4193" fmla="*/ 989188 h 4367670"/>
              <a:gd name="connsiteX4194" fmla="*/ 2283443 w 5365133"/>
              <a:gd name="connsiteY4194" fmla="*/ 980990 h 4367670"/>
              <a:gd name="connsiteX4195" fmla="*/ 2288675 w 5365133"/>
              <a:gd name="connsiteY4195" fmla="*/ 983208 h 4367670"/>
              <a:gd name="connsiteX4196" fmla="*/ 2282696 w 5365133"/>
              <a:gd name="connsiteY4196" fmla="*/ 983208 h 4367670"/>
              <a:gd name="connsiteX4197" fmla="*/ 2283443 w 5365133"/>
              <a:gd name="connsiteY4197" fmla="*/ 980990 h 4367670"/>
              <a:gd name="connsiteX4198" fmla="*/ 4672749 w 5365133"/>
              <a:gd name="connsiteY4198" fmla="*/ 978582 h 4367670"/>
              <a:gd name="connsiteX4199" fmla="*/ 4666651 w 5365133"/>
              <a:gd name="connsiteY4199" fmla="*/ 990060 h 4367670"/>
              <a:gd name="connsiteX4200" fmla="*/ 4648356 w 5365133"/>
              <a:gd name="connsiteY4200" fmla="*/ 984321 h 4367670"/>
              <a:gd name="connsiteX4201" fmla="*/ 4660553 w 5365133"/>
              <a:gd name="connsiteY4201" fmla="*/ 984321 h 4367670"/>
              <a:gd name="connsiteX4202" fmla="*/ 4672749 w 5365133"/>
              <a:gd name="connsiteY4202" fmla="*/ 978582 h 4367670"/>
              <a:gd name="connsiteX4203" fmla="*/ 2256111 w 5365133"/>
              <a:gd name="connsiteY4203" fmla="*/ 978582 h 4367670"/>
              <a:gd name="connsiteX4204" fmla="*/ 2262171 w 5365133"/>
              <a:gd name="connsiteY4204" fmla="*/ 984321 h 4367670"/>
              <a:gd name="connsiteX4205" fmla="*/ 2207646 w 5365133"/>
              <a:gd name="connsiteY4205" fmla="*/ 1001540 h 4367670"/>
              <a:gd name="connsiteX4206" fmla="*/ 2231880 w 5365133"/>
              <a:gd name="connsiteY4206" fmla="*/ 984321 h 4367670"/>
              <a:gd name="connsiteX4207" fmla="*/ 2225820 w 5365133"/>
              <a:gd name="connsiteY4207" fmla="*/ 990060 h 4367670"/>
              <a:gd name="connsiteX4208" fmla="*/ 2256111 w 5365133"/>
              <a:gd name="connsiteY4208" fmla="*/ 978582 h 4367670"/>
              <a:gd name="connsiteX4209" fmla="*/ 4196625 w 5365133"/>
              <a:gd name="connsiteY4209" fmla="*/ 976262 h 4367670"/>
              <a:gd name="connsiteX4210" fmla="*/ 4192951 w 5365133"/>
              <a:gd name="connsiteY4210" fmla="*/ 977484 h 4367670"/>
              <a:gd name="connsiteX4211" fmla="*/ 4195363 w 5365133"/>
              <a:gd name="connsiteY4211" fmla="*/ 977002 h 4367670"/>
              <a:gd name="connsiteX4212" fmla="*/ 4689966 w 5365133"/>
              <a:gd name="connsiteY4212" fmla="*/ 972842 h 4367670"/>
              <a:gd name="connsiteX4213" fmla="*/ 4689966 w 5365133"/>
              <a:gd name="connsiteY4213" fmla="*/ 978582 h 4367670"/>
              <a:gd name="connsiteX4214" fmla="*/ 4678486 w 5365133"/>
              <a:gd name="connsiteY4214" fmla="*/ 978582 h 4367670"/>
              <a:gd name="connsiteX4215" fmla="*/ 4689966 w 5365133"/>
              <a:gd name="connsiteY4215" fmla="*/ 972842 h 4367670"/>
              <a:gd name="connsiteX4216" fmla="*/ 4606171 w 5365133"/>
              <a:gd name="connsiteY4216" fmla="*/ 972842 h 4367670"/>
              <a:gd name="connsiteX4217" fmla="*/ 4612484 w 5365133"/>
              <a:gd name="connsiteY4217" fmla="*/ 978582 h 4367670"/>
              <a:gd name="connsiteX4218" fmla="*/ 4587230 w 5365133"/>
              <a:gd name="connsiteY4218" fmla="*/ 995800 h 4367670"/>
              <a:gd name="connsiteX4219" fmla="*/ 4580916 w 5365133"/>
              <a:gd name="connsiteY4219" fmla="*/ 990060 h 4367670"/>
              <a:gd name="connsiteX4220" fmla="*/ 4606171 w 5365133"/>
              <a:gd name="connsiteY4220" fmla="*/ 972842 h 4367670"/>
              <a:gd name="connsiteX4221" fmla="*/ 2027569 w 5365133"/>
              <a:gd name="connsiteY4221" fmla="*/ 972842 h 4367670"/>
              <a:gd name="connsiteX4222" fmla="*/ 2041200 w 5365133"/>
              <a:gd name="connsiteY4222" fmla="*/ 978582 h 4367670"/>
              <a:gd name="connsiteX4223" fmla="*/ 2018242 w 5365133"/>
              <a:gd name="connsiteY4223" fmla="*/ 984321 h 4367670"/>
              <a:gd name="connsiteX4224" fmla="*/ 2027569 w 5365133"/>
              <a:gd name="connsiteY4224" fmla="*/ 972842 h 4367670"/>
              <a:gd name="connsiteX4225" fmla="*/ 2312588 w 5365133"/>
              <a:gd name="connsiteY4225" fmla="*/ 971371 h 4367670"/>
              <a:gd name="connsiteX4226" fmla="*/ 2300632 w 5365133"/>
              <a:gd name="connsiteY4226" fmla="*/ 983208 h 4367670"/>
              <a:gd name="connsiteX4227" fmla="*/ 2306610 w 5365133"/>
              <a:gd name="connsiteY4227" fmla="*/ 995047 h 4367670"/>
              <a:gd name="connsiteX4228" fmla="*/ 2282696 w 5365133"/>
              <a:gd name="connsiteY4228" fmla="*/ 1012804 h 4367670"/>
              <a:gd name="connsiteX4229" fmla="*/ 2288675 w 5365133"/>
              <a:gd name="connsiteY4229" fmla="*/ 1000965 h 4367670"/>
              <a:gd name="connsiteX4230" fmla="*/ 2276717 w 5365133"/>
              <a:gd name="connsiteY4230" fmla="*/ 1012804 h 4367670"/>
              <a:gd name="connsiteX4231" fmla="*/ 2258782 w 5365133"/>
              <a:gd name="connsiteY4231" fmla="*/ 1012804 h 4367670"/>
              <a:gd name="connsiteX4232" fmla="*/ 2276717 w 5365133"/>
              <a:gd name="connsiteY4232" fmla="*/ 1000965 h 4367670"/>
              <a:gd name="connsiteX4233" fmla="*/ 2246825 w 5365133"/>
              <a:gd name="connsiteY4233" fmla="*/ 1006884 h 4367670"/>
              <a:gd name="connsiteX4234" fmla="*/ 2270738 w 5365133"/>
              <a:gd name="connsiteY4234" fmla="*/ 983208 h 4367670"/>
              <a:gd name="connsiteX4235" fmla="*/ 2288675 w 5365133"/>
              <a:gd name="connsiteY4235" fmla="*/ 995047 h 4367670"/>
              <a:gd name="connsiteX4236" fmla="*/ 2276717 w 5365133"/>
              <a:gd name="connsiteY4236" fmla="*/ 989128 h 4367670"/>
              <a:gd name="connsiteX4237" fmla="*/ 2282696 w 5365133"/>
              <a:gd name="connsiteY4237" fmla="*/ 983208 h 4367670"/>
              <a:gd name="connsiteX4238" fmla="*/ 2294652 w 5365133"/>
              <a:gd name="connsiteY4238" fmla="*/ 983208 h 4367670"/>
              <a:gd name="connsiteX4239" fmla="*/ 2294652 w 5365133"/>
              <a:gd name="connsiteY4239" fmla="*/ 977289 h 4367670"/>
              <a:gd name="connsiteX4240" fmla="*/ 2312588 w 5365133"/>
              <a:gd name="connsiteY4240" fmla="*/ 971371 h 4367670"/>
              <a:gd name="connsiteX4241" fmla="*/ 2523105 w 5365133"/>
              <a:gd name="connsiteY4241" fmla="*/ 969430 h 4367670"/>
              <a:gd name="connsiteX4242" fmla="*/ 2515121 w 5365133"/>
              <a:gd name="connsiteY4242" fmla="*/ 970268 h 4367670"/>
              <a:gd name="connsiteX4243" fmla="*/ 2514187 w 5365133"/>
              <a:gd name="connsiteY4243" fmla="*/ 973817 h 4367670"/>
              <a:gd name="connsiteX4244" fmla="*/ 2515329 w 5365133"/>
              <a:gd name="connsiteY4244" fmla="*/ 974455 h 4367670"/>
              <a:gd name="connsiteX4245" fmla="*/ 2523511 w 5365133"/>
              <a:gd name="connsiteY4245" fmla="*/ 972503 h 4367670"/>
              <a:gd name="connsiteX4246" fmla="*/ 4827713 w 5365133"/>
              <a:gd name="connsiteY4246" fmla="*/ 967102 h 4367670"/>
              <a:gd name="connsiteX4247" fmla="*/ 4796145 w 5365133"/>
              <a:gd name="connsiteY4247" fmla="*/ 984321 h 4367670"/>
              <a:gd name="connsiteX4248" fmla="*/ 4827713 w 5365133"/>
              <a:gd name="connsiteY4248" fmla="*/ 967102 h 4367670"/>
              <a:gd name="connsiteX4249" fmla="*/ 1610740 w 5365133"/>
              <a:gd name="connsiteY4249" fmla="*/ 967102 h 4367670"/>
              <a:gd name="connsiteX4250" fmla="*/ 1561954 w 5365133"/>
              <a:gd name="connsiteY4250" fmla="*/ 990060 h 4367670"/>
              <a:gd name="connsiteX4251" fmla="*/ 1610740 w 5365133"/>
              <a:gd name="connsiteY4251" fmla="*/ 967102 h 4367670"/>
              <a:gd name="connsiteX4252" fmla="*/ 2329807 w 5365133"/>
              <a:gd name="connsiteY4252" fmla="*/ 959893 h 4367670"/>
              <a:gd name="connsiteX4253" fmla="*/ 2329807 w 5365133"/>
              <a:gd name="connsiteY4253" fmla="*/ 965631 h 4367670"/>
              <a:gd name="connsiteX4254" fmla="*/ 2341286 w 5365133"/>
              <a:gd name="connsiteY4254" fmla="*/ 988590 h 4367670"/>
              <a:gd name="connsiteX4255" fmla="*/ 2329807 w 5365133"/>
              <a:gd name="connsiteY4255" fmla="*/ 959893 h 4367670"/>
              <a:gd name="connsiteX4256" fmla="*/ 2124422 w 5365133"/>
              <a:gd name="connsiteY4256" fmla="*/ 958494 h 4367670"/>
              <a:gd name="connsiteX4257" fmla="*/ 2124422 w 5365133"/>
              <a:gd name="connsiteY4257" fmla="*/ 971409 h 4367670"/>
              <a:gd name="connsiteX4258" fmla="*/ 2112943 w 5365133"/>
              <a:gd name="connsiteY4258" fmla="*/ 984323 h 4367670"/>
              <a:gd name="connsiteX4259" fmla="*/ 2124422 w 5365133"/>
              <a:gd name="connsiteY4259" fmla="*/ 958494 h 4367670"/>
              <a:gd name="connsiteX4260" fmla="*/ 4374295 w 5365133"/>
              <a:gd name="connsiteY4260" fmla="*/ 958492 h 4367670"/>
              <a:gd name="connsiteX4261" fmla="*/ 4385774 w 5365133"/>
              <a:gd name="connsiteY4261" fmla="*/ 972842 h 4367670"/>
              <a:gd name="connsiteX4262" fmla="*/ 4374295 w 5365133"/>
              <a:gd name="connsiteY4262" fmla="*/ 958492 h 4367670"/>
              <a:gd name="connsiteX4263" fmla="*/ 1648048 w 5365133"/>
              <a:gd name="connsiteY4263" fmla="*/ 958492 h 4367670"/>
              <a:gd name="connsiteX4264" fmla="*/ 1633698 w 5365133"/>
              <a:gd name="connsiteY4264" fmla="*/ 978582 h 4367670"/>
              <a:gd name="connsiteX4265" fmla="*/ 1648048 w 5365133"/>
              <a:gd name="connsiteY4265" fmla="*/ 958492 h 4367670"/>
              <a:gd name="connsiteX4266" fmla="*/ 2540734 w 5365133"/>
              <a:gd name="connsiteY4266" fmla="*/ 958255 h 4367670"/>
              <a:gd name="connsiteX4267" fmla="*/ 2540734 w 5365133"/>
              <a:gd name="connsiteY4267" fmla="*/ 970552 h 4367670"/>
              <a:gd name="connsiteX4268" fmla="*/ 2528537 w 5365133"/>
              <a:gd name="connsiteY4268" fmla="*/ 970552 h 4367670"/>
              <a:gd name="connsiteX4269" fmla="*/ 2528537 w 5365133"/>
              <a:gd name="connsiteY4269" fmla="*/ 972505 h 4367670"/>
              <a:gd name="connsiteX4270" fmla="*/ 2532516 w 5365133"/>
              <a:gd name="connsiteY4270" fmla="*/ 972591 h 4367670"/>
              <a:gd name="connsiteX4271" fmla="*/ 2538868 w 5365133"/>
              <a:gd name="connsiteY4271" fmla="*/ 982842 h 4367670"/>
              <a:gd name="connsiteX4272" fmla="*/ 2532889 w 5365133"/>
              <a:gd name="connsiteY4272" fmla="*/ 982842 h 4367670"/>
              <a:gd name="connsiteX4273" fmla="*/ 2528537 w 5365133"/>
              <a:gd name="connsiteY4273" fmla="*/ 982842 h 4367670"/>
              <a:gd name="connsiteX4274" fmla="*/ 2528537 w 5365133"/>
              <a:gd name="connsiteY4274" fmla="*/ 982852 h 4367670"/>
              <a:gd name="connsiteX4275" fmla="*/ 2526926 w 5365133"/>
              <a:gd name="connsiteY4275" fmla="*/ 982852 h 4367670"/>
              <a:gd name="connsiteX4276" fmla="*/ 2531395 w 5365133"/>
              <a:gd name="connsiteY4276" fmla="*/ 985824 h 4367670"/>
              <a:gd name="connsiteX4277" fmla="*/ 2526911 w 5365133"/>
              <a:gd name="connsiteY4277" fmla="*/ 988806 h 4367670"/>
              <a:gd name="connsiteX4278" fmla="*/ 2544846 w 5365133"/>
              <a:gd name="connsiteY4278" fmla="*/ 982842 h 4367670"/>
              <a:gd name="connsiteX4279" fmla="*/ 2546247 w 5365133"/>
              <a:gd name="connsiteY4279" fmla="*/ 970448 h 4367670"/>
              <a:gd name="connsiteX4280" fmla="*/ 2555790 w 5365133"/>
              <a:gd name="connsiteY4280" fmla="*/ 960020 h 4367670"/>
              <a:gd name="connsiteX4281" fmla="*/ 2552930 w 5365133"/>
              <a:gd name="connsiteY4281" fmla="*/ 960560 h 4367670"/>
              <a:gd name="connsiteX4282" fmla="*/ 2540734 w 5365133"/>
              <a:gd name="connsiteY4282" fmla="*/ 958255 h 4367670"/>
              <a:gd name="connsiteX4283" fmla="*/ 4676223 w 5365133"/>
              <a:gd name="connsiteY4283" fmla="*/ 957160 h 4367670"/>
              <a:gd name="connsiteX4284" fmla="*/ 4674335 w 5365133"/>
              <a:gd name="connsiteY4284" fmla="*/ 963569 h 4367670"/>
              <a:gd name="connsiteX4285" fmla="*/ 4671390 w 5365133"/>
              <a:gd name="connsiteY4285" fmla="*/ 959724 h 4367670"/>
              <a:gd name="connsiteX4286" fmla="*/ 4636047 w 5365133"/>
              <a:gd name="connsiteY4286" fmla="*/ 978173 h 4367670"/>
              <a:gd name="connsiteX4287" fmla="*/ 4636047 w 5365133"/>
              <a:gd name="connsiteY4287" fmla="*/ 972023 h 4367670"/>
              <a:gd name="connsiteX4288" fmla="*/ 4612484 w 5365133"/>
              <a:gd name="connsiteY4288" fmla="*/ 978173 h 4367670"/>
              <a:gd name="connsiteX4289" fmla="*/ 4683340 w 5365133"/>
              <a:gd name="connsiteY4289" fmla="*/ 954814 h 4367670"/>
              <a:gd name="connsiteX4290" fmla="*/ 4683908 w 5365133"/>
              <a:gd name="connsiteY4290" fmla="*/ 958955 h 4367670"/>
              <a:gd name="connsiteX4291" fmla="*/ 4689061 w 5365133"/>
              <a:gd name="connsiteY4291" fmla="*/ 959724 h 4367670"/>
              <a:gd name="connsiteX4292" fmla="*/ 4683171 w 5365133"/>
              <a:gd name="connsiteY4292" fmla="*/ 963569 h 4367670"/>
              <a:gd name="connsiteX4293" fmla="*/ 4678877 w 5365133"/>
              <a:gd name="connsiteY4293" fmla="*/ 956285 h 4367670"/>
              <a:gd name="connsiteX4294" fmla="*/ 4677281 w 5365133"/>
              <a:gd name="connsiteY4294" fmla="*/ 953575 h 4367670"/>
              <a:gd name="connsiteX4295" fmla="*/ 4678877 w 5365133"/>
              <a:gd name="connsiteY4295" fmla="*/ 956285 h 4367670"/>
              <a:gd name="connsiteX4296" fmla="*/ 4676223 w 5365133"/>
              <a:gd name="connsiteY4296" fmla="*/ 957160 h 4367670"/>
              <a:gd name="connsiteX4297" fmla="*/ 2238404 w 5365133"/>
              <a:gd name="connsiteY4297" fmla="*/ 952979 h 4367670"/>
              <a:gd name="connsiteX4298" fmla="*/ 2244950 w 5365133"/>
              <a:gd name="connsiteY4298" fmla="*/ 953711 h 4367670"/>
              <a:gd name="connsiteX4299" fmla="*/ 2239211 w 5365133"/>
              <a:gd name="connsiteY4299" fmla="*/ 960409 h 4367670"/>
              <a:gd name="connsiteX4300" fmla="*/ 2239211 w 5365133"/>
              <a:gd name="connsiteY4300" fmla="*/ 967104 h 4367670"/>
              <a:gd name="connsiteX4301" fmla="*/ 2238404 w 5365133"/>
              <a:gd name="connsiteY4301" fmla="*/ 952979 h 4367670"/>
              <a:gd name="connsiteX4302" fmla="*/ 4690518 w 5365133"/>
              <a:gd name="connsiteY4302" fmla="*/ 952448 h 4367670"/>
              <a:gd name="connsiteX4303" fmla="*/ 4683340 w 5365133"/>
              <a:gd name="connsiteY4303" fmla="*/ 954814 h 4367670"/>
              <a:gd name="connsiteX4304" fmla="*/ 4683171 w 5365133"/>
              <a:gd name="connsiteY4304" fmla="*/ 953575 h 4367670"/>
              <a:gd name="connsiteX4305" fmla="*/ 2495072 w 5365133"/>
              <a:gd name="connsiteY4305" fmla="*/ 950710 h 4367670"/>
              <a:gd name="connsiteX4306" fmla="*/ 2494256 w 5365133"/>
              <a:gd name="connsiteY4306" fmla="*/ 951438 h 4367670"/>
              <a:gd name="connsiteX4307" fmla="*/ 2494605 w 5365133"/>
              <a:gd name="connsiteY4307" fmla="*/ 951404 h 4367670"/>
              <a:gd name="connsiteX4308" fmla="*/ 1563149 w 5365133"/>
              <a:gd name="connsiteY4308" fmla="*/ 949102 h 4367670"/>
              <a:gd name="connsiteX4309" fmla="*/ 1581085 w 5365133"/>
              <a:gd name="connsiteY4309" fmla="*/ 955101 h 4367670"/>
              <a:gd name="connsiteX4310" fmla="*/ 1557171 w 5365133"/>
              <a:gd name="connsiteY4310" fmla="*/ 967102 h 4367670"/>
              <a:gd name="connsiteX4311" fmla="*/ 1563149 w 5365133"/>
              <a:gd name="connsiteY4311" fmla="*/ 949102 h 4367670"/>
              <a:gd name="connsiteX4312" fmla="*/ 2318413 w 5365133"/>
              <a:gd name="connsiteY4312" fmla="*/ 948153 h 4367670"/>
              <a:gd name="connsiteX4313" fmla="*/ 2316979 w 5365133"/>
              <a:gd name="connsiteY4313" fmla="*/ 949247 h 4367670"/>
              <a:gd name="connsiteX4314" fmla="*/ 2316178 w 5365133"/>
              <a:gd name="connsiteY4314" fmla="*/ 948448 h 4367670"/>
              <a:gd name="connsiteX4315" fmla="*/ 4374116 w 5365133"/>
              <a:gd name="connsiteY4315" fmla="*/ 947057 h 4367670"/>
              <a:gd name="connsiteX4316" fmla="*/ 4374998 w 5365133"/>
              <a:gd name="connsiteY4316" fmla="*/ 947937 h 4367670"/>
              <a:gd name="connsiteX4317" fmla="*/ 4374116 w 5365133"/>
              <a:gd name="connsiteY4317" fmla="*/ 948271 h 4367670"/>
              <a:gd name="connsiteX4318" fmla="*/ 2089986 w 5365133"/>
              <a:gd name="connsiteY4318" fmla="*/ 947014 h 4367670"/>
              <a:gd name="connsiteX4319" fmla="*/ 2070615 w 5365133"/>
              <a:gd name="connsiteY4319" fmla="*/ 958492 h 4367670"/>
              <a:gd name="connsiteX4320" fmla="*/ 2089986 w 5365133"/>
              <a:gd name="connsiteY4320" fmla="*/ 947014 h 4367670"/>
              <a:gd name="connsiteX4321" fmla="*/ 1759966 w 5365133"/>
              <a:gd name="connsiteY4321" fmla="*/ 947014 h 4367670"/>
              <a:gd name="connsiteX4322" fmla="*/ 1748488 w 5365133"/>
              <a:gd name="connsiteY4322" fmla="*/ 958492 h 4367670"/>
              <a:gd name="connsiteX4323" fmla="*/ 1759966 w 5365133"/>
              <a:gd name="connsiteY4323" fmla="*/ 947014 h 4367670"/>
              <a:gd name="connsiteX4324" fmla="*/ 1737547 w 5365133"/>
              <a:gd name="connsiteY4324" fmla="*/ 945578 h 4367670"/>
              <a:gd name="connsiteX4325" fmla="*/ 1742748 w 5365133"/>
              <a:gd name="connsiteY4325" fmla="*/ 947014 h 4367670"/>
              <a:gd name="connsiteX4326" fmla="*/ 1719790 w 5365133"/>
              <a:gd name="connsiteY4326" fmla="*/ 958492 h 4367670"/>
              <a:gd name="connsiteX4327" fmla="*/ 1737547 w 5365133"/>
              <a:gd name="connsiteY4327" fmla="*/ 945578 h 4367670"/>
              <a:gd name="connsiteX4328" fmla="*/ 2304112 w 5365133"/>
              <a:gd name="connsiteY4328" fmla="*/ 942422 h 4367670"/>
              <a:gd name="connsiteX4329" fmla="*/ 2310144 w 5365133"/>
              <a:gd name="connsiteY4329" fmla="*/ 954476 h 4367670"/>
              <a:gd name="connsiteX4330" fmla="*/ 2316979 w 5365133"/>
              <a:gd name="connsiteY4330" fmla="*/ 949247 h 4367670"/>
              <a:gd name="connsiteX4331" fmla="*/ 2322212 w 5365133"/>
              <a:gd name="connsiteY4331" fmla="*/ 954476 h 4367670"/>
              <a:gd name="connsiteX4332" fmla="*/ 2310144 w 5365133"/>
              <a:gd name="connsiteY4332" fmla="*/ 966527 h 4367670"/>
              <a:gd name="connsiteX4333" fmla="*/ 2304112 w 5365133"/>
              <a:gd name="connsiteY4333" fmla="*/ 954476 h 4367670"/>
              <a:gd name="connsiteX4334" fmla="*/ 2292043 w 5365133"/>
              <a:gd name="connsiteY4334" fmla="*/ 960503 h 4367670"/>
              <a:gd name="connsiteX4335" fmla="*/ 2279975 w 5365133"/>
              <a:gd name="connsiteY4335" fmla="*/ 978582 h 4367670"/>
              <a:gd name="connsiteX4336" fmla="*/ 2267909 w 5365133"/>
              <a:gd name="connsiteY4336" fmla="*/ 966527 h 4367670"/>
              <a:gd name="connsiteX4337" fmla="*/ 2279975 w 5365133"/>
              <a:gd name="connsiteY4337" fmla="*/ 960503 h 4367670"/>
              <a:gd name="connsiteX4338" fmla="*/ 2279975 w 5365133"/>
              <a:gd name="connsiteY4338" fmla="*/ 966527 h 4367670"/>
              <a:gd name="connsiteX4339" fmla="*/ 2304112 w 5365133"/>
              <a:gd name="connsiteY4339" fmla="*/ 942422 h 4367670"/>
              <a:gd name="connsiteX4340" fmla="*/ 4724404 w 5365133"/>
              <a:gd name="connsiteY4340" fmla="*/ 941276 h 4367670"/>
              <a:gd name="connsiteX4341" fmla="*/ 4708206 w 5365133"/>
              <a:gd name="connsiteY4341" fmla="*/ 949732 h 4367670"/>
              <a:gd name="connsiteX4342" fmla="*/ 4690518 w 5365133"/>
              <a:gd name="connsiteY4342" fmla="*/ 952448 h 4367670"/>
              <a:gd name="connsiteX4343" fmla="*/ 4882237 w 5365133"/>
              <a:gd name="connsiteY4343" fmla="*/ 941274 h 4367670"/>
              <a:gd name="connsiteX4344" fmla="*/ 4887976 w 5365133"/>
              <a:gd name="connsiteY4344" fmla="*/ 941274 h 4367670"/>
              <a:gd name="connsiteX4345" fmla="*/ 4899455 w 5365133"/>
              <a:gd name="connsiteY4345" fmla="*/ 941274 h 4367670"/>
              <a:gd name="connsiteX4346" fmla="*/ 4882237 w 5365133"/>
              <a:gd name="connsiteY4346" fmla="*/ 952753 h 4367670"/>
              <a:gd name="connsiteX4347" fmla="*/ 4882237 w 5365133"/>
              <a:gd name="connsiteY4347" fmla="*/ 941274 h 4367670"/>
              <a:gd name="connsiteX4348" fmla="*/ 2178948 w 5365133"/>
              <a:gd name="connsiteY4348" fmla="*/ 941274 h 4367670"/>
              <a:gd name="connsiteX4349" fmla="*/ 2178948 w 5365133"/>
              <a:gd name="connsiteY4349" fmla="*/ 947731 h 4367670"/>
              <a:gd name="connsiteX4350" fmla="*/ 2150250 w 5365133"/>
              <a:gd name="connsiteY4350" fmla="*/ 967102 h 4367670"/>
              <a:gd name="connsiteX4351" fmla="*/ 2167469 w 5365133"/>
              <a:gd name="connsiteY4351" fmla="*/ 954188 h 4367670"/>
              <a:gd name="connsiteX4352" fmla="*/ 2178948 w 5365133"/>
              <a:gd name="connsiteY4352" fmla="*/ 941274 h 4367670"/>
              <a:gd name="connsiteX4353" fmla="*/ 1648048 w 5365133"/>
              <a:gd name="connsiteY4353" fmla="*/ 941274 h 4367670"/>
              <a:gd name="connsiteX4354" fmla="*/ 1627959 w 5365133"/>
              <a:gd name="connsiteY4354" fmla="*/ 952753 h 4367670"/>
              <a:gd name="connsiteX4355" fmla="*/ 1648048 w 5365133"/>
              <a:gd name="connsiteY4355" fmla="*/ 941274 h 4367670"/>
              <a:gd name="connsiteX4356" fmla="*/ 4541499 w 5365133"/>
              <a:gd name="connsiteY4356" fmla="*/ 941093 h 4367670"/>
              <a:gd name="connsiteX4357" fmla="*/ 4536050 w 5365133"/>
              <a:gd name="connsiteY4357" fmla="*/ 947208 h 4367670"/>
              <a:gd name="connsiteX4358" fmla="*/ 4536269 w 5365133"/>
              <a:gd name="connsiteY4358" fmla="*/ 944820 h 4367670"/>
              <a:gd name="connsiteX4359" fmla="*/ 4541499 w 5365133"/>
              <a:gd name="connsiteY4359" fmla="*/ 941093 h 4367670"/>
              <a:gd name="connsiteX4360" fmla="*/ 1690374 w 5365133"/>
              <a:gd name="connsiteY4360" fmla="*/ 936969 h 4367670"/>
              <a:gd name="connsiteX4361" fmla="*/ 1693962 w 5365133"/>
              <a:gd name="connsiteY4361" fmla="*/ 941274 h 4367670"/>
              <a:gd name="connsiteX4362" fmla="*/ 1682482 w 5365133"/>
              <a:gd name="connsiteY4362" fmla="*/ 947014 h 4367670"/>
              <a:gd name="connsiteX4363" fmla="*/ 1682482 w 5365133"/>
              <a:gd name="connsiteY4363" fmla="*/ 941274 h 4367670"/>
              <a:gd name="connsiteX4364" fmla="*/ 1690374 w 5365133"/>
              <a:gd name="connsiteY4364" fmla="*/ 936969 h 4367670"/>
              <a:gd name="connsiteX4365" fmla="*/ 4568954 w 5365133"/>
              <a:gd name="connsiteY4365" fmla="*/ 935130 h 4367670"/>
              <a:gd name="connsiteX4366" fmla="*/ 4569544 w 5365133"/>
              <a:gd name="connsiteY4366" fmla="*/ 935323 h 4367670"/>
              <a:gd name="connsiteX4367" fmla="*/ 4569437 w 5365133"/>
              <a:gd name="connsiteY4367" fmla="*/ 935536 h 4367670"/>
              <a:gd name="connsiteX4368" fmla="*/ 4278466 w 5365133"/>
              <a:gd name="connsiteY4368" fmla="*/ 935130 h 4367670"/>
              <a:gd name="connsiteX4369" fmla="*/ 4277979 w 5365133"/>
              <a:gd name="connsiteY4369" fmla="*/ 936010 h 4367670"/>
              <a:gd name="connsiteX4370" fmla="*/ 4279802 w 5365133"/>
              <a:gd name="connsiteY4370" fmla="*/ 937211 h 4367670"/>
              <a:gd name="connsiteX4371" fmla="*/ 4282138 w 5365133"/>
              <a:gd name="connsiteY4371" fmla="*/ 936004 h 4367670"/>
              <a:gd name="connsiteX4372" fmla="*/ 4565491 w 5365133"/>
              <a:gd name="connsiteY4372" fmla="*/ 932218 h 4367670"/>
              <a:gd name="connsiteX4373" fmla="*/ 4568954 w 5365133"/>
              <a:gd name="connsiteY4373" fmla="*/ 935130 h 4367670"/>
              <a:gd name="connsiteX4374" fmla="*/ 4568004 w 5365133"/>
              <a:gd name="connsiteY4374" fmla="*/ 934818 h 4367670"/>
              <a:gd name="connsiteX4375" fmla="*/ 4565491 w 5365133"/>
              <a:gd name="connsiteY4375" fmla="*/ 932218 h 4367670"/>
              <a:gd name="connsiteX4376" fmla="*/ 4296817 w 5365133"/>
              <a:gd name="connsiteY4376" fmla="*/ 930461 h 4367670"/>
              <a:gd name="connsiteX4377" fmla="*/ 4292664 w 5365133"/>
              <a:gd name="connsiteY4377" fmla="*/ 933638 h 4367670"/>
              <a:gd name="connsiteX4378" fmla="*/ 4287433 w 5365133"/>
              <a:gd name="connsiteY4378" fmla="*/ 935603 h 4367670"/>
              <a:gd name="connsiteX4379" fmla="*/ 4286527 w 5365133"/>
              <a:gd name="connsiteY4379" fmla="*/ 939728 h 4367670"/>
              <a:gd name="connsiteX4380" fmla="*/ 4294747 w 5365133"/>
              <a:gd name="connsiteY4380" fmla="*/ 933764 h 4367670"/>
              <a:gd name="connsiteX4381" fmla="*/ 1626991 w 5365133"/>
              <a:gd name="connsiteY4381" fmla="*/ 925672 h 4367670"/>
              <a:gd name="connsiteX4382" fmla="*/ 1622935 w 5365133"/>
              <a:gd name="connsiteY4382" fmla="*/ 931101 h 4367670"/>
              <a:gd name="connsiteX4383" fmla="*/ 1623563 w 5365133"/>
              <a:gd name="connsiteY4383" fmla="*/ 926691 h 4367670"/>
              <a:gd name="connsiteX4384" fmla="*/ 1628915 w 5365133"/>
              <a:gd name="connsiteY4384" fmla="*/ 925101 h 4367670"/>
              <a:gd name="connsiteX4385" fmla="*/ 1626991 w 5365133"/>
              <a:gd name="connsiteY4385" fmla="*/ 925672 h 4367670"/>
              <a:gd name="connsiteX4386" fmla="*/ 1627239 w 5365133"/>
              <a:gd name="connsiteY4386" fmla="*/ 925341 h 4367670"/>
              <a:gd name="connsiteX4387" fmla="*/ 2629491 w 5365133"/>
              <a:gd name="connsiteY4387" fmla="*/ 923548 h 4367670"/>
              <a:gd name="connsiteX4388" fmla="*/ 2624550 w 5365133"/>
              <a:gd name="connsiteY4388" fmla="*/ 926935 h 4367670"/>
              <a:gd name="connsiteX4389" fmla="*/ 2628538 w 5365133"/>
              <a:gd name="connsiteY4389" fmla="*/ 929166 h 4367670"/>
              <a:gd name="connsiteX4390" fmla="*/ 2411147 w 5365133"/>
              <a:gd name="connsiteY4390" fmla="*/ 923483 h 4367670"/>
              <a:gd name="connsiteX4391" fmla="*/ 2413030 w 5365133"/>
              <a:gd name="connsiteY4391" fmla="*/ 928326 h 4367670"/>
              <a:gd name="connsiteX4392" fmla="*/ 2395812 w 5365133"/>
              <a:gd name="connsiteY4392" fmla="*/ 928326 h 4367670"/>
              <a:gd name="connsiteX4393" fmla="*/ 2406573 w 5365133"/>
              <a:gd name="connsiteY4393" fmla="*/ 924022 h 4367670"/>
              <a:gd name="connsiteX4394" fmla="*/ 2411147 w 5365133"/>
              <a:gd name="connsiteY4394" fmla="*/ 923483 h 4367670"/>
              <a:gd name="connsiteX4395" fmla="*/ 4300828 w 5365133"/>
              <a:gd name="connsiteY4395" fmla="*/ 923285 h 4367670"/>
              <a:gd name="connsiteX4396" fmla="*/ 4296780 w 5365133"/>
              <a:gd name="connsiteY4396" fmla="*/ 924901 h 4367670"/>
              <a:gd name="connsiteX4397" fmla="*/ 4297335 w 5365133"/>
              <a:gd name="connsiteY4397" fmla="*/ 927395 h 4367670"/>
              <a:gd name="connsiteX4398" fmla="*/ 4299390 w 5365133"/>
              <a:gd name="connsiteY4398" fmla="*/ 925438 h 4367670"/>
              <a:gd name="connsiteX4399" fmla="*/ 4892998 w 5365133"/>
              <a:gd name="connsiteY4399" fmla="*/ 922620 h 4367670"/>
              <a:gd name="connsiteX4400" fmla="*/ 4899455 w 5365133"/>
              <a:gd name="connsiteY4400" fmla="*/ 929795 h 4367670"/>
              <a:gd name="connsiteX4401" fmla="*/ 4882237 w 5365133"/>
              <a:gd name="connsiteY4401" fmla="*/ 924056 h 4367670"/>
              <a:gd name="connsiteX4402" fmla="*/ 4892998 w 5365133"/>
              <a:gd name="connsiteY4402" fmla="*/ 922620 h 4367670"/>
              <a:gd name="connsiteX4403" fmla="*/ 2450338 w 5365133"/>
              <a:gd name="connsiteY4403" fmla="*/ 922586 h 4367670"/>
              <a:gd name="connsiteX4404" fmla="*/ 2444599 w 5365133"/>
              <a:gd name="connsiteY4404" fmla="*/ 934066 h 4367670"/>
              <a:gd name="connsiteX4405" fmla="*/ 2433119 w 5365133"/>
              <a:gd name="connsiteY4405" fmla="*/ 951284 h 4367670"/>
              <a:gd name="connsiteX4406" fmla="*/ 2427379 w 5365133"/>
              <a:gd name="connsiteY4406" fmla="*/ 934066 h 4367670"/>
              <a:gd name="connsiteX4407" fmla="*/ 2450338 w 5365133"/>
              <a:gd name="connsiteY4407" fmla="*/ 922586 h 4367670"/>
              <a:gd name="connsiteX4408" fmla="*/ 4576791 w 5365133"/>
              <a:gd name="connsiteY4408" fmla="*/ 920918 h 4367670"/>
              <a:gd name="connsiteX4409" fmla="*/ 4575176 w 5365133"/>
              <a:gd name="connsiteY4409" fmla="*/ 929797 h 4367670"/>
              <a:gd name="connsiteX4410" fmla="*/ 4572665 w 5365133"/>
              <a:gd name="connsiteY4410" fmla="*/ 936342 h 4367670"/>
              <a:gd name="connsiteX4411" fmla="*/ 4569544 w 5365133"/>
              <a:gd name="connsiteY4411" fmla="*/ 935323 h 4367670"/>
              <a:gd name="connsiteX4412" fmla="*/ 4575176 w 5365133"/>
              <a:gd name="connsiteY4412" fmla="*/ 924057 h 4367670"/>
              <a:gd name="connsiteX4413" fmla="*/ 4576791 w 5365133"/>
              <a:gd name="connsiteY4413" fmla="*/ 920918 h 4367670"/>
              <a:gd name="connsiteX4414" fmla="*/ 3863368 w 5365133"/>
              <a:gd name="connsiteY4414" fmla="*/ 920595 h 4367670"/>
              <a:gd name="connsiteX4415" fmla="*/ 3860754 w 5365133"/>
              <a:gd name="connsiteY4415" fmla="*/ 923947 h 4367670"/>
              <a:gd name="connsiteX4416" fmla="*/ 3860345 w 5365133"/>
              <a:gd name="connsiteY4416" fmla="*/ 930066 h 4367670"/>
              <a:gd name="connsiteX4417" fmla="*/ 3860008 w 5365133"/>
              <a:gd name="connsiteY4417" fmla="*/ 929166 h 4367670"/>
              <a:gd name="connsiteX4418" fmla="*/ 3860008 w 5365133"/>
              <a:gd name="connsiteY4418" fmla="*/ 935130 h 4367670"/>
              <a:gd name="connsiteX4419" fmla="*/ 3860345 w 5365133"/>
              <a:gd name="connsiteY4419" fmla="*/ 930066 h 4367670"/>
              <a:gd name="connsiteX4420" fmla="*/ 3862250 w 5365133"/>
              <a:gd name="connsiteY4420" fmla="*/ 935130 h 4367670"/>
              <a:gd name="connsiteX4421" fmla="*/ 3860129 w 5365133"/>
              <a:gd name="connsiteY4421" fmla="*/ 936796 h 4367670"/>
              <a:gd name="connsiteX4422" fmla="*/ 3862088 w 5365133"/>
              <a:gd name="connsiteY4422" fmla="*/ 939728 h 4367670"/>
              <a:gd name="connsiteX4423" fmla="*/ 2293737 w 5365133"/>
              <a:gd name="connsiteY4423" fmla="*/ 918316 h 4367670"/>
              <a:gd name="connsiteX4424" fmla="*/ 2293737 w 5365133"/>
              <a:gd name="connsiteY4424" fmla="*/ 935534 h 4367670"/>
              <a:gd name="connsiteX4425" fmla="*/ 2293737 w 5365133"/>
              <a:gd name="connsiteY4425" fmla="*/ 924056 h 4367670"/>
              <a:gd name="connsiteX4426" fmla="*/ 2269896 w 5365133"/>
              <a:gd name="connsiteY4426" fmla="*/ 912577 h 4367670"/>
              <a:gd name="connsiteX4427" fmla="*/ 2275111 w 5365133"/>
              <a:gd name="connsiteY4427" fmla="*/ 917599 h 4367670"/>
              <a:gd name="connsiteX4428" fmla="*/ 2275856 w 5365133"/>
              <a:gd name="connsiteY4428" fmla="*/ 918316 h 4367670"/>
              <a:gd name="connsiteX4429" fmla="*/ 2293737 w 5365133"/>
              <a:gd name="connsiteY4429" fmla="*/ 924056 h 4367670"/>
              <a:gd name="connsiteX4430" fmla="*/ 2263936 w 5365133"/>
              <a:gd name="connsiteY4430" fmla="*/ 941274 h 4367670"/>
              <a:gd name="connsiteX4431" fmla="*/ 2263936 w 5365133"/>
              <a:gd name="connsiteY4431" fmla="*/ 935534 h 4367670"/>
              <a:gd name="connsiteX4432" fmla="*/ 2222213 w 5365133"/>
              <a:gd name="connsiteY4432" fmla="*/ 952753 h 4367670"/>
              <a:gd name="connsiteX4433" fmla="*/ 2234134 w 5365133"/>
              <a:gd name="connsiteY4433" fmla="*/ 924056 h 4367670"/>
              <a:gd name="connsiteX4434" fmla="*/ 2260955 w 5365133"/>
              <a:gd name="connsiteY4434" fmla="*/ 915446 h 4367670"/>
              <a:gd name="connsiteX4435" fmla="*/ 2269900 w 5365133"/>
              <a:gd name="connsiteY4435" fmla="*/ 912576 h 4367670"/>
              <a:gd name="connsiteX4436" fmla="*/ 2269896 w 5365133"/>
              <a:gd name="connsiteY4436" fmla="*/ 912577 h 4367670"/>
              <a:gd name="connsiteX4437" fmla="*/ 2269896 w 5365133"/>
              <a:gd name="connsiteY4437" fmla="*/ 912576 h 4367670"/>
              <a:gd name="connsiteX4438" fmla="*/ 4475741 w 5365133"/>
              <a:gd name="connsiteY4438" fmla="*/ 911680 h 4367670"/>
              <a:gd name="connsiteX4439" fmla="*/ 4475741 w 5365133"/>
              <a:gd name="connsiteY4439" fmla="*/ 917237 h 4367670"/>
              <a:gd name="connsiteX4440" fmla="*/ 4487697 w 5365133"/>
              <a:gd name="connsiteY4440" fmla="*/ 929166 h 4367670"/>
              <a:gd name="connsiteX4441" fmla="*/ 4481719 w 5365133"/>
              <a:gd name="connsiteY4441" fmla="*/ 935130 h 4367670"/>
              <a:gd name="connsiteX4442" fmla="*/ 4469763 w 5365133"/>
              <a:gd name="connsiteY4442" fmla="*/ 923200 h 4367670"/>
              <a:gd name="connsiteX4443" fmla="*/ 4469763 w 5365133"/>
              <a:gd name="connsiteY4443" fmla="*/ 929166 h 4367670"/>
              <a:gd name="connsiteX4444" fmla="*/ 4457808 w 5365133"/>
              <a:gd name="connsiteY4444" fmla="*/ 935130 h 4367670"/>
              <a:gd name="connsiteX4445" fmla="*/ 4463785 w 5365133"/>
              <a:gd name="connsiteY4445" fmla="*/ 929166 h 4367670"/>
              <a:gd name="connsiteX4446" fmla="*/ 4436137 w 5365133"/>
              <a:gd name="connsiteY4446" fmla="*/ 930655 h 4367670"/>
              <a:gd name="connsiteX4447" fmla="*/ 4428839 w 5365133"/>
              <a:gd name="connsiteY4447" fmla="*/ 936021 h 4367670"/>
              <a:gd name="connsiteX4448" fmla="*/ 4436783 w 5365133"/>
              <a:gd name="connsiteY4448" fmla="*/ 937689 h 4367670"/>
              <a:gd name="connsiteX4449" fmla="*/ 4451778 w 5365133"/>
              <a:gd name="connsiteY4449" fmla="*/ 935536 h 4367670"/>
              <a:gd name="connsiteX4450" fmla="*/ 4431358 w 5365133"/>
              <a:gd name="connsiteY4450" fmla="*/ 946836 h 4367670"/>
              <a:gd name="connsiteX4451" fmla="*/ 4427342 w 5365133"/>
              <a:gd name="connsiteY4451" fmla="*/ 946901 h 4367670"/>
              <a:gd name="connsiteX4452" fmla="*/ 4421194 w 5365133"/>
              <a:gd name="connsiteY4452" fmla="*/ 945228 h 4367670"/>
              <a:gd name="connsiteX4453" fmla="*/ 4424506 w 5365133"/>
              <a:gd name="connsiteY4453" fmla="*/ 939208 h 4367670"/>
              <a:gd name="connsiteX4454" fmla="*/ 4421939 w 5365133"/>
              <a:gd name="connsiteY4454" fmla="*/ 941093 h 4367670"/>
              <a:gd name="connsiteX4455" fmla="*/ 4415961 w 5365133"/>
              <a:gd name="connsiteY4455" fmla="*/ 935130 h 4367670"/>
              <a:gd name="connsiteX4456" fmla="*/ 4404005 w 5365133"/>
              <a:gd name="connsiteY4456" fmla="*/ 947057 h 4367670"/>
              <a:gd name="connsiteX4457" fmla="*/ 4411477 w 5365133"/>
              <a:gd name="connsiteY4457" fmla="*/ 942584 h 4367670"/>
              <a:gd name="connsiteX4458" fmla="*/ 4421194 w 5365133"/>
              <a:gd name="connsiteY4458" fmla="*/ 945228 h 4367670"/>
              <a:gd name="connsiteX4459" fmla="*/ 4420210 w 5365133"/>
              <a:gd name="connsiteY4459" fmla="*/ 947015 h 4367670"/>
              <a:gd name="connsiteX4460" fmla="*/ 4427342 w 5365133"/>
              <a:gd name="connsiteY4460" fmla="*/ 946901 h 4367670"/>
              <a:gd name="connsiteX4461" fmla="*/ 4427917 w 5365133"/>
              <a:gd name="connsiteY4461" fmla="*/ 947057 h 4367670"/>
              <a:gd name="connsiteX4462" fmla="*/ 4404005 w 5365133"/>
              <a:gd name="connsiteY4462" fmla="*/ 958986 h 4367670"/>
              <a:gd name="connsiteX4463" fmla="*/ 4386070 w 5365133"/>
              <a:gd name="connsiteY4463" fmla="*/ 947057 h 4367670"/>
              <a:gd name="connsiteX4464" fmla="*/ 4398026 w 5365133"/>
              <a:gd name="connsiteY4464" fmla="*/ 953021 h 4367670"/>
              <a:gd name="connsiteX4465" fmla="*/ 4392048 w 5365133"/>
              <a:gd name="connsiteY4465" fmla="*/ 964949 h 4367670"/>
              <a:gd name="connsiteX4466" fmla="*/ 4380094 w 5365133"/>
              <a:gd name="connsiteY4466" fmla="*/ 953021 h 4367670"/>
              <a:gd name="connsiteX4467" fmla="*/ 4374998 w 5365133"/>
              <a:gd name="connsiteY4467" fmla="*/ 947937 h 4367670"/>
              <a:gd name="connsiteX4468" fmla="*/ 4395038 w 5365133"/>
              <a:gd name="connsiteY4468" fmla="*/ 940349 h 4367670"/>
              <a:gd name="connsiteX4469" fmla="*/ 4475741 w 5365133"/>
              <a:gd name="connsiteY4469" fmla="*/ 911273 h 4367670"/>
              <a:gd name="connsiteX4470" fmla="*/ 4476353 w 5365133"/>
              <a:gd name="connsiteY4470" fmla="*/ 911463 h 4367670"/>
              <a:gd name="connsiteX4471" fmla="*/ 4475741 w 5365133"/>
              <a:gd name="connsiteY4471" fmla="*/ 911680 h 4367670"/>
              <a:gd name="connsiteX4472" fmla="*/ 4096467 w 5365133"/>
              <a:gd name="connsiteY4472" fmla="*/ 910617 h 4367670"/>
              <a:gd name="connsiteX4473" fmla="*/ 4092055 w 5365133"/>
              <a:gd name="connsiteY4473" fmla="*/ 912423 h 4367670"/>
              <a:gd name="connsiteX4474" fmla="*/ 4074864 w 5365133"/>
              <a:gd name="connsiteY4474" fmla="*/ 920640 h 4367670"/>
              <a:gd name="connsiteX4475" fmla="*/ 4093150 w 5365133"/>
              <a:gd name="connsiteY4475" fmla="*/ 917237 h 4367670"/>
              <a:gd name="connsiteX4476" fmla="*/ 4096138 w 5365133"/>
              <a:gd name="connsiteY4476" fmla="*/ 911273 h 4367670"/>
              <a:gd name="connsiteX4477" fmla="*/ 2533792 w 5365133"/>
              <a:gd name="connsiteY4477" fmla="*/ 910263 h 4367670"/>
              <a:gd name="connsiteX4478" fmla="*/ 2527507 w 5365133"/>
              <a:gd name="connsiteY4478" fmla="*/ 915849 h 4367670"/>
              <a:gd name="connsiteX4479" fmla="*/ 2526911 w 5365133"/>
              <a:gd name="connsiteY4479" fmla="*/ 917237 h 4367670"/>
              <a:gd name="connsiteX4480" fmla="*/ 2534384 w 5365133"/>
              <a:gd name="connsiteY4480" fmla="*/ 913510 h 4367670"/>
              <a:gd name="connsiteX4481" fmla="*/ 2555938 w 5365133"/>
              <a:gd name="connsiteY4481" fmla="*/ 907823 h 4367670"/>
              <a:gd name="connsiteX4482" fmla="*/ 2553533 w 5365133"/>
              <a:gd name="connsiteY4482" fmla="*/ 909266 h 4367670"/>
              <a:gd name="connsiteX4483" fmla="*/ 2556802 w 5365133"/>
              <a:gd name="connsiteY4483" fmla="*/ 911273 h 4367670"/>
              <a:gd name="connsiteX4484" fmla="*/ 2287777 w 5365133"/>
              <a:gd name="connsiteY4484" fmla="*/ 906837 h 4367670"/>
              <a:gd name="connsiteX4485" fmla="*/ 2283306 w 5365133"/>
              <a:gd name="connsiteY4485" fmla="*/ 909707 h 4367670"/>
              <a:gd name="connsiteX4486" fmla="*/ 2269900 w 5365133"/>
              <a:gd name="connsiteY4486" fmla="*/ 912576 h 4367670"/>
              <a:gd name="connsiteX4487" fmla="*/ 1748488 w 5365133"/>
              <a:gd name="connsiteY4487" fmla="*/ 906837 h 4367670"/>
              <a:gd name="connsiteX4488" fmla="*/ 1719790 w 5365133"/>
              <a:gd name="connsiteY4488" fmla="*/ 924056 h 4367670"/>
              <a:gd name="connsiteX4489" fmla="*/ 1748488 w 5365133"/>
              <a:gd name="connsiteY4489" fmla="*/ 906837 h 4367670"/>
              <a:gd name="connsiteX4490" fmla="*/ 2450338 w 5365133"/>
              <a:gd name="connsiteY4490" fmla="*/ 905368 h 4367670"/>
              <a:gd name="connsiteX4491" fmla="*/ 2438859 w 5365133"/>
              <a:gd name="connsiteY4491" fmla="*/ 916847 h 4367670"/>
              <a:gd name="connsiteX4492" fmla="*/ 2450338 w 5365133"/>
              <a:gd name="connsiteY4492" fmla="*/ 905368 h 4367670"/>
              <a:gd name="connsiteX4493" fmla="*/ 4111083 w 5365133"/>
              <a:gd name="connsiteY4493" fmla="*/ 904631 h 4367670"/>
              <a:gd name="connsiteX4494" fmla="*/ 4107905 w 5365133"/>
              <a:gd name="connsiteY4494" fmla="*/ 905933 h 4367670"/>
              <a:gd name="connsiteX4495" fmla="*/ 4111083 w 5365133"/>
              <a:gd name="connsiteY4495" fmla="*/ 911273 h 4367670"/>
              <a:gd name="connsiteX4496" fmla="*/ 4111083 w 5365133"/>
              <a:gd name="connsiteY4496" fmla="*/ 905309 h 4367670"/>
              <a:gd name="connsiteX4497" fmla="*/ 3838176 w 5365133"/>
              <a:gd name="connsiteY4497" fmla="*/ 903944 h 4367670"/>
              <a:gd name="connsiteX4498" fmla="*/ 3839953 w 5365133"/>
              <a:gd name="connsiteY4498" fmla="*/ 904750 h 4367670"/>
              <a:gd name="connsiteX4499" fmla="*/ 3838176 w 5365133"/>
              <a:gd name="connsiteY4499" fmla="*/ 905932 h 4367670"/>
              <a:gd name="connsiteX4500" fmla="*/ 4700149 w 5365133"/>
              <a:gd name="connsiteY4500" fmla="*/ 903880 h 4367670"/>
              <a:gd name="connsiteX4501" fmla="*/ 4703328 w 5365133"/>
              <a:gd name="connsiteY4501" fmla="*/ 904466 h 4367670"/>
              <a:gd name="connsiteX4502" fmla="*/ 4696391 w 5365133"/>
              <a:gd name="connsiteY4502" fmla="*/ 911501 h 4367670"/>
              <a:gd name="connsiteX4503" fmla="*/ 4700149 w 5365133"/>
              <a:gd name="connsiteY4503" fmla="*/ 903880 h 4367670"/>
              <a:gd name="connsiteX4504" fmla="*/ 4704407 w 5365133"/>
              <a:gd name="connsiteY4504" fmla="*/ 903370 h 4367670"/>
              <a:gd name="connsiteX4505" fmla="*/ 4708415 w 5365133"/>
              <a:gd name="connsiteY4505" fmla="*/ 905403 h 4367670"/>
              <a:gd name="connsiteX4506" fmla="*/ 4703328 w 5365133"/>
              <a:gd name="connsiteY4506" fmla="*/ 904466 h 4367670"/>
              <a:gd name="connsiteX4507" fmla="*/ 4761710 w 5365133"/>
              <a:gd name="connsiteY4507" fmla="*/ 901100 h 4367670"/>
              <a:gd name="connsiteX4508" fmla="*/ 4695705 w 5365133"/>
              <a:gd name="connsiteY4508" fmla="*/ 929797 h 4367670"/>
              <a:gd name="connsiteX4509" fmla="*/ 4695705 w 5365133"/>
              <a:gd name="connsiteY4509" fmla="*/ 924057 h 4367670"/>
              <a:gd name="connsiteX4510" fmla="*/ 4761710 w 5365133"/>
              <a:gd name="connsiteY4510" fmla="*/ 901100 h 4367670"/>
              <a:gd name="connsiteX4511" fmla="*/ 1737008 w 5365133"/>
              <a:gd name="connsiteY4511" fmla="*/ 901098 h 4367670"/>
              <a:gd name="connsiteX4512" fmla="*/ 1699701 w 5365133"/>
              <a:gd name="connsiteY4512" fmla="*/ 918316 h 4367670"/>
              <a:gd name="connsiteX4513" fmla="*/ 1737008 w 5365133"/>
              <a:gd name="connsiteY4513" fmla="*/ 901098 h 4367670"/>
              <a:gd name="connsiteX4514" fmla="*/ 2550498 w 5365133"/>
              <a:gd name="connsiteY4514" fmla="*/ 899867 h 4367670"/>
              <a:gd name="connsiteX4515" fmla="*/ 2547088 w 5365133"/>
              <a:gd name="connsiteY4515" fmla="*/ 905309 h 4367670"/>
              <a:gd name="connsiteX4516" fmla="*/ 2548475 w 5365133"/>
              <a:gd name="connsiteY4516" fmla="*/ 906161 h 4367670"/>
              <a:gd name="connsiteX4517" fmla="*/ 2549981 w 5365133"/>
              <a:gd name="connsiteY4517" fmla="*/ 901474 h 4367670"/>
              <a:gd name="connsiteX4518" fmla="*/ 2492667 w 5365133"/>
              <a:gd name="connsiteY4518" fmla="*/ 899629 h 4367670"/>
              <a:gd name="connsiteX4519" fmla="*/ 2495089 w 5365133"/>
              <a:gd name="connsiteY4519" fmla="*/ 911108 h 4367670"/>
              <a:gd name="connsiteX4520" fmla="*/ 2493338 w 5365133"/>
              <a:gd name="connsiteY4520" fmla="*/ 919407 h 4367670"/>
              <a:gd name="connsiteX4521" fmla="*/ 2495657 w 5365133"/>
              <a:gd name="connsiteY4521" fmla="*/ 922586 h 4367670"/>
              <a:gd name="connsiteX4522" fmla="*/ 2484774 w 5365133"/>
              <a:gd name="connsiteY4522" fmla="*/ 928326 h 4367670"/>
              <a:gd name="connsiteX4523" fmla="*/ 2490635 w 5365133"/>
              <a:gd name="connsiteY4523" fmla="*/ 922586 h 4367670"/>
              <a:gd name="connsiteX4524" fmla="*/ 2490890 w 5365133"/>
              <a:gd name="connsiteY4524" fmla="*/ 920831 h 4367670"/>
              <a:gd name="connsiteX4525" fmla="*/ 2485404 w 5365133"/>
              <a:gd name="connsiteY4525" fmla="*/ 915412 h 4367670"/>
              <a:gd name="connsiteX4526" fmla="*/ 2473295 w 5365133"/>
              <a:gd name="connsiteY4526" fmla="*/ 916847 h 4367670"/>
              <a:gd name="connsiteX4527" fmla="*/ 2492667 w 5365133"/>
              <a:gd name="connsiteY4527" fmla="*/ 899629 h 4367670"/>
              <a:gd name="connsiteX4528" fmla="*/ 3883918 w 5365133"/>
              <a:gd name="connsiteY4528" fmla="*/ 899346 h 4367670"/>
              <a:gd name="connsiteX4529" fmla="*/ 3877754 w 5365133"/>
              <a:gd name="connsiteY4529" fmla="*/ 905496 h 4367670"/>
              <a:gd name="connsiteX4530" fmla="*/ 3876679 w 5365133"/>
              <a:gd name="connsiteY4530" fmla="*/ 908283 h 4367670"/>
              <a:gd name="connsiteX4531" fmla="*/ 3883918 w 5365133"/>
              <a:gd name="connsiteY4531" fmla="*/ 904913 h 4367670"/>
              <a:gd name="connsiteX4532" fmla="*/ 2603736 w 5365133"/>
              <a:gd name="connsiteY4532" fmla="*/ 899238 h 4367670"/>
              <a:gd name="connsiteX4533" fmla="*/ 2603839 w 5365133"/>
              <a:gd name="connsiteY4533" fmla="*/ 899417 h 4367670"/>
              <a:gd name="connsiteX4534" fmla="*/ 2604625 w 5365133"/>
              <a:gd name="connsiteY4534" fmla="*/ 899346 h 4367670"/>
              <a:gd name="connsiteX4535" fmla="*/ 3850133 w 5365133"/>
              <a:gd name="connsiteY4535" fmla="*/ 897980 h 4367670"/>
              <a:gd name="connsiteX4536" fmla="*/ 3846396 w 5365133"/>
              <a:gd name="connsiteY4536" fmla="*/ 907671 h 4367670"/>
              <a:gd name="connsiteX4537" fmla="*/ 3839953 w 5365133"/>
              <a:gd name="connsiteY4537" fmla="*/ 904750 h 4367670"/>
              <a:gd name="connsiteX4538" fmla="*/ 3916286 w 5365133"/>
              <a:gd name="connsiteY4538" fmla="*/ 897920 h 4367670"/>
              <a:gd name="connsiteX4539" fmla="*/ 3907083 w 5365133"/>
              <a:gd name="connsiteY4539" fmla="*/ 902328 h 4367670"/>
              <a:gd name="connsiteX4540" fmla="*/ 3888230 w 5365133"/>
              <a:gd name="connsiteY4540" fmla="*/ 909608 h 4367670"/>
              <a:gd name="connsiteX4541" fmla="*/ 3886282 w 5365133"/>
              <a:gd name="connsiteY4541" fmla="*/ 913075 h 4367670"/>
              <a:gd name="connsiteX4542" fmla="*/ 3880023 w 5365133"/>
              <a:gd name="connsiteY4542" fmla="*/ 915871 h 4367670"/>
              <a:gd name="connsiteX4543" fmla="*/ 3897957 w 5365133"/>
              <a:gd name="connsiteY4543" fmla="*/ 921835 h 4367670"/>
              <a:gd name="connsiteX4544" fmla="*/ 3915891 w 5365133"/>
              <a:gd name="connsiteY4544" fmla="*/ 921835 h 4367670"/>
              <a:gd name="connsiteX4545" fmla="*/ 3917666 w 5365133"/>
              <a:gd name="connsiteY4545" fmla="*/ 919132 h 4367670"/>
              <a:gd name="connsiteX4546" fmla="*/ 3917500 w 5365133"/>
              <a:gd name="connsiteY4546" fmla="*/ 918244 h 4367670"/>
              <a:gd name="connsiteX4547" fmla="*/ 3912984 w 5365133"/>
              <a:gd name="connsiteY4547" fmla="*/ 917599 h 4367670"/>
              <a:gd name="connsiteX4548" fmla="*/ 3912267 w 5365133"/>
              <a:gd name="connsiteY4548" fmla="*/ 912576 h 4367670"/>
              <a:gd name="connsiteX4549" fmla="*/ 3906527 w 5365133"/>
              <a:gd name="connsiteY4549" fmla="*/ 912576 h 4367670"/>
              <a:gd name="connsiteX4550" fmla="*/ 3918005 w 5365133"/>
              <a:gd name="connsiteY4550" fmla="*/ 906837 h 4367670"/>
              <a:gd name="connsiteX4551" fmla="*/ 3918480 w 5365133"/>
              <a:gd name="connsiteY4551" fmla="*/ 906769 h 4367670"/>
              <a:gd name="connsiteX4552" fmla="*/ 3913902 w 5365133"/>
              <a:gd name="connsiteY4552" fmla="*/ 905368 h 4367670"/>
              <a:gd name="connsiteX4553" fmla="*/ 3916591 w 5365133"/>
              <a:gd name="connsiteY4553" fmla="*/ 902487 h 4367670"/>
              <a:gd name="connsiteX4554" fmla="*/ 4129016 w 5365133"/>
              <a:gd name="connsiteY4554" fmla="*/ 897287 h 4367670"/>
              <a:gd name="connsiteX4555" fmla="*/ 4125221 w 5365133"/>
              <a:gd name="connsiteY4555" fmla="*/ 898841 h 4367670"/>
              <a:gd name="connsiteX4556" fmla="*/ 4129016 w 5365133"/>
              <a:gd name="connsiteY4556" fmla="*/ 905309 h 4367670"/>
              <a:gd name="connsiteX4557" fmla="*/ 2443643 w 5365133"/>
              <a:gd name="connsiteY4557" fmla="*/ 892704 h 4367670"/>
              <a:gd name="connsiteX4558" fmla="*/ 2444484 w 5365133"/>
              <a:gd name="connsiteY4558" fmla="*/ 892817 h 4367670"/>
              <a:gd name="connsiteX4559" fmla="*/ 2442890 w 5365133"/>
              <a:gd name="connsiteY4559" fmla="*/ 894210 h 4367670"/>
              <a:gd name="connsiteX4560" fmla="*/ 2442555 w 5365133"/>
              <a:gd name="connsiteY4560" fmla="*/ 893912 h 4367670"/>
              <a:gd name="connsiteX4561" fmla="*/ 4145298 w 5365133"/>
              <a:gd name="connsiteY4561" fmla="*/ 890532 h 4367670"/>
              <a:gd name="connsiteX4562" fmla="*/ 4140066 w 5365133"/>
              <a:gd name="connsiteY4562" fmla="*/ 892761 h 4367670"/>
              <a:gd name="connsiteX4563" fmla="*/ 4138939 w 5365133"/>
              <a:gd name="connsiteY4563" fmla="*/ 893223 h 4367670"/>
              <a:gd name="connsiteX4564" fmla="*/ 4140692 w 5365133"/>
              <a:gd name="connsiteY4564" fmla="*/ 893195 h 4367670"/>
              <a:gd name="connsiteX4565" fmla="*/ 1857198 w 5365133"/>
              <a:gd name="connsiteY4565" fmla="*/ 890336 h 4367670"/>
              <a:gd name="connsiteX4566" fmla="*/ 1869016 w 5365133"/>
              <a:gd name="connsiteY4566" fmla="*/ 893445 h 4367670"/>
              <a:gd name="connsiteX4567" fmla="*/ 1850567 w 5365133"/>
              <a:gd name="connsiteY4567" fmla="*/ 905882 h 4367670"/>
              <a:gd name="connsiteX4568" fmla="*/ 1832119 w 5365133"/>
              <a:gd name="connsiteY4568" fmla="*/ 918318 h 4367670"/>
              <a:gd name="connsiteX4569" fmla="*/ 1857198 w 5365133"/>
              <a:gd name="connsiteY4569" fmla="*/ 890336 h 4367670"/>
              <a:gd name="connsiteX4570" fmla="*/ 2316695 w 5365133"/>
              <a:gd name="connsiteY4570" fmla="*/ 889620 h 4367670"/>
              <a:gd name="connsiteX4571" fmla="*/ 2328174 w 5365133"/>
              <a:gd name="connsiteY4571" fmla="*/ 918318 h 4367670"/>
              <a:gd name="connsiteX4572" fmla="*/ 2310956 w 5365133"/>
              <a:gd name="connsiteY4572" fmla="*/ 924057 h 4367670"/>
              <a:gd name="connsiteX4573" fmla="*/ 2293737 w 5365133"/>
              <a:gd name="connsiteY4573" fmla="*/ 912578 h 4367670"/>
              <a:gd name="connsiteX4574" fmla="*/ 2316695 w 5365133"/>
              <a:gd name="connsiteY4574" fmla="*/ 901100 h 4367670"/>
              <a:gd name="connsiteX4575" fmla="*/ 2293737 w 5365133"/>
              <a:gd name="connsiteY4575" fmla="*/ 906839 h 4367670"/>
              <a:gd name="connsiteX4576" fmla="*/ 2293737 w 5365133"/>
              <a:gd name="connsiteY4576" fmla="*/ 901100 h 4367670"/>
              <a:gd name="connsiteX4577" fmla="*/ 2287998 w 5365133"/>
              <a:gd name="connsiteY4577" fmla="*/ 901100 h 4367670"/>
              <a:gd name="connsiteX4578" fmla="*/ 2316695 w 5365133"/>
              <a:gd name="connsiteY4578" fmla="*/ 889620 h 4367670"/>
              <a:gd name="connsiteX4579" fmla="*/ 2430821 w 5365133"/>
              <a:gd name="connsiteY4579" fmla="*/ 888185 h 4367670"/>
              <a:gd name="connsiteX4580" fmla="*/ 2431252 w 5365133"/>
              <a:gd name="connsiteY4580" fmla="*/ 889045 h 4367670"/>
              <a:gd name="connsiteX4581" fmla="*/ 2429312 w 5365133"/>
              <a:gd name="connsiteY4581" fmla="*/ 889691 h 4367670"/>
              <a:gd name="connsiteX4582" fmla="*/ 2499124 w 5365133"/>
              <a:gd name="connsiteY4582" fmla="*/ 888150 h 4367670"/>
              <a:gd name="connsiteX4583" fmla="*/ 2479035 w 5365133"/>
              <a:gd name="connsiteY4583" fmla="*/ 899629 h 4367670"/>
              <a:gd name="connsiteX4584" fmla="*/ 2499124 w 5365133"/>
              <a:gd name="connsiteY4584" fmla="*/ 888150 h 4367670"/>
              <a:gd name="connsiteX4585" fmla="*/ 3929661 w 5365133"/>
              <a:gd name="connsiteY4585" fmla="*/ 887841 h 4367670"/>
              <a:gd name="connsiteX4586" fmla="*/ 3927754 w 5365133"/>
              <a:gd name="connsiteY4586" fmla="*/ 888660 h 4367670"/>
              <a:gd name="connsiteX4587" fmla="*/ 3925606 w 5365133"/>
              <a:gd name="connsiteY4587" fmla="*/ 889033 h 4367670"/>
              <a:gd name="connsiteX4588" fmla="*/ 3924471 w 5365133"/>
              <a:gd name="connsiteY4588" fmla="*/ 889938 h 4367670"/>
              <a:gd name="connsiteX4589" fmla="*/ 3925477 w 5365133"/>
              <a:gd name="connsiteY4589" fmla="*/ 892614 h 4367670"/>
              <a:gd name="connsiteX4590" fmla="*/ 3930836 w 5365133"/>
              <a:gd name="connsiteY4590" fmla="*/ 893506 h 4367670"/>
              <a:gd name="connsiteX4591" fmla="*/ 3931564 w 5365133"/>
              <a:gd name="connsiteY4591" fmla="*/ 892902 h 4367670"/>
              <a:gd name="connsiteX4592" fmla="*/ 2435535 w 5365133"/>
              <a:gd name="connsiteY4592" fmla="*/ 887619 h 4367670"/>
              <a:gd name="connsiteX4593" fmla="*/ 2442555 w 5365133"/>
              <a:gd name="connsiteY4593" fmla="*/ 893912 h 4367670"/>
              <a:gd name="connsiteX4594" fmla="*/ 2436855 w 5365133"/>
              <a:gd name="connsiteY4594" fmla="*/ 900237 h 4367670"/>
              <a:gd name="connsiteX4595" fmla="*/ 2431252 w 5365133"/>
              <a:gd name="connsiteY4595" fmla="*/ 889045 h 4367670"/>
              <a:gd name="connsiteX4596" fmla="*/ 3955301 w 5365133"/>
              <a:gd name="connsiteY4596" fmla="*/ 883648 h 4367670"/>
              <a:gd name="connsiteX4597" fmla="*/ 3953161 w 5365133"/>
              <a:gd name="connsiteY4597" fmla="*/ 885764 h 4367670"/>
              <a:gd name="connsiteX4598" fmla="*/ 3951278 w 5365133"/>
              <a:gd name="connsiteY4598" fmla="*/ 889900 h 4367670"/>
              <a:gd name="connsiteX4599" fmla="*/ 3951955 w 5365133"/>
              <a:gd name="connsiteY4599" fmla="*/ 890695 h 4367670"/>
              <a:gd name="connsiteX4600" fmla="*/ 3954001 w 5365133"/>
              <a:gd name="connsiteY4600" fmla="*/ 886797 h 4367670"/>
              <a:gd name="connsiteX4601" fmla="*/ 3955328 w 5365133"/>
              <a:gd name="connsiteY4601" fmla="*/ 881748 h 4367670"/>
              <a:gd name="connsiteX4602" fmla="*/ 3955810 w 5365133"/>
              <a:gd name="connsiteY4602" fmla="*/ 882412 h 4367670"/>
              <a:gd name="connsiteX4603" fmla="*/ 3955963 w 5365133"/>
              <a:gd name="connsiteY4603" fmla="*/ 882045 h 4367670"/>
              <a:gd name="connsiteX4604" fmla="*/ 4583345 w 5365133"/>
              <a:gd name="connsiteY4604" fmla="*/ 881453 h 4367670"/>
              <a:gd name="connsiteX4605" fmla="*/ 4589323 w 5365133"/>
              <a:gd name="connsiteY4605" fmla="*/ 881453 h 4367670"/>
              <a:gd name="connsiteX4606" fmla="*/ 4583345 w 5365133"/>
              <a:gd name="connsiteY4606" fmla="*/ 887417 h 4367670"/>
              <a:gd name="connsiteX4607" fmla="*/ 4583345 w 5365133"/>
              <a:gd name="connsiteY4607" fmla="*/ 883689 h 4367670"/>
              <a:gd name="connsiteX4608" fmla="*/ 1917154 w 5365133"/>
              <a:gd name="connsiteY4608" fmla="*/ 881453 h 4367670"/>
              <a:gd name="connsiteX4609" fmla="*/ 1913355 w 5365133"/>
              <a:gd name="connsiteY4609" fmla="*/ 886564 h 4367670"/>
              <a:gd name="connsiteX4610" fmla="*/ 1911176 w 5365133"/>
              <a:gd name="connsiteY4610" fmla="*/ 887417 h 4367670"/>
              <a:gd name="connsiteX4611" fmla="*/ 1917154 w 5365133"/>
              <a:gd name="connsiteY4611" fmla="*/ 881453 h 4367670"/>
              <a:gd name="connsiteX4612" fmla="*/ 4738479 w 5365133"/>
              <a:gd name="connsiteY4612" fmla="*/ 881010 h 4367670"/>
              <a:gd name="connsiteX4613" fmla="*/ 4744492 w 5365133"/>
              <a:gd name="connsiteY4613" fmla="*/ 887108 h 4367670"/>
              <a:gd name="connsiteX4614" fmla="*/ 4720440 w 5365133"/>
              <a:gd name="connsiteY4614" fmla="*/ 893207 h 4367670"/>
              <a:gd name="connsiteX4615" fmla="*/ 4714427 w 5365133"/>
              <a:gd name="connsiteY4615" fmla="*/ 893207 h 4367670"/>
              <a:gd name="connsiteX4616" fmla="*/ 4704407 w 5365133"/>
              <a:gd name="connsiteY4616" fmla="*/ 903370 h 4367670"/>
              <a:gd name="connsiteX4617" fmla="*/ 4696391 w 5365133"/>
              <a:gd name="connsiteY4617" fmla="*/ 899305 h 4367670"/>
              <a:gd name="connsiteX4618" fmla="*/ 4624235 w 5365133"/>
              <a:gd name="connsiteY4618" fmla="*/ 929797 h 4367670"/>
              <a:gd name="connsiteX4619" fmla="*/ 4618223 w 5365133"/>
              <a:gd name="connsiteY4619" fmla="*/ 923697 h 4367670"/>
              <a:gd name="connsiteX4620" fmla="*/ 4738479 w 5365133"/>
              <a:gd name="connsiteY4620" fmla="*/ 881010 h 4367670"/>
              <a:gd name="connsiteX4621" fmla="*/ 2244950 w 5365133"/>
              <a:gd name="connsiteY4621" fmla="*/ 881010 h 4367670"/>
              <a:gd name="connsiteX4622" fmla="*/ 2101464 w 5365133"/>
              <a:gd name="connsiteY4622" fmla="*/ 947015 h 4367670"/>
              <a:gd name="connsiteX4623" fmla="*/ 2244950 w 5365133"/>
              <a:gd name="connsiteY4623" fmla="*/ 881010 h 4367670"/>
              <a:gd name="connsiteX4624" fmla="*/ 1714051 w 5365133"/>
              <a:gd name="connsiteY4624" fmla="*/ 881010 h 4367670"/>
              <a:gd name="connsiteX4625" fmla="*/ 1693962 w 5365133"/>
              <a:gd name="connsiteY4625" fmla="*/ 893925 h 4367670"/>
              <a:gd name="connsiteX4626" fmla="*/ 1714051 w 5365133"/>
              <a:gd name="connsiteY4626" fmla="*/ 881010 h 4367670"/>
              <a:gd name="connsiteX4627" fmla="*/ 4071320 w 5365133"/>
              <a:gd name="connsiteY4627" fmla="*/ 880088 h 4367670"/>
              <a:gd name="connsiteX4628" fmla="*/ 4069870 w 5365133"/>
              <a:gd name="connsiteY4628" fmla="*/ 885874 h 4367670"/>
              <a:gd name="connsiteX4629" fmla="*/ 4078524 w 5365133"/>
              <a:gd name="connsiteY4629" fmla="*/ 881114 h 4367670"/>
              <a:gd name="connsiteX4630" fmla="*/ 4178110 w 5365133"/>
              <a:gd name="connsiteY4630" fmla="*/ 876553 h 4367670"/>
              <a:gd name="connsiteX4631" fmla="*/ 4166301 w 5365133"/>
              <a:gd name="connsiteY4631" fmla="*/ 881584 h 4367670"/>
              <a:gd name="connsiteX4632" fmla="*/ 4176841 w 5365133"/>
              <a:gd name="connsiteY4632" fmla="*/ 881453 h 4367670"/>
              <a:gd name="connsiteX4633" fmla="*/ 4178428 w 5365133"/>
              <a:gd name="connsiteY4633" fmla="*/ 877074 h 4367670"/>
              <a:gd name="connsiteX4634" fmla="*/ 4581827 w 5365133"/>
              <a:gd name="connsiteY4634" fmla="*/ 876341 h 4367670"/>
              <a:gd name="connsiteX4635" fmla="*/ 4559433 w 5365133"/>
              <a:gd name="connsiteY4635" fmla="*/ 888908 h 4367670"/>
              <a:gd name="connsiteX4636" fmla="*/ 4535521 w 5365133"/>
              <a:gd name="connsiteY4636" fmla="*/ 893381 h 4367670"/>
              <a:gd name="connsiteX4637" fmla="*/ 4553454 w 5365133"/>
              <a:gd name="connsiteY4637" fmla="*/ 893381 h 4367670"/>
              <a:gd name="connsiteX4638" fmla="*/ 4547477 w 5365133"/>
              <a:gd name="connsiteY4638" fmla="*/ 905309 h 4367670"/>
              <a:gd name="connsiteX4639" fmla="*/ 4535521 w 5365133"/>
              <a:gd name="connsiteY4639" fmla="*/ 899346 h 4367670"/>
              <a:gd name="connsiteX4640" fmla="*/ 4499654 w 5365133"/>
              <a:gd name="connsiteY4640" fmla="*/ 905309 h 4367670"/>
              <a:gd name="connsiteX4641" fmla="*/ 4487697 w 5365133"/>
              <a:gd name="connsiteY4641" fmla="*/ 915001 h 4367670"/>
              <a:gd name="connsiteX4642" fmla="*/ 4476353 w 5365133"/>
              <a:gd name="connsiteY4642" fmla="*/ 911463 h 4367670"/>
              <a:gd name="connsiteX4643" fmla="*/ 4493676 w 5365133"/>
              <a:gd name="connsiteY4643" fmla="*/ 905309 h 4367670"/>
              <a:gd name="connsiteX4644" fmla="*/ 4557191 w 5365133"/>
              <a:gd name="connsiteY4644" fmla="*/ 882945 h 4367670"/>
              <a:gd name="connsiteX4645" fmla="*/ 3962202 w 5365133"/>
              <a:gd name="connsiteY4645" fmla="*/ 876294 h 4367670"/>
              <a:gd name="connsiteX4646" fmla="*/ 3956896 w 5365133"/>
              <a:gd name="connsiteY4646" fmla="*/ 883908 h 4367670"/>
              <a:gd name="connsiteX4647" fmla="*/ 3958484 w 5365133"/>
              <a:gd name="connsiteY4647" fmla="*/ 894253 h 4367670"/>
              <a:gd name="connsiteX4648" fmla="*/ 3958338 w 5365133"/>
              <a:gd name="connsiteY4648" fmla="*/ 897320 h 4367670"/>
              <a:gd name="connsiteX4649" fmla="*/ 3957738 w 5365133"/>
              <a:gd name="connsiteY4649" fmla="*/ 897980 h 4367670"/>
              <a:gd name="connsiteX4650" fmla="*/ 3958293 w 5365133"/>
              <a:gd name="connsiteY4650" fmla="*/ 898256 h 4367670"/>
              <a:gd name="connsiteX4651" fmla="*/ 3957738 w 5365133"/>
              <a:gd name="connsiteY4651" fmla="*/ 909907 h 4367670"/>
              <a:gd name="connsiteX4652" fmla="*/ 3969693 w 5365133"/>
              <a:gd name="connsiteY4652" fmla="*/ 903944 h 4367670"/>
              <a:gd name="connsiteX4653" fmla="*/ 3968482 w 5365133"/>
              <a:gd name="connsiteY4653" fmla="*/ 903339 h 4367670"/>
              <a:gd name="connsiteX4654" fmla="*/ 3966792 w 5365133"/>
              <a:gd name="connsiteY4654" fmla="*/ 906479 h 4367670"/>
              <a:gd name="connsiteX4655" fmla="*/ 3963923 w 5365133"/>
              <a:gd name="connsiteY4655" fmla="*/ 902668 h 4367670"/>
              <a:gd name="connsiteX4656" fmla="*/ 3963817 w 5365133"/>
              <a:gd name="connsiteY4656" fmla="*/ 901012 h 4367670"/>
              <a:gd name="connsiteX4657" fmla="*/ 3958293 w 5365133"/>
              <a:gd name="connsiteY4657" fmla="*/ 898256 h 4367670"/>
              <a:gd name="connsiteX4658" fmla="*/ 3958338 w 5365133"/>
              <a:gd name="connsiteY4658" fmla="*/ 897320 h 4367670"/>
              <a:gd name="connsiteX4659" fmla="*/ 3961080 w 5365133"/>
              <a:gd name="connsiteY4659" fmla="*/ 894311 h 4367670"/>
              <a:gd name="connsiteX4660" fmla="*/ 3961053 w 5365133"/>
              <a:gd name="connsiteY4660" fmla="*/ 894282 h 4367670"/>
              <a:gd name="connsiteX4661" fmla="*/ 3963923 w 5365133"/>
              <a:gd name="connsiteY4661" fmla="*/ 888185 h 4367670"/>
              <a:gd name="connsiteX4662" fmla="*/ 3964667 w 5365133"/>
              <a:gd name="connsiteY4662" fmla="*/ 886603 h 4367670"/>
              <a:gd name="connsiteX4663" fmla="*/ 3964461 w 5365133"/>
              <a:gd name="connsiteY4663" fmla="*/ 885399 h 4367670"/>
              <a:gd name="connsiteX4664" fmla="*/ 3963714 w 5365133"/>
              <a:gd name="connsiteY4664" fmla="*/ 886051 h 4367670"/>
              <a:gd name="connsiteX4665" fmla="*/ 3966551 w 5365133"/>
              <a:gd name="connsiteY4665" fmla="*/ 881638 h 4367670"/>
              <a:gd name="connsiteX4666" fmla="*/ 3963923 w 5365133"/>
              <a:gd name="connsiteY4666" fmla="*/ 876751 h 4367670"/>
              <a:gd name="connsiteX4667" fmla="*/ 4583345 w 5365133"/>
              <a:gd name="connsiteY4667" fmla="*/ 875490 h 4367670"/>
              <a:gd name="connsiteX4668" fmla="*/ 4583345 w 5365133"/>
              <a:gd name="connsiteY4668" fmla="*/ 875934 h 4367670"/>
              <a:gd name="connsiteX4669" fmla="*/ 4581827 w 5365133"/>
              <a:gd name="connsiteY4669" fmla="*/ 876341 h 4367670"/>
              <a:gd name="connsiteX4670" fmla="*/ 3933827 w 5365133"/>
              <a:gd name="connsiteY4670" fmla="*/ 875351 h 4367670"/>
              <a:gd name="connsiteX4671" fmla="*/ 3931794 w 5365133"/>
              <a:gd name="connsiteY4671" fmla="*/ 876099 h 4367670"/>
              <a:gd name="connsiteX4672" fmla="*/ 3931743 w 5365133"/>
              <a:gd name="connsiteY4672" fmla="*/ 875490 h 4367670"/>
              <a:gd name="connsiteX4673" fmla="*/ 2339653 w 5365133"/>
              <a:gd name="connsiteY4673" fmla="*/ 875271 h 4367670"/>
              <a:gd name="connsiteX4674" fmla="*/ 2322435 w 5365133"/>
              <a:gd name="connsiteY4674" fmla="*/ 888185 h 4367670"/>
              <a:gd name="connsiteX4675" fmla="*/ 2339653 w 5365133"/>
              <a:gd name="connsiteY4675" fmla="*/ 875271 h 4367670"/>
              <a:gd name="connsiteX4676" fmla="*/ 1843188 w 5365133"/>
              <a:gd name="connsiteY4676" fmla="*/ 875271 h 4367670"/>
              <a:gd name="connsiteX4677" fmla="*/ 1825969 w 5365133"/>
              <a:gd name="connsiteY4677" fmla="*/ 895360 h 4367670"/>
              <a:gd name="connsiteX4678" fmla="*/ 1843188 w 5365133"/>
              <a:gd name="connsiteY4678" fmla="*/ 875271 h 4367670"/>
              <a:gd name="connsiteX4679" fmla="*/ 3974864 w 5365133"/>
              <a:gd name="connsiteY4679" fmla="*/ 874368 h 4367670"/>
              <a:gd name="connsiteX4680" fmla="*/ 3972701 w 5365133"/>
              <a:gd name="connsiteY4680" fmla="*/ 876577 h 4367670"/>
              <a:gd name="connsiteX4681" fmla="*/ 3976418 w 5365133"/>
              <a:gd name="connsiteY4681" fmla="*/ 875614 h 4367670"/>
              <a:gd name="connsiteX4682" fmla="*/ 3977595 w 5365133"/>
              <a:gd name="connsiteY4682" fmla="*/ 875667 h 4367670"/>
              <a:gd name="connsiteX4683" fmla="*/ 4772470 w 5365133"/>
              <a:gd name="connsiteY4683" fmla="*/ 873836 h 4367670"/>
              <a:gd name="connsiteX4684" fmla="*/ 4778927 w 5365133"/>
              <a:gd name="connsiteY4684" fmla="*/ 875271 h 4367670"/>
              <a:gd name="connsiteX4685" fmla="*/ 4761709 w 5365133"/>
              <a:gd name="connsiteY4685" fmla="*/ 881010 h 4367670"/>
              <a:gd name="connsiteX4686" fmla="*/ 4772470 w 5365133"/>
              <a:gd name="connsiteY4686" fmla="*/ 873836 h 4367670"/>
              <a:gd name="connsiteX4687" fmla="*/ 2708136 w 5365133"/>
              <a:gd name="connsiteY4687" fmla="*/ 873800 h 4367670"/>
              <a:gd name="connsiteX4688" fmla="*/ 2677046 w 5365133"/>
              <a:gd name="connsiteY4688" fmla="*/ 893172 h 4367670"/>
              <a:gd name="connsiteX4689" fmla="*/ 2708136 w 5365133"/>
              <a:gd name="connsiteY4689" fmla="*/ 873800 h 4367670"/>
              <a:gd name="connsiteX4690" fmla="*/ 2654088 w 5365133"/>
              <a:gd name="connsiteY4690" fmla="*/ 873800 h 4367670"/>
              <a:gd name="connsiteX4691" fmla="*/ 2659827 w 5365133"/>
              <a:gd name="connsiteY4691" fmla="*/ 880975 h 4367670"/>
              <a:gd name="connsiteX4692" fmla="*/ 2654088 w 5365133"/>
              <a:gd name="connsiteY4692" fmla="*/ 873800 h 4367670"/>
              <a:gd name="connsiteX4693" fmla="*/ 1790514 w 5365133"/>
              <a:gd name="connsiteY4693" fmla="*/ 871325 h 4367670"/>
              <a:gd name="connsiteX4694" fmla="*/ 1797274 w 5365133"/>
              <a:gd name="connsiteY4694" fmla="*/ 875271 h 4367670"/>
              <a:gd name="connsiteX4695" fmla="*/ 1771446 w 5365133"/>
              <a:gd name="connsiteY4695" fmla="*/ 881010 h 4367670"/>
              <a:gd name="connsiteX4696" fmla="*/ 1781937 w 5365133"/>
              <a:gd name="connsiteY4696" fmla="*/ 873836 h 4367670"/>
              <a:gd name="connsiteX4697" fmla="*/ 1790514 w 5365133"/>
              <a:gd name="connsiteY4697" fmla="*/ 871325 h 4367670"/>
              <a:gd name="connsiteX4698" fmla="*/ 4724402 w 5365133"/>
              <a:gd name="connsiteY4698" fmla="*/ 869532 h 4367670"/>
              <a:gd name="connsiteX4699" fmla="*/ 4623960 w 5365133"/>
              <a:gd name="connsiteY4699" fmla="*/ 912578 h 4367670"/>
              <a:gd name="connsiteX4700" fmla="*/ 4688954 w 5365133"/>
              <a:gd name="connsiteY4700" fmla="*/ 881831 h 4367670"/>
              <a:gd name="connsiteX4701" fmla="*/ 4724402 w 5365133"/>
              <a:gd name="connsiteY4701" fmla="*/ 869532 h 4367670"/>
              <a:gd name="connsiteX4702" fmla="*/ 4618221 w 5365133"/>
              <a:gd name="connsiteY4702" fmla="*/ 869532 h 4367670"/>
              <a:gd name="connsiteX4703" fmla="*/ 4629701 w 5365133"/>
              <a:gd name="connsiteY4703" fmla="*/ 869532 h 4367670"/>
              <a:gd name="connsiteX4704" fmla="*/ 4618221 w 5365133"/>
              <a:gd name="connsiteY4704" fmla="*/ 869532 h 4367670"/>
              <a:gd name="connsiteX4705" fmla="*/ 1837448 w 5365133"/>
              <a:gd name="connsiteY4705" fmla="*/ 869532 h 4367670"/>
              <a:gd name="connsiteX4706" fmla="*/ 1820230 w 5365133"/>
              <a:gd name="connsiteY4706" fmla="*/ 881010 h 4367670"/>
              <a:gd name="connsiteX4707" fmla="*/ 1837448 w 5365133"/>
              <a:gd name="connsiteY4707" fmla="*/ 869532 h 4367670"/>
              <a:gd name="connsiteX4708" fmla="*/ 4607257 w 5365133"/>
              <a:gd name="connsiteY4708" fmla="*/ 869526 h 4367670"/>
              <a:gd name="connsiteX4709" fmla="*/ 4601279 w 5365133"/>
              <a:gd name="connsiteY4709" fmla="*/ 881453 h 4367670"/>
              <a:gd name="connsiteX4710" fmla="*/ 4601279 w 5365133"/>
              <a:gd name="connsiteY4710" fmla="*/ 875490 h 4367670"/>
              <a:gd name="connsiteX4711" fmla="*/ 4583345 w 5365133"/>
              <a:gd name="connsiteY4711" fmla="*/ 881453 h 4367670"/>
              <a:gd name="connsiteX4712" fmla="*/ 4583345 w 5365133"/>
              <a:gd name="connsiteY4712" fmla="*/ 875934 h 4367670"/>
              <a:gd name="connsiteX4713" fmla="*/ 3977612 w 5365133"/>
              <a:gd name="connsiteY4713" fmla="*/ 864740 h 4367670"/>
              <a:gd name="connsiteX4714" fmla="*/ 3971748 w 5365133"/>
              <a:gd name="connsiteY4714" fmla="*/ 868439 h 4367670"/>
              <a:gd name="connsiteX4715" fmla="*/ 3960726 w 5365133"/>
              <a:gd name="connsiteY4715" fmla="*/ 871887 h 4367670"/>
              <a:gd name="connsiteX4716" fmla="*/ 3956449 w 5365133"/>
              <a:gd name="connsiteY4716" fmla="*/ 874782 h 4367670"/>
              <a:gd name="connsiteX4717" fmla="*/ 3955496 w 5365133"/>
              <a:gd name="connsiteY4717" fmla="*/ 874869 h 4367670"/>
              <a:gd name="connsiteX4718" fmla="*/ 3954719 w 5365133"/>
              <a:gd name="connsiteY4718" fmla="*/ 875953 h 4367670"/>
              <a:gd name="connsiteX4719" fmla="*/ 3948001 w 5365133"/>
              <a:gd name="connsiteY4719" fmla="*/ 880502 h 4367670"/>
              <a:gd name="connsiteX4720" fmla="*/ 3949574 w 5365133"/>
              <a:gd name="connsiteY4720" fmla="*/ 881728 h 4367670"/>
              <a:gd name="connsiteX4721" fmla="*/ 3951905 w 5365133"/>
              <a:gd name="connsiteY4721" fmla="*/ 883544 h 4367670"/>
              <a:gd name="connsiteX4722" fmla="*/ 3955299 w 5365133"/>
              <a:gd name="connsiteY4722" fmla="*/ 881736 h 4367670"/>
              <a:gd name="connsiteX4723" fmla="*/ 3951760 w 5365133"/>
              <a:gd name="connsiteY4723" fmla="*/ 880088 h 4367670"/>
              <a:gd name="connsiteX4724" fmla="*/ 3954719 w 5365133"/>
              <a:gd name="connsiteY4724" fmla="*/ 875953 h 4367670"/>
              <a:gd name="connsiteX4725" fmla="*/ 3956449 w 5365133"/>
              <a:gd name="connsiteY4725" fmla="*/ 874782 h 4367670"/>
              <a:gd name="connsiteX4726" fmla="*/ 3959872 w 5365133"/>
              <a:gd name="connsiteY4726" fmla="*/ 874472 h 4367670"/>
              <a:gd name="connsiteX4727" fmla="*/ 3958900 w 5365133"/>
              <a:gd name="connsiteY4727" fmla="*/ 873225 h 4367670"/>
              <a:gd name="connsiteX4728" fmla="*/ 3973967 w 5365133"/>
              <a:gd name="connsiteY4728" fmla="*/ 869985 h 4367670"/>
              <a:gd name="connsiteX4729" fmla="*/ 2435310 w 5365133"/>
              <a:gd name="connsiteY4729" fmla="*/ 864509 h 4367670"/>
              <a:gd name="connsiteX4730" fmla="*/ 2441528 w 5365133"/>
              <a:gd name="connsiteY4730" fmla="*/ 869532 h 4367670"/>
              <a:gd name="connsiteX4731" fmla="*/ 2435310 w 5365133"/>
              <a:gd name="connsiteY4731" fmla="*/ 866662 h 4367670"/>
              <a:gd name="connsiteX4732" fmla="*/ 2432201 w 5365133"/>
              <a:gd name="connsiteY4732" fmla="*/ 865227 h 4367670"/>
              <a:gd name="connsiteX4733" fmla="*/ 2429091 w 5365133"/>
              <a:gd name="connsiteY4733" fmla="*/ 863792 h 4367670"/>
              <a:gd name="connsiteX4734" fmla="*/ 2432201 w 5365133"/>
              <a:gd name="connsiteY4734" fmla="*/ 865227 h 4367670"/>
              <a:gd name="connsiteX4735" fmla="*/ 2431035 w 5365133"/>
              <a:gd name="connsiteY4735" fmla="*/ 865496 h 4367670"/>
              <a:gd name="connsiteX4736" fmla="*/ 2429091 w 5365133"/>
              <a:gd name="connsiteY4736" fmla="*/ 863792 h 4367670"/>
              <a:gd name="connsiteX4737" fmla="*/ 3917745 w 5365133"/>
              <a:gd name="connsiteY4737" fmla="*/ 863561 h 4367670"/>
              <a:gd name="connsiteX4738" fmla="*/ 3923947 w 5365133"/>
              <a:gd name="connsiteY4738" fmla="*/ 865910 h 4367670"/>
              <a:gd name="connsiteX4739" fmla="*/ 3926334 w 5365133"/>
              <a:gd name="connsiteY4739" fmla="*/ 863561 h 4367670"/>
              <a:gd name="connsiteX4740" fmla="*/ 4068502 w 5365133"/>
              <a:gd name="connsiteY4740" fmla="*/ 862567 h 4367670"/>
              <a:gd name="connsiteX4741" fmla="*/ 4068868 w 5365133"/>
              <a:gd name="connsiteY4741" fmla="*/ 868062 h 4367670"/>
              <a:gd name="connsiteX4742" fmla="*/ 4064564 w 5365133"/>
              <a:gd name="connsiteY4742" fmla="*/ 865193 h 4367670"/>
              <a:gd name="connsiteX4743" fmla="*/ 2483712 w 5365133"/>
              <a:gd name="connsiteY4743" fmla="*/ 862384 h 4367670"/>
              <a:gd name="connsiteX4744" fmla="*/ 2503227 w 5365133"/>
              <a:gd name="connsiteY4744" fmla="*/ 864079 h 4367670"/>
              <a:gd name="connsiteX4745" fmla="*/ 2454956 w 5365133"/>
              <a:gd name="connsiteY4745" fmla="*/ 894210 h 4367670"/>
              <a:gd name="connsiteX4746" fmla="*/ 2444484 w 5365133"/>
              <a:gd name="connsiteY4746" fmla="*/ 892817 h 4367670"/>
              <a:gd name="connsiteX4747" fmla="*/ 2454956 w 5365133"/>
              <a:gd name="connsiteY4747" fmla="*/ 883664 h 4367670"/>
              <a:gd name="connsiteX4748" fmla="*/ 2467024 w 5365133"/>
              <a:gd name="connsiteY4748" fmla="*/ 882158 h 4367670"/>
              <a:gd name="connsiteX4749" fmla="*/ 2479092 w 5365133"/>
              <a:gd name="connsiteY4749" fmla="*/ 864079 h 4367670"/>
              <a:gd name="connsiteX4750" fmla="*/ 2483712 w 5365133"/>
              <a:gd name="connsiteY4750" fmla="*/ 862384 h 4367670"/>
              <a:gd name="connsiteX4751" fmla="*/ 4068868 w 5365133"/>
              <a:gd name="connsiteY4751" fmla="*/ 862323 h 4367670"/>
              <a:gd name="connsiteX4752" fmla="*/ 4068502 w 5365133"/>
              <a:gd name="connsiteY4752" fmla="*/ 862567 h 4367670"/>
              <a:gd name="connsiteX4753" fmla="*/ 4068498 w 5365133"/>
              <a:gd name="connsiteY4753" fmla="*/ 862508 h 4367670"/>
              <a:gd name="connsiteX4754" fmla="*/ 2323416 w 5365133"/>
              <a:gd name="connsiteY4754" fmla="*/ 862055 h 4367670"/>
              <a:gd name="connsiteX4755" fmla="*/ 2308141 w 5365133"/>
              <a:gd name="connsiteY4755" fmla="*/ 876985 h 4367670"/>
              <a:gd name="connsiteX4756" fmla="*/ 2279829 w 5365133"/>
              <a:gd name="connsiteY4756" fmla="*/ 882285 h 4367670"/>
              <a:gd name="connsiteX4757" fmla="*/ 2273869 w 5365133"/>
              <a:gd name="connsiteY4757" fmla="*/ 894402 h 4367670"/>
              <a:gd name="connsiteX4758" fmla="*/ 2232147 w 5365133"/>
              <a:gd name="connsiteY4758" fmla="*/ 906519 h 4367670"/>
              <a:gd name="connsiteX4759" fmla="*/ 2208307 w 5365133"/>
              <a:gd name="connsiteY4759" fmla="*/ 918636 h 4367670"/>
              <a:gd name="connsiteX4760" fmla="*/ 2184465 w 5365133"/>
              <a:gd name="connsiteY4760" fmla="*/ 924693 h 4367670"/>
              <a:gd name="connsiteX4761" fmla="*/ 2160625 w 5365133"/>
              <a:gd name="connsiteY4761" fmla="*/ 954985 h 4367670"/>
              <a:gd name="connsiteX4762" fmla="*/ 2142743 w 5365133"/>
              <a:gd name="connsiteY4762" fmla="*/ 954985 h 4367670"/>
              <a:gd name="connsiteX4763" fmla="*/ 2154665 w 5365133"/>
              <a:gd name="connsiteY4763" fmla="*/ 961043 h 4367670"/>
              <a:gd name="connsiteX4764" fmla="*/ 2136783 w 5365133"/>
              <a:gd name="connsiteY4764" fmla="*/ 967102 h 4367670"/>
              <a:gd name="connsiteX4765" fmla="*/ 2136783 w 5365133"/>
              <a:gd name="connsiteY4765" fmla="*/ 954985 h 4367670"/>
              <a:gd name="connsiteX4766" fmla="*/ 2118903 w 5365133"/>
              <a:gd name="connsiteY4766" fmla="*/ 954985 h 4367670"/>
              <a:gd name="connsiteX4767" fmla="*/ 2142743 w 5365133"/>
              <a:gd name="connsiteY4767" fmla="*/ 936810 h 4367670"/>
              <a:gd name="connsiteX4768" fmla="*/ 2154665 w 5365133"/>
              <a:gd name="connsiteY4768" fmla="*/ 942868 h 4367670"/>
              <a:gd name="connsiteX4769" fmla="*/ 2184465 w 5365133"/>
              <a:gd name="connsiteY4769" fmla="*/ 918636 h 4367670"/>
              <a:gd name="connsiteX4770" fmla="*/ 2226187 w 5365133"/>
              <a:gd name="connsiteY4770" fmla="*/ 912576 h 4367670"/>
              <a:gd name="connsiteX4771" fmla="*/ 2214267 w 5365133"/>
              <a:gd name="connsiteY4771" fmla="*/ 906519 h 4367670"/>
              <a:gd name="connsiteX4772" fmla="*/ 2313170 w 5365133"/>
              <a:gd name="connsiteY4772" fmla="*/ 863922 h 4367670"/>
              <a:gd name="connsiteX4773" fmla="*/ 4761710 w 5365133"/>
              <a:gd name="connsiteY4773" fmla="*/ 858052 h 4367670"/>
              <a:gd name="connsiteX4774" fmla="*/ 4724402 w 5365133"/>
              <a:gd name="connsiteY4774" fmla="*/ 869532 h 4367670"/>
              <a:gd name="connsiteX4775" fmla="*/ 4761710 w 5365133"/>
              <a:gd name="connsiteY4775" fmla="*/ 858052 h 4367670"/>
              <a:gd name="connsiteX4776" fmla="*/ 2345392 w 5365133"/>
              <a:gd name="connsiteY4776" fmla="*/ 858052 h 4367670"/>
              <a:gd name="connsiteX4777" fmla="*/ 2338686 w 5365133"/>
              <a:gd name="connsiteY4777" fmla="*/ 860325 h 4367670"/>
              <a:gd name="connsiteX4778" fmla="*/ 2335962 w 5365133"/>
              <a:gd name="connsiteY4778" fmla="*/ 859770 h 4367670"/>
              <a:gd name="connsiteX4779" fmla="*/ 2327511 w 5365133"/>
              <a:gd name="connsiteY4779" fmla="*/ 858052 h 4367670"/>
              <a:gd name="connsiteX4780" fmla="*/ 2335962 w 5365133"/>
              <a:gd name="connsiteY4780" fmla="*/ 859770 h 4367670"/>
              <a:gd name="connsiteX4781" fmla="*/ 2323416 w 5365133"/>
              <a:gd name="connsiteY4781" fmla="*/ 862055 h 4367670"/>
              <a:gd name="connsiteX4782" fmla="*/ 1923222 w 5365133"/>
              <a:gd name="connsiteY4782" fmla="*/ 858052 h 4367670"/>
              <a:gd name="connsiteX4783" fmla="*/ 1923222 w 5365133"/>
              <a:gd name="connsiteY4783" fmla="*/ 864367 h 4367670"/>
              <a:gd name="connsiteX4784" fmla="*/ 1874756 w 5365133"/>
              <a:gd name="connsiteY4784" fmla="*/ 883306 h 4367670"/>
              <a:gd name="connsiteX4785" fmla="*/ 1923222 w 5365133"/>
              <a:gd name="connsiteY4785" fmla="*/ 858052 h 4367670"/>
              <a:gd name="connsiteX4786" fmla="*/ 2363742 w 5365133"/>
              <a:gd name="connsiteY4786" fmla="*/ 857147 h 4367670"/>
              <a:gd name="connsiteX4787" fmla="*/ 2363430 w 5365133"/>
              <a:gd name="connsiteY4787" fmla="*/ 858052 h 4367670"/>
              <a:gd name="connsiteX4788" fmla="*/ 2362669 w 5365133"/>
              <a:gd name="connsiteY4788" fmla="*/ 857611 h 4367670"/>
              <a:gd name="connsiteX4789" fmla="*/ 2363432 w 5365133"/>
              <a:gd name="connsiteY4789" fmla="*/ 857335 h 4367670"/>
              <a:gd name="connsiteX4790" fmla="*/ 3974691 w 5365133"/>
              <a:gd name="connsiteY4790" fmla="*/ 856753 h 4367670"/>
              <a:gd name="connsiteX4791" fmla="*/ 3971096 w 5365133"/>
              <a:gd name="connsiteY4791" fmla="*/ 858052 h 4367670"/>
              <a:gd name="connsiteX4792" fmla="*/ 3960514 w 5365133"/>
              <a:gd name="connsiteY4792" fmla="*/ 861102 h 4367670"/>
              <a:gd name="connsiteX4793" fmla="*/ 3957963 w 5365133"/>
              <a:gd name="connsiteY4793" fmla="*/ 865236 h 4367670"/>
              <a:gd name="connsiteX4794" fmla="*/ 2558635 w 5365133"/>
              <a:gd name="connsiteY4794" fmla="*/ 856665 h 4367670"/>
              <a:gd name="connsiteX4795" fmla="*/ 2575888 w 5365133"/>
              <a:gd name="connsiteY4795" fmla="*/ 857538 h 4367670"/>
              <a:gd name="connsiteX4796" fmla="*/ 2582345 w 5365133"/>
              <a:gd name="connsiteY4796" fmla="*/ 869975 h 4367670"/>
              <a:gd name="connsiteX4797" fmla="*/ 2575888 w 5365133"/>
              <a:gd name="connsiteY4797" fmla="*/ 869975 h 4367670"/>
              <a:gd name="connsiteX4798" fmla="*/ 2569431 w 5365133"/>
              <a:gd name="connsiteY4798" fmla="*/ 882411 h 4367670"/>
              <a:gd name="connsiteX4799" fmla="*/ 2556517 w 5365133"/>
              <a:gd name="connsiteY4799" fmla="*/ 876192 h 4367670"/>
              <a:gd name="connsiteX4800" fmla="*/ 2569431 w 5365133"/>
              <a:gd name="connsiteY4800" fmla="*/ 863757 h 4367670"/>
              <a:gd name="connsiteX4801" fmla="*/ 2556517 w 5365133"/>
              <a:gd name="connsiteY4801" fmla="*/ 863757 h 4367670"/>
              <a:gd name="connsiteX4802" fmla="*/ 2558635 w 5365133"/>
              <a:gd name="connsiteY4802" fmla="*/ 856665 h 4367670"/>
              <a:gd name="connsiteX4803" fmla="*/ 4214792 w 5365133"/>
              <a:gd name="connsiteY4803" fmla="*/ 856231 h 4367670"/>
              <a:gd name="connsiteX4804" fmla="*/ 4212473 w 5365133"/>
              <a:gd name="connsiteY4804" fmla="*/ 857568 h 4367670"/>
              <a:gd name="connsiteX4805" fmla="*/ 4212710 w 5365133"/>
              <a:gd name="connsiteY4805" fmla="*/ 857597 h 4367670"/>
              <a:gd name="connsiteX4806" fmla="*/ 4214847 w 5365133"/>
              <a:gd name="connsiteY4806" fmla="*/ 856453 h 4367670"/>
              <a:gd name="connsiteX4807" fmla="*/ 2359715 w 5365133"/>
              <a:gd name="connsiteY4807" fmla="*/ 855900 h 4367670"/>
              <a:gd name="connsiteX4808" fmla="*/ 2362669 w 5365133"/>
              <a:gd name="connsiteY4808" fmla="*/ 857611 h 4367670"/>
              <a:gd name="connsiteX4809" fmla="*/ 2345597 w 5365133"/>
              <a:gd name="connsiteY4809" fmla="*/ 863792 h 4367670"/>
              <a:gd name="connsiteX4810" fmla="*/ 2351542 w 5365133"/>
              <a:gd name="connsiteY4810" fmla="*/ 858052 h 4367670"/>
              <a:gd name="connsiteX4811" fmla="*/ 2359715 w 5365133"/>
              <a:gd name="connsiteY4811" fmla="*/ 855900 h 4367670"/>
              <a:gd name="connsiteX4812" fmla="*/ 2701618 w 5365133"/>
              <a:gd name="connsiteY4812" fmla="*/ 852488 h 4367670"/>
              <a:gd name="connsiteX4813" fmla="*/ 2695791 w 5365133"/>
              <a:gd name="connsiteY4813" fmla="*/ 854615 h 4367670"/>
              <a:gd name="connsiteX4814" fmla="*/ 2690373 w 5365133"/>
              <a:gd name="connsiteY4814" fmla="*/ 857411 h 4367670"/>
              <a:gd name="connsiteX4815" fmla="*/ 2689094 w 5365133"/>
              <a:gd name="connsiteY4815" fmla="*/ 861239 h 4367670"/>
              <a:gd name="connsiteX4816" fmla="*/ 2692157 w 5365133"/>
              <a:gd name="connsiteY4816" fmla="*/ 857927 h 4367670"/>
              <a:gd name="connsiteX4817" fmla="*/ 4778927 w 5365133"/>
              <a:gd name="connsiteY4817" fmla="*/ 852313 h 4367670"/>
              <a:gd name="connsiteX4818" fmla="*/ 4767448 w 5365133"/>
              <a:gd name="connsiteY4818" fmla="*/ 863792 h 4367670"/>
              <a:gd name="connsiteX4819" fmla="*/ 4778927 w 5365133"/>
              <a:gd name="connsiteY4819" fmla="*/ 852313 h 4367670"/>
              <a:gd name="connsiteX4820" fmla="*/ 4359945 w 5365133"/>
              <a:gd name="connsiteY4820" fmla="*/ 852313 h 4367670"/>
              <a:gd name="connsiteX4821" fmla="*/ 4354206 w 5365133"/>
              <a:gd name="connsiteY4821" fmla="*/ 863792 h 4367670"/>
              <a:gd name="connsiteX4822" fmla="*/ 4342727 w 5365133"/>
              <a:gd name="connsiteY4822" fmla="*/ 858052 h 4367670"/>
              <a:gd name="connsiteX4823" fmla="*/ 4359945 w 5365133"/>
              <a:gd name="connsiteY4823" fmla="*/ 852313 h 4367670"/>
              <a:gd name="connsiteX4824" fmla="*/ 2425425 w 5365133"/>
              <a:gd name="connsiteY4824" fmla="*/ 852313 h 4367670"/>
              <a:gd name="connsiteX4825" fmla="*/ 2427186 w 5365133"/>
              <a:gd name="connsiteY4825" fmla="*/ 857005 h 4367670"/>
              <a:gd name="connsiteX4826" fmla="*/ 2426760 w 5365133"/>
              <a:gd name="connsiteY4826" fmla="*/ 858052 h 4367670"/>
              <a:gd name="connsiteX4827" fmla="*/ 2427310 w 5365133"/>
              <a:gd name="connsiteY4827" fmla="*/ 859406 h 4367670"/>
              <a:gd name="connsiteX4828" fmla="*/ 2425425 w 5365133"/>
              <a:gd name="connsiteY4828" fmla="*/ 864430 h 4367670"/>
              <a:gd name="connsiteX4829" fmla="*/ 2395134 w 5365133"/>
              <a:gd name="connsiteY4829" fmla="*/ 882604 h 4367670"/>
              <a:gd name="connsiteX4830" fmla="*/ 2395134 w 5365133"/>
              <a:gd name="connsiteY4830" fmla="*/ 876547 h 4367670"/>
              <a:gd name="connsiteX4831" fmla="*/ 2352727 w 5365133"/>
              <a:gd name="connsiteY4831" fmla="*/ 900780 h 4367670"/>
              <a:gd name="connsiteX4832" fmla="*/ 2352727 w 5365133"/>
              <a:gd name="connsiteY4832" fmla="*/ 888664 h 4367670"/>
              <a:gd name="connsiteX4833" fmla="*/ 2334551 w 5365133"/>
              <a:gd name="connsiteY4833" fmla="*/ 906839 h 4367670"/>
              <a:gd name="connsiteX4834" fmla="*/ 2322435 w 5365133"/>
              <a:gd name="connsiteY4834" fmla="*/ 894722 h 4367670"/>
              <a:gd name="connsiteX4835" fmla="*/ 2376959 w 5365133"/>
              <a:gd name="connsiteY4835" fmla="*/ 870487 h 4367670"/>
              <a:gd name="connsiteX4836" fmla="*/ 2352727 w 5365133"/>
              <a:gd name="connsiteY4836" fmla="*/ 876547 h 4367670"/>
              <a:gd name="connsiteX4837" fmla="*/ 2376959 w 5365133"/>
              <a:gd name="connsiteY4837" fmla="*/ 858370 h 4367670"/>
              <a:gd name="connsiteX4838" fmla="*/ 2383018 w 5365133"/>
              <a:gd name="connsiteY4838" fmla="*/ 876547 h 4367670"/>
              <a:gd name="connsiteX4839" fmla="*/ 2389076 w 5365133"/>
              <a:gd name="connsiteY4839" fmla="*/ 870487 h 4367670"/>
              <a:gd name="connsiteX4840" fmla="*/ 2383018 w 5365133"/>
              <a:gd name="connsiteY4840" fmla="*/ 864430 h 4367670"/>
              <a:gd name="connsiteX4841" fmla="*/ 2425425 w 5365133"/>
              <a:gd name="connsiteY4841" fmla="*/ 852313 h 4367670"/>
              <a:gd name="connsiteX4842" fmla="*/ 4063129 w 5365133"/>
              <a:gd name="connsiteY4842" fmla="*/ 850844 h 4367670"/>
              <a:gd name="connsiteX4843" fmla="*/ 4068151 w 5365133"/>
              <a:gd name="connsiteY4843" fmla="*/ 857301 h 4367670"/>
              <a:gd name="connsiteX4844" fmla="*/ 4068498 w 5365133"/>
              <a:gd name="connsiteY4844" fmla="*/ 862508 h 4367670"/>
              <a:gd name="connsiteX4845" fmla="*/ 4057390 w 5365133"/>
              <a:gd name="connsiteY4845" fmla="*/ 868062 h 4367670"/>
              <a:gd name="connsiteX4846" fmla="*/ 4057390 w 5365133"/>
              <a:gd name="connsiteY4846" fmla="*/ 862323 h 4367670"/>
              <a:gd name="connsiteX4847" fmla="*/ 4057390 w 5365133"/>
              <a:gd name="connsiteY4847" fmla="*/ 856061 h 4367670"/>
              <a:gd name="connsiteX4848" fmla="*/ 4059543 w 5365133"/>
              <a:gd name="connsiteY4848" fmla="*/ 855866 h 4367670"/>
              <a:gd name="connsiteX4849" fmla="*/ 4063129 w 5365133"/>
              <a:gd name="connsiteY4849" fmla="*/ 850844 h 4367670"/>
              <a:gd name="connsiteX4850" fmla="*/ 4057390 w 5365133"/>
              <a:gd name="connsiteY4850" fmla="*/ 850844 h 4367670"/>
              <a:gd name="connsiteX4851" fmla="*/ 4057390 w 5365133"/>
              <a:gd name="connsiteY4851" fmla="*/ 856061 h 4367670"/>
              <a:gd name="connsiteX4852" fmla="*/ 4051650 w 5365133"/>
              <a:gd name="connsiteY4852" fmla="*/ 856584 h 4367670"/>
              <a:gd name="connsiteX4853" fmla="*/ 4057390 w 5365133"/>
              <a:gd name="connsiteY4853" fmla="*/ 850844 h 4367670"/>
              <a:gd name="connsiteX4854" fmla="*/ 4456323 w 5365133"/>
              <a:gd name="connsiteY4854" fmla="*/ 846574 h 4367670"/>
              <a:gd name="connsiteX4855" fmla="*/ 4459858 w 5365133"/>
              <a:gd name="connsiteY4855" fmla="*/ 847422 h 4367670"/>
              <a:gd name="connsiteX4856" fmla="*/ 4457911 w 5365133"/>
              <a:gd name="connsiteY4856" fmla="*/ 848098 h 4367670"/>
              <a:gd name="connsiteX4857" fmla="*/ 4456178 w 5365133"/>
              <a:gd name="connsiteY4857" fmla="*/ 847084 h 4367670"/>
              <a:gd name="connsiteX4858" fmla="*/ 2453964 w 5365133"/>
              <a:gd name="connsiteY4858" fmla="*/ 846574 h 4367670"/>
              <a:gd name="connsiteX4859" fmla="*/ 2460182 w 5365133"/>
              <a:gd name="connsiteY4859" fmla="*/ 852313 h 4367670"/>
              <a:gd name="connsiteX4860" fmla="*/ 2447745 w 5365133"/>
              <a:gd name="connsiteY4860" fmla="*/ 858052 h 4367670"/>
              <a:gd name="connsiteX4861" fmla="*/ 2453964 w 5365133"/>
              <a:gd name="connsiteY4861" fmla="*/ 852313 h 4367670"/>
              <a:gd name="connsiteX4862" fmla="*/ 2429091 w 5365133"/>
              <a:gd name="connsiteY4862" fmla="*/ 863792 h 4367670"/>
              <a:gd name="connsiteX4863" fmla="*/ 2427310 w 5365133"/>
              <a:gd name="connsiteY4863" fmla="*/ 859406 h 4367670"/>
              <a:gd name="connsiteX4864" fmla="*/ 2427698 w 5365133"/>
              <a:gd name="connsiteY4864" fmla="*/ 858371 h 4367670"/>
              <a:gd name="connsiteX4865" fmla="*/ 2427186 w 5365133"/>
              <a:gd name="connsiteY4865" fmla="*/ 857005 h 4367670"/>
              <a:gd name="connsiteX4866" fmla="*/ 2429091 w 5365133"/>
              <a:gd name="connsiteY4866" fmla="*/ 852313 h 4367670"/>
              <a:gd name="connsiteX4867" fmla="*/ 2453964 w 5365133"/>
              <a:gd name="connsiteY4867" fmla="*/ 846574 h 4367670"/>
              <a:gd name="connsiteX4868" fmla="*/ 1843188 w 5365133"/>
              <a:gd name="connsiteY4868" fmla="*/ 846574 h 4367670"/>
              <a:gd name="connsiteX4869" fmla="*/ 1820230 w 5365133"/>
              <a:gd name="connsiteY4869" fmla="*/ 863792 h 4367670"/>
              <a:gd name="connsiteX4870" fmla="*/ 1843188 w 5365133"/>
              <a:gd name="connsiteY4870" fmla="*/ 846574 h 4367670"/>
              <a:gd name="connsiteX4871" fmla="*/ 4492315 w 5365133"/>
              <a:gd name="connsiteY4871" fmla="*/ 846215 h 4367670"/>
              <a:gd name="connsiteX4872" fmla="*/ 4480476 w 5365133"/>
              <a:gd name="connsiteY4872" fmla="*/ 852315 h 4367670"/>
              <a:gd name="connsiteX4873" fmla="*/ 4483814 w 5365133"/>
              <a:gd name="connsiteY4873" fmla="*/ 847154 h 4367670"/>
              <a:gd name="connsiteX4874" fmla="*/ 4488614 w 5365133"/>
              <a:gd name="connsiteY4874" fmla="*/ 848504 h 4367670"/>
              <a:gd name="connsiteX4875" fmla="*/ 4492315 w 5365133"/>
              <a:gd name="connsiteY4875" fmla="*/ 846215 h 4367670"/>
              <a:gd name="connsiteX4876" fmla="*/ 2712229 w 5365133"/>
              <a:gd name="connsiteY4876" fmla="*/ 845669 h 4367670"/>
              <a:gd name="connsiteX4877" fmla="*/ 2704461 w 5365133"/>
              <a:gd name="connsiteY4877" fmla="*/ 851111 h 4367670"/>
              <a:gd name="connsiteX4878" fmla="*/ 2715241 w 5365133"/>
              <a:gd name="connsiteY4878" fmla="*/ 847172 h 4367670"/>
              <a:gd name="connsiteX4879" fmla="*/ 2251923 w 5365133"/>
              <a:gd name="connsiteY4879" fmla="*/ 845669 h 4367670"/>
              <a:gd name="connsiteX4880" fmla="*/ 2239967 w 5365133"/>
              <a:gd name="connsiteY4880" fmla="*/ 851633 h 4367670"/>
              <a:gd name="connsiteX4881" fmla="*/ 2241462 w 5365133"/>
              <a:gd name="connsiteY4881" fmla="*/ 848651 h 4367670"/>
              <a:gd name="connsiteX4882" fmla="*/ 2372002 w 5365133"/>
              <a:gd name="connsiteY4882" fmla="*/ 843054 h 4367670"/>
              <a:gd name="connsiteX4883" fmla="*/ 2375319 w 5365133"/>
              <a:gd name="connsiteY4883" fmla="*/ 845856 h 4367670"/>
              <a:gd name="connsiteX4884" fmla="*/ 2381264 w 5365133"/>
              <a:gd name="connsiteY4884" fmla="*/ 846574 h 4367670"/>
              <a:gd name="connsiteX4885" fmla="*/ 2363742 w 5365133"/>
              <a:gd name="connsiteY4885" fmla="*/ 857147 h 4367670"/>
              <a:gd name="connsiteX4886" fmla="*/ 2367459 w 5365133"/>
              <a:gd name="connsiteY4886" fmla="*/ 846384 h 4367670"/>
              <a:gd name="connsiteX4887" fmla="*/ 4041894 w 5365133"/>
              <a:gd name="connsiteY4887" fmla="*/ 842809 h 4367670"/>
              <a:gd name="connsiteX4888" fmla="*/ 4051650 w 5365133"/>
              <a:gd name="connsiteY4888" fmla="*/ 850844 h 4367670"/>
              <a:gd name="connsiteX4889" fmla="*/ 4045910 w 5365133"/>
              <a:gd name="connsiteY4889" fmla="*/ 862323 h 4367670"/>
              <a:gd name="connsiteX4890" fmla="*/ 4034432 w 5365133"/>
              <a:gd name="connsiteY4890" fmla="*/ 862323 h 4367670"/>
              <a:gd name="connsiteX4891" fmla="*/ 4040171 w 5365133"/>
              <a:gd name="connsiteY4891" fmla="*/ 862323 h 4367670"/>
              <a:gd name="connsiteX4892" fmla="*/ 4034432 w 5365133"/>
              <a:gd name="connsiteY4892" fmla="*/ 856584 h 4367670"/>
              <a:gd name="connsiteX4893" fmla="*/ 4045910 w 5365133"/>
              <a:gd name="connsiteY4893" fmla="*/ 850844 h 4367670"/>
              <a:gd name="connsiteX4894" fmla="*/ 4400122 w 5365133"/>
              <a:gd name="connsiteY4894" fmla="*/ 842269 h 4367670"/>
              <a:gd name="connsiteX4895" fmla="*/ 4400805 w 5365133"/>
              <a:gd name="connsiteY4895" fmla="*/ 843294 h 4367670"/>
              <a:gd name="connsiteX4896" fmla="*/ 4397252 w 5365133"/>
              <a:gd name="connsiteY4896" fmla="*/ 846574 h 4367670"/>
              <a:gd name="connsiteX4897" fmla="*/ 4400122 w 5365133"/>
              <a:gd name="connsiteY4897" fmla="*/ 842269 h 4367670"/>
              <a:gd name="connsiteX4898" fmla="*/ 1955377 w 5365133"/>
              <a:gd name="connsiteY4898" fmla="*/ 841820 h 4367670"/>
              <a:gd name="connsiteX4899" fmla="*/ 1957977 w 5365133"/>
              <a:gd name="connsiteY4899" fmla="*/ 846574 h 4367670"/>
              <a:gd name="connsiteX4900" fmla="*/ 1946498 w 5365133"/>
              <a:gd name="connsiteY4900" fmla="*/ 852313 h 4367670"/>
              <a:gd name="connsiteX4901" fmla="*/ 1950085 w 5365133"/>
              <a:gd name="connsiteY4901" fmla="*/ 842987 h 4367670"/>
              <a:gd name="connsiteX4902" fmla="*/ 1955377 w 5365133"/>
              <a:gd name="connsiteY4902" fmla="*/ 841820 h 4367670"/>
              <a:gd name="connsiteX4903" fmla="*/ 4487710 w 5365133"/>
              <a:gd name="connsiteY4903" fmla="*/ 841134 h 4367670"/>
              <a:gd name="connsiteX4904" fmla="*/ 4483814 w 5365133"/>
              <a:gd name="connsiteY4904" fmla="*/ 847154 h 4367670"/>
              <a:gd name="connsiteX4905" fmla="*/ 4480476 w 5365133"/>
              <a:gd name="connsiteY4905" fmla="*/ 846215 h 4367670"/>
              <a:gd name="connsiteX4906" fmla="*/ 4035176 w 5365133"/>
              <a:gd name="connsiteY4906" fmla="*/ 840428 h 4367670"/>
              <a:gd name="connsiteX4907" fmla="*/ 4039453 w 5365133"/>
              <a:gd name="connsiteY4907" fmla="*/ 840801 h 4367670"/>
              <a:gd name="connsiteX4908" fmla="*/ 4040171 w 5365133"/>
              <a:gd name="connsiteY4908" fmla="*/ 841392 h 4367670"/>
              <a:gd name="connsiteX4909" fmla="*/ 4040171 w 5365133"/>
              <a:gd name="connsiteY4909" fmla="*/ 845104 h 4367670"/>
              <a:gd name="connsiteX4910" fmla="*/ 4039453 w 5365133"/>
              <a:gd name="connsiteY4910" fmla="*/ 846540 h 4367670"/>
              <a:gd name="connsiteX4911" fmla="*/ 2263254 w 5365133"/>
              <a:gd name="connsiteY4911" fmla="*/ 840016 h 4367670"/>
              <a:gd name="connsiteX4912" fmla="*/ 2263133 w 5365133"/>
              <a:gd name="connsiteY4912" fmla="*/ 840451 h 4367670"/>
              <a:gd name="connsiteX4913" fmla="*/ 2257901 w 5365133"/>
              <a:gd name="connsiteY4913" fmla="*/ 845669 h 4367670"/>
              <a:gd name="connsiteX4914" fmla="*/ 2256705 w 5365133"/>
              <a:gd name="connsiteY4914" fmla="*/ 843284 h 4367670"/>
              <a:gd name="connsiteX4915" fmla="*/ 4040171 w 5365133"/>
              <a:gd name="connsiteY4915" fmla="*/ 839365 h 4367670"/>
              <a:gd name="connsiteX4916" fmla="*/ 4041894 w 5365133"/>
              <a:gd name="connsiteY4916" fmla="*/ 842809 h 4367670"/>
              <a:gd name="connsiteX4917" fmla="*/ 4040171 w 5365133"/>
              <a:gd name="connsiteY4917" fmla="*/ 841392 h 4367670"/>
              <a:gd name="connsiteX4918" fmla="*/ 4034432 w 5365133"/>
              <a:gd name="connsiteY4918" fmla="*/ 839365 h 4367670"/>
              <a:gd name="connsiteX4919" fmla="*/ 4035176 w 5365133"/>
              <a:gd name="connsiteY4919" fmla="*/ 840428 h 4367670"/>
              <a:gd name="connsiteX4920" fmla="*/ 4034432 w 5365133"/>
              <a:gd name="connsiteY4920" fmla="*/ 840363 h 4367670"/>
              <a:gd name="connsiteX4921" fmla="*/ 4022953 w 5365133"/>
              <a:gd name="connsiteY4921" fmla="*/ 839365 h 4367670"/>
              <a:gd name="connsiteX4922" fmla="*/ 4034432 w 5365133"/>
              <a:gd name="connsiteY4922" fmla="*/ 840363 h 4367670"/>
              <a:gd name="connsiteX4923" fmla="*/ 4034432 w 5365133"/>
              <a:gd name="connsiteY4923" fmla="*/ 845104 h 4367670"/>
              <a:gd name="connsiteX4924" fmla="*/ 4022953 w 5365133"/>
              <a:gd name="connsiteY4924" fmla="*/ 839365 h 4367670"/>
              <a:gd name="connsiteX4925" fmla="*/ 2622522 w 5365133"/>
              <a:gd name="connsiteY4925" fmla="*/ 839363 h 4367670"/>
              <a:gd name="connsiteX4926" fmla="*/ 2616782 w 5365133"/>
              <a:gd name="connsiteY4926" fmla="*/ 862321 h 4367670"/>
              <a:gd name="connsiteX4927" fmla="*/ 2616782 w 5365133"/>
              <a:gd name="connsiteY4927" fmla="*/ 856582 h 4367670"/>
              <a:gd name="connsiteX4928" fmla="*/ 2611043 w 5365133"/>
              <a:gd name="connsiteY4928" fmla="*/ 868061 h 4367670"/>
              <a:gd name="connsiteX4929" fmla="*/ 2605303 w 5365133"/>
              <a:gd name="connsiteY4929" fmla="*/ 856582 h 4367670"/>
              <a:gd name="connsiteX4930" fmla="*/ 2588085 w 5365133"/>
              <a:gd name="connsiteY4930" fmla="*/ 868061 h 4367670"/>
              <a:gd name="connsiteX4931" fmla="*/ 2605303 w 5365133"/>
              <a:gd name="connsiteY4931" fmla="*/ 845103 h 4367670"/>
              <a:gd name="connsiteX4932" fmla="*/ 2611043 w 5365133"/>
              <a:gd name="connsiteY4932" fmla="*/ 856582 h 4367670"/>
              <a:gd name="connsiteX4933" fmla="*/ 2622522 w 5365133"/>
              <a:gd name="connsiteY4933" fmla="*/ 839363 h 4367670"/>
              <a:gd name="connsiteX4934" fmla="*/ 2263787 w 5365133"/>
              <a:gd name="connsiteY4934" fmla="*/ 838121 h 4367670"/>
              <a:gd name="connsiteX4935" fmla="*/ 2263880 w 5365133"/>
              <a:gd name="connsiteY4935" fmla="*/ 839704 h 4367670"/>
              <a:gd name="connsiteX4936" fmla="*/ 2263254 w 5365133"/>
              <a:gd name="connsiteY4936" fmla="*/ 840016 h 4367670"/>
              <a:gd name="connsiteX4937" fmla="*/ 2543403 w 5365133"/>
              <a:gd name="connsiteY4937" fmla="*/ 835094 h 4367670"/>
              <a:gd name="connsiteX4938" fmla="*/ 2560622 w 5365133"/>
              <a:gd name="connsiteY4938" fmla="*/ 835094 h 4367670"/>
              <a:gd name="connsiteX4939" fmla="*/ 2560622 w 5365133"/>
              <a:gd name="connsiteY4939" fmla="*/ 852313 h 4367670"/>
              <a:gd name="connsiteX4940" fmla="*/ 2549143 w 5365133"/>
              <a:gd name="connsiteY4940" fmla="*/ 840834 h 4367670"/>
              <a:gd name="connsiteX4941" fmla="*/ 2531925 w 5365133"/>
              <a:gd name="connsiteY4941" fmla="*/ 858052 h 4367670"/>
              <a:gd name="connsiteX4942" fmla="*/ 2543403 w 5365133"/>
              <a:gd name="connsiteY4942" fmla="*/ 835094 h 4367670"/>
              <a:gd name="connsiteX4943" fmla="*/ 1886234 w 5365133"/>
              <a:gd name="connsiteY4943" fmla="*/ 835094 h 4367670"/>
              <a:gd name="connsiteX4944" fmla="*/ 1886234 w 5365133"/>
              <a:gd name="connsiteY4944" fmla="*/ 852313 h 4367670"/>
              <a:gd name="connsiteX4945" fmla="*/ 1903453 w 5365133"/>
              <a:gd name="connsiteY4945" fmla="*/ 846574 h 4367670"/>
              <a:gd name="connsiteX4946" fmla="*/ 1880495 w 5365133"/>
              <a:gd name="connsiteY4946" fmla="*/ 858052 h 4367670"/>
              <a:gd name="connsiteX4947" fmla="*/ 1884800 w 5365133"/>
              <a:gd name="connsiteY4947" fmla="*/ 851595 h 4367670"/>
              <a:gd name="connsiteX4948" fmla="*/ 1880495 w 5365133"/>
              <a:gd name="connsiteY4948" fmla="*/ 840834 h 4367670"/>
              <a:gd name="connsiteX4949" fmla="*/ 1886234 w 5365133"/>
              <a:gd name="connsiteY4949" fmla="*/ 835094 h 4367670"/>
              <a:gd name="connsiteX4950" fmla="*/ 1748488 w 5365133"/>
              <a:gd name="connsiteY4950" fmla="*/ 835094 h 4367670"/>
              <a:gd name="connsiteX4951" fmla="*/ 1700657 w 5365133"/>
              <a:gd name="connsiteY4951" fmla="*/ 865097 h 4367670"/>
              <a:gd name="connsiteX4952" fmla="*/ 1718593 w 5365133"/>
              <a:gd name="connsiteY4952" fmla="*/ 859095 h 4367670"/>
              <a:gd name="connsiteX4953" fmla="*/ 1718593 w 5365133"/>
              <a:gd name="connsiteY4953" fmla="*/ 877097 h 4367670"/>
              <a:gd name="connsiteX4954" fmla="*/ 1682721 w 5365133"/>
              <a:gd name="connsiteY4954" fmla="*/ 889098 h 4367670"/>
              <a:gd name="connsiteX4955" fmla="*/ 1688701 w 5365133"/>
              <a:gd name="connsiteY4955" fmla="*/ 871097 h 4367670"/>
              <a:gd name="connsiteX4956" fmla="*/ 1628915 w 5365133"/>
              <a:gd name="connsiteY4956" fmla="*/ 901098 h 4367670"/>
              <a:gd name="connsiteX4957" fmla="*/ 1670765 w 5365133"/>
              <a:gd name="connsiteY4957" fmla="*/ 889098 h 4367670"/>
              <a:gd name="connsiteX4958" fmla="*/ 1640871 w 5365133"/>
              <a:gd name="connsiteY4958" fmla="*/ 907099 h 4367670"/>
              <a:gd name="connsiteX4959" fmla="*/ 1627239 w 5365133"/>
              <a:gd name="connsiteY4959" fmla="*/ 925341 h 4367670"/>
              <a:gd name="connsiteX4960" fmla="*/ 1623683 w 5365133"/>
              <a:gd name="connsiteY4960" fmla="*/ 925850 h 4367670"/>
              <a:gd name="connsiteX4961" fmla="*/ 1623563 w 5365133"/>
              <a:gd name="connsiteY4961" fmla="*/ 926691 h 4367670"/>
              <a:gd name="connsiteX4962" fmla="*/ 1608737 w 5365133"/>
              <a:gd name="connsiteY4962" fmla="*/ 931101 h 4367670"/>
              <a:gd name="connsiteX4963" fmla="*/ 1593043 w 5365133"/>
              <a:gd name="connsiteY4963" fmla="*/ 937100 h 4367670"/>
              <a:gd name="connsiteX4964" fmla="*/ 1610979 w 5365133"/>
              <a:gd name="connsiteY4964" fmla="*/ 907099 h 4367670"/>
              <a:gd name="connsiteX4965" fmla="*/ 1569128 w 5365133"/>
              <a:gd name="connsiteY4965" fmla="*/ 943101 h 4367670"/>
              <a:gd name="connsiteX4966" fmla="*/ 1581085 w 5365133"/>
              <a:gd name="connsiteY4966" fmla="*/ 937100 h 4367670"/>
              <a:gd name="connsiteX4967" fmla="*/ 1563149 w 5365133"/>
              <a:gd name="connsiteY4967" fmla="*/ 949102 h 4367670"/>
              <a:gd name="connsiteX4968" fmla="*/ 1545213 w 5365133"/>
              <a:gd name="connsiteY4968" fmla="*/ 955101 h 4367670"/>
              <a:gd name="connsiteX4969" fmla="*/ 1551193 w 5365133"/>
              <a:gd name="connsiteY4969" fmla="*/ 943101 h 4367670"/>
              <a:gd name="connsiteX4970" fmla="*/ 1533256 w 5365133"/>
              <a:gd name="connsiteY4970" fmla="*/ 949102 h 4367670"/>
              <a:gd name="connsiteX4971" fmla="*/ 1593043 w 5365133"/>
              <a:gd name="connsiteY4971" fmla="*/ 913099 h 4367670"/>
              <a:gd name="connsiteX4972" fmla="*/ 1694679 w 5365133"/>
              <a:gd name="connsiteY4972" fmla="*/ 865097 h 4367670"/>
              <a:gd name="connsiteX4973" fmla="*/ 1748488 w 5365133"/>
              <a:gd name="connsiteY4973" fmla="*/ 835094 h 4367670"/>
              <a:gd name="connsiteX4974" fmla="*/ 2473096 w 5365133"/>
              <a:gd name="connsiteY4974" fmla="*/ 833660 h 4367670"/>
              <a:gd name="connsiteX4975" fmla="*/ 2477400 w 5365133"/>
              <a:gd name="connsiteY4975" fmla="*/ 835094 h 4367670"/>
              <a:gd name="connsiteX4976" fmla="*/ 2460182 w 5365133"/>
              <a:gd name="connsiteY4976" fmla="*/ 846574 h 4367670"/>
              <a:gd name="connsiteX4977" fmla="*/ 2473096 w 5365133"/>
              <a:gd name="connsiteY4977" fmla="*/ 833660 h 4367670"/>
              <a:gd name="connsiteX4978" fmla="*/ 4420210 w 5365133"/>
              <a:gd name="connsiteY4978" fmla="*/ 829355 h 4367670"/>
              <a:gd name="connsiteX4979" fmla="*/ 4402992 w 5365133"/>
              <a:gd name="connsiteY4979" fmla="*/ 846574 h 4367670"/>
              <a:gd name="connsiteX4980" fmla="*/ 4400805 w 5365133"/>
              <a:gd name="connsiteY4980" fmla="*/ 843294 h 4367670"/>
              <a:gd name="connsiteX4981" fmla="*/ 4406579 w 5365133"/>
              <a:gd name="connsiteY4981" fmla="*/ 837965 h 4367670"/>
              <a:gd name="connsiteX4982" fmla="*/ 4420210 w 5365133"/>
              <a:gd name="connsiteY4982" fmla="*/ 829355 h 4367670"/>
              <a:gd name="connsiteX4983" fmla="*/ 4051648 w 5365133"/>
              <a:gd name="connsiteY4983" fmla="*/ 827885 h 4367670"/>
              <a:gd name="connsiteX4984" fmla="*/ 4057388 w 5365133"/>
              <a:gd name="connsiteY4984" fmla="*/ 833624 h 4367670"/>
              <a:gd name="connsiteX4985" fmla="*/ 4051648 w 5365133"/>
              <a:gd name="connsiteY4985" fmla="*/ 839363 h 4367670"/>
              <a:gd name="connsiteX4986" fmla="*/ 4051648 w 5365133"/>
              <a:gd name="connsiteY4986" fmla="*/ 827885 h 4367670"/>
              <a:gd name="connsiteX4987" fmla="*/ 2485337 w 5365133"/>
              <a:gd name="connsiteY4987" fmla="*/ 827741 h 4367670"/>
              <a:gd name="connsiteX4988" fmla="*/ 2503229 w 5365133"/>
              <a:gd name="connsiteY4988" fmla="*/ 829355 h 4367670"/>
              <a:gd name="connsiteX4989" fmla="*/ 2483140 w 5365133"/>
              <a:gd name="connsiteY4989" fmla="*/ 829355 h 4367670"/>
              <a:gd name="connsiteX4990" fmla="*/ 2485337 w 5365133"/>
              <a:gd name="connsiteY4990" fmla="*/ 827741 h 4367670"/>
              <a:gd name="connsiteX4991" fmla="*/ 3978260 w 5365133"/>
              <a:gd name="connsiteY4991" fmla="*/ 827218 h 4367670"/>
              <a:gd name="connsiteX4992" fmla="*/ 3972095 w 5365133"/>
              <a:gd name="connsiteY4992" fmla="*/ 830759 h 4367670"/>
              <a:gd name="connsiteX4993" fmla="*/ 3970523 w 5365133"/>
              <a:gd name="connsiteY4993" fmla="*/ 832258 h 4367670"/>
              <a:gd name="connsiteX4994" fmla="*/ 3974166 w 5365133"/>
              <a:gd name="connsiteY4994" fmla="*/ 833624 h 4367670"/>
              <a:gd name="connsiteX4995" fmla="*/ 3979816 w 5365133"/>
              <a:gd name="connsiteY4995" fmla="*/ 828781 h 4367670"/>
              <a:gd name="connsiteX4996" fmla="*/ 3979978 w 5365133"/>
              <a:gd name="connsiteY4996" fmla="*/ 828756 h 4367670"/>
              <a:gd name="connsiteX4997" fmla="*/ 1767300 w 5365133"/>
              <a:gd name="connsiteY4997" fmla="*/ 827202 h 4367670"/>
              <a:gd name="connsiteX4998" fmla="*/ 1773358 w 5365133"/>
              <a:gd name="connsiteY4998" fmla="*/ 829355 h 4367670"/>
              <a:gd name="connsiteX4999" fmla="*/ 1767300 w 5365133"/>
              <a:gd name="connsiteY4999" fmla="*/ 835094 h 4367670"/>
              <a:gd name="connsiteX5000" fmla="*/ 1791534 w 5365133"/>
              <a:gd name="connsiteY5000" fmla="*/ 835094 h 4367670"/>
              <a:gd name="connsiteX5001" fmla="*/ 1737008 w 5365133"/>
              <a:gd name="connsiteY5001" fmla="*/ 858052 h 4367670"/>
              <a:gd name="connsiteX5002" fmla="*/ 1761242 w 5365133"/>
              <a:gd name="connsiteY5002" fmla="*/ 829355 h 4367670"/>
              <a:gd name="connsiteX5003" fmla="*/ 1767300 w 5365133"/>
              <a:gd name="connsiteY5003" fmla="*/ 827202 h 4367670"/>
              <a:gd name="connsiteX5004" fmla="*/ 2853900 w 5365133"/>
              <a:gd name="connsiteY5004" fmla="*/ 826494 h 4367670"/>
              <a:gd name="connsiteX5005" fmla="*/ 2850252 w 5365133"/>
              <a:gd name="connsiteY5005" fmla="*/ 827777 h 4367670"/>
              <a:gd name="connsiteX5006" fmla="*/ 2855701 w 5365133"/>
              <a:gd name="connsiteY5006" fmla="*/ 827777 h 4367670"/>
              <a:gd name="connsiteX5007" fmla="*/ 4540740 w 5365133"/>
              <a:gd name="connsiteY5007" fmla="*/ 823616 h 4367670"/>
              <a:gd name="connsiteX5008" fmla="*/ 4517781 w 5365133"/>
              <a:gd name="connsiteY5008" fmla="*/ 835094 h 4367670"/>
              <a:gd name="connsiteX5009" fmla="*/ 4540740 w 5365133"/>
              <a:gd name="connsiteY5009" fmla="*/ 823616 h 4367670"/>
              <a:gd name="connsiteX5010" fmla="*/ 1897714 w 5365133"/>
              <a:gd name="connsiteY5010" fmla="*/ 823616 h 4367670"/>
              <a:gd name="connsiteX5011" fmla="*/ 1863277 w 5365133"/>
              <a:gd name="connsiteY5011" fmla="*/ 840834 h 4367670"/>
              <a:gd name="connsiteX5012" fmla="*/ 1897714 w 5365133"/>
              <a:gd name="connsiteY5012" fmla="*/ 823616 h 4367670"/>
              <a:gd name="connsiteX5013" fmla="*/ 4765078 w 5365133"/>
              <a:gd name="connsiteY5013" fmla="*/ 823006 h 4367670"/>
              <a:gd name="connsiteX5014" fmla="*/ 4750730 w 5365133"/>
              <a:gd name="connsiteY5014" fmla="*/ 827777 h 4367670"/>
              <a:gd name="connsiteX5015" fmla="*/ 4607257 w 5365133"/>
              <a:gd name="connsiteY5015" fmla="*/ 869526 h 4367670"/>
              <a:gd name="connsiteX5016" fmla="*/ 4705895 w 5365133"/>
              <a:gd name="connsiteY5016" fmla="*/ 833741 h 4367670"/>
              <a:gd name="connsiteX5017" fmla="*/ 4117653 w 5365133"/>
              <a:gd name="connsiteY5017" fmla="*/ 822147 h 4367670"/>
              <a:gd name="connsiteX5018" fmla="*/ 4117653 w 5365133"/>
              <a:gd name="connsiteY5018" fmla="*/ 833626 h 4367670"/>
              <a:gd name="connsiteX5019" fmla="*/ 4111914 w 5365133"/>
              <a:gd name="connsiteY5019" fmla="*/ 827886 h 4367670"/>
              <a:gd name="connsiteX5020" fmla="*/ 4111914 w 5365133"/>
              <a:gd name="connsiteY5020" fmla="*/ 839365 h 4367670"/>
              <a:gd name="connsiteX5021" fmla="*/ 4094695 w 5365133"/>
              <a:gd name="connsiteY5021" fmla="*/ 833626 h 4367670"/>
              <a:gd name="connsiteX5022" fmla="*/ 4117653 w 5365133"/>
              <a:gd name="connsiteY5022" fmla="*/ 822147 h 4367670"/>
              <a:gd name="connsiteX5023" fmla="*/ 4480476 w 5365133"/>
              <a:gd name="connsiteY5023" fmla="*/ 821823 h 4367670"/>
              <a:gd name="connsiteX5024" fmla="*/ 4490835 w 5365133"/>
              <a:gd name="connsiteY5024" fmla="*/ 823347 h 4367670"/>
              <a:gd name="connsiteX5025" fmla="*/ 4492966 w 5365133"/>
              <a:gd name="connsiteY5025" fmla="*/ 822250 h 4367670"/>
              <a:gd name="connsiteX5026" fmla="*/ 4500453 w 5365133"/>
              <a:gd name="connsiteY5026" fmla="*/ 827159 h 4367670"/>
              <a:gd name="connsiteX5027" fmla="*/ 4504151 w 5365133"/>
              <a:gd name="connsiteY5027" fmla="*/ 827921 h 4367670"/>
              <a:gd name="connsiteX5028" fmla="*/ 4496753 w 5365133"/>
              <a:gd name="connsiteY5028" fmla="*/ 834782 h 4367670"/>
              <a:gd name="connsiteX5029" fmla="*/ 4487710 w 5365133"/>
              <a:gd name="connsiteY5029" fmla="*/ 841134 h 4367670"/>
              <a:gd name="connsiteX5030" fmla="*/ 4492315 w 5365133"/>
              <a:gd name="connsiteY5030" fmla="*/ 834019 h 4367670"/>
              <a:gd name="connsiteX5031" fmla="*/ 4486183 w 5365133"/>
              <a:gd name="connsiteY5031" fmla="*/ 829425 h 4367670"/>
              <a:gd name="connsiteX5032" fmla="*/ 4486215 w 5365133"/>
              <a:gd name="connsiteY5032" fmla="*/ 829355 h 4367670"/>
              <a:gd name="connsiteX5033" fmla="*/ 4486110 w 5365133"/>
              <a:gd name="connsiteY5033" fmla="*/ 829371 h 4367670"/>
              <a:gd name="connsiteX5034" fmla="*/ 4484175 w 5365133"/>
              <a:gd name="connsiteY5034" fmla="*/ 827921 h 4367670"/>
              <a:gd name="connsiteX5035" fmla="*/ 4480476 w 5365133"/>
              <a:gd name="connsiteY5035" fmla="*/ 821823 h 4367670"/>
              <a:gd name="connsiteX5036" fmla="*/ 2760054 w 5365133"/>
              <a:gd name="connsiteY5036" fmla="*/ 821814 h 4367670"/>
              <a:gd name="connsiteX5037" fmla="*/ 2754822 w 5365133"/>
              <a:gd name="connsiteY5037" fmla="*/ 830759 h 4367670"/>
              <a:gd name="connsiteX5038" fmla="*/ 2754587 w 5365133"/>
              <a:gd name="connsiteY5038" fmla="*/ 833586 h 4367670"/>
              <a:gd name="connsiteX5039" fmla="*/ 2760363 w 5365133"/>
              <a:gd name="connsiteY5039" fmla="*/ 829934 h 4367670"/>
              <a:gd name="connsiteX5040" fmla="*/ 2761735 w 5365133"/>
              <a:gd name="connsiteY5040" fmla="*/ 826286 h 4367670"/>
              <a:gd name="connsiteX5041" fmla="*/ 2760054 w 5365133"/>
              <a:gd name="connsiteY5041" fmla="*/ 821814 h 4367670"/>
              <a:gd name="connsiteX5042" fmla="*/ 4493719 w 5365133"/>
              <a:gd name="connsiteY5042" fmla="*/ 821516 h 4367670"/>
              <a:gd name="connsiteX5043" fmla="*/ 4493794 w 5365133"/>
              <a:gd name="connsiteY5043" fmla="*/ 821823 h 4367670"/>
              <a:gd name="connsiteX5044" fmla="*/ 4492966 w 5365133"/>
              <a:gd name="connsiteY5044" fmla="*/ 822250 h 4367670"/>
              <a:gd name="connsiteX5045" fmla="*/ 4492315 w 5365133"/>
              <a:gd name="connsiteY5045" fmla="*/ 821823 h 4367670"/>
              <a:gd name="connsiteX5046" fmla="*/ 4779872 w 5365133"/>
              <a:gd name="connsiteY5046" fmla="*/ 818086 h 4367670"/>
              <a:gd name="connsiteX5047" fmla="*/ 4786597 w 5365133"/>
              <a:gd name="connsiteY5047" fmla="*/ 819101 h 4367670"/>
              <a:gd name="connsiteX5048" fmla="*/ 4765078 w 5365133"/>
              <a:gd name="connsiteY5048" fmla="*/ 823006 h 4367670"/>
              <a:gd name="connsiteX5049" fmla="*/ 4457518 w 5365133"/>
              <a:gd name="connsiteY5049" fmla="*/ 817876 h 4367670"/>
              <a:gd name="connsiteX5050" fmla="*/ 4445083 w 5365133"/>
              <a:gd name="connsiteY5050" fmla="*/ 823616 h 4367670"/>
              <a:gd name="connsiteX5051" fmla="*/ 4457518 w 5365133"/>
              <a:gd name="connsiteY5051" fmla="*/ 817876 h 4367670"/>
              <a:gd name="connsiteX5052" fmla="*/ 2782751 w 5365133"/>
              <a:gd name="connsiteY5052" fmla="*/ 817060 h 4367670"/>
              <a:gd name="connsiteX5053" fmla="*/ 2782081 w 5365133"/>
              <a:gd name="connsiteY5053" fmla="*/ 817438 h 4367670"/>
              <a:gd name="connsiteX5054" fmla="*/ 2778358 w 5365133"/>
              <a:gd name="connsiteY5054" fmla="*/ 818557 h 4367670"/>
              <a:gd name="connsiteX5055" fmla="*/ 2764251 w 5365133"/>
              <a:gd name="connsiteY5055" fmla="*/ 827477 h 4367670"/>
              <a:gd name="connsiteX5056" fmla="*/ 2763883 w 5365133"/>
              <a:gd name="connsiteY5056" fmla="*/ 827684 h 4367670"/>
              <a:gd name="connsiteX5057" fmla="*/ 2763873 w 5365133"/>
              <a:gd name="connsiteY5057" fmla="*/ 827716 h 4367670"/>
              <a:gd name="connsiteX5058" fmla="*/ 2764251 w 5365133"/>
              <a:gd name="connsiteY5058" fmla="*/ 827477 h 4367670"/>
              <a:gd name="connsiteX5059" fmla="*/ 2782081 w 5365133"/>
              <a:gd name="connsiteY5059" fmla="*/ 817438 h 4367670"/>
              <a:gd name="connsiteX5060" fmla="*/ 2782934 w 5365133"/>
              <a:gd name="connsiteY5060" fmla="*/ 817181 h 4367670"/>
              <a:gd name="connsiteX5061" fmla="*/ 2505112 w 5365133"/>
              <a:gd name="connsiteY5061" fmla="*/ 816441 h 4367670"/>
              <a:gd name="connsiteX5062" fmla="*/ 2520447 w 5365133"/>
              <a:gd name="connsiteY5062" fmla="*/ 817876 h 4367670"/>
              <a:gd name="connsiteX5063" fmla="*/ 2520447 w 5365133"/>
              <a:gd name="connsiteY5063" fmla="*/ 823616 h 4367670"/>
              <a:gd name="connsiteX5064" fmla="*/ 2513990 w 5365133"/>
              <a:gd name="connsiteY5064" fmla="*/ 817876 h 4367670"/>
              <a:gd name="connsiteX5065" fmla="*/ 2494619 w 5365133"/>
              <a:gd name="connsiteY5065" fmla="*/ 823616 h 4367670"/>
              <a:gd name="connsiteX5066" fmla="*/ 2505112 w 5365133"/>
              <a:gd name="connsiteY5066" fmla="*/ 816441 h 4367670"/>
              <a:gd name="connsiteX5067" fmla="*/ 4070783 w 5365133"/>
              <a:gd name="connsiteY5067" fmla="*/ 816407 h 4367670"/>
              <a:gd name="connsiteX5068" fmla="*/ 4077479 w 5365133"/>
              <a:gd name="connsiteY5068" fmla="*/ 827886 h 4367670"/>
              <a:gd name="connsiteX5069" fmla="*/ 4057390 w 5365133"/>
              <a:gd name="connsiteY5069" fmla="*/ 822147 h 4367670"/>
              <a:gd name="connsiteX5070" fmla="*/ 4070783 w 5365133"/>
              <a:gd name="connsiteY5070" fmla="*/ 816407 h 4367670"/>
              <a:gd name="connsiteX5071" fmla="*/ 4140611 w 5365133"/>
              <a:gd name="connsiteY5071" fmla="*/ 816405 h 4367670"/>
              <a:gd name="connsiteX5072" fmla="*/ 4134872 w 5365133"/>
              <a:gd name="connsiteY5072" fmla="*/ 827885 h 4367670"/>
              <a:gd name="connsiteX5073" fmla="*/ 4140611 w 5365133"/>
              <a:gd name="connsiteY5073" fmla="*/ 816405 h 4367670"/>
              <a:gd name="connsiteX5074" fmla="*/ 2422876 w 5365133"/>
              <a:gd name="connsiteY5074" fmla="*/ 812137 h 4367670"/>
              <a:gd name="connsiteX5075" fmla="*/ 2422876 w 5365133"/>
              <a:gd name="connsiteY5075" fmla="*/ 829355 h 4367670"/>
              <a:gd name="connsiteX5076" fmla="*/ 2391666 w 5365133"/>
              <a:gd name="connsiteY5076" fmla="*/ 828637 h 4367670"/>
              <a:gd name="connsiteX5077" fmla="*/ 2372002 w 5365133"/>
              <a:gd name="connsiteY5077" fmla="*/ 843054 h 4367670"/>
              <a:gd name="connsiteX5078" fmla="*/ 2369375 w 5365133"/>
              <a:gd name="connsiteY5078" fmla="*/ 840834 h 4367670"/>
              <a:gd name="connsiteX5079" fmla="*/ 2367459 w 5365133"/>
              <a:gd name="connsiteY5079" fmla="*/ 846384 h 4367670"/>
              <a:gd name="connsiteX5080" fmla="*/ 2351542 w 5365133"/>
              <a:gd name="connsiteY5080" fmla="*/ 858052 h 4367670"/>
              <a:gd name="connsiteX5081" fmla="*/ 2351542 w 5365133"/>
              <a:gd name="connsiteY5081" fmla="*/ 852313 h 4367670"/>
              <a:gd name="connsiteX5082" fmla="*/ 2339653 w 5365133"/>
              <a:gd name="connsiteY5082" fmla="*/ 846574 h 4367670"/>
              <a:gd name="connsiteX5083" fmla="*/ 2357486 w 5365133"/>
              <a:gd name="connsiteY5083" fmla="*/ 846574 h 4367670"/>
              <a:gd name="connsiteX5084" fmla="*/ 2357486 w 5365133"/>
              <a:gd name="connsiteY5084" fmla="*/ 835094 h 4367670"/>
              <a:gd name="connsiteX5085" fmla="*/ 2369375 w 5365133"/>
              <a:gd name="connsiteY5085" fmla="*/ 835094 h 4367670"/>
              <a:gd name="connsiteX5086" fmla="*/ 2422876 w 5365133"/>
              <a:gd name="connsiteY5086" fmla="*/ 812137 h 4367670"/>
              <a:gd name="connsiteX5087" fmla="*/ 1927046 w 5365133"/>
              <a:gd name="connsiteY5087" fmla="*/ 810766 h 4367670"/>
              <a:gd name="connsiteX5088" fmla="*/ 1924535 w 5365133"/>
              <a:gd name="connsiteY5088" fmla="*/ 811456 h 4367670"/>
              <a:gd name="connsiteX5089" fmla="*/ 1909634 w 5365133"/>
              <a:gd name="connsiteY5089" fmla="*/ 816730 h 4367670"/>
              <a:gd name="connsiteX5090" fmla="*/ 1920530 w 5365133"/>
              <a:gd name="connsiteY5090" fmla="*/ 811645 h 4367670"/>
              <a:gd name="connsiteX5091" fmla="*/ 4094695 w 5365133"/>
              <a:gd name="connsiteY5091" fmla="*/ 810667 h 4367670"/>
              <a:gd name="connsiteX5092" fmla="*/ 4094695 w 5365133"/>
              <a:gd name="connsiteY5092" fmla="*/ 822147 h 4367670"/>
              <a:gd name="connsiteX5093" fmla="*/ 4083217 w 5365133"/>
              <a:gd name="connsiteY5093" fmla="*/ 827886 h 4367670"/>
              <a:gd name="connsiteX5094" fmla="*/ 4094695 w 5365133"/>
              <a:gd name="connsiteY5094" fmla="*/ 810667 h 4367670"/>
              <a:gd name="connsiteX5095" fmla="*/ 1927661 w 5365133"/>
              <a:gd name="connsiteY5095" fmla="*/ 810598 h 4367670"/>
              <a:gd name="connsiteX5096" fmla="*/ 1927515 w 5365133"/>
              <a:gd name="connsiteY5096" fmla="*/ 810703 h 4367670"/>
              <a:gd name="connsiteX5097" fmla="*/ 1927046 w 5365133"/>
              <a:gd name="connsiteY5097" fmla="*/ 810766 h 4367670"/>
              <a:gd name="connsiteX5098" fmla="*/ 4003479 w 5365133"/>
              <a:gd name="connsiteY5098" fmla="*/ 809884 h 4367670"/>
              <a:gd name="connsiteX5099" fmla="*/ 3991523 w 5365133"/>
              <a:gd name="connsiteY5099" fmla="*/ 815850 h 4367670"/>
              <a:gd name="connsiteX5100" fmla="*/ 3997501 w 5365133"/>
              <a:gd name="connsiteY5100" fmla="*/ 818086 h 4367670"/>
              <a:gd name="connsiteX5101" fmla="*/ 4000372 w 5365133"/>
              <a:gd name="connsiteY5101" fmla="*/ 817012 h 4367670"/>
              <a:gd name="connsiteX5102" fmla="*/ 4001430 w 5365133"/>
              <a:gd name="connsiteY5102" fmla="*/ 814685 h 4367670"/>
              <a:gd name="connsiteX5103" fmla="*/ 4003502 w 5365133"/>
              <a:gd name="connsiteY5103" fmla="*/ 810127 h 4367670"/>
              <a:gd name="connsiteX5104" fmla="*/ 4472134 w 5365133"/>
              <a:gd name="connsiteY5104" fmla="*/ 805634 h 4367670"/>
              <a:gd name="connsiteX5105" fmla="*/ 4474734 w 5365133"/>
              <a:gd name="connsiteY5105" fmla="*/ 811180 h 4367670"/>
              <a:gd name="connsiteX5106" fmla="*/ 4463256 w 5365133"/>
              <a:gd name="connsiteY5106" fmla="*/ 817876 h 4367670"/>
              <a:gd name="connsiteX5107" fmla="*/ 4466844 w 5365133"/>
              <a:gd name="connsiteY5107" fmla="*/ 806994 h 4367670"/>
              <a:gd name="connsiteX5108" fmla="*/ 4472134 w 5365133"/>
              <a:gd name="connsiteY5108" fmla="*/ 805634 h 4367670"/>
              <a:gd name="connsiteX5109" fmla="*/ 4025270 w 5365133"/>
              <a:gd name="connsiteY5109" fmla="*/ 804978 h 4367670"/>
              <a:gd name="connsiteX5110" fmla="*/ 4021559 w 5365133"/>
              <a:gd name="connsiteY5110" fmla="*/ 806829 h 4367670"/>
              <a:gd name="connsiteX5111" fmla="*/ 4023495 w 5365133"/>
              <a:gd name="connsiteY5111" fmla="*/ 808519 h 4367670"/>
              <a:gd name="connsiteX5112" fmla="*/ 2460182 w 5365133"/>
              <a:gd name="connsiteY5112" fmla="*/ 804964 h 4367670"/>
              <a:gd name="connsiteX5113" fmla="*/ 2465921 w 5365133"/>
              <a:gd name="connsiteY5113" fmla="*/ 817160 h 4367670"/>
              <a:gd name="connsiteX5114" fmla="*/ 2431485 w 5365133"/>
              <a:gd name="connsiteY5114" fmla="*/ 829357 h 4367670"/>
              <a:gd name="connsiteX5115" fmla="*/ 2460182 w 5365133"/>
              <a:gd name="connsiteY5115" fmla="*/ 804964 h 4367670"/>
              <a:gd name="connsiteX5116" fmla="*/ 4533746 w 5365133"/>
              <a:gd name="connsiteY5116" fmla="*/ 803528 h 4367670"/>
              <a:gd name="connsiteX5117" fmla="*/ 4539666 w 5365133"/>
              <a:gd name="connsiteY5117" fmla="*/ 809626 h 4367670"/>
              <a:gd name="connsiteX5118" fmla="*/ 4515990 w 5365133"/>
              <a:gd name="connsiteY5118" fmla="*/ 821823 h 4367670"/>
              <a:gd name="connsiteX5119" fmla="*/ 4500175 w 5365133"/>
              <a:gd name="connsiteY5119" fmla="*/ 820108 h 4367670"/>
              <a:gd name="connsiteX5120" fmla="*/ 4493719 w 5365133"/>
              <a:gd name="connsiteY5120" fmla="*/ 821516 h 4367670"/>
              <a:gd name="connsiteX5121" fmla="*/ 4492315 w 5365133"/>
              <a:gd name="connsiteY5121" fmla="*/ 815725 h 4367670"/>
              <a:gd name="connsiteX5122" fmla="*/ 4507851 w 5365133"/>
              <a:gd name="connsiteY5122" fmla="*/ 814963 h 4367670"/>
              <a:gd name="connsiteX5123" fmla="*/ 4527211 w 5365133"/>
              <a:gd name="connsiteY5123" fmla="*/ 809790 h 4367670"/>
              <a:gd name="connsiteX5124" fmla="*/ 4526347 w 5365133"/>
              <a:gd name="connsiteY5124" fmla="*/ 811150 h 4367670"/>
              <a:gd name="connsiteX5125" fmla="*/ 4527827 w 5365133"/>
              <a:gd name="connsiteY5125" fmla="*/ 809626 h 4367670"/>
              <a:gd name="connsiteX5126" fmla="*/ 4527211 w 5365133"/>
              <a:gd name="connsiteY5126" fmla="*/ 809790 h 4367670"/>
              <a:gd name="connsiteX5127" fmla="*/ 4529491 w 5365133"/>
              <a:gd name="connsiteY5127" fmla="*/ 806196 h 4367670"/>
              <a:gd name="connsiteX5128" fmla="*/ 4533746 w 5365133"/>
              <a:gd name="connsiteY5128" fmla="*/ 803528 h 4367670"/>
              <a:gd name="connsiteX5129" fmla="*/ 1802534 w 5365133"/>
              <a:gd name="connsiteY5129" fmla="*/ 803527 h 4367670"/>
              <a:gd name="connsiteX5130" fmla="*/ 1802534 w 5365133"/>
              <a:gd name="connsiteY5130" fmla="*/ 809984 h 4367670"/>
              <a:gd name="connsiteX5131" fmla="*/ 1808753 w 5365133"/>
              <a:gd name="connsiteY5131" fmla="*/ 809984 h 4367670"/>
              <a:gd name="connsiteX5132" fmla="*/ 1783881 w 5365133"/>
              <a:gd name="connsiteY5132" fmla="*/ 822898 h 4367670"/>
              <a:gd name="connsiteX5133" fmla="*/ 1771446 w 5365133"/>
              <a:gd name="connsiteY5133" fmla="*/ 822898 h 4367670"/>
              <a:gd name="connsiteX5134" fmla="*/ 1802534 w 5365133"/>
              <a:gd name="connsiteY5134" fmla="*/ 803527 h 4367670"/>
              <a:gd name="connsiteX5135" fmla="*/ 4338836 w 5365133"/>
              <a:gd name="connsiteY5135" fmla="*/ 801064 h 4367670"/>
              <a:gd name="connsiteX5136" fmla="*/ 4339612 w 5365133"/>
              <a:gd name="connsiteY5136" fmla="*/ 804935 h 4367670"/>
              <a:gd name="connsiteX5137" fmla="*/ 4346012 w 5365133"/>
              <a:gd name="connsiteY5137" fmla="*/ 802724 h 4367670"/>
              <a:gd name="connsiteX5138" fmla="*/ 4346308 w 5365133"/>
              <a:gd name="connsiteY5138" fmla="*/ 802555 h 4367670"/>
              <a:gd name="connsiteX5139" fmla="*/ 4338836 w 5365133"/>
              <a:gd name="connsiteY5139" fmla="*/ 801064 h 4367670"/>
              <a:gd name="connsiteX5140" fmla="*/ 4874406 w 5365133"/>
              <a:gd name="connsiteY5140" fmla="*/ 800694 h 4367670"/>
              <a:gd name="connsiteX5141" fmla="*/ 4874774 w 5365133"/>
              <a:gd name="connsiteY5141" fmla="*/ 800939 h 4367670"/>
              <a:gd name="connsiteX5142" fmla="*/ 4870290 w 5365133"/>
              <a:gd name="connsiteY5142" fmla="*/ 803921 h 4367670"/>
              <a:gd name="connsiteX5143" fmla="*/ 2632315 w 5365133"/>
              <a:gd name="connsiteY5143" fmla="*/ 799651 h 4367670"/>
              <a:gd name="connsiteX5144" fmla="*/ 2627265 w 5365133"/>
              <a:gd name="connsiteY5144" fmla="*/ 804676 h 4367670"/>
              <a:gd name="connsiteX5145" fmla="*/ 2627265 w 5365133"/>
              <a:gd name="connsiteY5145" fmla="*/ 822757 h 4367670"/>
              <a:gd name="connsiteX5146" fmla="*/ 2596973 w 5365133"/>
              <a:gd name="connsiteY5146" fmla="*/ 822757 h 4367670"/>
              <a:gd name="connsiteX5147" fmla="*/ 2603031 w 5365133"/>
              <a:gd name="connsiteY5147" fmla="*/ 834809 h 4367670"/>
              <a:gd name="connsiteX5148" fmla="*/ 2560622 w 5365133"/>
              <a:gd name="connsiteY5148" fmla="*/ 828782 h 4367670"/>
              <a:gd name="connsiteX5149" fmla="*/ 2626224 w 5365133"/>
              <a:gd name="connsiteY5149" fmla="*/ 799969 h 4367670"/>
              <a:gd name="connsiteX5150" fmla="*/ 2646954 w 5365133"/>
              <a:gd name="connsiteY5150" fmla="*/ 798886 h 4367670"/>
              <a:gd name="connsiteX5151" fmla="*/ 2646197 w 5365133"/>
              <a:gd name="connsiteY5151" fmla="*/ 800157 h 4367670"/>
              <a:gd name="connsiteX5152" fmla="*/ 2645439 w 5365133"/>
              <a:gd name="connsiteY5152" fmla="*/ 810703 h 4367670"/>
              <a:gd name="connsiteX5153" fmla="*/ 2645439 w 5365133"/>
              <a:gd name="connsiteY5153" fmla="*/ 804676 h 4367670"/>
              <a:gd name="connsiteX5154" fmla="*/ 2637107 w 5365133"/>
              <a:gd name="connsiteY5154" fmla="*/ 801663 h 4367670"/>
              <a:gd name="connsiteX5155" fmla="*/ 2634440 w 5365133"/>
              <a:gd name="connsiteY5155" fmla="*/ 799541 h 4367670"/>
              <a:gd name="connsiteX5156" fmla="*/ 2840932 w 5365133"/>
              <a:gd name="connsiteY5156" fmla="*/ 798658 h 4367670"/>
              <a:gd name="connsiteX5157" fmla="*/ 2837767 w 5365133"/>
              <a:gd name="connsiteY5157" fmla="*/ 803921 h 4367670"/>
              <a:gd name="connsiteX5158" fmla="*/ 2840756 w 5365133"/>
              <a:gd name="connsiteY5158" fmla="*/ 798703 h 4367670"/>
              <a:gd name="connsiteX5159" fmla="*/ 2633322 w 5365133"/>
              <a:gd name="connsiteY5159" fmla="*/ 798649 h 4367670"/>
              <a:gd name="connsiteX5160" fmla="*/ 2634440 w 5365133"/>
              <a:gd name="connsiteY5160" fmla="*/ 799541 h 4367670"/>
              <a:gd name="connsiteX5161" fmla="*/ 2632315 w 5365133"/>
              <a:gd name="connsiteY5161" fmla="*/ 799651 h 4367670"/>
              <a:gd name="connsiteX5162" fmla="*/ 2795922 w 5365133"/>
              <a:gd name="connsiteY5162" fmla="*/ 797957 h 4367670"/>
              <a:gd name="connsiteX5163" fmla="*/ 2772009 w 5365133"/>
              <a:gd name="connsiteY5163" fmla="*/ 809884 h 4367670"/>
              <a:gd name="connsiteX5164" fmla="*/ 2783966 w 5365133"/>
              <a:gd name="connsiteY5164" fmla="*/ 803921 h 4367670"/>
              <a:gd name="connsiteX5165" fmla="*/ 2784807 w 5365133"/>
              <a:gd name="connsiteY5165" fmla="*/ 816502 h 4367670"/>
              <a:gd name="connsiteX5166" fmla="*/ 2784893 w 5365133"/>
              <a:gd name="connsiteY5166" fmla="*/ 816592 h 4367670"/>
              <a:gd name="connsiteX5167" fmla="*/ 2789779 w 5365133"/>
              <a:gd name="connsiteY5167" fmla="*/ 815122 h 4367670"/>
              <a:gd name="connsiteX5168" fmla="*/ 2788356 w 5365133"/>
              <a:gd name="connsiteY5168" fmla="*/ 808860 h 4367670"/>
              <a:gd name="connsiteX5169" fmla="*/ 2795922 w 5365133"/>
              <a:gd name="connsiteY5169" fmla="*/ 797957 h 4367670"/>
              <a:gd name="connsiteX5170" fmla="*/ 2549143 w 5365133"/>
              <a:gd name="connsiteY5170" fmla="*/ 797789 h 4367670"/>
              <a:gd name="connsiteX5171" fmla="*/ 2543403 w 5365133"/>
              <a:gd name="connsiteY5171" fmla="*/ 812138 h 4367670"/>
              <a:gd name="connsiteX5172" fmla="*/ 2537664 w 5365133"/>
              <a:gd name="connsiteY5172" fmla="*/ 804964 h 4367670"/>
              <a:gd name="connsiteX5173" fmla="*/ 2549143 w 5365133"/>
              <a:gd name="connsiteY5173" fmla="*/ 797789 h 4367670"/>
              <a:gd name="connsiteX5174" fmla="*/ 2496916 w 5365133"/>
              <a:gd name="connsiteY5174" fmla="*/ 797789 h 4367670"/>
              <a:gd name="connsiteX5175" fmla="*/ 2500933 w 5365133"/>
              <a:gd name="connsiteY5175" fmla="*/ 797789 h 4367670"/>
              <a:gd name="connsiteX5176" fmla="*/ 2503229 w 5365133"/>
              <a:gd name="connsiteY5176" fmla="*/ 797789 h 4367670"/>
              <a:gd name="connsiteX5177" fmla="*/ 2484288 w 5365133"/>
              <a:gd name="connsiteY5177" fmla="*/ 817160 h 4367670"/>
              <a:gd name="connsiteX5178" fmla="*/ 2496916 w 5365133"/>
              <a:gd name="connsiteY5178" fmla="*/ 797789 h 4367670"/>
              <a:gd name="connsiteX5179" fmla="*/ 2841782 w 5365133"/>
              <a:gd name="connsiteY5179" fmla="*/ 797245 h 4367670"/>
              <a:gd name="connsiteX5180" fmla="*/ 2843745 w 5365133"/>
              <a:gd name="connsiteY5180" fmla="*/ 797957 h 4367670"/>
              <a:gd name="connsiteX5181" fmla="*/ 2840932 w 5365133"/>
              <a:gd name="connsiteY5181" fmla="*/ 798658 h 4367670"/>
              <a:gd name="connsiteX5182" fmla="*/ 2647995 w 5365133"/>
              <a:gd name="connsiteY5182" fmla="*/ 797143 h 4367670"/>
              <a:gd name="connsiteX5183" fmla="*/ 2651497 w 5365133"/>
              <a:gd name="connsiteY5183" fmla="*/ 798649 h 4367670"/>
              <a:gd name="connsiteX5184" fmla="*/ 2646954 w 5365133"/>
              <a:gd name="connsiteY5184" fmla="*/ 798886 h 4367670"/>
              <a:gd name="connsiteX5185" fmla="*/ 4134872 w 5365133"/>
              <a:gd name="connsiteY5185" fmla="*/ 796318 h 4367670"/>
              <a:gd name="connsiteX5186" fmla="*/ 4100435 w 5365133"/>
              <a:gd name="connsiteY5186" fmla="*/ 816407 h 4367670"/>
              <a:gd name="connsiteX5187" fmla="*/ 4134872 w 5365133"/>
              <a:gd name="connsiteY5187" fmla="*/ 796318 h 4367670"/>
              <a:gd name="connsiteX5188" fmla="*/ 2485293 w 5365133"/>
              <a:gd name="connsiteY5188" fmla="*/ 795395 h 4367670"/>
              <a:gd name="connsiteX5189" fmla="*/ 2488880 w 5365133"/>
              <a:gd name="connsiteY5189" fmla="*/ 805441 h 4367670"/>
              <a:gd name="connsiteX5190" fmla="*/ 2477400 w 5365133"/>
              <a:gd name="connsiteY5190" fmla="*/ 805441 h 4367670"/>
              <a:gd name="connsiteX5191" fmla="*/ 2485293 w 5365133"/>
              <a:gd name="connsiteY5191" fmla="*/ 795395 h 4367670"/>
              <a:gd name="connsiteX5192" fmla="*/ 4865246 w 5365133"/>
              <a:gd name="connsiteY5192" fmla="*/ 793018 h 4367670"/>
              <a:gd name="connsiteX5193" fmla="*/ 4873280 w 5365133"/>
              <a:gd name="connsiteY5193" fmla="*/ 794230 h 4367670"/>
              <a:gd name="connsiteX5194" fmla="*/ 4876828 w 5365133"/>
              <a:gd name="connsiteY5194" fmla="*/ 798796 h 4367670"/>
              <a:gd name="connsiteX5195" fmla="*/ 4874406 w 5365133"/>
              <a:gd name="connsiteY5195" fmla="*/ 800694 h 4367670"/>
              <a:gd name="connsiteX5196" fmla="*/ 4870290 w 5365133"/>
              <a:gd name="connsiteY5196" fmla="*/ 797957 h 4367670"/>
              <a:gd name="connsiteX5197" fmla="*/ 4840399 w 5365133"/>
              <a:gd name="connsiteY5197" fmla="*/ 809884 h 4367670"/>
              <a:gd name="connsiteX5198" fmla="*/ 4804531 w 5365133"/>
              <a:gd name="connsiteY5198" fmla="*/ 821814 h 4367670"/>
              <a:gd name="connsiteX5199" fmla="*/ 4786597 w 5365133"/>
              <a:gd name="connsiteY5199" fmla="*/ 819101 h 4367670"/>
              <a:gd name="connsiteX5200" fmla="*/ 4804531 w 5365133"/>
              <a:gd name="connsiteY5200" fmla="*/ 815850 h 4367670"/>
              <a:gd name="connsiteX5201" fmla="*/ 4858334 w 5365133"/>
              <a:gd name="connsiteY5201" fmla="*/ 797957 h 4367670"/>
              <a:gd name="connsiteX5202" fmla="*/ 4865246 w 5365133"/>
              <a:gd name="connsiteY5202" fmla="*/ 793018 h 4367670"/>
              <a:gd name="connsiteX5203" fmla="*/ 4893620 w 5365133"/>
              <a:gd name="connsiteY5203" fmla="*/ 792288 h 4367670"/>
              <a:gd name="connsiteX5204" fmla="*/ 4953983 w 5365133"/>
              <a:gd name="connsiteY5204" fmla="*/ 798268 h 4367670"/>
              <a:gd name="connsiteX5205" fmla="*/ 4917766 w 5365133"/>
              <a:gd name="connsiteY5205" fmla="*/ 804246 h 4367670"/>
              <a:gd name="connsiteX5206" fmla="*/ 4863439 w 5365133"/>
              <a:gd name="connsiteY5206" fmla="*/ 828160 h 4367670"/>
              <a:gd name="connsiteX5207" fmla="*/ 4784964 w 5365133"/>
              <a:gd name="connsiteY5207" fmla="*/ 858054 h 4367670"/>
              <a:gd name="connsiteX5208" fmla="*/ 4784964 w 5365133"/>
              <a:gd name="connsiteY5208" fmla="*/ 852076 h 4367670"/>
              <a:gd name="connsiteX5209" fmla="*/ 4803074 w 5365133"/>
              <a:gd name="connsiteY5209" fmla="*/ 846097 h 4367670"/>
              <a:gd name="connsiteX5210" fmla="*/ 4911730 w 5365133"/>
              <a:gd name="connsiteY5210" fmla="*/ 804246 h 4367670"/>
              <a:gd name="connsiteX5211" fmla="*/ 4881547 w 5365133"/>
              <a:gd name="connsiteY5211" fmla="*/ 804246 h 4367670"/>
              <a:gd name="connsiteX5212" fmla="*/ 4893620 w 5365133"/>
              <a:gd name="connsiteY5212" fmla="*/ 792288 h 4367670"/>
              <a:gd name="connsiteX5213" fmla="*/ 4552219 w 5365133"/>
              <a:gd name="connsiteY5213" fmla="*/ 792049 h 4367670"/>
              <a:gd name="connsiteX5214" fmla="*/ 4563697 w 5365133"/>
              <a:gd name="connsiteY5214" fmla="*/ 792049 h 4367670"/>
              <a:gd name="connsiteX5215" fmla="*/ 4552219 w 5365133"/>
              <a:gd name="connsiteY5215" fmla="*/ 792049 h 4367670"/>
              <a:gd name="connsiteX5216" fmla="*/ 2537664 w 5365133"/>
              <a:gd name="connsiteY5216" fmla="*/ 792049 h 4367670"/>
              <a:gd name="connsiteX5217" fmla="*/ 2531925 w 5365133"/>
              <a:gd name="connsiteY5217" fmla="*/ 823618 h 4367670"/>
              <a:gd name="connsiteX5218" fmla="*/ 2526185 w 5365133"/>
              <a:gd name="connsiteY5218" fmla="*/ 798364 h 4367670"/>
              <a:gd name="connsiteX5219" fmla="*/ 2537664 w 5365133"/>
              <a:gd name="connsiteY5219" fmla="*/ 792049 h 4367670"/>
              <a:gd name="connsiteX5220" fmla="*/ 2058419 w 5365133"/>
              <a:gd name="connsiteY5220" fmla="*/ 792048 h 4367670"/>
              <a:gd name="connsiteX5221" fmla="*/ 2029722 w 5365133"/>
              <a:gd name="connsiteY5221" fmla="*/ 812137 h 4367670"/>
              <a:gd name="connsiteX5222" fmla="*/ 2058419 w 5365133"/>
              <a:gd name="connsiteY5222" fmla="*/ 792048 h 4367670"/>
              <a:gd name="connsiteX5223" fmla="*/ 2879613 w 5365133"/>
              <a:gd name="connsiteY5223" fmla="*/ 791993 h 4367670"/>
              <a:gd name="connsiteX5224" fmla="*/ 2885591 w 5365133"/>
              <a:gd name="connsiteY5224" fmla="*/ 803921 h 4367670"/>
              <a:gd name="connsiteX5225" fmla="*/ 2873636 w 5365133"/>
              <a:gd name="connsiteY5225" fmla="*/ 803921 h 4367670"/>
              <a:gd name="connsiteX5226" fmla="*/ 2879613 w 5365133"/>
              <a:gd name="connsiteY5226" fmla="*/ 791993 h 4367670"/>
              <a:gd name="connsiteX5227" fmla="*/ 2831791 w 5365133"/>
              <a:gd name="connsiteY5227" fmla="*/ 791993 h 4367670"/>
              <a:gd name="connsiteX5228" fmla="*/ 2831791 w 5365133"/>
              <a:gd name="connsiteY5228" fmla="*/ 793398 h 4367670"/>
              <a:gd name="connsiteX5229" fmla="*/ 2832722 w 5365133"/>
              <a:gd name="connsiteY5229" fmla="*/ 792737 h 4367670"/>
              <a:gd name="connsiteX5230" fmla="*/ 2513453 w 5365133"/>
              <a:gd name="connsiteY5230" fmla="*/ 791077 h 4367670"/>
              <a:gd name="connsiteX5231" fmla="*/ 2514243 w 5365133"/>
              <a:gd name="connsiteY5231" fmla="*/ 791196 h 4367670"/>
              <a:gd name="connsiteX5232" fmla="*/ 2513560 w 5365133"/>
              <a:gd name="connsiteY5232" fmla="*/ 792049 h 4367670"/>
              <a:gd name="connsiteX5233" fmla="*/ 4040899 w 5365133"/>
              <a:gd name="connsiteY5233" fmla="*/ 790627 h 4367670"/>
              <a:gd name="connsiteX5234" fmla="*/ 4033368 w 5365133"/>
              <a:gd name="connsiteY5234" fmla="*/ 791993 h 4367670"/>
              <a:gd name="connsiteX5235" fmla="*/ 4036222 w 5365133"/>
              <a:gd name="connsiteY5235" fmla="*/ 792705 h 4367670"/>
              <a:gd name="connsiteX5236" fmla="*/ 4041429 w 5365133"/>
              <a:gd name="connsiteY5236" fmla="*/ 790627 h 4367670"/>
              <a:gd name="connsiteX5237" fmla="*/ 2555600 w 5365133"/>
              <a:gd name="connsiteY5237" fmla="*/ 789896 h 4367670"/>
              <a:gd name="connsiteX5238" fmla="*/ 2566361 w 5365133"/>
              <a:gd name="connsiteY5238" fmla="*/ 792049 h 4367670"/>
              <a:gd name="connsiteX5239" fmla="*/ 2560622 w 5365133"/>
              <a:gd name="connsiteY5239" fmla="*/ 803528 h 4367670"/>
              <a:gd name="connsiteX5240" fmla="*/ 2549143 w 5365133"/>
              <a:gd name="connsiteY5240" fmla="*/ 792049 h 4367670"/>
              <a:gd name="connsiteX5241" fmla="*/ 2555600 w 5365133"/>
              <a:gd name="connsiteY5241" fmla="*/ 789896 h 4367670"/>
              <a:gd name="connsiteX5242" fmla="*/ 2012503 w 5365133"/>
              <a:gd name="connsiteY5242" fmla="*/ 786308 h 4367670"/>
              <a:gd name="connsiteX5243" fmla="*/ 1986674 w 5365133"/>
              <a:gd name="connsiteY5243" fmla="*/ 792048 h 4367670"/>
              <a:gd name="connsiteX5244" fmla="*/ 2012503 w 5365133"/>
              <a:gd name="connsiteY5244" fmla="*/ 786308 h 4367670"/>
              <a:gd name="connsiteX5245" fmla="*/ 2502262 w 5365133"/>
              <a:gd name="connsiteY5245" fmla="*/ 785101 h 4367670"/>
              <a:gd name="connsiteX5246" fmla="*/ 2502088 w 5365133"/>
              <a:gd name="connsiteY5246" fmla="*/ 786760 h 4367670"/>
              <a:gd name="connsiteX5247" fmla="*/ 2500933 w 5365133"/>
              <a:gd name="connsiteY5247" fmla="*/ 786310 h 4367670"/>
              <a:gd name="connsiteX5248" fmla="*/ 2512772 w 5365133"/>
              <a:gd name="connsiteY5248" fmla="*/ 784875 h 4367670"/>
              <a:gd name="connsiteX5249" fmla="*/ 2513453 w 5365133"/>
              <a:gd name="connsiteY5249" fmla="*/ 791077 h 4367670"/>
              <a:gd name="connsiteX5250" fmla="*/ 2510403 w 5365133"/>
              <a:gd name="connsiteY5250" fmla="*/ 790614 h 4367670"/>
              <a:gd name="connsiteX5251" fmla="*/ 2500933 w 5365133"/>
              <a:gd name="connsiteY5251" fmla="*/ 797789 h 4367670"/>
              <a:gd name="connsiteX5252" fmla="*/ 2502088 w 5365133"/>
              <a:gd name="connsiteY5252" fmla="*/ 786760 h 4367670"/>
              <a:gd name="connsiteX5253" fmla="*/ 2506458 w 5365133"/>
              <a:gd name="connsiteY5253" fmla="*/ 788463 h 4367670"/>
              <a:gd name="connsiteX5254" fmla="*/ 2507246 w 5365133"/>
              <a:gd name="connsiteY5254" fmla="*/ 786310 h 4367670"/>
              <a:gd name="connsiteX5255" fmla="*/ 2512772 w 5365133"/>
              <a:gd name="connsiteY5255" fmla="*/ 784875 h 4367670"/>
              <a:gd name="connsiteX5256" fmla="*/ 2714353 w 5365133"/>
              <a:gd name="connsiteY5256" fmla="*/ 784839 h 4367670"/>
              <a:gd name="connsiteX5257" fmla="*/ 2706282 w 5365133"/>
              <a:gd name="connsiteY5257" fmla="*/ 797753 h 4367670"/>
              <a:gd name="connsiteX5258" fmla="*/ 2691068 w 5365133"/>
              <a:gd name="connsiteY5258" fmla="*/ 808819 h 4367670"/>
              <a:gd name="connsiteX5259" fmla="*/ 2707255 w 5365133"/>
              <a:gd name="connsiteY5259" fmla="*/ 806043 h 4367670"/>
              <a:gd name="connsiteX5260" fmla="*/ 2724927 w 5365133"/>
              <a:gd name="connsiteY5260" fmla="*/ 803014 h 4367670"/>
              <a:gd name="connsiteX5261" fmla="*/ 2724927 w 5365133"/>
              <a:gd name="connsiteY5261" fmla="*/ 796956 h 4367670"/>
              <a:gd name="connsiteX5262" fmla="*/ 2736707 w 5365133"/>
              <a:gd name="connsiteY5262" fmla="*/ 796956 h 4367670"/>
              <a:gd name="connsiteX5263" fmla="*/ 2754380 w 5365133"/>
              <a:gd name="connsiteY5263" fmla="*/ 784839 h 4367670"/>
              <a:gd name="connsiteX5264" fmla="*/ 2748488 w 5365133"/>
              <a:gd name="connsiteY5264" fmla="*/ 790897 h 4367670"/>
              <a:gd name="connsiteX5265" fmla="*/ 2754380 w 5365133"/>
              <a:gd name="connsiteY5265" fmla="*/ 796956 h 4367670"/>
              <a:gd name="connsiteX5266" fmla="*/ 2713146 w 5365133"/>
              <a:gd name="connsiteY5266" fmla="*/ 815131 h 4367670"/>
              <a:gd name="connsiteX5267" fmla="*/ 2719035 w 5365133"/>
              <a:gd name="connsiteY5267" fmla="*/ 809074 h 4367670"/>
              <a:gd name="connsiteX5268" fmla="*/ 2707255 w 5365133"/>
              <a:gd name="connsiteY5268" fmla="*/ 815131 h 4367670"/>
              <a:gd name="connsiteX5269" fmla="*/ 2713146 w 5365133"/>
              <a:gd name="connsiteY5269" fmla="*/ 815131 h 4367670"/>
              <a:gd name="connsiteX5270" fmla="*/ 2683693 w 5365133"/>
              <a:gd name="connsiteY5270" fmla="*/ 833306 h 4367670"/>
              <a:gd name="connsiteX5271" fmla="*/ 2689582 w 5365133"/>
              <a:gd name="connsiteY5271" fmla="*/ 821191 h 4367670"/>
              <a:gd name="connsiteX5272" fmla="*/ 2677802 w 5365133"/>
              <a:gd name="connsiteY5272" fmla="*/ 839365 h 4367670"/>
              <a:gd name="connsiteX5273" fmla="*/ 2654240 w 5365133"/>
              <a:gd name="connsiteY5273" fmla="*/ 833306 h 4367670"/>
              <a:gd name="connsiteX5274" fmla="*/ 2666020 w 5365133"/>
              <a:gd name="connsiteY5274" fmla="*/ 821191 h 4367670"/>
              <a:gd name="connsiteX5275" fmla="*/ 2689582 w 5365133"/>
              <a:gd name="connsiteY5275" fmla="*/ 809074 h 4367670"/>
              <a:gd name="connsiteX5276" fmla="*/ 2689621 w 5365133"/>
              <a:gd name="connsiteY5276" fmla="*/ 809066 h 4367670"/>
              <a:gd name="connsiteX5277" fmla="*/ 2699019 w 5365133"/>
              <a:gd name="connsiteY5277" fmla="*/ 795331 h 4367670"/>
              <a:gd name="connsiteX5278" fmla="*/ 2714353 w 5365133"/>
              <a:gd name="connsiteY5278" fmla="*/ 784839 h 4367670"/>
              <a:gd name="connsiteX5279" fmla="*/ 4364241 w 5365133"/>
              <a:gd name="connsiteY5279" fmla="*/ 784664 h 4367670"/>
              <a:gd name="connsiteX5280" fmla="*/ 4364241 w 5365133"/>
              <a:gd name="connsiteY5280" fmla="*/ 790627 h 4367670"/>
              <a:gd name="connsiteX5281" fmla="*/ 4358263 w 5365133"/>
              <a:gd name="connsiteY5281" fmla="*/ 790627 h 4367670"/>
              <a:gd name="connsiteX5282" fmla="*/ 4364241 w 5365133"/>
              <a:gd name="connsiteY5282" fmla="*/ 784664 h 4367670"/>
              <a:gd name="connsiteX5283" fmla="*/ 2688037 w 5365133"/>
              <a:gd name="connsiteY5283" fmla="*/ 781721 h 4367670"/>
              <a:gd name="connsiteX5284" fmla="*/ 2686890 w 5365133"/>
              <a:gd name="connsiteY5284" fmla="*/ 786310 h 4367670"/>
              <a:gd name="connsiteX5285" fmla="*/ 2686157 w 5365133"/>
              <a:gd name="connsiteY5285" fmla="*/ 786109 h 4367670"/>
              <a:gd name="connsiteX5286" fmla="*/ 2663614 w 5365133"/>
              <a:gd name="connsiteY5286" fmla="*/ 780570 h 4367670"/>
              <a:gd name="connsiteX5287" fmla="*/ 2669672 w 5365133"/>
              <a:gd name="connsiteY5287" fmla="*/ 798649 h 4367670"/>
              <a:gd name="connsiteX5288" fmla="*/ 2651497 w 5365133"/>
              <a:gd name="connsiteY5288" fmla="*/ 798649 h 4367670"/>
              <a:gd name="connsiteX5289" fmla="*/ 2663614 w 5365133"/>
              <a:gd name="connsiteY5289" fmla="*/ 780570 h 4367670"/>
              <a:gd name="connsiteX5290" fmla="*/ 2526187 w 5365133"/>
              <a:gd name="connsiteY5290" fmla="*/ 780570 h 4367670"/>
              <a:gd name="connsiteX5291" fmla="*/ 2519874 w 5365133"/>
              <a:gd name="connsiteY5291" fmla="*/ 792049 h 4367670"/>
              <a:gd name="connsiteX5292" fmla="*/ 2514243 w 5365133"/>
              <a:gd name="connsiteY5292" fmla="*/ 791196 h 4367670"/>
              <a:gd name="connsiteX5293" fmla="*/ 2519874 w 5365133"/>
              <a:gd name="connsiteY5293" fmla="*/ 784157 h 4367670"/>
              <a:gd name="connsiteX5294" fmla="*/ 2526187 w 5365133"/>
              <a:gd name="connsiteY5294" fmla="*/ 780570 h 4367670"/>
              <a:gd name="connsiteX5295" fmla="*/ 2488880 w 5365133"/>
              <a:gd name="connsiteY5295" fmla="*/ 780570 h 4367670"/>
              <a:gd name="connsiteX5296" fmla="*/ 2494619 w 5365133"/>
              <a:gd name="connsiteY5296" fmla="*/ 786668 h 4367670"/>
              <a:gd name="connsiteX5297" fmla="*/ 2460182 w 5365133"/>
              <a:gd name="connsiteY5297" fmla="*/ 804964 h 4367670"/>
              <a:gd name="connsiteX5298" fmla="*/ 2442963 w 5365133"/>
              <a:gd name="connsiteY5298" fmla="*/ 798865 h 4367670"/>
              <a:gd name="connsiteX5299" fmla="*/ 2488880 w 5365133"/>
              <a:gd name="connsiteY5299" fmla="*/ 780570 h 4367670"/>
              <a:gd name="connsiteX5300" fmla="*/ 1975197 w 5365133"/>
              <a:gd name="connsiteY5300" fmla="*/ 780570 h 4367670"/>
              <a:gd name="connsiteX5301" fmla="*/ 1945395 w 5365133"/>
              <a:gd name="connsiteY5301" fmla="*/ 804676 h 4367670"/>
              <a:gd name="connsiteX5302" fmla="*/ 1951356 w 5365133"/>
              <a:gd name="connsiteY5302" fmla="*/ 804676 h 4367670"/>
              <a:gd name="connsiteX5303" fmla="*/ 1927515 w 5365133"/>
              <a:gd name="connsiteY5303" fmla="*/ 822757 h 4367670"/>
              <a:gd name="connsiteX5304" fmla="*/ 1945395 w 5365133"/>
              <a:gd name="connsiteY5304" fmla="*/ 828782 h 4367670"/>
              <a:gd name="connsiteX5305" fmla="*/ 1903674 w 5365133"/>
              <a:gd name="connsiteY5305" fmla="*/ 840836 h 4367670"/>
              <a:gd name="connsiteX5306" fmla="*/ 1909634 w 5365133"/>
              <a:gd name="connsiteY5306" fmla="*/ 828782 h 4367670"/>
              <a:gd name="connsiteX5307" fmla="*/ 1939435 w 5365133"/>
              <a:gd name="connsiteY5307" fmla="*/ 810703 h 4367670"/>
              <a:gd name="connsiteX5308" fmla="*/ 1933103 w 5365133"/>
              <a:gd name="connsiteY5308" fmla="*/ 809102 h 4367670"/>
              <a:gd name="connsiteX5309" fmla="*/ 1927661 w 5365133"/>
              <a:gd name="connsiteY5309" fmla="*/ 810598 h 4367670"/>
              <a:gd name="connsiteX5310" fmla="*/ 1951356 w 5365133"/>
              <a:gd name="connsiteY5310" fmla="*/ 793377 h 4367670"/>
              <a:gd name="connsiteX5311" fmla="*/ 1975197 w 5365133"/>
              <a:gd name="connsiteY5311" fmla="*/ 780570 h 4367670"/>
              <a:gd name="connsiteX5312" fmla="*/ 2603667 w 5365133"/>
              <a:gd name="connsiteY5312" fmla="*/ 780569 h 4367670"/>
              <a:gd name="connsiteX5313" fmla="*/ 2609407 w 5365133"/>
              <a:gd name="connsiteY5313" fmla="*/ 797787 h 4367670"/>
              <a:gd name="connsiteX5314" fmla="*/ 2603667 w 5365133"/>
              <a:gd name="connsiteY5314" fmla="*/ 780569 h 4367670"/>
              <a:gd name="connsiteX5315" fmla="*/ 4177917 w 5365133"/>
              <a:gd name="connsiteY5315" fmla="*/ 779100 h 4367670"/>
              <a:gd name="connsiteX5316" fmla="*/ 4154958 w 5365133"/>
              <a:gd name="connsiteY5316" fmla="*/ 790578 h 4367670"/>
              <a:gd name="connsiteX5317" fmla="*/ 4177917 w 5365133"/>
              <a:gd name="connsiteY5317" fmla="*/ 779100 h 4367670"/>
              <a:gd name="connsiteX5318" fmla="*/ 2786097 w 5365133"/>
              <a:gd name="connsiteY5318" fmla="*/ 779100 h 4367670"/>
              <a:gd name="connsiteX5319" fmla="*/ 2766008 w 5365133"/>
              <a:gd name="connsiteY5319" fmla="*/ 790578 h 4367670"/>
              <a:gd name="connsiteX5320" fmla="*/ 2786097 w 5365133"/>
              <a:gd name="connsiteY5320" fmla="*/ 779100 h 4367670"/>
              <a:gd name="connsiteX5321" fmla="*/ 4056253 w 5365133"/>
              <a:gd name="connsiteY5321" fmla="*/ 778481 h 4367670"/>
              <a:gd name="connsiteX5322" fmla="*/ 4053545 w 5365133"/>
              <a:gd name="connsiteY5322" fmla="*/ 780811 h 4367670"/>
              <a:gd name="connsiteX5323" fmla="*/ 4047842 w 5365133"/>
              <a:gd name="connsiteY5323" fmla="*/ 784432 h 4367670"/>
              <a:gd name="connsiteX5324" fmla="*/ 4051424 w 5365133"/>
              <a:gd name="connsiteY5324" fmla="*/ 784757 h 4367670"/>
              <a:gd name="connsiteX5325" fmla="*/ 4051899 w 5365133"/>
              <a:gd name="connsiteY5325" fmla="*/ 786178 h 4367670"/>
              <a:gd name="connsiteX5326" fmla="*/ 4055412 w 5365133"/>
              <a:gd name="connsiteY5326" fmla="*/ 787054 h 4367670"/>
              <a:gd name="connsiteX5327" fmla="*/ 4053018 w 5365133"/>
              <a:gd name="connsiteY5327" fmla="*/ 789528 h 4367670"/>
              <a:gd name="connsiteX5328" fmla="*/ 4053385 w 5365133"/>
              <a:gd name="connsiteY5328" fmla="*/ 790627 h 4367670"/>
              <a:gd name="connsiteX5329" fmla="*/ 4058751 w 5365133"/>
              <a:gd name="connsiteY5329" fmla="*/ 784708 h 4367670"/>
              <a:gd name="connsiteX5330" fmla="*/ 4057281 w 5365133"/>
              <a:gd name="connsiteY5330" fmla="*/ 780064 h 4367670"/>
              <a:gd name="connsiteX5331" fmla="*/ 4056253 w 5365133"/>
              <a:gd name="connsiteY5331" fmla="*/ 778481 h 4367670"/>
              <a:gd name="connsiteX5332" fmla="*/ 1874756 w 5365133"/>
              <a:gd name="connsiteY5332" fmla="*/ 774829 h 4367670"/>
              <a:gd name="connsiteX5333" fmla="*/ 1856755 w 5365133"/>
              <a:gd name="connsiteY5333" fmla="*/ 787264 h 4367670"/>
              <a:gd name="connsiteX5334" fmla="*/ 1868754 w 5365133"/>
              <a:gd name="connsiteY5334" fmla="*/ 787264 h 4367670"/>
              <a:gd name="connsiteX5335" fmla="*/ 1874756 w 5365133"/>
              <a:gd name="connsiteY5335" fmla="*/ 805918 h 4367670"/>
              <a:gd name="connsiteX5336" fmla="*/ 1844753 w 5365133"/>
              <a:gd name="connsiteY5336" fmla="*/ 787264 h 4367670"/>
              <a:gd name="connsiteX5337" fmla="*/ 1832752 w 5365133"/>
              <a:gd name="connsiteY5337" fmla="*/ 799701 h 4367670"/>
              <a:gd name="connsiteX5338" fmla="*/ 1844753 w 5365133"/>
              <a:gd name="connsiteY5338" fmla="*/ 799701 h 4367670"/>
              <a:gd name="connsiteX5339" fmla="*/ 1808751 w 5365133"/>
              <a:gd name="connsiteY5339" fmla="*/ 799701 h 4367670"/>
              <a:gd name="connsiteX5340" fmla="*/ 1874756 w 5365133"/>
              <a:gd name="connsiteY5340" fmla="*/ 774829 h 4367670"/>
              <a:gd name="connsiteX5341" fmla="*/ 2941530 w 5365133"/>
              <a:gd name="connsiteY5341" fmla="*/ 773675 h 4367670"/>
              <a:gd name="connsiteX5342" fmla="*/ 2945373 w 5365133"/>
              <a:gd name="connsiteY5342" fmla="*/ 774101 h 4367670"/>
              <a:gd name="connsiteX5343" fmla="*/ 2942444 w 5365133"/>
              <a:gd name="connsiteY5343" fmla="*/ 775196 h 4367670"/>
              <a:gd name="connsiteX5344" fmla="*/ 2677832 w 5365133"/>
              <a:gd name="connsiteY5344" fmla="*/ 773396 h 4367670"/>
              <a:gd name="connsiteX5345" fmla="*/ 2675411 w 5365133"/>
              <a:gd name="connsiteY5345" fmla="*/ 786310 h 4367670"/>
              <a:gd name="connsiteX5346" fmla="*/ 2678999 w 5365133"/>
              <a:gd name="connsiteY5346" fmla="*/ 784157 h 4367670"/>
              <a:gd name="connsiteX5347" fmla="*/ 2686157 w 5365133"/>
              <a:gd name="connsiteY5347" fmla="*/ 786109 h 4367670"/>
              <a:gd name="connsiteX5348" fmla="*/ 2681151 w 5365133"/>
              <a:gd name="connsiteY5348" fmla="*/ 797789 h 4367670"/>
              <a:gd name="connsiteX5349" fmla="*/ 2669672 w 5365133"/>
              <a:gd name="connsiteY5349" fmla="*/ 780570 h 4367670"/>
              <a:gd name="connsiteX5350" fmla="*/ 2675411 w 5365133"/>
              <a:gd name="connsiteY5350" fmla="*/ 774831 h 4367670"/>
              <a:gd name="connsiteX5351" fmla="*/ 2677832 w 5365133"/>
              <a:gd name="connsiteY5351" fmla="*/ 773396 h 4367670"/>
              <a:gd name="connsiteX5352" fmla="*/ 4358263 w 5365133"/>
              <a:gd name="connsiteY5352" fmla="*/ 772734 h 4367670"/>
              <a:gd name="connsiteX5353" fmla="*/ 4359351 w 5365133"/>
              <a:gd name="connsiteY5353" fmla="*/ 773000 h 4367670"/>
              <a:gd name="connsiteX5354" fmla="*/ 4355923 w 5365133"/>
              <a:gd name="connsiteY5354" fmla="*/ 774291 h 4367670"/>
              <a:gd name="connsiteX5355" fmla="*/ 2940889 w 5365133"/>
              <a:gd name="connsiteY5355" fmla="*/ 772609 h 4367670"/>
              <a:gd name="connsiteX5356" fmla="*/ 2941530 w 5365133"/>
              <a:gd name="connsiteY5356" fmla="*/ 773675 h 4367670"/>
              <a:gd name="connsiteX5357" fmla="*/ 2938647 w 5365133"/>
              <a:gd name="connsiteY5357" fmla="*/ 773355 h 4367670"/>
              <a:gd name="connsiteX5358" fmla="*/ 2940889 w 5365133"/>
              <a:gd name="connsiteY5358" fmla="*/ 772609 h 4367670"/>
              <a:gd name="connsiteX5359" fmla="*/ 2435501 w 5365133"/>
              <a:gd name="connsiteY5359" fmla="*/ 769090 h 4367670"/>
              <a:gd name="connsiteX5360" fmla="*/ 2448128 w 5365133"/>
              <a:gd name="connsiteY5360" fmla="*/ 769090 h 4367670"/>
              <a:gd name="connsiteX5361" fmla="*/ 2454443 w 5365133"/>
              <a:gd name="connsiteY5361" fmla="*/ 769090 h 4367670"/>
              <a:gd name="connsiteX5362" fmla="*/ 2435501 w 5365133"/>
              <a:gd name="connsiteY5362" fmla="*/ 792048 h 4367670"/>
              <a:gd name="connsiteX5363" fmla="*/ 2441816 w 5365133"/>
              <a:gd name="connsiteY5363" fmla="*/ 774829 h 4367670"/>
              <a:gd name="connsiteX5364" fmla="*/ 2429187 w 5365133"/>
              <a:gd name="connsiteY5364" fmla="*/ 780569 h 4367670"/>
              <a:gd name="connsiteX5365" fmla="*/ 2435501 w 5365133"/>
              <a:gd name="connsiteY5365" fmla="*/ 769090 h 4367670"/>
              <a:gd name="connsiteX5366" fmla="*/ 2935324 w 5365133"/>
              <a:gd name="connsiteY5366" fmla="*/ 767621 h 4367670"/>
              <a:gd name="connsiteX5367" fmla="*/ 2915234 w 5365133"/>
              <a:gd name="connsiteY5367" fmla="*/ 779100 h 4367670"/>
              <a:gd name="connsiteX5368" fmla="*/ 2935324 w 5365133"/>
              <a:gd name="connsiteY5368" fmla="*/ 767621 h 4367670"/>
              <a:gd name="connsiteX5369" fmla="*/ 2526187 w 5365133"/>
              <a:gd name="connsiteY5369" fmla="*/ 763352 h 4367670"/>
              <a:gd name="connsiteX5370" fmla="*/ 2502262 w 5365133"/>
              <a:gd name="connsiteY5370" fmla="*/ 785101 h 4367670"/>
              <a:gd name="connsiteX5371" fmla="*/ 2502512 w 5365133"/>
              <a:gd name="connsiteY5371" fmla="*/ 782723 h 4367670"/>
              <a:gd name="connsiteX5372" fmla="*/ 2494619 w 5365133"/>
              <a:gd name="connsiteY5372" fmla="*/ 780570 h 4367670"/>
              <a:gd name="connsiteX5373" fmla="*/ 2526187 w 5365133"/>
              <a:gd name="connsiteY5373" fmla="*/ 763352 h 4367670"/>
              <a:gd name="connsiteX5374" fmla="*/ 2124424 w 5365133"/>
              <a:gd name="connsiteY5374" fmla="*/ 763350 h 4367670"/>
              <a:gd name="connsiteX5375" fmla="*/ 2100748 w 5365133"/>
              <a:gd name="connsiteY5375" fmla="*/ 792048 h 4367670"/>
              <a:gd name="connsiteX5376" fmla="*/ 2094830 w 5365133"/>
              <a:gd name="connsiteY5376" fmla="*/ 786308 h 4367670"/>
              <a:gd name="connsiteX5377" fmla="*/ 2124424 w 5365133"/>
              <a:gd name="connsiteY5377" fmla="*/ 763350 h 4367670"/>
              <a:gd name="connsiteX5378" fmla="*/ 2674494 w 5365133"/>
              <a:gd name="connsiteY5378" fmla="*/ 761883 h 4367670"/>
              <a:gd name="connsiteX5379" fmla="*/ 2674953 w 5365133"/>
              <a:gd name="connsiteY5379" fmla="*/ 762295 h 4367670"/>
              <a:gd name="connsiteX5380" fmla="*/ 2674108 w 5365133"/>
              <a:gd name="connsiteY5380" fmla="*/ 763352 h 4367670"/>
              <a:gd name="connsiteX5381" fmla="*/ 2771746 w 5365133"/>
              <a:gd name="connsiteY5381" fmla="*/ 761881 h 4367670"/>
              <a:gd name="connsiteX5382" fmla="*/ 2725831 w 5365133"/>
              <a:gd name="connsiteY5382" fmla="*/ 790578 h 4367670"/>
              <a:gd name="connsiteX5383" fmla="*/ 2771746 w 5365133"/>
              <a:gd name="connsiteY5383" fmla="*/ 761881 h 4367670"/>
              <a:gd name="connsiteX5384" fmla="*/ 2698369 w 5365133"/>
              <a:gd name="connsiteY5384" fmla="*/ 757612 h 4367670"/>
              <a:gd name="connsiteX5385" fmla="*/ 2688037 w 5365133"/>
              <a:gd name="connsiteY5385" fmla="*/ 781721 h 4367670"/>
              <a:gd name="connsiteX5386" fmla="*/ 2690477 w 5365133"/>
              <a:gd name="connsiteY5386" fmla="*/ 771961 h 4367670"/>
              <a:gd name="connsiteX5387" fmla="*/ 2698369 w 5365133"/>
              <a:gd name="connsiteY5387" fmla="*/ 757612 h 4367670"/>
              <a:gd name="connsiteX5388" fmla="*/ 2632364 w 5365133"/>
              <a:gd name="connsiteY5388" fmla="*/ 757610 h 4367670"/>
              <a:gd name="connsiteX5389" fmla="*/ 2603667 w 5365133"/>
              <a:gd name="connsiteY5389" fmla="*/ 780569 h 4367670"/>
              <a:gd name="connsiteX5390" fmla="*/ 2592188 w 5365133"/>
              <a:gd name="connsiteY5390" fmla="*/ 780569 h 4367670"/>
              <a:gd name="connsiteX5391" fmla="*/ 2597927 w 5365133"/>
              <a:gd name="connsiteY5391" fmla="*/ 780569 h 4367670"/>
              <a:gd name="connsiteX5392" fmla="*/ 2632364 w 5365133"/>
              <a:gd name="connsiteY5392" fmla="*/ 757610 h 4367670"/>
              <a:gd name="connsiteX5393" fmla="*/ 2496446 w 5365133"/>
              <a:gd name="connsiteY5393" fmla="*/ 757610 h 4367670"/>
              <a:gd name="connsiteX5394" fmla="*/ 2508448 w 5365133"/>
              <a:gd name="connsiteY5394" fmla="*/ 760479 h 4367670"/>
              <a:gd name="connsiteX5395" fmla="*/ 2520447 w 5365133"/>
              <a:gd name="connsiteY5395" fmla="*/ 763350 h 4367670"/>
              <a:gd name="connsiteX5396" fmla="*/ 2491946 w 5365133"/>
              <a:gd name="connsiteY5396" fmla="*/ 776982 h 4367670"/>
              <a:gd name="connsiteX5397" fmla="*/ 2454443 w 5365133"/>
              <a:gd name="connsiteY5397" fmla="*/ 786308 h 4367670"/>
              <a:gd name="connsiteX5398" fmla="*/ 2466443 w 5365133"/>
              <a:gd name="connsiteY5398" fmla="*/ 780569 h 4367670"/>
              <a:gd name="connsiteX5399" fmla="*/ 2460443 w 5365133"/>
              <a:gd name="connsiteY5399" fmla="*/ 774829 h 4367670"/>
              <a:gd name="connsiteX5400" fmla="*/ 2496446 w 5365133"/>
              <a:gd name="connsiteY5400" fmla="*/ 757610 h 4367670"/>
              <a:gd name="connsiteX5401" fmla="*/ 4327720 w 5365133"/>
              <a:gd name="connsiteY5401" fmla="*/ 755300 h 4367670"/>
              <a:gd name="connsiteX5402" fmla="*/ 4303614 w 5365133"/>
              <a:gd name="connsiteY5402" fmla="*/ 767453 h 4367670"/>
              <a:gd name="connsiteX5403" fmla="*/ 4201163 w 5365133"/>
              <a:gd name="connsiteY5403" fmla="*/ 797838 h 4367670"/>
              <a:gd name="connsiteX5404" fmla="*/ 4327720 w 5365133"/>
              <a:gd name="connsiteY5404" fmla="*/ 755300 h 4367670"/>
              <a:gd name="connsiteX5405" fmla="*/ 4412066 w 5365133"/>
              <a:gd name="connsiteY5405" fmla="*/ 754842 h 4367670"/>
              <a:gd name="connsiteX5406" fmla="*/ 4405491 w 5365133"/>
              <a:gd name="connsiteY5406" fmla="*/ 761404 h 4367670"/>
              <a:gd name="connsiteX5407" fmla="*/ 4397486 w 5365133"/>
              <a:gd name="connsiteY5407" fmla="*/ 766130 h 4367670"/>
              <a:gd name="connsiteX5408" fmla="*/ 4390208 w 5365133"/>
              <a:gd name="connsiteY5408" fmla="*/ 764349 h 4367670"/>
              <a:gd name="connsiteX5409" fmla="*/ 4368164 w 5365133"/>
              <a:gd name="connsiteY5409" fmla="*/ 775157 h 4367670"/>
              <a:gd name="connsiteX5410" fmla="*/ 4359351 w 5365133"/>
              <a:gd name="connsiteY5410" fmla="*/ 773000 h 4367670"/>
              <a:gd name="connsiteX5411" fmla="*/ 4367977 w 5365133"/>
              <a:gd name="connsiteY5411" fmla="*/ 769752 h 4367670"/>
              <a:gd name="connsiteX5412" fmla="*/ 4412066 w 5365133"/>
              <a:gd name="connsiteY5412" fmla="*/ 754842 h 4367670"/>
              <a:gd name="connsiteX5413" fmla="*/ 2737530 w 5365133"/>
              <a:gd name="connsiteY5413" fmla="*/ 751873 h 4367670"/>
              <a:gd name="connsiteX5414" fmla="*/ 2740268 w 5365133"/>
              <a:gd name="connsiteY5414" fmla="*/ 751873 h 4367670"/>
              <a:gd name="connsiteX5415" fmla="*/ 2741704 w 5365133"/>
              <a:gd name="connsiteY5415" fmla="*/ 754606 h 4367670"/>
              <a:gd name="connsiteX5416" fmla="*/ 2837751 w 5365133"/>
              <a:gd name="connsiteY5416" fmla="*/ 750402 h 4367670"/>
              <a:gd name="connsiteX5417" fmla="*/ 2820533 w 5365133"/>
              <a:gd name="connsiteY5417" fmla="*/ 761881 h 4367670"/>
              <a:gd name="connsiteX5418" fmla="*/ 2820533 w 5365133"/>
              <a:gd name="connsiteY5418" fmla="*/ 756142 h 4367670"/>
              <a:gd name="connsiteX5419" fmla="*/ 2837751 w 5365133"/>
              <a:gd name="connsiteY5419" fmla="*/ 750402 h 4367670"/>
              <a:gd name="connsiteX5420" fmla="*/ 4368606 w 5365133"/>
              <a:gd name="connsiteY5420" fmla="*/ 750365 h 4367670"/>
              <a:gd name="connsiteX5421" fmla="*/ 4368210 w 5365133"/>
              <a:gd name="connsiteY5421" fmla="*/ 750741 h 4367670"/>
              <a:gd name="connsiteX5422" fmla="*/ 4367975 w 5365133"/>
              <a:gd name="connsiteY5422" fmla="*/ 750659 h 4367670"/>
              <a:gd name="connsiteX5423" fmla="*/ 2921460 w 5365133"/>
              <a:gd name="connsiteY5423" fmla="*/ 750244 h 4367670"/>
              <a:gd name="connsiteX5424" fmla="*/ 2908009 w 5365133"/>
              <a:gd name="connsiteY5424" fmla="*/ 756115 h 4367670"/>
              <a:gd name="connsiteX5425" fmla="*/ 2909342 w 5365133"/>
              <a:gd name="connsiteY5425" fmla="*/ 761517 h 4367670"/>
              <a:gd name="connsiteX5426" fmla="*/ 2913801 w 5365133"/>
              <a:gd name="connsiteY5426" fmla="*/ 759011 h 4367670"/>
              <a:gd name="connsiteX5427" fmla="*/ 2924271 w 5365133"/>
              <a:gd name="connsiteY5427" fmla="*/ 757281 h 4367670"/>
              <a:gd name="connsiteX5428" fmla="*/ 2922394 w 5365133"/>
              <a:gd name="connsiteY5428" fmla="*/ 752853 h 4367670"/>
              <a:gd name="connsiteX5429" fmla="*/ 2921460 w 5365133"/>
              <a:gd name="connsiteY5429" fmla="*/ 750244 h 4367670"/>
              <a:gd name="connsiteX5430" fmla="*/ 2746295 w 5365133"/>
              <a:gd name="connsiteY5430" fmla="*/ 746134 h 4367670"/>
              <a:gd name="connsiteX5431" fmla="*/ 2758347 w 5365133"/>
              <a:gd name="connsiteY5431" fmla="*/ 746134 h 4367670"/>
              <a:gd name="connsiteX5432" fmla="*/ 2746295 w 5365133"/>
              <a:gd name="connsiteY5432" fmla="*/ 763352 h 4367670"/>
              <a:gd name="connsiteX5433" fmla="*/ 2741704 w 5365133"/>
              <a:gd name="connsiteY5433" fmla="*/ 754606 h 4367670"/>
              <a:gd name="connsiteX5434" fmla="*/ 2746295 w 5365133"/>
              <a:gd name="connsiteY5434" fmla="*/ 757612 h 4367670"/>
              <a:gd name="connsiteX5435" fmla="*/ 2746295 w 5365133"/>
              <a:gd name="connsiteY5435" fmla="*/ 746134 h 4367670"/>
              <a:gd name="connsiteX5436" fmla="*/ 2722189 w 5365133"/>
              <a:gd name="connsiteY5436" fmla="*/ 746134 h 4367670"/>
              <a:gd name="connsiteX5437" fmla="*/ 2734241 w 5365133"/>
              <a:gd name="connsiteY5437" fmla="*/ 749720 h 4367670"/>
              <a:gd name="connsiteX5438" fmla="*/ 2737530 w 5365133"/>
              <a:gd name="connsiteY5438" fmla="*/ 751873 h 4367670"/>
              <a:gd name="connsiteX5439" fmla="*/ 2734241 w 5365133"/>
              <a:gd name="connsiteY5439" fmla="*/ 751873 h 4367670"/>
              <a:gd name="connsiteX5440" fmla="*/ 2722189 w 5365133"/>
              <a:gd name="connsiteY5440" fmla="*/ 769092 h 4367670"/>
              <a:gd name="connsiteX5441" fmla="*/ 2710135 w 5365133"/>
              <a:gd name="connsiteY5441" fmla="*/ 769092 h 4367670"/>
              <a:gd name="connsiteX5442" fmla="*/ 2704108 w 5365133"/>
              <a:gd name="connsiteY5442" fmla="*/ 757612 h 4367670"/>
              <a:gd name="connsiteX5443" fmla="*/ 2722189 w 5365133"/>
              <a:gd name="connsiteY5443" fmla="*/ 746134 h 4367670"/>
              <a:gd name="connsiteX5444" fmla="*/ 2503227 w 5365133"/>
              <a:gd name="connsiteY5444" fmla="*/ 746132 h 4367670"/>
              <a:gd name="connsiteX5445" fmla="*/ 2465920 w 5365133"/>
              <a:gd name="connsiteY5445" fmla="*/ 769090 h 4367670"/>
              <a:gd name="connsiteX5446" fmla="*/ 2465920 w 5365133"/>
              <a:gd name="connsiteY5446" fmla="*/ 757610 h 4367670"/>
              <a:gd name="connsiteX5447" fmla="*/ 2478356 w 5365133"/>
              <a:gd name="connsiteY5447" fmla="*/ 763350 h 4367670"/>
              <a:gd name="connsiteX5448" fmla="*/ 2490792 w 5365133"/>
              <a:gd name="connsiteY5448" fmla="*/ 757610 h 4367670"/>
              <a:gd name="connsiteX5449" fmla="*/ 2503227 w 5365133"/>
              <a:gd name="connsiteY5449" fmla="*/ 746132 h 4367670"/>
              <a:gd name="connsiteX5450" fmla="*/ 4131099 w 5365133"/>
              <a:gd name="connsiteY5450" fmla="*/ 742915 h 4367670"/>
              <a:gd name="connsiteX5451" fmla="*/ 4104527 w 5365133"/>
              <a:gd name="connsiteY5451" fmla="*/ 750779 h 4367670"/>
              <a:gd name="connsiteX5452" fmla="*/ 4101181 w 5365133"/>
              <a:gd name="connsiteY5452" fmla="*/ 752482 h 4367670"/>
              <a:gd name="connsiteX5453" fmla="*/ 4076709 w 5365133"/>
              <a:gd name="connsiteY5453" fmla="*/ 762174 h 4367670"/>
              <a:gd name="connsiteX5454" fmla="*/ 4055494 w 5365133"/>
              <a:gd name="connsiteY5454" fmla="*/ 769870 h 4367670"/>
              <a:gd name="connsiteX5455" fmla="*/ 4033583 w 5365133"/>
              <a:gd name="connsiteY5455" fmla="*/ 778978 h 4367670"/>
              <a:gd name="connsiteX5456" fmla="*/ 4016107 w 5365133"/>
              <a:gd name="connsiteY5456" fmla="*/ 786243 h 4367670"/>
              <a:gd name="connsiteX5457" fmla="*/ 4021319 w 5365133"/>
              <a:gd name="connsiteY5457" fmla="*/ 787893 h 4367670"/>
              <a:gd name="connsiteX5458" fmla="*/ 4021214 w 5365133"/>
              <a:gd name="connsiteY5458" fmla="*/ 794113 h 4367670"/>
              <a:gd name="connsiteX5459" fmla="*/ 4015434 w 5365133"/>
              <a:gd name="connsiteY5459" fmla="*/ 797957 h 4367670"/>
              <a:gd name="connsiteX5460" fmla="*/ 4021213 w 5365133"/>
              <a:gd name="connsiteY5460" fmla="*/ 794183 h 4367670"/>
              <a:gd name="connsiteX5461" fmla="*/ 4021214 w 5365133"/>
              <a:gd name="connsiteY5461" fmla="*/ 794113 h 4367670"/>
              <a:gd name="connsiteX5462" fmla="*/ 4040094 w 5365133"/>
              <a:gd name="connsiteY5462" fmla="*/ 781556 h 4367670"/>
              <a:gd name="connsiteX5463" fmla="*/ 4069236 w 5365133"/>
              <a:gd name="connsiteY5463" fmla="*/ 774101 h 4367670"/>
              <a:gd name="connsiteX5464" fmla="*/ 4069236 w 5365133"/>
              <a:gd name="connsiteY5464" fmla="*/ 768137 h 4367670"/>
              <a:gd name="connsiteX5465" fmla="*/ 4103704 w 5365133"/>
              <a:gd name="connsiteY5465" fmla="*/ 754718 h 4367670"/>
              <a:gd name="connsiteX5466" fmla="*/ 4129279 w 5365133"/>
              <a:gd name="connsiteY5466" fmla="*/ 746032 h 4367670"/>
              <a:gd name="connsiteX5467" fmla="*/ 4194218 w 5365133"/>
              <a:gd name="connsiteY5467" fmla="*/ 738957 h 4367670"/>
              <a:gd name="connsiteX5468" fmla="*/ 4204980 w 5365133"/>
              <a:gd name="connsiteY5468" fmla="*/ 740392 h 4367670"/>
              <a:gd name="connsiteX5469" fmla="*/ 4187761 w 5365133"/>
              <a:gd name="connsiteY5469" fmla="*/ 746132 h 4367670"/>
              <a:gd name="connsiteX5470" fmla="*/ 4194218 w 5365133"/>
              <a:gd name="connsiteY5470" fmla="*/ 738957 h 4367670"/>
              <a:gd name="connsiteX5471" fmla="*/ 2863579 w 5365133"/>
              <a:gd name="connsiteY5471" fmla="*/ 738923 h 4367670"/>
              <a:gd name="connsiteX5472" fmla="*/ 2850188 w 5365133"/>
              <a:gd name="connsiteY5472" fmla="*/ 756142 h 4367670"/>
              <a:gd name="connsiteX5473" fmla="*/ 2843490 w 5365133"/>
              <a:gd name="connsiteY5473" fmla="*/ 750402 h 4367670"/>
              <a:gd name="connsiteX5474" fmla="*/ 2863579 w 5365133"/>
              <a:gd name="connsiteY5474" fmla="*/ 738923 h 4367670"/>
              <a:gd name="connsiteX5475" fmla="*/ 2832012 w 5365133"/>
              <a:gd name="connsiteY5475" fmla="*/ 738923 h 4367670"/>
              <a:gd name="connsiteX5476" fmla="*/ 2814793 w 5365133"/>
              <a:gd name="connsiteY5476" fmla="*/ 750402 h 4367670"/>
              <a:gd name="connsiteX5477" fmla="*/ 2832012 w 5365133"/>
              <a:gd name="connsiteY5477" fmla="*/ 738923 h 4367670"/>
              <a:gd name="connsiteX5478" fmla="*/ 4394077 w 5365133"/>
              <a:gd name="connsiteY5478" fmla="*/ 738482 h 4367670"/>
              <a:gd name="connsiteX5479" fmla="*/ 4387984 w 5365133"/>
              <a:gd name="connsiteY5479" fmla="*/ 743144 h 4367670"/>
              <a:gd name="connsiteX5480" fmla="*/ 4387251 w 5365133"/>
              <a:gd name="connsiteY5480" fmla="*/ 741668 h 4367670"/>
              <a:gd name="connsiteX5481" fmla="*/ 2624721 w 5365133"/>
              <a:gd name="connsiteY5481" fmla="*/ 737367 h 4367670"/>
              <a:gd name="connsiteX5482" fmla="*/ 2624831 w 5365133"/>
              <a:gd name="connsiteY5482" fmla="*/ 737381 h 4367670"/>
              <a:gd name="connsiteX5483" fmla="*/ 2620887 w 5365133"/>
              <a:gd name="connsiteY5483" fmla="*/ 740394 h 4367670"/>
              <a:gd name="connsiteX5484" fmla="*/ 2624721 w 5365133"/>
              <a:gd name="connsiteY5484" fmla="*/ 737367 h 4367670"/>
              <a:gd name="connsiteX5485" fmla="*/ 4369905 w 5365133"/>
              <a:gd name="connsiteY5485" fmla="*/ 737067 h 4367670"/>
              <a:gd name="connsiteX5486" fmla="*/ 4363878 w 5365133"/>
              <a:gd name="connsiteY5486" fmla="*/ 749222 h 4367670"/>
              <a:gd name="connsiteX5487" fmla="*/ 4367975 w 5365133"/>
              <a:gd name="connsiteY5487" fmla="*/ 750659 h 4367670"/>
              <a:gd name="connsiteX5488" fmla="*/ 4325460 w 5365133"/>
              <a:gd name="connsiteY5488" fmla="*/ 770491 h 4367670"/>
              <a:gd name="connsiteX5489" fmla="*/ 4201163 w 5365133"/>
              <a:gd name="connsiteY5489" fmla="*/ 822147 h 4367670"/>
              <a:gd name="connsiteX5490" fmla="*/ 4207191 w 5365133"/>
              <a:gd name="connsiteY5490" fmla="*/ 809992 h 4367670"/>
              <a:gd name="connsiteX5491" fmla="*/ 4303614 w 5365133"/>
              <a:gd name="connsiteY5491" fmla="*/ 767453 h 4367670"/>
              <a:gd name="connsiteX5492" fmla="*/ 4333745 w 5365133"/>
              <a:gd name="connsiteY5492" fmla="*/ 749222 h 4367670"/>
              <a:gd name="connsiteX5493" fmla="*/ 4369905 w 5365133"/>
              <a:gd name="connsiteY5493" fmla="*/ 737067 h 4367670"/>
              <a:gd name="connsiteX5494" fmla="*/ 3023926 w 5365133"/>
              <a:gd name="connsiteY5494" fmla="*/ 736733 h 4367670"/>
              <a:gd name="connsiteX5495" fmla="*/ 3023086 w 5365133"/>
              <a:gd name="connsiteY5495" fmla="*/ 744281 h 4367670"/>
              <a:gd name="connsiteX5496" fmla="*/ 3017107 w 5365133"/>
              <a:gd name="connsiteY5496" fmla="*/ 738317 h 4367670"/>
              <a:gd name="connsiteX5497" fmla="*/ 3023926 w 5365133"/>
              <a:gd name="connsiteY5497" fmla="*/ 736733 h 4367670"/>
              <a:gd name="connsiteX5498" fmla="*/ 4729665 w 5365133"/>
              <a:gd name="connsiteY5498" fmla="*/ 736114 h 4367670"/>
              <a:gd name="connsiteX5499" fmla="*/ 4713445 w 5365133"/>
              <a:gd name="connsiteY5499" fmla="*/ 744539 h 4367670"/>
              <a:gd name="connsiteX5500" fmla="*/ 4635440 w 5365133"/>
              <a:gd name="connsiteY5500" fmla="*/ 774831 h 4367670"/>
              <a:gd name="connsiteX5501" fmla="*/ 4671442 w 5365133"/>
              <a:gd name="connsiteY5501" fmla="*/ 750597 h 4367670"/>
              <a:gd name="connsiteX5502" fmla="*/ 4729665 w 5365133"/>
              <a:gd name="connsiteY5502" fmla="*/ 736114 h 4367670"/>
              <a:gd name="connsiteX5503" fmla="*/ 2764374 w 5365133"/>
              <a:gd name="connsiteY5503" fmla="*/ 734654 h 4367670"/>
              <a:gd name="connsiteX5504" fmla="*/ 2770113 w 5365133"/>
              <a:gd name="connsiteY5504" fmla="*/ 740394 h 4367670"/>
              <a:gd name="connsiteX5505" fmla="*/ 2764374 w 5365133"/>
              <a:gd name="connsiteY5505" fmla="*/ 757612 h 4367670"/>
              <a:gd name="connsiteX5506" fmla="*/ 2764374 w 5365133"/>
              <a:gd name="connsiteY5506" fmla="*/ 734654 h 4367670"/>
              <a:gd name="connsiteX5507" fmla="*/ 2880796 w 5365133"/>
              <a:gd name="connsiteY5507" fmla="*/ 733184 h 4367670"/>
              <a:gd name="connsiteX5508" fmla="*/ 2875057 w 5365133"/>
              <a:gd name="connsiteY5508" fmla="*/ 744663 h 4367670"/>
              <a:gd name="connsiteX5509" fmla="*/ 2869317 w 5365133"/>
              <a:gd name="connsiteY5509" fmla="*/ 738923 h 4367670"/>
              <a:gd name="connsiteX5510" fmla="*/ 2880796 w 5365133"/>
              <a:gd name="connsiteY5510" fmla="*/ 733184 h 4367670"/>
              <a:gd name="connsiteX5511" fmla="*/ 4381956 w 5365133"/>
              <a:gd name="connsiteY5511" fmla="*/ 730989 h 4367670"/>
              <a:gd name="connsiteX5512" fmla="*/ 4387251 w 5365133"/>
              <a:gd name="connsiteY5512" fmla="*/ 741668 h 4367670"/>
              <a:gd name="connsiteX5513" fmla="*/ 4368606 w 5365133"/>
              <a:gd name="connsiteY5513" fmla="*/ 750365 h 4367670"/>
              <a:gd name="connsiteX5514" fmla="*/ 4371411 w 5365133"/>
              <a:gd name="connsiteY5514" fmla="*/ 747703 h 4367670"/>
              <a:gd name="connsiteX5515" fmla="*/ 4369905 w 5365133"/>
              <a:gd name="connsiteY5515" fmla="*/ 737067 h 4367670"/>
              <a:gd name="connsiteX5516" fmla="*/ 4375931 w 5365133"/>
              <a:gd name="connsiteY5516" fmla="*/ 743144 h 4367670"/>
              <a:gd name="connsiteX5517" fmla="*/ 4381956 w 5365133"/>
              <a:gd name="connsiteY5517" fmla="*/ 730989 h 4367670"/>
              <a:gd name="connsiteX5518" fmla="*/ 4149691 w 5365133"/>
              <a:gd name="connsiteY5518" fmla="*/ 730646 h 4367670"/>
              <a:gd name="connsiteX5519" fmla="*/ 4147323 w 5365133"/>
              <a:gd name="connsiteY5519" fmla="*/ 731328 h 4367670"/>
              <a:gd name="connsiteX5520" fmla="*/ 4134994 w 5365133"/>
              <a:gd name="connsiteY5520" fmla="*/ 738317 h 4367670"/>
              <a:gd name="connsiteX5521" fmla="*/ 4134994 w 5365133"/>
              <a:gd name="connsiteY5521" fmla="*/ 732353 h 4367670"/>
              <a:gd name="connsiteX5522" fmla="*/ 4129016 w 5365133"/>
              <a:gd name="connsiteY5522" fmla="*/ 732353 h 4367670"/>
              <a:gd name="connsiteX5523" fmla="*/ 4129016 w 5365133"/>
              <a:gd name="connsiteY5523" fmla="*/ 738317 h 4367670"/>
              <a:gd name="connsiteX5524" fmla="*/ 4125995 w 5365133"/>
              <a:gd name="connsiteY5524" fmla="*/ 739854 h 4367670"/>
              <a:gd name="connsiteX5525" fmla="*/ 4143055 w 5365133"/>
              <a:gd name="connsiteY5525" fmla="*/ 736951 h 4367670"/>
              <a:gd name="connsiteX5526" fmla="*/ 2992517 w 5365133"/>
              <a:gd name="connsiteY5526" fmla="*/ 727767 h 4367670"/>
              <a:gd name="connsiteX5527" fmla="*/ 2994551 w 5365133"/>
              <a:gd name="connsiteY5527" fmla="*/ 729872 h 4367670"/>
              <a:gd name="connsiteX5528" fmla="*/ 2992517 w 5365133"/>
              <a:gd name="connsiteY5528" fmla="*/ 734080 h 4367670"/>
              <a:gd name="connsiteX5529" fmla="*/ 2992517 w 5365133"/>
              <a:gd name="connsiteY5529" fmla="*/ 727767 h 4367670"/>
              <a:gd name="connsiteX5530" fmla="*/ 2788767 w 5365133"/>
              <a:gd name="connsiteY5530" fmla="*/ 726045 h 4367670"/>
              <a:gd name="connsiteX5531" fmla="*/ 2801681 w 5365133"/>
              <a:gd name="connsiteY5531" fmla="*/ 726045 h 4367670"/>
              <a:gd name="connsiteX5532" fmla="*/ 2801681 w 5365133"/>
              <a:gd name="connsiteY5532" fmla="*/ 732741 h 4367670"/>
              <a:gd name="connsiteX5533" fmla="*/ 2795224 w 5365133"/>
              <a:gd name="connsiteY5533" fmla="*/ 746134 h 4367670"/>
              <a:gd name="connsiteX5534" fmla="*/ 2788767 w 5365133"/>
              <a:gd name="connsiteY5534" fmla="*/ 726045 h 4367670"/>
              <a:gd name="connsiteX5535" fmla="*/ 2770113 w 5365133"/>
              <a:gd name="connsiteY5535" fmla="*/ 726045 h 4367670"/>
              <a:gd name="connsiteX5536" fmla="*/ 2776810 w 5365133"/>
              <a:gd name="connsiteY5536" fmla="*/ 740394 h 4367670"/>
              <a:gd name="connsiteX5537" fmla="*/ 2770113 w 5365133"/>
              <a:gd name="connsiteY5537" fmla="*/ 726045 h 4367670"/>
              <a:gd name="connsiteX5538" fmla="*/ 2646715 w 5365133"/>
              <a:gd name="connsiteY5538" fmla="*/ 726045 h 4367670"/>
              <a:gd name="connsiteX5539" fmla="*/ 2633801 w 5365133"/>
              <a:gd name="connsiteY5539" fmla="*/ 740394 h 4367670"/>
              <a:gd name="connsiteX5540" fmla="*/ 2627344 w 5365133"/>
              <a:gd name="connsiteY5540" fmla="*/ 737704 h 4367670"/>
              <a:gd name="connsiteX5541" fmla="*/ 2624831 w 5365133"/>
              <a:gd name="connsiteY5541" fmla="*/ 737381 h 4367670"/>
              <a:gd name="connsiteX5542" fmla="*/ 2633801 w 5365133"/>
              <a:gd name="connsiteY5542" fmla="*/ 730529 h 4367670"/>
              <a:gd name="connsiteX5543" fmla="*/ 2646715 w 5365133"/>
              <a:gd name="connsiteY5543" fmla="*/ 726045 h 4367670"/>
              <a:gd name="connsiteX5544" fmla="*/ 2150250 w 5365133"/>
              <a:gd name="connsiteY5544" fmla="*/ 726045 h 4367670"/>
              <a:gd name="connsiteX5545" fmla="*/ 2130162 w 5365133"/>
              <a:gd name="connsiteY5545" fmla="*/ 740394 h 4367670"/>
              <a:gd name="connsiteX5546" fmla="*/ 2130162 w 5365133"/>
              <a:gd name="connsiteY5546" fmla="*/ 733220 h 4367670"/>
              <a:gd name="connsiteX5547" fmla="*/ 2150250 w 5365133"/>
              <a:gd name="connsiteY5547" fmla="*/ 726045 h 4367670"/>
              <a:gd name="connsiteX5548" fmla="*/ 2101464 w 5365133"/>
              <a:gd name="connsiteY5548" fmla="*/ 726045 h 4367670"/>
              <a:gd name="connsiteX5549" fmla="*/ 2059173 w 5365133"/>
              <a:gd name="connsiteY5549" fmla="*/ 762396 h 4367670"/>
              <a:gd name="connsiteX5550" fmla="*/ 2047090 w 5365133"/>
              <a:gd name="connsiteY5550" fmla="*/ 756336 h 4367670"/>
              <a:gd name="connsiteX5551" fmla="*/ 2028964 w 5365133"/>
              <a:gd name="connsiteY5551" fmla="*/ 768453 h 4367670"/>
              <a:gd name="connsiteX5552" fmla="*/ 1986674 w 5365133"/>
              <a:gd name="connsiteY5552" fmla="*/ 780570 h 4367670"/>
              <a:gd name="connsiteX5553" fmla="*/ 2101464 w 5365133"/>
              <a:gd name="connsiteY5553" fmla="*/ 726045 h 4367670"/>
              <a:gd name="connsiteX5554" fmla="*/ 2851144 w 5365133"/>
              <a:gd name="connsiteY5554" fmla="*/ 724574 h 4367670"/>
              <a:gd name="connsiteX5555" fmla="*/ 2837751 w 5365133"/>
              <a:gd name="connsiteY5555" fmla="*/ 738923 h 4367670"/>
              <a:gd name="connsiteX5556" fmla="*/ 2851144 w 5365133"/>
              <a:gd name="connsiteY5556" fmla="*/ 724574 h 4367670"/>
              <a:gd name="connsiteX5557" fmla="*/ 4225073 w 5365133"/>
              <a:gd name="connsiteY5557" fmla="*/ 723774 h 4367670"/>
              <a:gd name="connsiteX5558" fmla="*/ 4218204 w 5365133"/>
              <a:gd name="connsiteY5558" fmla="*/ 724753 h 4367670"/>
              <a:gd name="connsiteX5559" fmla="*/ 4219138 w 5365133"/>
              <a:gd name="connsiteY5559" fmla="*/ 726296 h 4367670"/>
              <a:gd name="connsiteX5560" fmla="*/ 2813159 w 5365133"/>
              <a:gd name="connsiteY5560" fmla="*/ 720305 h 4367670"/>
              <a:gd name="connsiteX5561" fmla="*/ 2818898 w 5365133"/>
              <a:gd name="connsiteY5561" fmla="*/ 720305 h 4367670"/>
              <a:gd name="connsiteX5562" fmla="*/ 2818898 w 5365133"/>
              <a:gd name="connsiteY5562" fmla="*/ 727480 h 4367670"/>
              <a:gd name="connsiteX5563" fmla="*/ 2807419 w 5365133"/>
              <a:gd name="connsiteY5563" fmla="*/ 734654 h 4367670"/>
              <a:gd name="connsiteX5564" fmla="*/ 2807419 w 5365133"/>
              <a:gd name="connsiteY5564" fmla="*/ 727480 h 4367670"/>
              <a:gd name="connsiteX5565" fmla="*/ 2813159 w 5365133"/>
              <a:gd name="connsiteY5565" fmla="*/ 720305 h 4367670"/>
              <a:gd name="connsiteX5566" fmla="*/ 2698110 w 5365133"/>
              <a:gd name="connsiteY5566" fmla="*/ 720305 h 4367670"/>
              <a:gd name="connsiteX5567" fmla="*/ 2698110 w 5365133"/>
              <a:gd name="connsiteY5567" fmla="*/ 738754 h 4367670"/>
              <a:gd name="connsiteX5568" fmla="*/ 2698110 w 5365133"/>
              <a:gd name="connsiteY5568" fmla="*/ 732605 h 4367670"/>
              <a:gd name="connsiteX5569" fmla="*/ 2679359 w 5365133"/>
              <a:gd name="connsiteY5569" fmla="*/ 743366 h 4367670"/>
              <a:gd name="connsiteX5570" fmla="*/ 2674494 w 5365133"/>
              <a:gd name="connsiteY5570" fmla="*/ 761883 h 4367670"/>
              <a:gd name="connsiteX5571" fmla="*/ 2671859 w 5365133"/>
              <a:gd name="connsiteY5571" fmla="*/ 759508 h 4367670"/>
              <a:gd name="connsiteX5572" fmla="*/ 2674108 w 5365133"/>
              <a:gd name="connsiteY5572" fmla="*/ 751053 h 4367670"/>
              <a:gd name="connsiteX5573" fmla="*/ 2638106 w 5365133"/>
              <a:gd name="connsiteY5573" fmla="*/ 763352 h 4367670"/>
              <a:gd name="connsiteX5574" fmla="*/ 2698110 w 5365133"/>
              <a:gd name="connsiteY5574" fmla="*/ 720305 h 4367670"/>
              <a:gd name="connsiteX5575" fmla="*/ 2985549 w 5365133"/>
              <a:gd name="connsiteY5575" fmla="*/ 719649 h 4367670"/>
              <a:gd name="connsiteX5576" fmla="*/ 2984133 w 5365133"/>
              <a:gd name="connsiteY5576" fmla="*/ 726977 h 4367670"/>
              <a:gd name="connsiteX5577" fmla="*/ 2986420 w 5365133"/>
              <a:gd name="connsiteY5577" fmla="*/ 734080 h 4367670"/>
              <a:gd name="connsiteX5578" fmla="*/ 2980321 w 5365133"/>
              <a:gd name="connsiteY5578" fmla="*/ 740394 h 4367670"/>
              <a:gd name="connsiteX5579" fmla="*/ 2980321 w 5365133"/>
              <a:gd name="connsiteY5579" fmla="*/ 727767 h 4367670"/>
              <a:gd name="connsiteX5580" fmla="*/ 4436195 w 5365133"/>
              <a:gd name="connsiteY5580" fmla="*/ 718836 h 4367670"/>
              <a:gd name="connsiteX5581" fmla="*/ 4394077 w 5365133"/>
              <a:gd name="connsiteY5581" fmla="*/ 738482 h 4367670"/>
              <a:gd name="connsiteX5582" fmla="*/ 4409829 w 5365133"/>
              <a:gd name="connsiteY5582" fmla="*/ 726432 h 4367670"/>
              <a:gd name="connsiteX5583" fmla="*/ 4436195 w 5365133"/>
              <a:gd name="connsiteY5583" fmla="*/ 718836 h 4367670"/>
              <a:gd name="connsiteX5584" fmla="*/ 2986420 w 5365133"/>
              <a:gd name="connsiteY5584" fmla="*/ 715141 h 4367670"/>
              <a:gd name="connsiteX5585" fmla="*/ 2987944 w 5365133"/>
              <a:gd name="connsiteY5585" fmla="*/ 715929 h 4367670"/>
              <a:gd name="connsiteX5586" fmla="*/ 2985549 w 5365133"/>
              <a:gd name="connsiteY5586" fmla="*/ 719649 h 4367670"/>
              <a:gd name="connsiteX5587" fmla="*/ 2585835 w 5365133"/>
              <a:gd name="connsiteY5587" fmla="*/ 714884 h 4367670"/>
              <a:gd name="connsiteX5588" fmla="*/ 2603669 w 5365133"/>
              <a:gd name="connsiteY5588" fmla="*/ 720943 h 4367670"/>
              <a:gd name="connsiteX5589" fmla="*/ 2579892 w 5365133"/>
              <a:gd name="connsiteY5589" fmla="*/ 733060 h 4367670"/>
              <a:gd name="connsiteX5590" fmla="*/ 2582864 w 5365133"/>
              <a:gd name="connsiteY5590" fmla="*/ 726244 h 4367670"/>
              <a:gd name="connsiteX5591" fmla="*/ 2585835 w 5365133"/>
              <a:gd name="connsiteY5591" fmla="*/ 714884 h 4367670"/>
              <a:gd name="connsiteX5592" fmla="*/ 2550168 w 5365133"/>
              <a:gd name="connsiteY5592" fmla="*/ 714884 h 4367670"/>
              <a:gd name="connsiteX5593" fmla="*/ 2556113 w 5365133"/>
              <a:gd name="connsiteY5593" fmla="*/ 739118 h 4367670"/>
              <a:gd name="connsiteX5594" fmla="*/ 2570232 w 5365133"/>
              <a:gd name="connsiteY5594" fmla="*/ 731545 h 4367670"/>
              <a:gd name="connsiteX5595" fmla="*/ 2579892 w 5365133"/>
              <a:gd name="connsiteY5595" fmla="*/ 733060 h 4367670"/>
              <a:gd name="connsiteX5596" fmla="*/ 2520445 w 5365133"/>
              <a:gd name="connsiteY5596" fmla="*/ 763352 h 4367670"/>
              <a:gd name="connsiteX5597" fmla="*/ 2520447 w 5365133"/>
              <a:gd name="connsiteY5597" fmla="*/ 763350 h 4367670"/>
              <a:gd name="connsiteX5598" fmla="*/ 2530849 w 5365133"/>
              <a:gd name="connsiteY5598" fmla="*/ 747448 h 4367670"/>
              <a:gd name="connsiteX5599" fmla="*/ 2550168 w 5365133"/>
              <a:gd name="connsiteY5599" fmla="*/ 745177 h 4367670"/>
              <a:gd name="connsiteX5600" fmla="*/ 2526391 w 5365133"/>
              <a:gd name="connsiteY5600" fmla="*/ 733060 h 4367670"/>
              <a:gd name="connsiteX5601" fmla="*/ 2550168 w 5365133"/>
              <a:gd name="connsiteY5601" fmla="*/ 714884 h 4367670"/>
              <a:gd name="connsiteX5602" fmla="*/ 4200515 w 5365133"/>
              <a:gd name="connsiteY5602" fmla="*/ 713398 h 4367670"/>
              <a:gd name="connsiteX5603" fmla="*/ 4183658 w 5365133"/>
              <a:gd name="connsiteY5603" fmla="*/ 724576 h 4367670"/>
              <a:gd name="connsiteX5604" fmla="*/ 4199228 w 5365133"/>
              <a:gd name="connsiteY5604" fmla="*/ 713814 h 4367670"/>
              <a:gd name="connsiteX5605" fmla="*/ 4224899 w 5365133"/>
              <a:gd name="connsiteY5605" fmla="*/ 711233 h 4367670"/>
              <a:gd name="connsiteX5606" fmla="*/ 4225174 w 5365133"/>
              <a:gd name="connsiteY5606" fmla="*/ 713096 h 4367670"/>
              <a:gd name="connsiteX5607" fmla="*/ 4223722 w 5365133"/>
              <a:gd name="connsiteY5607" fmla="*/ 712816 h 4367670"/>
              <a:gd name="connsiteX5608" fmla="*/ 2128995 w 5365133"/>
              <a:gd name="connsiteY5608" fmla="*/ 709095 h 4367670"/>
              <a:gd name="connsiteX5609" fmla="*/ 2135901 w 5365133"/>
              <a:gd name="connsiteY5609" fmla="*/ 714566 h 4367670"/>
              <a:gd name="connsiteX5610" fmla="*/ 2118682 w 5365133"/>
              <a:gd name="connsiteY5610" fmla="*/ 720305 h 4367670"/>
              <a:gd name="connsiteX5611" fmla="*/ 2130162 w 5365133"/>
              <a:gd name="connsiteY5611" fmla="*/ 720305 h 4367670"/>
              <a:gd name="connsiteX5612" fmla="*/ 2118682 w 5365133"/>
              <a:gd name="connsiteY5612" fmla="*/ 726045 h 4367670"/>
              <a:gd name="connsiteX5613" fmla="*/ 2107204 w 5365133"/>
              <a:gd name="connsiteY5613" fmla="*/ 726045 h 4367670"/>
              <a:gd name="connsiteX5614" fmla="*/ 2128995 w 5365133"/>
              <a:gd name="connsiteY5614" fmla="*/ 709095 h 4367670"/>
              <a:gd name="connsiteX5615" fmla="*/ 4476369 w 5365133"/>
              <a:gd name="connsiteY5615" fmla="*/ 707355 h 4367670"/>
              <a:gd name="connsiteX5616" fmla="*/ 4453411 w 5365133"/>
              <a:gd name="connsiteY5616" fmla="*/ 713095 h 4367670"/>
              <a:gd name="connsiteX5617" fmla="*/ 4476369 w 5365133"/>
              <a:gd name="connsiteY5617" fmla="*/ 707355 h 4367670"/>
              <a:gd name="connsiteX5618" fmla="*/ 2929585 w 5365133"/>
              <a:gd name="connsiteY5618" fmla="*/ 707355 h 4367670"/>
              <a:gd name="connsiteX5619" fmla="*/ 2892277 w 5365133"/>
              <a:gd name="connsiteY5619" fmla="*/ 720270 h 4367670"/>
              <a:gd name="connsiteX5620" fmla="*/ 2929585 w 5365133"/>
              <a:gd name="connsiteY5620" fmla="*/ 707355 h 4367670"/>
              <a:gd name="connsiteX5621" fmla="*/ 2980648 w 5365133"/>
              <a:gd name="connsiteY5621" fmla="*/ 703087 h 4367670"/>
              <a:gd name="connsiteX5622" fmla="*/ 2980648 w 5365133"/>
              <a:gd name="connsiteY5622" fmla="*/ 714566 h 4367670"/>
              <a:gd name="connsiteX5623" fmla="*/ 2963771 w 5365133"/>
              <a:gd name="connsiteY5623" fmla="*/ 716180 h 4367670"/>
              <a:gd name="connsiteX5624" fmla="*/ 2957721 w 5365133"/>
              <a:gd name="connsiteY5624" fmla="*/ 714809 h 4367670"/>
              <a:gd name="connsiteX5625" fmla="*/ 2957505 w 5365133"/>
              <a:gd name="connsiteY5625" fmla="*/ 714154 h 4367670"/>
              <a:gd name="connsiteX5626" fmla="*/ 2830377 w 5365133"/>
              <a:gd name="connsiteY5626" fmla="*/ 703087 h 4367670"/>
              <a:gd name="connsiteX5627" fmla="*/ 2830377 w 5365133"/>
              <a:gd name="connsiteY5627" fmla="*/ 726045 h 4367670"/>
              <a:gd name="connsiteX5628" fmla="*/ 2818898 w 5365133"/>
              <a:gd name="connsiteY5628" fmla="*/ 714566 h 4367670"/>
              <a:gd name="connsiteX5629" fmla="*/ 2830377 w 5365133"/>
              <a:gd name="connsiteY5629" fmla="*/ 703087 h 4367670"/>
              <a:gd name="connsiteX5630" fmla="*/ 2538868 w 5365133"/>
              <a:gd name="connsiteY5630" fmla="*/ 702534 h 4367670"/>
              <a:gd name="connsiteX5631" fmla="*/ 2538868 w 5365133"/>
              <a:gd name="connsiteY5631" fmla="*/ 714461 h 4367670"/>
              <a:gd name="connsiteX5632" fmla="*/ 2534453 w 5365133"/>
              <a:gd name="connsiteY5632" fmla="*/ 710791 h 4367670"/>
              <a:gd name="connsiteX5633" fmla="*/ 2903754 w 5365133"/>
              <a:gd name="connsiteY5633" fmla="*/ 701616 h 4367670"/>
              <a:gd name="connsiteX5634" fmla="*/ 2880796 w 5365133"/>
              <a:gd name="connsiteY5634" fmla="*/ 718834 h 4367670"/>
              <a:gd name="connsiteX5635" fmla="*/ 2903754 w 5365133"/>
              <a:gd name="connsiteY5635" fmla="*/ 701616 h 4367670"/>
              <a:gd name="connsiteX5636" fmla="*/ 4259598 w 5365133"/>
              <a:gd name="connsiteY5636" fmla="*/ 699178 h 4367670"/>
              <a:gd name="connsiteX5637" fmla="*/ 4259713 w 5365133"/>
              <a:gd name="connsiteY5637" fmla="*/ 699590 h 4367670"/>
              <a:gd name="connsiteX5638" fmla="*/ 4259164 w 5365133"/>
              <a:gd name="connsiteY5638" fmla="*/ 699886 h 4367670"/>
              <a:gd name="connsiteX5639" fmla="*/ 2836754 w 5365133"/>
              <a:gd name="connsiteY5639" fmla="*/ 698624 h 4367670"/>
              <a:gd name="connsiteX5640" fmla="*/ 2839705 w 5365133"/>
              <a:gd name="connsiteY5640" fmla="*/ 704522 h 4367670"/>
              <a:gd name="connsiteX5641" fmla="*/ 2847595 w 5365133"/>
              <a:gd name="connsiteY5641" fmla="*/ 703087 h 4367670"/>
              <a:gd name="connsiteX5642" fmla="*/ 2841856 w 5365133"/>
              <a:gd name="connsiteY5642" fmla="*/ 720305 h 4367670"/>
              <a:gd name="connsiteX5643" fmla="*/ 2830377 w 5365133"/>
              <a:gd name="connsiteY5643" fmla="*/ 703087 h 4367670"/>
              <a:gd name="connsiteX5644" fmla="*/ 2836116 w 5365133"/>
              <a:gd name="connsiteY5644" fmla="*/ 697347 h 4367670"/>
              <a:gd name="connsiteX5645" fmla="*/ 2837552 w 5365133"/>
              <a:gd name="connsiteY5645" fmla="*/ 698065 h 4367670"/>
              <a:gd name="connsiteX5646" fmla="*/ 2836754 w 5365133"/>
              <a:gd name="connsiteY5646" fmla="*/ 698624 h 4367670"/>
              <a:gd name="connsiteX5647" fmla="*/ 2633409 w 5365133"/>
              <a:gd name="connsiteY5647" fmla="*/ 697347 h 4367670"/>
              <a:gd name="connsiteX5648" fmla="*/ 2633409 w 5365133"/>
              <a:gd name="connsiteY5648" fmla="*/ 715227 h 4367670"/>
              <a:gd name="connsiteX5649" fmla="*/ 2663412 w 5365133"/>
              <a:gd name="connsiteY5649" fmla="*/ 703307 h 4367670"/>
              <a:gd name="connsiteX5650" fmla="*/ 2663412 w 5365133"/>
              <a:gd name="connsiteY5650" fmla="*/ 739069 h 4367670"/>
              <a:gd name="connsiteX5651" fmla="*/ 2663412 w 5365133"/>
              <a:gd name="connsiteY5651" fmla="*/ 715227 h 4367670"/>
              <a:gd name="connsiteX5652" fmla="*/ 2597407 w 5365133"/>
              <a:gd name="connsiteY5652" fmla="*/ 745029 h 4367670"/>
              <a:gd name="connsiteX5653" fmla="*/ 2579406 w 5365133"/>
              <a:gd name="connsiteY5653" fmla="*/ 756949 h 4367670"/>
              <a:gd name="connsiteX5654" fmla="*/ 2567406 w 5365133"/>
              <a:gd name="connsiteY5654" fmla="*/ 756949 h 4367670"/>
              <a:gd name="connsiteX5655" fmla="*/ 2543403 w 5365133"/>
              <a:gd name="connsiteY5655" fmla="*/ 774831 h 4367670"/>
              <a:gd name="connsiteX5656" fmla="*/ 2597407 w 5365133"/>
              <a:gd name="connsiteY5656" fmla="*/ 739069 h 4367670"/>
              <a:gd name="connsiteX5657" fmla="*/ 2627409 w 5365133"/>
              <a:gd name="connsiteY5657" fmla="*/ 721189 h 4367670"/>
              <a:gd name="connsiteX5658" fmla="*/ 2627409 w 5365133"/>
              <a:gd name="connsiteY5658" fmla="*/ 709267 h 4367670"/>
              <a:gd name="connsiteX5659" fmla="*/ 2633409 w 5365133"/>
              <a:gd name="connsiteY5659" fmla="*/ 697347 h 4367670"/>
              <a:gd name="connsiteX5660" fmla="*/ 2018241 w 5365133"/>
              <a:gd name="connsiteY5660" fmla="*/ 697347 h 4367670"/>
              <a:gd name="connsiteX5661" fmla="*/ 2006187 w 5365133"/>
              <a:gd name="connsiteY5661" fmla="*/ 715180 h 4367670"/>
              <a:gd name="connsiteX5662" fmla="*/ 2012214 w 5365133"/>
              <a:gd name="connsiteY5662" fmla="*/ 733015 h 4367670"/>
              <a:gd name="connsiteX5663" fmla="*/ 1982081 w 5365133"/>
              <a:gd name="connsiteY5663" fmla="*/ 750848 h 4367670"/>
              <a:gd name="connsiteX5664" fmla="*/ 1927844 w 5365133"/>
              <a:gd name="connsiteY5664" fmla="*/ 774626 h 4367670"/>
              <a:gd name="connsiteX5665" fmla="*/ 1897712 w 5365133"/>
              <a:gd name="connsiteY5665" fmla="*/ 774626 h 4367670"/>
              <a:gd name="connsiteX5666" fmla="*/ 1976056 w 5365133"/>
              <a:gd name="connsiteY5666" fmla="*/ 744902 h 4367670"/>
              <a:gd name="connsiteX5667" fmla="*/ 1976056 w 5365133"/>
              <a:gd name="connsiteY5667" fmla="*/ 733015 h 4367670"/>
              <a:gd name="connsiteX5668" fmla="*/ 1939897 w 5365133"/>
              <a:gd name="connsiteY5668" fmla="*/ 744902 h 4367670"/>
              <a:gd name="connsiteX5669" fmla="*/ 1921818 w 5365133"/>
              <a:gd name="connsiteY5669" fmla="*/ 750848 h 4367670"/>
              <a:gd name="connsiteX5670" fmla="*/ 1939897 w 5365133"/>
              <a:gd name="connsiteY5670" fmla="*/ 738959 h 4367670"/>
              <a:gd name="connsiteX5671" fmla="*/ 2000162 w 5365133"/>
              <a:gd name="connsiteY5671" fmla="*/ 715180 h 4367670"/>
              <a:gd name="connsiteX5672" fmla="*/ 2018241 w 5365133"/>
              <a:gd name="connsiteY5672" fmla="*/ 697347 h 4367670"/>
              <a:gd name="connsiteX5673" fmla="*/ 4224665 w 5365133"/>
              <a:gd name="connsiteY5673" fmla="*/ 696568 h 4367670"/>
              <a:gd name="connsiteX5674" fmla="*/ 4225923 w 5365133"/>
              <a:gd name="connsiteY5674" fmla="*/ 697349 h 4367670"/>
              <a:gd name="connsiteX5675" fmla="*/ 4227068 w 5365133"/>
              <a:gd name="connsiteY5675" fmla="*/ 696999 h 4367670"/>
              <a:gd name="connsiteX5676" fmla="*/ 4273517 w 5365133"/>
              <a:gd name="connsiteY5676" fmla="*/ 696010 h 4367670"/>
              <a:gd name="connsiteX5677" fmla="*/ 4284445 w 5365133"/>
              <a:gd name="connsiteY5677" fmla="*/ 702534 h 4367670"/>
              <a:gd name="connsiteX5678" fmla="*/ 4260532 w 5365133"/>
              <a:gd name="connsiteY5678" fmla="*/ 708497 h 4367670"/>
              <a:gd name="connsiteX5679" fmla="*/ 4260532 w 5365133"/>
              <a:gd name="connsiteY5679" fmla="*/ 702534 h 4367670"/>
              <a:gd name="connsiteX5680" fmla="*/ 4259713 w 5365133"/>
              <a:gd name="connsiteY5680" fmla="*/ 699590 h 4367670"/>
              <a:gd name="connsiteX5681" fmla="*/ 4259786 w 5365133"/>
              <a:gd name="connsiteY5681" fmla="*/ 699551 h 4367670"/>
              <a:gd name="connsiteX5682" fmla="*/ 4273517 w 5365133"/>
              <a:gd name="connsiteY5682" fmla="*/ 696010 h 4367670"/>
              <a:gd name="connsiteX5683" fmla="*/ 2958100 w 5365133"/>
              <a:gd name="connsiteY5683" fmla="*/ 695249 h 4367670"/>
              <a:gd name="connsiteX5684" fmla="*/ 2946801 w 5365133"/>
              <a:gd name="connsiteY5684" fmla="*/ 707355 h 4367670"/>
              <a:gd name="connsiteX5685" fmla="*/ 2952541 w 5365133"/>
              <a:gd name="connsiteY5685" fmla="*/ 701616 h 4367670"/>
              <a:gd name="connsiteX5686" fmla="*/ 2952541 w 5365133"/>
              <a:gd name="connsiteY5686" fmla="*/ 695877 h 4367670"/>
              <a:gd name="connsiteX5687" fmla="*/ 2958100 w 5365133"/>
              <a:gd name="connsiteY5687" fmla="*/ 695249 h 4367670"/>
              <a:gd name="connsiteX5688" fmla="*/ 2648028 w 5365133"/>
              <a:gd name="connsiteY5688" fmla="*/ 694818 h 4367670"/>
              <a:gd name="connsiteX5689" fmla="*/ 2652453 w 5365133"/>
              <a:gd name="connsiteY5689" fmla="*/ 697347 h 4367670"/>
              <a:gd name="connsiteX5690" fmla="*/ 2646714 w 5365133"/>
              <a:gd name="connsiteY5690" fmla="*/ 708826 h 4367670"/>
              <a:gd name="connsiteX5691" fmla="*/ 2649135 w 5365133"/>
              <a:gd name="connsiteY5691" fmla="*/ 697527 h 4367670"/>
              <a:gd name="connsiteX5692" fmla="*/ 2619166 w 5365133"/>
              <a:gd name="connsiteY5692" fmla="*/ 693904 h 4367670"/>
              <a:gd name="connsiteX5693" fmla="*/ 2620170 w 5365133"/>
              <a:gd name="connsiteY5693" fmla="*/ 694477 h 4367670"/>
              <a:gd name="connsiteX5694" fmla="*/ 2620887 w 5365133"/>
              <a:gd name="connsiteY5694" fmla="*/ 697347 h 4367670"/>
              <a:gd name="connsiteX5695" fmla="*/ 2734448 w 5365133"/>
              <a:gd name="connsiteY5695" fmla="*/ 691608 h 4367670"/>
              <a:gd name="connsiteX5696" fmla="*/ 2734448 w 5365133"/>
              <a:gd name="connsiteY5696" fmla="*/ 697347 h 4367670"/>
              <a:gd name="connsiteX5697" fmla="*/ 2729835 w 5365133"/>
              <a:gd name="connsiteY5697" fmla="*/ 696629 h 4367670"/>
              <a:gd name="connsiteX5698" fmla="*/ 2686890 w 5365133"/>
              <a:gd name="connsiteY5698" fmla="*/ 691608 h 4367670"/>
              <a:gd name="connsiteX5699" fmla="*/ 2681151 w 5365133"/>
              <a:gd name="connsiteY5699" fmla="*/ 708826 h 4367670"/>
              <a:gd name="connsiteX5700" fmla="*/ 2692630 w 5365133"/>
              <a:gd name="connsiteY5700" fmla="*/ 703087 h 4367670"/>
              <a:gd name="connsiteX5701" fmla="*/ 2686890 w 5365133"/>
              <a:gd name="connsiteY5701" fmla="*/ 720305 h 4367670"/>
              <a:gd name="connsiteX5702" fmla="*/ 2675411 w 5365133"/>
              <a:gd name="connsiteY5702" fmla="*/ 703087 h 4367670"/>
              <a:gd name="connsiteX5703" fmla="*/ 2686890 w 5365133"/>
              <a:gd name="connsiteY5703" fmla="*/ 691608 h 4367670"/>
              <a:gd name="connsiteX5704" fmla="*/ 2646714 w 5365133"/>
              <a:gd name="connsiteY5704" fmla="*/ 691608 h 4367670"/>
              <a:gd name="connsiteX5705" fmla="*/ 2648028 w 5365133"/>
              <a:gd name="connsiteY5705" fmla="*/ 694818 h 4367670"/>
              <a:gd name="connsiteX5706" fmla="*/ 2647432 w 5365133"/>
              <a:gd name="connsiteY5706" fmla="*/ 694477 h 4367670"/>
              <a:gd name="connsiteX5707" fmla="*/ 2646714 w 5365133"/>
              <a:gd name="connsiteY5707" fmla="*/ 691608 h 4367670"/>
              <a:gd name="connsiteX5708" fmla="*/ 2617300 w 5365133"/>
              <a:gd name="connsiteY5708" fmla="*/ 690172 h 4367670"/>
              <a:gd name="connsiteX5709" fmla="*/ 2619166 w 5365133"/>
              <a:gd name="connsiteY5709" fmla="*/ 693904 h 4367670"/>
              <a:gd name="connsiteX5710" fmla="*/ 2615148 w 5365133"/>
              <a:gd name="connsiteY5710" fmla="*/ 691608 h 4367670"/>
              <a:gd name="connsiteX5711" fmla="*/ 2603669 w 5365133"/>
              <a:gd name="connsiteY5711" fmla="*/ 703087 h 4367670"/>
              <a:gd name="connsiteX5712" fmla="*/ 2609408 w 5365133"/>
              <a:gd name="connsiteY5712" fmla="*/ 691608 h 4367670"/>
              <a:gd name="connsiteX5713" fmla="*/ 2617300 w 5365133"/>
              <a:gd name="connsiteY5713" fmla="*/ 690172 h 4367670"/>
              <a:gd name="connsiteX5714" fmla="*/ 3016650 w 5365133"/>
              <a:gd name="connsiteY5714" fmla="*/ 685868 h 4367670"/>
              <a:gd name="connsiteX5715" fmla="*/ 2992648 w 5365133"/>
              <a:gd name="connsiteY5715" fmla="*/ 703087 h 4367670"/>
              <a:gd name="connsiteX5716" fmla="*/ 3004649 w 5365133"/>
              <a:gd name="connsiteY5716" fmla="*/ 703087 h 4367670"/>
              <a:gd name="connsiteX5717" fmla="*/ 2992873 w 5365133"/>
              <a:gd name="connsiteY5717" fmla="*/ 709423 h 4367670"/>
              <a:gd name="connsiteX5718" fmla="*/ 2998617 w 5365133"/>
              <a:gd name="connsiteY5718" fmla="*/ 719085 h 4367670"/>
              <a:gd name="connsiteX5719" fmla="*/ 3004714 w 5365133"/>
              <a:gd name="connsiteY5719" fmla="*/ 715141 h 4367670"/>
              <a:gd name="connsiteX5720" fmla="*/ 3010813 w 5365133"/>
              <a:gd name="connsiteY5720" fmla="*/ 727767 h 4367670"/>
              <a:gd name="connsiteX5721" fmla="*/ 2998617 w 5365133"/>
              <a:gd name="connsiteY5721" fmla="*/ 734080 h 4367670"/>
              <a:gd name="connsiteX5722" fmla="*/ 2994551 w 5365133"/>
              <a:gd name="connsiteY5722" fmla="*/ 729872 h 4367670"/>
              <a:gd name="connsiteX5723" fmla="*/ 2998617 w 5365133"/>
              <a:gd name="connsiteY5723" fmla="*/ 721453 h 4367670"/>
              <a:gd name="connsiteX5724" fmla="*/ 2987944 w 5365133"/>
              <a:gd name="connsiteY5724" fmla="*/ 715929 h 4367670"/>
              <a:gd name="connsiteX5725" fmla="*/ 2992208 w 5365133"/>
              <a:gd name="connsiteY5725" fmla="*/ 709307 h 4367670"/>
              <a:gd name="connsiteX5726" fmla="*/ 2980648 w 5365133"/>
              <a:gd name="connsiteY5726" fmla="*/ 703087 h 4367670"/>
              <a:gd name="connsiteX5727" fmla="*/ 2991149 w 5365133"/>
              <a:gd name="connsiteY5727" fmla="*/ 698065 h 4367670"/>
              <a:gd name="connsiteX5728" fmla="*/ 3016650 w 5365133"/>
              <a:gd name="connsiteY5728" fmla="*/ 685868 h 4367670"/>
              <a:gd name="connsiteX5729" fmla="*/ 2297682 w 5365133"/>
              <a:gd name="connsiteY5729" fmla="*/ 685868 h 4367670"/>
              <a:gd name="connsiteX5730" fmla="*/ 2328174 w 5365133"/>
              <a:gd name="connsiteY5730" fmla="*/ 697347 h 4367670"/>
              <a:gd name="connsiteX5731" fmla="*/ 2285485 w 5365133"/>
              <a:gd name="connsiteY5731" fmla="*/ 714566 h 4367670"/>
              <a:gd name="connsiteX5732" fmla="*/ 2285485 w 5365133"/>
              <a:gd name="connsiteY5732" fmla="*/ 703087 h 4367670"/>
              <a:gd name="connsiteX5733" fmla="*/ 2285485 w 5365133"/>
              <a:gd name="connsiteY5733" fmla="*/ 691608 h 4367670"/>
              <a:gd name="connsiteX5734" fmla="*/ 2291585 w 5365133"/>
              <a:gd name="connsiteY5734" fmla="*/ 691608 h 4367670"/>
              <a:gd name="connsiteX5735" fmla="*/ 2291585 w 5365133"/>
              <a:gd name="connsiteY5735" fmla="*/ 703087 h 4367670"/>
              <a:gd name="connsiteX5736" fmla="*/ 2303781 w 5365133"/>
              <a:gd name="connsiteY5736" fmla="*/ 697347 h 4367670"/>
              <a:gd name="connsiteX5737" fmla="*/ 2297682 w 5365133"/>
              <a:gd name="connsiteY5737" fmla="*/ 685868 h 4367670"/>
              <a:gd name="connsiteX5738" fmla="*/ 4242599 w 5365133"/>
              <a:gd name="connsiteY5738" fmla="*/ 684641 h 4367670"/>
              <a:gd name="connsiteX5739" fmla="*/ 4231391 w 5365133"/>
              <a:gd name="connsiteY5739" fmla="*/ 692842 h 4367670"/>
              <a:gd name="connsiteX5740" fmla="*/ 4228848 w 5365133"/>
              <a:gd name="connsiteY5740" fmla="*/ 696455 h 4367670"/>
              <a:gd name="connsiteX5741" fmla="*/ 4243339 w 5365133"/>
              <a:gd name="connsiteY5741" fmla="*/ 692023 h 4367670"/>
              <a:gd name="connsiteX5742" fmla="*/ 3051347 w 5365133"/>
              <a:gd name="connsiteY5742" fmla="*/ 680128 h 4367670"/>
              <a:gd name="connsiteX5743" fmla="*/ 3045608 w 5365133"/>
              <a:gd name="connsiteY5743" fmla="*/ 685868 h 4367670"/>
              <a:gd name="connsiteX5744" fmla="*/ 3051347 w 5365133"/>
              <a:gd name="connsiteY5744" fmla="*/ 703087 h 4367670"/>
              <a:gd name="connsiteX5745" fmla="*/ 3039868 w 5365133"/>
              <a:gd name="connsiteY5745" fmla="*/ 697347 h 4367670"/>
              <a:gd name="connsiteX5746" fmla="*/ 3045608 w 5365133"/>
              <a:gd name="connsiteY5746" fmla="*/ 697347 h 4367670"/>
              <a:gd name="connsiteX5747" fmla="*/ 3039868 w 5365133"/>
              <a:gd name="connsiteY5747" fmla="*/ 685868 h 4367670"/>
              <a:gd name="connsiteX5748" fmla="*/ 3051347 w 5365133"/>
              <a:gd name="connsiteY5748" fmla="*/ 680128 h 4367670"/>
              <a:gd name="connsiteX5749" fmla="*/ 2795942 w 5365133"/>
              <a:gd name="connsiteY5749" fmla="*/ 680128 h 4367670"/>
              <a:gd name="connsiteX5750" fmla="*/ 2795942 w 5365133"/>
              <a:gd name="connsiteY5750" fmla="*/ 691608 h 4367670"/>
              <a:gd name="connsiteX5751" fmla="*/ 2789942 w 5365133"/>
              <a:gd name="connsiteY5751" fmla="*/ 697347 h 4367670"/>
              <a:gd name="connsiteX5752" fmla="*/ 2771941 w 5365133"/>
              <a:gd name="connsiteY5752" fmla="*/ 697347 h 4367670"/>
              <a:gd name="connsiteX5753" fmla="*/ 2759940 w 5365133"/>
              <a:gd name="connsiteY5753" fmla="*/ 708826 h 4367670"/>
              <a:gd name="connsiteX5754" fmla="*/ 2765940 w 5365133"/>
              <a:gd name="connsiteY5754" fmla="*/ 714566 h 4367670"/>
              <a:gd name="connsiteX5755" fmla="*/ 2735939 w 5365133"/>
              <a:gd name="connsiteY5755" fmla="*/ 714566 h 4367670"/>
              <a:gd name="connsiteX5756" fmla="*/ 2765940 w 5365133"/>
              <a:gd name="connsiteY5756" fmla="*/ 697347 h 4367670"/>
              <a:gd name="connsiteX5757" fmla="*/ 2783942 w 5365133"/>
              <a:gd name="connsiteY5757" fmla="*/ 691608 h 4367670"/>
              <a:gd name="connsiteX5758" fmla="*/ 2795942 w 5365133"/>
              <a:gd name="connsiteY5758" fmla="*/ 680128 h 4367670"/>
              <a:gd name="connsiteX5759" fmla="*/ 2871630 w 5365133"/>
              <a:gd name="connsiteY5759" fmla="*/ 678694 h 4367670"/>
              <a:gd name="connsiteX5760" fmla="*/ 2871630 w 5365133"/>
              <a:gd name="connsiteY5760" fmla="*/ 691608 h 4367670"/>
              <a:gd name="connsiteX5761" fmla="*/ 2877728 w 5365133"/>
              <a:gd name="connsiteY5761" fmla="*/ 680128 h 4367670"/>
              <a:gd name="connsiteX5762" fmla="*/ 2883827 w 5365133"/>
              <a:gd name="connsiteY5762" fmla="*/ 697347 h 4367670"/>
              <a:gd name="connsiteX5763" fmla="*/ 2889925 w 5365133"/>
              <a:gd name="connsiteY5763" fmla="*/ 691608 h 4367670"/>
              <a:gd name="connsiteX5764" fmla="*/ 2902121 w 5365133"/>
              <a:gd name="connsiteY5764" fmla="*/ 691608 h 4367670"/>
              <a:gd name="connsiteX5765" fmla="*/ 2853334 w 5365133"/>
              <a:gd name="connsiteY5765" fmla="*/ 714566 h 4367670"/>
              <a:gd name="connsiteX5766" fmla="*/ 2859434 w 5365133"/>
              <a:gd name="connsiteY5766" fmla="*/ 697347 h 4367670"/>
              <a:gd name="connsiteX5767" fmla="*/ 2865532 w 5365133"/>
              <a:gd name="connsiteY5767" fmla="*/ 697347 h 4367670"/>
              <a:gd name="connsiteX5768" fmla="*/ 2865532 w 5365133"/>
              <a:gd name="connsiteY5768" fmla="*/ 680128 h 4367670"/>
              <a:gd name="connsiteX5769" fmla="*/ 2871630 w 5365133"/>
              <a:gd name="connsiteY5769" fmla="*/ 678694 h 4367670"/>
              <a:gd name="connsiteX5770" fmla="*/ 3039868 w 5365133"/>
              <a:gd name="connsiteY5770" fmla="*/ 674389 h 4367670"/>
              <a:gd name="connsiteX5771" fmla="*/ 3039868 w 5365133"/>
              <a:gd name="connsiteY5771" fmla="*/ 685868 h 4367670"/>
              <a:gd name="connsiteX5772" fmla="*/ 3016911 w 5365133"/>
              <a:gd name="connsiteY5772" fmla="*/ 703087 h 4367670"/>
              <a:gd name="connsiteX5773" fmla="*/ 3022650 w 5365133"/>
              <a:gd name="connsiteY5773" fmla="*/ 680128 h 4367670"/>
              <a:gd name="connsiteX5774" fmla="*/ 3039868 w 5365133"/>
              <a:gd name="connsiteY5774" fmla="*/ 674389 h 4367670"/>
              <a:gd name="connsiteX5775" fmla="*/ 2728297 w 5365133"/>
              <a:gd name="connsiteY5775" fmla="*/ 674389 h 4367670"/>
              <a:gd name="connsiteX5776" fmla="*/ 2728297 w 5365133"/>
              <a:gd name="connsiteY5776" fmla="*/ 680128 h 4367670"/>
              <a:gd name="connsiteX5777" fmla="*/ 2726158 w 5365133"/>
              <a:gd name="connsiteY5777" fmla="*/ 678382 h 4367670"/>
              <a:gd name="connsiteX5778" fmla="*/ 2715998 w 5365133"/>
              <a:gd name="connsiteY5778" fmla="*/ 674389 h 4367670"/>
              <a:gd name="connsiteX5779" fmla="*/ 2722147 w 5365133"/>
              <a:gd name="connsiteY5779" fmla="*/ 675107 h 4367670"/>
              <a:gd name="connsiteX5780" fmla="*/ 2726158 w 5365133"/>
              <a:gd name="connsiteY5780" fmla="*/ 678382 h 4367670"/>
              <a:gd name="connsiteX5781" fmla="*/ 2722147 w 5365133"/>
              <a:gd name="connsiteY5781" fmla="*/ 685868 h 4367670"/>
              <a:gd name="connsiteX5782" fmla="*/ 2715998 w 5365133"/>
              <a:gd name="connsiteY5782" fmla="*/ 680128 h 4367670"/>
              <a:gd name="connsiteX5783" fmla="*/ 2715998 w 5365133"/>
              <a:gd name="connsiteY5783" fmla="*/ 674389 h 4367670"/>
              <a:gd name="connsiteX5784" fmla="*/ 3007067 w 5365133"/>
              <a:gd name="connsiteY5784" fmla="*/ 672919 h 4367670"/>
              <a:gd name="connsiteX5785" fmla="*/ 2969759 w 5365133"/>
              <a:gd name="connsiteY5785" fmla="*/ 690137 h 4367670"/>
              <a:gd name="connsiteX5786" fmla="*/ 3007067 w 5365133"/>
              <a:gd name="connsiteY5786" fmla="*/ 672919 h 4367670"/>
              <a:gd name="connsiteX5787" fmla="*/ 4110279 w 5365133"/>
              <a:gd name="connsiteY5787" fmla="*/ 668650 h 4367670"/>
              <a:gd name="connsiteX5788" fmla="*/ 4110279 w 5365133"/>
              <a:gd name="connsiteY5788" fmla="*/ 685868 h 4367670"/>
              <a:gd name="connsiteX5789" fmla="*/ 4098800 w 5365133"/>
              <a:gd name="connsiteY5789" fmla="*/ 685868 h 4367670"/>
              <a:gd name="connsiteX5790" fmla="*/ 4104540 w 5365133"/>
              <a:gd name="connsiteY5790" fmla="*/ 674389 h 4367670"/>
              <a:gd name="connsiteX5791" fmla="*/ 4110279 w 5365133"/>
              <a:gd name="connsiteY5791" fmla="*/ 668650 h 4367670"/>
              <a:gd name="connsiteX5792" fmla="*/ 3045608 w 5365133"/>
              <a:gd name="connsiteY5792" fmla="*/ 668650 h 4367670"/>
              <a:gd name="connsiteX5793" fmla="*/ 3051347 w 5365133"/>
              <a:gd name="connsiteY5793" fmla="*/ 680128 h 4367670"/>
              <a:gd name="connsiteX5794" fmla="*/ 3045608 w 5365133"/>
              <a:gd name="connsiteY5794" fmla="*/ 668650 h 4367670"/>
              <a:gd name="connsiteX5795" fmla="*/ 2807419 w 5365133"/>
              <a:gd name="connsiteY5795" fmla="*/ 668650 h 4367670"/>
              <a:gd name="connsiteX5796" fmla="*/ 2813159 w 5365133"/>
              <a:gd name="connsiteY5796" fmla="*/ 685868 h 4367670"/>
              <a:gd name="connsiteX5797" fmla="*/ 2807419 w 5365133"/>
              <a:gd name="connsiteY5797" fmla="*/ 685868 h 4367670"/>
              <a:gd name="connsiteX5798" fmla="*/ 2801679 w 5365133"/>
              <a:gd name="connsiteY5798" fmla="*/ 685868 h 4367670"/>
              <a:gd name="connsiteX5799" fmla="*/ 2807419 w 5365133"/>
              <a:gd name="connsiteY5799" fmla="*/ 668650 h 4367670"/>
              <a:gd name="connsiteX5800" fmla="*/ 2698369 w 5365133"/>
              <a:gd name="connsiteY5800" fmla="*/ 668650 h 4367670"/>
              <a:gd name="connsiteX5801" fmla="*/ 2718458 w 5365133"/>
              <a:gd name="connsiteY5801" fmla="*/ 685868 h 4367670"/>
              <a:gd name="connsiteX5802" fmla="*/ 2705067 w 5365133"/>
              <a:gd name="connsiteY5802" fmla="*/ 691608 h 4367670"/>
              <a:gd name="connsiteX5803" fmla="*/ 2698369 w 5365133"/>
              <a:gd name="connsiteY5803" fmla="*/ 668650 h 4367670"/>
              <a:gd name="connsiteX5804" fmla="*/ 2669672 w 5365133"/>
              <a:gd name="connsiteY5804" fmla="*/ 668650 h 4367670"/>
              <a:gd name="connsiteX5805" fmla="*/ 2681151 w 5365133"/>
              <a:gd name="connsiteY5805" fmla="*/ 691608 h 4367670"/>
              <a:gd name="connsiteX5806" fmla="*/ 2669672 w 5365133"/>
              <a:gd name="connsiteY5806" fmla="*/ 668650 h 4367670"/>
              <a:gd name="connsiteX5807" fmla="*/ 2328174 w 5365133"/>
              <a:gd name="connsiteY5807" fmla="*/ 668650 h 4367670"/>
              <a:gd name="connsiteX5808" fmla="*/ 2328174 w 5365133"/>
              <a:gd name="connsiteY5808" fmla="*/ 674389 h 4367670"/>
              <a:gd name="connsiteX5809" fmla="*/ 2333914 w 5365133"/>
              <a:gd name="connsiteY5809" fmla="*/ 674389 h 4367670"/>
              <a:gd name="connsiteX5810" fmla="*/ 2328174 w 5365133"/>
              <a:gd name="connsiteY5810" fmla="*/ 685868 h 4367670"/>
              <a:gd name="connsiteX5811" fmla="*/ 2328174 w 5365133"/>
              <a:gd name="connsiteY5811" fmla="*/ 668650 h 4367670"/>
              <a:gd name="connsiteX5812" fmla="*/ 2741365 w 5365133"/>
              <a:gd name="connsiteY5812" fmla="*/ 668291 h 4367670"/>
              <a:gd name="connsiteX5813" fmla="*/ 2734447 w 5365133"/>
              <a:gd name="connsiteY5813" fmla="*/ 684792 h 4367670"/>
              <a:gd name="connsiteX5814" fmla="*/ 2734448 w 5365133"/>
              <a:gd name="connsiteY5814" fmla="*/ 691608 h 4367670"/>
              <a:gd name="connsiteX5815" fmla="*/ 2722917 w 5365133"/>
              <a:gd name="connsiteY5815" fmla="*/ 700217 h 4367670"/>
              <a:gd name="connsiteX5816" fmla="*/ 2715998 w 5365133"/>
              <a:gd name="connsiteY5816" fmla="*/ 708826 h 4367670"/>
              <a:gd name="connsiteX5817" fmla="*/ 2722147 w 5365133"/>
              <a:gd name="connsiteY5817" fmla="*/ 708826 h 4367670"/>
              <a:gd name="connsiteX5818" fmla="*/ 2722147 w 5365133"/>
              <a:gd name="connsiteY5818" fmla="*/ 720305 h 4367670"/>
              <a:gd name="connsiteX5819" fmla="*/ 2715998 w 5365133"/>
              <a:gd name="connsiteY5819" fmla="*/ 720305 h 4367670"/>
              <a:gd name="connsiteX5820" fmla="*/ 2709848 w 5365133"/>
              <a:gd name="connsiteY5820" fmla="*/ 697347 h 4367670"/>
              <a:gd name="connsiteX5821" fmla="*/ 2722147 w 5365133"/>
              <a:gd name="connsiteY5821" fmla="*/ 685868 h 4367670"/>
              <a:gd name="connsiteX5822" fmla="*/ 2722147 w 5365133"/>
              <a:gd name="connsiteY5822" fmla="*/ 697347 h 4367670"/>
              <a:gd name="connsiteX5823" fmla="*/ 2728297 w 5365133"/>
              <a:gd name="connsiteY5823" fmla="*/ 685868 h 4367670"/>
              <a:gd name="connsiteX5824" fmla="*/ 2728297 w 5365133"/>
              <a:gd name="connsiteY5824" fmla="*/ 680128 h 4367670"/>
              <a:gd name="connsiteX5825" fmla="*/ 2734448 w 5365133"/>
              <a:gd name="connsiteY5825" fmla="*/ 668650 h 4367670"/>
              <a:gd name="connsiteX5826" fmla="*/ 2741365 w 5365133"/>
              <a:gd name="connsiteY5826" fmla="*/ 668291 h 4367670"/>
              <a:gd name="connsiteX5827" fmla="*/ 2208505 w 5365133"/>
              <a:gd name="connsiteY5827" fmla="*/ 667829 h 4367670"/>
              <a:gd name="connsiteX5828" fmla="*/ 2196452 w 5365133"/>
              <a:gd name="connsiteY5828" fmla="*/ 673844 h 4367670"/>
              <a:gd name="connsiteX5829" fmla="*/ 2196452 w 5365133"/>
              <a:gd name="connsiteY5829" fmla="*/ 671992 h 4367670"/>
              <a:gd name="connsiteX5830" fmla="*/ 3268184 w 5365133"/>
              <a:gd name="connsiteY5830" fmla="*/ 666748 h 4367670"/>
              <a:gd name="connsiteX5831" fmla="*/ 3263745 w 5365133"/>
              <a:gd name="connsiteY5831" fmla="*/ 672771 h 4367670"/>
              <a:gd name="connsiteX5832" fmla="*/ 3263700 w 5365133"/>
              <a:gd name="connsiteY5832" fmla="*/ 672712 h 4367670"/>
              <a:gd name="connsiteX5833" fmla="*/ 3268184 w 5365133"/>
              <a:gd name="connsiteY5833" fmla="*/ 666748 h 4367670"/>
              <a:gd name="connsiteX5834" fmla="*/ 2112466 w 5365133"/>
              <a:gd name="connsiteY5834" fmla="*/ 666497 h 4367670"/>
              <a:gd name="connsiteX5835" fmla="*/ 2124265 w 5365133"/>
              <a:gd name="connsiteY5835" fmla="*/ 666497 h 4367670"/>
              <a:gd name="connsiteX5836" fmla="*/ 2100669 w 5365133"/>
              <a:gd name="connsiteY5836" fmla="*/ 696391 h 4367670"/>
              <a:gd name="connsiteX5837" fmla="*/ 2029881 w 5365133"/>
              <a:gd name="connsiteY5837" fmla="*/ 714327 h 4367670"/>
              <a:gd name="connsiteX5838" fmla="*/ 2047578 w 5365133"/>
              <a:gd name="connsiteY5838" fmla="*/ 696391 h 4367670"/>
              <a:gd name="connsiteX5839" fmla="*/ 2023982 w 5365133"/>
              <a:gd name="connsiteY5839" fmla="*/ 702369 h 4367670"/>
              <a:gd name="connsiteX5840" fmla="*/ 2047578 w 5365133"/>
              <a:gd name="connsiteY5840" fmla="*/ 684433 h 4367670"/>
              <a:gd name="connsiteX5841" fmla="*/ 2053477 w 5365133"/>
              <a:gd name="connsiteY5841" fmla="*/ 702369 h 4367670"/>
              <a:gd name="connsiteX5842" fmla="*/ 2112466 w 5365133"/>
              <a:gd name="connsiteY5842" fmla="*/ 666497 h 4367670"/>
              <a:gd name="connsiteX5843" fmla="*/ 2847595 w 5365133"/>
              <a:gd name="connsiteY5843" fmla="*/ 662910 h 4367670"/>
              <a:gd name="connsiteX5844" fmla="*/ 2847595 w 5365133"/>
              <a:gd name="connsiteY5844" fmla="*/ 674389 h 4367670"/>
              <a:gd name="connsiteX5845" fmla="*/ 2824637 w 5365133"/>
              <a:gd name="connsiteY5845" fmla="*/ 668650 h 4367670"/>
              <a:gd name="connsiteX5846" fmla="*/ 2847595 w 5365133"/>
              <a:gd name="connsiteY5846" fmla="*/ 662910 h 4367670"/>
              <a:gd name="connsiteX5847" fmla="*/ 2741416 w 5365133"/>
              <a:gd name="connsiteY5847" fmla="*/ 662910 h 4367670"/>
              <a:gd name="connsiteX5848" fmla="*/ 2758634 w 5365133"/>
              <a:gd name="connsiteY5848" fmla="*/ 662910 h 4367670"/>
              <a:gd name="connsiteX5849" fmla="*/ 2741416 w 5365133"/>
              <a:gd name="connsiteY5849" fmla="*/ 662910 h 4367670"/>
              <a:gd name="connsiteX5850" fmla="*/ 3088653 w 5365133"/>
              <a:gd name="connsiteY5850" fmla="*/ 657171 h 4367670"/>
              <a:gd name="connsiteX5851" fmla="*/ 3088653 w 5365133"/>
              <a:gd name="connsiteY5851" fmla="*/ 662910 h 4367670"/>
              <a:gd name="connsiteX5852" fmla="*/ 3094393 w 5365133"/>
              <a:gd name="connsiteY5852" fmla="*/ 662910 h 4367670"/>
              <a:gd name="connsiteX5853" fmla="*/ 3100132 w 5365133"/>
              <a:gd name="connsiteY5853" fmla="*/ 674389 h 4367670"/>
              <a:gd name="connsiteX5854" fmla="*/ 3082913 w 5365133"/>
              <a:gd name="connsiteY5854" fmla="*/ 680128 h 4367670"/>
              <a:gd name="connsiteX5855" fmla="*/ 3077174 w 5365133"/>
              <a:gd name="connsiteY5855" fmla="*/ 674389 h 4367670"/>
              <a:gd name="connsiteX5856" fmla="*/ 3088653 w 5365133"/>
              <a:gd name="connsiteY5856" fmla="*/ 657171 h 4367670"/>
              <a:gd name="connsiteX5857" fmla="*/ 3082916 w 5365133"/>
              <a:gd name="connsiteY5857" fmla="*/ 657171 h 4367670"/>
              <a:gd name="connsiteX5858" fmla="*/ 3080637 w 5365133"/>
              <a:gd name="connsiteY5858" fmla="*/ 658184 h 4367670"/>
              <a:gd name="connsiteX5859" fmla="*/ 3080494 w 5365133"/>
              <a:gd name="connsiteY5859" fmla="*/ 657889 h 4367670"/>
              <a:gd name="connsiteX5860" fmla="*/ 3082916 w 5365133"/>
              <a:gd name="connsiteY5860" fmla="*/ 657171 h 4367670"/>
              <a:gd name="connsiteX5861" fmla="*/ 3063544 w 5365133"/>
              <a:gd name="connsiteY5861" fmla="*/ 657171 h 4367670"/>
              <a:gd name="connsiteX5862" fmla="*/ 3073230 w 5365133"/>
              <a:gd name="connsiteY5862" fmla="*/ 661475 h 4367670"/>
              <a:gd name="connsiteX5863" fmla="*/ 3080637 w 5365133"/>
              <a:gd name="connsiteY5863" fmla="*/ 658184 h 4367670"/>
              <a:gd name="connsiteX5864" fmla="*/ 3082916 w 5365133"/>
              <a:gd name="connsiteY5864" fmla="*/ 662910 h 4367670"/>
              <a:gd name="connsiteX5865" fmla="*/ 3070001 w 5365133"/>
              <a:gd name="connsiteY5865" fmla="*/ 680128 h 4367670"/>
              <a:gd name="connsiteX5866" fmla="*/ 3057087 w 5365133"/>
              <a:gd name="connsiteY5866" fmla="*/ 680128 h 4367670"/>
              <a:gd name="connsiteX5867" fmla="*/ 3057087 w 5365133"/>
              <a:gd name="connsiteY5867" fmla="*/ 674389 h 4367670"/>
              <a:gd name="connsiteX5868" fmla="*/ 3063544 w 5365133"/>
              <a:gd name="connsiteY5868" fmla="*/ 674389 h 4367670"/>
              <a:gd name="connsiteX5869" fmla="*/ 3070001 w 5365133"/>
              <a:gd name="connsiteY5869" fmla="*/ 668650 h 4367670"/>
              <a:gd name="connsiteX5870" fmla="*/ 3063544 w 5365133"/>
              <a:gd name="connsiteY5870" fmla="*/ 657171 h 4367670"/>
              <a:gd name="connsiteX5871" fmla="*/ 2729937 w 5365133"/>
              <a:gd name="connsiteY5871" fmla="*/ 657171 h 4367670"/>
              <a:gd name="connsiteX5872" fmla="*/ 2729937 w 5365133"/>
              <a:gd name="connsiteY5872" fmla="*/ 668650 h 4367670"/>
              <a:gd name="connsiteX5873" fmla="*/ 2723241 w 5365133"/>
              <a:gd name="connsiteY5873" fmla="*/ 668650 h 4367670"/>
              <a:gd name="connsiteX5874" fmla="*/ 2709848 w 5365133"/>
              <a:gd name="connsiteY5874" fmla="*/ 668650 h 4367670"/>
              <a:gd name="connsiteX5875" fmla="*/ 2729937 w 5365133"/>
              <a:gd name="connsiteY5875" fmla="*/ 657171 h 4367670"/>
              <a:gd name="connsiteX5876" fmla="*/ 2149102 w 5365133"/>
              <a:gd name="connsiteY5876" fmla="*/ 657171 h 4367670"/>
              <a:gd name="connsiteX5877" fmla="*/ 2161729 w 5365133"/>
              <a:gd name="connsiteY5877" fmla="*/ 668650 h 4367670"/>
              <a:gd name="connsiteX5878" fmla="*/ 2136474 w 5365133"/>
              <a:gd name="connsiteY5878" fmla="*/ 674389 h 4367670"/>
              <a:gd name="connsiteX5879" fmla="*/ 2149102 w 5365133"/>
              <a:gd name="connsiteY5879" fmla="*/ 657171 h 4367670"/>
              <a:gd name="connsiteX5880" fmla="*/ 3041503 w 5365133"/>
              <a:gd name="connsiteY5880" fmla="*/ 655700 h 4367670"/>
              <a:gd name="connsiteX5881" fmla="*/ 3030024 w 5365133"/>
              <a:gd name="connsiteY5881" fmla="*/ 667179 h 4367670"/>
              <a:gd name="connsiteX5882" fmla="*/ 3041503 w 5365133"/>
              <a:gd name="connsiteY5882" fmla="*/ 655700 h 4367670"/>
              <a:gd name="connsiteX5883" fmla="*/ 4116647 w 5365133"/>
              <a:gd name="connsiteY5883" fmla="*/ 652536 h 4367670"/>
              <a:gd name="connsiteX5884" fmla="*/ 4121758 w 5365133"/>
              <a:gd name="connsiteY5884" fmla="*/ 655257 h 4367670"/>
              <a:gd name="connsiteX5885" fmla="*/ 4104540 w 5365133"/>
              <a:gd name="connsiteY5885" fmla="*/ 668650 h 4367670"/>
              <a:gd name="connsiteX5886" fmla="*/ 4104540 w 5365133"/>
              <a:gd name="connsiteY5886" fmla="*/ 661954 h 4367670"/>
              <a:gd name="connsiteX5887" fmla="*/ 4110997 w 5365133"/>
              <a:gd name="connsiteY5887" fmla="*/ 653582 h 4367670"/>
              <a:gd name="connsiteX5888" fmla="*/ 4116647 w 5365133"/>
              <a:gd name="connsiteY5888" fmla="*/ 652536 h 4367670"/>
              <a:gd name="connsiteX5889" fmla="*/ 2712719 w 5365133"/>
              <a:gd name="connsiteY5889" fmla="*/ 652388 h 4367670"/>
              <a:gd name="connsiteX5890" fmla="*/ 2718458 w 5365133"/>
              <a:gd name="connsiteY5890" fmla="*/ 657171 h 4367670"/>
              <a:gd name="connsiteX5891" fmla="*/ 2709848 w 5365133"/>
              <a:gd name="connsiteY5891" fmla="*/ 657171 h 4367670"/>
              <a:gd name="connsiteX5892" fmla="*/ 4326291 w 5365133"/>
              <a:gd name="connsiteY5892" fmla="*/ 648857 h 4367670"/>
              <a:gd name="connsiteX5893" fmla="*/ 4323177 w 5365133"/>
              <a:gd name="connsiteY5893" fmla="*/ 649821 h 4367670"/>
              <a:gd name="connsiteX5894" fmla="*/ 4323302 w 5365133"/>
              <a:gd name="connsiteY5894" fmla="*/ 649603 h 4367670"/>
              <a:gd name="connsiteX5895" fmla="*/ 4326291 w 5365133"/>
              <a:gd name="connsiteY5895" fmla="*/ 648857 h 4367670"/>
              <a:gd name="connsiteX5896" fmla="*/ 2801679 w 5365133"/>
              <a:gd name="connsiteY5896" fmla="*/ 648561 h 4367670"/>
              <a:gd name="connsiteX5897" fmla="*/ 2813159 w 5365133"/>
              <a:gd name="connsiteY5897" fmla="*/ 662910 h 4367670"/>
              <a:gd name="connsiteX5898" fmla="*/ 2795940 w 5365133"/>
              <a:gd name="connsiteY5898" fmla="*/ 655736 h 4367670"/>
              <a:gd name="connsiteX5899" fmla="*/ 2801679 w 5365133"/>
              <a:gd name="connsiteY5899" fmla="*/ 648561 h 4367670"/>
              <a:gd name="connsiteX5900" fmla="*/ 2764374 w 5365133"/>
              <a:gd name="connsiteY5900" fmla="*/ 648561 h 4367670"/>
              <a:gd name="connsiteX5901" fmla="*/ 2764374 w 5365133"/>
              <a:gd name="connsiteY5901" fmla="*/ 649519 h 4367670"/>
              <a:gd name="connsiteX5902" fmla="*/ 2764374 w 5365133"/>
              <a:gd name="connsiteY5902" fmla="*/ 655736 h 4367670"/>
              <a:gd name="connsiteX5903" fmla="*/ 2758634 w 5365133"/>
              <a:gd name="connsiteY5903" fmla="*/ 662910 h 4367670"/>
              <a:gd name="connsiteX5904" fmla="*/ 2764374 w 5365133"/>
              <a:gd name="connsiteY5904" fmla="*/ 648561 h 4367670"/>
              <a:gd name="connsiteX5905" fmla="*/ 2256430 w 5365133"/>
              <a:gd name="connsiteY5905" fmla="*/ 648561 h 4367670"/>
              <a:gd name="connsiteX5906" fmla="*/ 2216253 w 5365133"/>
              <a:gd name="connsiteY5906" fmla="*/ 680128 h 4367670"/>
              <a:gd name="connsiteX5907" fmla="*/ 2256430 w 5365133"/>
              <a:gd name="connsiteY5907" fmla="*/ 648561 h 4367670"/>
              <a:gd name="connsiteX5908" fmla="*/ 2118364 w 5365133"/>
              <a:gd name="connsiteY5908" fmla="*/ 648561 h 4367670"/>
              <a:gd name="connsiteX5909" fmla="*/ 2112466 w 5365133"/>
              <a:gd name="connsiteY5909" fmla="*/ 666497 h 4367670"/>
              <a:gd name="connsiteX5910" fmla="*/ 2059375 w 5365133"/>
              <a:gd name="connsiteY5910" fmla="*/ 684433 h 4367670"/>
              <a:gd name="connsiteX5911" fmla="*/ 2118364 w 5365133"/>
              <a:gd name="connsiteY5911" fmla="*/ 648561 h 4367670"/>
              <a:gd name="connsiteX5912" fmla="*/ 2715875 w 5365133"/>
              <a:gd name="connsiteY5912" fmla="*/ 647126 h 4367670"/>
              <a:gd name="connsiteX5913" fmla="*/ 2712719 w 5365133"/>
              <a:gd name="connsiteY5913" fmla="*/ 652388 h 4367670"/>
              <a:gd name="connsiteX5914" fmla="*/ 2709848 w 5365133"/>
              <a:gd name="connsiteY5914" fmla="*/ 649996 h 4367670"/>
              <a:gd name="connsiteX5915" fmla="*/ 2816234 w 5365133"/>
              <a:gd name="connsiteY5915" fmla="*/ 645448 h 4367670"/>
              <a:gd name="connsiteX5916" fmla="*/ 2812378 w 5365133"/>
              <a:gd name="connsiteY5916" fmla="*/ 650859 h 4367670"/>
              <a:gd name="connsiteX5917" fmla="*/ 2810878 w 5365133"/>
              <a:gd name="connsiteY5917" fmla="*/ 647702 h 4367670"/>
              <a:gd name="connsiteX5918" fmla="*/ 2817521 w 5365133"/>
              <a:gd name="connsiteY5918" fmla="*/ 643644 h 4367670"/>
              <a:gd name="connsiteX5919" fmla="*/ 2818379 w 5365133"/>
              <a:gd name="connsiteY5919" fmla="*/ 644546 h 4367670"/>
              <a:gd name="connsiteX5920" fmla="*/ 2816234 w 5365133"/>
              <a:gd name="connsiteY5920" fmla="*/ 645448 h 4367670"/>
              <a:gd name="connsiteX5921" fmla="*/ 2890642 w 5365133"/>
              <a:gd name="connsiteY5921" fmla="*/ 642823 h 4367670"/>
              <a:gd name="connsiteX5922" fmla="*/ 2853334 w 5365133"/>
              <a:gd name="connsiteY5922" fmla="*/ 662912 h 4367670"/>
              <a:gd name="connsiteX5923" fmla="*/ 2890642 w 5365133"/>
              <a:gd name="connsiteY5923" fmla="*/ 642823 h 4367670"/>
              <a:gd name="connsiteX5924" fmla="*/ 2775853 w 5365133"/>
              <a:gd name="connsiteY5924" fmla="*/ 642823 h 4367670"/>
              <a:gd name="connsiteX5925" fmla="*/ 2781592 w 5365133"/>
              <a:gd name="connsiteY5925" fmla="*/ 649519 h 4367670"/>
              <a:gd name="connsiteX5926" fmla="*/ 2775853 w 5365133"/>
              <a:gd name="connsiteY5926" fmla="*/ 656216 h 4367670"/>
              <a:gd name="connsiteX5927" fmla="*/ 2772984 w 5365133"/>
              <a:gd name="connsiteY5927" fmla="*/ 659564 h 4367670"/>
              <a:gd name="connsiteX5928" fmla="*/ 2770115 w 5365133"/>
              <a:gd name="connsiteY5928" fmla="*/ 662910 h 4367670"/>
              <a:gd name="connsiteX5929" fmla="*/ 2781592 w 5365133"/>
              <a:gd name="connsiteY5929" fmla="*/ 674389 h 4367670"/>
              <a:gd name="connsiteX5930" fmla="*/ 2775853 w 5365133"/>
              <a:gd name="connsiteY5930" fmla="*/ 680128 h 4367670"/>
              <a:gd name="connsiteX5931" fmla="*/ 2764374 w 5365133"/>
              <a:gd name="connsiteY5931" fmla="*/ 674389 h 4367670"/>
              <a:gd name="connsiteX5932" fmla="*/ 2770113 w 5365133"/>
              <a:gd name="connsiteY5932" fmla="*/ 691608 h 4367670"/>
              <a:gd name="connsiteX5933" fmla="*/ 2752895 w 5365133"/>
              <a:gd name="connsiteY5933" fmla="*/ 680128 h 4367670"/>
              <a:gd name="connsiteX5934" fmla="*/ 2741416 w 5365133"/>
              <a:gd name="connsiteY5934" fmla="*/ 685868 h 4367670"/>
              <a:gd name="connsiteX5935" fmla="*/ 2758634 w 5365133"/>
              <a:gd name="connsiteY5935" fmla="*/ 680128 h 4367670"/>
              <a:gd name="connsiteX5936" fmla="*/ 2770113 w 5365133"/>
              <a:gd name="connsiteY5936" fmla="*/ 662910 h 4367670"/>
              <a:gd name="connsiteX5937" fmla="*/ 2770113 w 5365133"/>
              <a:gd name="connsiteY5937" fmla="*/ 656216 h 4367670"/>
              <a:gd name="connsiteX5938" fmla="*/ 2764374 w 5365133"/>
              <a:gd name="connsiteY5938" fmla="*/ 649519 h 4367670"/>
              <a:gd name="connsiteX5939" fmla="*/ 2775853 w 5365133"/>
              <a:gd name="connsiteY5939" fmla="*/ 649519 h 4367670"/>
              <a:gd name="connsiteX5940" fmla="*/ 2775853 w 5365133"/>
              <a:gd name="connsiteY5940" fmla="*/ 642823 h 4367670"/>
              <a:gd name="connsiteX5941" fmla="*/ 4176282 w 5365133"/>
              <a:gd name="connsiteY5941" fmla="*/ 642821 h 4367670"/>
              <a:gd name="connsiteX5942" fmla="*/ 4176282 w 5365133"/>
              <a:gd name="connsiteY5942" fmla="*/ 655736 h 4367670"/>
              <a:gd name="connsiteX5943" fmla="*/ 4159063 w 5365133"/>
              <a:gd name="connsiteY5943" fmla="*/ 668650 h 4367670"/>
              <a:gd name="connsiteX5944" fmla="*/ 4176282 w 5365133"/>
              <a:gd name="connsiteY5944" fmla="*/ 642821 h 4367670"/>
              <a:gd name="connsiteX5945" fmla="*/ 2718458 w 5365133"/>
              <a:gd name="connsiteY5945" fmla="*/ 642821 h 4367670"/>
              <a:gd name="connsiteX5946" fmla="*/ 2717382 w 5365133"/>
              <a:gd name="connsiteY5946" fmla="*/ 646409 h 4367670"/>
              <a:gd name="connsiteX5947" fmla="*/ 2715875 w 5365133"/>
              <a:gd name="connsiteY5947" fmla="*/ 647126 h 4367670"/>
              <a:gd name="connsiteX5948" fmla="*/ 2950684 w 5365133"/>
              <a:gd name="connsiteY5948" fmla="*/ 641696 h 4367670"/>
              <a:gd name="connsiteX5949" fmla="*/ 2956647 w 5365133"/>
              <a:gd name="connsiteY5949" fmla="*/ 655533 h 4367670"/>
              <a:gd name="connsiteX5950" fmla="*/ 2914238 w 5365133"/>
              <a:gd name="connsiteY5950" fmla="*/ 680130 h 4367670"/>
              <a:gd name="connsiteX5951" fmla="*/ 2902121 w 5365133"/>
              <a:gd name="connsiteY5951" fmla="*/ 680130 h 4367670"/>
              <a:gd name="connsiteX5952" fmla="*/ 2950590 w 5365133"/>
              <a:gd name="connsiteY5952" fmla="*/ 643233 h 4367670"/>
              <a:gd name="connsiteX5953" fmla="*/ 2950684 w 5365133"/>
              <a:gd name="connsiteY5953" fmla="*/ 641696 h 4367670"/>
              <a:gd name="connsiteX5954" fmla="*/ 3086254 w 5365133"/>
              <a:gd name="connsiteY5954" fmla="*/ 640456 h 4367670"/>
              <a:gd name="connsiteX5955" fmla="*/ 3090290 w 5365133"/>
              <a:gd name="connsiteY5955" fmla="*/ 642070 h 4367670"/>
              <a:gd name="connsiteX5956" fmla="*/ 3064461 w 5365133"/>
              <a:gd name="connsiteY5956" fmla="*/ 654984 h 4367670"/>
              <a:gd name="connsiteX5957" fmla="*/ 3086254 w 5365133"/>
              <a:gd name="connsiteY5957" fmla="*/ 640456 h 4367670"/>
              <a:gd name="connsiteX5958" fmla="*/ 4092942 w 5365133"/>
              <a:gd name="connsiteY5958" fmla="*/ 637775 h 4367670"/>
              <a:gd name="connsiteX5959" fmla="*/ 4088588 w 5365133"/>
              <a:gd name="connsiteY5959" fmla="*/ 639927 h 4367670"/>
              <a:gd name="connsiteX5960" fmla="*/ 4086018 w 5365133"/>
              <a:gd name="connsiteY5960" fmla="*/ 638232 h 4367670"/>
              <a:gd name="connsiteX5961" fmla="*/ 3171877 w 5365133"/>
              <a:gd name="connsiteY5961" fmla="*/ 637084 h 4367670"/>
              <a:gd name="connsiteX5962" fmla="*/ 3166137 w 5365133"/>
              <a:gd name="connsiteY5962" fmla="*/ 648563 h 4367670"/>
              <a:gd name="connsiteX5963" fmla="*/ 3166137 w 5365133"/>
              <a:gd name="connsiteY5963" fmla="*/ 642823 h 4367670"/>
              <a:gd name="connsiteX5964" fmla="*/ 3171877 w 5365133"/>
              <a:gd name="connsiteY5964" fmla="*/ 637084 h 4367670"/>
              <a:gd name="connsiteX5965" fmla="*/ 4293942 w 5365133"/>
              <a:gd name="connsiteY5965" fmla="*/ 637082 h 4367670"/>
              <a:gd name="connsiteX5966" fmla="*/ 4265245 w 5365133"/>
              <a:gd name="connsiteY5966" fmla="*/ 657171 h 4367670"/>
              <a:gd name="connsiteX5967" fmla="*/ 4270984 w 5365133"/>
              <a:gd name="connsiteY5967" fmla="*/ 643777 h 4367670"/>
              <a:gd name="connsiteX5968" fmla="*/ 4293942 w 5365133"/>
              <a:gd name="connsiteY5968" fmla="*/ 637082 h 4367670"/>
              <a:gd name="connsiteX5969" fmla="*/ 4199240 w 5365133"/>
              <a:gd name="connsiteY5969" fmla="*/ 637082 h 4367670"/>
              <a:gd name="connsiteX5970" fmla="*/ 4187761 w 5365133"/>
              <a:gd name="connsiteY5970" fmla="*/ 657171 h 4367670"/>
              <a:gd name="connsiteX5971" fmla="*/ 4182022 w 5365133"/>
              <a:gd name="connsiteY5971" fmla="*/ 643777 h 4367670"/>
              <a:gd name="connsiteX5972" fmla="*/ 4199240 w 5365133"/>
              <a:gd name="connsiteY5972" fmla="*/ 637082 h 4367670"/>
              <a:gd name="connsiteX5973" fmla="*/ 4144716 w 5365133"/>
              <a:gd name="connsiteY5973" fmla="*/ 637082 h 4367670"/>
              <a:gd name="connsiteX5974" fmla="*/ 4144716 w 5365133"/>
              <a:gd name="connsiteY5974" fmla="*/ 648561 h 4367670"/>
              <a:gd name="connsiteX5975" fmla="*/ 4133237 w 5365133"/>
              <a:gd name="connsiteY5975" fmla="*/ 648561 h 4367670"/>
              <a:gd name="connsiteX5976" fmla="*/ 4144716 w 5365133"/>
              <a:gd name="connsiteY5976" fmla="*/ 637082 h 4367670"/>
              <a:gd name="connsiteX5977" fmla="*/ 4374116 w 5365133"/>
              <a:gd name="connsiteY5977" fmla="*/ 636928 h 4367670"/>
              <a:gd name="connsiteX5978" fmla="*/ 4376108 w 5365133"/>
              <a:gd name="connsiteY5978" fmla="*/ 637426 h 4367670"/>
              <a:gd name="connsiteX5979" fmla="*/ 4374116 w 5365133"/>
              <a:gd name="connsiteY5979" fmla="*/ 637886 h 4367670"/>
              <a:gd name="connsiteX5980" fmla="*/ 2349474 w 5365133"/>
              <a:gd name="connsiteY5980" fmla="*/ 635769 h 4367670"/>
              <a:gd name="connsiteX5981" fmla="*/ 2346911 w 5365133"/>
              <a:gd name="connsiteY5981" fmla="*/ 643396 h 4367670"/>
              <a:gd name="connsiteX5982" fmla="*/ 2371219 w 5365133"/>
              <a:gd name="connsiteY5982" fmla="*/ 637369 h 4367670"/>
              <a:gd name="connsiteX5983" fmla="*/ 2292217 w 5365133"/>
              <a:gd name="connsiteY5983" fmla="*/ 679554 h 4367670"/>
              <a:gd name="connsiteX5984" fmla="*/ 2267909 w 5365133"/>
              <a:gd name="connsiteY5984" fmla="*/ 679554 h 4367670"/>
              <a:gd name="connsiteX5985" fmla="*/ 2346911 w 5365133"/>
              <a:gd name="connsiteY5985" fmla="*/ 637369 h 4367670"/>
              <a:gd name="connsiteX5986" fmla="*/ 2349474 w 5365133"/>
              <a:gd name="connsiteY5986" fmla="*/ 635769 h 4367670"/>
              <a:gd name="connsiteX5987" fmla="*/ 2266743 w 5365133"/>
              <a:gd name="connsiteY5987" fmla="*/ 633226 h 4367670"/>
              <a:gd name="connsiteX5988" fmla="*/ 2273648 w 5365133"/>
              <a:gd name="connsiteY5988" fmla="*/ 637082 h 4367670"/>
              <a:gd name="connsiteX5989" fmla="*/ 2244950 w 5365133"/>
              <a:gd name="connsiteY5989" fmla="*/ 648561 h 4367670"/>
              <a:gd name="connsiteX5990" fmla="*/ 2257148 w 5365133"/>
              <a:gd name="connsiteY5990" fmla="*/ 636364 h 4367670"/>
              <a:gd name="connsiteX5991" fmla="*/ 2266743 w 5365133"/>
              <a:gd name="connsiteY5991" fmla="*/ 633226 h 4367670"/>
              <a:gd name="connsiteX5992" fmla="*/ 4104019 w 5365133"/>
              <a:gd name="connsiteY5992" fmla="*/ 632301 h 4367670"/>
              <a:gd name="connsiteX5993" fmla="*/ 4097268 w 5365133"/>
              <a:gd name="connsiteY5993" fmla="*/ 637490 h 4367670"/>
              <a:gd name="connsiteX5994" fmla="*/ 4092942 w 5365133"/>
              <a:gd name="connsiteY5994" fmla="*/ 637775 h 4367670"/>
              <a:gd name="connsiteX5995" fmla="*/ 4302552 w 5365133"/>
              <a:gd name="connsiteY5995" fmla="*/ 631344 h 4367670"/>
              <a:gd name="connsiteX5996" fmla="*/ 4308292 w 5365133"/>
              <a:gd name="connsiteY5996" fmla="*/ 637084 h 4367670"/>
              <a:gd name="connsiteX5997" fmla="*/ 4302552 w 5365133"/>
              <a:gd name="connsiteY5997" fmla="*/ 631344 h 4367670"/>
              <a:gd name="connsiteX5998" fmla="*/ 2405656 w 5365133"/>
              <a:gd name="connsiteY5998" fmla="*/ 631342 h 4367670"/>
              <a:gd name="connsiteX5999" fmla="*/ 2422874 w 5365133"/>
              <a:gd name="connsiteY5999" fmla="*/ 631342 h 4367670"/>
              <a:gd name="connsiteX6000" fmla="*/ 2399917 w 5365133"/>
              <a:gd name="connsiteY6000" fmla="*/ 637799 h 4367670"/>
              <a:gd name="connsiteX6001" fmla="*/ 2405656 w 5365133"/>
              <a:gd name="connsiteY6001" fmla="*/ 631342 h 4367670"/>
              <a:gd name="connsiteX6002" fmla="*/ 2305216 w 5365133"/>
              <a:gd name="connsiteY6002" fmla="*/ 631342 h 4367670"/>
              <a:gd name="connsiteX6003" fmla="*/ 2262169 w 5365133"/>
              <a:gd name="connsiteY6003" fmla="*/ 650284 h 4367670"/>
              <a:gd name="connsiteX6004" fmla="*/ 2305216 w 5365133"/>
              <a:gd name="connsiteY6004" fmla="*/ 631342 h 4367670"/>
              <a:gd name="connsiteX6005" fmla="*/ 3155682 w 5365133"/>
              <a:gd name="connsiteY6005" fmla="*/ 629229 h 4367670"/>
              <a:gd name="connsiteX6006" fmla="*/ 3160398 w 5365133"/>
              <a:gd name="connsiteY6006" fmla="*/ 638629 h 4367670"/>
              <a:gd name="connsiteX6007" fmla="*/ 3154419 w 5365133"/>
              <a:gd name="connsiteY6007" fmla="*/ 644589 h 4367670"/>
              <a:gd name="connsiteX6008" fmla="*/ 3148439 w 5365133"/>
              <a:gd name="connsiteY6008" fmla="*/ 638629 h 4367670"/>
              <a:gd name="connsiteX6009" fmla="*/ 3142462 w 5365133"/>
              <a:gd name="connsiteY6009" fmla="*/ 650549 h 4367670"/>
              <a:gd name="connsiteX6010" fmla="*/ 3136484 w 5365133"/>
              <a:gd name="connsiteY6010" fmla="*/ 650549 h 4367670"/>
              <a:gd name="connsiteX6011" fmla="*/ 3124525 w 5365133"/>
              <a:gd name="connsiteY6011" fmla="*/ 650549 h 4367670"/>
              <a:gd name="connsiteX6012" fmla="*/ 3124525 w 5365133"/>
              <a:gd name="connsiteY6012" fmla="*/ 656511 h 4367670"/>
              <a:gd name="connsiteX6013" fmla="*/ 3124525 w 5365133"/>
              <a:gd name="connsiteY6013" fmla="*/ 644589 h 4367670"/>
              <a:gd name="connsiteX6014" fmla="*/ 3112567 w 5365133"/>
              <a:gd name="connsiteY6014" fmla="*/ 662471 h 4367670"/>
              <a:gd name="connsiteX6015" fmla="*/ 3118547 w 5365133"/>
              <a:gd name="connsiteY6015" fmla="*/ 662471 h 4367670"/>
              <a:gd name="connsiteX6016" fmla="*/ 3112567 w 5365133"/>
              <a:gd name="connsiteY6016" fmla="*/ 674391 h 4367670"/>
              <a:gd name="connsiteX6017" fmla="*/ 3106589 w 5365133"/>
              <a:gd name="connsiteY6017" fmla="*/ 674391 h 4367670"/>
              <a:gd name="connsiteX6018" fmla="*/ 3106589 w 5365133"/>
              <a:gd name="connsiteY6018" fmla="*/ 650549 h 4367670"/>
              <a:gd name="connsiteX6019" fmla="*/ 3100611 w 5365133"/>
              <a:gd name="connsiteY6019" fmla="*/ 668431 h 4367670"/>
              <a:gd name="connsiteX6020" fmla="*/ 3094633 w 5365133"/>
              <a:gd name="connsiteY6020" fmla="*/ 662471 h 4367670"/>
              <a:gd name="connsiteX6021" fmla="*/ 3100611 w 5365133"/>
              <a:gd name="connsiteY6021" fmla="*/ 662471 h 4367670"/>
              <a:gd name="connsiteX6022" fmla="*/ 3088653 w 5365133"/>
              <a:gd name="connsiteY6022" fmla="*/ 650549 h 4367670"/>
              <a:gd name="connsiteX6023" fmla="*/ 3125272 w 5365133"/>
              <a:gd name="connsiteY6023" fmla="*/ 636395 h 4367670"/>
              <a:gd name="connsiteX6024" fmla="*/ 3154419 w 5365133"/>
              <a:gd name="connsiteY6024" fmla="*/ 626709 h 4367670"/>
              <a:gd name="connsiteX6025" fmla="*/ 3159379 w 5365133"/>
              <a:gd name="connsiteY6025" fmla="*/ 628358 h 4367670"/>
              <a:gd name="connsiteX6026" fmla="*/ 3155682 w 5365133"/>
              <a:gd name="connsiteY6026" fmla="*/ 629229 h 4367670"/>
              <a:gd name="connsiteX6027" fmla="*/ 4270984 w 5365133"/>
              <a:gd name="connsiteY6027" fmla="*/ 625605 h 4367670"/>
              <a:gd name="connsiteX6028" fmla="*/ 4248026 w 5365133"/>
              <a:gd name="connsiteY6028" fmla="*/ 637084 h 4367670"/>
              <a:gd name="connsiteX6029" fmla="*/ 4270984 w 5365133"/>
              <a:gd name="connsiteY6029" fmla="*/ 625605 h 4367670"/>
              <a:gd name="connsiteX6030" fmla="*/ 4175327 w 5365133"/>
              <a:gd name="connsiteY6030" fmla="*/ 625605 h 4367670"/>
              <a:gd name="connsiteX6031" fmla="*/ 4169109 w 5365133"/>
              <a:gd name="connsiteY6031" fmla="*/ 631344 h 4367670"/>
              <a:gd name="connsiteX6032" fmla="*/ 4156674 w 5365133"/>
              <a:gd name="connsiteY6032" fmla="*/ 637084 h 4367670"/>
              <a:gd name="connsiteX6033" fmla="*/ 4175327 w 5365133"/>
              <a:gd name="connsiteY6033" fmla="*/ 625605 h 4367670"/>
              <a:gd name="connsiteX6034" fmla="*/ 3028390 w 5365133"/>
              <a:gd name="connsiteY6034" fmla="*/ 625605 h 4367670"/>
              <a:gd name="connsiteX6035" fmla="*/ 3039868 w 5365133"/>
              <a:gd name="connsiteY6035" fmla="*/ 631344 h 4367670"/>
              <a:gd name="connsiteX6036" fmla="*/ 3022650 w 5365133"/>
              <a:gd name="connsiteY6036" fmla="*/ 637084 h 4367670"/>
              <a:gd name="connsiteX6037" fmla="*/ 3028390 w 5365133"/>
              <a:gd name="connsiteY6037" fmla="*/ 631344 h 4367670"/>
              <a:gd name="connsiteX6038" fmla="*/ 3022650 w 5365133"/>
              <a:gd name="connsiteY6038" fmla="*/ 631344 h 4367670"/>
              <a:gd name="connsiteX6039" fmla="*/ 3028390 w 5365133"/>
              <a:gd name="connsiteY6039" fmla="*/ 625605 h 4367670"/>
              <a:gd name="connsiteX6040" fmla="*/ 2830379 w 5365133"/>
              <a:gd name="connsiteY6040" fmla="*/ 625605 h 4367670"/>
              <a:gd name="connsiteX6041" fmla="*/ 2817521 w 5365133"/>
              <a:gd name="connsiteY6041" fmla="*/ 643644 h 4367670"/>
              <a:gd name="connsiteX6042" fmla="*/ 2812378 w 5365133"/>
              <a:gd name="connsiteY6042" fmla="*/ 638232 h 4367670"/>
              <a:gd name="connsiteX6043" fmla="*/ 2782375 w 5365133"/>
              <a:gd name="connsiteY6043" fmla="*/ 657172 h 4367670"/>
              <a:gd name="connsiteX6044" fmla="*/ 2782375 w 5365133"/>
              <a:gd name="connsiteY6044" fmla="*/ 644546 h 4367670"/>
              <a:gd name="connsiteX6045" fmla="*/ 2800376 w 5365133"/>
              <a:gd name="connsiteY6045" fmla="*/ 638232 h 4367670"/>
              <a:gd name="connsiteX6046" fmla="*/ 2818379 w 5365133"/>
              <a:gd name="connsiteY6046" fmla="*/ 638232 h 4367670"/>
              <a:gd name="connsiteX6047" fmla="*/ 2830379 w 5365133"/>
              <a:gd name="connsiteY6047" fmla="*/ 625605 h 4367670"/>
              <a:gd name="connsiteX6048" fmla="*/ 2794377 w 5365133"/>
              <a:gd name="connsiteY6048" fmla="*/ 625605 h 4367670"/>
              <a:gd name="connsiteX6049" fmla="*/ 2800376 w 5365133"/>
              <a:gd name="connsiteY6049" fmla="*/ 638232 h 4367670"/>
              <a:gd name="connsiteX6050" fmla="*/ 2764374 w 5365133"/>
              <a:gd name="connsiteY6050" fmla="*/ 638232 h 4367670"/>
              <a:gd name="connsiteX6051" fmla="*/ 2794377 w 5365133"/>
              <a:gd name="connsiteY6051" fmla="*/ 625605 h 4367670"/>
              <a:gd name="connsiteX6052" fmla="*/ 2752895 w 5365133"/>
              <a:gd name="connsiteY6052" fmla="*/ 625603 h 4367670"/>
              <a:gd name="connsiteX6053" fmla="*/ 2758634 w 5365133"/>
              <a:gd name="connsiteY6053" fmla="*/ 637082 h 4367670"/>
              <a:gd name="connsiteX6054" fmla="*/ 2752895 w 5365133"/>
              <a:gd name="connsiteY6054" fmla="*/ 631342 h 4367670"/>
              <a:gd name="connsiteX6055" fmla="*/ 2752895 w 5365133"/>
              <a:gd name="connsiteY6055" fmla="*/ 637082 h 4367670"/>
              <a:gd name="connsiteX6056" fmla="*/ 2741416 w 5365133"/>
              <a:gd name="connsiteY6056" fmla="*/ 637082 h 4367670"/>
              <a:gd name="connsiteX6057" fmla="*/ 2752895 w 5365133"/>
              <a:gd name="connsiteY6057" fmla="*/ 625603 h 4367670"/>
              <a:gd name="connsiteX6058" fmla="*/ 3370254 w 5365133"/>
              <a:gd name="connsiteY6058" fmla="*/ 624064 h 4367670"/>
              <a:gd name="connsiteX6059" fmla="*/ 3370324 w 5365133"/>
              <a:gd name="connsiteY6059" fmla="*/ 624864 h 4367670"/>
              <a:gd name="connsiteX6060" fmla="*/ 3369809 w 5365133"/>
              <a:gd name="connsiteY6060" fmla="*/ 625001 h 4367670"/>
              <a:gd name="connsiteX6061" fmla="*/ 4417342 w 5365133"/>
              <a:gd name="connsiteY6061" fmla="*/ 622016 h 4367670"/>
              <a:gd name="connsiteX6062" fmla="*/ 4431689 w 5365133"/>
              <a:gd name="connsiteY6062" fmla="*/ 625603 h 4367670"/>
              <a:gd name="connsiteX6063" fmla="*/ 4408732 w 5365133"/>
              <a:gd name="connsiteY6063" fmla="*/ 637082 h 4367670"/>
              <a:gd name="connsiteX6064" fmla="*/ 4403460 w 5365133"/>
              <a:gd name="connsiteY6064" fmla="*/ 631811 h 4367670"/>
              <a:gd name="connsiteX6065" fmla="*/ 4397279 w 5365133"/>
              <a:gd name="connsiteY6065" fmla="*/ 641402 h 4367670"/>
              <a:gd name="connsiteX6066" fmla="*/ 4386070 w 5365133"/>
              <a:gd name="connsiteY6066" fmla="*/ 642892 h 4367670"/>
              <a:gd name="connsiteX6067" fmla="*/ 4392048 w 5365133"/>
              <a:gd name="connsiteY6067" fmla="*/ 636928 h 4367670"/>
              <a:gd name="connsiteX6068" fmla="*/ 4383082 w 5365133"/>
              <a:gd name="connsiteY6068" fmla="*/ 639164 h 4367670"/>
              <a:gd name="connsiteX6069" fmla="*/ 4376108 w 5365133"/>
              <a:gd name="connsiteY6069" fmla="*/ 637426 h 4367670"/>
              <a:gd name="connsiteX6070" fmla="*/ 4403336 w 5365133"/>
              <a:gd name="connsiteY6070" fmla="*/ 631120 h 4367670"/>
              <a:gd name="connsiteX6071" fmla="*/ 3183816 w 5365133"/>
              <a:gd name="connsiteY6071" fmla="*/ 621698 h 4367670"/>
              <a:gd name="connsiteX6072" fmla="*/ 3183565 w 5365133"/>
              <a:gd name="connsiteY6072" fmla="*/ 625220 h 4367670"/>
              <a:gd name="connsiteX6073" fmla="*/ 3178334 w 5365133"/>
              <a:gd name="connsiteY6073" fmla="*/ 626709 h 4367670"/>
              <a:gd name="connsiteX6074" fmla="*/ 4236137 w 5365133"/>
              <a:gd name="connsiteY6074" fmla="*/ 619864 h 4367670"/>
              <a:gd name="connsiteX6075" fmla="*/ 4242287 w 5365133"/>
              <a:gd name="connsiteY6075" fmla="*/ 650155 h 4367670"/>
              <a:gd name="connsiteX6076" fmla="*/ 4199240 w 5365133"/>
              <a:gd name="connsiteY6076" fmla="*/ 656215 h 4367670"/>
              <a:gd name="connsiteX6077" fmla="*/ 4229989 w 5365133"/>
              <a:gd name="connsiteY6077" fmla="*/ 644098 h 4367670"/>
              <a:gd name="connsiteX6078" fmla="*/ 4229989 w 5365133"/>
              <a:gd name="connsiteY6078" fmla="*/ 625921 h 4367670"/>
              <a:gd name="connsiteX6079" fmla="*/ 4236137 w 5365133"/>
              <a:gd name="connsiteY6079" fmla="*/ 619864 h 4367670"/>
              <a:gd name="connsiteX6080" fmla="*/ 2299477 w 5365133"/>
              <a:gd name="connsiteY6080" fmla="*/ 619864 h 4367670"/>
              <a:gd name="connsiteX6081" fmla="*/ 2279388 w 5365133"/>
              <a:gd name="connsiteY6081" fmla="*/ 625603 h 4367670"/>
              <a:gd name="connsiteX6082" fmla="*/ 2299477 w 5365133"/>
              <a:gd name="connsiteY6082" fmla="*/ 619864 h 4367670"/>
              <a:gd name="connsiteX6083" fmla="*/ 3369809 w 5365133"/>
              <a:gd name="connsiteY6083" fmla="*/ 619037 h 4367670"/>
              <a:gd name="connsiteX6084" fmla="*/ 3371491 w 5365133"/>
              <a:gd name="connsiteY6084" fmla="*/ 621459 h 4367670"/>
              <a:gd name="connsiteX6085" fmla="*/ 3370254 w 5365133"/>
              <a:gd name="connsiteY6085" fmla="*/ 624064 h 4367670"/>
              <a:gd name="connsiteX6086" fmla="*/ 4346583 w 5365133"/>
              <a:gd name="connsiteY6086" fmla="*/ 615110 h 4367670"/>
              <a:gd name="connsiteX6087" fmla="*/ 4348466 w 5365133"/>
              <a:gd name="connsiteY6087" fmla="*/ 619864 h 4367670"/>
              <a:gd name="connsiteX6088" fmla="*/ 4331248 w 5365133"/>
              <a:gd name="connsiteY6088" fmla="*/ 625603 h 4367670"/>
              <a:gd name="connsiteX6089" fmla="*/ 4342009 w 5365133"/>
              <a:gd name="connsiteY6089" fmla="*/ 616277 h 4367670"/>
              <a:gd name="connsiteX6090" fmla="*/ 4346583 w 5365133"/>
              <a:gd name="connsiteY6090" fmla="*/ 615110 h 4367670"/>
              <a:gd name="connsiteX6091" fmla="*/ 4199242 w 5365133"/>
              <a:gd name="connsiteY6091" fmla="*/ 614126 h 4367670"/>
              <a:gd name="connsiteX6092" fmla="*/ 4199242 w 5365133"/>
              <a:gd name="connsiteY6092" fmla="*/ 619865 h 4367670"/>
              <a:gd name="connsiteX6093" fmla="*/ 4204981 w 5365133"/>
              <a:gd name="connsiteY6093" fmla="*/ 619865 h 4367670"/>
              <a:gd name="connsiteX6094" fmla="*/ 4193502 w 5365133"/>
              <a:gd name="connsiteY6094" fmla="*/ 625605 h 4367670"/>
              <a:gd name="connsiteX6095" fmla="*/ 4187762 w 5365133"/>
              <a:gd name="connsiteY6095" fmla="*/ 619865 h 4367670"/>
              <a:gd name="connsiteX6096" fmla="*/ 4199242 w 5365133"/>
              <a:gd name="connsiteY6096" fmla="*/ 614126 h 4367670"/>
              <a:gd name="connsiteX6097" fmla="*/ 4248026 w 5365133"/>
              <a:gd name="connsiteY6097" fmla="*/ 614124 h 4367670"/>
              <a:gd name="connsiteX6098" fmla="*/ 4248026 w 5365133"/>
              <a:gd name="connsiteY6098" fmla="*/ 631342 h 4367670"/>
              <a:gd name="connsiteX6099" fmla="*/ 4242287 w 5365133"/>
              <a:gd name="connsiteY6099" fmla="*/ 619864 h 4367670"/>
              <a:gd name="connsiteX6100" fmla="*/ 4248026 w 5365133"/>
              <a:gd name="connsiteY6100" fmla="*/ 614124 h 4367670"/>
              <a:gd name="connsiteX6101" fmla="*/ 3369809 w 5365133"/>
              <a:gd name="connsiteY6101" fmla="*/ 613072 h 4367670"/>
              <a:gd name="connsiteX6102" fmla="*/ 3369809 w 5365133"/>
              <a:gd name="connsiteY6102" fmla="*/ 619037 h 4367670"/>
              <a:gd name="connsiteX6103" fmla="*/ 3357853 w 5365133"/>
              <a:gd name="connsiteY6103" fmla="*/ 619037 h 4367670"/>
              <a:gd name="connsiteX6104" fmla="*/ 3369809 w 5365133"/>
              <a:gd name="connsiteY6104" fmla="*/ 613072 h 4367670"/>
              <a:gd name="connsiteX6105" fmla="*/ 2407987 w 5365133"/>
              <a:gd name="connsiteY6105" fmla="*/ 612509 h 4367670"/>
              <a:gd name="connsiteX6106" fmla="*/ 2411396 w 5365133"/>
              <a:gd name="connsiteY6106" fmla="*/ 614124 h 4367670"/>
              <a:gd name="connsiteX6107" fmla="*/ 2388438 w 5365133"/>
              <a:gd name="connsiteY6107" fmla="*/ 631342 h 4367670"/>
              <a:gd name="connsiteX6108" fmla="*/ 2388438 w 5365133"/>
              <a:gd name="connsiteY6108" fmla="*/ 619864 h 4367670"/>
              <a:gd name="connsiteX6109" fmla="*/ 2405656 w 5365133"/>
              <a:gd name="connsiteY6109" fmla="*/ 614124 h 4367670"/>
              <a:gd name="connsiteX6110" fmla="*/ 2407987 w 5365133"/>
              <a:gd name="connsiteY6110" fmla="*/ 612509 h 4367670"/>
              <a:gd name="connsiteX6111" fmla="*/ 2788365 w 5365133"/>
              <a:gd name="connsiteY6111" fmla="*/ 611075 h 4367670"/>
              <a:gd name="connsiteX6112" fmla="*/ 2795942 w 5365133"/>
              <a:gd name="connsiteY6112" fmla="*/ 614124 h 4367670"/>
              <a:gd name="connsiteX6113" fmla="*/ 2758634 w 5365133"/>
              <a:gd name="connsiteY6113" fmla="*/ 631342 h 4367670"/>
              <a:gd name="connsiteX6114" fmla="*/ 2758634 w 5365133"/>
              <a:gd name="connsiteY6114" fmla="*/ 625603 h 4367670"/>
              <a:gd name="connsiteX6115" fmla="*/ 2788365 w 5365133"/>
              <a:gd name="connsiteY6115" fmla="*/ 611075 h 4367670"/>
              <a:gd name="connsiteX6116" fmla="*/ 4456945 w 5365133"/>
              <a:gd name="connsiteY6116" fmla="*/ 608384 h 4367670"/>
              <a:gd name="connsiteX6117" fmla="*/ 4444317 w 5365133"/>
              <a:gd name="connsiteY6117" fmla="*/ 619864 h 4367670"/>
              <a:gd name="connsiteX6118" fmla="*/ 4431689 w 5365133"/>
              <a:gd name="connsiteY6118" fmla="*/ 619864 h 4367670"/>
              <a:gd name="connsiteX6119" fmla="*/ 4456945 w 5365133"/>
              <a:gd name="connsiteY6119" fmla="*/ 608384 h 4367670"/>
              <a:gd name="connsiteX6120" fmla="*/ 2220557 w 5365133"/>
              <a:gd name="connsiteY6120" fmla="*/ 607701 h 4367670"/>
              <a:gd name="connsiteX6121" fmla="*/ 2202479 w 5365133"/>
              <a:gd name="connsiteY6121" fmla="*/ 625740 h 4367670"/>
              <a:gd name="connsiteX6122" fmla="*/ 2196452 w 5365133"/>
              <a:gd name="connsiteY6122" fmla="*/ 619727 h 4367670"/>
              <a:gd name="connsiteX6123" fmla="*/ 2220557 w 5365133"/>
              <a:gd name="connsiteY6123" fmla="*/ 607701 h 4367670"/>
              <a:gd name="connsiteX6124" fmla="*/ 3208226 w 5365133"/>
              <a:gd name="connsiteY6124" fmla="*/ 602867 h 4367670"/>
              <a:gd name="connsiteX6125" fmla="*/ 3209104 w 5365133"/>
              <a:gd name="connsiteY6125" fmla="*/ 606021 h 4367670"/>
              <a:gd name="connsiteX6126" fmla="*/ 3207177 w 5365133"/>
              <a:gd name="connsiteY6126" fmla="*/ 604960 h 4367670"/>
              <a:gd name="connsiteX6127" fmla="*/ 2371221 w 5365133"/>
              <a:gd name="connsiteY6127" fmla="*/ 602645 h 4367670"/>
              <a:gd name="connsiteX6128" fmla="*/ 2317216 w 5365133"/>
              <a:gd name="connsiteY6128" fmla="*/ 637082 h 4367670"/>
              <a:gd name="connsiteX6129" fmla="*/ 2305216 w 5365133"/>
              <a:gd name="connsiteY6129" fmla="*/ 637082 h 4367670"/>
              <a:gd name="connsiteX6130" fmla="*/ 2371221 w 5365133"/>
              <a:gd name="connsiteY6130" fmla="*/ 602645 h 4367670"/>
              <a:gd name="connsiteX6131" fmla="*/ 3202528 w 5365133"/>
              <a:gd name="connsiteY6131" fmla="*/ 602402 h 4367670"/>
              <a:gd name="connsiteX6132" fmla="*/ 3207177 w 5365133"/>
              <a:gd name="connsiteY6132" fmla="*/ 604960 h 4367670"/>
              <a:gd name="connsiteX6133" fmla="*/ 3204041 w 5365133"/>
              <a:gd name="connsiteY6133" fmla="*/ 611213 h 4367670"/>
              <a:gd name="connsiteX6134" fmla="*/ 3202995 w 5365133"/>
              <a:gd name="connsiteY6134" fmla="*/ 611809 h 4367670"/>
              <a:gd name="connsiteX6135" fmla="*/ 3202247 w 5365133"/>
              <a:gd name="connsiteY6135" fmla="*/ 614789 h 4367670"/>
              <a:gd name="connsiteX6136" fmla="*/ 3204041 w 5365133"/>
              <a:gd name="connsiteY6136" fmla="*/ 611213 h 4367670"/>
              <a:gd name="connsiteX6137" fmla="*/ 3208226 w 5365133"/>
              <a:gd name="connsiteY6137" fmla="*/ 608829 h 4367670"/>
              <a:gd name="connsiteX6138" fmla="*/ 3208226 w 5365133"/>
              <a:gd name="connsiteY6138" fmla="*/ 620749 h 4367670"/>
              <a:gd name="connsiteX6139" fmla="*/ 3202247 w 5365133"/>
              <a:gd name="connsiteY6139" fmla="*/ 626709 h 4367670"/>
              <a:gd name="connsiteX6140" fmla="*/ 3196269 w 5365133"/>
              <a:gd name="connsiteY6140" fmla="*/ 614789 h 4367670"/>
              <a:gd name="connsiteX6141" fmla="*/ 3194808 w 5365133"/>
              <a:gd name="connsiteY6141" fmla="*/ 614236 h 4367670"/>
              <a:gd name="connsiteX6142" fmla="*/ 3189095 w 5365133"/>
              <a:gd name="connsiteY6142" fmla="*/ 637084 h 4367670"/>
              <a:gd name="connsiteX6143" fmla="*/ 3177616 w 5365133"/>
              <a:gd name="connsiteY6143" fmla="*/ 642823 h 4367670"/>
              <a:gd name="connsiteX6144" fmla="*/ 3189095 w 5365133"/>
              <a:gd name="connsiteY6144" fmla="*/ 631344 h 4367670"/>
              <a:gd name="connsiteX6145" fmla="*/ 3187660 w 5365133"/>
              <a:gd name="connsiteY6145" fmla="*/ 622734 h 4367670"/>
              <a:gd name="connsiteX6146" fmla="*/ 3194759 w 5365133"/>
              <a:gd name="connsiteY6146" fmla="*/ 614218 h 4367670"/>
              <a:gd name="connsiteX6147" fmla="*/ 3190104 w 5365133"/>
              <a:gd name="connsiteY6147" fmla="*/ 612461 h 4367670"/>
              <a:gd name="connsiteX6148" fmla="*/ 3187301 w 5365133"/>
              <a:gd name="connsiteY6148" fmla="*/ 618513 h 4367670"/>
              <a:gd name="connsiteX6149" fmla="*/ 3183816 w 5365133"/>
              <a:gd name="connsiteY6149" fmla="*/ 621698 h 4367670"/>
              <a:gd name="connsiteX6150" fmla="*/ 3183881 w 5365133"/>
              <a:gd name="connsiteY6150" fmla="*/ 620800 h 4367670"/>
              <a:gd name="connsiteX6151" fmla="*/ 3184312 w 5365133"/>
              <a:gd name="connsiteY6151" fmla="*/ 620749 h 4367670"/>
              <a:gd name="connsiteX6152" fmla="*/ 3183904 w 5365133"/>
              <a:gd name="connsiteY6152" fmla="*/ 620478 h 4367670"/>
              <a:gd name="connsiteX6153" fmla="*/ 3184312 w 5365133"/>
              <a:gd name="connsiteY6153" fmla="*/ 614789 h 4367670"/>
              <a:gd name="connsiteX6154" fmla="*/ 3179828 w 5365133"/>
              <a:gd name="connsiteY6154" fmla="*/ 617769 h 4367670"/>
              <a:gd name="connsiteX6155" fmla="*/ 3183904 w 5365133"/>
              <a:gd name="connsiteY6155" fmla="*/ 620478 h 4367670"/>
              <a:gd name="connsiteX6156" fmla="*/ 3183881 w 5365133"/>
              <a:gd name="connsiteY6156" fmla="*/ 620800 h 4367670"/>
              <a:gd name="connsiteX6157" fmla="*/ 3171607 w 5365133"/>
              <a:gd name="connsiteY6157" fmla="*/ 622239 h 4367670"/>
              <a:gd name="connsiteX6158" fmla="*/ 3172354 w 5365133"/>
              <a:gd name="connsiteY6158" fmla="*/ 632669 h 4367670"/>
              <a:gd name="connsiteX6159" fmla="*/ 3163386 w 5365133"/>
              <a:gd name="connsiteY6159" fmla="*/ 629690 h 4367670"/>
              <a:gd name="connsiteX6160" fmla="*/ 3159379 w 5365133"/>
              <a:gd name="connsiteY6160" fmla="*/ 628358 h 4367670"/>
              <a:gd name="connsiteX6161" fmla="*/ 3166376 w 5365133"/>
              <a:gd name="connsiteY6161" fmla="*/ 626709 h 4367670"/>
              <a:gd name="connsiteX6162" fmla="*/ 3202528 w 5365133"/>
              <a:gd name="connsiteY6162" fmla="*/ 602402 h 4367670"/>
              <a:gd name="connsiteX6163" fmla="*/ 4265246 w 5365133"/>
              <a:gd name="connsiteY6163" fmla="*/ 596908 h 4367670"/>
              <a:gd name="connsiteX6164" fmla="*/ 4216460 w 5365133"/>
              <a:gd name="connsiteY6164" fmla="*/ 608386 h 4367670"/>
              <a:gd name="connsiteX6165" fmla="*/ 4265246 w 5365133"/>
              <a:gd name="connsiteY6165" fmla="*/ 596908 h 4367670"/>
              <a:gd name="connsiteX6166" fmla="*/ 2813159 w 5365133"/>
              <a:gd name="connsiteY6166" fmla="*/ 596906 h 4367670"/>
              <a:gd name="connsiteX6167" fmla="*/ 2807419 w 5365133"/>
              <a:gd name="connsiteY6167" fmla="*/ 614124 h 4367670"/>
              <a:gd name="connsiteX6168" fmla="*/ 2813159 w 5365133"/>
              <a:gd name="connsiteY6168" fmla="*/ 596906 h 4367670"/>
              <a:gd name="connsiteX6169" fmla="*/ 2686890 w 5365133"/>
              <a:gd name="connsiteY6169" fmla="*/ 596906 h 4367670"/>
              <a:gd name="connsiteX6170" fmla="*/ 2681151 w 5365133"/>
              <a:gd name="connsiteY6170" fmla="*/ 614124 h 4367670"/>
              <a:gd name="connsiteX6171" fmla="*/ 2663933 w 5365133"/>
              <a:gd name="connsiteY6171" fmla="*/ 608384 h 4367670"/>
              <a:gd name="connsiteX6172" fmla="*/ 2686890 w 5365133"/>
              <a:gd name="connsiteY6172" fmla="*/ 596906 h 4367670"/>
              <a:gd name="connsiteX6173" fmla="*/ 2236879 w 5365133"/>
              <a:gd name="connsiteY6173" fmla="*/ 596188 h 4367670"/>
              <a:gd name="connsiteX6174" fmla="*/ 2244950 w 5365133"/>
              <a:gd name="connsiteY6174" fmla="*/ 602645 h 4367670"/>
              <a:gd name="connsiteX6175" fmla="*/ 2233472 w 5365133"/>
              <a:gd name="connsiteY6175" fmla="*/ 608384 h 4367670"/>
              <a:gd name="connsiteX6176" fmla="*/ 2233472 w 5365133"/>
              <a:gd name="connsiteY6176" fmla="*/ 596906 h 4367670"/>
              <a:gd name="connsiteX6177" fmla="*/ 2236879 w 5365133"/>
              <a:gd name="connsiteY6177" fmla="*/ 596188 h 4367670"/>
              <a:gd name="connsiteX6178" fmla="*/ 4204981 w 5365133"/>
              <a:gd name="connsiteY6178" fmla="*/ 591168 h 4367670"/>
              <a:gd name="connsiteX6179" fmla="*/ 4204981 w 5365133"/>
              <a:gd name="connsiteY6179" fmla="*/ 602647 h 4367670"/>
              <a:gd name="connsiteX6180" fmla="*/ 4193502 w 5365133"/>
              <a:gd name="connsiteY6180" fmla="*/ 608386 h 4367670"/>
              <a:gd name="connsiteX6181" fmla="*/ 4199242 w 5365133"/>
              <a:gd name="connsiteY6181" fmla="*/ 602647 h 4367670"/>
              <a:gd name="connsiteX6182" fmla="*/ 4187762 w 5365133"/>
              <a:gd name="connsiteY6182" fmla="*/ 602647 h 4367670"/>
              <a:gd name="connsiteX6183" fmla="*/ 4204981 w 5365133"/>
              <a:gd name="connsiteY6183" fmla="*/ 591168 h 4367670"/>
              <a:gd name="connsiteX6184" fmla="*/ 4210719 w 5365133"/>
              <a:gd name="connsiteY6184" fmla="*/ 591166 h 4367670"/>
              <a:gd name="connsiteX6185" fmla="*/ 4216458 w 5365133"/>
              <a:gd name="connsiteY6185" fmla="*/ 596906 h 4367670"/>
              <a:gd name="connsiteX6186" fmla="*/ 4210719 w 5365133"/>
              <a:gd name="connsiteY6186" fmla="*/ 602645 h 4367670"/>
              <a:gd name="connsiteX6187" fmla="*/ 4210719 w 5365133"/>
              <a:gd name="connsiteY6187" fmla="*/ 596906 h 4367670"/>
              <a:gd name="connsiteX6188" fmla="*/ 4210719 w 5365133"/>
              <a:gd name="connsiteY6188" fmla="*/ 591166 h 4367670"/>
              <a:gd name="connsiteX6189" fmla="*/ 3238120 w 5365133"/>
              <a:gd name="connsiteY6189" fmla="*/ 590948 h 4367670"/>
              <a:gd name="connsiteX6190" fmla="*/ 3239315 w 5365133"/>
              <a:gd name="connsiteY6190" fmla="*/ 596908 h 4367670"/>
              <a:gd name="connsiteX6191" fmla="*/ 3238120 w 5365133"/>
              <a:gd name="connsiteY6191" fmla="*/ 596908 h 4367670"/>
              <a:gd name="connsiteX6192" fmla="*/ 3237677 w 5365133"/>
              <a:gd name="connsiteY6192" fmla="*/ 591611 h 4367670"/>
              <a:gd name="connsiteX6193" fmla="*/ 4216458 w 5365133"/>
              <a:gd name="connsiteY6193" fmla="*/ 585426 h 4367670"/>
              <a:gd name="connsiteX6194" fmla="*/ 4222198 w 5365133"/>
              <a:gd name="connsiteY6194" fmla="*/ 591166 h 4367670"/>
              <a:gd name="connsiteX6195" fmla="*/ 4216458 w 5365133"/>
              <a:gd name="connsiteY6195" fmla="*/ 596906 h 4367670"/>
              <a:gd name="connsiteX6196" fmla="*/ 4216458 w 5365133"/>
              <a:gd name="connsiteY6196" fmla="*/ 585426 h 4367670"/>
              <a:gd name="connsiteX6197" fmla="*/ 2882741 w 5365133"/>
              <a:gd name="connsiteY6197" fmla="*/ 581912 h 4367670"/>
              <a:gd name="connsiteX6198" fmla="*/ 2891215 w 5365133"/>
              <a:gd name="connsiteY6198" fmla="*/ 595472 h 4367670"/>
              <a:gd name="connsiteX6199" fmla="*/ 2885188 w 5365133"/>
              <a:gd name="connsiteY6199" fmla="*/ 607524 h 4367670"/>
              <a:gd name="connsiteX6200" fmla="*/ 2885188 w 5365133"/>
              <a:gd name="connsiteY6200" fmla="*/ 601499 h 4367670"/>
              <a:gd name="connsiteX6201" fmla="*/ 2867110 w 5365133"/>
              <a:gd name="connsiteY6201" fmla="*/ 613551 h 4367670"/>
              <a:gd name="connsiteX6202" fmla="*/ 2861082 w 5365133"/>
              <a:gd name="connsiteY6202" fmla="*/ 607526 h 4367670"/>
              <a:gd name="connsiteX6203" fmla="*/ 2836977 w 5365133"/>
              <a:gd name="connsiteY6203" fmla="*/ 619578 h 4367670"/>
              <a:gd name="connsiteX6204" fmla="*/ 2855058 w 5365133"/>
              <a:gd name="connsiteY6204" fmla="*/ 601499 h 4367670"/>
              <a:gd name="connsiteX6205" fmla="*/ 2824925 w 5365133"/>
              <a:gd name="connsiteY6205" fmla="*/ 625605 h 4367670"/>
              <a:gd name="connsiteX6206" fmla="*/ 2818898 w 5365133"/>
              <a:gd name="connsiteY6206" fmla="*/ 619578 h 4367670"/>
              <a:gd name="connsiteX6207" fmla="*/ 2824925 w 5365133"/>
              <a:gd name="connsiteY6207" fmla="*/ 619578 h 4367670"/>
              <a:gd name="connsiteX6208" fmla="*/ 2824925 w 5365133"/>
              <a:gd name="connsiteY6208" fmla="*/ 613551 h 4367670"/>
              <a:gd name="connsiteX6209" fmla="*/ 2861082 w 5365133"/>
              <a:gd name="connsiteY6209" fmla="*/ 589445 h 4367670"/>
              <a:gd name="connsiteX6210" fmla="*/ 2873137 w 5365133"/>
              <a:gd name="connsiteY6210" fmla="*/ 601499 h 4367670"/>
              <a:gd name="connsiteX6211" fmla="*/ 2873137 w 5365133"/>
              <a:gd name="connsiteY6211" fmla="*/ 595472 h 4367670"/>
              <a:gd name="connsiteX6212" fmla="*/ 2885188 w 5365133"/>
              <a:gd name="connsiteY6212" fmla="*/ 595472 h 4367670"/>
              <a:gd name="connsiteX6213" fmla="*/ 2879163 w 5365133"/>
              <a:gd name="connsiteY6213" fmla="*/ 583418 h 4367670"/>
              <a:gd name="connsiteX6214" fmla="*/ 2882741 w 5365133"/>
              <a:gd name="connsiteY6214" fmla="*/ 581912 h 4367670"/>
              <a:gd name="connsiteX6215" fmla="*/ 3232140 w 5365133"/>
              <a:gd name="connsiteY6215" fmla="*/ 579027 h 4367670"/>
              <a:gd name="connsiteX6216" fmla="*/ 3237371 w 5365133"/>
              <a:gd name="connsiteY6216" fmla="*/ 587968 h 4367670"/>
              <a:gd name="connsiteX6217" fmla="*/ 3237677 w 5365133"/>
              <a:gd name="connsiteY6217" fmla="*/ 591611 h 4367670"/>
              <a:gd name="connsiteX6218" fmla="*/ 3226162 w 5365133"/>
              <a:gd name="connsiteY6218" fmla="*/ 608829 h 4367670"/>
              <a:gd name="connsiteX6219" fmla="*/ 3226162 w 5365133"/>
              <a:gd name="connsiteY6219" fmla="*/ 596908 h 4367670"/>
              <a:gd name="connsiteX6220" fmla="*/ 3220183 w 5365133"/>
              <a:gd name="connsiteY6220" fmla="*/ 614789 h 4367670"/>
              <a:gd name="connsiteX6221" fmla="*/ 3220183 w 5365133"/>
              <a:gd name="connsiteY6221" fmla="*/ 620749 h 4367670"/>
              <a:gd name="connsiteX6222" fmla="*/ 3211962 w 5365133"/>
              <a:gd name="connsiteY6222" fmla="*/ 616279 h 4367670"/>
              <a:gd name="connsiteX6223" fmla="*/ 3209104 w 5365133"/>
              <a:gd name="connsiteY6223" fmla="*/ 606021 h 4367670"/>
              <a:gd name="connsiteX6224" fmla="*/ 3214204 w 5365133"/>
              <a:gd name="connsiteY6224" fmla="*/ 608829 h 4367670"/>
              <a:gd name="connsiteX6225" fmla="*/ 3214204 w 5365133"/>
              <a:gd name="connsiteY6225" fmla="*/ 596908 h 4367670"/>
              <a:gd name="connsiteX6226" fmla="*/ 3220183 w 5365133"/>
              <a:gd name="connsiteY6226" fmla="*/ 590948 h 4367670"/>
              <a:gd name="connsiteX6227" fmla="*/ 3232140 w 5365133"/>
              <a:gd name="connsiteY6227" fmla="*/ 579027 h 4367670"/>
              <a:gd name="connsiteX6228" fmla="*/ 4259507 w 5365133"/>
              <a:gd name="connsiteY6228" fmla="*/ 577536 h 4367670"/>
              <a:gd name="connsiteX6229" fmla="*/ 4253290 w 5365133"/>
              <a:gd name="connsiteY6229" fmla="*/ 583993 h 4367670"/>
              <a:gd name="connsiteX6230" fmla="*/ 4248256 w 5365133"/>
              <a:gd name="connsiteY6230" fmla="*/ 578765 h 4367670"/>
              <a:gd name="connsiteX6231" fmla="*/ 4247072 w 5365133"/>
              <a:gd name="connsiteY6231" fmla="*/ 577536 h 4367670"/>
              <a:gd name="connsiteX6232" fmla="*/ 4248256 w 5365133"/>
              <a:gd name="connsiteY6232" fmla="*/ 578765 h 4367670"/>
              <a:gd name="connsiteX6233" fmla="*/ 4246233 w 5365133"/>
              <a:gd name="connsiteY6233" fmla="*/ 578987 h 4367670"/>
              <a:gd name="connsiteX6234" fmla="*/ 4234637 w 5365133"/>
              <a:gd name="connsiteY6234" fmla="*/ 577536 h 4367670"/>
              <a:gd name="connsiteX6235" fmla="*/ 4234637 w 5365133"/>
              <a:gd name="connsiteY6235" fmla="*/ 590450 h 4367670"/>
              <a:gd name="connsiteX6236" fmla="*/ 4244740 w 5365133"/>
              <a:gd name="connsiteY6236" fmla="*/ 579150 h 4367670"/>
              <a:gd name="connsiteX6237" fmla="*/ 4246233 w 5365133"/>
              <a:gd name="connsiteY6237" fmla="*/ 578987 h 4367670"/>
              <a:gd name="connsiteX6238" fmla="*/ 4240076 w 5365133"/>
              <a:gd name="connsiteY6238" fmla="*/ 589642 h 4367670"/>
              <a:gd name="connsiteX6239" fmla="*/ 4228418 w 5365133"/>
              <a:gd name="connsiteY6239" fmla="*/ 596908 h 4367670"/>
              <a:gd name="connsiteX6240" fmla="*/ 4228418 w 5365133"/>
              <a:gd name="connsiteY6240" fmla="*/ 590450 h 4367670"/>
              <a:gd name="connsiteX6241" fmla="*/ 4228418 w 5365133"/>
              <a:gd name="connsiteY6241" fmla="*/ 583993 h 4367670"/>
              <a:gd name="connsiteX6242" fmla="*/ 4234637 w 5365133"/>
              <a:gd name="connsiteY6242" fmla="*/ 577536 h 4367670"/>
              <a:gd name="connsiteX6243" fmla="*/ 3021694 w 5365133"/>
              <a:gd name="connsiteY6243" fmla="*/ 576818 h 4367670"/>
              <a:gd name="connsiteX6244" fmla="*/ 3027912 w 5365133"/>
              <a:gd name="connsiteY6244" fmla="*/ 596190 h 4367670"/>
              <a:gd name="connsiteX6245" fmla="*/ 3015475 w 5365133"/>
              <a:gd name="connsiteY6245" fmla="*/ 596190 h 4367670"/>
              <a:gd name="connsiteX6246" fmla="*/ 2996822 w 5365133"/>
              <a:gd name="connsiteY6246" fmla="*/ 596190 h 4367670"/>
              <a:gd name="connsiteX6247" fmla="*/ 3021694 w 5365133"/>
              <a:gd name="connsiteY6247" fmla="*/ 576818 h 4367670"/>
              <a:gd name="connsiteX6248" fmla="*/ 2525709 w 5365133"/>
              <a:gd name="connsiteY6248" fmla="*/ 576818 h 4367670"/>
              <a:gd name="connsiteX6249" fmla="*/ 2537666 w 5365133"/>
              <a:gd name="connsiteY6249" fmla="*/ 601416 h 4367670"/>
              <a:gd name="connsiteX6250" fmla="*/ 2489838 w 5365133"/>
              <a:gd name="connsiteY6250" fmla="*/ 619865 h 4367670"/>
              <a:gd name="connsiteX6251" fmla="*/ 2465921 w 5365133"/>
              <a:gd name="connsiteY6251" fmla="*/ 619865 h 4367670"/>
              <a:gd name="connsiteX6252" fmla="*/ 2525709 w 5365133"/>
              <a:gd name="connsiteY6252" fmla="*/ 576818 h 4367670"/>
              <a:gd name="connsiteX6253" fmla="*/ 3105297 w 5365133"/>
              <a:gd name="connsiteY6253" fmla="*/ 576370 h 4367670"/>
              <a:gd name="connsiteX6254" fmla="*/ 3111105 w 5365133"/>
              <a:gd name="connsiteY6254" fmla="*/ 577059 h 4367670"/>
              <a:gd name="connsiteX6255" fmla="*/ 3105873 w 5365133"/>
              <a:gd name="connsiteY6255" fmla="*/ 577894 h 4367670"/>
              <a:gd name="connsiteX6256" fmla="*/ 3099723 w 5365133"/>
              <a:gd name="connsiteY6256" fmla="*/ 590090 h 4367670"/>
              <a:gd name="connsiteX6257" fmla="*/ 3068976 w 5365133"/>
              <a:gd name="connsiteY6257" fmla="*/ 608386 h 4367670"/>
              <a:gd name="connsiteX6258" fmla="*/ 3068976 w 5365133"/>
              <a:gd name="connsiteY6258" fmla="*/ 590090 h 4367670"/>
              <a:gd name="connsiteX6259" fmla="*/ 3105297 w 5365133"/>
              <a:gd name="connsiteY6259" fmla="*/ 576370 h 4367670"/>
              <a:gd name="connsiteX6260" fmla="*/ 3119250 w 5365133"/>
              <a:gd name="connsiteY6260" fmla="*/ 575755 h 4367670"/>
              <a:gd name="connsiteX6261" fmla="*/ 3118171 w 5365133"/>
              <a:gd name="connsiteY6261" fmla="*/ 577894 h 4367670"/>
              <a:gd name="connsiteX6262" fmla="*/ 3111105 w 5365133"/>
              <a:gd name="connsiteY6262" fmla="*/ 577059 h 4367670"/>
              <a:gd name="connsiteX6263" fmla="*/ 2310954 w 5365133"/>
              <a:gd name="connsiteY6263" fmla="*/ 571625 h 4367670"/>
              <a:gd name="connsiteX6264" fmla="*/ 2304929 w 5365133"/>
              <a:gd name="connsiteY6264" fmla="*/ 589664 h 4367670"/>
              <a:gd name="connsiteX6265" fmla="*/ 2292875 w 5365133"/>
              <a:gd name="connsiteY6265" fmla="*/ 583651 h 4367670"/>
              <a:gd name="connsiteX6266" fmla="*/ 2310954 w 5365133"/>
              <a:gd name="connsiteY6266" fmla="*/ 571625 h 4367670"/>
              <a:gd name="connsiteX6267" fmla="*/ 3388678 w 5365133"/>
              <a:gd name="connsiteY6267" fmla="*/ 568995 h 4367670"/>
              <a:gd name="connsiteX6268" fmla="*/ 3393722 w 5365133"/>
              <a:gd name="connsiteY6268" fmla="*/ 583252 h 4367670"/>
              <a:gd name="connsiteX6269" fmla="*/ 3393722 w 5365133"/>
              <a:gd name="connsiteY6269" fmla="*/ 571325 h 4367670"/>
              <a:gd name="connsiteX6270" fmla="*/ 3405678 w 5365133"/>
              <a:gd name="connsiteY6270" fmla="*/ 583252 h 4367670"/>
              <a:gd name="connsiteX6271" fmla="*/ 3393722 w 5365133"/>
              <a:gd name="connsiteY6271" fmla="*/ 595181 h 4367670"/>
              <a:gd name="connsiteX6272" fmla="*/ 3387744 w 5365133"/>
              <a:gd name="connsiteY6272" fmla="*/ 601144 h 4367670"/>
              <a:gd name="connsiteX6273" fmla="*/ 3351877 w 5365133"/>
              <a:gd name="connsiteY6273" fmla="*/ 613072 h 4367670"/>
              <a:gd name="connsiteX6274" fmla="*/ 3345899 w 5365133"/>
              <a:gd name="connsiteY6274" fmla="*/ 625001 h 4367670"/>
              <a:gd name="connsiteX6275" fmla="*/ 3333943 w 5365133"/>
              <a:gd name="connsiteY6275" fmla="*/ 636928 h 4367670"/>
              <a:gd name="connsiteX6276" fmla="*/ 3327965 w 5365133"/>
              <a:gd name="connsiteY6276" fmla="*/ 625001 h 4367670"/>
              <a:gd name="connsiteX6277" fmla="*/ 3310031 w 5365133"/>
              <a:gd name="connsiteY6277" fmla="*/ 636928 h 4367670"/>
              <a:gd name="connsiteX6278" fmla="*/ 3304052 w 5365133"/>
              <a:gd name="connsiteY6278" fmla="*/ 625001 h 4367670"/>
              <a:gd name="connsiteX6279" fmla="*/ 3298074 w 5365133"/>
              <a:gd name="connsiteY6279" fmla="*/ 630965 h 4367670"/>
              <a:gd name="connsiteX6280" fmla="*/ 3286118 w 5365133"/>
              <a:gd name="connsiteY6280" fmla="*/ 648857 h 4367670"/>
              <a:gd name="connsiteX6281" fmla="*/ 3274162 w 5365133"/>
              <a:gd name="connsiteY6281" fmla="*/ 660784 h 4367670"/>
              <a:gd name="connsiteX6282" fmla="*/ 3262206 w 5365133"/>
              <a:gd name="connsiteY6282" fmla="*/ 642892 h 4367670"/>
              <a:gd name="connsiteX6283" fmla="*/ 3256479 w 5365133"/>
              <a:gd name="connsiteY6283" fmla="*/ 643654 h 4367670"/>
              <a:gd name="connsiteX6284" fmla="*/ 3256321 w 5365133"/>
              <a:gd name="connsiteY6284" fmla="*/ 643545 h 4367670"/>
              <a:gd name="connsiteX6285" fmla="*/ 3262206 w 5365133"/>
              <a:gd name="connsiteY6285" fmla="*/ 630965 h 4367670"/>
              <a:gd name="connsiteX6286" fmla="*/ 3274162 w 5365133"/>
              <a:gd name="connsiteY6286" fmla="*/ 636928 h 4367670"/>
              <a:gd name="connsiteX6287" fmla="*/ 3268184 w 5365133"/>
              <a:gd name="connsiteY6287" fmla="*/ 613072 h 4367670"/>
              <a:gd name="connsiteX6288" fmla="*/ 3276591 w 5365133"/>
              <a:gd name="connsiteY6288" fmla="*/ 623882 h 4367670"/>
              <a:gd name="connsiteX6289" fmla="*/ 3279746 w 5365133"/>
              <a:gd name="connsiteY6289" fmla="*/ 623799 h 4367670"/>
              <a:gd name="connsiteX6290" fmla="*/ 3281105 w 5365133"/>
              <a:gd name="connsiteY6290" fmla="*/ 614124 h 4367670"/>
              <a:gd name="connsiteX6291" fmla="*/ 3292406 w 5365133"/>
              <a:gd name="connsiteY6291" fmla="*/ 619864 h 4367670"/>
              <a:gd name="connsiteX6292" fmla="*/ 3283527 w 5365133"/>
              <a:gd name="connsiteY6292" fmla="*/ 618428 h 4367670"/>
              <a:gd name="connsiteX6293" fmla="*/ 3280518 w 5365133"/>
              <a:gd name="connsiteY6293" fmla="*/ 623777 h 4367670"/>
              <a:gd name="connsiteX6294" fmla="*/ 3290601 w 5365133"/>
              <a:gd name="connsiteY6294" fmla="*/ 623510 h 4367670"/>
              <a:gd name="connsiteX6295" fmla="*/ 3321987 w 5365133"/>
              <a:gd name="connsiteY6295" fmla="*/ 607108 h 4367670"/>
              <a:gd name="connsiteX6296" fmla="*/ 3333943 w 5365133"/>
              <a:gd name="connsiteY6296" fmla="*/ 607108 h 4367670"/>
              <a:gd name="connsiteX6297" fmla="*/ 3345899 w 5365133"/>
              <a:gd name="connsiteY6297" fmla="*/ 595181 h 4367670"/>
              <a:gd name="connsiteX6298" fmla="*/ 3351877 w 5365133"/>
              <a:gd name="connsiteY6298" fmla="*/ 601144 h 4367670"/>
              <a:gd name="connsiteX6299" fmla="*/ 3369809 w 5365133"/>
              <a:gd name="connsiteY6299" fmla="*/ 577288 h 4367670"/>
              <a:gd name="connsiteX6300" fmla="*/ 3375787 w 5365133"/>
              <a:gd name="connsiteY6300" fmla="*/ 589215 h 4367670"/>
              <a:gd name="connsiteX6301" fmla="*/ 3375787 w 5365133"/>
              <a:gd name="connsiteY6301" fmla="*/ 571325 h 4367670"/>
              <a:gd name="connsiteX6302" fmla="*/ 3381766 w 5365133"/>
              <a:gd name="connsiteY6302" fmla="*/ 577288 h 4367670"/>
              <a:gd name="connsiteX6303" fmla="*/ 3387744 w 5365133"/>
              <a:gd name="connsiteY6303" fmla="*/ 582656 h 4367670"/>
              <a:gd name="connsiteX6304" fmla="*/ 3387744 w 5365133"/>
              <a:gd name="connsiteY6304" fmla="*/ 595181 h 4367670"/>
              <a:gd name="connsiteX6305" fmla="*/ 3389239 w 5365133"/>
              <a:gd name="connsiteY6305" fmla="*/ 583999 h 4367670"/>
              <a:gd name="connsiteX6306" fmla="*/ 3387744 w 5365133"/>
              <a:gd name="connsiteY6306" fmla="*/ 582656 h 4367670"/>
              <a:gd name="connsiteX6307" fmla="*/ 3387744 w 5365133"/>
              <a:gd name="connsiteY6307" fmla="*/ 571325 h 4367670"/>
              <a:gd name="connsiteX6308" fmla="*/ 3388678 w 5365133"/>
              <a:gd name="connsiteY6308" fmla="*/ 568995 h 4367670"/>
              <a:gd name="connsiteX6309" fmla="*/ 3475512 w 5365133"/>
              <a:gd name="connsiteY6309" fmla="*/ 568525 h 4367670"/>
              <a:gd name="connsiteX6310" fmla="*/ 3475453 w 5365133"/>
              <a:gd name="connsiteY6310" fmla="*/ 568808 h 4367670"/>
              <a:gd name="connsiteX6311" fmla="*/ 3475264 w 5365133"/>
              <a:gd name="connsiteY6311" fmla="*/ 568937 h 4367670"/>
              <a:gd name="connsiteX6312" fmla="*/ 2682340 w 5365133"/>
              <a:gd name="connsiteY6312" fmla="*/ 565361 h 4367670"/>
              <a:gd name="connsiteX6313" fmla="*/ 2682664 w 5365133"/>
              <a:gd name="connsiteY6313" fmla="*/ 566153 h 4367670"/>
              <a:gd name="connsiteX6314" fmla="*/ 2682340 w 5365133"/>
              <a:gd name="connsiteY6314" fmla="*/ 571325 h 4367670"/>
              <a:gd name="connsiteX6315" fmla="*/ 2682340 w 5365133"/>
              <a:gd name="connsiteY6315" fmla="*/ 565361 h 4367670"/>
              <a:gd name="connsiteX6316" fmla="*/ 2933400 w 5365133"/>
              <a:gd name="connsiteY6316" fmla="*/ 565339 h 4367670"/>
              <a:gd name="connsiteX6317" fmla="*/ 2939427 w 5365133"/>
              <a:gd name="connsiteY6317" fmla="*/ 583418 h 4367670"/>
              <a:gd name="connsiteX6318" fmla="*/ 2909294 w 5365133"/>
              <a:gd name="connsiteY6318" fmla="*/ 601499 h 4367670"/>
              <a:gd name="connsiteX6319" fmla="*/ 2897242 w 5365133"/>
              <a:gd name="connsiteY6319" fmla="*/ 601499 h 4367670"/>
              <a:gd name="connsiteX6320" fmla="*/ 2891215 w 5365133"/>
              <a:gd name="connsiteY6320" fmla="*/ 595472 h 4367670"/>
              <a:gd name="connsiteX6321" fmla="*/ 2903269 w 5365133"/>
              <a:gd name="connsiteY6321" fmla="*/ 595472 h 4367670"/>
              <a:gd name="connsiteX6322" fmla="*/ 2909294 w 5365133"/>
              <a:gd name="connsiteY6322" fmla="*/ 571366 h 4367670"/>
              <a:gd name="connsiteX6323" fmla="*/ 2903269 w 5365133"/>
              <a:gd name="connsiteY6323" fmla="*/ 583418 h 4367670"/>
              <a:gd name="connsiteX6324" fmla="*/ 2915321 w 5365133"/>
              <a:gd name="connsiteY6324" fmla="*/ 571366 h 4367670"/>
              <a:gd name="connsiteX6325" fmla="*/ 2921348 w 5365133"/>
              <a:gd name="connsiteY6325" fmla="*/ 583418 h 4367670"/>
              <a:gd name="connsiteX6326" fmla="*/ 2933400 w 5365133"/>
              <a:gd name="connsiteY6326" fmla="*/ 565339 h 4367670"/>
              <a:gd name="connsiteX6327" fmla="*/ 2646714 w 5365133"/>
              <a:gd name="connsiteY6327" fmla="*/ 565339 h 4367670"/>
              <a:gd name="connsiteX6328" fmla="*/ 2658193 w 5365133"/>
              <a:gd name="connsiteY6328" fmla="*/ 565339 h 4367670"/>
              <a:gd name="connsiteX6329" fmla="*/ 2658193 w 5365133"/>
              <a:gd name="connsiteY6329" fmla="*/ 571079 h 4367670"/>
              <a:gd name="connsiteX6330" fmla="*/ 2652453 w 5365133"/>
              <a:gd name="connsiteY6330" fmla="*/ 576818 h 4367670"/>
              <a:gd name="connsiteX6331" fmla="*/ 2646714 w 5365133"/>
              <a:gd name="connsiteY6331" fmla="*/ 565339 h 4367670"/>
              <a:gd name="connsiteX6332" fmla="*/ 2560622 w 5365133"/>
              <a:gd name="connsiteY6332" fmla="*/ 565339 h 4367670"/>
              <a:gd name="connsiteX6333" fmla="*/ 2566361 w 5365133"/>
              <a:gd name="connsiteY6333" fmla="*/ 571654 h 4367670"/>
              <a:gd name="connsiteX6334" fmla="*/ 2554882 w 5365133"/>
              <a:gd name="connsiteY6334" fmla="*/ 584281 h 4367670"/>
              <a:gd name="connsiteX6335" fmla="*/ 2560622 w 5365133"/>
              <a:gd name="connsiteY6335" fmla="*/ 584281 h 4367670"/>
              <a:gd name="connsiteX6336" fmla="*/ 2543403 w 5365133"/>
              <a:gd name="connsiteY6336" fmla="*/ 596908 h 4367670"/>
              <a:gd name="connsiteX6337" fmla="*/ 2537664 w 5365133"/>
              <a:gd name="connsiteY6337" fmla="*/ 584281 h 4367670"/>
              <a:gd name="connsiteX6338" fmla="*/ 2560622 w 5365133"/>
              <a:gd name="connsiteY6338" fmla="*/ 565339 h 4367670"/>
              <a:gd name="connsiteX6339" fmla="*/ 2463857 w 5365133"/>
              <a:gd name="connsiteY6339" fmla="*/ 563272 h 4367670"/>
              <a:gd name="connsiteX6340" fmla="*/ 2471659 w 5365133"/>
              <a:gd name="connsiteY6340" fmla="*/ 565627 h 4367670"/>
              <a:gd name="connsiteX6341" fmla="*/ 2477399 w 5365133"/>
              <a:gd name="connsiteY6341" fmla="*/ 583706 h 4367670"/>
              <a:gd name="connsiteX6342" fmla="*/ 2494617 w 5365133"/>
              <a:gd name="connsiteY6342" fmla="*/ 589732 h 4367670"/>
              <a:gd name="connsiteX6343" fmla="*/ 2471659 w 5365133"/>
              <a:gd name="connsiteY6343" fmla="*/ 607811 h 4367670"/>
              <a:gd name="connsiteX6344" fmla="*/ 2431483 w 5365133"/>
              <a:gd name="connsiteY6344" fmla="*/ 607811 h 4367670"/>
              <a:gd name="connsiteX6345" fmla="*/ 2442962 w 5365133"/>
              <a:gd name="connsiteY6345" fmla="*/ 595759 h 4367670"/>
              <a:gd name="connsiteX6346" fmla="*/ 2448701 w 5365133"/>
              <a:gd name="connsiteY6346" fmla="*/ 601786 h 4367670"/>
              <a:gd name="connsiteX6347" fmla="*/ 2448701 w 5365133"/>
              <a:gd name="connsiteY6347" fmla="*/ 571654 h 4367670"/>
              <a:gd name="connsiteX6348" fmla="*/ 2437222 w 5365133"/>
              <a:gd name="connsiteY6348" fmla="*/ 577679 h 4367670"/>
              <a:gd name="connsiteX6349" fmla="*/ 2452287 w 5365133"/>
              <a:gd name="connsiteY6349" fmla="*/ 564873 h 4367670"/>
              <a:gd name="connsiteX6350" fmla="*/ 2463857 w 5365133"/>
              <a:gd name="connsiteY6350" fmla="*/ 563272 h 4367670"/>
              <a:gd name="connsiteX6351" fmla="*/ 2888912 w 5365133"/>
              <a:gd name="connsiteY6351" fmla="*/ 561691 h 4367670"/>
              <a:gd name="connsiteX6352" fmla="*/ 2891688 w 5365133"/>
              <a:gd name="connsiteY6352" fmla="*/ 565339 h 4367670"/>
              <a:gd name="connsiteX6353" fmla="*/ 2885686 w 5365133"/>
              <a:gd name="connsiteY6353" fmla="*/ 565339 h 4367670"/>
              <a:gd name="connsiteX6354" fmla="*/ 3065696 w 5365133"/>
              <a:gd name="connsiteY6354" fmla="*/ 561304 h 4367670"/>
              <a:gd name="connsiteX6355" fmla="*/ 3068566 w 5365133"/>
              <a:gd name="connsiteY6355" fmla="*/ 565339 h 4367670"/>
              <a:gd name="connsiteX6356" fmla="*/ 3028390 w 5365133"/>
              <a:gd name="connsiteY6356" fmla="*/ 576818 h 4367670"/>
              <a:gd name="connsiteX6357" fmla="*/ 3039868 w 5365133"/>
              <a:gd name="connsiteY6357" fmla="*/ 565339 h 4367670"/>
              <a:gd name="connsiteX6358" fmla="*/ 3058523 w 5365133"/>
              <a:gd name="connsiteY6358" fmla="*/ 563186 h 4367670"/>
              <a:gd name="connsiteX6359" fmla="*/ 3065696 w 5365133"/>
              <a:gd name="connsiteY6359" fmla="*/ 561304 h 4367670"/>
              <a:gd name="connsiteX6360" fmla="*/ 3162661 w 5365133"/>
              <a:gd name="connsiteY6360" fmla="*/ 560041 h 4367670"/>
              <a:gd name="connsiteX6361" fmla="*/ 3159680 w 5365133"/>
              <a:gd name="connsiteY6361" fmla="*/ 565339 h 4367670"/>
              <a:gd name="connsiteX6362" fmla="*/ 3160487 w 5365133"/>
              <a:gd name="connsiteY6362" fmla="*/ 560317 h 4367670"/>
              <a:gd name="connsiteX6363" fmla="*/ 4606745 w 5365133"/>
              <a:gd name="connsiteY6363" fmla="*/ 559600 h 4367670"/>
              <a:gd name="connsiteX6364" fmla="*/ 4575176 w 5365133"/>
              <a:gd name="connsiteY6364" fmla="*/ 576818 h 4367670"/>
              <a:gd name="connsiteX6365" fmla="*/ 4606745 w 5365133"/>
              <a:gd name="connsiteY6365" fmla="*/ 559600 h 4367670"/>
              <a:gd name="connsiteX6366" fmla="*/ 3166137 w 5365133"/>
              <a:gd name="connsiteY6366" fmla="*/ 559600 h 4367670"/>
              <a:gd name="connsiteX6367" fmla="*/ 3162661 w 5365133"/>
              <a:gd name="connsiteY6367" fmla="*/ 560041 h 4367670"/>
              <a:gd name="connsiteX6368" fmla="*/ 3162769 w 5365133"/>
              <a:gd name="connsiteY6368" fmla="*/ 559849 h 4367670"/>
              <a:gd name="connsiteX6369" fmla="*/ 2646358 w 5365133"/>
              <a:gd name="connsiteY6369" fmla="*/ 559600 h 4367670"/>
              <a:gd name="connsiteX6370" fmla="*/ 2652455 w 5365133"/>
              <a:gd name="connsiteY6370" fmla="*/ 583834 h 4367670"/>
              <a:gd name="connsiteX6371" fmla="*/ 2640258 w 5365133"/>
              <a:gd name="connsiteY6371" fmla="*/ 595951 h 4367670"/>
              <a:gd name="connsiteX6372" fmla="*/ 2646358 w 5365133"/>
              <a:gd name="connsiteY6372" fmla="*/ 595951 h 4367670"/>
              <a:gd name="connsiteX6373" fmla="*/ 2634161 w 5365133"/>
              <a:gd name="connsiteY6373" fmla="*/ 602009 h 4367670"/>
              <a:gd name="connsiteX6374" fmla="*/ 2621964 w 5365133"/>
              <a:gd name="connsiteY6374" fmla="*/ 602009 h 4367670"/>
              <a:gd name="connsiteX6375" fmla="*/ 2634161 w 5365133"/>
              <a:gd name="connsiteY6375" fmla="*/ 602009 h 4367670"/>
              <a:gd name="connsiteX6376" fmla="*/ 2646358 w 5365133"/>
              <a:gd name="connsiteY6376" fmla="*/ 602009 h 4367670"/>
              <a:gd name="connsiteX6377" fmla="*/ 2628062 w 5365133"/>
              <a:gd name="connsiteY6377" fmla="*/ 614126 h 4367670"/>
              <a:gd name="connsiteX6378" fmla="*/ 2628062 w 5365133"/>
              <a:gd name="connsiteY6378" fmla="*/ 583834 h 4367670"/>
              <a:gd name="connsiteX6379" fmla="*/ 2628062 w 5365133"/>
              <a:gd name="connsiteY6379" fmla="*/ 589892 h 4367670"/>
              <a:gd name="connsiteX6380" fmla="*/ 2640258 w 5365133"/>
              <a:gd name="connsiteY6380" fmla="*/ 577775 h 4367670"/>
              <a:gd name="connsiteX6381" fmla="*/ 2634161 w 5365133"/>
              <a:gd name="connsiteY6381" fmla="*/ 571717 h 4367670"/>
              <a:gd name="connsiteX6382" fmla="*/ 2615865 w 5365133"/>
              <a:gd name="connsiteY6382" fmla="*/ 577775 h 4367670"/>
              <a:gd name="connsiteX6383" fmla="*/ 2646358 w 5365133"/>
              <a:gd name="connsiteY6383" fmla="*/ 559600 h 4367670"/>
              <a:gd name="connsiteX6384" fmla="*/ 2531925 w 5365133"/>
              <a:gd name="connsiteY6384" fmla="*/ 559600 h 4367670"/>
              <a:gd name="connsiteX6385" fmla="*/ 2543403 w 5365133"/>
              <a:gd name="connsiteY6385" fmla="*/ 559600 h 4367670"/>
              <a:gd name="connsiteX6386" fmla="*/ 2520445 w 5365133"/>
              <a:gd name="connsiteY6386" fmla="*/ 571079 h 4367670"/>
              <a:gd name="connsiteX6387" fmla="*/ 2531925 w 5365133"/>
              <a:gd name="connsiteY6387" fmla="*/ 559600 h 4367670"/>
              <a:gd name="connsiteX6388" fmla="*/ 2333914 w 5365133"/>
              <a:gd name="connsiteY6388" fmla="*/ 559600 h 4367670"/>
              <a:gd name="connsiteX6389" fmla="*/ 2322435 w 5365133"/>
              <a:gd name="connsiteY6389" fmla="*/ 576818 h 4367670"/>
              <a:gd name="connsiteX6390" fmla="*/ 2310956 w 5365133"/>
              <a:gd name="connsiteY6390" fmla="*/ 571079 h 4367670"/>
              <a:gd name="connsiteX6391" fmla="*/ 2333914 w 5365133"/>
              <a:gd name="connsiteY6391" fmla="*/ 559600 h 4367670"/>
              <a:gd name="connsiteX6392" fmla="*/ 3477415 w 5365133"/>
              <a:gd name="connsiteY6392" fmla="*/ 559396 h 4367670"/>
              <a:gd name="connsiteX6393" fmla="*/ 3478255 w 5365133"/>
              <a:gd name="connsiteY6393" fmla="*/ 563963 h 4367670"/>
              <a:gd name="connsiteX6394" fmla="*/ 3475512 w 5365133"/>
              <a:gd name="connsiteY6394" fmla="*/ 568525 h 4367670"/>
              <a:gd name="connsiteX6395" fmla="*/ 3166137 w 5365133"/>
              <a:gd name="connsiteY6395" fmla="*/ 553860 h 4367670"/>
              <a:gd name="connsiteX6396" fmla="*/ 3162769 w 5365133"/>
              <a:gd name="connsiteY6396" fmla="*/ 559849 h 4367670"/>
              <a:gd name="connsiteX6397" fmla="*/ 3156451 w 5365133"/>
              <a:gd name="connsiteY6397" fmla="*/ 560317 h 4367670"/>
              <a:gd name="connsiteX6398" fmla="*/ 3147465 w 5365133"/>
              <a:gd name="connsiteY6398" fmla="*/ 564977 h 4367670"/>
              <a:gd name="connsiteX6399" fmla="*/ 3148919 w 5365133"/>
              <a:gd name="connsiteY6399" fmla="*/ 565697 h 4367670"/>
              <a:gd name="connsiteX6400" fmla="*/ 3129703 w 5365133"/>
              <a:gd name="connsiteY6400" fmla="*/ 574083 h 4367670"/>
              <a:gd name="connsiteX6401" fmla="*/ 3119250 w 5365133"/>
              <a:gd name="connsiteY6401" fmla="*/ 575755 h 4367670"/>
              <a:gd name="connsiteX6402" fmla="*/ 3122014 w 5365133"/>
              <a:gd name="connsiteY6402" fmla="*/ 570273 h 4367670"/>
              <a:gd name="connsiteX6403" fmla="*/ 3130471 w 5365133"/>
              <a:gd name="connsiteY6403" fmla="*/ 571797 h 4367670"/>
              <a:gd name="connsiteX6404" fmla="*/ 3136621 w 5365133"/>
              <a:gd name="connsiteY6404" fmla="*/ 559600 h 4367670"/>
              <a:gd name="connsiteX6405" fmla="*/ 3147042 w 5365133"/>
              <a:gd name="connsiteY6405" fmla="*/ 564768 h 4367670"/>
              <a:gd name="connsiteX6406" fmla="*/ 3151608 w 5365133"/>
              <a:gd name="connsiteY6406" fmla="*/ 555296 h 4367670"/>
              <a:gd name="connsiteX6407" fmla="*/ 3166137 w 5365133"/>
              <a:gd name="connsiteY6407" fmla="*/ 553860 h 4367670"/>
              <a:gd name="connsiteX6408" fmla="*/ 2945167 w 5365133"/>
              <a:gd name="connsiteY6408" fmla="*/ 553860 h 4367670"/>
              <a:gd name="connsiteX6409" fmla="*/ 2956645 w 5365133"/>
              <a:gd name="connsiteY6409" fmla="*/ 571079 h 4367670"/>
              <a:gd name="connsiteX6410" fmla="*/ 2945167 w 5365133"/>
              <a:gd name="connsiteY6410" fmla="*/ 553860 h 4367670"/>
              <a:gd name="connsiteX6411" fmla="*/ 2592190 w 5365133"/>
              <a:gd name="connsiteY6411" fmla="*/ 553860 h 4367670"/>
              <a:gd name="connsiteX6412" fmla="*/ 2566361 w 5365133"/>
              <a:gd name="connsiteY6412" fmla="*/ 565339 h 4367670"/>
              <a:gd name="connsiteX6413" fmla="*/ 2592190 w 5365133"/>
              <a:gd name="connsiteY6413" fmla="*/ 553860 h 4367670"/>
              <a:gd name="connsiteX6414" fmla="*/ 3351712 w 5365133"/>
              <a:gd name="connsiteY6414" fmla="*/ 549225 h 4367670"/>
              <a:gd name="connsiteX6415" fmla="*/ 3347976 w 5365133"/>
              <a:gd name="connsiteY6415" fmla="*/ 551462 h 4367670"/>
              <a:gd name="connsiteX6416" fmla="*/ 3346333 w 5365133"/>
              <a:gd name="connsiteY6416" fmla="*/ 551013 h 4367670"/>
              <a:gd name="connsiteX6417" fmla="*/ 3339757 w 5365133"/>
              <a:gd name="connsiteY6417" fmla="*/ 549225 h 4367670"/>
              <a:gd name="connsiteX6418" fmla="*/ 3346333 w 5365133"/>
              <a:gd name="connsiteY6418" fmla="*/ 551013 h 4367670"/>
              <a:gd name="connsiteX6419" fmla="*/ 3333776 w 5365133"/>
              <a:gd name="connsiteY6419" fmla="*/ 555185 h 4367670"/>
              <a:gd name="connsiteX6420" fmla="*/ 3339757 w 5365133"/>
              <a:gd name="connsiteY6420" fmla="*/ 549225 h 4367670"/>
              <a:gd name="connsiteX6421" fmla="*/ 4635440 w 5365133"/>
              <a:gd name="connsiteY6421" fmla="*/ 548121 h 4367670"/>
              <a:gd name="connsiteX6422" fmla="*/ 4618221 w 5365133"/>
              <a:gd name="connsiteY6422" fmla="*/ 559600 h 4367670"/>
              <a:gd name="connsiteX6423" fmla="*/ 4635440 w 5365133"/>
              <a:gd name="connsiteY6423" fmla="*/ 548121 h 4367670"/>
              <a:gd name="connsiteX6424" fmla="*/ 2566361 w 5365133"/>
              <a:gd name="connsiteY6424" fmla="*/ 548121 h 4367670"/>
              <a:gd name="connsiteX6425" fmla="*/ 2543403 w 5365133"/>
              <a:gd name="connsiteY6425" fmla="*/ 559600 h 4367670"/>
              <a:gd name="connsiteX6426" fmla="*/ 2566361 w 5365133"/>
              <a:gd name="connsiteY6426" fmla="*/ 548121 h 4367670"/>
              <a:gd name="connsiteX6427" fmla="*/ 3352461 w 5365133"/>
              <a:gd name="connsiteY6427" fmla="*/ 546991 h 4367670"/>
              <a:gd name="connsiteX6428" fmla="*/ 3357693 w 5365133"/>
              <a:gd name="connsiteY6428" fmla="*/ 549225 h 4367670"/>
              <a:gd name="connsiteX6429" fmla="*/ 3351712 w 5365133"/>
              <a:gd name="connsiteY6429" fmla="*/ 549225 h 4367670"/>
              <a:gd name="connsiteX6430" fmla="*/ 3352461 w 5365133"/>
              <a:gd name="connsiteY6430" fmla="*/ 546991 h 4367670"/>
              <a:gd name="connsiteX6431" fmla="*/ 3031479 w 5365133"/>
              <a:gd name="connsiteY6431" fmla="*/ 546686 h 4367670"/>
              <a:gd name="connsiteX6432" fmla="*/ 3028072 w 5365133"/>
              <a:gd name="connsiteY6432" fmla="*/ 559600 h 4367670"/>
              <a:gd name="connsiteX6433" fmla="*/ 3022012 w 5365133"/>
              <a:gd name="connsiteY6433" fmla="*/ 553860 h 4367670"/>
              <a:gd name="connsiteX6434" fmla="*/ 3009895 w 5365133"/>
              <a:gd name="connsiteY6434" fmla="*/ 571079 h 4367670"/>
              <a:gd name="connsiteX6435" fmla="*/ 2985663 w 5365133"/>
              <a:gd name="connsiteY6435" fmla="*/ 576818 h 4367670"/>
              <a:gd name="connsiteX6436" fmla="*/ 2991720 w 5365133"/>
              <a:gd name="connsiteY6436" fmla="*/ 559600 h 4367670"/>
              <a:gd name="connsiteX6437" fmla="*/ 3009895 w 5365133"/>
              <a:gd name="connsiteY6437" fmla="*/ 559600 h 4367670"/>
              <a:gd name="connsiteX6438" fmla="*/ 3028072 w 5365133"/>
              <a:gd name="connsiteY6438" fmla="*/ 548121 h 4367670"/>
              <a:gd name="connsiteX6439" fmla="*/ 3031479 w 5365133"/>
              <a:gd name="connsiteY6439" fmla="*/ 546686 h 4367670"/>
              <a:gd name="connsiteX6440" fmla="*/ 2976106 w 5365133"/>
              <a:gd name="connsiteY6440" fmla="*/ 546595 h 4367670"/>
              <a:gd name="connsiteX6441" fmla="*/ 2973864 w 5365133"/>
              <a:gd name="connsiteY6441" fmla="*/ 553860 h 4367670"/>
              <a:gd name="connsiteX6442" fmla="*/ 2985343 w 5365133"/>
              <a:gd name="connsiteY6442" fmla="*/ 548121 h 4367670"/>
              <a:gd name="connsiteX6443" fmla="*/ 2985343 w 5365133"/>
              <a:gd name="connsiteY6443" fmla="*/ 559600 h 4367670"/>
              <a:gd name="connsiteX6444" fmla="*/ 2962385 w 5365133"/>
              <a:gd name="connsiteY6444" fmla="*/ 565339 h 4367670"/>
              <a:gd name="connsiteX6445" fmla="*/ 2973864 w 5365133"/>
              <a:gd name="connsiteY6445" fmla="*/ 559600 h 4367670"/>
              <a:gd name="connsiteX6446" fmla="*/ 2962385 w 5365133"/>
              <a:gd name="connsiteY6446" fmla="*/ 553860 h 4367670"/>
              <a:gd name="connsiteX6447" fmla="*/ 2970277 w 5365133"/>
              <a:gd name="connsiteY6447" fmla="*/ 547403 h 4367670"/>
              <a:gd name="connsiteX6448" fmla="*/ 2976106 w 5365133"/>
              <a:gd name="connsiteY6448" fmla="*/ 546595 h 4367670"/>
              <a:gd name="connsiteX6449" fmla="*/ 4959721 w 5365133"/>
              <a:gd name="connsiteY6449" fmla="*/ 542382 h 4367670"/>
              <a:gd name="connsiteX6450" fmla="*/ 4971200 w 5365133"/>
              <a:gd name="connsiteY6450" fmla="*/ 548121 h 4367670"/>
              <a:gd name="connsiteX6451" fmla="*/ 4959721 w 5365133"/>
              <a:gd name="connsiteY6451" fmla="*/ 542382 h 4367670"/>
              <a:gd name="connsiteX6452" fmla="*/ 2465921 w 5365133"/>
              <a:gd name="connsiteY6452" fmla="*/ 542382 h 4367670"/>
              <a:gd name="connsiteX6453" fmla="*/ 2454443 w 5365133"/>
              <a:gd name="connsiteY6453" fmla="*/ 559600 h 4367670"/>
              <a:gd name="connsiteX6454" fmla="*/ 2448703 w 5365133"/>
              <a:gd name="connsiteY6454" fmla="*/ 553860 h 4367670"/>
              <a:gd name="connsiteX6455" fmla="*/ 2465921 w 5365133"/>
              <a:gd name="connsiteY6455" fmla="*/ 542382 h 4367670"/>
              <a:gd name="connsiteX6456" fmla="*/ 3435569 w 5365133"/>
              <a:gd name="connsiteY6456" fmla="*/ 541504 h 4367670"/>
              <a:gd name="connsiteX6457" fmla="*/ 3453503 w 5365133"/>
              <a:gd name="connsiteY6457" fmla="*/ 553432 h 4367670"/>
              <a:gd name="connsiteX6458" fmla="*/ 3447525 w 5365133"/>
              <a:gd name="connsiteY6458" fmla="*/ 559396 h 4367670"/>
              <a:gd name="connsiteX6459" fmla="*/ 3435569 w 5365133"/>
              <a:gd name="connsiteY6459" fmla="*/ 541504 h 4367670"/>
              <a:gd name="connsiteX6460" fmla="*/ 2873636 w 5365133"/>
              <a:gd name="connsiteY6460" fmla="*/ 541504 h 4367670"/>
              <a:gd name="connsiteX6461" fmla="*/ 2873636 w 5365133"/>
              <a:gd name="connsiteY6461" fmla="*/ 559274 h 4367670"/>
              <a:gd name="connsiteX6462" fmla="*/ 2873558 w 5365133"/>
              <a:gd name="connsiteY6462" fmla="*/ 559384 h 4367670"/>
              <a:gd name="connsiteX6463" fmla="*/ 2868405 w 5365133"/>
              <a:gd name="connsiteY6463" fmla="*/ 558650 h 4367670"/>
              <a:gd name="connsiteX6464" fmla="*/ 2867658 w 5365133"/>
              <a:gd name="connsiteY6464" fmla="*/ 553432 h 4367670"/>
              <a:gd name="connsiteX6465" fmla="*/ 2873636 w 5365133"/>
              <a:gd name="connsiteY6465" fmla="*/ 541504 h 4367670"/>
              <a:gd name="connsiteX6466" fmla="*/ 4359947 w 5365133"/>
              <a:gd name="connsiteY6466" fmla="*/ 536642 h 4367670"/>
              <a:gd name="connsiteX6467" fmla="*/ 4283139 w 5365133"/>
              <a:gd name="connsiteY6467" fmla="*/ 573231 h 4367670"/>
              <a:gd name="connsiteX6468" fmla="*/ 4283139 w 5365133"/>
              <a:gd name="connsiteY6468" fmla="*/ 567133 h 4367670"/>
              <a:gd name="connsiteX6469" fmla="*/ 4259506 w 5365133"/>
              <a:gd name="connsiteY6469" fmla="*/ 573231 h 4367670"/>
              <a:gd name="connsiteX6470" fmla="*/ 4359947 w 5365133"/>
              <a:gd name="connsiteY6470" fmla="*/ 536642 h 4367670"/>
              <a:gd name="connsiteX6471" fmla="*/ 3117350 w 5365133"/>
              <a:gd name="connsiteY6471" fmla="*/ 536642 h 4367670"/>
              <a:gd name="connsiteX6472" fmla="*/ 3117350 w 5365133"/>
              <a:gd name="connsiteY6472" fmla="*/ 542382 h 4367670"/>
              <a:gd name="connsiteX6473" fmla="*/ 3115438 w 5365133"/>
              <a:gd name="connsiteY6473" fmla="*/ 538555 h 4367670"/>
              <a:gd name="connsiteX6474" fmla="*/ 2998544 w 5365133"/>
              <a:gd name="connsiteY6474" fmla="*/ 536642 h 4367670"/>
              <a:gd name="connsiteX6475" fmla="*/ 3011171 w 5365133"/>
              <a:gd name="connsiteY6475" fmla="*/ 548121 h 4367670"/>
              <a:gd name="connsiteX6476" fmla="*/ 2998544 w 5365133"/>
              <a:gd name="connsiteY6476" fmla="*/ 553860 h 4367670"/>
              <a:gd name="connsiteX6477" fmla="*/ 2998544 w 5365133"/>
              <a:gd name="connsiteY6477" fmla="*/ 536642 h 4367670"/>
              <a:gd name="connsiteX6478" fmla="*/ 2927689 w 5365133"/>
              <a:gd name="connsiteY6478" fmla="*/ 536642 h 4367670"/>
              <a:gd name="connsiteX6479" fmla="*/ 2924689 w 5365133"/>
              <a:gd name="connsiteY6479" fmla="*/ 538795 h 4367670"/>
              <a:gd name="connsiteX6480" fmla="*/ 2923815 w 5365133"/>
              <a:gd name="connsiteY6480" fmla="*/ 538168 h 4367670"/>
              <a:gd name="connsiteX6481" fmla="*/ 2704108 w 5365133"/>
              <a:gd name="connsiteY6481" fmla="*/ 536642 h 4367670"/>
              <a:gd name="connsiteX6482" fmla="*/ 2658193 w 5365133"/>
              <a:gd name="connsiteY6482" fmla="*/ 559600 h 4367670"/>
              <a:gd name="connsiteX6483" fmla="*/ 2704108 w 5365133"/>
              <a:gd name="connsiteY6483" fmla="*/ 536642 h 4367670"/>
              <a:gd name="connsiteX6484" fmla="*/ 2597929 w 5365133"/>
              <a:gd name="connsiteY6484" fmla="*/ 536642 h 4367670"/>
              <a:gd name="connsiteX6485" fmla="*/ 2586451 w 5365133"/>
              <a:gd name="connsiteY6485" fmla="*/ 548121 h 4367670"/>
              <a:gd name="connsiteX6486" fmla="*/ 2597929 w 5365133"/>
              <a:gd name="connsiteY6486" fmla="*/ 536642 h 4367670"/>
              <a:gd name="connsiteX6487" fmla="*/ 3111611 w 5365133"/>
              <a:gd name="connsiteY6487" fmla="*/ 530902 h 4367670"/>
              <a:gd name="connsiteX6488" fmla="*/ 3115438 w 5365133"/>
              <a:gd name="connsiteY6488" fmla="*/ 538555 h 4367670"/>
              <a:gd name="connsiteX6489" fmla="*/ 3111611 w 5365133"/>
              <a:gd name="connsiteY6489" fmla="*/ 542382 h 4367670"/>
              <a:gd name="connsiteX6490" fmla="*/ 3111611 w 5365133"/>
              <a:gd name="connsiteY6490" fmla="*/ 530902 h 4367670"/>
              <a:gd name="connsiteX6491" fmla="*/ 3057087 w 5365133"/>
              <a:gd name="connsiteY6491" fmla="*/ 530902 h 4367670"/>
              <a:gd name="connsiteX6492" fmla="*/ 3070001 w 5365133"/>
              <a:gd name="connsiteY6492" fmla="*/ 530902 h 4367670"/>
              <a:gd name="connsiteX6493" fmla="*/ 3070001 w 5365133"/>
              <a:gd name="connsiteY6493" fmla="*/ 536642 h 4367670"/>
              <a:gd name="connsiteX6494" fmla="*/ 3057087 w 5365133"/>
              <a:gd name="connsiteY6494" fmla="*/ 530902 h 4367670"/>
              <a:gd name="connsiteX6495" fmla="*/ 3045608 w 5365133"/>
              <a:gd name="connsiteY6495" fmla="*/ 530902 h 4367670"/>
              <a:gd name="connsiteX6496" fmla="*/ 3051347 w 5365133"/>
              <a:gd name="connsiteY6496" fmla="*/ 542382 h 4367670"/>
              <a:gd name="connsiteX6497" fmla="*/ 3039868 w 5365133"/>
              <a:gd name="connsiteY6497" fmla="*/ 548121 h 4367670"/>
              <a:gd name="connsiteX6498" fmla="*/ 3045608 w 5365133"/>
              <a:gd name="connsiteY6498" fmla="*/ 530902 h 4367670"/>
              <a:gd name="connsiteX6499" fmla="*/ 2998544 w 5365133"/>
              <a:gd name="connsiteY6499" fmla="*/ 530902 h 4367670"/>
              <a:gd name="connsiteX6500" fmla="*/ 2998544 w 5365133"/>
              <a:gd name="connsiteY6500" fmla="*/ 536642 h 4367670"/>
              <a:gd name="connsiteX6501" fmla="*/ 2992230 w 5365133"/>
              <a:gd name="connsiteY6501" fmla="*/ 548121 h 4367670"/>
              <a:gd name="connsiteX6502" fmla="*/ 2998544 w 5365133"/>
              <a:gd name="connsiteY6502" fmla="*/ 530902 h 4367670"/>
              <a:gd name="connsiteX6503" fmla="*/ 2394177 w 5365133"/>
              <a:gd name="connsiteY6503" fmla="*/ 530902 h 4367670"/>
              <a:gd name="connsiteX6504" fmla="*/ 2402786 w 5365133"/>
              <a:gd name="connsiteY6504" fmla="*/ 535207 h 4367670"/>
              <a:gd name="connsiteX6505" fmla="*/ 2405714 w 5365133"/>
              <a:gd name="connsiteY6505" fmla="*/ 533744 h 4367670"/>
              <a:gd name="connsiteX6506" fmla="*/ 2404939 w 5365133"/>
              <a:gd name="connsiteY6506" fmla="*/ 534938 h 4367670"/>
              <a:gd name="connsiteX6507" fmla="*/ 2411396 w 5365133"/>
              <a:gd name="connsiteY6507" fmla="*/ 536642 h 4367670"/>
              <a:gd name="connsiteX6508" fmla="*/ 2388438 w 5365133"/>
              <a:gd name="connsiteY6508" fmla="*/ 571079 h 4367670"/>
              <a:gd name="connsiteX6509" fmla="*/ 2376959 w 5365133"/>
              <a:gd name="connsiteY6509" fmla="*/ 553860 h 4367670"/>
              <a:gd name="connsiteX6510" fmla="*/ 2373371 w 5365133"/>
              <a:gd name="connsiteY6510" fmla="*/ 561753 h 4367670"/>
              <a:gd name="connsiteX6511" fmla="*/ 2365482 w 5365133"/>
              <a:gd name="connsiteY6511" fmla="*/ 565339 h 4367670"/>
              <a:gd name="connsiteX6512" fmla="*/ 2365480 w 5365133"/>
              <a:gd name="connsiteY6512" fmla="*/ 565339 h 4367670"/>
              <a:gd name="connsiteX6513" fmla="*/ 2353812 w 5365133"/>
              <a:gd name="connsiteY6513" fmla="*/ 560802 h 4367670"/>
              <a:gd name="connsiteX6514" fmla="*/ 2357190 w 5365133"/>
              <a:gd name="connsiteY6514" fmla="*/ 566834 h 4367670"/>
              <a:gd name="connsiteX6515" fmla="*/ 2341087 w 5365133"/>
              <a:gd name="connsiteY6515" fmla="*/ 589664 h 4367670"/>
              <a:gd name="connsiteX6516" fmla="*/ 2250690 w 5365133"/>
              <a:gd name="connsiteY6516" fmla="*/ 637765 h 4367670"/>
              <a:gd name="connsiteX6517" fmla="*/ 2250690 w 5365133"/>
              <a:gd name="connsiteY6517" fmla="*/ 625740 h 4367670"/>
              <a:gd name="connsiteX6518" fmla="*/ 2172346 w 5365133"/>
              <a:gd name="connsiteY6518" fmla="*/ 661816 h 4367670"/>
              <a:gd name="connsiteX6519" fmla="*/ 2196452 w 5365133"/>
              <a:gd name="connsiteY6519" fmla="*/ 661816 h 4367670"/>
              <a:gd name="connsiteX6520" fmla="*/ 2196452 w 5365133"/>
              <a:gd name="connsiteY6520" fmla="*/ 671992 h 4367670"/>
              <a:gd name="connsiteX6521" fmla="*/ 2188919 w 5365133"/>
              <a:gd name="connsiteY6521" fmla="*/ 674594 h 4367670"/>
              <a:gd name="connsiteX6522" fmla="*/ 2160294 w 5365133"/>
              <a:gd name="connsiteY6522" fmla="*/ 685868 h 4367670"/>
              <a:gd name="connsiteX6523" fmla="*/ 2166319 w 5365133"/>
              <a:gd name="connsiteY6523" fmla="*/ 643779 h 4367670"/>
              <a:gd name="connsiteX6524" fmla="*/ 2130162 w 5365133"/>
              <a:gd name="connsiteY6524" fmla="*/ 655804 h 4367670"/>
              <a:gd name="connsiteX6525" fmla="*/ 2190424 w 5365133"/>
              <a:gd name="connsiteY6525" fmla="*/ 619727 h 4367670"/>
              <a:gd name="connsiteX6526" fmla="*/ 2202479 w 5365133"/>
              <a:gd name="connsiteY6526" fmla="*/ 625740 h 4367670"/>
              <a:gd name="connsiteX6527" fmla="*/ 2238637 w 5365133"/>
              <a:gd name="connsiteY6527" fmla="*/ 619727 h 4367670"/>
              <a:gd name="connsiteX6528" fmla="*/ 2262742 w 5365133"/>
              <a:gd name="connsiteY6528" fmla="*/ 607701 h 4367670"/>
              <a:gd name="connsiteX6529" fmla="*/ 2268769 w 5365133"/>
              <a:gd name="connsiteY6529" fmla="*/ 601689 h 4367670"/>
              <a:gd name="connsiteX6530" fmla="*/ 2250690 w 5365133"/>
              <a:gd name="connsiteY6530" fmla="*/ 601689 h 4367670"/>
              <a:gd name="connsiteX6531" fmla="*/ 2286848 w 5365133"/>
              <a:gd name="connsiteY6531" fmla="*/ 577639 h 4367670"/>
              <a:gd name="connsiteX6532" fmla="*/ 2286848 w 5365133"/>
              <a:gd name="connsiteY6532" fmla="*/ 595676 h 4367670"/>
              <a:gd name="connsiteX6533" fmla="*/ 2304929 w 5365133"/>
              <a:gd name="connsiteY6533" fmla="*/ 589664 h 4367670"/>
              <a:gd name="connsiteX6534" fmla="*/ 2331294 w 5365133"/>
              <a:gd name="connsiteY6534" fmla="*/ 574631 h 4367670"/>
              <a:gd name="connsiteX6535" fmla="*/ 2352132 w 5365133"/>
              <a:gd name="connsiteY6535" fmla="*/ 560292 h 4367670"/>
              <a:gd name="connsiteX6536" fmla="*/ 2339653 w 5365133"/>
              <a:gd name="connsiteY6536" fmla="*/ 559600 h 4367670"/>
              <a:gd name="connsiteX6537" fmla="*/ 2359024 w 5365133"/>
              <a:gd name="connsiteY6537" fmla="*/ 548121 h 4367670"/>
              <a:gd name="connsiteX6538" fmla="*/ 2362253 w 5365133"/>
              <a:gd name="connsiteY6538" fmla="*/ 558882 h 4367670"/>
              <a:gd name="connsiteX6539" fmla="*/ 2365480 w 5365133"/>
              <a:gd name="connsiteY6539" fmla="*/ 565338 h 4367670"/>
              <a:gd name="connsiteX6540" fmla="*/ 2369784 w 5365133"/>
              <a:gd name="connsiteY6540" fmla="*/ 555296 h 4367670"/>
              <a:gd name="connsiteX6541" fmla="*/ 2365480 w 5365133"/>
              <a:gd name="connsiteY6541" fmla="*/ 553860 h 4367670"/>
              <a:gd name="connsiteX6542" fmla="*/ 2365480 w 5365133"/>
              <a:gd name="connsiteY6542" fmla="*/ 542382 h 4367670"/>
              <a:gd name="connsiteX6543" fmla="*/ 2376959 w 5365133"/>
              <a:gd name="connsiteY6543" fmla="*/ 542382 h 4367670"/>
              <a:gd name="connsiteX6544" fmla="*/ 2382698 w 5365133"/>
              <a:gd name="connsiteY6544" fmla="*/ 559600 h 4367670"/>
              <a:gd name="connsiteX6545" fmla="*/ 2388438 w 5365133"/>
              <a:gd name="connsiteY6545" fmla="*/ 548121 h 4367670"/>
              <a:gd name="connsiteX6546" fmla="*/ 2382698 w 5365133"/>
              <a:gd name="connsiteY6546" fmla="*/ 542382 h 4367670"/>
              <a:gd name="connsiteX6547" fmla="*/ 2388438 w 5365133"/>
              <a:gd name="connsiteY6547" fmla="*/ 536642 h 4367670"/>
              <a:gd name="connsiteX6548" fmla="*/ 2394177 w 5365133"/>
              <a:gd name="connsiteY6548" fmla="*/ 553860 h 4367670"/>
              <a:gd name="connsiteX6549" fmla="*/ 2394177 w 5365133"/>
              <a:gd name="connsiteY6549" fmla="*/ 530902 h 4367670"/>
              <a:gd name="connsiteX6550" fmla="*/ 3404867 w 5365133"/>
              <a:gd name="connsiteY6550" fmla="*/ 529576 h 4367670"/>
              <a:gd name="connsiteX6551" fmla="*/ 3399542 w 5365133"/>
              <a:gd name="connsiteY6551" fmla="*/ 531345 h 4367670"/>
              <a:gd name="connsiteX6552" fmla="*/ 3399542 w 5365133"/>
              <a:gd name="connsiteY6552" fmla="*/ 532640 h 4367670"/>
              <a:gd name="connsiteX6553" fmla="*/ 3405463 w 5365133"/>
              <a:gd name="connsiteY6553" fmla="*/ 529679 h 4367670"/>
              <a:gd name="connsiteX6554" fmla="*/ 2411396 w 5365133"/>
              <a:gd name="connsiteY6554" fmla="*/ 529378 h 4367670"/>
              <a:gd name="connsiteX6555" fmla="*/ 2411396 w 5365133"/>
              <a:gd name="connsiteY6555" fmla="*/ 530902 h 4367670"/>
              <a:gd name="connsiteX6556" fmla="*/ 2405714 w 5365133"/>
              <a:gd name="connsiteY6556" fmla="*/ 533744 h 4367670"/>
              <a:gd name="connsiteX6557" fmla="*/ 2407091 w 5365133"/>
              <a:gd name="connsiteY6557" fmla="*/ 531620 h 4367670"/>
              <a:gd name="connsiteX6558" fmla="*/ 2411396 w 5365133"/>
              <a:gd name="connsiteY6558" fmla="*/ 529378 h 4367670"/>
              <a:gd name="connsiteX6559" fmla="*/ 3423457 w 5365133"/>
              <a:gd name="connsiteY6559" fmla="*/ 525386 h 4367670"/>
              <a:gd name="connsiteX6560" fmla="*/ 3428845 w 5365133"/>
              <a:gd name="connsiteY6560" fmla="*/ 526362 h 4367670"/>
              <a:gd name="connsiteX6561" fmla="*/ 3427848 w 5365133"/>
              <a:gd name="connsiteY6561" fmla="*/ 526969 h 4367670"/>
              <a:gd name="connsiteX6562" fmla="*/ 3423457 w 5365133"/>
              <a:gd name="connsiteY6562" fmla="*/ 525386 h 4367670"/>
              <a:gd name="connsiteX6563" fmla="*/ 3226402 w 5365133"/>
              <a:gd name="connsiteY6563" fmla="*/ 525163 h 4367670"/>
              <a:gd name="connsiteX6564" fmla="*/ 3217315 w 5365133"/>
              <a:gd name="connsiteY6564" fmla="*/ 535924 h 4367670"/>
              <a:gd name="connsiteX6565" fmla="*/ 3208228 w 5365133"/>
              <a:gd name="connsiteY6565" fmla="*/ 542382 h 4367670"/>
              <a:gd name="connsiteX6566" fmla="*/ 3196110 w 5365133"/>
              <a:gd name="connsiteY6566" fmla="*/ 536642 h 4367670"/>
              <a:gd name="connsiteX6567" fmla="*/ 3196110 w 5365133"/>
              <a:gd name="connsiteY6567" fmla="*/ 548121 h 4367670"/>
              <a:gd name="connsiteX6568" fmla="*/ 3177936 w 5365133"/>
              <a:gd name="connsiteY6568" fmla="*/ 553860 h 4367670"/>
              <a:gd name="connsiteX6569" fmla="*/ 3171877 w 5365133"/>
              <a:gd name="connsiteY6569" fmla="*/ 559600 h 4367670"/>
              <a:gd name="connsiteX6570" fmla="*/ 3171877 w 5365133"/>
              <a:gd name="connsiteY6570" fmla="*/ 542382 h 4367670"/>
              <a:gd name="connsiteX6571" fmla="*/ 3196110 w 5365133"/>
              <a:gd name="connsiteY6571" fmla="*/ 530902 h 4367670"/>
              <a:gd name="connsiteX6572" fmla="*/ 3211257 w 5365133"/>
              <a:gd name="connsiteY6572" fmla="*/ 532338 h 4367670"/>
              <a:gd name="connsiteX6573" fmla="*/ 3123090 w 5365133"/>
              <a:gd name="connsiteY6573" fmla="*/ 525163 h 4367670"/>
              <a:gd name="connsiteX6574" fmla="*/ 3117350 w 5365133"/>
              <a:gd name="connsiteY6574" fmla="*/ 542382 h 4367670"/>
              <a:gd name="connsiteX6575" fmla="*/ 3123090 w 5365133"/>
              <a:gd name="connsiteY6575" fmla="*/ 525163 h 4367670"/>
              <a:gd name="connsiteX6576" fmla="*/ 4383623 w 5365133"/>
              <a:gd name="connsiteY6576" fmla="*/ 523728 h 4367670"/>
              <a:gd name="connsiteX6577" fmla="*/ 4397252 w 5365133"/>
              <a:gd name="connsiteY6577" fmla="*/ 525163 h 4367670"/>
              <a:gd name="connsiteX6578" fmla="*/ 4374295 w 5365133"/>
              <a:gd name="connsiteY6578" fmla="*/ 530902 h 4367670"/>
              <a:gd name="connsiteX6579" fmla="*/ 4383623 w 5365133"/>
              <a:gd name="connsiteY6579" fmla="*/ 523728 h 4367670"/>
              <a:gd name="connsiteX6580" fmla="*/ 3519114 w 5365133"/>
              <a:gd name="connsiteY6580" fmla="*/ 523639 h 4367670"/>
              <a:gd name="connsiteX6581" fmla="*/ 3511040 w 5365133"/>
              <a:gd name="connsiteY6581" fmla="*/ 525104 h 4367670"/>
              <a:gd name="connsiteX6582" fmla="*/ 3507304 w 5365133"/>
              <a:gd name="connsiteY6582" fmla="*/ 535541 h 4367670"/>
              <a:gd name="connsiteX6583" fmla="*/ 3525880 w 5365133"/>
              <a:gd name="connsiteY6583" fmla="*/ 525163 h 4367670"/>
              <a:gd name="connsiteX6584" fmla="*/ 3519114 w 5365133"/>
              <a:gd name="connsiteY6584" fmla="*/ 525163 h 4367670"/>
              <a:gd name="connsiteX6585" fmla="*/ 3023637 w 5365133"/>
              <a:gd name="connsiteY6585" fmla="*/ 521217 h 4367670"/>
              <a:gd name="connsiteX6586" fmla="*/ 3026238 w 5365133"/>
              <a:gd name="connsiteY6586" fmla="*/ 523728 h 4367670"/>
              <a:gd name="connsiteX6587" fmla="*/ 3034129 w 5365133"/>
              <a:gd name="connsiteY6587" fmla="*/ 530902 h 4367670"/>
              <a:gd name="connsiteX6588" fmla="*/ 3022650 w 5365133"/>
              <a:gd name="connsiteY6588" fmla="*/ 542382 h 4367670"/>
              <a:gd name="connsiteX6589" fmla="*/ 3022650 w 5365133"/>
              <a:gd name="connsiteY6589" fmla="*/ 530902 h 4367670"/>
              <a:gd name="connsiteX6590" fmla="*/ 3022650 w 5365133"/>
              <a:gd name="connsiteY6590" fmla="*/ 525163 h 4367670"/>
              <a:gd name="connsiteX6591" fmla="*/ 3023637 w 5365133"/>
              <a:gd name="connsiteY6591" fmla="*/ 521217 h 4367670"/>
              <a:gd name="connsiteX6592" fmla="*/ 3435415 w 5365133"/>
              <a:gd name="connsiteY6592" fmla="*/ 519426 h 4367670"/>
              <a:gd name="connsiteX6593" fmla="*/ 3431678 w 5365133"/>
              <a:gd name="connsiteY6593" fmla="*/ 526875 h 4367670"/>
              <a:gd name="connsiteX6594" fmla="*/ 3428845 w 5365133"/>
              <a:gd name="connsiteY6594" fmla="*/ 526362 h 4367670"/>
              <a:gd name="connsiteX6595" fmla="*/ 3431678 w 5365133"/>
              <a:gd name="connsiteY6595" fmla="*/ 524641 h 4367670"/>
              <a:gd name="connsiteX6596" fmla="*/ 3435415 w 5365133"/>
              <a:gd name="connsiteY6596" fmla="*/ 519426 h 4367670"/>
              <a:gd name="connsiteX6597" fmla="*/ 2927689 w 5365133"/>
              <a:gd name="connsiteY6597" fmla="*/ 519424 h 4367670"/>
              <a:gd name="connsiteX6598" fmla="*/ 2933689 w 5365133"/>
              <a:gd name="connsiteY6598" fmla="*/ 530902 h 4367670"/>
              <a:gd name="connsiteX6599" fmla="*/ 2921690 w 5365133"/>
              <a:gd name="connsiteY6599" fmla="*/ 536642 h 4367670"/>
              <a:gd name="connsiteX6600" fmla="*/ 2923815 w 5365133"/>
              <a:gd name="connsiteY6600" fmla="*/ 538168 h 4367670"/>
              <a:gd name="connsiteX6601" fmla="*/ 2902188 w 5365133"/>
              <a:gd name="connsiteY6601" fmla="*/ 546685 h 4367670"/>
              <a:gd name="connsiteX6602" fmla="*/ 2888912 w 5365133"/>
              <a:gd name="connsiteY6602" fmla="*/ 561691 h 4367670"/>
              <a:gd name="connsiteX6603" fmla="*/ 2885686 w 5365133"/>
              <a:gd name="connsiteY6603" fmla="*/ 557447 h 4367670"/>
              <a:gd name="connsiteX6604" fmla="*/ 2879685 w 5365133"/>
              <a:gd name="connsiteY6604" fmla="*/ 553860 h 4367670"/>
              <a:gd name="connsiteX6605" fmla="*/ 2873686 w 5365133"/>
              <a:gd name="connsiteY6605" fmla="*/ 565339 h 4367670"/>
              <a:gd name="connsiteX6606" fmla="*/ 2873029 w 5365133"/>
              <a:gd name="connsiteY6606" fmla="*/ 560138 h 4367670"/>
              <a:gd name="connsiteX6607" fmla="*/ 2873558 w 5365133"/>
              <a:gd name="connsiteY6607" fmla="*/ 559384 h 4367670"/>
              <a:gd name="connsiteX6608" fmla="*/ 2873636 w 5365133"/>
              <a:gd name="connsiteY6608" fmla="*/ 559396 h 4367670"/>
              <a:gd name="connsiteX6609" fmla="*/ 2873636 w 5365133"/>
              <a:gd name="connsiteY6609" fmla="*/ 559274 h 4367670"/>
              <a:gd name="connsiteX6610" fmla="*/ 2877435 w 5365133"/>
              <a:gd name="connsiteY6610" fmla="*/ 553860 h 4367670"/>
              <a:gd name="connsiteX6611" fmla="*/ 2885686 w 5365133"/>
              <a:gd name="connsiteY6611" fmla="*/ 542382 h 4367670"/>
              <a:gd name="connsiteX6612" fmla="*/ 2891688 w 5365133"/>
              <a:gd name="connsiteY6612" fmla="*/ 548121 h 4367670"/>
              <a:gd name="connsiteX6613" fmla="*/ 2891688 w 5365133"/>
              <a:gd name="connsiteY6613" fmla="*/ 536642 h 4367670"/>
              <a:gd name="connsiteX6614" fmla="*/ 2903687 w 5365133"/>
              <a:gd name="connsiteY6614" fmla="*/ 525163 h 4367670"/>
              <a:gd name="connsiteX6615" fmla="*/ 2921690 w 5365133"/>
              <a:gd name="connsiteY6615" fmla="*/ 530902 h 4367670"/>
              <a:gd name="connsiteX6616" fmla="*/ 2927689 w 5365133"/>
              <a:gd name="connsiteY6616" fmla="*/ 519424 h 4367670"/>
              <a:gd name="connsiteX6617" fmla="*/ 3100631 w 5365133"/>
              <a:gd name="connsiteY6617" fmla="*/ 518426 h 4367670"/>
              <a:gd name="connsiteX6618" fmla="*/ 3100132 w 5365133"/>
              <a:gd name="connsiteY6618" fmla="*/ 519424 h 4367670"/>
              <a:gd name="connsiteX6619" fmla="*/ 3099250 w 5365133"/>
              <a:gd name="connsiteY6619" fmla="*/ 518541 h 4367670"/>
              <a:gd name="connsiteX6620" fmla="*/ 3604084 w 5365133"/>
              <a:gd name="connsiteY6620" fmla="*/ 517487 h 4367670"/>
              <a:gd name="connsiteX6621" fmla="*/ 3603807 w 5365133"/>
              <a:gd name="connsiteY6621" fmla="*/ 517818 h 4367670"/>
              <a:gd name="connsiteX6622" fmla="*/ 3602953 w 5365133"/>
              <a:gd name="connsiteY6622" fmla="*/ 517648 h 4367670"/>
              <a:gd name="connsiteX6623" fmla="*/ 3094393 w 5365133"/>
              <a:gd name="connsiteY6623" fmla="*/ 513684 h 4367670"/>
              <a:gd name="connsiteX6624" fmla="*/ 3099250 w 5365133"/>
              <a:gd name="connsiteY6624" fmla="*/ 518541 h 4367670"/>
              <a:gd name="connsiteX6625" fmla="*/ 3088653 w 5365133"/>
              <a:gd name="connsiteY6625" fmla="*/ 519424 h 4367670"/>
              <a:gd name="connsiteX6626" fmla="*/ 3094393 w 5365133"/>
              <a:gd name="connsiteY6626" fmla="*/ 513684 h 4367670"/>
              <a:gd name="connsiteX6627" fmla="*/ 2574969 w 5365133"/>
              <a:gd name="connsiteY6627" fmla="*/ 513684 h 4367670"/>
              <a:gd name="connsiteX6628" fmla="*/ 2544479 w 5365133"/>
              <a:gd name="connsiteY6628" fmla="*/ 530902 h 4367670"/>
              <a:gd name="connsiteX6629" fmla="*/ 2513988 w 5365133"/>
              <a:gd name="connsiteY6629" fmla="*/ 542382 h 4367670"/>
              <a:gd name="connsiteX6630" fmla="*/ 2507889 w 5365133"/>
              <a:gd name="connsiteY6630" fmla="*/ 553860 h 4367670"/>
              <a:gd name="connsiteX6631" fmla="*/ 2513988 w 5365133"/>
              <a:gd name="connsiteY6631" fmla="*/ 571079 h 4367670"/>
              <a:gd name="connsiteX6632" fmla="*/ 2501792 w 5365133"/>
              <a:gd name="connsiteY6632" fmla="*/ 576818 h 4367670"/>
              <a:gd name="connsiteX6633" fmla="*/ 2477399 w 5365133"/>
              <a:gd name="connsiteY6633" fmla="*/ 536642 h 4367670"/>
              <a:gd name="connsiteX6634" fmla="*/ 2489595 w 5365133"/>
              <a:gd name="connsiteY6634" fmla="*/ 548121 h 4367670"/>
              <a:gd name="connsiteX6635" fmla="*/ 2574969 w 5365133"/>
              <a:gd name="connsiteY6635" fmla="*/ 513684 h 4367670"/>
              <a:gd name="connsiteX6636" fmla="*/ 2460182 w 5365133"/>
              <a:gd name="connsiteY6636" fmla="*/ 513684 h 4367670"/>
              <a:gd name="connsiteX6637" fmla="*/ 2465921 w 5365133"/>
              <a:gd name="connsiteY6637" fmla="*/ 536642 h 4367670"/>
              <a:gd name="connsiteX6638" fmla="*/ 2460182 w 5365133"/>
              <a:gd name="connsiteY6638" fmla="*/ 536642 h 4367670"/>
              <a:gd name="connsiteX6639" fmla="*/ 2460182 w 5365133"/>
              <a:gd name="connsiteY6639" fmla="*/ 525163 h 4367670"/>
              <a:gd name="connsiteX6640" fmla="*/ 2448703 w 5365133"/>
              <a:gd name="connsiteY6640" fmla="*/ 542382 h 4367670"/>
              <a:gd name="connsiteX6641" fmla="*/ 2442963 w 5365133"/>
              <a:gd name="connsiteY6641" fmla="*/ 519424 h 4367670"/>
              <a:gd name="connsiteX6642" fmla="*/ 2460182 w 5365133"/>
              <a:gd name="connsiteY6642" fmla="*/ 513684 h 4367670"/>
              <a:gd name="connsiteX6643" fmla="*/ 2430664 w 5365133"/>
              <a:gd name="connsiteY6643" fmla="*/ 513684 h 4367670"/>
              <a:gd name="connsiteX6644" fmla="*/ 2442963 w 5365133"/>
              <a:gd name="connsiteY6644" fmla="*/ 543407 h 4367670"/>
              <a:gd name="connsiteX6645" fmla="*/ 2430664 w 5365133"/>
              <a:gd name="connsiteY6645" fmla="*/ 555296 h 4367670"/>
              <a:gd name="connsiteX6646" fmla="*/ 2424514 w 5365133"/>
              <a:gd name="connsiteY6646" fmla="*/ 543407 h 4367670"/>
              <a:gd name="connsiteX6647" fmla="*/ 2418365 w 5365133"/>
              <a:gd name="connsiteY6647" fmla="*/ 555296 h 4367670"/>
              <a:gd name="connsiteX6648" fmla="*/ 2442963 w 5365133"/>
              <a:gd name="connsiteY6648" fmla="*/ 555296 h 4367670"/>
              <a:gd name="connsiteX6649" fmla="*/ 2442963 w 5365133"/>
              <a:gd name="connsiteY6649" fmla="*/ 561240 h 4367670"/>
              <a:gd name="connsiteX6650" fmla="*/ 2436813 w 5365133"/>
              <a:gd name="connsiteY6650" fmla="*/ 585018 h 4367670"/>
              <a:gd name="connsiteX6651" fmla="*/ 2430664 w 5365133"/>
              <a:gd name="connsiteY6651" fmla="*/ 590964 h 4367670"/>
              <a:gd name="connsiteX6652" fmla="*/ 2421440 w 5365133"/>
              <a:gd name="connsiteY6652" fmla="*/ 588732 h 4367670"/>
              <a:gd name="connsiteX6653" fmla="*/ 2412214 w 5365133"/>
              <a:gd name="connsiteY6653" fmla="*/ 590964 h 4367670"/>
              <a:gd name="connsiteX6654" fmla="*/ 2424514 w 5365133"/>
              <a:gd name="connsiteY6654" fmla="*/ 579075 h 4367670"/>
              <a:gd name="connsiteX6655" fmla="*/ 2406066 w 5365133"/>
              <a:gd name="connsiteY6655" fmla="*/ 579075 h 4367670"/>
              <a:gd name="connsiteX6656" fmla="*/ 2418365 w 5365133"/>
              <a:gd name="connsiteY6656" fmla="*/ 561240 h 4367670"/>
              <a:gd name="connsiteX6657" fmla="*/ 2418365 w 5365133"/>
              <a:gd name="connsiteY6657" fmla="*/ 531517 h 4367670"/>
              <a:gd name="connsiteX6658" fmla="*/ 2430664 w 5365133"/>
              <a:gd name="connsiteY6658" fmla="*/ 525573 h 4367670"/>
              <a:gd name="connsiteX6659" fmla="*/ 2418365 w 5365133"/>
              <a:gd name="connsiteY6659" fmla="*/ 525573 h 4367670"/>
              <a:gd name="connsiteX6660" fmla="*/ 2430664 w 5365133"/>
              <a:gd name="connsiteY6660" fmla="*/ 513684 h 4367670"/>
              <a:gd name="connsiteX6661" fmla="*/ 3608931 w 5365133"/>
              <a:gd name="connsiteY6661" fmla="*/ 511685 h 4367670"/>
              <a:gd name="connsiteX6662" fmla="*/ 3608184 w 5365133"/>
              <a:gd name="connsiteY6662" fmla="*/ 516903 h 4367670"/>
              <a:gd name="connsiteX6663" fmla="*/ 3604084 w 5365133"/>
              <a:gd name="connsiteY6663" fmla="*/ 517487 h 4367670"/>
              <a:gd name="connsiteX6664" fmla="*/ 4269715 w 5365133"/>
              <a:gd name="connsiteY6664" fmla="*/ 508915 h 4367670"/>
              <a:gd name="connsiteX6665" fmla="*/ 4266510 w 5365133"/>
              <a:gd name="connsiteY6665" fmla="*/ 510193 h 4367670"/>
              <a:gd name="connsiteX6666" fmla="*/ 4254556 w 5365133"/>
              <a:gd name="connsiteY6666" fmla="*/ 517648 h 4367670"/>
              <a:gd name="connsiteX6667" fmla="*/ 4267258 w 5365133"/>
              <a:gd name="connsiteY6667" fmla="*/ 509447 h 4367670"/>
              <a:gd name="connsiteX6668" fmla="*/ 3255098 w 5365133"/>
              <a:gd name="connsiteY6668" fmla="*/ 507944 h 4367670"/>
              <a:gd name="connsiteX6669" fmla="*/ 3260837 w 5365133"/>
              <a:gd name="connsiteY6669" fmla="*/ 519424 h 4367670"/>
              <a:gd name="connsiteX6670" fmla="*/ 3237880 w 5365133"/>
              <a:gd name="connsiteY6670" fmla="*/ 530902 h 4367670"/>
              <a:gd name="connsiteX6671" fmla="*/ 3232140 w 5365133"/>
              <a:gd name="connsiteY6671" fmla="*/ 525881 h 4367670"/>
              <a:gd name="connsiteX6672" fmla="*/ 3226402 w 5365133"/>
              <a:gd name="connsiteY6672" fmla="*/ 525163 h 4367670"/>
              <a:gd name="connsiteX6673" fmla="*/ 3226400 w 5365133"/>
              <a:gd name="connsiteY6673" fmla="*/ 525163 h 4367670"/>
              <a:gd name="connsiteX6674" fmla="*/ 3249359 w 5365133"/>
              <a:gd name="connsiteY6674" fmla="*/ 513684 h 4367670"/>
              <a:gd name="connsiteX6675" fmla="*/ 3255098 w 5365133"/>
              <a:gd name="connsiteY6675" fmla="*/ 507944 h 4367670"/>
              <a:gd name="connsiteX6676" fmla="*/ 3105872 w 5365133"/>
              <a:gd name="connsiteY6676" fmla="*/ 507944 h 4367670"/>
              <a:gd name="connsiteX6677" fmla="*/ 3105872 w 5365133"/>
              <a:gd name="connsiteY6677" fmla="*/ 517988 h 4367670"/>
              <a:gd name="connsiteX6678" fmla="*/ 3100631 w 5365133"/>
              <a:gd name="connsiteY6678" fmla="*/ 518426 h 4367670"/>
              <a:gd name="connsiteX6679" fmla="*/ 3045608 w 5365133"/>
              <a:gd name="connsiteY6679" fmla="*/ 507944 h 4367670"/>
              <a:gd name="connsiteX6680" fmla="*/ 3039868 w 5365133"/>
              <a:gd name="connsiteY6680" fmla="*/ 525163 h 4367670"/>
              <a:gd name="connsiteX6681" fmla="*/ 3045608 w 5365133"/>
              <a:gd name="connsiteY6681" fmla="*/ 507944 h 4367670"/>
              <a:gd name="connsiteX6682" fmla="*/ 2973864 w 5365133"/>
              <a:gd name="connsiteY6682" fmla="*/ 507944 h 4367670"/>
              <a:gd name="connsiteX6683" fmla="*/ 2968124 w 5365133"/>
              <a:gd name="connsiteY6683" fmla="*/ 519424 h 4367670"/>
              <a:gd name="connsiteX6684" fmla="*/ 2962385 w 5365133"/>
              <a:gd name="connsiteY6684" fmla="*/ 513684 h 4367670"/>
              <a:gd name="connsiteX6685" fmla="*/ 2973864 w 5365133"/>
              <a:gd name="connsiteY6685" fmla="*/ 507944 h 4367670"/>
              <a:gd name="connsiteX6686" fmla="*/ 2752895 w 5365133"/>
              <a:gd name="connsiteY6686" fmla="*/ 507944 h 4367670"/>
              <a:gd name="connsiteX6687" fmla="*/ 2758634 w 5365133"/>
              <a:gd name="connsiteY6687" fmla="*/ 513684 h 4367670"/>
              <a:gd name="connsiteX6688" fmla="*/ 2758634 w 5365133"/>
              <a:gd name="connsiteY6688" fmla="*/ 519424 h 4367670"/>
              <a:gd name="connsiteX6689" fmla="*/ 2747155 w 5365133"/>
              <a:gd name="connsiteY6689" fmla="*/ 519424 h 4367670"/>
              <a:gd name="connsiteX6690" fmla="*/ 2752895 w 5365133"/>
              <a:gd name="connsiteY6690" fmla="*/ 507944 h 4367670"/>
              <a:gd name="connsiteX6691" fmla="*/ 4273048 w 5365133"/>
              <a:gd name="connsiteY6691" fmla="*/ 507584 h 4367670"/>
              <a:gd name="connsiteX6692" fmla="*/ 4273673 w 5365133"/>
              <a:gd name="connsiteY6692" fmla="*/ 508056 h 4367670"/>
              <a:gd name="connsiteX6693" fmla="*/ 4269715 w 5365133"/>
              <a:gd name="connsiteY6693" fmla="*/ 508915 h 4367670"/>
              <a:gd name="connsiteX6694" fmla="*/ 2772356 w 5365133"/>
              <a:gd name="connsiteY6694" fmla="*/ 503205 h 4367670"/>
              <a:gd name="connsiteX6695" fmla="*/ 2775853 w 5365133"/>
              <a:gd name="connsiteY6695" fmla="*/ 506030 h 4367670"/>
              <a:gd name="connsiteX6696" fmla="*/ 2758634 w 5365133"/>
              <a:gd name="connsiteY6696" fmla="*/ 506030 h 4367670"/>
              <a:gd name="connsiteX6697" fmla="*/ 2769395 w 5365133"/>
              <a:gd name="connsiteY6697" fmla="*/ 503519 h 4367670"/>
              <a:gd name="connsiteX6698" fmla="*/ 2772356 w 5365133"/>
              <a:gd name="connsiteY6698" fmla="*/ 503205 h 4367670"/>
              <a:gd name="connsiteX6699" fmla="*/ 3610674 w 5365133"/>
              <a:gd name="connsiteY6699" fmla="*/ 502241 h 4367670"/>
              <a:gd name="connsiteX6700" fmla="*/ 3608931 w 5365133"/>
              <a:gd name="connsiteY6700" fmla="*/ 505719 h 4367670"/>
              <a:gd name="connsiteX6701" fmla="*/ 3607721 w 5365133"/>
              <a:gd name="connsiteY6701" fmla="*/ 504685 h 4367670"/>
              <a:gd name="connsiteX6702" fmla="*/ 2549143 w 5365133"/>
              <a:gd name="connsiteY6702" fmla="*/ 499334 h 4367670"/>
              <a:gd name="connsiteX6703" fmla="*/ 2549143 w 5365133"/>
              <a:gd name="connsiteY6703" fmla="*/ 511961 h 4367670"/>
              <a:gd name="connsiteX6704" fmla="*/ 2520445 w 5365133"/>
              <a:gd name="connsiteY6704" fmla="*/ 530902 h 4367670"/>
              <a:gd name="connsiteX6705" fmla="*/ 2549143 w 5365133"/>
              <a:gd name="connsiteY6705" fmla="*/ 499334 h 4367670"/>
              <a:gd name="connsiteX6706" fmla="*/ 3273034 w 5365133"/>
              <a:gd name="connsiteY6706" fmla="*/ 494314 h 4367670"/>
              <a:gd name="connsiteX6707" fmla="*/ 3279491 w 5365133"/>
              <a:gd name="connsiteY6707" fmla="*/ 507229 h 4367670"/>
              <a:gd name="connsiteX6708" fmla="*/ 3273034 w 5365133"/>
              <a:gd name="connsiteY6708" fmla="*/ 507229 h 4367670"/>
              <a:gd name="connsiteX6709" fmla="*/ 3273034 w 5365133"/>
              <a:gd name="connsiteY6709" fmla="*/ 494314 h 4367670"/>
              <a:gd name="connsiteX6710" fmla="*/ 3094393 w 5365133"/>
              <a:gd name="connsiteY6710" fmla="*/ 493597 h 4367670"/>
              <a:gd name="connsiteX6711" fmla="*/ 3094393 w 5365133"/>
              <a:gd name="connsiteY6711" fmla="*/ 506990 h 4367670"/>
              <a:gd name="connsiteX6712" fmla="*/ 3082913 w 5365133"/>
              <a:gd name="connsiteY6712" fmla="*/ 506990 h 4367670"/>
              <a:gd name="connsiteX6713" fmla="*/ 3094393 w 5365133"/>
              <a:gd name="connsiteY6713" fmla="*/ 493597 h 4367670"/>
              <a:gd name="connsiteX6714" fmla="*/ 2614737 w 5365133"/>
              <a:gd name="connsiteY6714" fmla="*/ 493595 h 4367670"/>
              <a:gd name="connsiteX6715" fmla="*/ 2626626 w 5365133"/>
              <a:gd name="connsiteY6715" fmla="*/ 511769 h 4367670"/>
              <a:gd name="connsiteX6716" fmla="*/ 2608793 w 5365133"/>
              <a:gd name="connsiteY6716" fmla="*/ 517829 h 4367670"/>
              <a:gd name="connsiteX6717" fmla="*/ 2614737 w 5365133"/>
              <a:gd name="connsiteY6717" fmla="*/ 505712 h 4367670"/>
              <a:gd name="connsiteX6718" fmla="*/ 2608793 w 5365133"/>
              <a:gd name="connsiteY6718" fmla="*/ 505712 h 4367670"/>
              <a:gd name="connsiteX6719" fmla="*/ 2602849 w 5365133"/>
              <a:gd name="connsiteY6719" fmla="*/ 505712 h 4367670"/>
              <a:gd name="connsiteX6720" fmla="*/ 2549349 w 5365133"/>
              <a:gd name="connsiteY6720" fmla="*/ 548121 h 4367670"/>
              <a:gd name="connsiteX6721" fmla="*/ 2549349 w 5365133"/>
              <a:gd name="connsiteY6721" fmla="*/ 536004 h 4367670"/>
              <a:gd name="connsiteX6722" fmla="*/ 2579071 w 5365133"/>
              <a:gd name="connsiteY6722" fmla="*/ 529946 h 4367670"/>
              <a:gd name="connsiteX6723" fmla="*/ 2579071 w 5365133"/>
              <a:gd name="connsiteY6723" fmla="*/ 511769 h 4367670"/>
              <a:gd name="connsiteX6724" fmla="*/ 2614737 w 5365133"/>
              <a:gd name="connsiteY6724" fmla="*/ 493595 h 4367670"/>
              <a:gd name="connsiteX6725" fmla="*/ 3292406 w 5365133"/>
              <a:gd name="connsiteY6725" fmla="*/ 487857 h 4367670"/>
              <a:gd name="connsiteX6726" fmla="*/ 3292406 w 5365133"/>
              <a:gd name="connsiteY6726" fmla="*/ 507229 h 4367670"/>
              <a:gd name="connsiteX6727" fmla="*/ 3280300 w 5365133"/>
              <a:gd name="connsiteY6727" fmla="*/ 507229 h 4367670"/>
              <a:gd name="connsiteX6728" fmla="*/ 3279491 w 5365133"/>
              <a:gd name="connsiteY6728" fmla="*/ 507229 h 4367670"/>
              <a:gd name="connsiteX6729" fmla="*/ 3279491 w 5365133"/>
              <a:gd name="connsiteY6729" fmla="*/ 500772 h 4367670"/>
              <a:gd name="connsiteX6730" fmla="*/ 3279491 w 5365133"/>
              <a:gd name="connsiteY6730" fmla="*/ 494314 h 4367670"/>
              <a:gd name="connsiteX6731" fmla="*/ 3292406 w 5365133"/>
              <a:gd name="connsiteY6731" fmla="*/ 487857 h 4367670"/>
              <a:gd name="connsiteX6732" fmla="*/ 2574971 w 5365133"/>
              <a:gd name="connsiteY6732" fmla="*/ 487856 h 4367670"/>
              <a:gd name="connsiteX6733" fmla="*/ 2586451 w 5365133"/>
              <a:gd name="connsiteY6733" fmla="*/ 499334 h 4367670"/>
              <a:gd name="connsiteX6734" fmla="*/ 2574971 w 5365133"/>
              <a:gd name="connsiteY6734" fmla="*/ 487856 h 4367670"/>
              <a:gd name="connsiteX6735" fmla="*/ 3588526 w 5365133"/>
              <a:gd name="connsiteY6735" fmla="*/ 484269 h 4367670"/>
              <a:gd name="connsiteX6736" fmla="*/ 3596597 w 5365133"/>
              <a:gd name="connsiteY6736" fmla="*/ 487856 h 4367670"/>
              <a:gd name="connsiteX6737" fmla="*/ 3577226 w 5365133"/>
              <a:gd name="connsiteY6737" fmla="*/ 499334 h 4367670"/>
              <a:gd name="connsiteX6738" fmla="*/ 3570769 w 5365133"/>
              <a:gd name="connsiteY6738" fmla="*/ 493595 h 4367670"/>
              <a:gd name="connsiteX6739" fmla="*/ 3588526 w 5365133"/>
              <a:gd name="connsiteY6739" fmla="*/ 484269 h 4367670"/>
              <a:gd name="connsiteX6740" fmla="*/ 3479498 w 5365133"/>
              <a:gd name="connsiteY6740" fmla="*/ 483689 h 4367670"/>
              <a:gd name="connsiteX6741" fmla="*/ 3479438 w 5365133"/>
              <a:gd name="connsiteY6741" fmla="*/ 483860 h 4367670"/>
              <a:gd name="connsiteX6742" fmla="*/ 3479239 w 5365133"/>
              <a:gd name="connsiteY6742" fmla="*/ 483842 h 4367670"/>
              <a:gd name="connsiteX6743" fmla="*/ 3477265 w 5365133"/>
              <a:gd name="connsiteY6743" fmla="*/ 483663 h 4367670"/>
              <a:gd name="connsiteX6744" fmla="*/ 3479239 w 5365133"/>
              <a:gd name="connsiteY6744" fmla="*/ 483842 h 4367670"/>
              <a:gd name="connsiteX6745" fmla="*/ 3476869 w 5365133"/>
              <a:gd name="connsiteY6745" fmla="*/ 485240 h 4367670"/>
              <a:gd name="connsiteX6746" fmla="*/ 3459329 w 5365133"/>
              <a:gd name="connsiteY6746" fmla="*/ 483663 h 4367670"/>
              <a:gd name="connsiteX6747" fmla="*/ 3459329 w 5365133"/>
              <a:gd name="connsiteY6747" fmla="*/ 495583 h 4367670"/>
              <a:gd name="connsiteX6748" fmla="*/ 3476869 w 5365133"/>
              <a:gd name="connsiteY6748" fmla="*/ 485240 h 4367670"/>
              <a:gd name="connsiteX6749" fmla="*/ 3471285 w 5365133"/>
              <a:gd name="connsiteY6749" fmla="*/ 507504 h 4367670"/>
              <a:gd name="connsiteX6750" fmla="*/ 3459329 w 5365133"/>
              <a:gd name="connsiteY6750" fmla="*/ 501543 h 4367670"/>
              <a:gd name="connsiteX6751" fmla="*/ 3453349 w 5365133"/>
              <a:gd name="connsiteY6751" fmla="*/ 495583 h 4367670"/>
              <a:gd name="connsiteX6752" fmla="*/ 3423457 w 5365133"/>
              <a:gd name="connsiteY6752" fmla="*/ 507504 h 4367670"/>
              <a:gd name="connsiteX6753" fmla="*/ 3423457 w 5365133"/>
              <a:gd name="connsiteY6753" fmla="*/ 519426 h 4367670"/>
              <a:gd name="connsiteX6754" fmla="*/ 3423457 w 5365133"/>
              <a:gd name="connsiteY6754" fmla="*/ 525386 h 4367670"/>
              <a:gd name="connsiteX6755" fmla="*/ 3417479 w 5365133"/>
              <a:gd name="connsiteY6755" fmla="*/ 507504 h 4367670"/>
              <a:gd name="connsiteX6756" fmla="*/ 3405521 w 5365133"/>
              <a:gd name="connsiteY6756" fmla="*/ 519426 h 4367670"/>
              <a:gd name="connsiteX6757" fmla="*/ 3417479 w 5365133"/>
              <a:gd name="connsiteY6757" fmla="*/ 525386 h 4367670"/>
              <a:gd name="connsiteX6758" fmla="*/ 3410753 w 5365133"/>
              <a:gd name="connsiteY6758" fmla="*/ 530600 h 4367670"/>
              <a:gd name="connsiteX6759" fmla="*/ 3406103 w 5365133"/>
              <a:gd name="connsiteY6759" fmla="*/ 529791 h 4367670"/>
              <a:gd name="connsiteX6760" fmla="*/ 3408291 w 5365133"/>
              <a:gd name="connsiteY6760" fmla="*/ 535261 h 4367670"/>
              <a:gd name="connsiteX6761" fmla="*/ 3400219 w 5365133"/>
              <a:gd name="connsiteY6761" fmla="*/ 540911 h 4367670"/>
              <a:gd name="connsiteX6762" fmla="*/ 3399542 w 5365133"/>
              <a:gd name="connsiteY6762" fmla="*/ 537187 h 4367670"/>
              <a:gd name="connsiteX6763" fmla="*/ 3399542 w 5365133"/>
              <a:gd name="connsiteY6763" fmla="*/ 543265 h 4367670"/>
              <a:gd name="connsiteX6764" fmla="*/ 3387585 w 5365133"/>
              <a:gd name="connsiteY6764" fmla="*/ 543265 h 4367670"/>
              <a:gd name="connsiteX6765" fmla="*/ 3399542 w 5365133"/>
              <a:gd name="connsiteY6765" fmla="*/ 525386 h 4367670"/>
              <a:gd name="connsiteX6766" fmla="*/ 3375629 w 5365133"/>
              <a:gd name="connsiteY6766" fmla="*/ 531345 h 4367670"/>
              <a:gd name="connsiteX6767" fmla="*/ 3387585 w 5365133"/>
              <a:gd name="connsiteY6767" fmla="*/ 549225 h 4367670"/>
              <a:gd name="connsiteX6768" fmla="*/ 3375629 w 5365133"/>
              <a:gd name="connsiteY6768" fmla="*/ 549225 h 4367670"/>
              <a:gd name="connsiteX6769" fmla="*/ 3369649 w 5365133"/>
              <a:gd name="connsiteY6769" fmla="*/ 531345 h 4367670"/>
              <a:gd name="connsiteX6770" fmla="*/ 3363671 w 5365133"/>
              <a:gd name="connsiteY6770" fmla="*/ 537305 h 4367670"/>
              <a:gd name="connsiteX6771" fmla="*/ 3357693 w 5365133"/>
              <a:gd name="connsiteY6771" fmla="*/ 543265 h 4367670"/>
              <a:gd name="connsiteX6772" fmla="*/ 3363671 w 5365133"/>
              <a:gd name="connsiteY6772" fmla="*/ 549225 h 4367670"/>
              <a:gd name="connsiteX6773" fmla="*/ 3357693 w 5365133"/>
              <a:gd name="connsiteY6773" fmla="*/ 549225 h 4367670"/>
              <a:gd name="connsiteX6774" fmla="*/ 3345734 w 5365133"/>
              <a:gd name="connsiteY6774" fmla="*/ 543265 h 4367670"/>
              <a:gd name="connsiteX6775" fmla="*/ 3339757 w 5365133"/>
              <a:gd name="connsiteY6775" fmla="*/ 549225 h 4367670"/>
              <a:gd name="connsiteX6776" fmla="*/ 3327798 w 5365133"/>
              <a:gd name="connsiteY6776" fmla="*/ 549225 h 4367670"/>
              <a:gd name="connsiteX6777" fmla="*/ 3321820 w 5365133"/>
              <a:gd name="connsiteY6777" fmla="*/ 555185 h 4367670"/>
              <a:gd name="connsiteX6778" fmla="*/ 3327798 w 5365133"/>
              <a:gd name="connsiteY6778" fmla="*/ 561145 h 4367670"/>
              <a:gd name="connsiteX6779" fmla="*/ 3309862 w 5365133"/>
              <a:gd name="connsiteY6779" fmla="*/ 567107 h 4367670"/>
              <a:gd name="connsiteX6780" fmla="*/ 3309862 w 5365133"/>
              <a:gd name="connsiteY6780" fmla="*/ 561145 h 4367670"/>
              <a:gd name="connsiteX6781" fmla="*/ 3279970 w 5365133"/>
              <a:gd name="connsiteY6781" fmla="*/ 567107 h 4367670"/>
              <a:gd name="connsiteX6782" fmla="*/ 3273990 w 5365133"/>
              <a:gd name="connsiteY6782" fmla="*/ 584988 h 4367670"/>
              <a:gd name="connsiteX6783" fmla="*/ 3262034 w 5365133"/>
              <a:gd name="connsiteY6783" fmla="*/ 590948 h 4367670"/>
              <a:gd name="connsiteX6784" fmla="*/ 3256056 w 5365133"/>
              <a:gd name="connsiteY6784" fmla="*/ 584988 h 4367670"/>
              <a:gd name="connsiteX6785" fmla="*/ 3262034 w 5365133"/>
              <a:gd name="connsiteY6785" fmla="*/ 590948 h 4367670"/>
              <a:gd name="connsiteX6786" fmla="*/ 3256056 w 5365133"/>
              <a:gd name="connsiteY6786" fmla="*/ 590948 h 4367670"/>
              <a:gd name="connsiteX6787" fmla="*/ 3250076 w 5365133"/>
              <a:gd name="connsiteY6787" fmla="*/ 596908 h 4367670"/>
              <a:gd name="connsiteX6788" fmla="*/ 3262034 w 5365133"/>
              <a:gd name="connsiteY6788" fmla="*/ 602867 h 4367670"/>
              <a:gd name="connsiteX6789" fmla="*/ 3256056 w 5365133"/>
              <a:gd name="connsiteY6789" fmla="*/ 602867 h 4367670"/>
              <a:gd name="connsiteX6790" fmla="*/ 3238120 w 5365133"/>
              <a:gd name="connsiteY6790" fmla="*/ 608829 h 4367670"/>
              <a:gd name="connsiteX6791" fmla="*/ 3240361 w 5365133"/>
              <a:gd name="connsiteY6791" fmla="*/ 602122 h 4367670"/>
              <a:gd name="connsiteX6792" fmla="*/ 3239315 w 5365133"/>
              <a:gd name="connsiteY6792" fmla="*/ 596908 h 4367670"/>
              <a:gd name="connsiteX6793" fmla="*/ 3244098 w 5365133"/>
              <a:gd name="connsiteY6793" fmla="*/ 596908 h 4367670"/>
              <a:gd name="connsiteX6794" fmla="*/ 3238120 w 5365133"/>
              <a:gd name="connsiteY6794" fmla="*/ 590948 h 4367670"/>
              <a:gd name="connsiteX6795" fmla="*/ 3250076 w 5365133"/>
              <a:gd name="connsiteY6795" fmla="*/ 573067 h 4367670"/>
              <a:gd name="connsiteX6796" fmla="*/ 3459329 w 5365133"/>
              <a:gd name="connsiteY6796" fmla="*/ 483663 h 4367670"/>
              <a:gd name="connsiteX6797" fmla="*/ 3479574 w 5365133"/>
              <a:gd name="connsiteY6797" fmla="*/ 483645 h 4367670"/>
              <a:gd name="connsiteX6798" fmla="*/ 3479498 w 5365133"/>
              <a:gd name="connsiteY6798" fmla="*/ 483689 h 4367670"/>
              <a:gd name="connsiteX6799" fmla="*/ 3479507 w 5365133"/>
              <a:gd name="connsiteY6799" fmla="*/ 483663 h 4367670"/>
              <a:gd name="connsiteX6800" fmla="*/ 3608931 w 5365133"/>
              <a:gd name="connsiteY6800" fmla="*/ 482406 h 4367670"/>
              <a:gd name="connsiteX6801" fmla="*/ 3608931 w 5365133"/>
              <a:gd name="connsiteY6801" fmla="*/ 487828 h 4367670"/>
              <a:gd name="connsiteX6802" fmla="*/ 3608091 w 5365133"/>
              <a:gd name="connsiteY6802" fmla="*/ 483449 h 4367670"/>
              <a:gd name="connsiteX6803" fmla="*/ 3117350 w 5365133"/>
              <a:gd name="connsiteY6803" fmla="*/ 482118 h 4367670"/>
              <a:gd name="connsiteX6804" fmla="*/ 3123090 w 5365133"/>
              <a:gd name="connsiteY6804" fmla="*/ 495032 h 4367670"/>
              <a:gd name="connsiteX6805" fmla="*/ 3111611 w 5365133"/>
              <a:gd name="connsiteY6805" fmla="*/ 501489 h 4367670"/>
              <a:gd name="connsiteX6806" fmla="*/ 3117350 w 5365133"/>
              <a:gd name="connsiteY6806" fmla="*/ 482118 h 4367670"/>
              <a:gd name="connsiteX6807" fmla="*/ 2747155 w 5365133"/>
              <a:gd name="connsiteY6807" fmla="*/ 482118 h 4367670"/>
              <a:gd name="connsiteX6808" fmla="*/ 2770113 w 5365133"/>
              <a:gd name="connsiteY6808" fmla="*/ 487857 h 4367670"/>
              <a:gd name="connsiteX6809" fmla="*/ 2741416 w 5365133"/>
              <a:gd name="connsiteY6809" fmla="*/ 499336 h 4367670"/>
              <a:gd name="connsiteX6810" fmla="*/ 2741416 w 5365133"/>
              <a:gd name="connsiteY6810" fmla="*/ 487857 h 4367670"/>
              <a:gd name="connsiteX6811" fmla="*/ 2747155 w 5365133"/>
              <a:gd name="connsiteY6811" fmla="*/ 482118 h 4367670"/>
              <a:gd name="connsiteX6812" fmla="*/ 3321103 w 5365133"/>
              <a:gd name="connsiteY6812" fmla="*/ 482116 h 4367670"/>
              <a:gd name="connsiteX6813" fmla="*/ 3315363 w 5365133"/>
              <a:gd name="connsiteY6813" fmla="*/ 507944 h 4367670"/>
              <a:gd name="connsiteX6814" fmla="*/ 3309624 w 5365133"/>
              <a:gd name="connsiteY6814" fmla="*/ 495030 h 4367670"/>
              <a:gd name="connsiteX6815" fmla="*/ 3321103 w 5365133"/>
              <a:gd name="connsiteY6815" fmla="*/ 482116 h 4367670"/>
              <a:gd name="connsiteX6816" fmla="*/ 2508969 w 5365133"/>
              <a:gd name="connsiteY6816" fmla="*/ 482116 h 4367670"/>
              <a:gd name="connsiteX6817" fmla="*/ 2508969 w 5365133"/>
              <a:gd name="connsiteY6817" fmla="*/ 499334 h 4367670"/>
              <a:gd name="connsiteX6818" fmla="*/ 2494619 w 5365133"/>
              <a:gd name="connsiteY6818" fmla="*/ 499334 h 4367670"/>
              <a:gd name="connsiteX6819" fmla="*/ 2508969 w 5365133"/>
              <a:gd name="connsiteY6819" fmla="*/ 482116 h 4367670"/>
              <a:gd name="connsiteX6820" fmla="*/ 2717502 w 5365133"/>
              <a:gd name="connsiteY6820" fmla="*/ 476599 h 4367670"/>
              <a:gd name="connsiteX6821" fmla="*/ 2711444 w 5365133"/>
              <a:gd name="connsiteY6821" fmla="*/ 500441 h 4367670"/>
              <a:gd name="connsiteX6822" fmla="*/ 2717502 w 5365133"/>
              <a:gd name="connsiteY6822" fmla="*/ 500441 h 4367670"/>
              <a:gd name="connsiteX6823" fmla="*/ 2735677 w 5365133"/>
              <a:gd name="connsiteY6823" fmla="*/ 494480 h 4367670"/>
              <a:gd name="connsiteX6824" fmla="*/ 2638744 w 5365133"/>
              <a:gd name="connsiteY6824" fmla="*/ 548123 h 4367670"/>
              <a:gd name="connsiteX6825" fmla="*/ 2650860 w 5365133"/>
              <a:gd name="connsiteY6825" fmla="*/ 518321 h 4367670"/>
              <a:gd name="connsiteX6826" fmla="*/ 2626626 w 5365133"/>
              <a:gd name="connsiteY6826" fmla="*/ 518321 h 4367670"/>
              <a:gd name="connsiteX6827" fmla="*/ 2681152 w 5365133"/>
              <a:gd name="connsiteY6827" fmla="*/ 494480 h 4367670"/>
              <a:gd name="connsiteX6828" fmla="*/ 2711444 w 5365133"/>
              <a:gd name="connsiteY6828" fmla="*/ 482559 h 4367670"/>
              <a:gd name="connsiteX6829" fmla="*/ 2717502 w 5365133"/>
              <a:gd name="connsiteY6829" fmla="*/ 476599 h 4367670"/>
              <a:gd name="connsiteX6830" fmla="*/ 4354207 w 5365133"/>
              <a:gd name="connsiteY6830" fmla="*/ 476378 h 4367670"/>
              <a:gd name="connsiteX6831" fmla="*/ 4354924 w 5365133"/>
              <a:gd name="connsiteY6831" fmla="*/ 481306 h 4367670"/>
              <a:gd name="connsiteX6832" fmla="*/ 4354910 w 5365133"/>
              <a:gd name="connsiteY6832" fmla="*/ 481311 h 4367670"/>
              <a:gd name="connsiteX6833" fmla="*/ 4351338 w 5365133"/>
              <a:gd name="connsiteY6833" fmla="*/ 481401 h 4367670"/>
              <a:gd name="connsiteX6834" fmla="*/ 4348468 w 5365133"/>
              <a:gd name="connsiteY6834" fmla="*/ 482118 h 4367670"/>
              <a:gd name="connsiteX6835" fmla="*/ 4336989 w 5365133"/>
              <a:gd name="connsiteY6835" fmla="*/ 482118 h 4367670"/>
              <a:gd name="connsiteX6836" fmla="*/ 4354207 w 5365133"/>
              <a:gd name="connsiteY6836" fmla="*/ 476378 h 4367670"/>
              <a:gd name="connsiteX6837" fmla="*/ 3608931 w 5365133"/>
              <a:gd name="connsiteY6837" fmla="*/ 475899 h 4367670"/>
              <a:gd name="connsiteX6838" fmla="*/ 3611172 w 5365133"/>
              <a:gd name="connsiteY6838" fmla="*/ 479627 h 4367670"/>
              <a:gd name="connsiteX6839" fmla="*/ 3608931 w 5365133"/>
              <a:gd name="connsiteY6839" fmla="*/ 482406 h 4367670"/>
              <a:gd name="connsiteX6840" fmla="*/ 3518087 w 5365133"/>
              <a:gd name="connsiteY6840" fmla="*/ 473606 h 4367670"/>
              <a:gd name="connsiteX6841" fmla="*/ 3519115 w 5365133"/>
              <a:gd name="connsiteY6841" fmla="*/ 477703 h 4367670"/>
              <a:gd name="connsiteX6842" fmla="*/ 3513136 w 5365133"/>
              <a:gd name="connsiteY6842" fmla="*/ 489623 h 4367670"/>
              <a:gd name="connsiteX6843" fmla="*/ 3501179 w 5365133"/>
              <a:gd name="connsiteY6843" fmla="*/ 483663 h 4367670"/>
              <a:gd name="connsiteX6844" fmla="*/ 3483244 w 5365133"/>
              <a:gd name="connsiteY6844" fmla="*/ 489623 h 4367670"/>
              <a:gd name="connsiteX6845" fmla="*/ 3477265 w 5365133"/>
              <a:gd name="connsiteY6845" fmla="*/ 507504 h 4367670"/>
              <a:gd name="connsiteX6846" fmla="*/ 3471285 w 5365133"/>
              <a:gd name="connsiteY6846" fmla="*/ 507504 h 4367670"/>
              <a:gd name="connsiteX6847" fmla="*/ 3479438 w 5365133"/>
              <a:gd name="connsiteY6847" fmla="*/ 483860 h 4367670"/>
              <a:gd name="connsiteX6848" fmla="*/ 3493706 w 5365133"/>
              <a:gd name="connsiteY6848" fmla="*/ 485153 h 4367670"/>
              <a:gd name="connsiteX6849" fmla="*/ 3501179 w 5365133"/>
              <a:gd name="connsiteY6849" fmla="*/ 477703 h 4367670"/>
              <a:gd name="connsiteX6850" fmla="*/ 3507157 w 5365133"/>
              <a:gd name="connsiteY6850" fmla="*/ 483663 h 4367670"/>
              <a:gd name="connsiteX6851" fmla="*/ 3515379 w 5365133"/>
              <a:gd name="connsiteY6851" fmla="*/ 476212 h 4367670"/>
              <a:gd name="connsiteX6852" fmla="*/ 3518087 w 5365133"/>
              <a:gd name="connsiteY6852" fmla="*/ 473606 h 4367670"/>
              <a:gd name="connsiteX6853" fmla="*/ 3172738 w 5365133"/>
              <a:gd name="connsiteY6853" fmla="*/ 472590 h 4367670"/>
              <a:gd name="connsiteX6854" fmla="*/ 3171877 w 5365133"/>
              <a:gd name="connsiteY6854" fmla="*/ 476378 h 4367670"/>
              <a:gd name="connsiteX6855" fmla="*/ 3170442 w 5365133"/>
              <a:gd name="connsiteY6855" fmla="*/ 473509 h 4367670"/>
              <a:gd name="connsiteX6856" fmla="*/ 3172773 w 5365133"/>
              <a:gd name="connsiteY6856" fmla="*/ 472432 h 4367670"/>
              <a:gd name="connsiteX6857" fmla="*/ 3172859 w 5365133"/>
              <a:gd name="connsiteY6857" fmla="*/ 472542 h 4367670"/>
              <a:gd name="connsiteX6858" fmla="*/ 3172738 w 5365133"/>
              <a:gd name="connsiteY6858" fmla="*/ 472590 h 4367670"/>
              <a:gd name="connsiteX6859" fmla="*/ 2531684 w 5365133"/>
              <a:gd name="connsiteY6859" fmla="*/ 471534 h 4367670"/>
              <a:gd name="connsiteX6860" fmla="*/ 2549620 w 5365133"/>
              <a:gd name="connsiteY6860" fmla="*/ 477452 h 4367670"/>
              <a:gd name="connsiteX6861" fmla="*/ 2555600 w 5365133"/>
              <a:gd name="connsiteY6861" fmla="*/ 483372 h 4367670"/>
              <a:gd name="connsiteX6862" fmla="*/ 2555600 w 5365133"/>
              <a:gd name="connsiteY6862" fmla="*/ 495209 h 4367670"/>
              <a:gd name="connsiteX6863" fmla="*/ 2531684 w 5365133"/>
              <a:gd name="connsiteY6863" fmla="*/ 495209 h 4367670"/>
              <a:gd name="connsiteX6864" fmla="*/ 2507770 w 5365133"/>
              <a:gd name="connsiteY6864" fmla="*/ 512967 h 4367670"/>
              <a:gd name="connsiteX6865" fmla="*/ 2507770 w 5365133"/>
              <a:gd name="connsiteY6865" fmla="*/ 518885 h 4367670"/>
              <a:gd name="connsiteX6866" fmla="*/ 2495814 w 5365133"/>
              <a:gd name="connsiteY6866" fmla="*/ 512967 h 4367670"/>
              <a:gd name="connsiteX6867" fmla="*/ 2483856 w 5365133"/>
              <a:gd name="connsiteY6867" fmla="*/ 524803 h 4367670"/>
              <a:gd name="connsiteX6868" fmla="*/ 2477878 w 5365133"/>
              <a:gd name="connsiteY6868" fmla="*/ 530724 h 4367670"/>
              <a:gd name="connsiteX6869" fmla="*/ 2471899 w 5365133"/>
              <a:gd name="connsiteY6869" fmla="*/ 512967 h 4367670"/>
              <a:gd name="connsiteX6870" fmla="*/ 2501792 w 5365133"/>
              <a:gd name="connsiteY6870" fmla="*/ 507048 h 4367670"/>
              <a:gd name="connsiteX6871" fmla="*/ 2525706 w 5365133"/>
              <a:gd name="connsiteY6871" fmla="*/ 495209 h 4367670"/>
              <a:gd name="connsiteX6872" fmla="*/ 2519728 w 5365133"/>
              <a:gd name="connsiteY6872" fmla="*/ 483372 h 4367670"/>
              <a:gd name="connsiteX6873" fmla="*/ 2513749 w 5365133"/>
              <a:gd name="connsiteY6873" fmla="*/ 495209 h 4367670"/>
              <a:gd name="connsiteX6874" fmla="*/ 2519728 w 5365133"/>
              <a:gd name="connsiteY6874" fmla="*/ 477452 h 4367670"/>
              <a:gd name="connsiteX6875" fmla="*/ 2525706 w 5365133"/>
              <a:gd name="connsiteY6875" fmla="*/ 489290 h 4367670"/>
              <a:gd name="connsiteX6876" fmla="*/ 2531684 w 5365133"/>
              <a:gd name="connsiteY6876" fmla="*/ 489290 h 4367670"/>
              <a:gd name="connsiteX6877" fmla="*/ 2531684 w 5365133"/>
              <a:gd name="connsiteY6877" fmla="*/ 471534 h 4367670"/>
              <a:gd name="connsiteX6878" fmla="*/ 3194835 w 5365133"/>
              <a:gd name="connsiteY6878" fmla="*/ 464900 h 4367670"/>
              <a:gd name="connsiteX6879" fmla="*/ 3194835 w 5365133"/>
              <a:gd name="connsiteY6879" fmla="*/ 482118 h 4367670"/>
              <a:gd name="connsiteX6880" fmla="*/ 3189095 w 5365133"/>
              <a:gd name="connsiteY6880" fmla="*/ 482118 h 4367670"/>
              <a:gd name="connsiteX6881" fmla="*/ 3177616 w 5365133"/>
              <a:gd name="connsiteY6881" fmla="*/ 482118 h 4367670"/>
              <a:gd name="connsiteX6882" fmla="*/ 3174747 w 5365133"/>
              <a:gd name="connsiteY6882" fmla="*/ 474944 h 4367670"/>
              <a:gd name="connsiteX6883" fmla="*/ 3172859 w 5365133"/>
              <a:gd name="connsiteY6883" fmla="*/ 472542 h 4367670"/>
              <a:gd name="connsiteX6884" fmla="*/ 3177616 w 5365133"/>
              <a:gd name="connsiteY6884" fmla="*/ 470639 h 4367670"/>
              <a:gd name="connsiteX6885" fmla="*/ 3183355 w 5365133"/>
              <a:gd name="connsiteY6885" fmla="*/ 476378 h 4367670"/>
              <a:gd name="connsiteX6886" fmla="*/ 3194835 w 5365133"/>
              <a:gd name="connsiteY6886" fmla="*/ 464900 h 4367670"/>
              <a:gd name="connsiteX6887" fmla="*/ 3160398 w 5365133"/>
              <a:gd name="connsiteY6887" fmla="*/ 464898 h 4367670"/>
              <a:gd name="connsiteX6888" fmla="*/ 3140309 w 5365133"/>
              <a:gd name="connsiteY6888" fmla="*/ 476376 h 4367670"/>
              <a:gd name="connsiteX6889" fmla="*/ 3160398 w 5365133"/>
              <a:gd name="connsiteY6889" fmla="*/ 464898 h 4367670"/>
              <a:gd name="connsiteX6890" fmla="*/ 3622963 w 5365133"/>
              <a:gd name="connsiteY6890" fmla="*/ 461043 h 4367670"/>
              <a:gd name="connsiteX6891" fmla="*/ 3625295 w 5365133"/>
              <a:gd name="connsiteY6891" fmla="*/ 464182 h 4367670"/>
              <a:gd name="connsiteX6892" fmla="*/ 3631034 w 5365133"/>
              <a:gd name="connsiteY6892" fmla="*/ 476378 h 4367670"/>
              <a:gd name="connsiteX6893" fmla="*/ 3627448 w 5365133"/>
              <a:gd name="connsiteY6893" fmla="*/ 482835 h 4367670"/>
              <a:gd name="connsiteX6894" fmla="*/ 3620287 w 5365133"/>
              <a:gd name="connsiteY6894" fmla="*/ 492599 h 4367670"/>
              <a:gd name="connsiteX6895" fmla="*/ 3620886 w 5365133"/>
              <a:gd name="connsiteY6895" fmla="*/ 493792 h 4367670"/>
              <a:gd name="connsiteX6896" fmla="*/ 3610674 w 5365133"/>
              <a:gd name="connsiteY6896" fmla="*/ 502241 h 4367670"/>
              <a:gd name="connsiteX6897" fmla="*/ 3614907 w 5365133"/>
              <a:gd name="connsiteY6897" fmla="*/ 493792 h 4367670"/>
              <a:gd name="connsiteX6898" fmla="*/ 3608931 w 5365133"/>
              <a:gd name="connsiteY6898" fmla="*/ 493792 h 4367670"/>
              <a:gd name="connsiteX6899" fmla="*/ 3608931 w 5365133"/>
              <a:gd name="connsiteY6899" fmla="*/ 487828 h 4367670"/>
              <a:gd name="connsiteX6900" fmla="*/ 3614907 w 5365133"/>
              <a:gd name="connsiteY6900" fmla="*/ 481865 h 4367670"/>
              <a:gd name="connsiteX6901" fmla="*/ 3617897 w 5365133"/>
              <a:gd name="connsiteY6901" fmla="*/ 487828 h 4367670"/>
              <a:gd name="connsiteX6902" fmla="*/ 3619555 w 5365133"/>
              <a:gd name="connsiteY6902" fmla="*/ 491138 h 4367670"/>
              <a:gd name="connsiteX6903" fmla="*/ 3619555 w 5365133"/>
              <a:gd name="connsiteY6903" fmla="*/ 487857 h 4367670"/>
              <a:gd name="connsiteX6904" fmla="*/ 3625295 w 5365133"/>
              <a:gd name="connsiteY6904" fmla="*/ 470639 h 4367670"/>
              <a:gd name="connsiteX6905" fmla="*/ 3619555 w 5365133"/>
              <a:gd name="connsiteY6905" fmla="*/ 470639 h 4367670"/>
              <a:gd name="connsiteX6906" fmla="*/ 3619555 w 5365133"/>
              <a:gd name="connsiteY6906" fmla="*/ 464900 h 4367670"/>
              <a:gd name="connsiteX6907" fmla="*/ 3622963 w 5365133"/>
              <a:gd name="connsiteY6907" fmla="*/ 461043 h 4367670"/>
              <a:gd name="connsiteX6908" fmla="*/ 3668341 w 5365133"/>
              <a:gd name="connsiteY6908" fmla="*/ 459160 h 4367670"/>
              <a:gd name="connsiteX6909" fmla="*/ 3631445 w 5365133"/>
              <a:gd name="connsiteY6909" fmla="*/ 493597 h 4367670"/>
              <a:gd name="connsiteX6910" fmla="*/ 3631445 w 5365133"/>
              <a:gd name="connsiteY6910" fmla="*/ 487857 h 4367670"/>
              <a:gd name="connsiteX6911" fmla="*/ 3631445 w 5365133"/>
              <a:gd name="connsiteY6911" fmla="*/ 482118 h 4367670"/>
              <a:gd name="connsiteX6912" fmla="*/ 3649894 w 5365133"/>
              <a:gd name="connsiteY6912" fmla="*/ 476378 h 4367670"/>
              <a:gd name="connsiteX6913" fmla="*/ 3668341 w 5365133"/>
              <a:gd name="connsiteY6913" fmla="*/ 459160 h 4367670"/>
              <a:gd name="connsiteX6914" fmla="*/ 3051347 w 5365133"/>
              <a:gd name="connsiteY6914" fmla="*/ 459158 h 4367670"/>
              <a:gd name="connsiteX6915" fmla="*/ 3057087 w 5365133"/>
              <a:gd name="connsiteY6915" fmla="*/ 470637 h 4367670"/>
              <a:gd name="connsiteX6916" fmla="*/ 3039868 w 5365133"/>
              <a:gd name="connsiteY6916" fmla="*/ 476376 h 4367670"/>
              <a:gd name="connsiteX6917" fmla="*/ 3051347 w 5365133"/>
              <a:gd name="connsiteY6917" fmla="*/ 459158 h 4367670"/>
              <a:gd name="connsiteX6918" fmla="*/ 3552557 w 5365133"/>
              <a:gd name="connsiteY6918" fmla="*/ 458238 h 4367670"/>
              <a:gd name="connsiteX6919" fmla="*/ 3560966 w 5365133"/>
              <a:gd name="connsiteY6919" fmla="*/ 465781 h 4367670"/>
              <a:gd name="connsiteX6920" fmla="*/ 3537051 w 5365133"/>
              <a:gd name="connsiteY6920" fmla="*/ 459822 h 4367670"/>
              <a:gd name="connsiteX6921" fmla="*/ 3549007 w 5365133"/>
              <a:gd name="connsiteY6921" fmla="*/ 459822 h 4367670"/>
              <a:gd name="connsiteX6922" fmla="*/ 3552557 w 5365133"/>
              <a:gd name="connsiteY6922" fmla="*/ 458238 h 4367670"/>
              <a:gd name="connsiteX6923" fmla="*/ 3728491 w 5365133"/>
              <a:gd name="connsiteY6923" fmla="*/ 458008 h 4367670"/>
              <a:gd name="connsiteX6924" fmla="*/ 3728491 w 5365133"/>
              <a:gd name="connsiteY6924" fmla="*/ 475899 h 4367670"/>
              <a:gd name="connsiteX6925" fmla="*/ 3722513 w 5365133"/>
              <a:gd name="connsiteY6925" fmla="*/ 463972 h 4367670"/>
              <a:gd name="connsiteX6926" fmla="*/ 3716534 w 5365133"/>
              <a:gd name="connsiteY6926" fmla="*/ 475899 h 4367670"/>
              <a:gd name="connsiteX6927" fmla="*/ 3728491 w 5365133"/>
              <a:gd name="connsiteY6927" fmla="*/ 458008 h 4367670"/>
              <a:gd name="connsiteX6928" fmla="*/ 3062827 w 5365133"/>
              <a:gd name="connsiteY6928" fmla="*/ 457007 h 4367670"/>
              <a:gd name="connsiteX6929" fmla="*/ 3068566 w 5365133"/>
              <a:gd name="connsiteY6929" fmla="*/ 459160 h 4367670"/>
              <a:gd name="connsiteX6930" fmla="*/ 3068566 w 5365133"/>
              <a:gd name="connsiteY6930" fmla="*/ 464900 h 4367670"/>
              <a:gd name="connsiteX6931" fmla="*/ 3057087 w 5365133"/>
              <a:gd name="connsiteY6931" fmla="*/ 482118 h 4367670"/>
              <a:gd name="connsiteX6932" fmla="*/ 3051347 w 5365133"/>
              <a:gd name="connsiteY6932" fmla="*/ 476378 h 4367670"/>
              <a:gd name="connsiteX6933" fmla="*/ 3062827 w 5365133"/>
              <a:gd name="connsiteY6933" fmla="*/ 470639 h 4367670"/>
              <a:gd name="connsiteX6934" fmla="*/ 3057087 w 5365133"/>
              <a:gd name="connsiteY6934" fmla="*/ 459160 h 4367670"/>
              <a:gd name="connsiteX6935" fmla="*/ 3062827 w 5365133"/>
              <a:gd name="connsiteY6935" fmla="*/ 457007 h 4367670"/>
              <a:gd name="connsiteX6936" fmla="*/ 3740084 w 5365133"/>
              <a:gd name="connsiteY6936" fmla="*/ 453420 h 4367670"/>
              <a:gd name="connsiteX6937" fmla="*/ 3751564 w 5365133"/>
              <a:gd name="connsiteY6937" fmla="*/ 453420 h 4367670"/>
              <a:gd name="connsiteX6938" fmla="*/ 3745823 w 5365133"/>
              <a:gd name="connsiteY6938" fmla="*/ 459160 h 4367670"/>
              <a:gd name="connsiteX6939" fmla="*/ 3740084 w 5365133"/>
              <a:gd name="connsiteY6939" fmla="*/ 453420 h 4367670"/>
              <a:gd name="connsiteX6940" fmla="*/ 3361279 w 5365133"/>
              <a:gd name="connsiteY6940" fmla="*/ 453418 h 4367670"/>
              <a:gd name="connsiteX6941" fmla="*/ 3375629 w 5365133"/>
              <a:gd name="connsiteY6941" fmla="*/ 459158 h 4367670"/>
              <a:gd name="connsiteX6942" fmla="*/ 3375629 w 5365133"/>
              <a:gd name="connsiteY6942" fmla="*/ 470637 h 4367670"/>
              <a:gd name="connsiteX6943" fmla="*/ 3361279 w 5365133"/>
              <a:gd name="connsiteY6943" fmla="*/ 453418 h 4367670"/>
              <a:gd name="connsiteX6944" fmla="*/ 2879163 w 5365133"/>
              <a:gd name="connsiteY6944" fmla="*/ 453418 h 4367670"/>
              <a:gd name="connsiteX6945" fmla="*/ 2884903 w 5365133"/>
              <a:gd name="connsiteY6945" fmla="*/ 464898 h 4367670"/>
              <a:gd name="connsiteX6946" fmla="*/ 2867685 w 5365133"/>
              <a:gd name="connsiteY6946" fmla="*/ 459158 h 4367670"/>
              <a:gd name="connsiteX6947" fmla="*/ 2879163 w 5365133"/>
              <a:gd name="connsiteY6947" fmla="*/ 453418 h 4367670"/>
              <a:gd name="connsiteX6948" fmla="*/ 2723558 w 5365133"/>
              <a:gd name="connsiteY6948" fmla="*/ 453418 h 4367670"/>
              <a:gd name="connsiteX6949" fmla="*/ 2723558 w 5365133"/>
              <a:gd name="connsiteY6949" fmla="*/ 459476 h 4367670"/>
              <a:gd name="connsiteX6950" fmla="*/ 2719658 w 5365133"/>
              <a:gd name="connsiteY6950" fmla="*/ 459757 h 4367670"/>
              <a:gd name="connsiteX6951" fmla="*/ 2705383 w 5365133"/>
              <a:gd name="connsiteY6951" fmla="*/ 453418 h 4367670"/>
              <a:gd name="connsiteX6952" fmla="*/ 2711443 w 5365133"/>
              <a:gd name="connsiteY6952" fmla="*/ 465535 h 4367670"/>
              <a:gd name="connsiteX6953" fmla="*/ 2712957 w 5365133"/>
              <a:gd name="connsiteY6953" fmla="*/ 460234 h 4367670"/>
              <a:gd name="connsiteX6954" fmla="*/ 2719658 w 5365133"/>
              <a:gd name="connsiteY6954" fmla="*/ 459757 h 4367670"/>
              <a:gd name="connsiteX6955" fmla="*/ 2717500 w 5365133"/>
              <a:gd name="connsiteY6955" fmla="*/ 463263 h 4367670"/>
              <a:gd name="connsiteX6956" fmla="*/ 2711443 w 5365133"/>
              <a:gd name="connsiteY6956" fmla="*/ 477653 h 4367670"/>
              <a:gd name="connsiteX6957" fmla="*/ 2699326 w 5365133"/>
              <a:gd name="connsiteY6957" fmla="*/ 483710 h 4367670"/>
              <a:gd name="connsiteX6958" fmla="*/ 2705383 w 5365133"/>
              <a:gd name="connsiteY6958" fmla="*/ 471593 h 4367670"/>
              <a:gd name="connsiteX6959" fmla="*/ 2693268 w 5365133"/>
              <a:gd name="connsiteY6959" fmla="*/ 471593 h 4367670"/>
              <a:gd name="connsiteX6960" fmla="*/ 2675091 w 5365133"/>
              <a:gd name="connsiteY6960" fmla="*/ 489770 h 4367670"/>
              <a:gd name="connsiteX6961" fmla="*/ 2669034 w 5365133"/>
              <a:gd name="connsiteY6961" fmla="*/ 477653 h 4367670"/>
              <a:gd name="connsiteX6962" fmla="*/ 2656917 w 5365133"/>
              <a:gd name="connsiteY6962" fmla="*/ 483710 h 4367670"/>
              <a:gd name="connsiteX6963" fmla="*/ 2662976 w 5365133"/>
              <a:gd name="connsiteY6963" fmla="*/ 495827 h 4367670"/>
              <a:gd name="connsiteX6964" fmla="*/ 2632684 w 5365133"/>
              <a:gd name="connsiteY6964" fmla="*/ 507944 h 4367670"/>
              <a:gd name="connsiteX6965" fmla="*/ 2626625 w 5365133"/>
              <a:gd name="connsiteY6965" fmla="*/ 495827 h 4367670"/>
              <a:gd name="connsiteX6966" fmla="*/ 2705383 w 5365133"/>
              <a:gd name="connsiteY6966" fmla="*/ 453418 h 4367670"/>
              <a:gd name="connsiteX6967" fmla="*/ 2603667 w 5365133"/>
              <a:gd name="connsiteY6967" fmla="*/ 453418 h 4367670"/>
              <a:gd name="connsiteX6968" fmla="*/ 2615145 w 5365133"/>
              <a:gd name="connsiteY6968" fmla="*/ 464898 h 4367670"/>
              <a:gd name="connsiteX6969" fmla="*/ 2615145 w 5365133"/>
              <a:gd name="connsiteY6969" fmla="*/ 476376 h 4367670"/>
              <a:gd name="connsiteX6970" fmla="*/ 2609407 w 5365133"/>
              <a:gd name="connsiteY6970" fmla="*/ 482116 h 4367670"/>
              <a:gd name="connsiteX6971" fmla="*/ 2603667 w 5365133"/>
              <a:gd name="connsiteY6971" fmla="*/ 453418 h 4367670"/>
              <a:gd name="connsiteX6972" fmla="*/ 2768678 w 5365133"/>
              <a:gd name="connsiteY6972" fmla="*/ 452791 h 4367670"/>
              <a:gd name="connsiteX6973" fmla="*/ 2781592 w 5365133"/>
              <a:gd name="connsiteY6973" fmla="*/ 464898 h 4367670"/>
              <a:gd name="connsiteX6974" fmla="*/ 2764374 w 5365133"/>
              <a:gd name="connsiteY6974" fmla="*/ 470637 h 4367670"/>
              <a:gd name="connsiteX6975" fmla="*/ 2764374 w 5365133"/>
              <a:gd name="connsiteY6975" fmla="*/ 453418 h 4367670"/>
              <a:gd name="connsiteX6976" fmla="*/ 2768678 w 5365133"/>
              <a:gd name="connsiteY6976" fmla="*/ 452791 h 4367670"/>
              <a:gd name="connsiteX6977" fmla="*/ 2580261 w 5365133"/>
              <a:gd name="connsiteY6977" fmla="*/ 451559 h 4367670"/>
              <a:gd name="connsiteX6978" fmla="*/ 2585492 w 5365133"/>
              <a:gd name="connsiteY6978" fmla="*/ 453777 h 4367670"/>
              <a:gd name="connsiteX6979" fmla="*/ 2579514 w 5365133"/>
              <a:gd name="connsiteY6979" fmla="*/ 453777 h 4367670"/>
              <a:gd name="connsiteX6980" fmla="*/ 2580261 w 5365133"/>
              <a:gd name="connsiteY6980" fmla="*/ 451559 h 4367670"/>
              <a:gd name="connsiteX6981" fmla="*/ 3584497 w 5365133"/>
              <a:gd name="connsiteY6981" fmla="*/ 449300 h 4367670"/>
              <a:gd name="connsiteX6982" fmla="*/ 3586468 w 5365133"/>
              <a:gd name="connsiteY6982" fmla="*/ 452838 h 4367670"/>
              <a:gd name="connsiteX6983" fmla="*/ 3584880 w 5365133"/>
              <a:gd name="connsiteY6983" fmla="*/ 459822 h 4367670"/>
              <a:gd name="connsiteX6984" fmla="*/ 3582638 w 5365133"/>
              <a:gd name="connsiteY6984" fmla="*/ 456097 h 4367670"/>
              <a:gd name="connsiteX6985" fmla="*/ 3584880 w 5365133"/>
              <a:gd name="connsiteY6985" fmla="*/ 447902 h 4367670"/>
              <a:gd name="connsiteX6986" fmla="*/ 3584497 w 5365133"/>
              <a:gd name="connsiteY6986" fmla="*/ 449300 h 4367670"/>
              <a:gd name="connsiteX6987" fmla="*/ 3584133 w 5365133"/>
              <a:gd name="connsiteY6987" fmla="*/ 448646 h 4367670"/>
              <a:gd name="connsiteX6988" fmla="*/ 3584131 w 5365133"/>
              <a:gd name="connsiteY6988" fmla="*/ 448646 h 4367670"/>
              <a:gd name="connsiteX6989" fmla="*/ 3708516 w 5365133"/>
              <a:gd name="connsiteY6989" fmla="*/ 447681 h 4367670"/>
              <a:gd name="connsiteX6990" fmla="*/ 3714256 w 5365133"/>
              <a:gd name="connsiteY6990" fmla="*/ 459160 h 4367670"/>
              <a:gd name="connsiteX6991" fmla="*/ 3702776 w 5365133"/>
              <a:gd name="connsiteY6991" fmla="*/ 464900 h 4367670"/>
              <a:gd name="connsiteX6992" fmla="*/ 3679819 w 5365133"/>
              <a:gd name="connsiteY6992" fmla="*/ 470639 h 4367670"/>
              <a:gd name="connsiteX6993" fmla="*/ 3708516 w 5365133"/>
              <a:gd name="connsiteY6993" fmla="*/ 447681 h 4367670"/>
              <a:gd name="connsiteX6994" fmla="*/ 3392845 w 5365133"/>
              <a:gd name="connsiteY6994" fmla="*/ 447679 h 4367670"/>
              <a:gd name="connsiteX6995" fmla="*/ 3381366 w 5365133"/>
              <a:gd name="connsiteY6995" fmla="*/ 453418 h 4367670"/>
              <a:gd name="connsiteX6996" fmla="*/ 3392845 w 5365133"/>
              <a:gd name="connsiteY6996" fmla="*/ 447679 h 4367670"/>
              <a:gd name="connsiteX6997" fmla="*/ 3779303 w 5365133"/>
              <a:gd name="connsiteY6997" fmla="*/ 447571 h 4367670"/>
              <a:gd name="connsiteX6998" fmla="*/ 3779901 w 5365133"/>
              <a:gd name="connsiteY6998" fmla="*/ 448466 h 4367670"/>
              <a:gd name="connsiteX6999" fmla="*/ 3776314 w 5365133"/>
              <a:gd name="connsiteY6999" fmla="*/ 452045 h 4367670"/>
              <a:gd name="connsiteX7000" fmla="*/ 3779303 w 5365133"/>
              <a:gd name="connsiteY7000" fmla="*/ 447571 h 4367670"/>
              <a:gd name="connsiteX7001" fmla="*/ 3106869 w 5365133"/>
              <a:gd name="connsiteY7001" fmla="*/ 444774 h 4367670"/>
              <a:gd name="connsiteX7002" fmla="*/ 3105872 w 5365133"/>
              <a:gd name="connsiteY7002" fmla="*/ 447394 h 4367670"/>
              <a:gd name="connsiteX7003" fmla="*/ 3105299 w 5365133"/>
              <a:gd name="connsiteY7003" fmla="*/ 446792 h 4367670"/>
              <a:gd name="connsiteX7004" fmla="*/ 3578902 w 5365133"/>
              <a:gd name="connsiteY7004" fmla="*/ 441942 h 4367670"/>
              <a:gd name="connsiteX7005" fmla="*/ 3584131 w 5365133"/>
              <a:gd name="connsiteY7005" fmla="*/ 448646 h 4367670"/>
              <a:gd name="connsiteX7006" fmla="*/ 3572922 w 5365133"/>
              <a:gd name="connsiteY7006" fmla="*/ 459822 h 4367670"/>
              <a:gd name="connsiteX7007" fmla="*/ 3566944 w 5365133"/>
              <a:gd name="connsiteY7007" fmla="*/ 447902 h 4367670"/>
              <a:gd name="connsiteX7008" fmla="*/ 3572922 w 5365133"/>
              <a:gd name="connsiteY7008" fmla="*/ 459822 h 4367670"/>
              <a:gd name="connsiteX7009" fmla="*/ 3554985 w 5365133"/>
              <a:gd name="connsiteY7009" fmla="*/ 459822 h 4367670"/>
              <a:gd name="connsiteX7010" fmla="*/ 3557855 w 5365133"/>
              <a:gd name="connsiteY7010" fmla="*/ 454815 h 4367670"/>
              <a:gd name="connsiteX7011" fmla="*/ 3560966 w 5365133"/>
              <a:gd name="connsiteY7011" fmla="*/ 453862 h 4367670"/>
              <a:gd name="connsiteX7012" fmla="*/ 3557976 w 5365133"/>
              <a:gd name="connsiteY7012" fmla="*/ 454607 h 4367670"/>
              <a:gd name="connsiteX7013" fmla="*/ 3557855 w 5365133"/>
              <a:gd name="connsiteY7013" fmla="*/ 454815 h 4367670"/>
              <a:gd name="connsiteX7014" fmla="*/ 3551249 w 5365133"/>
              <a:gd name="connsiteY7014" fmla="*/ 456842 h 4367670"/>
              <a:gd name="connsiteX7015" fmla="*/ 3537051 w 5365133"/>
              <a:gd name="connsiteY7015" fmla="*/ 459822 h 4367670"/>
              <a:gd name="connsiteX7016" fmla="*/ 3531072 w 5365133"/>
              <a:gd name="connsiteY7016" fmla="*/ 459822 h 4367670"/>
              <a:gd name="connsiteX7017" fmla="*/ 3531072 w 5365133"/>
              <a:gd name="connsiteY7017" fmla="*/ 477703 h 4367670"/>
              <a:gd name="connsiteX7018" fmla="*/ 3525093 w 5365133"/>
              <a:gd name="connsiteY7018" fmla="*/ 483663 h 4367670"/>
              <a:gd name="connsiteX7019" fmla="*/ 3519115 w 5365133"/>
              <a:gd name="connsiteY7019" fmla="*/ 471743 h 4367670"/>
              <a:gd name="connsiteX7020" fmla="*/ 3525093 w 5365133"/>
              <a:gd name="connsiteY7020" fmla="*/ 471743 h 4367670"/>
              <a:gd name="connsiteX7021" fmla="*/ 3521107 w 5365133"/>
              <a:gd name="connsiteY7021" fmla="*/ 467768 h 4367670"/>
              <a:gd name="connsiteX7022" fmla="*/ 3525093 w 5365133"/>
              <a:gd name="connsiteY7022" fmla="*/ 465781 h 4367670"/>
              <a:gd name="connsiteX7023" fmla="*/ 3519115 w 5365133"/>
              <a:gd name="connsiteY7023" fmla="*/ 465781 h 4367670"/>
              <a:gd name="connsiteX7024" fmla="*/ 3521107 w 5365133"/>
              <a:gd name="connsiteY7024" fmla="*/ 467768 h 4367670"/>
              <a:gd name="connsiteX7025" fmla="*/ 3501179 w 5365133"/>
              <a:gd name="connsiteY7025" fmla="*/ 477703 h 4367670"/>
              <a:gd name="connsiteX7026" fmla="*/ 3479574 w 5365133"/>
              <a:gd name="connsiteY7026" fmla="*/ 483645 h 4367670"/>
              <a:gd name="connsiteX7027" fmla="*/ 3512389 w 5365133"/>
              <a:gd name="connsiteY7027" fmla="*/ 464292 h 4367670"/>
              <a:gd name="connsiteX7028" fmla="*/ 3578902 w 5365133"/>
              <a:gd name="connsiteY7028" fmla="*/ 441942 h 4367670"/>
              <a:gd name="connsiteX7029" fmla="*/ 2867685 w 5365133"/>
              <a:gd name="connsiteY7029" fmla="*/ 441940 h 4367670"/>
              <a:gd name="connsiteX7030" fmla="*/ 2841856 w 5365133"/>
              <a:gd name="connsiteY7030" fmla="*/ 459158 h 4367670"/>
              <a:gd name="connsiteX7031" fmla="*/ 2867685 w 5365133"/>
              <a:gd name="connsiteY7031" fmla="*/ 441940 h 4367670"/>
              <a:gd name="connsiteX7032" fmla="*/ 2741416 w 5365133"/>
              <a:gd name="connsiteY7032" fmla="*/ 441940 h 4367670"/>
              <a:gd name="connsiteX7033" fmla="*/ 2747155 w 5365133"/>
              <a:gd name="connsiteY7033" fmla="*/ 441940 h 4367670"/>
              <a:gd name="connsiteX7034" fmla="*/ 2741416 w 5365133"/>
              <a:gd name="connsiteY7034" fmla="*/ 447679 h 4367670"/>
              <a:gd name="connsiteX7035" fmla="*/ 2741416 w 5365133"/>
              <a:gd name="connsiteY7035" fmla="*/ 453418 h 4367670"/>
              <a:gd name="connsiteX7036" fmla="*/ 2729937 w 5365133"/>
              <a:gd name="connsiteY7036" fmla="*/ 453418 h 4367670"/>
              <a:gd name="connsiteX7037" fmla="*/ 2741416 w 5365133"/>
              <a:gd name="connsiteY7037" fmla="*/ 441940 h 4367670"/>
              <a:gd name="connsiteX7038" fmla="*/ 2609407 w 5365133"/>
              <a:gd name="connsiteY7038" fmla="*/ 441940 h 4367670"/>
              <a:gd name="connsiteX7039" fmla="*/ 2597450 w 5365133"/>
              <a:gd name="connsiteY7039" fmla="*/ 453777 h 4367670"/>
              <a:gd name="connsiteX7040" fmla="*/ 2603428 w 5365133"/>
              <a:gd name="connsiteY7040" fmla="*/ 465615 h 4367670"/>
              <a:gd name="connsiteX7041" fmla="*/ 2579514 w 5365133"/>
              <a:gd name="connsiteY7041" fmla="*/ 483372 h 4367670"/>
              <a:gd name="connsiteX7042" fmla="*/ 2585492 w 5365133"/>
              <a:gd name="connsiteY7042" fmla="*/ 471534 h 4367670"/>
              <a:gd name="connsiteX7043" fmla="*/ 2573534 w 5365133"/>
              <a:gd name="connsiteY7043" fmla="*/ 483372 h 4367670"/>
              <a:gd name="connsiteX7044" fmla="*/ 2555600 w 5365133"/>
              <a:gd name="connsiteY7044" fmla="*/ 483372 h 4367670"/>
              <a:gd name="connsiteX7045" fmla="*/ 2573534 w 5365133"/>
              <a:gd name="connsiteY7045" fmla="*/ 471534 h 4367670"/>
              <a:gd name="connsiteX7046" fmla="*/ 2543642 w 5365133"/>
              <a:gd name="connsiteY7046" fmla="*/ 477452 h 4367670"/>
              <a:gd name="connsiteX7047" fmla="*/ 2567556 w 5365133"/>
              <a:gd name="connsiteY7047" fmla="*/ 453777 h 4367670"/>
              <a:gd name="connsiteX7048" fmla="*/ 2585492 w 5365133"/>
              <a:gd name="connsiteY7048" fmla="*/ 465615 h 4367670"/>
              <a:gd name="connsiteX7049" fmla="*/ 2573534 w 5365133"/>
              <a:gd name="connsiteY7049" fmla="*/ 459697 h 4367670"/>
              <a:gd name="connsiteX7050" fmla="*/ 2579514 w 5365133"/>
              <a:gd name="connsiteY7050" fmla="*/ 453777 h 4367670"/>
              <a:gd name="connsiteX7051" fmla="*/ 2591470 w 5365133"/>
              <a:gd name="connsiteY7051" fmla="*/ 453777 h 4367670"/>
              <a:gd name="connsiteX7052" fmla="*/ 2591470 w 5365133"/>
              <a:gd name="connsiteY7052" fmla="*/ 447858 h 4367670"/>
              <a:gd name="connsiteX7053" fmla="*/ 2609407 w 5365133"/>
              <a:gd name="connsiteY7053" fmla="*/ 441940 h 4367670"/>
              <a:gd name="connsiteX7054" fmla="*/ 3100132 w 5365133"/>
              <a:gd name="connsiteY7054" fmla="*/ 441367 h 4367670"/>
              <a:gd name="connsiteX7055" fmla="*/ 3105299 w 5365133"/>
              <a:gd name="connsiteY7055" fmla="*/ 446792 h 4367670"/>
              <a:gd name="connsiteX7056" fmla="*/ 3100132 w 5365133"/>
              <a:gd name="connsiteY7056" fmla="*/ 453420 h 4367670"/>
              <a:gd name="connsiteX7057" fmla="*/ 3100132 w 5365133"/>
              <a:gd name="connsiteY7057" fmla="*/ 447394 h 4367670"/>
              <a:gd name="connsiteX7058" fmla="*/ 3100132 w 5365133"/>
              <a:gd name="connsiteY7058" fmla="*/ 441367 h 4367670"/>
              <a:gd name="connsiteX7059" fmla="*/ 3588466 w 5365133"/>
              <a:gd name="connsiteY7059" fmla="*/ 441224 h 4367670"/>
              <a:gd name="connsiteX7060" fmla="*/ 3594444 w 5365133"/>
              <a:gd name="connsiteY7060" fmla="*/ 441224 h 4367670"/>
              <a:gd name="connsiteX7061" fmla="*/ 3588466 w 5365133"/>
              <a:gd name="connsiteY7061" fmla="*/ 453420 h 4367670"/>
              <a:gd name="connsiteX7062" fmla="*/ 3588466 w 5365133"/>
              <a:gd name="connsiteY7062" fmla="*/ 441224 h 4367670"/>
              <a:gd name="connsiteX7063" fmla="*/ 3009378 w 5365133"/>
              <a:gd name="connsiteY7063" fmla="*/ 440504 h 4367670"/>
              <a:gd name="connsiteX7064" fmla="*/ 3016911 w 5365133"/>
              <a:gd name="connsiteY7064" fmla="*/ 447679 h 4367670"/>
              <a:gd name="connsiteX7065" fmla="*/ 2996822 w 5365133"/>
              <a:gd name="connsiteY7065" fmla="*/ 453418 h 4367670"/>
              <a:gd name="connsiteX7066" fmla="*/ 2996822 w 5365133"/>
              <a:gd name="connsiteY7066" fmla="*/ 441940 h 4367670"/>
              <a:gd name="connsiteX7067" fmla="*/ 3009378 w 5365133"/>
              <a:gd name="connsiteY7067" fmla="*/ 440504 h 4367670"/>
              <a:gd name="connsiteX7068" fmla="*/ 4386070 w 5365133"/>
              <a:gd name="connsiteY7068" fmla="*/ 440116 h 4367670"/>
              <a:gd name="connsiteX7069" fmla="*/ 4380841 w 5365133"/>
              <a:gd name="connsiteY7069" fmla="*/ 444588 h 4367670"/>
              <a:gd name="connsiteX7070" fmla="*/ 4380805 w 5365133"/>
              <a:gd name="connsiteY7070" fmla="*/ 444373 h 4367670"/>
              <a:gd name="connsiteX7071" fmla="*/ 3794248 w 5365133"/>
              <a:gd name="connsiteY7071" fmla="*/ 440116 h 4367670"/>
              <a:gd name="connsiteX7072" fmla="*/ 3792455 w 5365133"/>
              <a:gd name="connsiteY7072" fmla="*/ 441905 h 4367670"/>
              <a:gd name="connsiteX7073" fmla="*/ 3792007 w 5365133"/>
              <a:gd name="connsiteY7073" fmla="*/ 440861 h 4367670"/>
              <a:gd name="connsiteX7074" fmla="*/ 3794248 w 5365133"/>
              <a:gd name="connsiteY7074" fmla="*/ 440116 h 4367670"/>
              <a:gd name="connsiteX7075" fmla="*/ 3782292 w 5365133"/>
              <a:gd name="connsiteY7075" fmla="*/ 440116 h 4367670"/>
              <a:gd name="connsiteX7076" fmla="*/ 3787076 w 5365133"/>
              <a:gd name="connsiteY7076" fmla="*/ 441309 h 4367670"/>
              <a:gd name="connsiteX7077" fmla="*/ 3784085 w 5365133"/>
              <a:gd name="connsiteY7077" fmla="*/ 444292 h 4367670"/>
              <a:gd name="connsiteX7078" fmla="*/ 3789765 w 5365133"/>
              <a:gd name="connsiteY7078" fmla="*/ 438625 h 4367670"/>
              <a:gd name="connsiteX7079" fmla="*/ 3788271 w 5365133"/>
              <a:gd name="connsiteY7079" fmla="*/ 441607 h 4367670"/>
              <a:gd name="connsiteX7080" fmla="*/ 3787076 w 5365133"/>
              <a:gd name="connsiteY7080" fmla="*/ 441309 h 4367670"/>
              <a:gd name="connsiteX7081" fmla="*/ 2813159 w 5365133"/>
              <a:gd name="connsiteY7081" fmla="*/ 436200 h 4367670"/>
              <a:gd name="connsiteX7082" fmla="*/ 2801679 w 5365133"/>
              <a:gd name="connsiteY7082" fmla="*/ 459158 h 4367670"/>
              <a:gd name="connsiteX7083" fmla="*/ 2790201 w 5365133"/>
              <a:gd name="connsiteY7083" fmla="*/ 447679 h 4367670"/>
              <a:gd name="connsiteX7084" fmla="*/ 2813159 w 5365133"/>
              <a:gd name="connsiteY7084" fmla="*/ 436200 h 4367670"/>
              <a:gd name="connsiteX7085" fmla="*/ 2877730 w 5365133"/>
              <a:gd name="connsiteY7085" fmla="*/ 434765 h 4367670"/>
              <a:gd name="connsiteX7086" fmla="*/ 2890642 w 5365133"/>
              <a:gd name="connsiteY7086" fmla="*/ 436200 h 4367670"/>
              <a:gd name="connsiteX7087" fmla="*/ 2884903 w 5365133"/>
              <a:gd name="connsiteY7087" fmla="*/ 447679 h 4367670"/>
              <a:gd name="connsiteX7088" fmla="*/ 2873424 w 5365133"/>
              <a:gd name="connsiteY7088" fmla="*/ 441940 h 4367670"/>
              <a:gd name="connsiteX7089" fmla="*/ 2877730 w 5365133"/>
              <a:gd name="connsiteY7089" fmla="*/ 434765 h 4367670"/>
              <a:gd name="connsiteX7090" fmla="*/ 3794248 w 5365133"/>
              <a:gd name="connsiteY7090" fmla="*/ 434152 h 4367670"/>
              <a:gd name="connsiteX7091" fmla="*/ 3789765 w 5365133"/>
              <a:gd name="connsiteY7091" fmla="*/ 438625 h 4367670"/>
              <a:gd name="connsiteX7092" fmla="*/ 3790699 w 5365133"/>
              <a:gd name="connsiteY7092" fmla="*/ 436761 h 4367670"/>
              <a:gd name="connsiteX7093" fmla="*/ 3794248 w 5365133"/>
              <a:gd name="connsiteY7093" fmla="*/ 434152 h 4367670"/>
              <a:gd name="connsiteX7094" fmla="*/ 4425950 w 5365133"/>
              <a:gd name="connsiteY7094" fmla="*/ 430462 h 4367670"/>
              <a:gd name="connsiteX7095" fmla="*/ 4391513 w 5365133"/>
              <a:gd name="connsiteY7095" fmla="*/ 441942 h 4367670"/>
              <a:gd name="connsiteX7096" fmla="*/ 4425950 w 5365133"/>
              <a:gd name="connsiteY7096" fmla="*/ 430462 h 4367670"/>
              <a:gd name="connsiteX7097" fmla="*/ 3421543 w 5365133"/>
              <a:gd name="connsiteY7097" fmla="*/ 430462 h 4367670"/>
              <a:gd name="connsiteX7098" fmla="*/ 3398585 w 5365133"/>
              <a:gd name="connsiteY7098" fmla="*/ 441942 h 4367670"/>
              <a:gd name="connsiteX7099" fmla="*/ 3421543 w 5365133"/>
              <a:gd name="connsiteY7099" fmla="*/ 430462 h 4367670"/>
              <a:gd name="connsiteX7100" fmla="*/ 3326484 w 5365133"/>
              <a:gd name="connsiteY7100" fmla="*/ 430462 h 4367670"/>
              <a:gd name="connsiteX7101" fmla="*/ 3338321 w 5365133"/>
              <a:gd name="connsiteY7101" fmla="*/ 436381 h 4367670"/>
              <a:gd name="connsiteX7102" fmla="*/ 3290970 w 5365133"/>
              <a:gd name="connsiteY7102" fmla="*/ 471895 h 4367670"/>
              <a:gd name="connsiteX7103" fmla="*/ 3166676 w 5365133"/>
              <a:gd name="connsiteY7103" fmla="*/ 525165 h 4367670"/>
              <a:gd name="connsiteX7104" fmla="*/ 3190351 w 5365133"/>
              <a:gd name="connsiteY7104" fmla="*/ 495571 h 4367670"/>
              <a:gd name="connsiteX7105" fmla="*/ 3243621 w 5365133"/>
              <a:gd name="connsiteY7105" fmla="*/ 471895 h 4367670"/>
              <a:gd name="connsiteX7106" fmla="*/ 3296890 w 5365133"/>
              <a:gd name="connsiteY7106" fmla="*/ 448220 h 4367670"/>
              <a:gd name="connsiteX7107" fmla="*/ 3326484 w 5365133"/>
              <a:gd name="connsiteY7107" fmla="*/ 430462 h 4367670"/>
              <a:gd name="connsiteX7108" fmla="*/ 2979603 w 5365133"/>
              <a:gd name="connsiteY7108" fmla="*/ 430461 h 4367670"/>
              <a:gd name="connsiteX7109" fmla="*/ 2979603 w 5365133"/>
              <a:gd name="connsiteY7109" fmla="*/ 441940 h 4367670"/>
              <a:gd name="connsiteX7110" fmla="*/ 2962385 w 5365133"/>
              <a:gd name="connsiteY7110" fmla="*/ 453418 h 4367670"/>
              <a:gd name="connsiteX7111" fmla="*/ 2950906 w 5365133"/>
              <a:gd name="connsiteY7111" fmla="*/ 453418 h 4367670"/>
              <a:gd name="connsiteX7112" fmla="*/ 2950906 w 5365133"/>
              <a:gd name="connsiteY7112" fmla="*/ 441940 h 4367670"/>
              <a:gd name="connsiteX7113" fmla="*/ 2979603 w 5365133"/>
              <a:gd name="connsiteY7113" fmla="*/ 430461 h 4367670"/>
              <a:gd name="connsiteX7114" fmla="*/ 2764374 w 5365133"/>
              <a:gd name="connsiteY7114" fmla="*/ 430461 h 4367670"/>
              <a:gd name="connsiteX7115" fmla="*/ 2770113 w 5365133"/>
              <a:gd name="connsiteY7115" fmla="*/ 436200 h 4367670"/>
              <a:gd name="connsiteX7116" fmla="*/ 2747155 w 5365133"/>
              <a:gd name="connsiteY7116" fmla="*/ 436200 h 4367670"/>
              <a:gd name="connsiteX7117" fmla="*/ 2764374 w 5365133"/>
              <a:gd name="connsiteY7117" fmla="*/ 430461 h 4367670"/>
              <a:gd name="connsiteX7118" fmla="*/ 2626625 w 5365133"/>
              <a:gd name="connsiteY7118" fmla="*/ 430461 h 4367670"/>
              <a:gd name="connsiteX7119" fmla="*/ 2626625 w 5365133"/>
              <a:gd name="connsiteY7119" fmla="*/ 436200 h 4367670"/>
              <a:gd name="connsiteX7120" fmla="*/ 2638104 w 5365133"/>
              <a:gd name="connsiteY7120" fmla="*/ 459158 h 4367670"/>
              <a:gd name="connsiteX7121" fmla="*/ 2626625 w 5365133"/>
              <a:gd name="connsiteY7121" fmla="*/ 430461 h 4367670"/>
              <a:gd name="connsiteX7122" fmla="*/ 3616470 w 5365133"/>
              <a:gd name="connsiteY7122" fmla="*/ 429884 h 4367670"/>
              <a:gd name="connsiteX7123" fmla="*/ 3613129 w 5365133"/>
              <a:gd name="connsiteY7123" fmla="*/ 432838 h 4367670"/>
              <a:gd name="connsiteX7124" fmla="*/ 3606403 w 5365133"/>
              <a:gd name="connsiteY7124" fmla="*/ 447321 h 4367670"/>
              <a:gd name="connsiteX7125" fmla="*/ 3600424 w 5365133"/>
              <a:gd name="connsiteY7125" fmla="*/ 441224 h 4367670"/>
              <a:gd name="connsiteX7126" fmla="*/ 3604908 w 5365133"/>
              <a:gd name="connsiteY7126" fmla="*/ 435125 h 4367670"/>
              <a:gd name="connsiteX7127" fmla="*/ 3745823 w 5365133"/>
              <a:gd name="connsiteY7127" fmla="*/ 429027 h 4367670"/>
              <a:gd name="connsiteX7128" fmla="*/ 3745823 w 5365133"/>
              <a:gd name="connsiteY7128" fmla="*/ 436202 h 4367670"/>
              <a:gd name="connsiteX7129" fmla="*/ 3734344 w 5365133"/>
              <a:gd name="connsiteY7129" fmla="*/ 436202 h 4367670"/>
              <a:gd name="connsiteX7130" fmla="*/ 3745823 w 5365133"/>
              <a:gd name="connsiteY7130" fmla="*/ 429027 h 4367670"/>
              <a:gd name="connsiteX7131" fmla="*/ 3617529 w 5365133"/>
              <a:gd name="connsiteY7131" fmla="*/ 428947 h 4367670"/>
              <a:gd name="connsiteX7132" fmla="*/ 3618360 w 5365133"/>
              <a:gd name="connsiteY7132" fmla="*/ 429027 h 4367670"/>
              <a:gd name="connsiteX7133" fmla="*/ 3616470 w 5365133"/>
              <a:gd name="connsiteY7133" fmla="*/ 429884 h 4367670"/>
              <a:gd name="connsiteX7134" fmla="*/ 3115539 w 5365133"/>
              <a:gd name="connsiteY7134" fmla="*/ 422019 h 4367670"/>
              <a:gd name="connsiteX7135" fmla="*/ 3113046 w 5365133"/>
              <a:gd name="connsiteY7135" fmla="*/ 436847 h 4367670"/>
              <a:gd name="connsiteX7136" fmla="*/ 3106869 w 5365133"/>
              <a:gd name="connsiteY7136" fmla="*/ 444774 h 4367670"/>
              <a:gd name="connsiteX7137" fmla="*/ 3355539 w 5365133"/>
              <a:gd name="connsiteY7137" fmla="*/ 421853 h 4367670"/>
              <a:gd name="connsiteX7138" fmla="*/ 3361279 w 5365133"/>
              <a:gd name="connsiteY7138" fmla="*/ 435246 h 4367670"/>
              <a:gd name="connsiteX7139" fmla="*/ 3338321 w 5365133"/>
              <a:gd name="connsiteY7139" fmla="*/ 441942 h 4367670"/>
              <a:gd name="connsiteX7140" fmla="*/ 3355539 w 5365133"/>
              <a:gd name="connsiteY7140" fmla="*/ 421853 h 4367670"/>
              <a:gd name="connsiteX7141" fmla="*/ 3116419 w 5365133"/>
              <a:gd name="connsiteY7141" fmla="*/ 416773 h 4367670"/>
              <a:gd name="connsiteX7142" fmla="*/ 3117350 w 5365133"/>
              <a:gd name="connsiteY7142" fmla="*/ 417261 h 4367670"/>
              <a:gd name="connsiteX7143" fmla="*/ 3115539 w 5365133"/>
              <a:gd name="connsiteY7143" fmla="*/ 422019 h 4367670"/>
              <a:gd name="connsiteX7144" fmla="*/ 3051347 w 5365133"/>
              <a:gd name="connsiteY7144" fmla="*/ 416113 h 4367670"/>
              <a:gd name="connsiteX7145" fmla="*/ 3034129 w 5365133"/>
              <a:gd name="connsiteY7145" fmla="*/ 436202 h 4367670"/>
              <a:gd name="connsiteX7146" fmla="*/ 3028390 w 5365133"/>
              <a:gd name="connsiteY7146" fmla="*/ 429506 h 4367670"/>
              <a:gd name="connsiteX7147" fmla="*/ 3051347 w 5365133"/>
              <a:gd name="connsiteY7147" fmla="*/ 416113 h 4367670"/>
              <a:gd name="connsiteX7148" fmla="*/ 2913600 w 5365133"/>
              <a:gd name="connsiteY7148" fmla="*/ 416113 h 4367670"/>
              <a:gd name="connsiteX7149" fmla="*/ 2913600 w 5365133"/>
              <a:gd name="connsiteY7149" fmla="*/ 430462 h 4367670"/>
              <a:gd name="connsiteX7150" fmla="*/ 2896382 w 5365133"/>
              <a:gd name="connsiteY7150" fmla="*/ 423288 h 4367670"/>
              <a:gd name="connsiteX7151" fmla="*/ 2913600 w 5365133"/>
              <a:gd name="connsiteY7151" fmla="*/ 416113 h 4367670"/>
              <a:gd name="connsiteX7152" fmla="*/ 2795369 w 5365133"/>
              <a:gd name="connsiteY7152" fmla="*/ 416113 h 4367670"/>
              <a:gd name="connsiteX7153" fmla="*/ 2770113 w 5365133"/>
              <a:gd name="connsiteY7153" fmla="*/ 429506 h 4367670"/>
              <a:gd name="connsiteX7154" fmla="*/ 2795369 w 5365133"/>
              <a:gd name="connsiteY7154" fmla="*/ 416113 h 4367670"/>
              <a:gd name="connsiteX7155" fmla="*/ 2849748 w 5365133"/>
              <a:gd name="connsiteY7155" fmla="*/ 415755 h 4367670"/>
              <a:gd name="connsiteX7156" fmla="*/ 2861945 w 5365133"/>
              <a:gd name="connsiteY7156" fmla="*/ 428823 h 4367670"/>
              <a:gd name="connsiteX7157" fmla="*/ 2837552 w 5365133"/>
              <a:gd name="connsiteY7157" fmla="*/ 428823 h 4367670"/>
              <a:gd name="connsiteX7158" fmla="*/ 2837552 w 5365133"/>
              <a:gd name="connsiteY7158" fmla="*/ 441121 h 4367670"/>
              <a:gd name="connsiteX7159" fmla="*/ 2825355 w 5365133"/>
              <a:gd name="connsiteY7159" fmla="*/ 441121 h 4367670"/>
              <a:gd name="connsiteX7160" fmla="*/ 2825355 w 5365133"/>
              <a:gd name="connsiteY7160" fmla="*/ 453420 h 4367670"/>
              <a:gd name="connsiteX7161" fmla="*/ 2813159 w 5365133"/>
              <a:gd name="connsiteY7161" fmla="*/ 453420 h 4367670"/>
              <a:gd name="connsiteX7162" fmla="*/ 2819257 w 5365133"/>
              <a:gd name="connsiteY7162" fmla="*/ 434971 h 4367670"/>
              <a:gd name="connsiteX7163" fmla="*/ 2843651 w 5365133"/>
              <a:gd name="connsiteY7163" fmla="*/ 422673 h 4367670"/>
              <a:gd name="connsiteX7164" fmla="*/ 2837552 w 5365133"/>
              <a:gd name="connsiteY7164" fmla="*/ 416523 h 4367670"/>
              <a:gd name="connsiteX7165" fmla="*/ 2849748 w 5365133"/>
              <a:gd name="connsiteY7165" fmla="*/ 415755 h 4367670"/>
              <a:gd name="connsiteX7166" fmla="*/ 3648252 w 5365133"/>
              <a:gd name="connsiteY7166" fmla="*/ 410732 h 4367670"/>
              <a:gd name="connsiteX7167" fmla="*/ 3630316 w 5365133"/>
              <a:gd name="connsiteY7167" fmla="*/ 416831 h 4367670"/>
              <a:gd name="connsiteX7168" fmla="*/ 3624338 w 5365133"/>
              <a:gd name="connsiteY7168" fmla="*/ 422928 h 4367670"/>
              <a:gd name="connsiteX7169" fmla="*/ 3617529 w 5365133"/>
              <a:gd name="connsiteY7169" fmla="*/ 428947 h 4367670"/>
              <a:gd name="connsiteX7170" fmla="*/ 3610419 w 5365133"/>
              <a:gd name="connsiteY7170" fmla="*/ 428265 h 4367670"/>
              <a:gd name="connsiteX7171" fmla="*/ 3594444 w 5365133"/>
              <a:gd name="connsiteY7171" fmla="*/ 435125 h 4367670"/>
              <a:gd name="connsiteX7172" fmla="*/ 3588466 w 5365133"/>
              <a:gd name="connsiteY7172" fmla="*/ 441224 h 4367670"/>
              <a:gd name="connsiteX7173" fmla="*/ 3576508 w 5365133"/>
              <a:gd name="connsiteY7173" fmla="*/ 435125 h 4367670"/>
              <a:gd name="connsiteX7174" fmla="*/ 3648252 w 5365133"/>
              <a:gd name="connsiteY7174" fmla="*/ 410732 h 4367670"/>
              <a:gd name="connsiteX7175" fmla="*/ 4445083 w 5365133"/>
              <a:gd name="connsiteY7175" fmla="*/ 410374 h 4367670"/>
              <a:gd name="connsiteX7176" fmla="*/ 4451778 w 5365133"/>
              <a:gd name="connsiteY7176" fmla="*/ 417069 h 4367670"/>
              <a:gd name="connsiteX7177" fmla="*/ 4431689 w 5365133"/>
              <a:gd name="connsiteY7177" fmla="*/ 430462 h 4367670"/>
              <a:gd name="connsiteX7178" fmla="*/ 4445083 w 5365133"/>
              <a:gd name="connsiteY7178" fmla="*/ 410374 h 4367670"/>
              <a:gd name="connsiteX7179" fmla="*/ 3458850 w 5365133"/>
              <a:gd name="connsiteY7179" fmla="*/ 410374 h 4367670"/>
              <a:gd name="connsiteX7180" fmla="*/ 3458850 w 5365133"/>
              <a:gd name="connsiteY7180" fmla="*/ 423767 h 4367670"/>
              <a:gd name="connsiteX7181" fmla="*/ 3439909 w 5365133"/>
              <a:gd name="connsiteY7181" fmla="*/ 430462 h 4367670"/>
              <a:gd name="connsiteX7182" fmla="*/ 3458850 w 5365133"/>
              <a:gd name="connsiteY7182" fmla="*/ 410374 h 4367670"/>
              <a:gd name="connsiteX7183" fmla="*/ 3309624 w 5365133"/>
              <a:gd name="connsiteY7183" fmla="*/ 410374 h 4367670"/>
              <a:gd name="connsiteX7184" fmla="*/ 3321103 w 5365133"/>
              <a:gd name="connsiteY7184" fmla="*/ 423288 h 4367670"/>
              <a:gd name="connsiteX7185" fmla="*/ 3298145 w 5365133"/>
              <a:gd name="connsiteY7185" fmla="*/ 416831 h 4367670"/>
              <a:gd name="connsiteX7186" fmla="*/ 3309624 w 5365133"/>
              <a:gd name="connsiteY7186" fmla="*/ 410374 h 4367670"/>
              <a:gd name="connsiteX7187" fmla="*/ 2968124 w 5365133"/>
              <a:gd name="connsiteY7187" fmla="*/ 410374 h 4367670"/>
              <a:gd name="connsiteX7188" fmla="*/ 2979603 w 5365133"/>
              <a:gd name="connsiteY7188" fmla="*/ 416831 h 4367670"/>
              <a:gd name="connsiteX7189" fmla="*/ 2945167 w 5365133"/>
              <a:gd name="connsiteY7189" fmla="*/ 429745 h 4367670"/>
              <a:gd name="connsiteX7190" fmla="*/ 2968124 w 5365133"/>
              <a:gd name="connsiteY7190" fmla="*/ 410374 h 4367670"/>
              <a:gd name="connsiteX7191" fmla="*/ 3846264 w 5365133"/>
              <a:gd name="connsiteY7191" fmla="*/ 404634 h 4367670"/>
              <a:gd name="connsiteX7192" fmla="*/ 3823305 w 5365133"/>
              <a:gd name="connsiteY7192" fmla="*/ 424005 h 4367670"/>
              <a:gd name="connsiteX7193" fmla="*/ 3846264 w 5365133"/>
              <a:gd name="connsiteY7193" fmla="*/ 404634 h 4367670"/>
              <a:gd name="connsiteX7194" fmla="*/ 3062827 w 5365133"/>
              <a:gd name="connsiteY7194" fmla="*/ 404634 h 4367670"/>
              <a:gd name="connsiteX7195" fmla="*/ 3069524 w 5365133"/>
              <a:gd name="connsiteY7195" fmla="*/ 404634 h 4367670"/>
              <a:gd name="connsiteX7196" fmla="*/ 3076220 w 5365133"/>
              <a:gd name="connsiteY7196" fmla="*/ 404634 h 4367670"/>
              <a:gd name="connsiteX7197" fmla="*/ 3069524 w 5365133"/>
              <a:gd name="connsiteY7197" fmla="*/ 410374 h 4367670"/>
              <a:gd name="connsiteX7198" fmla="*/ 3076220 w 5365133"/>
              <a:gd name="connsiteY7198" fmla="*/ 410374 h 4367670"/>
              <a:gd name="connsiteX7199" fmla="*/ 3062827 w 5365133"/>
              <a:gd name="connsiteY7199" fmla="*/ 421853 h 4367670"/>
              <a:gd name="connsiteX7200" fmla="*/ 3062827 w 5365133"/>
              <a:gd name="connsiteY7200" fmla="*/ 404634 h 4367670"/>
              <a:gd name="connsiteX7201" fmla="*/ 2692630 w 5365133"/>
              <a:gd name="connsiteY7201" fmla="*/ 404634 h 4367670"/>
              <a:gd name="connsiteX7202" fmla="*/ 2644418 w 5365133"/>
              <a:gd name="connsiteY7202" fmla="*/ 428635 h 4367670"/>
              <a:gd name="connsiteX7203" fmla="*/ 2668524 w 5365133"/>
              <a:gd name="connsiteY7203" fmla="*/ 434637 h 4367670"/>
              <a:gd name="connsiteX7204" fmla="*/ 2668524 w 5365133"/>
              <a:gd name="connsiteY7204" fmla="*/ 422635 h 4367670"/>
              <a:gd name="connsiteX7205" fmla="*/ 2686603 w 5365133"/>
              <a:gd name="connsiteY7205" fmla="*/ 416636 h 4367670"/>
              <a:gd name="connsiteX7206" fmla="*/ 2674551 w 5365133"/>
              <a:gd name="connsiteY7206" fmla="*/ 440637 h 4367670"/>
              <a:gd name="connsiteX7207" fmla="*/ 2680578 w 5365133"/>
              <a:gd name="connsiteY7207" fmla="*/ 452637 h 4367670"/>
              <a:gd name="connsiteX7208" fmla="*/ 2644418 w 5365133"/>
              <a:gd name="connsiteY7208" fmla="*/ 470639 h 4367670"/>
              <a:gd name="connsiteX7209" fmla="*/ 2638391 w 5365133"/>
              <a:gd name="connsiteY7209" fmla="*/ 458637 h 4367670"/>
              <a:gd name="connsiteX7210" fmla="*/ 2650445 w 5365133"/>
              <a:gd name="connsiteY7210" fmla="*/ 452637 h 4367670"/>
              <a:gd name="connsiteX7211" fmla="*/ 2650445 w 5365133"/>
              <a:gd name="connsiteY7211" fmla="*/ 464639 h 4367670"/>
              <a:gd name="connsiteX7212" fmla="*/ 2668524 w 5365133"/>
              <a:gd name="connsiteY7212" fmla="*/ 452637 h 4367670"/>
              <a:gd name="connsiteX7213" fmla="*/ 2638391 w 5365133"/>
              <a:gd name="connsiteY7213" fmla="*/ 440637 h 4367670"/>
              <a:gd name="connsiteX7214" fmla="*/ 2632364 w 5365133"/>
              <a:gd name="connsiteY7214" fmla="*/ 422635 h 4367670"/>
              <a:gd name="connsiteX7215" fmla="*/ 2692630 w 5365133"/>
              <a:gd name="connsiteY7215" fmla="*/ 404634 h 4367670"/>
              <a:gd name="connsiteX7216" fmla="*/ 3697178 w 5365133"/>
              <a:gd name="connsiteY7216" fmla="*/ 398822 h 4367670"/>
              <a:gd name="connsiteX7217" fmla="*/ 3697480 w 5365133"/>
              <a:gd name="connsiteY7217" fmla="*/ 398894 h 4367670"/>
              <a:gd name="connsiteX7218" fmla="*/ 3697480 w 5365133"/>
              <a:gd name="connsiteY7218" fmla="*/ 404634 h 4367670"/>
              <a:gd name="connsiteX7219" fmla="*/ 2707965 w 5365133"/>
              <a:gd name="connsiteY7219" fmla="*/ 394052 h 4367670"/>
              <a:gd name="connsiteX7220" fmla="*/ 2709848 w 5365133"/>
              <a:gd name="connsiteY7220" fmla="*/ 398894 h 4367670"/>
              <a:gd name="connsiteX7221" fmla="*/ 2692630 w 5365133"/>
              <a:gd name="connsiteY7221" fmla="*/ 398894 h 4367670"/>
              <a:gd name="connsiteX7222" fmla="*/ 2703391 w 5365133"/>
              <a:gd name="connsiteY7222" fmla="*/ 394590 h 4367670"/>
              <a:gd name="connsiteX7223" fmla="*/ 2707965 w 5365133"/>
              <a:gd name="connsiteY7223" fmla="*/ 394052 h 4367670"/>
              <a:gd name="connsiteX7224" fmla="*/ 4397252 w 5365133"/>
              <a:gd name="connsiteY7224" fmla="*/ 393155 h 4367670"/>
              <a:gd name="connsiteX7225" fmla="*/ 4380034 w 5365133"/>
              <a:gd name="connsiteY7225" fmla="*/ 398894 h 4367670"/>
              <a:gd name="connsiteX7226" fmla="*/ 4397252 w 5365133"/>
              <a:gd name="connsiteY7226" fmla="*/ 393155 h 4367670"/>
              <a:gd name="connsiteX7227" fmla="*/ 3441632 w 5365133"/>
              <a:gd name="connsiteY7227" fmla="*/ 393155 h 4367670"/>
              <a:gd name="connsiteX7228" fmla="*/ 3422690 w 5365133"/>
              <a:gd name="connsiteY7228" fmla="*/ 410374 h 4367670"/>
              <a:gd name="connsiteX7229" fmla="*/ 3410063 w 5365133"/>
              <a:gd name="connsiteY7229" fmla="*/ 404634 h 4367670"/>
              <a:gd name="connsiteX7230" fmla="*/ 3441632 w 5365133"/>
              <a:gd name="connsiteY7230" fmla="*/ 393155 h 4367670"/>
              <a:gd name="connsiteX7231" fmla="*/ 3010694 w 5365133"/>
              <a:gd name="connsiteY7231" fmla="*/ 393155 h 4367670"/>
              <a:gd name="connsiteX7232" fmla="*/ 2992040 w 5365133"/>
              <a:gd name="connsiteY7232" fmla="*/ 416113 h 4367670"/>
              <a:gd name="connsiteX7233" fmla="*/ 3010694 w 5365133"/>
              <a:gd name="connsiteY7233" fmla="*/ 393155 h 4367670"/>
              <a:gd name="connsiteX7234" fmla="*/ 2950906 w 5365133"/>
              <a:gd name="connsiteY7234" fmla="*/ 393155 h 4367670"/>
              <a:gd name="connsiteX7235" fmla="*/ 2956645 w 5365133"/>
              <a:gd name="connsiteY7235" fmla="*/ 404634 h 4367670"/>
              <a:gd name="connsiteX7236" fmla="*/ 2950906 w 5365133"/>
              <a:gd name="connsiteY7236" fmla="*/ 393155 h 4367670"/>
              <a:gd name="connsiteX7237" fmla="*/ 2747155 w 5365133"/>
              <a:gd name="connsiteY7237" fmla="*/ 393155 h 4367670"/>
              <a:gd name="connsiteX7238" fmla="*/ 2741416 w 5365133"/>
              <a:gd name="connsiteY7238" fmla="*/ 404634 h 4367670"/>
              <a:gd name="connsiteX7239" fmla="*/ 2729937 w 5365133"/>
              <a:gd name="connsiteY7239" fmla="*/ 421853 h 4367670"/>
              <a:gd name="connsiteX7240" fmla="*/ 2724197 w 5365133"/>
              <a:gd name="connsiteY7240" fmla="*/ 404634 h 4367670"/>
              <a:gd name="connsiteX7241" fmla="*/ 2747155 w 5365133"/>
              <a:gd name="connsiteY7241" fmla="*/ 393155 h 4367670"/>
              <a:gd name="connsiteX7242" fmla="*/ 3860008 w 5365133"/>
              <a:gd name="connsiteY7242" fmla="*/ 392403 h 4367670"/>
              <a:gd name="connsiteX7243" fmla="*/ 3871963 w 5365133"/>
              <a:gd name="connsiteY7243" fmla="*/ 404332 h 4367670"/>
              <a:gd name="connsiteX7244" fmla="*/ 3860008 w 5365133"/>
              <a:gd name="connsiteY7244" fmla="*/ 410296 h 4367670"/>
              <a:gd name="connsiteX7245" fmla="*/ 3021105 w 5365133"/>
              <a:gd name="connsiteY7245" fmla="*/ 392177 h 4367670"/>
              <a:gd name="connsiteX7246" fmla="*/ 3027065 w 5365133"/>
              <a:gd name="connsiteY7246" fmla="*/ 399677 h 4367670"/>
              <a:gd name="connsiteX7247" fmla="*/ 3015145 w 5365133"/>
              <a:gd name="connsiteY7247" fmla="*/ 393678 h 4367670"/>
              <a:gd name="connsiteX7248" fmla="*/ 3021105 w 5365133"/>
              <a:gd name="connsiteY7248" fmla="*/ 392177 h 4367670"/>
              <a:gd name="connsiteX7249" fmla="*/ 3157528 w 5365133"/>
              <a:gd name="connsiteY7249" fmla="*/ 388851 h 4367670"/>
              <a:gd name="connsiteX7250" fmla="*/ 3166137 w 5365133"/>
              <a:gd name="connsiteY7250" fmla="*/ 393155 h 4367670"/>
              <a:gd name="connsiteX7251" fmla="*/ 3160398 w 5365133"/>
              <a:gd name="connsiteY7251" fmla="*/ 404634 h 4367670"/>
              <a:gd name="connsiteX7252" fmla="*/ 3160398 w 5365133"/>
              <a:gd name="connsiteY7252" fmla="*/ 398894 h 4367670"/>
              <a:gd name="connsiteX7253" fmla="*/ 3154658 w 5365133"/>
              <a:gd name="connsiteY7253" fmla="*/ 398894 h 4367670"/>
              <a:gd name="connsiteX7254" fmla="*/ 3148919 w 5365133"/>
              <a:gd name="connsiteY7254" fmla="*/ 393155 h 4367670"/>
              <a:gd name="connsiteX7255" fmla="*/ 3157528 w 5365133"/>
              <a:gd name="connsiteY7255" fmla="*/ 388851 h 4367670"/>
              <a:gd name="connsiteX7256" fmla="*/ 3694629 w 5365133"/>
              <a:gd name="connsiteY7256" fmla="*/ 387691 h 4367670"/>
              <a:gd name="connsiteX7257" fmla="*/ 3691519 w 5365133"/>
              <a:gd name="connsiteY7257" fmla="*/ 393155 h 4367670"/>
              <a:gd name="connsiteX7258" fmla="*/ 3690028 w 5365133"/>
              <a:gd name="connsiteY7258" fmla="*/ 388133 h 4367670"/>
              <a:gd name="connsiteX7259" fmla="*/ 3685558 w 5365133"/>
              <a:gd name="connsiteY7259" fmla="*/ 387416 h 4367670"/>
              <a:gd name="connsiteX7260" fmla="*/ 3685558 w 5365133"/>
              <a:gd name="connsiteY7260" fmla="*/ 404634 h 4367670"/>
              <a:gd name="connsiteX7261" fmla="*/ 3668340 w 5365133"/>
              <a:gd name="connsiteY7261" fmla="*/ 416113 h 4367670"/>
              <a:gd name="connsiteX7262" fmla="*/ 3668340 w 5365133"/>
              <a:gd name="connsiteY7262" fmla="*/ 404634 h 4367670"/>
              <a:gd name="connsiteX7263" fmla="*/ 3679819 w 5365133"/>
              <a:gd name="connsiteY7263" fmla="*/ 404634 h 4367670"/>
              <a:gd name="connsiteX7264" fmla="*/ 3656861 w 5365133"/>
              <a:gd name="connsiteY7264" fmla="*/ 410374 h 4367670"/>
              <a:gd name="connsiteX7265" fmla="*/ 3685558 w 5365133"/>
              <a:gd name="connsiteY7265" fmla="*/ 387416 h 4367670"/>
              <a:gd name="connsiteX7266" fmla="*/ 2825682 w 5365133"/>
              <a:gd name="connsiteY7266" fmla="*/ 387416 h 4367670"/>
              <a:gd name="connsiteX7267" fmla="*/ 2825682 w 5365133"/>
              <a:gd name="connsiteY7267" fmla="*/ 398894 h 4367670"/>
              <a:gd name="connsiteX7268" fmla="*/ 2861685 w 5365133"/>
              <a:gd name="connsiteY7268" fmla="*/ 387416 h 4367670"/>
              <a:gd name="connsiteX7269" fmla="*/ 2861685 w 5365133"/>
              <a:gd name="connsiteY7269" fmla="*/ 398894 h 4367670"/>
              <a:gd name="connsiteX7270" fmla="*/ 2855685 w 5365133"/>
              <a:gd name="connsiteY7270" fmla="*/ 393155 h 4367670"/>
              <a:gd name="connsiteX7271" fmla="*/ 2819681 w 5365133"/>
              <a:gd name="connsiteY7271" fmla="*/ 421853 h 4367670"/>
              <a:gd name="connsiteX7272" fmla="*/ 2807681 w 5365133"/>
              <a:gd name="connsiteY7272" fmla="*/ 416113 h 4367670"/>
              <a:gd name="connsiteX7273" fmla="*/ 2813681 w 5365133"/>
              <a:gd name="connsiteY7273" fmla="*/ 393155 h 4367670"/>
              <a:gd name="connsiteX7274" fmla="*/ 2825682 w 5365133"/>
              <a:gd name="connsiteY7274" fmla="*/ 387416 h 4367670"/>
              <a:gd name="connsiteX7275" fmla="*/ 3038986 w 5365133"/>
              <a:gd name="connsiteY7275" fmla="*/ 381676 h 4367670"/>
              <a:gd name="connsiteX7276" fmla="*/ 3038986 w 5365133"/>
              <a:gd name="connsiteY7276" fmla="*/ 393678 h 4367670"/>
              <a:gd name="connsiteX7277" fmla="*/ 3056867 w 5365133"/>
              <a:gd name="connsiteY7277" fmla="*/ 387676 h 4367670"/>
              <a:gd name="connsiteX7278" fmla="*/ 3062827 w 5365133"/>
              <a:gd name="connsiteY7278" fmla="*/ 393678 h 4367670"/>
              <a:gd name="connsiteX7279" fmla="*/ 3033024 w 5365133"/>
              <a:gd name="connsiteY7279" fmla="*/ 411679 h 4367670"/>
              <a:gd name="connsiteX7280" fmla="*/ 2985343 w 5365133"/>
              <a:gd name="connsiteY7280" fmla="*/ 423678 h 4367670"/>
              <a:gd name="connsiteX7281" fmla="*/ 3027065 w 5365133"/>
              <a:gd name="connsiteY7281" fmla="*/ 399677 h 4367670"/>
              <a:gd name="connsiteX7282" fmla="*/ 3038986 w 5365133"/>
              <a:gd name="connsiteY7282" fmla="*/ 381676 h 4367670"/>
              <a:gd name="connsiteX7283" fmla="*/ 2933689 w 5365133"/>
              <a:gd name="connsiteY7283" fmla="*/ 381676 h 4367670"/>
              <a:gd name="connsiteX7284" fmla="*/ 2919340 w 5365133"/>
              <a:gd name="connsiteY7284" fmla="*/ 398894 h 4367670"/>
              <a:gd name="connsiteX7285" fmla="*/ 2919340 w 5365133"/>
              <a:gd name="connsiteY7285" fmla="*/ 387416 h 4367670"/>
              <a:gd name="connsiteX7286" fmla="*/ 2933689 w 5365133"/>
              <a:gd name="connsiteY7286" fmla="*/ 381676 h 4367670"/>
              <a:gd name="connsiteX7287" fmla="*/ 3078263 w 5365133"/>
              <a:gd name="connsiteY7287" fmla="*/ 380151 h 4367670"/>
              <a:gd name="connsiteX7288" fmla="*/ 3082198 w 5365133"/>
              <a:gd name="connsiteY7288" fmla="*/ 381676 h 4367670"/>
              <a:gd name="connsiteX7289" fmla="*/ 3082198 w 5365133"/>
              <a:gd name="connsiteY7289" fmla="*/ 393155 h 4367670"/>
              <a:gd name="connsiteX7290" fmla="*/ 3069284 w 5365133"/>
              <a:gd name="connsiteY7290" fmla="*/ 398894 h 4367670"/>
              <a:gd name="connsiteX7291" fmla="*/ 3062827 w 5365133"/>
              <a:gd name="connsiteY7291" fmla="*/ 387416 h 4367670"/>
              <a:gd name="connsiteX7292" fmla="*/ 3078263 w 5365133"/>
              <a:gd name="connsiteY7292" fmla="*/ 380151 h 4367670"/>
              <a:gd name="connsiteX7293" fmla="*/ 4635521 w 5365133"/>
              <a:gd name="connsiteY7293" fmla="*/ 378044 h 4367670"/>
              <a:gd name="connsiteX7294" fmla="*/ 4624320 w 5365133"/>
              <a:gd name="connsiteY7294" fmla="*/ 387416 h 4367670"/>
              <a:gd name="connsiteX7295" fmla="*/ 4624320 w 5365133"/>
              <a:gd name="connsiteY7295" fmla="*/ 381676 h 4367670"/>
              <a:gd name="connsiteX7296" fmla="*/ 4482280 w 5365133"/>
              <a:gd name="connsiteY7296" fmla="*/ 376376 h 4367670"/>
              <a:gd name="connsiteX7297" fmla="*/ 4487697 w 5365133"/>
              <a:gd name="connsiteY7297" fmla="*/ 380476 h 4367670"/>
              <a:gd name="connsiteX7298" fmla="*/ 4421939 w 5365133"/>
              <a:gd name="connsiteY7298" fmla="*/ 404332 h 4367670"/>
              <a:gd name="connsiteX7299" fmla="*/ 4463785 w 5365133"/>
              <a:gd name="connsiteY7299" fmla="*/ 386440 h 4367670"/>
              <a:gd name="connsiteX7300" fmla="*/ 4475741 w 5365133"/>
              <a:gd name="connsiteY7300" fmla="*/ 378985 h 4367670"/>
              <a:gd name="connsiteX7301" fmla="*/ 4482280 w 5365133"/>
              <a:gd name="connsiteY7301" fmla="*/ 376376 h 4367670"/>
              <a:gd name="connsiteX7302" fmla="*/ 4638041 w 5365133"/>
              <a:gd name="connsiteY7302" fmla="*/ 375936 h 4367670"/>
              <a:gd name="connsiteX7303" fmla="*/ 4641472 w 5365133"/>
              <a:gd name="connsiteY7303" fmla="*/ 376116 h 4367670"/>
              <a:gd name="connsiteX7304" fmla="*/ 4635521 w 5365133"/>
              <a:gd name="connsiteY7304" fmla="*/ 378044 h 4367670"/>
              <a:gd name="connsiteX7305" fmla="*/ 3470329 w 5365133"/>
              <a:gd name="connsiteY7305" fmla="*/ 375936 h 4367670"/>
              <a:gd name="connsiteX7306" fmla="*/ 3464589 w 5365133"/>
              <a:gd name="connsiteY7306" fmla="*/ 387416 h 4367670"/>
              <a:gd name="connsiteX7307" fmla="*/ 3447371 w 5365133"/>
              <a:gd name="connsiteY7307" fmla="*/ 387416 h 4367670"/>
              <a:gd name="connsiteX7308" fmla="*/ 3470329 w 5365133"/>
              <a:gd name="connsiteY7308" fmla="*/ 375936 h 4367670"/>
              <a:gd name="connsiteX7309" fmla="*/ 2873424 w 5365133"/>
              <a:gd name="connsiteY7309" fmla="*/ 375936 h 4367670"/>
              <a:gd name="connsiteX7310" fmla="*/ 2884903 w 5365133"/>
              <a:gd name="connsiteY7310" fmla="*/ 387416 h 4367670"/>
              <a:gd name="connsiteX7311" fmla="*/ 2867685 w 5365133"/>
              <a:gd name="connsiteY7311" fmla="*/ 393155 h 4367670"/>
              <a:gd name="connsiteX7312" fmla="*/ 2873424 w 5365133"/>
              <a:gd name="connsiteY7312" fmla="*/ 375936 h 4367670"/>
              <a:gd name="connsiteX7313" fmla="*/ 2747155 w 5365133"/>
              <a:gd name="connsiteY7313" fmla="*/ 375936 h 4367670"/>
              <a:gd name="connsiteX7314" fmla="*/ 2735677 w 5365133"/>
              <a:gd name="connsiteY7314" fmla="*/ 387416 h 4367670"/>
              <a:gd name="connsiteX7315" fmla="*/ 2747155 w 5365133"/>
              <a:gd name="connsiteY7315" fmla="*/ 375936 h 4367670"/>
              <a:gd name="connsiteX7316" fmla="*/ 4134994 w 5365133"/>
              <a:gd name="connsiteY7316" fmla="*/ 374512 h 4367670"/>
              <a:gd name="connsiteX7317" fmla="*/ 4136771 w 5365133"/>
              <a:gd name="connsiteY7317" fmla="*/ 375319 h 4367670"/>
              <a:gd name="connsiteX7318" fmla="*/ 4134994 w 5365133"/>
              <a:gd name="connsiteY7318" fmla="*/ 376501 h 4367670"/>
              <a:gd name="connsiteX7319" fmla="*/ 4491060 w 5365133"/>
              <a:gd name="connsiteY7319" fmla="*/ 372928 h 4367670"/>
              <a:gd name="connsiteX7320" fmla="*/ 4493676 w 5365133"/>
              <a:gd name="connsiteY7320" fmla="*/ 374512 h 4367670"/>
              <a:gd name="connsiteX7321" fmla="*/ 4493676 w 5365133"/>
              <a:gd name="connsiteY7321" fmla="*/ 386440 h 4367670"/>
              <a:gd name="connsiteX7322" fmla="*/ 4487697 w 5365133"/>
              <a:gd name="connsiteY7322" fmla="*/ 380476 h 4367670"/>
              <a:gd name="connsiteX7323" fmla="*/ 4491060 w 5365133"/>
              <a:gd name="connsiteY7323" fmla="*/ 372928 h 4367670"/>
              <a:gd name="connsiteX7324" fmla="*/ 2789485 w 5365133"/>
              <a:gd name="connsiteY7324" fmla="*/ 370197 h 4367670"/>
              <a:gd name="connsiteX7325" fmla="*/ 2791907 w 5365133"/>
              <a:gd name="connsiteY7325" fmla="*/ 381676 h 4367670"/>
              <a:gd name="connsiteX7326" fmla="*/ 2790155 w 5365133"/>
              <a:gd name="connsiteY7326" fmla="*/ 389975 h 4367670"/>
              <a:gd name="connsiteX7327" fmla="*/ 2792475 w 5365133"/>
              <a:gd name="connsiteY7327" fmla="*/ 393155 h 4367670"/>
              <a:gd name="connsiteX7328" fmla="*/ 2781592 w 5365133"/>
              <a:gd name="connsiteY7328" fmla="*/ 398894 h 4367670"/>
              <a:gd name="connsiteX7329" fmla="*/ 2787453 w 5365133"/>
              <a:gd name="connsiteY7329" fmla="*/ 393155 h 4367670"/>
              <a:gd name="connsiteX7330" fmla="*/ 2787708 w 5365133"/>
              <a:gd name="connsiteY7330" fmla="*/ 391400 h 4367670"/>
              <a:gd name="connsiteX7331" fmla="*/ 2782222 w 5365133"/>
              <a:gd name="connsiteY7331" fmla="*/ 385980 h 4367670"/>
              <a:gd name="connsiteX7332" fmla="*/ 2770113 w 5365133"/>
              <a:gd name="connsiteY7332" fmla="*/ 387416 h 4367670"/>
              <a:gd name="connsiteX7333" fmla="*/ 2789485 w 5365133"/>
              <a:gd name="connsiteY7333" fmla="*/ 370197 h 4367670"/>
              <a:gd name="connsiteX7334" fmla="*/ 2900417 w 5365133"/>
              <a:gd name="connsiteY7334" fmla="*/ 369569 h 4367670"/>
              <a:gd name="connsiteX7335" fmla="*/ 2896382 w 5365133"/>
              <a:gd name="connsiteY7335" fmla="*/ 381676 h 4367670"/>
              <a:gd name="connsiteX7336" fmla="*/ 2896382 w 5365133"/>
              <a:gd name="connsiteY7336" fmla="*/ 370197 h 4367670"/>
              <a:gd name="connsiteX7337" fmla="*/ 2900417 w 5365133"/>
              <a:gd name="connsiteY7337" fmla="*/ 369569 h 4367670"/>
              <a:gd name="connsiteX7338" fmla="*/ 2801769 w 5365133"/>
              <a:gd name="connsiteY7338" fmla="*/ 368852 h 4367670"/>
              <a:gd name="connsiteX7339" fmla="*/ 2807419 w 5365133"/>
              <a:gd name="connsiteY7339" fmla="*/ 387416 h 4367670"/>
              <a:gd name="connsiteX7340" fmla="*/ 2836116 w 5365133"/>
              <a:gd name="connsiteY7340" fmla="*/ 375936 h 4367670"/>
              <a:gd name="connsiteX7341" fmla="*/ 2801679 w 5365133"/>
              <a:gd name="connsiteY7341" fmla="*/ 398894 h 4367670"/>
              <a:gd name="connsiteX7342" fmla="*/ 2795940 w 5365133"/>
              <a:gd name="connsiteY7342" fmla="*/ 370197 h 4367670"/>
              <a:gd name="connsiteX7343" fmla="*/ 2801769 w 5365133"/>
              <a:gd name="connsiteY7343" fmla="*/ 368852 h 4367670"/>
              <a:gd name="connsiteX7344" fmla="*/ 4146950 w 5365133"/>
              <a:gd name="connsiteY7344" fmla="*/ 368549 h 4367670"/>
              <a:gd name="connsiteX7345" fmla="*/ 4143213 w 5365133"/>
              <a:gd name="connsiteY7345" fmla="*/ 378239 h 4367670"/>
              <a:gd name="connsiteX7346" fmla="*/ 4136771 w 5365133"/>
              <a:gd name="connsiteY7346" fmla="*/ 375319 h 4367670"/>
              <a:gd name="connsiteX7347" fmla="*/ 3907830 w 5365133"/>
              <a:gd name="connsiteY7347" fmla="*/ 368549 h 4367670"/>
              <a:gd name="connsiteX7348" fmla="*/ 3907083 w 5365133"/>
              <a:gd name="connsiteY7348" fmla="*/ 374512 h 4367670"/>
              <a:gd name="connsiteX7349" fmla="*/ 3901852 w 5365133"/>
              <a:gd name="connsiteY7349" fmla="*/ 380476 h 4367670"/>
              <a:gd name="connsiteX7350" fmla="*/ 3488265 w 5365133"/>
              <a:gd name="connsiteY7350" fmla="*/ 368044 h 4367670"/>
              <a:gd name="connsiteX7351" fmla="*/ 3499026 w 5365133"/>
              <a:gd name="connsiteY7351" fmla="*/ 370197 h 4367670"/>
              <a:gd name="connsiteX7352" fmla="*/ 3481808 w 5365133"/>
              <a:gd name="connsiteY7352" fmla="*/ 370197 h 4367670"/>
              <a:gd name="connsiteX7353" fmla="*/ 3488265 w 5365133"/>
              <a:gd name="connsiteY7353" fmla="*/ 368044 h 4367670"/>
              <a:gd name="connsiteX7354" fmla="*/ 3941923 w 5365133"/>
              <a:gd name="connsiteY7354" fmla="*/ 364458 h 4367670"/>
              <a:gd name="connsiteX7355" fmla="*/ 3954358 w 5365133"/>
              <a:gd name="connsiteY7355" fmla="*/ 381676 h 4367670"/>
              <a:gd name="connsiteX7356" fmla="*/ 3948140 w 5365133"/>
              <a:gd name="connsiteY7356" fmla="*/ 375936 h 4367670"/>
              <a:gd name="connsiteX7357" fmla="*/ 3948140 w 5365133"/>
              <a:gd name="connsiteY7357" fmla="*/ 387416 h 4367670"/>
              <a:gd name="connsiteX7358" fmla="*/ 3935705 w 5365133"/>
              <a:gd name="connsiteY7358" fmla="*/ 393155 h 4367670"/>
              <a:gd name="connsiteX7359" fmla="*/ 3935705 w 5365133"/>
              <a:gd name="connsiteY7359" fmla="*/ 381676 h 4367670"/>
              <a:gd name="connsiteX7360" fmla="*/ 3941923 w 5365133"/>
              <a:gd name="connsiteY7360" fmla="*/ 364458 h 4367670"/>
              <a:gd name="connsiteX7361" fmla="*/ 3763041 w 5365133"/>
              <a:gd name="connsiteY7361" fmla="*/ 364458 h 4367670"/>
              <a:gd name="connsiteX7362" fmla="*/ 3715360 w 5365133"/>
              <a:gd name="connsiteY7362" fmla="*/ 387416 h 4367670"/>
              <a:gd name="connsiteX7363" fmla="*/ 3696921 w 5365133"/>
              <a:gd name="connsiteY7363" fmla="*/ 393873 h 4367670"/>
              <a:gd name="connsiteX7364" fmla="*/ 3697178 w 5365133"/>
              <a:gd name="connsiteY7364" fmla="*/ 398822 h 4367670"/>
              <a:gd name="connsiteX7365" fmla="*/ 3694499 w 5365133"/>
              <a:gd name="connsiteY7365" fmla="*/ 398177 h 4367670"/>
              <a:gd name="connsiteX7366" fmla="*/ 3691519 w 5365133"/>
              <a:gd name="connsiteY7366" fmla="*/ 393155 h 4367670"/>
              <a:gd name="connsiteX7367" fmla="*/ 3697480 w 5365133"/>
              <a:gd name="connsiteY7367" fmla="*/ 387416 h 4367670"/>
              <a:gd name="connsiteX7368" fmla="*/ 3694629 w 5365133"/>
              <a:gd name="connsiteY7368" fmla="*/ 387691 h 4367670"/>
              <a:gd name="connsiteX7369" fmla="*/ 3696827 w 5365133"/>
              <a:gd name="connsiteY7369" fmla="*/ 383829 h 4367670"/>
              <a:gd name="connsiteX7370" fmla="*/ 3763041 w 5365133"/>
              <a:gd name="connsiteY7370" fmla="*/ 364458 h 4367670"/>
              <a:gd name="connsiteX7371" fmla="*/ 2913600 w 5365133"/>
              <a:gd name="connsiteY7371" fmla="*/ 364458 h 4367670"/>
              <a:gd name="connsiteX7372" fmla="*/ 2913600 w 5365133"/>
              <a:gd name="connsiteY7372" fmla="*/ 370197 h 4367670"/>
              <a:gd name="connsiteX7373" fmla="*/ 2907861 w 5365133"/>
              <a:gd name="connsiteY7373" fmla="*/ 375936 h 4367670"/>
              <a:gd name="connsiteX7374" fmla="*/ 2913600 w 5365133"/>
              <a:gd name="connsiteY7374" fmla="*/ 364458 h 4367670"/>
              <a:gd name="connsiteX7375" fmla="*/ 3274379 w 5365133"/>
              <a:gd name="connsiteY7375" fmla="*/ 363023 h 4367670"/>
              <a:gd name="connsiteX7376" fmla="*/ 3278056 w 5365133"/>
              <a:gd name="connsiteY7376" fmla="*/ 364458 h 4367670"/>
              <a:gd name="connsiteX7377" fmla="*/ 3249359 w 5365133"/>
              <a:gd name="connsiteY7377" fmla="*/ 375936 h 4367670"/>
              <a:gd name="connsiteX7378" fmla="*/ 3274379 w 5365133"/>
              <a:gd name="connsiteY7378" fmla="*/ 363023 h 4367670"/>
              <a:gd name="connsiteX7379" fmla="*/ 3966792 w 5365133"/>
              <a:gd name="connsiteY7379" fmla="*/ 358718 h 4367670"/>
              <a:gd name="connsiteX7380" fmla="*/ 3961053 w 5365133"/>
              <a:gd name="connsiteY7380" fmla="*/ 363022 h 4367670"/>
              <a:gd name="connsiteX7381" fmla="*/ 3960965 w 5365133"/>
              <a:gd name="connsiteY7381" fmla="*/ 362958 h 4367670"/>
              <a:gd name="connsiteX7382" fmla="*/ 3955313 w 5365133"/>
              <a:gd name="connsiteY7382" fmla="*/ 358718 h 4367670"/>
              <a:gd name="connsiteX7383" fmla="*/ 3960965 w 5365133"/>
              <a:gd name="connsiteY7383" fmla="*/ 362958 h 4367670"/>
              <a:gd name="connsiteX7384" fmla="*/ 3958902 w 5365133"/>
              <a:gd name="connsiteY7384" fmla="*/ 364458 h 4367670"/>
              <a:gd name="connsiteX7385" fmla="*/ 3955313 w 5365133"/>
              <a:gd name="connsiteY7385" fmla="*/ 370197 h 4367670"/>
              <a:gd name="connsiteX7386" fmla="*/ 3955313 w 5365133"/>
              <a:gd name="connsiteY7386" fmla="*/ 358718 h 4367670"/>
              <a:gd name="connsiteX7387" fmla="*/ 3220663 w 5365133"/>
              <a:gd name="connsiteY7387" fmla="*/ 358718 h 4367670"/>
              <a:gd name="connsiteX7388" fmla="*/ 3220663 w 5365133"/>
              <a:gd name="connsiteY7388" fmla="*/ 375936 h 4367670"/>
              <a:gd name="connsiteX7389" fmla="*/ 3208365 w 5365133"/>
              <a:gd name="connsiteY7389" fmla="*/ 387416 h 4367670"/>
              <a:gd name="connsiteX7390" fmla="*/ 3214513 w 5365133"/>
              <a:gd name="connsiteY7390" fmla="*/ 375936 h 4367670"/>
              <a:gd name="connsiteX7391" fmla="*/ 3196065 w 5365133"/>
              <a:gd name="connsiteY7391" fmla="*/ 370197 h 4367670"/>
              <a:gd name="connsiteX7392" fmla="*/ 3220663 w 5365133"/>
              <a:gd name="connsiteY7392" fmla="*/ 358718 h 4367670"/>
              <a:gd name="connsiteX7393" fmla="*/ 2795942 w 5365133"/>
              <a:gd name="connsiteY7393" fmla="*/ 358718 h 4367670"/>
              <a:gd name="connsiteX7394" fmla="*/ 2775853 w 5365133"/>
              <a:gd name="connsiteY7394" fmla="*/ 370197 h 4367670"/>
              <a:gd name="connsiteX7395" fmla="*/ 2795942 w 5365133"/>
              <a:gd name="connsiteY7395" fmla="*/ 358718 h 4367670"/>
              <a:gd name="connsiteX7396" fmla="*/ 3806089 w 5365133"/>
              <a:gd name="connsiteY7396" fmla="*/ 352979 h 4367670"/>
              <a:gd name="connsiteX7397" fmla="*/ 3791739 w 5365133"/>
              <a:gd name="connsiteY7397" fmla="*/ 358718 h 4367670"/>
              <a:gd name="connsiteX7398" fmla="*/ 3806089 w 5365133"/>
              <a:gd name="connsiteY7398" fmla="*/ 352979 h 4367670"/>
              <a:gd name="connsiteX7399" fmla="*/ 3108921 w 5365133"/>
              <a:gd name="connsiteY7399" fmla="*/ 349929 h 4367670"/>
              <a:gd name="connsiteX7400" fmla="*/ 3111611 w 5365133"/>
              <a:gd name="connsiteY7400" fmla="*/ 358001 h 4367670"/>
              <a:gd name="connsiteX7401" fmla="*/ 3094393 w 5365133"/>
              <a:gd name="connsiteY7401" fmla="*/ 364458 h 4367670"/>
              <a:gd name="connsiteX7402" fmla="*/ 3108921 w 5365133"/>
              <a:gd name="connsiteY7402" fmla="*/ 349929 h 4367670"/>
              <a:gd name="connsiteX7403" fmla="*/ 3780260 w 5365133"/>
              <a:gd name="connsiteY7403" fmla="*/ 344369 h 4367670"/>
              <a:gd name="connsiteX7404" fmla="*/ 3763041 w 5365133"/>
              <a:gd name="connsiteY7404" fmla="*/ 358718 h 4367670"/>
              <a:gd name="connsiteX7405" fmla="*/ 3780260 w 5365133"/>
              <a:gd name="connsiteY7405" fmla="*/ 344369 h 4367670"/>
              <a:gd name="connsiteX7406" fmla="*/ 3206313 w 5365133"/>
              <a:gd name="connsiteY7406" fmla="*/ 344369 h 4367670"/>
              <a:gd name="connsiteX7407" fmla="*/ 3206313 w 5365133"/>
              <a:gd name="connsiteY7407" fmla="*/ 351065 h 4367670"/>
              <a:gd name="connsiteX7408" fmla="*/ 3206313 w 5365133"/>
              <a:gd name="connsiteY7408" fmla="*/ 357762 h 4367670"/>
              <a:gd name="connsiteX7409" fmla="*/ 3189095 w 5365133"/>
              <a:gd name="connsiteY7409" fmla="*/ 364458 h 4367670"/>
              <a:gd name="connsiteX7410" fmla="*/ 3194835 w 5365133"/>
              <a:gd name="connsiteY7410" fmla="*/ 351065 h 4367670"/>
              <a:gd name="connsiteX7411" fmla="*/ 3206313 w 5365133"/>
              <a:gd name="connsiteY7411" fmla="*/ 344369 h 4367670"/>
              <a:gd name="connsiteX7412" fmla="*/ 3004955 w 5365133"/>
              <a:gd name="connsiteY7412" fmla="*/ 344369 h 4367670"/>
              <a:gd name="connsiteX7413" fmla="*/ 2973864 w 5365133"/>
              <a:gd name="connsiteY7413" fmla="*/ 363740 h 4367670"/>
              <a:gd name="connsiteX7414" fmla="*/ 3004955 w 5365133"/>
              <a:gd name="connsiteY7414" fmla="*/ 344369 h 4367670"/>
              <a:gd name="connsiteX7415" fmla="*/ 2950906 w 5365133"/>
              <a:gd name="connsiteY7415" fmla="*/ 344369 h 4367670"/>
              <a:gd name="connsiteX7416" fmla="*/ 2945167 w 5365133"/>
              <a:gd name="connsiteY7416" fmla="*/ 358718 h 4367670"/>
              <a:gd name="connsiteX7417" fmla="*/ 2933687 w 5365133"/>
              <a:gd name="connsiteY7417" fmla="*/ 358718 h 4367670"/>
              <a:gd name="connsiteX7418" fmla="*/ 2950906 w 5365133"/>
              <a:gd name="connsiteY7418" fmla="*/ 344369 h 4367670"/>
              <a:gd name="connsiteX7419" fmla="*/ 2950906 w 5365133"/>
              <a:gd name="connsiteY7419" fmla="*/ 344369 h 4367670"/>
              <a:gd name="connsiteX7420" fmla="*/ 2956645 w 5365133"/>
              <a:gd name="connsiteY7420" fmla="*/ 351544 h 4367670"/>
              <a:gd name="connsiteX7421" fmla="*/ 2950906 w 5365133"/>
              <a:gd name="connsiteY7421" fmla="*/ 344369 h 4367670"/>
              <a:gd name="connsiteX7422" fmla="*/ 2843770 w 5365133"/>
              <a:gd name="connsiteY7422" fmla="*/ 344369 h 4367670"/>
              <a:gd name="connsiteX7423" fmla="*/ 2861945 w 5365133"/>
              <a:gd name="connsiteY7423" fmla="*/ 362818 h 4367670"/>
              <a:gd name="connsiteX7424" fmla="*/ 2837711 w 5365133"/>
              <a:gd name="connsiteY7424" fmla="*/ 387416 h 4367670"/>
              <a:gd name="connsiteX7425" fmla="*/ 2855887 w 5365133"/>
              <a:gd name="connsiteY7425" fmla="*/ 356668 h 4367670"/>
              <a:gd name="connsiteX7426" fmla="*/ 2813478 w 5365133"/>
              <a:gd name="connsiteY7426" fmla="*/ 375116 h 4367670"/>
              <a:gd name="connsiteX7427" fmla="*/ 2813478 w 5365133"/>
              <a:gd name="connsiteY7427" fmla="*/ 362818 h 4367670"/>
              <a:gd name="connsiteX7428" fmla="*/ 2843770 w 5365133"/>
              <a:gd name="connsiteY7428" fmla="*/ 344369 h 4367670"/>
              <a:gd name="connsiteX7429" fmla="*/ 4040868 w 5365133"/>
              <a:gd name="connsiteY7429" fmla="*/ 344191 h 4367670"/>
              <a:gd name="connsiteX7430" fmla="*/ 4044276 w 5365133"/>
              <a:gd name="connsiteY7430" fmla="*/ 352263 h 4367670"/>
              <a:gd name="connsiteX7431" fmla="*/ 4032797 w 5365133"/>
              <a:gd name="connsiteY7431" fmla="*/ 358720 h 4367670"/>
              <a:gd name="connsiteX7432" fmla="*/ 4040868 w 5365133"/>
              <a:gd name="connsiteY7432" fmla="*/ 344191 h 4367670"/>
              <a:gd name="connsiteX7433" fmla="*/ 3823305 w 5365133"/>
              <a:gd name="connsiteY7433" fmla="*/ 338631 h 4367670"/>
              <a:gd name="connsiteX7434" fmla="*/ 3834784 w 5365133"/>
              <a:gd name="connsiteY7434" fmla="*/ 345327 h 4367670"/>
              <a:gd name="connsiteX7435" fmla="*/ 3811826 w 5365133"/>
              <a:gd name="connsiteY7435" fmla="*/ 352024 h 4367670"/>
              <a:gd name="connsiteX7436" fmla="*/ 3823305 w 5365133"/>
              <a:gd name="connsiteY7436" fmla="*/ 338631 h 4367670"/>
              <a:gd name="connsiteX7437" fmla="*/ 3123090 w 5365133"/>
              <a:gd name="connsiteY7437" fmla="*/ 338631 h 4367670"/>
              <a:gd name="connsiteX7438" fmla="*/ 3134569 w 5365133"/>
              <a:gd name="connsiteY7438" fmla="*/ 350930 h 4367670"/>
              <a:gd name="connsiteX7439" fmla="*/ 3134569 w 5365133"/>
              <a:gd name="connsiteY7439" fmla="*/ 369379 h 4367670"/>
              <a:gd name="connsiteX7440" fmla="*/ 3100132 w 5365133"/>
              <a:gd name="connsiteY7440" fmla="*/ 381678 h 4367670"/>
              <a:gd name="connsiteX7441" fmla="*/ 3100132 w 5365133"/>
              <a:gd name="connsiteY7441" fmla="*/ 369379 h 4367670"/>
              <a:gd name="connsiteX7442" fmla="*/ 3128829 w 5365133"/>
              <a:gd name="connsiteY7442" fmla="*/ 363229 h 4367670"/>
              <a:gd name="connsiteX7443" fmla="*/ 3123090 w 5365133"/>
              <a:gd name="connsiteY7443" fmla="*/ 338631 h 4367670"/>
              <a:gd name="connsiteX7444" fmla="*/ 3170920 w 5365133"/>
              <a:gd name="connsiteY7444" fmla="*/ 334168 h 4367670"/>
              <a:gd name="connsiteX7445" fmla="*/ 3180103 w 5365133"/>
              <a:gd name="connsiteY7445" fmla="*/ 339468 h 4367670"/>
              <a:gd name="connsiteX7446" fmla="*/ 3183910 w 5365133"/>
              <a:gd name="connsiteY7446" fmla="*/ 339782 h 4367670"/>
              <a:gd name="connsiteX7447" fmla="*/ 3152554 w 5365133"/>
              <a:gd name="connsiteY7447" fmla="*/ 358400 h 4367670"/>
              <a:gd name="connsiteX7448" fmla="*/ 3158675 w 5365133"/>
              <a:gd name="connsiteY7448" fmla="*/ 358400 h 4367670"/>
              <a:gd name="connsiteX7449" fmla="*/ 3146431 w 5365133"/>
              <a:gd name="connsiteY7449" fmla="*/ 352343 h 4367670"/>
              <a:gd name="connsiteX7450" fmla="*/ 3140309 w 5365133"/>
              <a:gd name="connsiteY7450" fmla="*/ 352343 h 4367670"/>
              <a:gd name="connsiteX7451" fmla="*/ 3170920 w 5365133"/>
              <a:gd name="connsiteY7451" fmla="*/ 334168 h 4367670"/>
              <a:gd name="connsiteX7452" fmla="*/ 4365320 w 5365133"/>
              <a:gd name="connsiteY7452" fmla="*/ 333136 h 4367670"/>
              <a:gd name="connsiteX7453" fmla="*/ 4365686 w 5365133"/>
              <a:gd name="connsiteY7453" fmla="*/ 338631 h 4367670"/>
              <a:gd name="connsiteX7454" fmla="*/ 4361382 w 5365133"/>
              <a:gd name="connsiteY7454" fmla="*/ 335761 h 4367670"/>
              <a:gd name="connsiteX7455" fmla="*/ 4365686 w 5365133"/>
              <a:gd name="connsiteY7455" fmla="*/ 332891 h 4367670"/>
              <a:gd name="connsiteX7456" fmla="*/ 4365320 w 5365133"/>
              <a:gd name="connsiteY7456" fmla="*/ 333136 h 4367670"/>
              <a:gd name="connsiteX7457" fmla="*/ 4365316 w 5365133"/>
              <a:gd name="connsiteY7457" fmla="*/ 333076 h 4367670"/>
              <a:gd name="connsiteX7458" fmla="*/ 3805372 w 5365133"/>
              <a:gd name="connsiteY7458" fmla="*/ 332891 h 4367670"/>
              <a:gd name="connsiteX7459" fmla="*/ 3786000 w 5365133"/>
              <a:gd name="connsiteY7459" fmla="*/ 352980 h 4367670"/>
              <a:gd name="connsiteX7460" fmla="*/ 3805372 w 5365133"/>
              <a:gd name="connsiteY7460" fmla="*/ 332891 h 4367670"/>
              <a:gd name="connsiteX7461" fmla="*/ 3984010 w 5365133"/>
              <a:gd name="connsiteY7461" fmla="*/ 332890 h 4367670"/>
              <a:gd name="connsiteX7462" fmla="*/ 3989751 w 5365133"/>
              <a:gd name="connsiteY7462" fmla="*/ 332890 h 4367670"/>
              <a:gd name="connsiteX7463" fmla="*/ 3989751 w 5365133"/>
              <a:gd name="connsiteY7463" fmla="*/ 339585 h 4367670"/>
              <a:gd name="connsiteX7464" fmla="*/ 3972533 w 5365133"/>
              <a:gd name="connsiteY7464" fmla="*/ 352979 h 4367670"/>
              <a:gd name="connsiteX7465" fmla="*/ 3984010 w 5365133"/>
              <a:gd name="connsiteY7465" fmla="*/ 332890 h 4367670"/>
              <a:gd name="connsiteX7466" fmla="*/ 3199646 w 5365133"/>
              <a:gd name="connsiteY7466" fmla="*/ 330438 h 4367670"/>
              <a:gd name="connsiteX7467" fmla="*/ 3189286 w 5365133"/>
              <a:gd name="connsiteY7467" fmla="*/ 340226 h 4367670"/>
              <a:gd name="connsiteX7468" fmla="*/ 3183910 w 5365133"/>
              <a:gd name="connsiteY7468" fmla="*/ 339782 h 4367670"/>
              <a:gd name="connsiteX7469" fmla="*/ 4016058 w 5365133"/>
              <a:gd name="connsiteY7469" fmla="*/ 328759 h 4367670"/>
              <a:gd name="connsiteX7470" fmla="*/ 4019613 w 5365133"/>
              <a:gd name="connsiteY7470" fmla="*/ 330820 h 4367670"/>
              <a:gd name="connsiteX7471" fmla="*/ 4020362 w 5365133"/>
              <a:gd name="connsiteY7471" fmla="*/ 333848 h 4367670"/>
              <a:gd name="connsiteX7472" fmla="*/ 4014384 w 5365133"/>
              <a:gd name="connsiteY7472" fmla="*/ 333848 h 4367670"/>
              <a:gd name="connsiteX7473" fmla="*/ 2855454 w 5365133"/>
              <a:gd name="connsiteY7473" fmla="*/ 327233 h 4367670"/>
              <a:gd name="connsiteX7474" fmla="*/ 2872706 w 5365133"/>
              <a:gd name="connsiteY7474" fmla="*/ 328107 h 4367670"/>
              <a:gd name="connsiteX7475" fmla="*/ 2879163 w 5365133"/>
              <a:gd name="connsiteY7475" fmla="*/ 340543 h 4367670"/>
              <a:gd name="connsiteX7476" fmla="*/ 2872706 w 5365133"/>
              <a:gd name="connsiteY7476" fmla="*/ 340543 h 4367670"/>
              <a:gd name="connsiteX7477" fmla="*/ 2866249 w 5365133"/>
              <a:gd name="connsiteY7477" fmla="*/ 352979 h 4367670"/>
              <a:gd name="connsiteX7478" fmla="*/ 2853334 w 5365133"/>
              <a:gd name="connsiteY7478" fmla="*/ 346760 h 4367670"/>
              <a:gd name="connsiteX7479" fmla="*/ 2866249 w 5365133"/>
              <a:gd name="connsiteY7479" fmla="*/ 334325 h 4367670"/>
              <a:gd name="connsiteX7480" fmla="*/ 2853334 w 5365133"/>
              <a:gd name="connsiteY7480" fmla="*/ 334325 h 4367670"/>
              <a:gd name="connsiteX7481" fmla="*/ 2855454 w 5365133"/>
              <a:gd name="connsiteY7481" fmla="*/ 327233 h 4367670"/>
              <a:gd name="connsiteX7482" fmla="*/ 4017000 w 5365133"/>
              <a:gd name="connsiteY7482" fmla="*/ 325897 h 4367670"/>
              <a:gd name="connsiteX7483" fmla="*/ 4016058 w 5365133"/>
              <a:gd name="connsiteY7483" fmla="*/ 328759 h 4367670"/>
              <a:gd name="connsiteX7484" fmla="*/ 4014384 w 5365133"/>
              <a:gd name="connsiteY7484" fmla="*/ 327790 h 4367670"/>
              <a:gd name="connsiteX7485" fmla="*/ 4008404 w 5365133"/>
              <a:gd name="connsiteY7485" fmla="*/ 321731 h 4367670"/>
              <a:gd name="connsiteX7486" fmla="*/ 4014384 w 5365133"/>
              <a:gd name="connsiteY7486" fmla="*/ 333848 h 4367670"/>
              <a:gd name="connsiteX7487" fmla="*/ 4008404 w 5365133"/>
              <a:gd name="connsiteY7487" fmla="*/ 333848 h 4367670"/>
              <a:gd name="connsiteX7488" fmla="*/ 4002426 w 5365133"/>
              <a:gd name="connsiteY7488" fmla="*/ 352024 h 4367670"/>
              <a:gd name="connsiteX7489" fmla="*/ 3996449 w 5365133"/>
              <a:gd name="connsiteY7489" fmla="*/ 345965 h 4367670"/>
              <a:gd name="connsiteX7490" fmla="*/ 3990467 w 5365133"/>
              <a:gd name="connsiteY7490" fmla="*/ 345965 h 4367670"/>
              <a:gd name="connsiteX7491" fmla="*/ 3996449 w 5365133"/>
              <a:gd name="connsiteY7491" fmla="*/ 358082 h 4367670"/>
              <a:gd name="connsiteX7492" fmla="*/ 3984490 w 5365133"/>
              <a:gd name="connsiteY7492" fmla="*/ 364140 h 4367670"/>
              <a:gd name="connsiteX7493" fmla="*/ 3972543 w 5365133"/>
              <a:gd name="connsiteY7493" fmla="*/ 370194 h 4367670"/>
              <a:gd name="connsiteX7494" fmla="*/ 3991186 w 5365133"/>
              <a:gd name="connsiteY7494" fmla="*/ 363740 h 4367670"/>
              <a:gd name="connsiteX7495" fmla="*/ 4001229 w 5365133"/>
              <a:gd name="connsiteY7495" fmla="*/ 370197 h 4367670"/>
              <a:gd name="connsiteX7496" fmla="*/ 3984010 w 5365133"/>
              <a:gd name="connsiteY7496" fmla="*/ 370197 h 4367670"/>
              <a:gd name="connsiteX7497" fmla="*/ 3984010 w 5365133"/>
              <a:gd name="connsiteY7497" fmla="*/ 375936 h 4367670"/>
              <a:gd name="connsiteX7498" fmla="*/ 3978271 w 5365133"/>
              <a:gd name="connsiteY7498" fmla="*/ 381676 h 4367670"/>
              <a:gd name="connsiteX7499" fmla="*/ 3972534 w 5365133"/>
              <a:gd name="connsiteY7499" fmla="*/ 370199 h 4367670"/>
              <a:gd name="connsiteX7500" fmla="*/ 3972533 w 5365133"/>
              <a:gd name="connsiteY7500" fmla="*/ 370197 h 4367670"/>
              <a:gd name="connsiteX7501" fmla="*/ 3972535 w 5365133"/>
              <a:gd name="connsiteY7501" fmla="*/ 370196 h 4367670"/>
              <a:gd name="connsiteX7502" fmla="*/ 3978512 w 5365133"/>
              <a:gd name="connsiteY7502" fmla="*/ 364140 h 4367670"/>
              <a:gd name="connsiteX7503" fmla="*/ 3972533 w 5365133"/>
              <a:gd name="connsiteY7503" fmla="*/ 358082 h 4367670"/>
              <a:gd name="connsiteX7504" fmla="*/ 3984490 w 5365133"/>
              <a:gd name="connsiteY7504" fmla="*/ 352024 h 4367670"/>
              <a:gd name="connsiteX7505" fmla="*/ 3996449 w 5365133"/>
              <a:gd name="connsiteY7505" fmla="*/ 333848 h 4367670"/>
              <a:gd name="connsiteX7506" fmla="*/ 3996449 w 5365133"/>
              <a:gd name="connsiteY7506" fmla="*/ 339907 h 4367670"/>
              <a:gd name="connsiteX7507" fmla="*/ 4002426 w 5365133"/>
              <a:gd name="connsiteY7507" fmla="*/ 327790 h 4367670"/>
              <a:gd name="connsiteX7508" fmla="*/ 4008404 w 5365133"/>
              <a:gd name="connsiteY7508" fmla="*/ 321731 h 4367670"/>
              <a:gd name="connsiteX7509" fmla="*/ 4359947 w 5365133"/>
              <a:gd name="connsiteY7509" fmla="*/ 321413 h 4367670"/>
              <a:gd name="connsiteX7510" fmla="*/ 4364968 w 5365133"/>
              <a:gd name="connsiteY7510" fmla="*/ 327870 h 4367670"/>
              <a:gd name="connsiteX7511" fmla="*/ 4365316 w 5365133"/>
              <a:gd name="connsiteY7511" fmla="*/ 333076 h 4367670"/>
              <a:gd name="connsiteX7512" fmla="*/ 4354207 w 5365133"/>
              <a:gd name="connsiteY7512" fmla="*/ 338631 h 4367670"/>
              <a:gd name="connsiteX7513" fmla="*/ 4354207 w 5365133"/>
              <a:gd name="connsiteY7513" fmla="*/ 332891 h 4367670"/>
              <a:gd name="connsiteX7514" fmla="*/ 4354207 w 5365133"/>
              <a:gd name="connsiteY7514" fmla="*/ 326629 h 4367670"/>
              <a:gd name="connsiteX7515" fmla="*/ 4356361 w 5365133"/>
              <a:gd name="connsiteY7515" fmla="*/ 326434 h 4367670"/>
              <a:gd name="connsiteX7516" fmla="*/ 4359947 w 5365133"/>
              <a:gd name="connsiteY7516" fmla="*/ 321413 h 4367670"/>
              <a:gd name="connsiteX7517" fmla="*/ 4354207 w 5365133"/>
              <a:gd name="connsiteY7517" fmla="*/ 321413 h 4367670"/>
              <a:gd name="connsiteX7518" fmla="*/ 4354207 w 5365133"/>
              <a:gd name="connsiteY7518" fmla="*/ 326629 h 4367670"/>
              <a:gd name="connsiteX7519" fmla="*/ 4348468 w 5365133"/>
              <a:gd name="connsiteY7519" fmla="*/ 327152 h 4367670"/>
              <a:gd name="connsiteX7520" fmla="*/ 4354207 w 5365133"/>
              <a:gd name="connsiteY7520" fmla="*/ 321413 h 4367670"/>
              <a:gd name="connsiteX7521" fmla="*/ 4230236 w 5365133"/>
              <a:gd name="connsiteY7521" fmla="*/ 321413 h 4367670"/>
              <a:gd name="connsiteX7522" fmla="*/ 4236549 w 5365133"/>
              <a:gd name="connsiteY7522" fmla="*/ 332891 h 4367670"/>
              <a:gd name="connsiteX7523" fmla="*/ 4217608 w 5365133"/>
              <a:gd name="connsiteY7523" fmla="*/ 344371 h 4367670"/>
              <a:gd name="connsiteX7524" fmla="*/ 4211295 w 5365133"/>
              <a:gd name="connsiteY7524" fmla="*/ 344371 h 4367670"/>
              <a:gd name="connsiteX7525" fmla="*/ 4211295 w 5365133"/>
              <a:gd name="connsiteY7525" fmla="*/ 332891 h 4367670"/>
              <a:gd name="connsiteX7526" fmla="*/ 4230236 w 5365133"/>
              <a:gd name="connsiteY7526" fmla="*/ 327152 h 4367670"/>
              <a:gd name="connsiteX7527" fmla="*/ 4217608 w 5365133"/>
              <a:gd name="connsiteY7527" fmla="*/ 327152 h 4367670"/>
              <a:gd name="connsiteX7528" fmla="*/ 4230236 w 5365133"/>
              <a:gd name="connsiteY7528" fmla="*/ 321413 h 4367670"/>
              <a:gd name="connsiteX7529" fmla="*/ 4164885 w 5365133"/>
              <a:gd name="connsiteY7529" fmla="*/ 320836 h 4367670"/>
              <a:gd name="connsiteX7530" fmla="*/ 4164138 w 5365133"/>
              <a:gd name="connsiteY7530" fmla="*/ 328291 h 4367670"/>
              <a:gd name="connsiteX7531" fmla="*/ 4163091 w 5365133"/>
              <a:gd name="connsiteY7531" fmla="*/ 327993 h 4367670"/>
              <a:gd name="connsiteX7532" fmla="*/ 3218557 w 5365133"/>
              <a:gd name="connsiteY7532" fmla="*/ 318927 h 4367670"/>
              <a:gd name="connsiteX7533" fmla="*/ 3232140 w 5365133"/>
              <a:gd name="connsiteY7533" fmla="*/ 322051 h 4367670"/>
              <a:gd name="connsiteX7534" fmla="*/ 3220582 w 5365133"/>
              <a:gd name="connsiteY7534" fmla="*/ 333488 h 4367670"/>
              <a:gd name="connsiteX7535" fmla="*/ 3233362 w 5365133"/>
              <a:gd name="connsiteY7535" fmla="*/ 332799 h 4367670"/>
              <a:gd name="connsiteX7536" fmla="*/ 3243621 w 5365133"/>
              <a:gd name="connsiteY7536" fmla="*/ 327150 h 4367670"/>
              <a:gd name="connsiteX7537" fmla="*/ 3230994 w 5365133"/>
              <a:gd name="connsiteY7537" fmla="*/ 346521 h 4367670"/>
              <a:gd name="connsiteX7538" fmla="*/ 3212053 w 5365133"/>
              <a:gd name="connsiteY7538" fmla="*/ 352979 h 4367670"/>
              <a:gd name="connsiteX7539" fmla="*/ 3212053 w 5365133"/>
              <a:gd name="connsiteY7539" fmla="*/ 340064 h 4367670"/>
              <a:gd name="connsiteX7540" fmla="*/ 3224679 w 5365133"/>
              <a:gd name="connsiteY7540" fmla="*/ 346521 h 4367670"/>
              <a:gd name="connsiteX7541" fmla="*/ 3218367 w 5365133"/>
              <a:gd name="connsiteY7541" fmla="*/ 333607 h 4367670"/>
              <a:gd name="connsiteX7542" fmla="*/ 3219580 w 5365133"/>
              <a:gd name="connsiteY7542" fmla="*/ 333542 h 4367670"/>
              <a:gd name="connsiteX7543" fmla="*/ 3213774 w 5365133"/>
              <a:gd name="connsiteY7543" fmla="*/ 322051 h 4367670"/>
              <a:gd name="connsiteX7544" fmla="*/ 3199646 w 5365133"/>
              <a:gd name="connsiteY7544" fmla="*/ 330438 h 4367670"/>
              <a:gd name="connsiteX7545" fmla="*/ 3206121 w 5365133"/>
              <a:gd name="connsiteY7545" fmla="*/ 324323 h 4367670"/>
              <a:gd name="connsiteX7546" fmla="*/ 3218557 w 5365133"/>
              <a:gd name="connsiteY7546" fmla="*/ 318927 h 4367670"/>
              <a:gd name="connsiteX7547" fmla="*/ 4044276 w 5365133"/>
              <a:gd name="connsiteY7547" fmla="*/ 315673 h 4367670"/>
              <a:gd name="connsiteX7548" fmla="*/ 4038297 w 5365133"/>
              <a:gd name="connsiteY7548" fmla="*/ 327790 h 4367670"/>
              <a:gd name="connsiteX7549" fmla="*/ 4032319 w 5365133"/>
              <a:gd name="connsiteY7549" fmla="*/ 333848 h 4367670"/>
              <a:gd name="connsiteX7550" fmla="*/ 4020362 w 5365133"/>
              <a:gd name="connsiteY7550" fmla="*/ 333848 h 4367670"/>
              <a:gd name="connsiteX7551" fmla="*/ 4026340 w 5365133"/>
              <a:gd name="connsiteY7551" fmla="*/ 321731 h 4367670"/>
              <a:gd name="connsiteX7552" fmla="*/ 4044276 w 5365133"/>
              <a:gd name="connsiteY7552" fmla="*/ 315673 h 4367670"/>
              <a:gd name="connsiteX7553" fmla="*/ 4020362 w 5365133"/>
              <a:gd name="connsiteY7553" fmla="*/ 315673 h 4367670"/>
              <a:gd name="connsiteX7554" fmla="*/ 4019614 w 5365133"/>
              <a:gd name="connsiteY7554" fmla="*/ 324003 h 4367670"/>
              <a:gd name="connsiteX7555" fmla="*/ 4017000 w 5365133"/>
              <a:gd name="connsiteY7555" fmla="*/ 325897 h 4367670"/>
              <a:gd name="connsiteX7556" fmla="*/ 3344059 w 5365133"/>
              <a:gd name="connsiteY7556" fmla="*/ 315672 h 4367670"/>
              <a:gd name="connsiteX7557" fmla="*/ 3349799 w 5365133"/>
              <a:gd name="connsiteY7557" fmla="*/ 328107 h 4367670"/>
              <a:gd name="connsiteX7558" fmla="*/ 3309622 w 5365133"/>
              <a:gd name="connsiteY7558" fmla="*/ 352979 h 4367670"/>
              <a:gd name="connsiteX7559" fmla="*/ 3338319 w 5365133"/>
              <a:gd name="connsiteY7559" fmla="*/ 321890 h 4367670"/>
              <a:gd name="connsiteX7560" fmla="*/ 3344059 w 5365133"/>
              <a:gd name="connsiteY7560" fmla="*/ 315672 h 4367670"/>
              <a:gd name="connsiteX7561" fmla="*/ 3062824 w 5365133"/>
              <a:gd name="connsiteY7561" fmla="*/ 315672 h 4367670"/>
              <a:gd name="connsiteX7562" fmla="*/ 3044889 w 5365133"/>
              <a:gd name="connsiteY7562" fmla="*/ 334325 h 4367670"/>
              <a:gd name="connsiteX7563" fmla="*/ 3024894 w 5365133"/>
              <a:gd name="connsiteY7563" fmla="*/ 351097 h 4367670"/>
              <a:gd name="connsiteX7564" fmla="*/ 3026203 w 5365133"/>
              <a:gd name="connsiteY7564" fmla="*/ 351287 h 4367670"/>
              <a:gd name="connsiteX7565" fmla="*/ 3026954 w 5365133"/>
              <a:gd name="connsiteY7565" fmla="*/ 356668 h 4367670"/>
              <a:gd name="connsiteX7566" fmla="*/ 3051059 w 5365133"/>
              <a:gd name="connsiteY7566" fmla="*/ 344369 h 4367670"/>
              <a:gd name="connsiteX7567" fmla="*/ 3057087 w 5365133"/>
              <a:gd name="connsiteY7567" fmla="*/ 356668 h 4367670"/>
              <a:gd name="connsiteX7568" fmla="*/ 3045035 w 5365133"/>
              <a:gd name="connsiteY7568" fmla="*/ 368966 h 4367670"/>
              <a:gd name="connsiteX7569" fmla="*/ 3014902 w 5365133"/>
              <a:gd name="connsiteY7569" fmla="*/ 381266 h 4367670"/>
              <a:gd name="connsiteX7570" fmla="*/ 3039008 w 5365133"/>
              <a:gd name="connsiteY7570" fmla="*/ 368966 h 4367670"/>
              <a:gd name="connsiteX7571" fmla="*/ 3008875 w 5365133"/>
              <a:gd name="connsiteY7571" fmla="*/ 387416 h 4367670"/>
              <a:gd name="connsiteX7572" fmla="*/ 2996822 w 5365133"/>
              <a:gd name="connsiteY7572" fmla="*/ 387416 h 4367670"/>
              <a:gd name="connsiteX7573" fmla="*/ 2996822 w 5365133"/>
              <a:gd name="connsiteY7573" fmla="*/ 368966 h 4367670"/>
              <a:gd name="connsiteX7574" fmla="*/ 3014902 w 5365133"/>
              <a:gd name="connsiteY7574" fmla="*/ 362818 h 4367670"/>
              <a:gd name="connsiteX7575" fmla="*/ 3008875 w 5365133"/>
              <a:gd name="connsiteY7575" fmla="*/ 356668 h 4367670"/>
              <a:gd name="connsiteX7576" fmla="*/ 3020927 w 5365133"/>
              <a:gd name="connsiteY7576" fmla="*/ 362818 h 4367670"/>
              <a:gd name="connsiteX7577" fmla="*/ 3020927 w 5365133"/>
              <a:gd name="connsiteY7577" fmla="*/ 350519 h 4367670"/>
              <a:gd name="connsiteX7578" fmla="*/ 3022648 w 5365133"/>
              <a:gd name="connsiteY7578" fmla="*/ 350770 h 4367670"/>
              <a:gd name="connsiteX7579" fmla="*/ 3022648 w 5365133"/>
              <a:gd name="connsiteY7579" fmla="*/ 343651 h 4367670"/>
              <a:gd name="connsiteX7580" fmla="*/ 3022648 w 5365133"/>
              <a:gd name="connsiteY7580" fmla="*/ 334325 h 4367670"/>
              <a:gd name="connsiteX7581" fmla="*/ 3062824 w 5365133"/>
              <a:gd name="connsiteY7581" fmla="*/ 315672 h 4367670"/>
              <a:gd name="connsiteX7582" fmla="*/ 4320313 w 5365133"/>
              <a:gd name="connsiteY7582" fmla="*/ 314873 h 4367670"/>
              <a:gd name="connsiteX7583" fmla="*/ 4314335 w 5365133"/>
              <a:gd name="connsiteY7583" fmla="*/ 326800 h 4367670"/>
              <a:gd name="connsiteX7584" fmla="*/ 4296401 w 5365133"/>
              <a:gd name="connsiteY7584" fmla="*/ 320836 h 4367670"/>
              <a:gd name="connsiteX7585" fmla="*/ 4302379 w 5365133"/>
              <a:gd name="connsiteY7585" fmla="*/ 338727 h 4367670"/>
              <a:gd name="connsiteX7586" fmla="*/ 4284445 w 5365133"/>
              <a:gd name="connsiteY7586" fmla="*/ 344692 h 4367670"/>
              <a:gd name="connsiteX7587" fmla="*/ 4278466 w 5365133"/>
              <a:gd name="connsiteY7587" fmla="*/ 332763 h 4367670"/>
              <a:gd name="connsiteX7588" fmla="*/ 4257544 w 5365133"/>
              <a:gd name="connsiteY7588" fmla="*/ 342456 h 4367670"/>
              <a:gd name="connsiteX7589" fmla="*/ 4253267 w 5365133"/>
              <a:gd name="connsiteY7589" fmla="*/ 345351 h 4367670"/>
              <a:gd name="connsiteX7590" fmla="*/ 4252314 w 5365133"/>
              <a:gd name="connsiteY7590" fmla="*/ 345437 h 4367670"/>
              <a:gd name="connsiteX7591" fmla="*/ 4251537 w 5365133"/>
              <a:gd name="connsiteY7591" fmla="*/ 346521 h 4367670"/>
              <a:gd name="connsiteX7592" fmla="*/ 4236621 w 5365133"/>
              <a:gd name="connsiteY7592" fmla="*/ 356619 h 4367670"/>
              <a:gd name="connsiteX7593" fmla="*/ 4230643 w 5365133"/>
              <a:gd name="connsiteY7593" fmla="*/ 344692 h 4367670"/>
              <a:gd name="connsiteX7594" fmla="*/ 4320313 w 5365133"/>
              <a:gd name="connsiteY7594" fmla="*/ 314873 h 4367670"/>
              <a:gd name="connsiteX7595" fmla="*/ 4338712 w 5365133"/>
              <a:gd name="connsiteY7595" fmla="*/ 313378 h 4367670"/>
              <a:gd name="connsiteX7596" fmla="*/ 4348468 w 5365133"/>
              <a:gd name="connsiteY7596" fmla="*/ 321413 h 4367670"/>
              <a:gd name="connsiteX7597" fmla="*/ 4342728 w 5365133"/>
              <a:gd name="connsiteY7597" fmla="*/ 332891 h 4367670"/>
              <a:gd name="connsiteX7598" fmla="*/ 4331250 w 5365133"/>
              <a:gd name="connsiteY7598" fmla="*/ 332891 h 4367670"/>
              <a:gd name="connsiteX7599" fmla="*/ 4336989 w 5365133"/>
              <a:gd name="connsiteY7599" fmla="*/ 332891 h 4367670"/>
              <a:gd name="connsiteX7600" fmla="*/ 4331250 w 5365133"/>
              <a:gd name="connsiteY7600" fmla="*/ 327152 h 4367670"/>
              <a:gd name="connsiteX7601" fmla="*/ 4342728 w 5365133"/>
              <a:gd name="connsiteY7601" fmla="*/ 321413 h 4367670"/>
              <a:gd name="connsiteX7602" fmla="*/ 4331995 w 5365133"/>
              <a:gd name="connsiteY7602" fmla="*/ 310997 h 4367670"/>
              <a:gd name="connsiteX7603" fmla="*/ 4336271 w 5365133"/>
              <a:gd name="connsiteY7603" fmla="*/ 311369 h 4367670"/>
              <a:gd name="connsiteX7604" fmla="*/ 4336989 w 5365133"/>
              <a:gd name="connsiteY7604" fmla="*/ 311960 h 4367670"/>
              <a:gd name="connsiteX7605" fmla="*/ 4336989 w 5365133"/>
              <a:gd name="connsiteY7605" fmla="*/ 315673 h 4367670"/>
              <a:gd name="connsiteX7606" fmla="*/ 4336271 w 5365133"/>
              <a:gd name="connsiteY7606" fmla="*/ 317108 h 4367670"/>
              <a:gd name="connsiteX7607" fmla="*/ 4336989 w 5365133"/>
              <a:gd name="connsiteY7607" fmla="*/ 309934 h 4367670"/>
              <a:gd name="connsiteX7608" fmla="*/ 4338712 w 5365133"/>
              <a:gd name="connsiteY7608" fmla="*/ 313378 h 4367670"/>
              <a:gd name="connsiteX7609" fmla="*/ 4336989 w 5365133"/>
              <a:gd name="connsiteY7609" fmla="*/ 311960 h 4367670"/>
              <a:gd name="connsiteX7610" fmla="*/ 4331250 w 5365133"/>
              <a:gd name="connsiteY7610" fmla="*/ 309934 h 4367670"/>
              <a:gd name="connsiteX7611" fmla="*/ 4331995 w 5365133"/>
              <a:gd name="connsiteY7611" fmla="*/ 310997 h 4367670"/>
              <a:gd name="connsiteX7612" fmla="*/ 4331250 w 5365133"/>
              <a:gd name="connsiteY7612" fmla="*/ 310931 h 4367670"/>
              <a:gd name="connsiteX7613" fmla="*/ 4319770 w 5365133"/>
              <a:gd name="connsiteY7613" fmla="*/ 309934 h 4367670"/>
              <a:gd name="connsiteX7614" fmla="*/ 4331250 w 5365133"/>
              <a:gd name="connsiteY7614" fmla="*/ 310931 h 4367670"/>
              <a:gd name="connsiteX7615" fmla="*/ 4331250 w 5365133"/>
              <a:gd name="connsiteY7615" fmla="*/ 315673 h 4367670"/>
              <a:gd name="connsiteX7616" fmla="*/ 4319770 w 5365133"/>
              <a:gd name="connsiteY7616" fmla="*/ 309934 h 4367670"/>
              <a:gd name="connsiteX7617" fmla="*/ 3386534 w 5365133"/>
              <a:gd name="connsiteY7617" fmla="*/ 309934 h 4367670"/>
              <a:gd name="connsiteX7618" fmla="*/ 3361279 w 5365133"/>
              <a:gd name="connsiteY7618" fmla="*/ 321413 h 4367670"/>
              <a:gd name="connsiteX7619" fmla="*/ 3386534 w 5365133"/>
              <a:gd name="connsiteY7619" fmla="*/ 309934 h 4367670"/>
              <a:gd name="connsiteX7620" fmla="*/ 3338321 w 5365133"/>
              <a:gd name="connsiteY7620" fmla="*/ 309932 h 4367670"/>
              <a:gd name="connsiteX7621" fmla="*/ 3278056 w 5365133"/>
              <a:gd name="connsiteY7621" fmla="*/ 338629 h 4367670"/>
              <a:gd name="connsiteX7622" fmla="*/ 3338321 w 5365133"/>
              <a:gd name="connsiteY7622" fmla="*/ 309932 h 4367670"/>
              <a:gd name="connsiteX7623" fmla="*/ 3232140 w 5365133"/>
              <a:gd name="connsiteY7623" fmla="*/ 309932 h 4367670"/>
              <a:gd name="connsiteX7624" fmla="*/ 3243619 w 5365133"/>
              <a:gd name="connsiteY7624" fmla="*/ 309932 h 4367670"/>
              <a:gd name="connsiteX7625" fmla="*/ 3237880 w 5365133"/>
              <a:gd name="connsiteY7625" fmla="*/ 321411 h 4367670"/>
              <a:gd name="connsiteX7626" fmla="*/ 3232140 w 5365133"/>
              <a:gd name="connsiteY7626" fmla="*/ 309932 h 4367670"/>
              <a:gd name="connsiteX7627" fmla="*/ 3034129 w 5365133"/>
              <a:gd name="connsiteY7627" fmla="*/ 309932 h 4367670"/>
              <a:gd name="connsiteX7628" fmla="*/ 2979603 w 5365133"/>
              <a:gd name="connsiteY7628" fmla="*/ 338629 h 4367670"/>
              <a:gd name="connsiteX7629" fmla="*/ 3034129 w 5365133"/>
              <a:gd name="connsiteY7629" fmla="*/ 309932 h 4367670"/>
              <a:gd name="connsiteX7630" fmla="*/ 2925079 w 5365133"/>
              <a:gd name="connsiteY7630" fmla="*/ 309932 h 4367670"/>
              <a:gd name="connsiteX7631" fmla="*/ 2937516 w 5365133"/>
              <a:gd name="connsiteY7631" fmla="*/ 309932 h 4367670"/>
              <a:gd name="connsiteX7632" fmla="*/ 2943733 w 5365133"/>
              <a:gd name="connsiteY7632" fmla="*/ 321411 h 4367670"/>
              <a:gd name="connsiteX7633" fmla="*/ 2949951 w 5365133"/>
              <a:gd name="connsiteY7633" fmla="*/ 309932 h 4367670"/>
              <a:gd name="connsiteX7634" fmla="*/ 2949951 w 5365133"/>
              <a:gd name="connsiteY7634" fmla="*/ 332890 h 4367670"/>
              <a:gd name="connsiteX7635" fmla="*/ 2931297 w 5365133"/>
              <a:gd name="connsiteY7635" fmla="*/ 321411 h 4367670"/>
              <a:gd name="connsiteX7636" fmla="*/ 2925079 w 5365133"/>
              <a:gd name="connsiteY7636" fmla="*/ 309932 h 4367670"/>
              <a:gd name="connsiteX7637" fmla="*/ 2919340 w 5365133"/>
              <a:gd name="connsiteY7637" fmla="*/ 309932 h 4367670"/>
              <a:gd name="connsiteX7638" fmla="*/ 2913600 w 5365133"/>
              <a:gd name="connsiteY7638" fmla="*/ 332890 h 4367670"/>
              <a:gd name="connsiteX7639" fmla="*/ 2913600 w 5365133"/>
              <a:gd name="connsiteY7639" fmla="*/ 327150 h 4367670"/>
              <a:gd name="connsiteX7640" fmla="*/ 2907861 w 5365133"/>
              <a:gd name="connsiteY7640" fmla="*/ 338629 h 4367670"/>
              <a:gd name="connsiteX7641" fmla="*/ 2902121 w 5365133"/>
              <a:gd name="connsiteY7641" fmla="*/ 327150 h 4367670"/>
              <a:gd name="connsiteX7642" fmla="*/ 2884903 w 5365133"/>
              <a:gd name="connsiteY7642" fmla="*/ 338629 h 4367670"/>
              <a:gd name="connsiteX7643" fmla="*/ 2902121 w 5365133"/>
              <a:gd name="connsiteY7643" fmla="*/ 315672 h 4367670"/>
              <a:gd name="connsiteX7644" fmla="*/ 2907861 w 5365133"/>
              <a:gd name="connsiteY7644" fmla="*/ 327150 h 4367670"/>
              <a:gd name="connsiteX7645" fmla="*/ 2919340 w 5365133"/>
              <a:gd name="connsiteY7645" fmla="*/ 309932 h 4367670"/>
              <a:gd name="connsiteX7646" fmla="*/ 3631034 w 5365133"/>
              <a:gd name="connsiteY7646" fmla="*/ 304194 h 4367670"/>
              <a:gd name="connsiteX7647" fmla="*/ 3602336 w 5365133"/>
              <a:gd name="connsiteY7647" fmla="*/ 315673 h 4367670"/>
              <a:gd name="connsiteX7648" fmla="*/ 3631034 w 5365133"/>
              <a:gd name="connsiteY7648" fmla="*/ 304194 h 4367670"/>
              <a:gd name="connsiteX7649" fmla="*/ 3039868 w 5365133"/>
              <a:gd name="connsiteY7649" fmla="*/ 304192 h 4367670"/>
              <a:gd name="connsiteX7650" fmla="*/ 3045608 w 5365133"/>
              <a:gd name="connsiteY7650" fmla="*/ 304192 h 4367670"/>
              <a:gd name="connsiteX7651" fmla="*/ 3034129 w 5365133"/>
              <a:gd name="connsiteY7651" fmla="*/ 315672 h 4367670"/>
              <a:gd name="connsiteX7652" fmla="*/ 3039868 w 5365133"/>
              <a:gd name="connsiteY7652" fmla="*/ 304192 h 4367670"/>
              <a:gd name="connsiteX7653" fmla="*/ 4579144 w 5365133"/>
              <a:gd name="connsiteY7653" fmla="*/ 300365 h 4367670"/>
              <a:gd name="connsiteX7654" fmla="*/ 4577368 w 5365133"/>
              <a:gd name="connsiteY7654" fmla="*/ 302943 h 4367670"/>
              <a:gd name="connsiteX7655" fmla="*/ 4577368 w 5365133"/>
              <a:gd name="connsiteY7655" fmla="*/ 300957 h 4367670"/>
              <a:gd name="connsiteX7656" fmla="*/ 4348466 w 5365133"/>
              <a:gd name="connsiteY7656" fmla="*/ 298452 h 4367670"/>
              <a:gd name="connsiteX7657" fmla="*/ 4354206 w 5365133"/>
              <a:gd name="connsiteY7657" fmla="*/ 304192 h 4367670"/>
              <a:gd name="connsiteX7658" fmla="*/ 4348466 w 5365133"/>
              <a:gd name="connsiteY7658" fmla="*/ 309932 h 4367670"/>
              <a:gd name="connsiteX7659" fmla="*/ 4348466 w 5365133"/>
              <a:gd name="connsiteY7659" fmla="*/ 298452 h 4367670"/>
              <a:gd name="connsiteX7660" fmla="*/ 4282463 w 5365133"/>
              <a:gd name="connsiteY7660" fmla="*/ 298452 h 4367670"/>
              <a:gd name="connsiteX7661" fmla="*/ 4276724 w 5365133"/>
              <a:gd name="connsiteY7661" fmla="*/ 315672 h 4367670"/>
              <a:gd name="connsiteX7662" fmla="*/ 4259506 w 5365133"/>
              <a:gd name="connsiteY7662" fmla="*/ 304192 h 4367670"/>
              <a:gd name="connsiteX7663" fmla="*/ 4270984 w 5365133"/>
              <a:gd name="connsiteY7663" fmla="*/ 304192 h 4367670"/>
              <a:gd name="connsiteX7664" fmla="*/ 4282463 w 5365133"/>
              <a:gd name="connsiteY7664" fmla="*/ 298452 h 4367670"/>
              <a:gd name="connsiteX7665" fmla="*/ 3363577 w 5365133"/>
              <a:gd name="connsiteY7665" fmla="*/ 298452 h 4367670"/>
              <a:gd name="connsiteX7666" fmla="*/ 3369889 w 5365133"/>
              <a:gd name="connsiteY7666" fmla="*/ 298452 h 4367670"/>
              <a:gd name="connsiteX7667" fmla="*/ 3369889 w 5365133"/>
              <a:gd name="connsiteY7667" fmla="*/ 304192 h 4367670"/>
              <a:gd name="connsiteX7668" fmla="*/ 3369889 w 5365133"/>
              <a:gd name="connsiteY7668" fmla="*/ 309932 h 4367670"/>
              <a:gd name="connsiteX7669" fmla="*/ 3344636 w 5365133"/>
              <a:gd name="connsiteY7669" fmla="*/ 309932 h 4367670"/>
              <a:gd name="connsiteX7670" fmla="*/ 3363577 w 5365133"/>
              <a:gd name="connsiteY7670" fmla="*/ 298452 h 4367670"/>
              <a:gd name="connsiteX7671" fmla="*/ 3011171 w 5365133"/>
              <a:gd name="connsiteY7671" fmla="*/ 298452 h 4367670"/>
              <a:gd name="connsiteX7672" fmla="*/ 3011171 w 5365133"/>
              <a:gd name="connsiteY7672" fmla="*/ 304192 h 4367670"/>
              <a:gd name="connsiteX7673" fmla="*/ 2991800 w 5365133"/>
              <a:gd name="connsiteY7673" fmla="*/ 321411 h 4367670"/>
              <a:gd name="connsiteX7674" fmla="*/ 2985343 w 5365133"/>
              <a:gd name="connsiteY7674" fmla="*/ 315672 h 4367670"/>
              <a:gd name="connsiteX7675" fmla="*/ 3011171 w 5365133"/>
              <a:gd name="connsiteY7675" fmla="*/ 298452 h 4367670"/>
              <a:gd name="connsiteX7676" fmla="*/ 4414471 w 5365133"/>
              <a:gd name="connsiteY7676" fmla="*/ 292715 h 4367670"/>
              <a:gd name="connsiteX7677" fmla="*/ 4414471 w 5365133"/>
              <a:gd name="connsiteY7677" fmla="*/ 304194 h 4367670"/>
              <a:gd name="connsiteX7678" fmla="*/ 4408732 w 5365133"/>
              <a:gd name="connsiteY7678" fmla="*/ 298454 h 4367670"/>
              <a:gd name="connsiteX7679" fmla="*/ 4408732 w 5365133"/>
              <a:gd name="connsiteY7679" fmla="*/ 309934 h 4367670"/>
              <a:gd name="connsiteX7680" fmla="*/ 4391513 w 5365133"/>
              <a:gd name="connsiteY7680" fmla="*/ 304194 h 4367670"/>
              <a:gd name="connsiteX7681" fmla="*/ 4414471 w 5365133"/>
              <a:gd name="connsiteY7681" fmla="*/ 292715 h 4367670"/>
              <a:gd name="connsiteX7682" fmla="*/ 3155913 w 5365133"/>
              <a:gd name="connsiteY7682" fmla="*/ 292714 h 4367670"/>
              <a:gd name="connsiteX7683" fmla="*/ 3146766 w 5365133"/>
              <a:gd name="connsiteY7683" fmla="*/ 298452 h 4367670"/>
              <a:gd name="connsiteX7684" fmla="*/ 3146766 w 5365133"/>
              <a:gd name="connsiteY7684" fmla="*/ 296839 h 4367670"/>
              <a:gd name="connsiteX7685" fmla="*/ 3155913 w 5365133"/>
              <a:gd name="connsiteY7685" fmla="*/ 292714 h 4367670"/>
              <a:gd name="connsiteX7686" fmla="*/ 4367601 w 5365133"/>
              <a:gd name="connsiteY7686" fmla="*/ 286976 h 4367670"/>
              <a:gd name="connsiteX7687" fmla="*/ 4374296 w 5365133"/>
              <a:gd name="connsiteY7687" fmla="*/ 298454 h 4367670"/>
              <a:gd name="connsiteX7688" fmla="*/ 4354207 w 5365133"/>
              <a:gd name="connsiteY7688" fmla="*/ 292715 h 4367670"/>
              <a:gd name="connsiteX7689" fmla="*/ 4367601 w 5365133"/>
              <a:gd name="connsiteY7689" fmla="*/ 286976 h 4367670"/>
              <a:gd name="connsiteX7690" fmla="*/ 4121758 w 5365133"/>
              <a:gd name="connsiteY7690" fmla="*/ 286976 h 4367670"/>
              <a:gd name="connsiteX7691" fmla="*/ 4087321 w 5365133"/>
              <a:gd name="connsiteY7691" fmla="*/ 304194 h 4367670"/>
              <a:gd name="connsiteX7692" fmla="*/ 4087321 w 5365133"/>
              <a:gd name="connsiteY7692" fmla="*/ 298454 h 4367670"/>
              <a:gd name="connsiteX7693" fmla="*/ 4121758 w 5365133"/>
              <a:gd name="connsiteY7693" fmla="*/ 286976 h 4367670"/>
              <a:gd name="connsiteX7694" fmla="*/ 3338321 w 5365133"/>
              <a:gd name="connsiteY7694" fmla="*/ 286976 h 4367670"/>
              <a:gd name="connsiteX7695" fmla="*/ 3338321 w 5365133"/>
              <a:gd name="connsiteY7695" fmla="*/ 292715 h 4367670"/>
              <a:gd name="connsiteX7696" fmla="*/ 3344061 w 5365133"/>
              <a:gd name="connsiteY7696" fmla="*/ 292715 h 4367670"/>
              <a:gd name="connsiteX7697" fmla="*/ 3326842 w 5365133"/>
              <a:gd name="connsiteY7697" fmla="*/ 304194 h 4367670"/>
              <a:gd name="connsiteX7698" fmla="*/ 3326842 w 5365133"/>
              <a:gd name="connsiteY7698" fmla="*/ 298454 h 4367670"/>
              <a:gd name="connsiteX7699" fmla="*/ 3338321 w 5365133"/>
              <a:gd name="connsiteY7699" fmla="*/ 286976 h 4367670"/>
              <a:gd name="connsiteX7700" fmla="*/ 4437429 w 5365133"/>
              <a:gd name="connsiteY7700" fmla="*/ 286974 h 4367670"/>
              <a:gd name="connsiteX7701" fmla="*/ 4431689 w 5365133"/>
              <a:gd name="connsiteY7701" fmla="*/ 298452 h 4367670"/>
              <a:gd name="connsiteX7702" fmla="*/ 4437429 w 5365133"/>
              <a:gd name="connsiteY7702" fmla="*/ 286974 h 4367670"/>
              <a:gd name="connsiteX7703" fmla="*/ 3086801 w 5365133"/>
              <a:gd name="connsiteY7703" fmla="*/ 285629 h 4367670"/>
              <a:gd name="connsiteX7704" fmla="*/ 3094393 w 5365133"/>
              <a:gd name="connsiteY7704" fmla="*/ 286974 h 4367670"/>
              <a:gd name="connsiteX7705" fmla="*/ 3051346 w 5365133"/>
              <a:gd name="connsiteY7705" fmla="*/ 304192 h 4367670"/>
              <a:gd name="connsiteX7706" fmla="*/ 3086801 w 5365133"/>
              <a:gd name="connsiteY7706" fmla="*/ 285629 h 4367670"/>
              <a:gd name="connsiteX7707" fmla="*/ 4391513 w 5365133"/>
              <a:gd name="connsiteY7707" fmla="*/ 281236 h 4367670"/>
              <a:gd name="connsiteX7708" fmla="*/ 4391513 w 5365133"/>
              <a:gd name="connsiteY7708" fmla="*/ 292715 h 4367670"/>
              <a:gd name="connsiteX7709" fmla="*/ 4380034 w 5365133"/>
              <a:gd name="connsiteY7709" fmla="*/ 298454 h 4367670"/>
              <a:gd name="connsiteX7710" fmla="*/ 4391513 w 5365133"/>
              <a:gd name="connsiteY7710" fmla="*/ 281236 h 4367670"/>
              <a:gd name="connsiteX7711" fmla="*/ 3398585 w 5365133"/>
              <a:gd name="connsiteY7711" fmla="*/ 281234 h 4367670"/>
              <a:gd name="connsiteX7712" fmla="*/ 3398585 w 5365133"/>
              <a:gd name="connsiteY7712" fmla="*/ 286974 h 4367670"/>
              <a:gd name="connsiteX7713" fmla="*/ 3387106 w 5365133"/>
              <a:gd name="connsiteY7713" fmla="*/ 286974 h 4367670"/>
              <a:gd name="connsiteX7714" fmla="*/ 3392845 w 5365133"/>
              <a:gd name="connsiteY7714" fmla="*/ 286974 h 4367670"/>
              <a:gd name="connsiteX7715" fmla="*/ 3398585 w 5365133"/>
              <a:gd name="connsiteY7715" fmla="*/ 281234 h 4367670"/>
              <a:gd name="connsiteX7716" fmla="*/ 4218688 w 5365133"/>
              <a:gd name="connsiteY7716" fmla="*/ 273123 h 4367670"/>
              <a:gd name="connsiteX7717" fmla="*/ 4218688 w 5365133"/>
              <a:gd name="connsiteY7717" fmla="*/ 285052 h 4367670"/>
              <a:gd name="connsiteX7718" fmla="*/ 4218688 w 5365133"/>
              <a:gd name="connsiteY7718" fmla="*/ 291016 h 4367670"/>
              <a:gd name="connsiteX7719" fmla="*/ 4224665 w 5365133"/>
              <a:gd name="connsiteY7719" fmla="*/ 296980 h 4367670"/>
              <a:gd name="connsiteX7720" fmla="*/ 4200753 w 5365133"/>
              <a:gd name="connsiteY7720" fmla="*/ 320836 h 4367670"/>
              <a:gd name="connsiteX7721" fmla="*/ 4194775 w 5365133"/>
              <a:gd name="connsiteY7721" fmla="*/ 338727 h 4367670"/>
              <a:gd name="connsiteX7722" fmla="*/ 4200753 w 5365133"/>
              <a:gd name="connsiteY7722" fmla="*/ 344692 h 4367670"/>
              <a:gd name="connsiteX7723" fmla="*/ 4182819 w 5365133"/>
              <a:gd name="connsiteY7723" fmla="*/ 350656 h 4367670"/>
              <a:gd name="connsiteX7724" fmla="*/ 4176841 w 5365133"/>
              <a:gd name="connsiteY7724" fmla="*/ 320836 h 4367670"/>
              <a:gd name="connsiteX7725" fmla="*/ 4188796 w 5365133"/>
              <a:gd name="connsiteY7725" fmla="*/ 320836 h 4367670"/>
              <a:gd name="connsiteX7726" fmla="*/ 4182819 w 5365133"/>
              <a:gd name="connsiteY7726" fmla="*/ 314873 h 4367670"/>
              <a:gd name="connsiteX7727" fmla="*/ 4194775 w 5365133"/>
              <a:gd name="connsiteY7727" fmla="*/ 302943 h 4367670"/>
              <a:gd name="connsiteX7728" fmla="*/ 4170863 w 5365133"/>
              <a:gd name="connsiteY7728" fmla="*/ 308907 h 4367670"/>
              <a:gd name="connsiteX7729" fmla="*/ 4176841 w 5365133"/>
              <a:gd name="connsiteY7729" fmla="*/ 332763 h 4367670"/>
              <a:gd name="connsiteX7730" fmla="*/ 4170863 w 5365133"/>
              <a:gd name="connsiteY7730" fmla="*/ 338727 h 4367670"/>
              <a:gd name="connsiteX7731" fmla="*/ 4170863 w 5365133"/>
              <a:gd name="connsiteY7731" fmla="*/ 320836 h 4367670"/>
              <a:gd name="connsiteX7732" fmla="*/ 4164885 w 5365133"/>
              <a:gd name="connsiteY7732" fmla="*/ 308907 h 4367670"/>
              <a:gd name="connsiteX7733" fmla="*/ 4158906 w 5365133"/>
              <a:gd name="connsiteY7733" fmla="*/ 314873 h 4367670"/>
              <a:gd name="connsiteX7734" fmla="*/ 4158906 w 5365133"/>
              <a:gd name="connsiteY7734" fmla="*/ 326800 h 4367670"/>
              <a:gd name="connsiteX7735" fmla="*/ 4163091 w 5365133"/>
              <a:gd name="connsiteY7735" fmla="*/ 327993 h 4367670"/>
              <a:gd name="connsiteX7736" fmla="*/ 4158906 w 5365133"/>
              <a:gd name="connsiteY7736" fmla="*/ 344692 h 4367670"/>
              <a:gd name="connsiteX7737" fmla="*/ 4164885 w 5365133"/>
              <a:gd name="connsiteY7737" fmla="*/ 356619 h 4367670"/>
              <a:gd name="connsiteX7738" fmla="*/ 4152928 w 5365133"/>
              <a:gd name="connsiteY7738" fmla="*/ 338727 h 4367670"/>
              <a:gd name="connsiteX7739" fmla="*/ 4158906 w 5365133"/>
              <a:gd name="connsiteY7739" fmla="*/ 350656 h 4367670"/>
              <a:gd name="connsiteX7740" fmla="*/ 4129016 w 5365133"/>
              <a:gd name="connsiteY7740" fmla="*/ 362583 h 4367670"/>
              <a:gd name="connsiteX7741" fmla="*/ 4134994 w 5365133"/>
              <a:gd name="connsiteY7741" fmla="*/ 350656 h 4367670"/>
              <a:gd name="connsiteX7742" fmla="*/ 4111083 w 5365133"/>
              <a:gd name="connsiteY7742" fmla="*/ 374512 h 4367670"/>
              <a:gd name="connsiteX7743" fmla="*/ 4123039 w 5365133"/>
              <a:gd name="connsiteY7743" fmla="*/ 380476 h 4367670"/>
              <a:gd name="connsiteX7744" fmla="*/ 4123039 w 5365133"/>
              <a:gd name="connsiteY7744" fmla="*/ 368549 h 4367670"/>
              <a:gd name="connsiteX7745" fmla="*/ 4129016 w 5365133"/>
              <a:gd name="connsiteY7745" fmla="*/ 380476 h 4367670"/>
              <a:gd name="connsiteX7746" fmla="*/ 4134994 w 5365133"/>
              <a:gd name="connsiteY7746" fmla="*/ 376501 h 4367670"/>
              <a:gd name="connsiteX7747" fmla="*/ 4134994 w 5365133"/>
              <a:gd name="connsiteY7747" fmla="*/ 380476 h 4367670"/>
              <a:gd name="connsiteX7748" fmla="*/ 4146950 w 5365133"/>
              <a:gd name="connsiteY7748" fmla="*/ 386440 h 4367670"/>
              <a:gd name="connsiteX7749" fmla="*/ 4146950 w 5365133"/>
              <a:gd name="connsiteY7749" fmla="*/ 374512 h 4367670"/>
              <a:gd name="connsiteX7750" fmla="*/ 4155227 w 5365133"/>
              <a:gd name="connsiteY7750" fmla="*/ 378641 h 4367670"/>
              <a:gd name="connsiteX7751" fmla="*/ 4158364 w 5365133"/>
              <a:gd name="connsiteY7751" fmla="*/ 384272 h 4367670"/>
              <a:gd name="connsiteX7752" fmla="*/ 4157413 w 5365133"/>
              <a:gd name="connsiteY7752" fmla="*/ 390913 h 4367670"/>
              <a:gd name="connsiteX7753" fmla="*/ 4146950 w 5365133"/>
              <a:gd name="connsiteY7753" fmla="*/ 392403 h 4367670"/>
              <a:gd name="connsiteX7754" fmla="*/ 4158906 w 5365133"/>
              <a:gd name="connsiteY7754" fmla="*/ 410296 h 4367670"/>
              <a:gd name="connsiteX7755" fmla="*/ 4160401 w 5365133"/>
              <a:gd name="connsiteY7755" fmla="*/ 387931 h 4367670"/>
              <a:gd name="connsiteX7756" fmla="*/ 4158364 w 5365133"/>
              <a:gd name="connsiteY7756" fmla="*/ 384272 h 4367670"/>
              <a:gd name="connsiteX7757" fmla="*/ 4158906 w 5365133"/>
              <a:gd name="connsiteY7757" fmla="*/ 380476 h 4367670"/>
              <a:gd name="connsiteX7758" fmla="*/ 4155227 w 5365133"/>
              <a:gd name="connsiteY7758" fmla="*/ 378641 h 4367670"/>
              <a:gd name="connsiteX7759" fmla="*/ 4152928 w 5365133"/>
              <a:gd name="connsiteY7759" fmla="*/ 374512 h 4367670"/>
              <a:gd name="connsiteX7760" fmla="*/ 4164885 w 5365133"/>
              <a:gd name="connsiteY7760" fmla="*/ 368549 h 4367670"/>
              <a:gd name="connsiteX7761" fmla="*/ 4164885 w 5365133"/>
              <a:gd name="connsiteY7761" fmla="*/ 380476 h 4367670"/>
              <a:gd name="connsiteX7762" fmla="*/ 4182819 w 5365133"/>
              <a:gd name="connsiteY7762" fmla="*/ 374512 h 4367670"/>
              <a:gd name="connsiteX7763" fmla="*/ 4200753 w 5365133"/>
              <a:gd name="connsiteY7763" fmla="*/ 368549 h 4367670"/>
              <a:gd name="connsiteX7764" fmla="*/ 4176841 w 5365133"/>
              <a:gd name="connsiteY7764" fmla="*/ 386440 h 4367670"/>
              <a:gd name="connsiteX7765" fmla="*/ 4194775 w 5365133"/>
              <a:gd name="connsiteY7765" fmla="*/ 392403 h 4367670"/>
              <a:gd name="connsiteX7766" fmla="*/ 4212710 w 5365133"/>
              <a:gd name="connsiteY7766" fmla="*/ 392403 h 4367670"/>
              <a:gd name="connsiteX7767" fmla="*/ 4218688 w 5365133"/>
              <a:gd name="connsiteY7767" fmla="*/ 380476 h 4367670"/>
              <a:gd name="connsiteX7768" fmla="*/ 4216538 w 5365133"/>
              <a:gd name="connsiteY7768" fmla="*/ 377717 h 4367670"/>
              <a:gd name="connsiteX7769" fmla="*/ 4210719 w 5365133"/>
              <a:gd name="connsiteY7769" fmla="*/ 375936 h 4367670"/>
              <a:gd name="connsiteX7770" fmla="*/ 4213408 w 5365133"/>
              <a:gd name="connsiteY7770" fmla="*/ 373055 h 4367670"/>
              <a:gd name="connsiteX7771" fmla="*/ 4212710 w 5365133"/>
              <a:gd name="connsiteY7771" fmla="*/ 362583 h 4367670"/>
              <a:gd name="connsiteX7772" fmla="*/ 4218688 w 5365133"/>
              <a:gd name="connsiteY7772" fmla="*/ 356619 h 4367670"/>
              <a:gd name="connsiteX7773" fmla="*/ 4206731 w 5365133"/>
              <a:gd name="connsiteY7773" fmla="*/ 368549 h 4367670"/>
              <a:gd name="connsiteX7774" fmla="*/ 4200753 w 5365133"/>
              <a:gd name="connsiteY7774" fmla="*/ 350656 h 4367670"/>
              <a:gd name="connsiteX7775" fmla="*/ 4224665 w 5365133"/>
              <a:gd name="connsiteY7775" fmla="*/ 344692 h 4367670"/>
              <a:gd name="connsiteX7776" fmla="*/ 4230643 w 5365133"/>
              <a:gd name="connsiteY7776" fmla="*/ 356619 h 4367670"/>
              <a:gd name="connsiteX7777" fmla="*/ 4218688 w 5365133"/>
              <a:gd name="connsiteY7777" fmla="*/ 362583 h 4367670"/>
              <a:gd name="connsiteX7778" fmla="*/ 4236621 w 5365133"/>
              <a:gd name="connsiteY7778" fmla="*/ 356619 h 4367670"/>
              <a:gd name="connsiteX7779" fmla="*/ 4248578 w 5365133"/>
              <a:gd name="connsiteY7779" fmla="*/ 368549 h 4367670"/>
              <a:gd name="connsiteX7780" fmla="*/ 4248578 w 5365133"/>
              <a:gd name="connsiteY7780" fmla="*/ 350656 h 4367670"/>
              <a:gd name="connsiteX7781" fmla="*/ 4251537 w 5365133"/>
              <a:gd name="connsiteY7781" fmla="*/ 346521 h 4367670"/>
              <a:gd name="connsiteX7782" fmla="*/ 4253267 w 5365133"/>
              <a:gd name="connsiteY7782" fmla="*/ 345351 h 4367670"/>
              <a:gd name="connsiteX7783" fmla="*/ 4260532 w 5365133"/>
              <a:gd name="connsiteY7783" fmla="*/ 344692 h 4367670"/>
              <a:gd name="connsiteX7784" fmla="*/ 4255303 w 5365133"/>
              <a:gd name="connsiteY7784" fmla="*/ 364821 h 4367670"/>
              <a:gd name="connsiteX7785" fmla="*/ 4255156 w 5365133"/>
              <a:gd name="connsiteY7785" fmla="*/ 367889 h 4367670"/>
              <a:gd name="connsiteX7786" fmla="*/ 4254556 w 5365133"/>
              <a:gd name="connsiteY7786" fmla="*/ 368549 h 4367670"/>
              <a:gd name="connsiteX7787" fmla="*/ 4255111 w 5365133"/>
              <a:gd name="connsiteY7787" fmla="*/ 368825 h 4367670"/>
              <a:gd name="connsiteX7788" fmla="*/ 4254556 w 5365133"/>
              <a:gd name="connsiteY7788" fmla="*/ 380476 h 4367670"/>
              <a:gd name="connsiteX7789" fmla="*/ 4266510 w 5365133"/>
              <a:gd name="connsiteY7789" fmla="*/ 374512 h 4367670"/>
              <a:gd name="connsiteX7790" fmla="*/ 4255111 w 5365133"/>
              <a:gd name="connsiteY7790" fmla="*/ 368825 h 4367670"/>
              <a:gd name="connsiteX7791" fmla="*/ 4255156 w 5365133"/>
              <a:gd name="connsiteY7791" fmla="*/ 367889 h 4367670"/>
              <a:gd name="connsiteX7792" fmla="*/ 4262027 w 5365133"/>
              <a:gd name="connsiteY7792" fmla="*/ 360347 h 4367670"/>
              <a:gd name="connsiteX7793" fmla="*/ 4260532 w 5365133"/>
              <a:gd name="connsiteY7793" fmla="*/ 356619 h 4367670"/>
              <a:gd name="connsiteX7794" fmla="*/ 4290423 w 5365133"/>
              <a:gd name="connsiteY7794" fmla="*/ 344692 h 4367670"/>
              <a:gd name="connsiteX7795" fmla="*/ 4302379 w 5365133"/>
              <a:gd name="connsiteY7795" fmla="*/ 356619 h 4367670"/>
              <a:gd name="connsiteX7796" fmla="*/ 4302379 w 5365133"/>
              <a:gd name="connsiteY7796" fmla="*/ 344692 h 4367670"/>
              <a:gd name="connsiteX7797" fmla="*/ 4314335 w 5365133"/>
              <a:gd name="connsiteY7797" fmla="*/ 350656 h 4367670"/>
              <a:gd name="connsiteX7798" fmla="*/ 4308357 w 5365133"/>
              <a:gd name="connsiteY7798" fmla="*/ 362583 h 4367670"/>
              <a:gd name="connsiteX7799" fmla="*/ 4320313 w 5365133"/>
              <a:gd name="connsiteY7799" fmla="*/ 362583 h 4367670"/>
              <a:gd name="connsiteX7800" fmla="*/ 4320313 w 5365133"/>
              <a:gd name="connsiteY7800" fmla="*/ 344692 h 4367670"/>
              <a:gd name="connsiteX7801" fmla="*/ 4308357 w 5365133"/>
              <a:gd name="connsiteY7801" fmla="*/ 338727 h 4367670"/>
              <a:gd name="connsiteX7802" fmla="*/ 4326291 w 5365133"/>
              <a:gd name="connsiteY7802" fmla="*/ 332763 h 4367670"/>
              <a:gd name="connsiteX7803" fmla="*/ 4332270 w 5365133"/>
              <a:gd name="connsiteY7803" fmla="*/ 344692 h 4367670"/>
              <a:gd name="connsiteX7804" fmla="*/ 4326291 w 5365133"/>
              <a:gd name="connsiteY7804" fmla="*/ 350656 h 4367670"/>
              <a:gd name="connsiteX7805" fmla="*/ 4338248 w 5365133"/>
              <a:gd name="connsiteY7805" fmla="*/ 356619 h 4367670"/>
              <a:gd name="connsiteX7806" fmla="*/ 4350203 w 5365133"/>
              <a:gd name="connsiteY7806" fmla="*/ 338727 h 4367670"/>
              <a:gd name="connsiteX7807" fmla="*/ 4350203 w 5365133"/>
              <a:gd name="connsiteY7807" fmla="*/ 344692 h 4367670"/>
              <a:gd name="connsiteX7808" fmla="*/ 4356181 w 5365133"/>
              <a:gd name="connsiteY7808" fmla="*/ 344692 h 4367670"/>
              <a:gd name="connsiteX7809" fmla="*/ 4344225 w 5365133"/>
              <a:gd name="connsiteY7809" fmla="*/ 356619 h 4367670"/>
              <a:gd name="connsiteX7810" fmla="*/ 4356181 w 5365133"/>
              <a:gd name="connsiteY7810" fmla="*/ 356619 h 4367670"/>
              <a:gd name="connsiteX7811" fmla="*/ 4362159 w 5365133"/>
              <a:gd name="connsiteY7811" fmla="*/ 338727 h 4367670"/>
              <a:gd name="connsiteX7812" fmla="*/ 4374116 w 5365133"/>
              <a:gd name="connsiteY7812" fmla="*/ 332763 h 4367670"/>
              <a:gd name="connsiteX7813" fmla="*/ 4374116 w 5365133"/>
              <a:gd name="connsiteY7813" fmla="*/ 338727 h 4367670"/>
              <a:gd name="connsiteX7814" fmla="*/ 4392048 w 5365133"/>
              <a:gd name="connsiteY7814" fmla="*/ 332763 h 4367670"/>
              <a:gd name="connsiteX7815" fmla="*/ 4398026 w 5365133"/>
              <a:gd name="connsiteY7815" fmla="*/ 344692 h 4367670"/>
              <a:gd name="connsiteX7816" fmla="*/ 4386070 w 5365133"/>
              <a:gd name="connsiteY7816" fmla="*/ 350656 h 4367670"/>
              <a:gd name="connsiteX7817" fmla="*/ 4380094 w 5365133"/>
              <a:gd name="connsiteY7817" fmla="*/ 344692 h 4367670"/>
              <a:gd name="connsiteX7818" fmla="*/ 4368137 w 5365133"/>
              <a:gd name="connsiteY7818" fmla="*/ 350656 h 4367670"/>
              <a:gd name="connsiteX7819" fmla="*/ 4368137 w 5365133"/>
              <a:gd name="connsiteY7819" fmla="*/ 368549 h 4367670"/>
              <a:gd name="connsiteX7820" fmla="*/ 4386070 w 5365133"/>
              <a:gd name="connsiteY7820" fmla="*/ 362583 h 4367670"/>
              <a:gd name="connsiteX7821" fmla="*/ 4392048 w 5365133"/>
              <a:gd name="connsiteY7821" fmla="*/ 362583 h 4367670"/>
              <a:gd name="connsiteX7822" fmla="*/ 4404005 w 5365133"/>
              <a:gd name="connsiteY7822" fmla="*/ 344692 h 4367670"/>
              <a:gd name="connsiteX7823" fmla="*/ 4421939 w 5365133"/>
              <a:gd name="connsiteY7823" fmla="*/ 338727 h 4367670"/>
              <a:gd name="connsiteX7824" fmla="*/ 4427917 w 5365133"/>
              <a:gd name="connsiteY7824" fmla="*/ 350656 h 4367670"/>
              <a:gd name="connsiteX7825" fmla="*/ 4439873 w 5365133"/>
              <a:gd name="connsiteY7825" fmla="*/ 350656 h 4367670"/>
              <a:gd name="connsiteX7826" fmla="*/ 4433895 w 5365133"/>
              <a:gd name="connsiteY7826" fmla="*/ 350656 h 4367670"/>
              <a:gd name="connsiteX7827" fmla="*/ 4433895 w 5365133"/>
              <a:gd name="connsiteY7827" fmla="*/ 356619 h 4367670"/>
              <a:gd name="connsiteX7828" fmla="*/ 4451830 w 5365133"/>
              <a:gd name="connsiteY7828" fmla="*/ 350656 h 4367670"/>
              <a:gd name="connsiteX7829" fmla="*/ 4439873 w 5365133"/>
              <a:gd name="connsiteY7829" fmla="*/ 338727 h 4367670"/>
              <a:gd name="connsiteX7830" fmla="*/ 4475741 w 5365133"/>
              <a:gd name="connsiteY7830" fmla="*/ 320836 h 4367670"/>
              <a:gd name="connsiteX7831" fmla="*/ 4469763 w 5365133"/>
              <a:gd name="connsiteY7831" fmla="*/ 326800 h 4367670"/>
              <a:gd name="connsiteX7832" fmla="*/ 4481719 w 5365133"/>
              <a:gd name="connsiteY7832" fmla="*/ 326800 h 4367670"/>
              <a:gd name="connsiteX7833" fmla="*/ 4481719 w 5365133"/>
              <a:gd name="connsiteY7833" fmla="*/ 320836 h 4367670"/>
              <a:gd name="connsiteX7834" fmla="*/ 4505632 w 5365133"/>
              <a:gd name="connsiteY7834" fmla="*/ 314873 h 4367670"/>
              <a:gd name="connsiteX7835" fmla="*/ 4505632 w 5365133"/>
              <a:gd name="connsiteY7835" fmla="*/ 320836 h 4367670"/>
              <a:gd name="connsiteX7836" fmla="*/ 4523565 w 5365133"/>
              <a:gd name="connsiteY7836" fmla="*/ 320836 h 4367670"/>
              <a:gd name="connsiteX7837" fmla="*/ 4517586 w 5365133"/>
              <a:gd name="connsiteY7837" fmla="*/ 332763 h 4367670"/>
              <a:gd name="connsiteX7838" fmla="*/ 4511610 w 5365133"/>
              <a:gd name="connsiteY7838" fmla="*/ 326800 h 4367670"/>
              <a:gd name="connsiteX7839" fmla="*/ 4344225 w 5365133"/>
              <a:gd name="connsiteY7839" fmla="*/ 404332 h 4367670"/>
              <a:gd name="connsiteX7840" fmla="*/ 4362159 w 5365133"/>
              <a:gd name="connsiteY7840" fmla="*/ 404332 h 4367670"/>
              <a:gd name="connsiteX7841" fmla="*/ 4326291 w 5365133"/>
              <a:gd name="connsiteY7841" fmla="*/ 416259 h 4367670"/>
              <a:gd name="connsiteX7842" fmla="*/ 4325977 w 5365133"/>
              <a:gd name="connsiteY7842" fmla="*/ 415947 h 4367670"/>
              <a:gd name="connsiteX7843" fmla="*/ 4338248 w 5365133"/>
              <a:gd name="connsiteY7843" fmla="*/ 410296 h 4367670"/>
              <a:gd name="connsiteX7844" fmla="*/ 4325544 w 5365133"/>
              <a:gd name="connsiteY7844" fmla="*/ 415515 h 4367670"/>
              <a:gd name="connsiteX7845" fmla="*/ 4325977 w 5365133"/>
              <a:gd name="connsiteY7845" fmla="*/ 415947 h 4367670"/>
              <a:gd name="connsiteX7846" fmla="*/ 4309105 w 5365133"/>
              <a:gd name="connsiteY7846" fmla="*/ 423714 h 4367670"/>
              <a:gd name="connsiteX7847" fmla="*/ 4266510 w 5365133"/>
              <a:gd name="connsiteY7847" fmla="*/ 446080 h 4367670"/>
              <a:gd name="connsiteX7848" fmla="*/ 4368137 w 5365133"/>
              <a:gd name="connsiteY7848" fmla="*/ 410296 h 4367670"/>
              <a:gd name="connsiteX7849" fmla="*/ 4368137 w 5365133"/>
              <a:gd name="connsiteY7849" fmla="*/ 422223 h 4367670"/>
              <a:gd name="connsiteX7850" fmla="*/ 4380094 w 5365133"/>
              <a:gd name="connsiteY7850" fmla="*/ 410296 h 4367670"/>
              <a:gd name="connsiteX7851" fmla="*/ 4380094 w 5365133"/>
              <a:gd name="connsiteY7851" fmla="*/ 416259 h 4367670"/>
              <a:gd name="connsiteX7852" fmla="*/ 4404005 w 5365133"/>
              <a:gd name="connsiteY7852" fmla="*/ 416259 h 4367670"/>
              <a:gd name="connsiteX7853" fmla="*/ 4404005 w 5365133"/>
              <a:gd name="connsiteY7853" fmla="*/ 404332 h 4367670"/>
              <a:gd name="connsiteX7854" fmla="*/ 4421939 w 5365133"/>
              <a:gd name="connsiteY7854" fmla="*/ 404332 h 4367670"/>
              <a:gd name="connsiteX7855" fmla="*/ 4415961 w 5365133"/>
              <a:gd name="connsiteY7855" fmla="*/ 422223 h 4367670"/>
              <a:gd name="connsiteX7856" fmla="*/ 4356181 w 5365133"/>
              <a:gd name="connsiteY7856" fmla="*/ 440116 h 4367670"/>
              <a:gd name="connsiteX7857" fmla="*/ 4368137 w 5365133"/>
              <a:gd name="connsiteY7857" fmla="*/ 452045 h 4367670"/>
              <a:gd name="connsiteX7858" fmla="*/ 4380094 w 5365133"/>
              <a:gd name="connsiteY7858" fmla="*/ 440116 h 4367670"/>
              <a:gd name="connsiteX7859" fmla="*/ 4380805 w 5365133"/>
              <a:gd name="connsiteY7859" fmla="*/ 444373 h 4367670"/>
              <a:gd name="connsiteX7860" fmla="*/ 4369818 w 5365133"/>
              <a:gd name="connsiteY7860" fmla="*/ 453255 h 4367670"/>
              <a:gd name="connsiteX7861" fmla="*/ 4314335 w 5365133"/>
              <a:gd name="connsiteY7861" fmla="*/ 475899 h 4367670"/>
              <a:gd name="connsiteX7862" fmla="*/ 4314335 w 5365133"/>
              <a:gd name="connsiteY7862" fmla="*/ 481865 h 4367670"/>
              <a:gd name="connsiteX7863" fmla="*/ 4290423 w 5365133"/>
              <a:gd name="connsiteY7863" fmla="*/ 481865 h 4367670"/>
              <a:gd name="connsiteX7864" fmla="*/ 4218688 w 5365133"/>
              <a:gd name="connsiteY7864" fmla="*/ 523612 h 4367670"/>
              <a:gd name="connsiteX7865" fmla="*/ 4248578 w 5365133"/>
              <a:gd name="connsiteY7865" fmla="*/ 517648 h 4367670"/>
              <a:gd name="connsiteX7866" fmla="*/ 4236621 w 5365133"/>
              <a:gd name="connsiteY7866" fmla="*/ 523612 h 4367670"/>
              <a:gd name="connsiteX7867" fmla="*/ 4254556 w 5365133"/>
              <a:gd name="connsiteY7867" fmla="*/ 511685 h 4367670"/>
              <a:gd name="connsiteX7868" fmla="*/ 4254556 w 5365133"/>
              <a:gd name="connsiteY7868" fmla="*/ 517648 h 4367670"/>
              <a:gd name="connsiteX7869" fmla="*/ 4254556 w 5365133"/>
              <a:gd name="connsiteY7869" fmla="*/ 529575 h 4367670"/>
              <a:gd name="connsiteX7870" fmla="*/ 4278466 w 5365133"/>
              <a:gd name="connsiteY7870" fmla="*/ 511685 h 4367670"/>
              <a:gd name="connsiteX7871" fmla="*/ 4273673 w 5365133"/>
              <a:gd name="connsiteY7871" fmla="*/ 508056 h 4367670"/>
              <a:gd name="connsiteX7872" fmla="*/ 4284445 w 5365133"/>
              <a:gd name="connsiteY7872" fmla="*/ 505719 h 4367670"/>
              <a:gd name="connsiteX7873" fmla="*/ 4338248 w 5365133"/>
              <a:gd name="connsiteY7873" fmla="*/ 487828 h 4367670"/>
              <a:gd name="connsiteX7874" fmla="*/ 4354910 w 5365133"/>
              <a:gd name="connsiteY7874" fmla="*/ 481311 h 4367670"/>
              <a:gd name="connsiteX7875" fmla="*/ 4354925 w 5365133"/>
              <a:gd name="connsiteY7875" fmla="*/ 481311 h 4367670"/>
              <a:gd name="connsiteX7876" fmla="*/ 4354924 w 5365133"/>
              <a:gd name="connsiteY7876" fmla="*/ 481306 h 4367670"/>
              <a:gd name="connsiteX7877" fmla="*/ 4469763 w 5365133"/>
              <a:gd name="connsiteY7877" fmla="*/ 436388 h 4367670"/>
              <a:gd name="connsiteX7878" fmla="*/ 4619214 w 5365133"/>
              <a:gd name="connsiteY7878" fmla="*/ 380476 h 4367670"/>
              <a:gd name="connsiteX7879" fmla="*/ 4619214 w 5365133"/>
              <a:gd name="connsiteY7879" fmla="*/ 398368 h 4367670"/>
              <a:gd name="connsiteX7880" fmla="*/ 4607257 w 5365133"/>
              <a:gd name="connsiteY7880" fmla="*/ 392403 h 4367670"/>
              <a:gd name="connsiteX7881" fmla="*/ 4607257 w 5365133"/>
              <a:gd name="connsiteY7881" fmla="*/ 404332 h 4367670"/>
              <a:gd name="connsiteX7882" fmla="*/ 4601279 w 5365133"/>
              <a:gd name="connsiteY7882" fmla="*/ 392403 h 4367670"/>
              <a:gd name="connsiteX7883" fmla="*/ 4571390 w 5365133"/>
              <a:gd name="connsiteY7883" fmla="*/ 404332 h 4367670"/>
              <a:gd name="connsiteX7884" fmla="*/ 4583345 w 5365133"/>
              <a:gd name="connsiteY7884" fmla="*/ 410296 h 4367670"/>
              <a:gd name="connsiteX7885" fmla="*/ 4595301 w 5365133"/>
              <a:gd name="connsiteY7885" fmla="*/ 398368 h 4367670"/>
              <a:gd name="connsiteX7886" fmla="*/ 4565411 w 5365133"/>
              <a:gd name="connsiteY7886" fmla="*/ 422223 h 4367670"/>
              <a:gd name="connsiteX7887" fmla="*/ 4571390 w 5365133"/>
              <a:gd name="connsiteY7887" fmla="*/ 410296 h 4367670"/>
              <a:gd name="connsiteX7888" fmla="*/ 4551962 w 5365133"/>
              <a:gd name="connsiteY7888" fmla="*/ 424461 h 4367670"/>
              <a:gd name="connsiteX7889" fmla="*/ 4535882 w 5365133"/>
              <a:gd name="connsiteY7889" fmla="*/ 429947 h 4367670"/>
              <a:gd name="connsiteX7890" fmla="*/ 4535000 w 5365133"/>
              <a:gd name="connsiteY7890" fmla="*/ 430462 h 4367670"/>
              <a:gd name="connsiteX7891" fmla="*/ 4535000 w 5365133"/>
              <a:gd name="connsiteY7891" fmla="*/ 430249 h 4367670"/>
              <a:gd name="connsiteX7892" fmla="*/ 4523565 w 5365133"/>
              <a:gd name="connsiteY7892" fmla="*/ 434152 h 4367670"/>
              <a:gd name="connsiteX7893" fmla="*/ 4511610 w 5365133"/>
              <a:gd name="connsiteY7893" fmla="*/ 428189 h 4367670"/>
              <a:gd name="connsiteX7894" fmla="*/ 4487697 w 5365133"/>
              <a:gd name="connsiteY7894" fmla="*/ 434152 h 4367670"/>
              <a:gd name="connsiteX7895" fmla="*/ 4469763 w 5365133"/>
              <a:gd name="connsiteY7895" fmla="*/ 452045 h 4367670"/>
              <a:gd name="connsiteX7896" fmla="*/ 4505632 w 5365133"/>
              <a:gd name="connsiteY7896" fmla="*/ 434152 h 4367670"/>
              <a:gd name="connsiteX7897" fmla="*/ 4517586 w 5365133"/>
              <a:gd name="connsiteY7897" fmla="*/ 440116 h 4367670"/>
              <a:gd name="connsiteX7898" fmla="*/ 4433895 w 5365133"/>
              <a:gd name="connsiteY7898" fmla="*/ 475899 h 4367670"/>
              <a:gd name="connsiteX7899" fmla="*/ 4439873 w 5365133"/>
              <a:gd name="connsiteY7899" fmla="*/ 463972 h 4367670"/>
              <a:gd name="connsiteX7900" fmla="*/ 4427917 w 5365133"/>
              <a:gd name="connsiteY7900" fmla="*/ 463972 h 4367670"/>
              <a:gd name="connsiteX7901" fmla="*/ 4427917 w 5365133"/>
              <a:gd name="connsiteY7901" fmla="*/ 475899 h 4367670"/>
              <a:gd name="connsiteX7902" fmla="*/ 4404005 w 5365133"/>
              <a:gd name="connsiteY7902" fmla="*/ 487828 h 4367670"/>
              <a:gd name="connsiteX7903" fmla="*/ 4404005 w 5365133"/>
              <a:gd name="connsiteY7903" fmla="*/ 481865 h 4367670"/>
              <a:gd name="connsiteX7904" fmla="*/ 4392048 w 5365133"/>
              <a:gd name="connsiteY7904" fmla="*/ 481865 h 4367670"/>
              <a:gd name="connsiteX7905" fmla="*/ 4338248 w 5365133"/>
              <a:gd name="connsiteY7905" fmla="*/ 505719 h 4367670"/>
              <a:gd name="connsiteX7906" fmla="*/ 4338248 w 5365133"/>
              <a:gd name="connsiteY7906" fmla="*/ 511685 h 4367670"/>
              <a:gd name="connsiteX7907" fmla="*/ 4314335 w 5365133"/>
              <a:gd name="connsiteY7907" fmla="*/ 529575 h 4367670"/>
              <a:gd name="connsiteX7908" fmla="*/ 4320313 w 5365133"/>
              <a:gd name="connsiteY7908" fmla="*/ 517648 h 4367670"/>
              <a:gd name="connsiteX7909" fmla="*/ 4320313 w 5365133"/>
              <a:gd name="connsiteY7909" fmla="*/ 511685 h 4367670"/>
              <a:gd name="connsiteX7910" fmla="*/ 4284445 w 5365133"/>
              <a:gd name="connsiteY7910" fmla="*/ 541504 h 4367670"/>
              <a:gd name="connsiteX7911" fmla="*/ 4284445 w 5365133"/>
              <a:gd name="connsiteY7911" fmla="*/ 529575 h 4367670"/>
              <a:gd name="connsiteX7912" fmla="*/ 4260532 w 5365133"/>
              <a:gd name="connsiteY7912" fmla="*/ 541504 h 4367670"/>
              <a:gd name="connsiteX7913" fmla="*/ 4236621 w 5365133"/>
              <a:gd name="connsiteY7913" fmla="*/ 565361 h 4367670"/>
              <a:gd name="connsiteX7914" fmla="*/ 4224665 w 5365133"/>
              <a:gd name="connsiteY7914" fmla="*/ 553432 h 4367670"/>
              <a:gd name="connsiteX7915" fmla="*/ 4218688 w 5365133"/>
              <a:gd name="connsiteY7915" fmla="*/ 565361 h 4367670"/>
              <a:gd name="connsiteX7916" fmla="*/ 4176841 w 5365133"/>
              <a:gd name="connsiteY7916" fmla="*/ 589215 h 4367670"/>
              <a:gd name="connsiteX7917" fmla="*/ 4158906 w 5365133"/>
              <a:gd name="connsiteY7917" fmla="*/ 583252 h 4367670"/>
              <a:gd name="connsiteX7918" fmla="*/ 4158906 w 5365133"/>
              <a:gd name="connsiteY7918" fmla="*/ 595181 h 4367670"/>
              <a:gd name="connsiteX7919" fmla="*/ 4140972 w 5365133"/>
              <a:gd name="connsiteY7919" fmla="*/ 595181 h 4367670"/>
              <a:gd name="connsiteX7920" fmla="*/ 4140972 w 5365133"/>
              <a:gd name="connsiteY7920" fmla="*/ 601144 h 4367670"/>
              <a:gd name="connsiteX7921" fmla="*/ 4063259 w 5365133"/>
              <a:gd name="connsiteY7921" fmla="*/ 630965 h 4367670"/>
              <a:gd name="connsiteX7922" fmla="*/ 3991523 w 5365133"/>
              <a:gd name="connsiteY7922" fmla="*/ 666748 h 4367670"/>
              <a:gd name="connsiteX7923" fmla="*/ 3985545 w 5365133"/>
              <a:gd name="connsiteY7923" fmla="*/ 678677 h 4367670"/>
              <a:gd name="connsiteX7924" fmla="*/ 3985545 w 5365133"/>
              <a:gd name="connsiteY7924" fmla="*/ 672712 h 4367670"/>
              <a:gd name="connsiteX7925" fmla="*/ 3973590 w 5365133"/>
              <a:gd name="connsiteY7925" fmla="*/ 678677 h 4367670"/>
              <a:gd name="connsiteX7926" fmla="*/ 3961633 w 5365133"/>
              <a:gd name="connsiteY7926" fmla="*/ 684641 h 4367670"/>
              <a:gd name="connsiteX7927" fmla="*/ 3973590 w 5365133"/>
              <a:gd name="connsiteY7927" fmla="*/ 690605 h 4367670"/>
              <a:gd name="connsiteX7928" fmla="*/ 3973590 w 5365133"/>
              <a:gd name="connsiteY7928" fmla="*/ 678677 h 4367670"/>
              <a:gd name="connsiteX7929" fmla="*/ 3979568 w 5365133"/>
              <a:gd name="connsiteY7929" fmla="*/ 690605 h 4367670"/>
              <a:gd name="connsiteX7930" fmla="*/ 3984836 w 5365133"/>
              <a:gd name="connsiteY7930" fmla="*/ 690605 h 4367670"/>
              <a:gd name="connsiteX7931" fmla="*/ 3993761 w 5365133"/>
              <a:gd name="connsiteY7931" fmla="*/ 679747 h 4367670"/>
              <a:gd name="connsiteX7932" fmla="*/ 4008013 w 5365133"/>
              <a:gd name="connsiteY7932" fmla="*/ 667885 h 4367670"/>
              <a:gd name="connsiteX7933" fmla="*/ 4080018 w 5365133"/>
              <a:gd name="connsiteY7933" fmla="*/ 638232 h 4367670"/>
              <a:gd name="connsiteX7934" fmla="*/ 4068016 w 5365133"/>
              <a:gd name="connsiteY7934" fmla="*/ 650094 h 4367670"/>
              <a:gd name="connsiteX7935" fmla="*/ 4086018 w 5365133"/>
              <a:gd name="connsiteY7935" fmla="*/ 641198 h 4367670"/>
              <a:gd name="connsiteX7936" fmla="*/ 4088588 w 5365133"/>
              <a:gd name="connsiteY7936" fmla="*/ 639927 h 4367670"/>
              <a:gd name="connsiteX7937" fmla="*/ 4092768 w 5365133"/>
              <a:gd name="connsiteY7937" fmla="*/ 642680 h 4367670"/>
              <a:gd name="connsiteX7938" fmla="*/ 4104019 w 5365133"/>
              <a:gd name="connsiteY7938" fmla="*/ 638232 h 4367670"/>
              <a:gd name="connsiteX7939" fmla="*/ 4104019 w 5365133"/>
              <a:gd name="connsiteY7939" fmla="*/ 632301 h 4367670"/>
              <a:gd name="connsiteX7940" fmla="*/ 4104019 w 5365133"/>
              <a:gd name="connsiteY7940" fmla="*/ 626369 h 4367670"/>
              <a:gd name="connsiteX7941" fmla="*/ 4140021 w 5365133"/>
              <a:gd name="connsiteY7941" fmla="*/ 614509 h 4367670"/>
              <a:gd name="connsiteX7942" fmla="*/ 4134021 w 5365133"/>
              <a:gd name="connsiteY7942" fmla="*/ 626369 h 4367670"/>
              <a:gd name="connsiteX7943" fmla="*/ 4158022 w 5365133"/>
              <a:gd name="connsiteY7943" fmla="*/ 608578 h 4367670"/>
              <a:gd name="connsiteX7944" fmla="*/ 4158022 w 5365133"/>
              <a:gd name="connsiteY7944" fmla="*/ 614509 h 4367670"/>
              <a:gd name="connsiteX7945" fmla="*/ 4176024 w 5365133"/>
              <a:gd name="connsiteY7945" fmla="*/ 614509 h 4367670"/>
              <a:gd name="connsiteX7946" fmla="*/ 4050016 w 5365133"/>
              <a:gd name="connsiteY7946" fmla="*/ 667885 h 4367670"/>
              <a:gd name="connsiteX7947" fmla="*/ 4008013 w 5365133"/>
              <a:gd name="connsiteY7947" fmla="*/ 691610 h 4367670"/>
              <a:gd name="connsiteX7948" fmla="*/ 4002763 w 5365133"/>
              <a:gd name="connsiteY7948" fmla="*/ 682714 h 4367670"/>
              <a:gd name="connsiteX7949" fmla="*/ 3986129 w 5365133"/>
              <a:gd name="connsiteY7949" fmla="*/ 690605 h 4367670"/>
              <a:gd name="connsiteX7950" fmla="*/ 3986292 w 5365133"/>
              <a:gd name="connsiteY7950" fmla="*/ 690605 h 4367670"/>
              <a:gd name="connsiteX7951" fmla="*/ 3997501 w 5365133"/>
              <a:gd name="connsiteY7951" fmla="*/ 690605 h 4367670"/>
              <a:gd name="connsiteX7952" fmla="*/ 3937721 w 5365133"/>
              <a:gd name="connsiteY7952" fmla="*/ 720424 h 4367670"/>
              <a:gd name="connsiteX7953" fmla="*/ 3931743 w 5365133"/>
              <a:gd name="connsiteY7953" fmla="*/ 726388 h 4367670"/>
              <a:gd name="connsiteX7954" fmla="*/ 3961633 w 5365133"/>
              <a:gd name="connsiteY7954" fmla="*/ 720424 h 4367670"/>
              <a:gd name="connsiteX7955" fmla="*/ 3949676 w 5365133"/>
              <a:gd name="connsiteY7955" fmla="*/ 732353 h 4367670"/>
              <a:gd name="connsiteX7956" fmla="*/ 3967611 w 5365133"/>
              <a:gd name="connsiteY7956" fmla="*/ 750244 h 4367670"/>
              <a:gd name="connsiteX7957" fmla="*/ 3967611 w 5365133"/>
              <a:gd name="connsiteY7957" fmla="*/ 726388 h 4367670"/>
              <a:gd name="connsiteX7958" fmla="*/ 3961633 w 5365133"/>
              <a:gd name="connsiteY7958" fmla="*/ 732353 h 4367670"/>
              <a:gd name="connsiteX7959" fmla="*/ 3967611 w 5365133"/>
              <a:gd name="connsiteY7959" fmla="*/ 714461 h 4367670"/>
              <a:gd name="connsiteX7960" fmla="*/ 4093150 w 5365133"/>
              <a:gd name="connsiteY7960" fmla="*/ 666748 h 4367670"/>
              <a:gd name="connsiteX7961" fmla="*/ 4046072 w 5365133"/>
              <a:gd name="connsiteY7961" fmla="*/ 689859 h 4367670"/>
              <a:gd name="connsiteX7962" fmla="*/ 4007032 w 5365133"/>
              <a:gd name="connsiteY7962" fmla="*/ 706943 h 4367670"/>
              <a:gd name="connsiteX7963" fmla="*/ 4006842 w 5365133"/>
              <a:gd name="connsiteY7963" fmla="*/ 706820 h 4367670"/>
              <a:gd name="connsiteX7964" fmla="*/ 4006790 w 5365133"/>
              <a:gd name="connsiteY7964" fmla="*/ 707048 h 4367670"/>
              <a:gd name="connsiteX7965" fmla="*/ 4003479 w 5365133"/>
              <a:gd name="connsiteY7965" fmla="*/ 708497 h 4367670"/>
              <a:gd name="connsiteX7966" fmla="*/ 4006468 w 5365133"/>
              <a:gd name="connsiteY7966" fmla="*/ 708497 h 4367670"/>
              <a:gd name="connsiteX7967" fmla="*/ 4006790 w 5365133"/>
              <a:gd name="connsiteY7967" fmla="*/ 707048 h 4367670"/>
              <a:gd name="connsiteX7968" fmla="*/ 4007032 w 5365133"/>
              <a:gd name="connsiteY7968" fmla="*/ 706943 h 4367670"/>
              <a:gd name="connsiteX7969" fmla="*/ 4009456 w 5365133"/>
              <a:gd name="connsiteY7969" fmla="*/ 708497 h 4367670"/>
              <a:gd name="connsiteX7970" fmla="*/ 4009456 w 5365133"/>
              <a:gd name="connsiteY7970" fmla="*/ 720424 h 4367670"/>
              <a:gd name="connsiteX7971" fmla="*/ 3997711 w 5365133"/>
              <a:gd name="connsiteY7971" fmla="*/ 732142 h 4367670"/>
              <a:gd name="connsiteX7972" fmla="*/ 3997572 w 5365133"/>
              <a:gd name="connsiteY7972" fmla="*/ 732408 h 4367670"/>
              <a:gd name="connsiteX7973" fmla="*/ 4004226 w 5365133"/>
              <a:gd name="connsiteY7973" fmla="*/ 737571 h 4367670"/>
              <a:gd name="connsiteX7974" fmla="*/ 4015434 w 5365133"/>
              <a:gd name="connsiteY7974" fmla="*/ 738317 h 4367670"/>
              <a:gd name="connsiteX7975" fmla="*/ 4015434 w 5365133"/>
              <a:gd name="connsiteY7975" fmla="*/ 714461 h 4367670"/>
              <a:gd name="connsiteX7976" fmla="*/ 4027390 w 5365133"/>
              <a:gd name="connsiteY7976" fmla="*/ 708497 h 4367670"/>
              <a:gd name="connsiteX7977" fmla="*/ 4033368 w 5365133"/>
              <a:gd name="connsiteY7977" fmla="*/ 732353 h 4367670"/>
              <a:gd name="connsiteX7978" fmla="*/ 4027390 w 5365133"/>
              <a:gd name="connsiteY7978" fmla="*/ 708497 h 4367670"/>
              <a:gd name="connsiteX7979" fmla="*/ 4039346 w 5365133"/>
              <a:gd name="connsiteY7979" fmla="*/ 696568 h 4367670"/>
              <a:gd name="connsiteX7980" fmla="*/ 4075214 w 5365133"/>
              <a:gd name="connsiteY7980" fmla="*/ 696568 h 4367670"/>
              <a:gd name="connsiteX7981" fmla="*/ 4087171 w 5365133"/>
              <a:gd name="connsiteY7981" fmla="*/ 678677 h 4367670"/>
              <a:gd name="connsiteX7982" fmla="*/ 4099127 w 5365133"/>
              <a:gd name="connsiteY7982" fmla="*/ 678677 h 4367670"/>
              <a:gd name="connsiteX7983" fmla="*/ 4081193 w 5365133"/>
              <a:gd name="connsiteY7983" fmla="*/ 696568 h 4367670"/>
              <a:gd name="connsiteX7984" fmla="*/ 4093150 w 5365133"/>
              <a:gd name="connsiteY7984" fmla="*/ 696568 h 4367670"/>
              <a:gd name="connsiteX7985" fmla="*/ 4123039 w 5365133"/>
              <a:gd name="connsiteY7985" fmla="*/ 684641 h 4367670"/>
              <a:gd name="connsiteX7986" fmla="*/ 4117061 w 5365133"/>
              <a:gd name="connsiteY7986" fmla="*/ 666748 h 4367670"/>
              <a:gd name="connsiteX7987" fmla="*/ 4158906 w 5365133"/>
              <a:gd name="connsiteY7987" fmla="*/ 660784 h 4367670"/>
              <a:gd name="connsiteX7988" fmla="*/ 4129016 w 5365133"/>
              <a:gd name="connsiteY7988" fmla="*/ 672712 h 4367670"/>
              <a:gd name="connsiteX7989" fmla="*/ 4176841 w 5365133"/>
              <a:gd name="connsiteY7989" fmla="*/ 672712 h 4367670"/>
              <a:gd name="connsiteX7990" fmla="*/ 4152928 w 5365133"/>
              <a:gd name="connsiteY7990" fmla="*/ 684641 h 4367670"/>
              <a:gd name="connsiteX7991" fmla="*/ 4134994 w 5365133"/>
              <a:gd name="connsiteY7991" fmla="*/ 690605 h 4367670"/>
              <a:gd name="connsiteX7992" fmla="*/ 4146950 w 5365133"/>
              <a:gd name="connsiteY7992" fmla="*/ 696568 h 4367670"/>
              <a:gd name="connsiteX7993" fmla="*/ 4093150 w 5365133"/>
              <a:gd name="connsiteY7993" fmla="*/ 720424 h 4367670"/>
              <a:gd name="connsiteX7994" fmla="*/ 4099127 w 5365133"/>
              <a:gd name="connsiteY7994" fmla="*/ 708497 h 4367670"/>
              <a:gd name="connsiteX7995" fmla="*/ 4087171 w 5365133"/>
              <a:gd name="connsiteY7995" fmla="*/ 708497 h 4367670"/>
              <a:gd name="connsiteX7996" fmla="*/ 4087171 w 5365133"/>
              <a:gd name="connsiteY7996" fmla="*/ 720424 h 4367670"/>
              <a:gd name="connsiteX7997" fmla="*/ 4009456 w 5365133"/>
              <a:gd name="connsiteY7997" fmla="*/ 750244 h 4367670"/>
              <a:gd name="connsiteX7998" fmla="*/ 4009456 w 5365133"/>
              <a:gd name="connsiteY7998" fmla="*/ 744281 h 4367670"/>
              <a:gd name="connsiteX7999" fmla="*/ 4003479 w 5365133"/>
              <a:gd name="connsiteY7999" fmla="*/ 756208 h 4367670"/>
              <a:gd name="connsiteX8000" fmla="*/ 4134994 w 5365133"/>
              <a:gd name="connsiteY8000" fmla="*/ 702534 h 4367670"/>
              <a:gd name="connsiteX8001" fmla="*/ 4188796 w 5365133"/>
              <a:gd name="connsiteY8001" fmla="*/ 684641 h 4367670"/>
              <a:gd name="connsiteX8002" fmla="*/ 4194775 w 5365133"/>
              <a:gd name="connsiteY8002" fmla="*/ 696568 h 4367670"/>
              <a:gd name="connsiteX8003" fmla="*/ 4194775 w 5365133"/>
              <a:gd name="connsiteY8003" fmla="*/ 678677 h 4367670"/>
              <a:gd name="connsiteX8004" fmla="*/ 4260532 w 5365133"/>
              <a:gd name="connsiteY8004" fmla="*/ 654821 h 4367670"/>
              <a:gd name="connsiteX8005" fmla="*/ 4200753 w 5365133"/>
              <a:gd name="connsiteY8005" fmla="*/ 684641 h 4367670"/>
              <a:gd name="connsiteX8006" fmla="*/ 4261281 w 5365133"/>
              <a:gd name="connsiteY8006" fmla="*/ 668986 h 4367670"/>
              <a:gd name="connsiteX8007" fmla="*/ 4276556 w 5365133"/>
              <a:gd name="connsiteY8007" fmla="*/ 664255 h 4367670"/>
              <a:gd name="connsiteX8008" fmla="*/ 4276724 w 5365133"/>
              <a:gd name="connsiteY8008" fmla="*/ 662910 h 4367670"/>
              <a:gd name="connsiteX8009" fmla="*/ 4277710 w 5365133"/>
              <a:gd name="connsiteY8009" fmla="*/ 663897 h 4367670"/>
              <a:gd name="connsiteX8010" fmla="*/ 4323177 w 5365133"/>
              <a:gd name="connsiteY8010" fmla="*/ 649821 h 4367670"/>
              <a:gd name="connsiteX8011" fmla="*/ 4320313 w 5365133"/>
              <a:gd name="connsiteY8011" fmla="*/ 654821 h 4367670"/>
              <a:gd name="connsiteX8012" fmla="*/ 4362159 w 5365133"/>
              <a:gd name="connsiteY8012" fmla="*/ 640655 h 4367670"/>
              <a:gd name="connsiteX8013" fmla="*/ 4374116 w 5365133"/>
              <a:gd name="connsiteY8013" fmla="*/ 637886 h 4367670"/>
              <a:gd name="connsiteX8014" fmla="*/ 4374116 w 5365133"/>
              <a:gd name="connsiteY8014" fmla="*/ 648857 h 4367670"/>
              <a:gd name="connsiteX8015" fmla="*/ 4320313 w 5365133"/>
              <a:gd name="connsiteY8015" fmla="*/ 666748 h 4367670"/>
              <a:gd name="connsiteX8016" fmla="*/ 4320313 w 5365133"/>
              <a:gd name="connsiteY8016" fmla="*/ 660784 h 4367670"/>
              <a:gd name="connsiteX8017" fmla="*/ 4308357 w 5365133"/>
              <a:gd name="connsiteY8017" fmla="*/ 660784 h 4367670"/>
              <a:gd name="connsiteX8018" fmla="*/ 4314335 w 5365133"/>
              <a:gd name="connsiteY8018" fmla="*/ 666748 h 4367670"/>
              <a:gd name="connsiteX8019" fmla="*/ 4302379 w 5365133"/>
              <a:gd name="connsiteY8019" fmla="*/ 672712 h 4367670"/>
              <a:gd name="connsiteX8020" fmla="*/ 4308357 w 5365133"/>
              <a:gd name="connsiteY8020" fmla="*/ 666748 h 4367670"/>
              <a:gd name="connsiteX8021" fmla="*/ 4296401 w 5365133"/>
              <a:gd name="connsiteY8021" fmla="*/ 660784 h 4367670"/>
              <a:gd name="connsiteX8022" fmla="*/ 4284445 w 5365133"/>
              <a:gd name="connsiteY8022" fmla="*/ 684641 h 4367670"/>
              <a:gd name="connsiteX8023" fmla="*/ 4278466 w 5365133"/>
              <a:gd name="connsiteY8023" fmla="*/ 672712 h 4367670"/>
              <a:gd name="connsiteX8024" fmla="*/ 4260532 w 5365133"/>
              <a:gd name="connsiteY8024" fmla="*/ 684641 h 4367670"/>
              <a:gd name="connsiteX8025" fmla="*/ 4248578 w 5365133"/>
              <a:gd name="connsiteY8025" fmla="*/ 684641 h 4367670"/>
              <a:gd name="connsiteX8026" fmla="*/ 4248578 w 5365133"/>
              <a:gd name="connsiteY8026" fmla="*/ 687623 h 4367670"/>
              <a:gd name="connsiteX8027" fmla="*/ 4248578 w 5365133"/>
              <a:gd name="connsiteY8027" fmla="*/ 690421 h 4367670"/>
              <a:gd name="connsiteX8028" fmla="*/ 4250381 w 5365133"/>
              <a:gd name="connsiteY8028" fmla="*/ 689870 h 4367670"/>
              <a:gd name="connsiteX8029" fmla="*/ 4260127 w 5365133"/>
              <a:gd name="connsiteY8029" fmla="*/ 687472 h 4367670"/>
              <a:gd name="connsiteX8030" fmla="*/ 4260532 w 5365133"/>
              <a:gd name="connsiteY8030" fmla="*/ 684641 h 4367670"/>
              <a:gd name="connsiteX8031" fmla="*/ 4263236 w 5365133"/>
              <a:gd name="connsiteY8031" fmla="*/ 686708 h 4367670"/>
              <a:gd name="connsiteX8032" fmla="*/ 4267625 w 5365133"/>
              <a:gd name="connsiteY8032" fmla="*/ 685628 h 4367670"/>
              <a:gd name="connsiteX8033" fmla="*/ 4268752 w 5365133"/>
              <a:gd name="connsiteY8033" fmla="*/ 684641 h 4367670"/>
              <a:gd name="connsiteX8034" fmla="*/ 4271461 w 5365133"/>
              <a:gd name="connsiteY8034" fmla="*/ 681286 h 4367670"/>
              <a:gd name="connsiteX8035" fmla="*/ 4272429 w 5365133"/>
              <a:gd name="connsiteY8035" fmla="*/ 684446 h 4367670"/>
              <a:gd name="connsiteX8036" fmla="*/ 4272621 w 5365133"/>
              <a:gd name="connsiteY8036" fmla="*/ 684399 h 4367670"/>
              <a:gd name="connsiteX8037" fmla="*/ 4272450 w 5365133"/>
              <a:gd name="connsiteY8037" fmla="*/ 684518 h 4367670"/>
              <a:gd name="connsiteX8038" fmla="*/ 4272488 w 5365133"/>
              <a:gd name="connsiteY8038" fmla="*/ 684641 h 4367670"/>
              <a:gd name="connsiteX8039" fmla="*/ 4271214 w 5365133"/>
              <a:gd name="connsiteY8039" fmla="*/ 685382 h 4367670"/>
              <a:gd name="connsiteX8040" fmla="*/ 4262612 w 5365133"/>
              <a:gd name="connsiteY8040" fmla="*/ 691394 h 4367670"/>
              <a:gd name="connsiteX8041" fmla="*/ 4229251 w 5365133"/>
              <a:gd name="connsiteY8041" fmla="*/ 705384 h 4367670"/>
              <a:gd name="connsiteX8042" fmla="*/ 4224899 w 5365133"/>
              <a:gd name="connsiteY8042" fmla="*/ 711233 h 4367670"/>
              <a:gd name="connsiteX8043" fmla="*/ 4224432 w 5365133"/>
              <a:gd name="connsiteY8043" fmla="*/ 708075 h 4367670"/>
              <a:gd name="connsiteX8044" fmla="*/ 4219242 w 5365133"/>
              <a:gd name="connsiteY8044" fmla="*/ 707357 h 4367670"/>
              <a:gd name="connsiteX8045" fmla="*/ 4211486 w 5365133"/>
              <a:gd name="connsiteY8045" fmla="*/ 709860 h 4367670"/>
              <a:gd name="connsiteX8046" fmla="*/ 4211121 w 5365133"/>
              <a:gd name="connsiteY8046" fmla="*/ 710081 h 4367670"/>
              <a:gd name="connsiteX8047" fmla="*/ 4210969 w 5365133"/>
              <a:gd name="connsiteY8047" fmla="*/ 710026 h 4367670"/>
              <a:gd name="connsiteX8048" fmla="*/ 4200515 w 5365133"/>
              <a:gd name="connsiteY8048" fmla="*/ 713398 h 4367670"/>
              <a:gd name="connsiteX8049" fmla="*/ 4207493 w 5365133"/>
              <a:gd name="connsiteY8049" fmla="*/ 708772 h 4367670"/>
              <a:gd name="connsiteX8050" fmla="*/ 4206731 w 5365133"/>
              <a:gd name="connsiteY8050" fmla="*/ 708497 h 4367670"/>
              <a:gd name="connsiteX8051" fmla="*/ 4207665 w 5365133"/>
              <a:gd name="connsiteY8051" fmla="*/ 706727 h 4367670"/>
              <a:gd name="connsiteX8052" fmla="*/ 4209327 w 5365133"/>
              <a:gd name="connsiteY8052" fmla="*/ 707556 h 4367670"/>
              <a:gd name="connsiteX8053" fmla="*/ 4212134 w 5365133"/>
              <a:gd name="connsiteY8053" fmla="*/ 705695 h 4367670"/>
              <a:gd name="connsiteX8054" fmla="*/ 4212710 w 5365133"/>
              <a:gd name="connsiteY8054" fmla="*/ 702534 h 4367670"/>
              <a:gd name="connsiteX8055" fmla="*/ 4170863 w 5365133"/>
              <a:gd name="connsiteY8055" fmla="*/ 720424 h 4367670"/>
              <a:gd name="connsiteX8056" fmla="*/ 4171087 w 5365133"/>
              <a:gd name="connsiteY8056" fmla="*/ 721151 h 4367670"/>
              <a:gd name="connsiteX8057" fmla="*/ 4178923 w 5365133"/>
              <a:gd name="connsiteY8057" fmla="*/ 725022 h 4367670"/>
              <a:gd name="connsiteX8058" fmla="*/ 4150528 w 5365133"/>
              <a:gd name="connsiteY8058" fmla="*/ 735460 h 4367670"/>
              <a:gd name="connsiteX8059" fmla="*/ 4145325 w 5365133"/>
              <a:gd name="connsiteY8059" fmla="*/ 740651 h 4367670"/>
              <a:gd name="connsiteX8060" fmla="*/ 4172060 w 5365133"/>
              <a:gd name="connsiteY8060" fmla="*/ 732444 h 4367670"/>
              <a:gd name="connsiteX8061" fmla="*/ 4172945 w 5365133"/>
              <a:gd name="connsiteY8061" fmla="*/ 730987 h 4367670"/>
              <a:gd name="connsiteX8062" fmla="*/ 4173345 w 5365133"/>
              <a:gd name="connsiteY8062" fmla="*/ 732050 h 4367670"/>
              <a:gd name="connsiteX8063" fmla="*/ 4209269 w 5365133"/>
              <a:gd name="connsiteY8063" fmla="*/ 721022 h 4367670"/>
              <a:gd name="connsiteX8064" fmla="*/ 4213136 w 5365133"/>
              <a:gd name="connsiteY8064" fmla="*/ 713670 h 4367670"/>
              <a:gd name="connsiteX8065" fmla="*/ 4213886 w 5365133"/>
              <a:gd name="connsiteY8065" fmla="*/ 717615 h 4367670"/>
              <a:gd name="connsiteX8066" fmla="*/ 4214902 w 5365133"/>
              <a:gd name="connsiteY8066" fmla="*/ 719293 h 4367670"/>
              <a:gd name="connsiteX8067" fmla="*/ 4218917 w 5365133"/>
              <a:gd name="connsiteY8067" fmla="*/ 718060 h 4367670"/>
              <a:gd name="connsiteX8068" fmla="*/ 4216834 w 5365133"/>
              <a:gd name="connsiteY8068" fmla="*/ 713096 h 4367670"/>
              <a:gd name="connsiteX8069" fmla="*/ 4217761 w 5365133"/>
              <a:gd name="connsiteY8069" fmla="*/ 711662 h 4367670"/>
              <a:gd name="connsiteX8070" fmla="*/ 4223722 w 5365133"/>
              <a:gd name="connsiteY8070" fmla="*/ 712816 h 4367670"/>
              <a:gd name="connsiteX8071" fmla="*/ 4220087 w 5365133"/>
              <a:gd name="connsiteY8071" fmla="*/ 717701 h 4367670"/>
              <a:gd name="connsiteX8072" fmla="*/ 4230643 w 5365133"/>
              <a:gd name="connsiteY8072" fmla="*/ 714461 h 4367670"/>
              <a:gd name="connsiteX8073" fmla="*/ 4244934 w 5365133"/>
              <a:gd name="connsiteY8073" fmla="*/ 707565 h 4367670"/>
              <a:gd name="connsiteX8074" fmla="*/ 4259164 w 5365133"/>
              <a:gd name="connsiteY8074" fmla="*/ 699886 h 4367670"/>
              <a:gd name="connsiteX8075" fmla="*/ 4257544 w 5365133"/>
              <a:gd name="connsiteY8075" fmla="*/ 702533 h 4367670"/>
              <a:gd name="connsiteX8076" fmla="*/ 4254556 w 5365133"/>
              <a:gd name="connsiteY8076" fmla="*/ 702534 h 4367670"/>
              <a:gd name="connsiteX8077" fmla="*/ 4254556 w 5365133"/>
              <a:gd name="connsiteY8077" fmla="*/ 714461 h 4367670"/>
              <a:gd name="connsiteX8078" fmla="*/ 4248578 w 5365133"/>
              <a:gd name="connsiteY8078" fmla="*/ 720424 h 4367670"/>
              <a:gd name="connsiteX8079" fmla="*/ 4231049 w 5365133"/>
              <a:gd name="connsiteY8079" fmla="*/ 722923 h 4367670"/>
              <a:gd name="connsiteX8080" fmla="*/ 4227388 w 5365133"/>
              <a:gd name="connsiteY8080" fmla="*/ 725507 h 4367670"/>
              <a:gd name="connsiteX8081" fmla="*/ 4195135 w 5365133"/>
              <a:gd name="connsiteY8081" fmla="*/ 738923 h 4367670"/>
              <a:gd name="connsiteX8082" fmla="*/ 4197105 w 5365133"/>
              <a:gd name="connsiteY8082" fmla="*/ 732314 h 4367670"/>
              <a:gd name="connsiteX8083" fmla="*/ 4201588 w 5365133"/>
              <a:gd name="connsiteY8083" fmla="*/ 728892 h 4367670"/>
              <a:gd name="connsiteX8084" fmla="*/ 4191412 w 5365133"/>
              <a:gd name="connsiteY8084" fmla="*/ 733843 h 4367670"/>
              <a:gd name="connsiteX8085" fmla="*/ 4188750 w 5365133"/>
              <a:gd name="connsiteY8085" fmla="*/ 738923 h 4367670"/>
              <a:gd name="connsiteX8086" fmla="*/ 4189396 w 5365133"/>
              <a:gd name="connsiteY8086" fmla="*/ 738923 h 4367670"/>
              <a:gd name="connsiteX8087" fmla="*/ 4188521 w 5365133"/>
              <a:gd name="connsiteY8087" fmla="*/ 739361 h 4367670"/>
              <a:gd name="connsiteX8088" fmla="*/ 4182819 w 5365133"/>
              <a:gd name="connsiteY8088" fmla="*/ 750244 h 4367670"/>
              <a:gd name="connsiteX8089" fmla="*/ 4057281 w 5365133"/>
              <a:gd name="connsiteY8089" fmla="*/ 809884 h 4367670"/>
              <a:gd name="connsiteX8090" fmla="*/ 4057281 w 5365133"/>
              <a:gd name="connsiteY8090" fmla="*/ 821814 h 4367670"/>
              <a:gd name="connsiteX8091" fmla="*/ 4051303 w 5365133"/>
              <a:gd name="connsiteY8091" fmla="*/ 809884 h 4367670"/>
              <a:gd name="connsiteX8092" fmla="*/ 4093150 w 5365133"/>
              <a:gd name="connsiteY8092" fmla="*/ 780064 h 4367670"/>
              <a:gd name="connsiteX8093" fmla="*/ 4057281 w 5365133"/>
              <a:gd name="connsiteY8093" fmla="*/ 797957 h 4367670"/>
              <a:gd name="connsiteX8094" fmla="*/ 4057281 w 5365133"/>
              <a:gd name="connsiteY8094" fmla="*/ 791248 h 4367670"/>
              <a:gd name="connsiteX8095" fmla="*/ 4057485 w 5365133"/>
              <a:gd name="connsiteY8095" fmla="*/ 790534 h 4367670"/>
              <a:gd name="connsiteX8096" fmla="*/ 4047510 w 5365133"/>
              <a:gd name="connsiteY8096" fmla="*/ 794297 h 4367670"/>
              <a:gd name="connsiteX8097" fmla="*/ 4045325 w 5365133"/>
              <a:gd name="connsiteY8097" fmla="*/ 797957 h 4367670"/>
              <a:gd name="connsiteX8098" fmla="*/ 4044130 w 5365133"/>
              <a:gd name="connsiteY8098" fmla="*/ 795572 h 4367670"/>
              <a:gd name="connsiteX8099" fmla="*/ 4041429 w 5365133"/>
              <a:gd name="connsiteY8099" fmla="*/ 796591 h 4367670"/>
              <a:gd name="connsiteX8100" fmla="*/ 4039010 w 5365133"/>
              <a:gd name="connsiteY8100" fmla="*/ 797371 h 4367670"/>
              <a:gd name="connsiteX8101" fmla="*/ 4039346 w 5365133"/>
              <a:gd name="connsiteY8101" fmla="*/ 797957 h 4367670"/>
              <a:gd name="connsiteX8102" fmla="*/ 4039346 w 5365133"/>
              <a:gd name="connsiteY8102" fmla="*/ 809884 h 4367670"/>
              <a:gd name="connsiteX8103" fmla="*/ 4032434 w 5365133"/>
              <a:gd name="connsiteY8103" fmla="*/ 811469 h 4367670"/>
              <a:gd name="connsiteX8104" fmla="*/ 4030831 w 5365133"/>
              <a:gd name="connsiteY8104" fmla="*/ 810418 h 4367670"/>
              <a:gd name="connsiteX8105" fmla="*/ 4029473 w 5365133"/>
              <a:gd name="connsiteY8105" fmla="*/ 814484 h 4367670"/>
              <a:gd name="connsiteX8106" fmla="*/ 4029473 w 5365133"/>
              <a:gd name="connsiteY8106" fmla="*/ 809526 h 4367670"/>
              <a:gd name="connsiteX8107" fmla="*/ 4028884 w 5365133"/>
              <a:gd name="connsiteY8107" fmla="*/ 809140 h 4367670"/>
              <a:gd name="connsiteX8108" fmla="*/ 4028752 w 5365133"/>
              <a:gd name="connsiteY8108" fmla="*/ 808678 h 4367670"/>
              <a:gd name="connsiteX8109" fmla="*/ 4022748 w 5365133"/>
              <a:gd name="connsiteY8109" fmla="*/ 810010 h 4367670"/>
              <a:gd name="connsiteX8110" fmla="*/ 4020231 w 5365133"/>
              <a:gd name="connsiteY8110" fmla="*/ 809372 h 4367670"/>
              <a:gd name="connsiteX8111" fmla="*/ 4021412 w 5365133"/>
              <a:gd name="connsiteY8111" fmla="*/ 815850 h 4367670"/>
              <a:gd name="connsiteX8112" fmla="*/ 4015434 w 5365133"/>
              <a:gd name="connsiteY8112" fmla="*/ 809884 h 4367670"/>
              <a:gd name="connsiteX8113" fmla="*/ 4009456 w 5365133"/>
              <a:gd name="connsiteY8113" fmla="*/ 821814 h 4367670"/>
              <a:gd name="connsiteX8114" fmla="*/ 4005476 w 5365133"/>
              <a:gd name="connsiteY8114" fmla="*/ 818976 h 4367670"/>
              <a:gd name="connsiteX8115" fmla="*/ 4004778 w 5365133"/>
              <a:gd name="connsiteY8115" fmla="*/ 820209 h 4367670"/>
              <a:gd name="connsiteX8116" fmla="*/ 3998082 w 5365133"/>
              <a:gd name="connsiteY8116" fmla="*/ 827311 h 4367670"/>
              <a:gd name="connsiteX8117" fmla="*/ 3991385 w 5365133"/>
              <a:gd name="connsiteY8117" fmla="*/ 833626 h 4367670"/>
              <a:gd name="connsiteX8118" fmla="*/ 3991385 w 5365133"/>
              <a:gd name="connsiteY8118" fmla="*/ 827311 h 4367670"/>
              <a:gd name="connsiteX8119" fmla="*/ 3992196 w 5365133"/>
              <a:gd name="connsiteY8119" fmla="*/ 826639 h 4367670"/>
              <a:gd name="connsiteX8120" fmla="*/ 3991523 w 5365133"/>
              <a:gd name="connsiteY8120" fmla="*/ 824795 h 4367670"/>
              <a:gd name="connsiteX8121" fmla="*/ 3985545 w 5365133"/>
              <a:gd name="connsiteY8121" fmla="*/ 821814 h 4367670"/>
              <a:gd name="connsiteX8122" fmla="*/ 3983303 w 5365133"/>
              <a:gd name="connsiteY8122" fmla="*/ 825540 h 4367670"/>
              <a:gd name="connsiteX8123" fmla="*/ 3984014 w 5365133"/>
              <a:gd name="connsiteY8123" fmla="*/ 828136 h 4367670"/>
              <a:gd name="connsiteX8124" fmla="*/ 3985646 w 5365133"/>
              <a:gd name="connsiteY8124" fmla="*/ 827885 h 4367670"/>
              <a:gd name="connsiteX8125" fmla="*/ 3984774 w 5365133"/>
              <a:gd name="connsiteY8125" fmla="*/ 830915 h 4367670"/>
              <a:gd name="connsiteX8126" fmla="*/ 3985545 w 5365133"/>
              <a:gd name="connsiteY8126" fmla="*/ 833741 h 4367670"/>
              <a:gd name="connsiteX8127" fmla="*/ 3984285 w 5365133"/>
              <a:gd name="connsiteY8127" fmla="*/ 832612 h 4367670"/>
              <a:gd name="connsiteX8128" fmla="*/ 3983942 w 5365133"/>
              <a:gd name="connsiteY8128" fmla="*/ 833803 h 4367670"/>
              <a:gd name="connsiteX8129" fmla="*/ 3979906 w 5365133"/>
              <a:gd name="connsiteY8129" fmla="*/ 845103 h 4367670"/>
              <a:gd name="connsiteX8130" fmla="*/ 3971297 w 5365133"/>
              <a:gd name="connsiteY8130" fmla="*/ 839363 h 4367670"/>
              <a:gd name="connsiteX8131" fmla="*/ 3966455 w 5365133"/>
              <a:gd name="connsiteY8131" fmla="*/ 836135 h 4367670"/>
              <a:gd name="connsiteX8132" fmla="*/ 3963689 w 5365133"/>
              <a:gd name="connsiteY8132" fmla="*/ 838773 h 4367670"/>
              <a:gd name="connsiteX8133" fmla="*/ 3962951 w 5365133"/>
              <a:gd name="connsiteY8133" fmla="*/ 839136 h 4367670"/>
              <a:gd name="connsiteX8134" fmla="*/ 3963528 w 5365133"/>
              <a:gd name="connsiteY8134" fmla="*/ 839923 h 4367670"/>
              <a:gd name="connsiteX8135" fmla="*/ 3969693 w 5365133"/>
              <a:gd name="connsiteY8135" fmla="*/ 844304 h 4367670"/>
              <a:gd name="connsiteX8136" fmla="*/ 3954633 w 5365133"/>
              <a:gd name="connsiteY8136" fmla="*/ 843230 h 4367670"/>
              <a:gd name="connsiteX8137" fmla="*/ 3949676 w 5365133"/>
              <a:gd name="connsiteY8137" fmla="*/ 845669 h 4367670"/>
              <a:gd name="connsiteX8138" fmla="*/ 3949676 w 5365133"/>
              <a:gd name="connsiteY8138" fmla="*/ 842877 h 4367670"/>
              <a:gd name="connsiteX8139" fmla="*/ 3948772 w 5365133"/>
              <a:gd name="connsiteY8139" fmla="*/ 842812 h 4367670"/>
              <a:gd name="connsiteX8140" fmla="*/ 3945494 w 5365133"/>
              <a:gd name="connsiteY8140" fmla="*/ 843980 h 4367670"/>
              <a:gd name="connsiteX8141" fmla="*/ 3942204 w 5365133"/>
              <a:gd name="connsiteY8141" fmla="*/ 848651 h 4367670"/>
              <a:gd name="connsiteX8142" fmla="*/ 3943699 w 5365133"/>
              <a:gd name="connsiteY8142" fmla="*/ 863560 h 4367670"/>
              <a:gd name="connsiteX8143" fmla="*/ 3937721 w 5365133"/>
              <a:gd name="connsiteY8143" fmla="*/ 863560 h 4367670"/>
              <a:gd name="connsiteX8144" fmla="*/ 3936464 w 5365133"/>
              <a:gd name="connsiteY8144" fmla="*/ 863560 h 4367670"/>
              <a:gd name="connsiteX8145" fmla="*/ 3930262 w 5365133"/>
              <a:gd name="connsiteY8145" fmla="*/ 865910 h 4367670"/>
              <a:gd name="connsiteX8146" fmla="*/ 3920790 w 5365133"/>
              <a:gd name="connsiteY8146" fmla="*/ 873802 h 4367670"/>
              <a:gd name="connsiteX8147" fmla="*/ 3914477 w 5365133"/>
              <a:gd name="connsiteY8147" fmla="*/ 873802 h 4367670"/>
              <a:gd name="connsiteX8148" fmla="*/ 3912110 w 5365133"/>
              <a:gd name="connsiteY8148" fmla="*/ 870214 h 4367670"/>
              <a:gd name="connsiteX8149" fmla="*/ 3913787 w 5365133"/>
              <a:gd name="connsiteY8149" fmla="*/ 864629 h 4367670"/>
              <a:gd name="connsiteX8150" fmla="*/ 3905775 w 5365133"/>
              <a:gd name="connsiteY8150" fmla="*/ 870270 h 4367670"/>
              <a:gd name="connsiteX8151" fmla="*/ 3901852 w 5365133"/>
              <a:gd name="connsiteY8151" fmla="*/ 881453 h 4367670"/>
              <a:gd name="connsiteX8152" fmla="*/ 3897710 w 5365133"/>
              <a:gd name="connsiteY8152" fmla="*/ 878954 h 4367670"/>
              <a:gd name="connsiteX8153" fmla="*/ 3897210 w 5365133"/>
              <a:gd name="connsiteY8153" fmla="*/ 879342 h 4367670"/>
              <a:gd name="connsiteX8154" fmla="*/ 3886001 w 5365133"/>
              <a:gd name="connsiteY8154" fmla="*/ 880088 h 4367670"/>
              <a:gd name="connsiteX8155" fmla="*/ 3885411 w 5365133"/>
              <a:gd name="connsiteY8155" fmla="*/ 877147 h 4367670"/>
              <a:gd name="connsiteX8156" fmla="*/ 3868974 w 5365133"/>
              <a:gd name="connsiteY8156" fmla="*/ 883690 h 4367670"/>
              <a:gd name="connsiteX8157" fmla="*/ 3867941 w 5365133"/>
              <a:gd name="connsiteY8157" fmla="*/ 884298 h 4367670"/>
              <a:gd name="connsiteX8158" fmla="*/ 3868066 w 5365133"/>
              <a:gd name="connsiteY8158" fmla="*/ 886051 h 4367670"/>
              <a:gd name="connsiteX8159" fmla="*/ 3866999 w 5365133"/>
              <a:gd name="connsiteY8159" fmla="*/ 884853 h 4367670"/>
              <a:gd name="connsiteX8160" fmla="*/ 3851414 w 5365133"/>
              <a:gd name="connsiteY8160" fmla="*/ 894034 h 4367670"/>
              <a:gd name="connsiteX8161" fmla="*/ 3836094 w 5365133"/>
              <a:gd name="connsiteY8161" fmla="*/ 899346 h 4367670"/>
              <a:gd name="connsiteX8162" fmla="*/ 3833852 w 5365133"/>
              <a:gd name="connsiteY8162" fmla="*/ 903073 h 4367670"/>
              <a:gd name="connsiteX8163" fmla="*/ 3835179 w 5365133"/>
              <a:gd name="connsiteY8163" fmla="*/ 907925 h 4367670"/>
              <a:gd name="connsiteX8164" fmla="*/ 3838176 w 5365133"/>
              <a:gd name="connsiteY8164" fmla="*/ 905932 h 4367670"/>
              <a:gd name="connsiteX8165" fmla="*/ 3838176 w 5365133"/>
              <a:gd name="connsiteY8165" fmla="*/ 909907 h 4367670"/>
              <a:gd name="connsiteX8166" fmla="*/ 3838393 w 5365133"/>
              <a:gd name="connsiteY8166" fmla="*/ 910635 h 4367670"/>
              <a:gd name="connsiteX8167" fmla="*/ 3850133 w 5365133"/>
              <a:gd name="connsiteY8167" fmla="*/ 907373 h 4367670"/>
              <a:gd name="connsiteX8168" fmla="*/ 3850133 w 5365133"/>
              <a:gd name="connsiteY8168" fmla="*/ 903944 h 4367670"/>
              <a:gd name="connsiteX8169" fmla="*/ 3854548 w 5365133"/>
              <a:gd name="connsiteY8169" fmla="*/ 906146 h 4367670"/>
              <a:gd name="connsiteX8170" fmla="*/ 3856963 w 5365133"/>
              <a:gd name="connsiteY8170" fmla="*/ 905475 h 4367670"/>
              <a:gd name="connsiteX8171" fmla="*/ 3856111 w 5365133"/>
              <a:gd name="connsiteY8171" fmla="*/ 903944 h 4367670"/>
              <a:gd name="connsiteX8172" fmla="*/ 3868066 w 5365133"/>
              <a:gd name="connsiteY8172" fmla="*/ 897980 h 4367670"/>
              <a:gd name="connsiteX8173" fmla="*/ 3871453 w 5365133"/>
              <a:gd name="connsiteY8173" fmla="*/ 900358 h 4367670"/>
              <a:gd name="connsiteX8174" fmla="*/ 3892886 w 5365133"/>
              <a:gd name="connsiteY8174" fmla="*/ 890399 h 4367670"/>
              <a:gd name="connsiteX8175" fmla="*/ 3904343 w 5365133"/>
              <a:gd name="connsiteY8175" fmla="*/ 886189 h 4367670"/>
              <a:gd name="connsiteX8176" fmla="*/ 3903935 w 5365133"/>
              <a:gd name="connsiteY8176" fmla="*/ 880088 h 4367670"/>
              <a:gd name="connsiteX8177" fmla="*/ 3913856 w 5365133"/>
              <a:gd name="connsiteY8177" fmla="*/ 882692 h 4367670"/>
              <a:gd name="connsiteX8178" fmla="*/ 3917527 w 5365133"/>
              <a:gd name="connsiteY8178" fmla="*/ 881343 h 4367670"/>
              <a:gd name="connsiteX8179" fmla="*/ 3918005 w 5365133"/>
              <a:gd name="connsiteY8179" fmla="*/ 881010 h 4367670"/>
              <a:gd name="connsiteX8180" fmla="*/ 3917938 w 5365133"/>
              <a:gd name="connsiteY8180" fmla="*/ 881191 h 4367670"/>
              <a:gd name="connsiteX8181" fmla="*/ 3922411 w 5365133"/>
              <a:gd name="connsiteY8181" fmla="*/ 879547 h 4367670"/>
              <a:gd name="connsiteX8182" fmla="*/ 3927848 w 5365133"/>
              <a:gd name="connsiteY8182" fmla="*/ 874124 h 4367670"/>
              <a:gd name="connsiteX8183" fmla="*/ 3926674 w 5365133"/>
              <a:gd name="connsiteY8183" fmla="*/ 877980 h 4367670"/>
              <a:gd name="connsiteX8184" fmla="*/ 3931794 w 5365133"/>
              <a:gd name="connsiteY8184" fmla="*/ 876099 h 4367670"/>
              <a:gd name="connsiteX8185" fmla="*/ 3932235 w 5365133"/>
              <a:gd name="connsiteY8185" fmla="*/ 881373 h 4367670"/>
              <a:gd name="connsiteX8186" fmla="*/ 3933825 w 5365133"/>
              <a:gd name="connsiteY8186" fmla="*/ 886051 h 4367670"/>
              <a:gd name="connsiteX8187" fmla="*/ 3933513 w 5365133"/>
              <a:gd name="connsiteY8187" fmla="*/ 886185 h 4367670"/>
              <a:gd name="connsiteX8188" fmla="*/ 3935519 w 5365133"/>
              <a:gd name="connsiteY8188" fmla="*/ 889614 h 4367670"/>
              <a:gd name="connsiteX8189" fmla="*/ 3939804 w 5365133"/>
              <a:gd name="connsiteY8189" fmla="*/ 886051 h 4367670"/>
              <a:gd name="connsiteX8190" fmla="*/ 3951760 w 5365133"/>
              <a:gd name="connsiteY8190" fmla="*/ 897980 h 4367670"/>
              <a:gd name="connsiteX8191" fmla="*/ 3950919 w 5365133"/>
              <a:gd name="connsiteY8191" fmla="*/ 892668 h 4367670"/>
              <a:gd name="connsiteX8192" fmla="*/ 3951067 w 5365133"/>
              <a:gd name="connsiteY8192" fmla="*/ 892386 h 4367670"/>
              <a:gd name="connsiteX8193" fmla="*/ 3949574 w 5365133"/>
              <a:gd name="connsiteY8193" fmla="*/ 888185 h 4367670"/>
              <a:gd name="connsiteX8194" fmla="*/ 3949574 w 5365133"/>
              <a:gd name="connsiteY8194" fmla="*/ 894643 h 4367670"/>
              <a:gd name="connsiteX8195" fmla="*/ 3944731 w 5365133"/>
              <a:gd name="connsiteY8195" fmla="*/ 883746 h 4367670"/>
              <a:gd name="connsiteX8196" fmla="*/ 3944379 w 5365133"/>
              <a:gd name="connsiteY8196" fmla="*/ 882953 h 4367670"/>
              <a:gd name="connsiteX8197" fmla="*/ 3939804 w 5365133"/>
              <a:gd name="connsiteY8197" fmla="*/ 886051 h 4367670"/>
              <a:gd name="connsiteX8198" fmla="*/ 3934573 w 5365133"/>
              <a:gd name="connsiteY8198" fmla="*/ 884560 h 4367670"/>
              <a:gd name="connsiteX8199" fmla="*/ 3933913 w 5365133"/>
              <a:gd name="connsiteY8199" fmla="*/ 875345 h 4367670"/>
              <a:gd name="connsiteX8200" fmla="*/ 3933827 w 5365133"/>
              <a:gd name="connsiteY8200" fmla="*/ 875351 h 4367670"/>
              <a:gd name="connsiteX8201" fmla="*/ 3933912 w 5365133"/>
              <a:gd name="connsiteY8201" fmla="*/ 875320 h 4367670"/>
              <a:gd name="connsiteX8202" fmla="*/ 3933825 w 5365133"/>
              <a:gd name="connsiteY8202" fmla="*/ 874124 h 4367670"/>
              <a:gd name="connsiteX8203" fmla="*/ 3955313 w 5365133"/>
              <a:gd name="connsiteY8203" fmla="*/ 866441 h 4367670"/>
              <a:gd name="connsiteX8204" fmla="*/ 3955313 w 5365133"/>
              <a:gd name="connsiteY8204" fmla="*/ 852313 h 4367670"/>
              <a:gd name="connsiteX8205" fmla="*/ 3961053 w 5365133"/>
              <a:gd name="connsiteY8205" fmla="*/ 852313 h 4367670"/>
              <a:gd name="connsiteX8206" fmla="*/ 3966792 w 5365133"/>
              <a:gd name="connsiteY8206" fmla="*/ 846574 h 4367670"/>
              <a:gd name="connsiteX8207" fmla="*/ 3966792 w 5365133"/>
              <a:gd name="connsiteY8207" fmla="*/ 852313 h 4367670"/>
              <a:gd name="connsiteX8208" fmla="*/ 3978271 w 5365133"/>
              <a:gd name="connsiteY8208" fmla="*/ 846574 h 4367670"/>
              <a:gd name="connsiteX8209" fmla="*/ 3979440 w 5365133"/>
              <a:gd name="connsiteY8209" fmla="*/ 854422 h 4367670"/>
              <a:gd name="connsiteX8210" fmla="*/ 3989167 w 5365133"/>
              <a:gd name="connsiteY8210" fmla="*/ 850459 h 4367670"/>
              <a:gd name="connsiteX8211" fmla="*/ 3987085 w 5365133"/>
              <a:gd name="connsiteY8211" fmla="*/ 846574 h 4367670"/>
              <a:gd name="connsiteX8212" fmla="*/ 3984010 w 5365133"/>
              <a:gd name="connsiteY8212" fmla="*/ 840834 h 4367670"/>
              <a:gd name="connsiteX8213" fmla="*/ 3990929 w 5365133"/>
              <a:gd name="connsiteY8213" fmla="*/ 843704 h 4367670"/>
              <a:gd name="connsiteX8214" fmla="*/ 4000130 w 5365133"/>
              <a:gd name="connsiteY8214" fmla="*/ 845994 h 4367670"/>
              <a:gd name="connsiteX8215" fmla="*/ 4001078 w 5365133"/>
              <a:gd name="connsiteY8215" fmla="*/ 845608 h 4367670"/>
              <a:gd name="connsiteX8216" fmla="*/ 4001264 w 5365133"/>
              <a:gd name="connsiteY8216" fmla="*/ 845597 h 4367670"/>
              <a:gd name="connsiteX8217" fmla="*/ 3996311 w 5365133"/>
              <a:gd name="connsiteY8217" fmla="*/ 841551 h 4367670"/>
              <a:gd name="connsiteX8218" fmla="*/ 3990160 w 5365133"/>
              <a:gd name="connsiteY8218" fmla="*/ 840834 h 4367670"/>
              <a:gd name="connsiteX8219" fmla="*/ 4027058 w 5365133"/>
              <a:gd name="connsiteY8219" fmla="*/ 823616 h 4367670"/>
              <a:gd name="connsiteX8220" fmla="*/ 4020908 w 5365133"/>
              <a:gd name="connsiteY8220" fmla="*/ 835094 h 4367670"/>
              <a:gd name="connsiteX8221" fmla="*/ 4009378 w 5365133"/>
              <a:gd name="connsiteY8221" fmla="*/ 834377 h 4367670"/>
              <a:gd name="connsiteX8222" fmla="*/ 4003074 w 5365133"/>
              <a:gd name="connsiteY8222" fmla="*/ 845492 h 4367670"/>
              <a:gd name="connsiteX8223" fmla="*/ 4023495 w 5365133"/>
              <a:gd name="connsiteY8223" fmla="*/ 844304 h 4367670"/>
              <a:gd name="connsiteX8224" fmla="*/ 4017517 w 5365133"/>
              <a:gd name="connsiteY8224" fmla="*/ 856231 h 4367670"/>
              <a:gd name="connsiteX8225" fmla="*/ 3999583 w 5365133"/>
              <a:gd name="connsiteY8225" fmla="*/ 850267 h 4367670"/>
              <a:gd name="connsiteX8226" fmla="*/ 4005561 w 5365133"/>
              <a:gd name="connsiteY8226" fmla="*/ 868158 h 4367670"/>
              <a:gd name="connsiteX8227" fmla="*/ 3987626 w 5365133"/>
              <a:gd name="connsiteY8227" fmla="*/ 874124 h 4367670"/>
              <a:gd name="connsiteX8228" fmla="*/ 3981648 w 5365133"/>
              <a:gd name="connsiteY8228" fmla="*/ 862195 h 4367670"/>
              <a:gd name="connsiteX8229" fmla="*/ 3978569 w 5365133"/>
              <a:gd name="connsiteY8229" fmla="*/ 864136 h 4367670"/>
              <a:gd name="connsiteX8230" fmla="*/ 3982307 w 5365133"/>
              <a:gd name="connsiteY8230" fmla="*/ 868460 h 4367670"/>
              <a:gd name="connsiteX8231" fmla="*/ 3980424 w 5365133"/>
              <a:gd name="connsiteY8231" fmla="*/ 873701 h 4367670"/>
              <a:gd name="connsiteX8232" fmla="*/ 3979474 w 5365133"/>
              <a:gd name="connsiteY8232" fmla="*/ 875751 h 4367670"/>
              <a:gd name="connsiteX8233" fmla="*/ 3984730 w 5365133"/>
              <a:gd name="connsiteY8233" fmla="*/ 875987 h 4367670"/>
              <a:gd name="connsiteX8234" fmla="*/ 3993604 w 5365133"/>
              <a:gd name="connsiteY8234" fmla="*/ 874124 h 4367670"/>
              <a:gd name="connsiteX8235" fmla="*/ 4005561 w 5365133"/>
              <a:gd name="connsiteY8235" fmla="*/ 886051 h 4367670"/>
              <a:gd name="connsiteX8236" fmla="*/ 4005561 w 5365133"/>
              <a:gd name="connsiteY8236" fmla="*/ 874124 h 4367670"/>
              <a:gd name="connsiteX8237" fmla="*/ 4017517 w 5365133"/>
              <a:gd name="connsiteY8237" fmla="*/ 880088 h 4367670"/>
              <a:gd name="connsiteX8238" fmla="*/ 4011540 w 5365133"/>
              <a:gd name="connsiteY8238" fmla="*/ 892015 h 4367670"/>
              <a:gd name="connsiteX8239" fmla="*/ 4023495 w 5365133"/>
              <a:gd name="connsiteY8239" fmla="*/ 892015 h 4367670"/>
              <a:gd name="connsiteX8240" fmla="*/ 4023495 w 5365133"/>
              <a:gd name="connsiteY8240" fmla="*/ 874124 h 4367670"/>
              <a:gd name="connsiteX8241" fmla="*/ 4011540 w 5365133"/>
              <a:gd name="connsiteY8241" fmla="*/ 868158 h 4367670"/>
              <a:gd name="connsiteX8242" fmla="*/ 4029473 w 5365133"/>
              <a:gd name="connsiteY8242" fmla="*/ 862195 h 4367670"/>
              <a:gd name="connsiteX8243" fmla="*/ 4035451 w 5365133"/>
              <a:gd name="connsiteY8243" fmla="*/ 874124 h 4367670"/>
              <a:gd name="connsiteX8244" fmla="*/ 4029473 w 5365133"/>
              <a:gd name="connsiteY8244" fmla="*/ 880088 h 4367670"/>
              <a:gd name="connsiteX8245" fmla="*/ 4041429 w 5365133"/>
              <a:gd name="connsiteY8245" fmla="*/ 886051 h 4367670"/>
              <a:gd name="connsiteX8246" fmla="*/ 4053385 w 5365133"/>
              <a:gd name="connsiteY8246" fmla="*/ 868158 h 4367670"/>
              <a:gd name="connsiteX8247" fmla="*/ 4053385 w 5365133"/>
              <a:gd name="connsiteY8247" fmla="*/ 874124 h 4367670"/>
              <a:gd name="connsiteX8248" fmla="*/ 4059364 w 5365133"/>
              <a:gd name="connsiteY8248" fmla="*/ 874124 h 4367670"/>
              <a:gd name="connsiteX8249" fmla="*/ 4047408 w 5365133"/>
              <a:gd name="connsiteY8249" fmla="*/ 886051 h 4367670"/>
              <a:gd name="connsiteX8250" fmla="*/ 4059364 w 5365133"/>
              <a:gd name="connsiteY8250" fmla="*/ 886051 h 4367670"/>
              <a:gd name="connsiteX8251" fmla="*/ 4065342 w 5365133"/>
              <a:gd name="connsiteY8251" fmla="*/ 868158 h 4367670"/>
              <a:gd name="connsiteX8252" fmla="*/ 4077298 w 5365133"/>
              <a:gd name="connsiteY8252" fmla="*/ 862195 h 4367670"/>
              <a:gd name="connsiteX8253" fmla="*/ 4077298 w 5365133"/>
              <a:gd name="connsiteY8253" fmla="*/ 868158 h 4367670"/>
              <a:gd name="connsiteX8254" fmla="*/ 4095230 w 5365133"/>
              <a:gd name="connsiteY8254" fmla="*/ 862195 h 4367670"/>
              <a:gd name="connsiteX8255" fmla="*/ 4101208 w 5365133"/>
              <a:gd name="connsiteY8255" fmla="*/ 874124 h 4367670"/>
              <a:gd name="connsiteX8256" fmla="*/ 4089252 w 5365133"/>
              <a:gd name="connsiteY8256" fmla="*/ 880088 h 4367670"/>
              <a:gd name="connsiteX8257" fmla="*/ 4083276 w 5365133"/>
              <a:gd name="connsiteY8257" fmla="*/ 874124 h 4367670"/>
              <a:gd name="connsiteX8258" fmla="*/ 4081781 w 5365133"/>
              <a:gd name="connsiteY8258" fmla="*/ 881578 h 4367670"/>
              <a:gd name="connsiteX8259" fmla="*/ 4078598 w 5365133"/>
              <a:gd name="connsiteY8259" fmla="*/ 881125 h 4367670"/>
              <a:gd name="connsiteX8260" fmla="*/ 4069393 w 5365133"/>
              <a:gd name="connsiteY8260" fmla="*/ 890286 h 4367670"/>
              <a:gd name="connsiteX8261" fmla="*/ 4071320 w 5365133"/>
              <a:gd name="connsiteY8261" fmla="*/ 897980 h 4367670"/>
              <a:gd name="connsiteX8262" fmla="*/ 4089252 w 5365133"/>
              <a:gd name="connsiteY8262" fmla="*/ 892015 h 4367670"/>
              <a:gd name="connsiteX8263" fmla="*/ 4095230 w 5365133"/>
              <a:gd name="connsiteY8263" fmla="*/ 892015 h 4367670"/>
              <a:gd name="connsiteX8264" fmla="*/ 4107186 w 5365133"/>
              <a:gd name="connsiteY8264" fmla="*/ 874124 h 4367670"/>
              <a:gd name="connsiteX8265" fmla="*/ 4125121 w 5365133"/>
              <a:gd name="connsiteY8265" fmla="*/ 868158 h 4367670"/>
              <a:gd name="connsiteX8266" fmla="*/ 4131099 w 5365133"/>
              <a:gd name="connsiteY8266" fmla="*/ 880088 h 4367670"/>
              <a:gd name="connsiteX8267" fmla="*/ 4143055 w 5365133"/>
              <a:gd name="connsiteY8267" fmla="*/ 880088 h 4367670"/>
              <a:gd name="connsiteX8268" fmla="*/ 4137077 w 5365133"/>
              <a:gd name="connsiteY8268" fmla="*/ 880088 h 4367670"/>
              <a:gd name="connsiteX8269" fmla="*/ 4137077 w 5365133"/>
              <a:gd name="connsiteY8269" fmla="*/ 886051 h 4367670"/>
              <a:gd name="connsiteX8270" fmla="*/ 4155011 w 5365133"/>
              <a:gd name="connsiteY8270" fmla="*/ 880088 h 4367670"/>
              <a:gd name="connsiteX8271" fmla="*/ 4143055 w 5365133"/>
              <a:gd name="connsiteY8271" fmla="*/ 868158 h 4367670"/>
              <a:gd name="connsiteX8272" fmla="*/ 4178923 w 5365133"/>
              <a:gd name="connsiteY8272" fmla="*/ 850267 h 4367670"/>
              <a:gd name="connsiteX8273" fmla="*/ 4172945 w 5365133"/>
              <a:gd name="connsiteY8273" fmla="*/ 856231 h 4367670"/>
              <a:gd name="connsiteX8274" fmla="*/ 4184902 w 5365133"/>
              <a:gd name="connsiteY8274" fmla="*/ 856231 h 4367670"/>
              <a:gd name="connsiteX8275" fmla="*/ 4184902 w 5365133"/>
              <a:gd name="connsiteY8275" fmla="*/ 850267 h 4367670"/>
              <a:gd name="connsiteX8276" fmla="*/ 4208814 w 5365133"/>
              <a:gd name="connsiteY8276" fmla="*/ 844304 h 4367670"/>
              <a:gd name="connsiteX8277" fmla="*/ 4208814 w 5365133"/>
              <a:gd name="connsiteY8277" fmla="*/ 850267 h 4367670"/>
              <a:gd name="connsiteX8278" fmla="*/ 4222263 w 5365133"/>
              <a:gd name="connsiteY8278" fmla="*/ 845235 h 4367670"/>
              <a:gd name="connsiteX8279" fmla="*/ 4226635 w 5365133"/>
              <a:gd name="connsiteY8279" fmla="*/ 850142 h 4367670"/>
              <a:gd name="connsiteX8280" fmla="*/ 4238005 w 5365133"/>
              <a:gd name="connsiteY8280" fmla="*/ 844056 h 4367670"/>
              <a:gd name="connsiteX8281" fmla="*/ 4228241 w 5365133"/>
              <a:gd name="connsiteY8281" fmla="*/ 840576 h 4367670"/>
              <a:gd name="connsiteX8282" fmla="*/ 4226746 w 5365133"/>
              <a:gd name="connsiteY8282" fmla="*/ 832375 h 4367670"/>
              <a:gd name="connsiteX8283" fmla="*/ 4202836 w 5365133"/>
              <a:gd name="connsiteY8283" fmla="*/ 832375 h 4367670"/>
              <a:gd name="connsiteX8284" fmla="*/ 4328374 w 5365133"/>
              <a:gd name="connsiteY8284" fmla="*/ 784664 h 4367670"/>
              <a:gd name="connsiteX8285" fmla="*/ 4280549 w 5365133"/>
              <a:gd name="connsiteY8285" fmla="*/ 808519 h 4367670"/>
              <a:gd name="connsiteX8286" fmla="*/ 4280549 w 5365133"/>
              <a:gd name="connsiteY8286" fmla="*/ 825943 h 4367670"/>
              <a:gd name="connsiteX8287" fmla="*/ 4286540 w 5365133"/>
              <a:gd name="connsiteY8287" fmla="*/ 823681 h 4367670"/>
              <a:gd name="connsiteX8288" fmla="*/ 4288769 w 5365133"/>
              <a:gd name="connsiteY8288" fmla="*/ 820448 h 4367670"/>
              <a:gd name="connsiteX8289" fmla="*/ 4292506 w 5365133"/>
              <a:gd name="connsiteY8289" fmla="*/ 808519 h 4367670"/>
              <a:gd name="connsiteX8290" fmla="*/ 4299978 w 5365133"/>
              <a:gd name="connsiteY8290" fmla="*/ 814483 h 4367670"/>
              <a:gd name="connsiteX8291" fmla="*/ 4298836 w 5365133"/>
              <a:gd name="connsiteY8291" fmla="*/ 819040 h 4367670"/>
              <a:gd name="connsiteX8292" fmla="*/ 4299390 w 5365133"/>
              <a:gd name="connsiteY8292" fmla="*/ 818830 h 4367670"/>
              <a:gd name="connsiteX8293" fmla="*/ 4304787 w 5365133"/>
              <a:gd name="connsiteY8293" fmla="*/ 816966 h 4367670"/>
              <a:gd name="connsiteX8294" fmla="*/ 4306890 w 5365133"/>
              <a:gd name="connsiteY8294" fmla="*/ 813737 h 4367670"/>
              <a:gd name="connsiteX8295" fmla="*/ 4310440 w 5365133"/>
              <a:gd name="connsiteY8295" fmla="*/ 814484 h 4367670"/>
              <a:gd name="connsiteX8296" fmla="*/ 4298483 w 5365133"/>
              <a:gd name="connsiteY8296" fmla="*/ 808519 h 4367670"/>
              <a:gd name="connsiteX8297" fmla="*/ 4316418 w 5365133"/>
              <a:gd name="connsiteY8297" fmla="*/ 802555 h 4367670"/>
              <a:gd name="connsiteX8298" fmla="*/ 4316418 w 5365133"/>
              <a:gd name="connsiteY8298" fmla="*/ 806282 h 4367670"/>
              <a:gd name="connsiteX8299" fmla="*/ 4316418 w 5365133"/>
              <a:gd name="connsiteY8299" fmla="*/ 812948 h 4367670"/>
              <a:gd name="connsiteX8300" fmla="*/ 4335989 w 5365133"/>
              <a:gd name="connsiteY8300" fmla="*/ 806187 h 4367670"/>
              <a:gd name="connsiteX8301" fmla="*/ 4330616 w 5365133"/>
              <a:gd name="connsiteY8301" fmla="*/ 803300 h 4367670"/>
              <a:gd name="connsiteX8302" fmla="*/ 4316418 w 5365133"/>
              <a:gd name="connsiteY8302" fmla="*/ 802555 h 4367670"/>
              <a:gd name="connsiteX8303" fmla="*/ 4328374 w 5365133"/>
              <a:gd name="connsiteY8303" fmla="*/ 790627 h 4367670"/>
              <a:gd name="connsiteX8304" fmla="*/ 4334352 w 5365133"/>
              <a:gd name="connsiteY8304" fmla="*/ 796591 h 4367670"/>
              <a:gd name="connsiteX8305" fmla="*/ 4340330 w 5365133"/>
              <a:gd name="connsiteY8305" fmla="*/ 796591 h 4367670"/>
              <a:gd name="connsiteX8306" fmla="*/ 4328374 w 5365133"/>
              <a:gd name="connsiteY8306" fmla="*/ 784664 h 4367670"/>
              <a:gd name="connsiteX8307" fmla="*/ 4355923 w 5365133"/>
              <a:gd name="connsiteY8307" fmla="*/ 774291 h 4367670"/>
              <a:gd name="connsiteX8308" fmla="*/ 4340330 w 5365133"/>
              <a:gd name="connsiteY8308" fmla="*/ 784664 h 4367670"/>
              <a:gd name="connsiteX8309" fmla="*/ 4346308 w 5365133"/>
              <a:gd name="connsiteY8309" fmla="*/ 795846 h 4367670"/>
              <a:gd name="connsiteX8310" fmla="*/ 4346936 w 5365133"/>
              <a:gd name="connsiteY8310" fmla="*/ 796549 h 4367670"/>
              <a:gd name="connsiteX8311" fmla="*/ 4346308 w 5365133"/>
              <a:gd name="connsiteY8311" fmla="*/ 796591 h 4367670"/>
              <a:gd name="connsiteX8312" fmla="*/ 4347339 w 5365133"/>
              <a:gd name="connsiteY8312" fmla="*/ 797003 h 4367670"/>
              <a:gd name="connsiteX8313" fmla="*/ 4350923 w 5365133"/>
              <a:gd name="connsiteY8313" fmla="*/ 801027 h 4367670"/>
              <a:gd name="connsiteX8314" fmla="*/ 4352259 w 5365133"/>
              <a:gd name="connsiteY8314" fmla="*/ 800566 h 4367670"/>
              <a:gd name="connsiteX8315" fmla="*/ 4353535 w 5365133"/>
              <a:gd name="connsiteY8315" fmla="*/ 800060 h 4367670"/>
              <a:gd name="connsiteX8316" fmla="*/ 4353779 w 5365133"/>
              <a:gd name="connsiteY8316" fmla="*/ 799573 h 4367670"/>
              <a:gd name="connsiteX8317" fmla="*/ 4347339 w 5365133"/>
              <a:gd name="connsiteY8317" fmla="*/ 797003 h 4367670"/>
              <a:gd name="connsiteX8318" fmla="*/ 4346936 w 5365133"/>
              <a:gd name="connsiteY8318" fmla="*/ 796549 h 4367670"/>
              <a:gd name="connsiteX8319" fmla="*/ 4357516 w 5365133"/>
              <a:gd name="connsiteY8319" fmla="*/ 795846 h 4367670"/>
              <a:gd name="connsiteX8320" fmla="*/ 4361134 w 5365133"/>
              <a:gd name="connsiteY8320" fmla="*/ 797050 h 4367670"/>
              <a:gd name="connsiteX8321" fmla="*/ 4362551 w 5365133"/>
              <a:gd name="connsiteY8321" fmla="*/ 796488 h 4367670"/>
              <a:gd name="connsiteX8322" fmla="*/ 4364241 w 5365133"/>
              <a:gd name="connsiteY8322" fmla="*/ 790627 h 4367670"/>
              <a:gd name="connsiteX8323" fmla="*/ 4364241 w 5365133"/>
              <a:gd name="connsiteY8323" fmla="*/ 795818 h 4367670"/>
              <a:gd name="connsiteX8324" fmla="*/ 4371775 w 5365133"/>
              <a:gd name="connsiteY8324" fmla="*/ 792833 h 4367670"/>
              <a:gd name="connsiteX8325" fmla="*/ 4376197 w 5365133"/>
              <a:gd name="connsiteY8325" fmla="*/ 790627 h 4367670"/>
              <a:gd name="connsiteX8326" fmla="*/ 4370219 w 5365133"/>
              <a:gd name="connsiteY8326" fmla="*/ 784664 h 4367670"/>
              <a:gd name="connsiteX8327" fmla="*/ 4376197 w 5365133"/>
              <a:gd name="connsiteY8327" fmla="*/ 778698 h 4367670"/>
              <a:gd name="connsiteX8328" fmla="*/ 4397486 w 5365133"/>
              <a:gd name="connsiteY8328" fmla="*/ 766130 h 4367670"/>
              <a:gd name="connsiteX8329" fmla="*/ 4400109 w 5365133"/>
              <a:gd name="connsiteY8329" fmla="*/ 766771 h 4367670"/>
              <a:gd name="connsiteX8330" fmla="*/ 4405491 w 5365133"/>
              <a:gd name="connsiteY8330" fmla="*/ 761404 h 4367670"/>
              <a:gd name="connsiteX8331" fmla="*/ 4412814 w 5365133"/>
              <a:gd name="connsiteY8331" fmla="*/ 757080 h 4367670"/>
              <a:gd name="connsiteX8332" fmla="*/ 4453912 w 5365133"/>
              <a:gd name="connsiteY8332" fmla="*/ 730987 h 4367670"/>
              <a:gd name="connsiteX8333" fmla="*/ 4465868 w 5365133"/>
              <a:gd name="connsiteY8333" fmla="*/ 736951 h 4367670"/>
              <a:gd name="connsiteX8334" fmla="*/ 4382175 w 5365133"/>
              <a:gd name="connsiteY8334" fmla="*/ 784664 h 4367670"/>
              <a:gd name="connsiteX8335" fmla="*/ 4384333 w 5365133"/>
              <a:gd name="connsiteY8335" fmla="*/ 787858 h 4367670"/>
              <a:gd name="connsiteX8336" fmla="*/ 4404005 w 5365133"/>
              <a:gd name="connsiteY8336" fmla="*/ 780064 h 4367670"/>
              <a:gd name="connsiteX8337" fmla="*/ 4953981 w 5365133"/>
              <a:gd name="connsiteY8337" fmla="*/ 541504 h 4367670"/>
              <a:gd name="connsiteX8338" fmla="*/ 4864312 w 5365133"/>
              <a:gd name="connsiteY8338" fmla="*/ 595181 h 4367670"/>
              <a:gd name="connsiteX8339" fmla="*/ 4690949 w 5365133"/>
              <a:gd name="connsiteY8339" fmla="*/ 672712 h 4367670"/>
              <a:gd name="connsiteX8340" fmla="*/ 4690949 w 5365133"/>
              <a:gd name="connsiteY8340" fmla="*/ 678677 h 4367670"/>
              <a:gd name="connsiteX8341" fmla="*/ 4678993 w 5365133"/>
              <a:gd name="connsiteY8341" fmla="*/ 690605 h 4367670"/>
              <a:gd name="connsiteX8342" fmla="*/ 4684971 w 5365133"/>
              <a:gd name="connsiteY8342" fmla="*/ 678677 h 4367670"/>
              <a:gd name="connsiteX8343" fmla="*/ 4661059 w 5365133"/>
              <a:gd name="connsiteY8343" fmla="*/ 684641 h 4367670"/>
              <a:gd name="connsiteX8344" fmla="*/ 4673014 w 5365133"/>
              <a:gd name="connsiteY8344" fmla="*/ 684641 h 4367670"/>
              <a:gd name="connsiteX8345" fmla="*/ 4666290 w 5365133"/>
              <a:gd name="connsiteY8345" fmla="*/ 692096 h 4367670"/>
              <a:gd name="connsiteX8346" fmla="*/ 4659732 w 5365133"/>
              <a:gd name="connsiteY8346" fmla="*/ 691223 h 4367670"/>
              <a:gd name="connsiteX8347" fmla="*/ 4661059 w 5365133"/>
              <a:gd name="connsiteY8347" fmla="*/ 690605 h 4367670"/>
              <a:gd name="connsiteX8348" fmla="*/ 4659642 w 5365133"/>
              <a:gd name="connsiteY8348" fmla="*/ 691212 h 4367670"/>
              <a:gd name="connsiteX8349" fmla="*/ 4655081 w 5365133"/>
              <a:gd name="connsiteY8349" fmla="*/ 690605 h 4367670"/>
              <a:gd name="connsiteX8350" fmla="*/ 4655829 w 5365133"/>
              <a:gd name="connsiteY8350" fmla="*/ 692840 h 4367670"/>
              <a:gd name="connsiteX8351" fmla="*/ 4659642 w 5365133"/>
              <a:gd name="connsiteY8351" fmla="*/ 691212 h 4367670"/>
              <a:gd name="connsiteX8352" fmla="*/ 4659732 w 5365133"/>
              <a:gd name="connsiteY8352" fmla="*/ 691223 h 4367670"/>
              <a:gd name="connsiteX8353" fmla="*/ 4547477 w 5365133"/>
              <a:gd name="connsiteY8353" fmla="*/ 743536 h 4367670"/>
              <a:gd name="connsiteX8354" fmla="*/ 4433895 w 5365133"/>
              <a:gd name="connsiteY8354" fmla="*/ 791993 h 4367670"/>
              <a:gd name="connsiteX8355" fmla="*/ 4439873 w 5365133"/>
              <a:gd name="connsiteY8355" fmla="*/ 803921 h 4367670"/>
              <a:gd name="connsiteX8356" fmla="*/ 4404005 w 5365133"/>
              <a:gd name="connsiteY8356" fmla="*/ 815850 h 4367670"/>
              <a:gd name="connsiteX8357" fmla="*/ 4421939 w 5365133"/>
              <a:gd name="connsiteY8357" fmla="*/ 815850 h 4367670"/>
              <a:gd name="connsiteX8358" fmla="*/ 4398026 w 5365133"/>
              <a:gd name="connsiteY8358" fmla="*/ 827777 h 4367670"/>
              <a:gd name="connsiteX8359" fmla="*/ 4386070 w 5365133"/>
              <a:gd name="connsiteY8359" fmla="*/ 821814 h 4367670"/>
              <a:gd name="connsiteX8360" fmla="*/ 4398026 w 5365133"/>
              <a:gd name="connsiteY8360" fmla="*/ 827777 h 4367670"/>
              <a:gd name="connsiteX8361" fmla="*/ 4230643 w 5365133"/>
              <a:gd name="connsiteY8361" fmla="*/ 893381 h 4367670"/>
              <a:gd name="connsiteX8362" fmla="*/ 4236621 w 5365133"/>
              <a:gd name="connsiteY8362" fmla="*/ 911273 h 4367670"/>
              <a:gd name="connsiteX8363" fmla="*/ 4248578 w 5365133"/>
              <a:gd name="connsiteY8363" fmla="*/ 893381 h 4367670"/>
              <a:gd name="connsiteX8364" fmla="*/ 4248578 w 5365133"/>
              <a:gd name="connsiteY8364" fmla="*/ 899346 h 4367670"/>
              <a:gd name="connsiteX8365" fmla="*/ 4272488 w 5365133"/>
              <a:gd name="connsiteY8365" fmla="*/ 887417 h 4367670"/>
              <a:gd name="connsiteX8366" fmla="*/ 4278466 w 5365133"/>
              <a:gd name="connsiteY8366" fmla="*/ 893381 h 4367670"/>
              <a:gd name="connsiteX8367" fmla="*/ 4296401 w 5365133"/>
              <a:gd name="connsiteY8367" fmla="*/ 875490 h 4367670"/>
              <a:gd name="connsiteX8368" fmla="*/ 4350203 w 5365133"/>
              <a:gd name="connsiteY8368" fmla="*/ 863560 h 4367670"/>
              <a:gd name="connsiteX8369" fmla="*/ 4344225 w 5365133"/>
              <a:gd name="connsiteY8369" fmla="*/ 875490 h 4367670"/>
              <a:gd name="connsiteX8370" fmla="*/ 4368137 w 5365133"/>
              <a:gd name="connsiteY8370" fmla="*/ 863560 h 4367670"/>
              <a:gd name="connsiteX8371" fmla="*/ 4368137 w 5365133"/>
              <a:gd name="connsiteY8371" fmla="*/ 845669 h 4367670"/>
              <a:gd name="connsiteX8372" fmla="*/ 4380094 w 5365133"/>
              <a:gd name="connsiteY8372" fmla="*/ 845669 h 4367670"/>
              <a:gd name="connsiteX8373" fmla="*/ 4386070 w 5365133"/>
              <a:gd name="connsiteY8373" fmla="*/ 863560 h 4367670"/>
              <a:gd name="connsiteX8374" fmla="*/ 4386070 w 5365133"/>
              <a:gd name="connsiteY8374" fmla="*/ 851633 h 4367670"/>
              <a:gd name="connsiteX8375" fmla="*/ 4421939 w 5365133"/>
              <a:gd name="connsiteY8375" fmla="*/ 851633 h 4367670"/>
              <a:gd name="connsiteX8376" fmla="*/ 4457808 w 5365133"/>
              <a:gd name="connsiteY8376" fmla="*/ 827777 h 4367670"/>
              <a:gd name="connsiteX8377" fmla="*/ 4457808 w 5365133"/>
              <a:gd name="connsiteY8377" fmla="*/ 833741 h 4367670"/>
              <a:gd name="connsiteX8378" fmla="*/ 4457808 w 5365133"/>
              <a:gd name="connsiteY8378" fmla="*/ 835196 h 4367670"/>
              <a:gd name="connsiteX8379" fmla="*/ 4466785 w 5365133"/>
              <a:gd name="connsiteY8379" fmla="*/ 835812 h 4367670"/>
              <a:gd name="connsiteX8380" fmla="*/ 4468279 w 5365133"/>
              <a:gd name="connsiteY8380" fmla="*/ 823616 h 4367670"/>
              <a:gd name="connsiteX8381" fmla="*/ 4480237 w 5365133"/>
              <a:gd name="connsiteY8381" fmla="*/ 823616 h 4367670"/>
              <a:gd name="connsiteX8382" fmla="*/ 4476500 w 5365133"/>
              <a:gd name="connsiteY8382" fmla="*/ 830790 h 4367670"/>
              <a:gd name="connsiteX8383" fmla="*/ 4486110 w 5365133"/>
              <a:gd name="connsiteY8383" fmla="*/ 829371 h 4367670"/>
              <a:gd name="connsiteX8384" fmla="*/ 4486183 w 5365133"/>
              <a:gd name="connsiteY8384" fmla="*/ 829425 h 4367670"/>
              <a:gd name="connsiteX8385" fmla="*/ 4483506 w 5365133"/>
              <a:gd name="connsiteY8385" fmla="*/ 835274 h 4367670"/>
              <a:gd name="connsiteX8386" fmla="*/ 4474259 w 5365133"/>
              <a:gd name="connsiteY8386" fmla="*/ 846574 h 4367670"/>
              <a:gd name="connsiteX8387" fmla="*/ 4465290 w 5365133"/>
              <a:gd name="connsiteY8387" fmla="*/ 848726 h 4367670"/>
              <a:gd name="connsiteX8388" fmla="*/ 4459858 w 5365133"/>
              <a:gd name="connsiteY8388" fmla="*/ 847422 h 4367670"/>
              <a:gd name="connsiteX8389" fmla="*/ 4462301 w 5365133"/>
              <a:gd name="connsiteY8389" fmla="*/ 846574 h 4367670"/>
              <a:gd name="connsiteX8390" fmla="*/ 4457808 w 5365133"/>
              <a:gd name="connsiteY8390" fmla="*/ 837945 h 4367670"/>
              <a:gd name="connsiteX8391" fmla="*/ 4457808 w 5365133"/>
              <a:gd name="connsiteY8391" fmla="*/ 839704 h 4367670"/>
              <a:gd name="connsiteX8392" fmla="*/ 4451830 w 5365133"/>
              <a:gd name="connsiteY8392" fmla="*/ 837468 h 4367670"/>
              <a:gd name="connsiteX8393" fmla="*/ 4445851 w 5365133"/>
              <a:gd name="connsiteY8393" fmla="*/ 839704 h 4367670"/>
              <a:gd name="connsiteX8394" fmla="*/ 4445851 w 5365133"/>
              <a:gd name="connsiteY8394" fmla="*/ 845669 h 4367670"/>
              <a:gd name="connsiteX8395" fmla="*/ 4429412 w 5365133"/>
              <a:gd name="connsiteY8395" fmla="*/ 853870 h 4367670"/>
              <a:gd name="connsiteX8396" fmla="*/ 4428208 w 5365133"/>
              <a:gd name="connsiteY8396" fmla="*/ 857355 h 4367670"/>
              <a:gd name="connsiteX8397" fmla="*/ 4442870 w 5365133"/>
              <a:gd name="connsiteY8397" fmla="*/ 851595 h 4367670"/>
              <a:gd name="connsiteX8398" fmla="*/ 4450343 w 5365133"/>
              <a:gd name="connsiteY8398" fmla="*/ 840834 h 4367670"/>
              <a:gd name="connsiteX8399" fmla="*/ 4454081 w 5365133"/>
              <a:gd name="connsiteY8399" fmla="*/ 845856 h 4367670"/>
              <a:gd name="connsiteX8400" fmla="*/ 4456178 w 5365133"/>
              <a:gd name="connsiteY8400" fmla="*/ 847084 h 4367670"/>
              <a:gd name="connsiteX8401" fmla="*/ 4454081 w 5365133"/>
              <a:gd name="connsiteY8401" fmla="*/ 854466 h 4367670"/>
              <a:gd name="connsiteX8402" fmla="*/ 4456323 w 5365133"/>
              <a:gd name="connsiteY8402" fmla="*/ 858052 h 4367670"/>
              <a:gd name="connsiteX8403" fmla="*/ 4432407 w 5365133"/>
              <a:gd name="connsiteY8403" fmla="*/ 875271 h 4367670"/>
              <a:gd name="connsiteX8404" fmla="*/ 4424934 w 5365133"/>
              <a:gd name="connsiteY8404" fmla="*/ 868814 h 4367670"/>
              <a:gd name="connsiteX8405" fmla="*/ 4425396 w 5365133"/>
              <a:gd name="connsiteY8405" fmla="*/ 865488 h 4367670"/>
              <a:gd name="connsiteX8406" fmla="*/ 4421939 w 5365133"/>
              <a:gd name="connsiteY8406" fmla="*/ 875490 h 4367670"/>
              <a:gd name="connsiteX8407" fmla="*/ 4415961 w 5365133"/>
              <a:gd name="connsiteY8407" fmla="*/ 863560 h 4367670"/>
              <a:gd name="connsiteX8408" fmla="*/ 4356181 w 5365133"/>
              <a:gd name="connsiteY8408" fmla="*/ 893381 h 4367670"/>
              <a:gd name="connsiteX8409" fmla="*/ 4332270 w 5365133"/>
              <a:gd name="connsiteY8409" fmla="*/ 899346 h 4367670"/>
              <a:gd name="connsiteX8410" fmla="*/ 4334512 w 5365133"/>
              <a:gd name="connsiteY8410" fmla="*/ 907546 h 4367670"/>
              <a:gd name="connsiteX8411" fmla="*/ 4333548 w 5365133"/>
              <a:gd name="connsiteY8411" fmla="*/ 909147 h 4367670"/>
              <a:gd name="connsiteX8412" fmla="*/ 4338704 w 5365133"/>
              <a:gd name="connsiteY8412" fmla="*/ 907476 h 4367670"/>
              <a:gd name="connsiteX8413" fmla="*/ 4333506 w 5365133"/>
              <a:gd name="connsiteY8413" fmla="*/ 911825 h 4367670"/>
              <a:gd name="connsiteX8414" fmla="*/ 4335819 w 5365133"/>
              <a:gd name="connsiteY8414" fmla="*/ 912857 h 4367670"/>
              <a:gd name="connsiteX8415" fmla="*/ 4338248 w 5365133"/>
              <a:gd name="connsiteY8415" fmla="*/ 910528 h 4367670"/>
              <a:gd name="connsiteX8416" fmla="*/ 4343539 w 5365133"/>
              <a:gd name="connsiteY8416" fmla="*/ 905909 h 4367670"/>
              <a:gd name="connsiteX8417" fmla="*/ 4338704 w 5365133"/>
              <a:gd name="connsiteY8417" fmla="*/ 907476 h 4367670"/>
              <a:gd name="connsiteX8418" fmla="*/ 4341224 w 5365133"/>
              <a:gd name="connsiteY8418" fmla="*/ 905368 h 4367670"/>
              <a:gd name="connsiteX8419" fmla="*/ 4343993 w 5365133"/>
              <a:gd name="connsiteY8419" fmla="*/ 905512 h 4367670"/>
              <a:gd name="connsiteX8420" fmla="*/ 4344225 w 5365133"/>
              <a:gd name="connsiteY8420" fmla="*/ 905309 h 4367670"/>
              <a:gd name="connsiteX8421" fmla="*/ 4356181 w 5365133"/>
              <a:gd name="connsiteY8421" fmla="*/ 911273 h 4367670"/>
              <a:gd name="connsiteX8422" fmla="*/ 4320313 w 5365133"/>
              <a:gd name="connsiteY8422" fmla="*/ 929166 h 4367670"/>
              <a:gd name="connsiteX8423" fmla="*/ 4319544 w 5365133"/>
              <a:gd name="connsiteY8423" fmla="*/ 928398 h 4367670"/>
              <a:gd name="connsiteX8424" fmla="*/ 4318846 w 5365133"/>
              <a:gd name="connsiteY8424" fmla="*/ 928545 h 4367670"/>
              <a:gd name="connsiteX8425" fmla="*/ 4317279 w 5365133"/>
              <a:gd name="connsiteY8425" fmla="*/ 926138 h 4367670"/>
              <a:gd name="connsiteX8426" fmla="*/ 4312526 w 5365133"/>
              <a:gd name="connsiteY8426" fmla="*/ 921397 h 4367670"/>
              <a:gd name="connsiteX8427" fmla="*/ 4310440 w 5365133"/>
              <a:gd name="connsiteY8427" fmla="*/ 921835 h 4367670"/>
              <a:gd name="connsiteX8428" fmla="*/ 4310440 w 5365133"/>
              <a:gd name="connsiteY8428" fmla="*/ 933764 h 4367670"/>
              <a:gd name="connsiteX8429" fmla="*/ 4304462 w 5365133"/>
              <a:gd name="connsiteY8429" fmla="*/ 921835 h 4367670"/>
              <a:gd name="connsiteX8430" fmla="*/ 4301966 w 5365133"/>
              <a:gd name="connsiteY8430" fmla="*/ 922830 h 4367670"/>
              <a:gd name="connsiteX8431" fmla="*/ 4302379 w 5365133"/>
              <a:gd name="connsiteY8431" fmla="*/ 923200 h 4367670"/>
              <a:gd name="connsiteX8432" fmla="*/ 4299483 w 5365133"/>
              <a:gd name="connsiteY8432" fmla="*/ 928420 h 4367670"/>
              <a:gd name="connsiteX8433" fmla="*/ 4298891 w 5365133"/>
              <a:gd name="connsiteY8433" fmla="*/ 928872 h 4367670"/>
              <a:gd name="connsiteX8434" fmla="*/ 4300539 w 5365133"/>
              <a:gd name="connsiteY8434" fmla="*/ 933204 h 4367670"/>
              <a:gd name="connsiteX8435" fmla="*/ 4268593 w 5365133"/>
              <a:gd name="connsiteY8435" fmla="*/ 951655 h 4367670"/>
              <a:gd name="connsiteX8436" fmla="*/ 4271582 w 5365133"/>
              <a:gd name="connsiteY8436" fmla="*/ 945691 h 4367670"/>
              <a:gd name="connsiteX8437" fmla="*/ 4273147 w 5365133"/>
              <a:gd name="connsiteY8437" fmla="*/ 942568 h 4367670"/>
              <a:gd name="connsiteX8438" fmla="*/ 4268005 w 5365133"/>
              <a:gd name="connsiteY8438" fmla="*/ 947057 h 4367670"/>
              <a:gd name="connsiteX8439" fmla="*/ 4248578 w 5365133"/>
              <a:gd name="connsiteY8439" fmla="*/ 958986 h 4367670"/>
              <a:gd name="connsiteX8440" fmla="*/ 4220341 w 5365133"/>
              <a:gd name="connsiteY8440" fmla="*/ 968376 h 4367670"/>
              <a:gd name="connsiteX8441" fmla="*/ 4220768 w 5365133"/>
              <a:gd name="connsiteY8441" fmla="*/ 969547 h 4367670"/>
              <a:gd name="connsiteX8442" fmla="*/ 4137077 w 5365133"/>
              <a:gd name="connsiteY8442" fmla="*/ 1005331 h 4367670"/>
              <a:gd name="connsiteX8443" fmla="*/ 4136111 w 5365133"/>
              <a:gd name="connsiteY8443" fmla="*/ 998580 h 4367670"/>
              <a:gd name="connsiteX8444" fmla="*/ 4131099 w 5365133"/>
              <a:gd name="connsiteY8444" fmla="*/ 1002508 h 4367670"/>
              <a:gd name="connsiteX8445" fmla="*/ 4131099 w 5365133"/>
              <a:gd name="connsiteY8445" fmla="*/ 1005331 h 4367670"/>
              <a:gd name="connsiteX8446" fmla="*/ 4125121 w 5365133"/>
              <a:gd name="connsiteY8446" fmla="*/ 1007195 h 4367670"/>
              <a:gd name="connsiteX8447" fmla="*/ 4118742 w 5365133"/>
              <a:gd name="connsiteY8447" fmla="*/ 1012196 h 4367670"/>
              <a:gd name="connsiteX8448" fmla="*/ 4063259 w 5365133"/>
              <a:gd name="connsiteY8448" fmla="*/ 1036516 h 4367670"/>
              <a:gd name="connsiteX8449" fmla="*/ 4296401 w 5365133"/>
              <a:gd name="connsiteY8449" fmla="*/ 964949 h 4367670"/>
              <a:gd name="connsiteX8450" fmla="*/ 4314335 w 5365133"/>
              <a:gd name="connsiteY8450" fmla="*/ 970913 h 4367670"/>
              <a:gd name="connsiteX8451" fmla="*/ 4374116 w 5365133"/>
              <a:gd name="connsiteY8451" fmla="*/ 948271 h 4367670"/>
              <a:gd name="connsiteX8452" fmla="*/ 4374116 w 5365133"/>
              <a:gd name="connsiteY8452" fmla="*/ 970913 h 4367670"/>
              <a:gd name="connsiteX8453" fmla="*/ 4320313 w 5365133"/>
              <a:gd name="connsiteY8453" fmla="*/ 994769 h 4367670"/>
              <a:gd name="connsiteX8454" fmla="*/ 4332270 w 5365133"/>
              <a:gd name="connsiteY8454" fmla="*/ 994769 h 4367670"/>
              <a:gd name="connsiteX8455" fmla="*/ 4332270 w 5365133"/>
              <a:gd name="connsiteY8455" fmla="*/ 1000733 h 4367670"/>
              <a:gd name="connsiteX8456" fmla="*/ 4350203 w 5365133"/>
              <a:gd name="connsiteY8456" fmla="*/ 1006697 h 4367670"/>
              <a:gd name="connsiteX8457" fmla="*/ 4362159 w 5365133"/>
              <a:gd name="connsiteY8457" fmla="*/ 1000733 h 4367670"/>
              <a:gd name="connsiteX8458" fmla="*/ 4361412 w 5365133"/>
              <a:gd name="connsiteY8458" fmla="*/ 1006697 h 4367670"/>
              <a:gd name="connsiteX8459" fmla="*/ 4361389 w 5365133"/>
              <a:gd name="connsiteY8459" fmla="*/ 1006724 h 4367670"/>
              <a:gd name="connsiteX8460" fmla="*/ 4357302 w 5365133"/>
              <a:gd name="connsiteY8460" fmla="*/ 1008375 h 4367670"/>
              <a:gd name="connsiteX8461" fmla="*/ 4356181 w 5365133"/>
              <a:gd name="connsiteY8461" fmla="*/ 1012662 h 4367670"/>
              <a:gd name="connsiteX8462" fmla="*/ 4361389 w 5365133"/>
              <a:gd name="connsiteY8462" fmla="*/ 1006724 h 4367670"/>
              <a:gd name="connsiteX8463" fmla="*/ 4365149 w 5365133"/>
              <a:gd name="connsiteY8463" fmla="*/ 1005206 h 4367670"/>
              <a:gd name="connsiteX8464" fmla="*/ 4374116 w 5365133"/>
              <a:gd name="connsiteY8464" fmla="*/ 1006697 h 4367670"/>
              <a:gd name="connsiteX8465" fmla="*/ 4374116 w 5365133"/>
              <a:gd name="connsiteY8465" fmla="*/ 1000733 h 4367670"/>
              <a:gd name="connsiteX8466" fmla="*/ 4404005 w 5365133"/>
              <a:gd name="connsiteY8466" fmla="*/ 1000733 h 4367670"/>
              <a:gd name="connsiteX8467" fmla="*/ 4404005 w 5365133"/>
              <a:gd name="connsiteY8467" fmla="*/ 988806 h 4367670"/>
              <a:gd name="connsiteX8468" fmla="*/ 4409983 w 5365133"/>
              <a:gd name="connsiteY8468" fmla="*/ 994769 h 4367670"/>
              <a:gd name="connsiteX8469" fmla="*/ 4415961 w 5365133"/>
              <a:gd name="connsiteY8469" fmla="*/ 976877 h 4367670"/>
              <a:gd name="connsiteX8470" fmla="*/ 4433895 w 5365133"/>
              <a:gd name="connsiteY8470" fmla="*/ 988806 h 4367670"/>
              <a:gd name="connsiteX8471" fmla="*/ 4457808 w 5365133"/>
              <a:gd name="connsiteY8471" fmla="*/ 958986 h 4367670"/>
              <a:gd name="connsiteX8472" fmla="*/ 4451830 w 5365133"/>
              <a:gd name="connsiteY8472" fmla="*/ 976877 h 4367670"/>
              <a:gd name="connsiteX8473" fmla="*/ 4499654 w 5365133"/>
              <a:gd name="connsiteY8473" fmla="*/ 953021 h 4367670"/>
              <a:gd name="connsiteX8474" fmla="*/ 4505632 w 5365133"/>
              <a:gd name="connsiteY8474" fmla="*/ 953021 h 4367670"/>
              <a:gd name="connsiteX8475" fmla="*/ 4529543 w 5365133"/>
              <a:gd name="connsiteY8475" fmla="*/ 941093 h 4367670"/>
              <a:gd name="connsiteX8476" fmla="*/ 4505632 w 5365133"/>
              <a:gd name="connsiteY8476" fmla="*/ 958986 h 4367670"/>
              <a:gd name="connsiteX8477" fmla="*/ 4529543 w 5365133"/>
              <a:gd name="connsiteY8477" fmla="*/ 958986 h 4367670"/>
              <a:gd name="connsiteX8478" fmla="*/ 4535521 w 5365133"/>
              <a:gd name="connsiteY8478" fmla="*/ 947803 h 4367670"/>
              <a:gd name="connsiteX8479" fmla="*/ 4536050 w 5365133"/>
              <a:gd name="connsiteY8479" fmla="*/ 947208 h 4367670"/>
              <a:gd name="connsiteX8480" fmla="*/ 4535521 w 5365133"/>
              <a:gd name="connsiteY8480" fmla="*/ 953021 h 4367670"/>
              <a:gd name="connsiteX8481" fmla="*/ 4541499 w 5365133"/>
              <a:gd name="connsiteY8481" fmla="*/ 929166 h 4367670"/>
              <a:gd name="connsiteX8482" fmla="*/ 4547477 w 5365133"/>
              <a:gd name="connsiteY8482" fmla="*/ 953021 h 4367670"/>
              <a:gd name="connsiteX8483" fmla="*/ 4553454 w 5365133"/>
              <a:gd name="connsiteY8483" fmla="*/ 935130 h 4367670"/>
              <a:gd name="connsiteX8484" fmla="*/ 4553454 w 5365133"/>
              <a:gd name="connsiteY8484" fmla="*/ 947057 h 4367670"/>
              <a:gd name="connsiteX8485" fmla="*/ 4583345 w 5365133"/>
              <a:gd name="connsiteY8485" fmla="*/ 941093 h 4367670"/>
              <a:gd name="connsiteX8486" fmla="*/ 4613236 w 5365133"/>
              <a:gd name="connsiteY8486" fmla="*/ 923200 h 4367670"/>
              <a:gd name="connsiteX8487" fmla="*/ 4607257 w 5365133"/>
              <a:gd name="connsiteY8487" fmla="*/ 941093 h 4367670"/>
              <a:gd name="connsiteX8488" fmla="*/ 4595301 w 5365133"/>
              <a:gd name="connsiteY8488" fmla="*/ 941093 h 4367670"/>
              <a:gd name="connsiteX8489" fmla="*/ 4607257 w 5365133"/>
              <a:gd name="connsiteY8489" fmla="*/ 947057 h 4367670"/>
              <a:gd name="connsiteX8490" fmla="*/ 4613236 w 5365133"/>
              <a:gd name="connsiteY8490" fmla="*/ 929166 h 4367670"/>
              <a:gd name="connsiteX8491" fmla="*/ 4619214 w 5365133"/>
              <a:gd name="connsiteY8491" fmla="*/ 941093 h 4367670"/>
              <a:gd name="connsiteX8492" fmla="*/ 4631170 w 5365133"/>
              <a:gd name="connsiteY8492" fmla="*/ 941093 h 4367670"/>
              <a:gd name="connsiteX8493" fmla="*/ 4655081 w 5365133"/>
              <a:gd name="connsiteY8493" fmla="*/ 929166 h 4367670"/>
              <a:gd name="connsiteX8494" fmla="*/ 4661059 w 5365133"/>
              <a:gd name="connsiteY8494" fmla="*/ 935130 h 4367670"/>
              <a:gd name="connsiteX8495" fmla="*/ 4673014 w 5365133"/>
              <a:gd name="connsiteY8495" fmla="*/ 923200 h 4367670"/>
              <a:gd name="connsiteX8496" fmla="*/ 4690949 w 5365133"/>
              <a:gd name="connsiteY8496" fmla="*/ 917237 h 4367670"/>
              <a:gd name="connsiteX8497" fmla="*/ 4690949 w 5365133"/>
              <a:gd name="connsiteY8497" fmla="*/ 929166 h 4367670"/>
              <a:gd name="connsiteX8498" fmla="*/ 4589323 w 5365133"/>
              <a:gd name="connsiteY8498" fmla="*/ 964949 h 4367670"/>
              <a:gd name="connsiteX8499" fmla="*/ 4583345 w 5365133"/>
              <a:gd name="connsiteY8499" fmla="*/ 976877 h 4367670"/>
              <a:gd name="connsiteX8500" fmla="*/ 4577368 w 5365133"/>
              <a:gd name="connsiteY8500" fmla="*/ 970913 h 4367670"/>
              <a:gd name="connsiteX8501" fmla="*/ 4554669 w 5365133"/>
              <a:gd name="connsiteY8501" fmla="*/ 986848 h 4367670"/>
              <a:gd name="connsiteX8502" fmla="*/ 4551239 w 5365133"/>
              <a:gd name="connsiteY8502" fmla="*/ 984938 h 4367670"/>
              <a:gd name="connsiteX8503" fmla="*/ 4550466 w 5365133"/>
              <a:gd name="connsiteY8503" fmla="*/ 983588 h 4367670"/>
              <a:gd name="connsiteX8504" fmla="*/ 4547477 w 5365133"/>
              <a:gd name="connsiteY8504" fmla="*/ 982842 h 4367670"/>
              <a:gd name="connsiteX8505" fmla="*/ 4551239 w 5365133"/>
              <a:gd name="connsiteY8505" fmla="*/ 984938 h 4367670"/>
              <a:gd name="connsiteX8506" fmla="*/ 4553454 w 5365133"/>
              <a:gd name="connsiteY8506" fmla="*/ 988806 h 4367670"/>
              <a:gd name="connsiteX8507" fmla="*/ 4517586 w 5365133"/>
              <a:gd name="connsiteY8507" fmla="*/ 994769 h 4367670"/>
              <a:gd name="connsiteX8508" fmla="*/ 4475741 w 5365133"/>
              <a:gd name="connsiteY8508" fmla="*/ 1018626 h 4367670"/>
              <a:gd name="connsiteX8509" fmla="*/ 4487697 w 5365133"/>
              <a:gd name="connsiteY8509" fmla="*/ 1030553 h 4367670"/>
              <a:gd name="connsiteX8510" fmla="*/ 4463785 w 5365133"/>
              <a:gd name="connsiteY8510" fmla="*/ 1036516 h 4367670"/>
              <a:gd name="connsiteX8511" fmla="*/ 4463785 w 5365133"/>
              <a:gd name="connsiteY8511" fmla="*/ 1024589 h 4367670"/>
              <a:gd name="connsiteX8512" fmla="*/ 4457808 w 5365133"/>
              <a:gd name="connsiteY8512" fmla="*/ 1024589 h 4367670"/>
              <a:gd name="connsiteX8513" fmla="*/ 4457808 w 5365133"/>
              <a:gd name="connsiteY8513" fmla="*/ 1036516 h 4367670"/>
              <a:gd name="connsiteX8514" fmla="*/ 4445851 w 5365133"/>
              <a:gd name="connsiteY8514" fmla="*/ 1043227 h 4367670"/>
              <a:gd name="connsiteX8515" fmla="*/ 4435131 w 5365133"/>
              <a:gd name="connsiteY8515" fmla="*/ 1037211 h 4367670"/>
              <a:gd name="connsiteX8516" fmla="*/ 4447689 w 5365133"/>
              <a:gd name="connsiteY8516" fmla="*/ 1036689 h 4367670"/>
              <a:gd name="connsiteX8517" fmla="*/ 4450708 w 5365133"/>
              <a:gd name="connsiteY8517" fmla="*/ 1038195 h 4367670"/>
              <a:gd name="connsiteX8518" fmla="*/ 4451830 w 5365133"/>
              <a:gd name="connsiteY8518" fmla="*/ 1036516 h 4367670"/>
              <a:gd name="connsiteX8519" fmla="*/ 4447689 w 5365133"/>
              <a:gd name="connsiteY8519" fmla="*/ 1036689 h 4367670"/>
              <a:gd name="connsiteX8520" fmla="*/ 4447346 w 5365133"/>
              <a:gd name="connsiteY8520" fmla="*/ 1036517 h 4367670"/>
              <a:gd name="connsiteX8521" fmla="*/ 4433895 w 5365133"/>
              <a:gd name="connsiteY8521" fmla="*/ 1036516 h 4367670"/>
              <a:gd name="connsiteX8522" fmla="*/ 4435131 w 5365133"/>
              <a:gd name="connsiteY8522" fmla="*/ 1037211 h 4367670"/>
              <a:gd name="connsiteX8523" fmla="*/ 4433895 w 5365133"/>
              <a:gd name="connsiteY8523" fmla="*/ 1037263 h 4367670"/>
              <a:gd name="connsiteX8524" fmla="*/ 4415961 w 5365133"/>
              <a:gd name="connsiteY8524" fmla="*/ 1042482 h 4367670"/>
              <a:gd name="connsiteX8525" fmla="*/ 4427917 w 5365133"/>
              <a:gd name="connsiteY8525" fmla="*/ 1042482 h 4367670"/>
              <a:gd name="connsiteX8526" fmla="*/ 4433895 w 5365133"/>
              <a:gd name="connsiteY8526" fmla="*/ 1042482 h 4367670"/>
              <a:gd name="connsiteX8527" fmla="*/ 4409983 w 5365133"/>
              <a:gd name="connsiteY8527" fmla="*/ 1066337 h 4367670"/>
              <a:gd name="connsiteX8528" fmla="*/ 4409983 w 5365133"/>
              <a:gd name="connsiteY8528" fmla="*/ 1048446 h 4367670"/>
              <a:gd name="connsiteX8529" fmla="*/ 4398026 w 5365133"/>
              <a:gd name="connsiteY8529" fmla="*/ 1048446 h 4367670"/>
              <a:gd name="connsiteX8530" fmla="*/ 4404005 w 5365133"/>
              <a:gd name="connsiteY8530" fmla="*/ 1048446 h 4367670"/>
              <a:gd name="connsiteX8531" fmla="*/ 4404005 w 5365133"/>
              <a:gd name="connsiteY8531" fmla="*/ 1066337 h 4367670"/>
              <a:gd name="connsiteX8532" fmla="*/ 4392048 w 5365133"/>
              <a:gd name="connsiteY8532" fmla="*/ 1048446 h 4367670"/>
              <a:gd name="connsiteX8533" fmla="*/ 4380094 w 5365133"/>
              <a:gd name="connsiteY8533" fmla="*/ 1060373 h 4367670"/>
              <a:gd name="connsiteX8534" fmla="*/ 4392048 w 5365133"/>
              <a:gd name="connsiteY8534" fmla="*/ 1060373 h 4367670"/>
              <a:gd name="connsiteX8535" fmla="*/ 4386070 w 5365133"/>
              <a:gd name="connsiteY8535" fmla="*/ 1072302 h 4367670"/>
              <a:gd name="connsiteX8536" fmla="*/ 4374116 w 5365133"/>
              <a:gd name="connsiteY8536" fmla="*/ 1066337 h 4367670"/>
              <a:gd name="connsiteX8537" fmla="*/ 4374116 w 5365133"/>
              <a:gd name="connsiteY8537" fmla="*/ 1078266 h 4367670"/>
              <a:gd name="connsiteX8538" fmla="*/ 4356181 w 5365133"/>
              <a:gd name="connsiteY8538" fmla="*/ 1066337 h 4367670"/>
              <a:gd name="connsiteX8539" fmla="*/ 4362159 w 5365133"/>
              <a:gd name="connsiteY8539" fmla="*/ 1078266 h 4367670"/>
              <a:gd name="connsiteX8540" fmla="*/ 4242599 w 5365133"/>
              <a:gd name="connsiteY8540" fmla="*/ 1131942 h 4367670"/>
              <a:gd name="connsiteX8541" fmla="*/ 4218688 w 5365133"/>
              <a:gd name="connsiteY8541" fmla="*/ 1125978 h 4367670"/>
              <a:gd name="connsiteX8542" fmla="*/ 4218688 w 5365133"/>
              <a:gd name="connsiteY8542" fmla="*/ 1143869 h 4367670"/>
              <a:gd name="connsiteX8543" fmla="*/ 4206731 w 5365133"/>
              <a:gd name="connsiteY8543" fmla="*/ 1155798 h 4367670"/>
              <a:gd name="connsiteX8544" fmla="*/ 4200753 w 5365133"/>
              <a:gd name="connsiteY8544" fmla="*/ 1137906 h 4367670"/>
              <a:gd name="connsiteX8545" fmla="*/ 4188796 w 5365133"/>
              <a:gd name="connsiteY8545" fmla="*/ 1143869 h 4367670"/>
              <a:gd name="connsiteX8546" fmla="*/ 4194212 w 5365133"/>
              <a:gd name="connsiteY8546" fmla="*/ 1154678 h 4367670"/>
              <a:gd name="connsiteX8547" fmla="*/ 4191787 w 5365133"/>
              <a:gd name="connsiteY8547" fmla="*/ 1155051 h 4367670"/>
              <a:gd name="connsiteX8548" fmla="*/ 4188796 w 5365133"/>
              <a:gd name="connsiteY8548" fmla="*/ 1161762 h 4367670"/>
              <a:gd name="connsiteX8549" fmla="*/ 4182819 w 5365133"/>
              <a:gd name="connsiteY8549" fmla="*/ 1149833 h 4367670"/>
              <a:gd name="connsiteX8550" fmla="*/ 4176841 w 5365133"/>
              <a:gd name="connsiteY8550" fmla="*/ 1149833 h 4367670"/>
              <a:gd name="connsiteX8551" fmla="*/ 4182819 w 5365133"/>
              <a:gd name="connsiteY8551" fmla="*/ 1173689 h 4367670"/>
              <a:gd name="connsiteX8552" fmla="*/ 4206731 w 5365133"/>
              <a:gd name="connsiteY8552" fmla="*/ 1155798 h 4367670"/>
              <a:gd name="connsiteX8553" fmla="*/ 4212710 w 5365133"/>
              <a:gd name="connsiteY8553" fmla="*/ 1173689 h 4367670"/>
              <a:gd name="connsiteX8554" fmla="*/ 4212710 w 5365133"/>
              <a:gd name="connsiteY8554" fmla="*/ 1155798 h 4367670"/>
              <a:gd name="connsiteX8555" fmla="*/ 4218688 w 5365133"/>
              <a:gd name="connsiteY8555" fmla="*/ 1167725 h 4367670"/>
              <a:gd name="connsiteX8556" fmla="*/ 4266510 w 5365133"/>
              <a:gd name="connsiteY8556" fmla="*/ 1161762 h 4367670"/>
              <a:gd name="connsiteX8557" fmla="*/ 4260532 w 5365133"/>
              <a:gd name="connsiteY8557" fmla="*/ 1167725 h 4367670"/>
              <a:gd name="connsiteX8558" fmla="*/ 4254556 w 5365133"/>
              <a:gd name="connsiteY8558" fmla="*/ 1173689 h 4367670"/>
              <a:gd name="connsiteX8559" fmla="*/ 4262027 w 5365133"/>
              <a:gd name="connsiteY8559" fmla="*/ 1175180 h 4367670"/>
              <a:gd name="connsiteX8560" fmla="*/ 4260532 w 5365133"/>
              <a:gd name="connsiteY8560" fmla="*/ 1167725 h 4367670"/>
              <a:gd name="connsiteX8561" fmla="*/ 4272488 w 5365133"/>
              <a:gd name="connsiteY8561" fmla="*/ 1173689 h 4367670"/>
              <a:gd name="connsiteX8562" fmla="*/ 4272488 w 5365133"/>
              <a:gd name="connsiteY8562" fmla="*/ 1161762 h 4367670"/>
              <a:gd name="connsiteX8563" fmla="*/ 4302379 w 5365133"/>
              <a:gd name="connsiteY8563" fmla="*/ 1149833 h 4367670"/>
              <a:gd name="connsiteX8564" fmla="*/ 4290423 w 5365133"/>
              <a:gd name="connsiteY8564" fmla="*/ 1161762 h 4367670"/>
              <a:gd name="connsiteX8565" fmla="*/ 4308357 w 5365133"/>
              <a:gd name="connsiteY8565" fmla="*/ 1161762 h 4367670"/>
              <a:gd name="connsiteX8566" fmla="*/ 4302379 w 5365133"/>
              <a:gd name="connsiteY8566" fmla="*/ 1149833 h 4367670"/>
              <a:gd name="connsiteX8567" fmla="*/ 4350203 w 5365133"/>
              <a:gd name="connsiteY8567" fmla="*/ 1143869 h 4367670"/>
              <a:gd name="connsiteX8568" fmla="*/ 4356181 w 5365133"/>
              <a:gd name="connsiteY8568" fmla="*/ 1131942 h 4367670"/>
              <a:gd name="connsiteX8569" fmla="*/ 4362159 w 5365133"/>
              <a:gd name="connsiteY8569" fmla="*/ 1149833 h 4367670"/>
              <a:gd name="connsiteX8570" fmla="*/ 4350203 w 5365133"/>
              <a:gd name="connsiteY8570" fmla="*/ 1149833 h 4367670"/>
              <a:gd name="connsiteX8571" fmla="*/ 4350203 w 5365133"/>
              <a:gd name="connsiteY8571" fmla="*/ 1155798 h 4367670"/>
              <a:gd name="connsiteX8572" fmla="*/ 4302379 w 5365133"/>
              <a:gd name="connsiteY8572" fmla="*/ 1173689 h 4367670"/>
              <a:gd name="connsiteX8573" fmla="*/ 4206731 w 5365133"/>
              <a:gd name="connsiteY8573" fmla="*/ 1197546 h 4367670"/>
              <a:gd name="connsiteX8574" fmla="*/ 4194775 w 5365133"/>
              <a:gd name="connsiteY8574" fmla="*/ 1209475 h 4367670"/>
              <a:gd name="connsiteX8575" fmla="*/ 4194775 w 5365133"/>
              <a:gd name="connsiteY8575" fmla="*/ 1215438 h 4367670"/>
              <a:gd name="connsiteX8576" fmla="*/ 4158906 w 5365133"/>
              <a:gd name="connsiteY8576" fmla="*/ 1227365 h 4367670"/>
              <a:gd name="connsiteX8577" fmla="*/ 4260532 w 5365133"/>
              <a:gd name="connsiteY8577" fmla="*/ 1197546 h 4367670"/>
              <a:gd name="connsiteX8578" fmla="*/ 4265534 w 5365133"/>
              <a:gd name="connsiteY8578" fmla="*/ 1217504 h 4367670"/>
              <a:gd name="connsiteX8579" fmla="*/ 4260532 w 5365133"/>
              <a:gd name="connsiteY8579" fmla="*/ 1215438 h 4367670"/>
              <a:gd name="connsiteX8580" fmla="*/ 4259301 w 5365133"/>
              <a:gd name="connsiteY8580" fmla="*/ 1216456 h 4367670"/>
              <a:gd name="connsiteX8581" fmla="*/ 4254554 w 5365133"/>
              <a:gd name="connsiteY8581" fmla="*/ 1213202 h 4367670"/>
              <a:gd name="connsiteX8582" fmla="*/ 4242599 w 5365133"/>
              <a:gd name="connsiteY8582" fmla="*/ 1227365 h 4367670"/>
              <a:gd name="connsiteX8583" fmla="*/ 4218688 w 5365133"/>
              <a:gd name="connsiteY8583" fmla="*/ 1221402 h 4367670"/>
              <a:gd name="connsiteX8584" fmla="*/ 4212710 w 5365133"/>
              <a:gd name="connsiteY8584" fmla="*/ 1221402 h 4367670"/>
              <a:gd name="connsiteX8585" fmla="*/ 4200753 w 5365133"/>
              <a:gd name="connsiteY8585" fmla="*/ 1239294 h 4367670"/>
              <a:gd name="connsiteX8586" fmla="*/ 4200753 w 5365133"/>
              <a:gd name="connsiteY8586" fmla="*/ 1227365 h 4367670"/>
              <a:gd name="connsiteX8587" fmla="*/ 4194775 w 5365133"/>
              <a:gd name="connsiteY8587" fmla="*/ 1239294 h 4367670"/>
              <a:gd name="connsiteX8588" fmla="*/ 4194775 w 5365133"/>
              <a:gd name="connsiteY8588" fmla="*/ 1227365 h 4367670"/>
              <a:gd name="connsiteX8589" fmla="*/ 4164885 w 5365133"/>
              <a:gd name="connsiteY8589" fmla="*/ 1245258 h 4367670"/>
              <a:gd name="connsiteX8590" fmla="*/ 4164885 w 5365133"/>
              <a:gd name="connsiteY8590" fmla="*/ 1233329 h 4367670"/>
              <a:gd name="connsiteX8591" fmla="*/ 4158906 w 5365133"/>
              <a:gd name="connsiteY8591" fmla="*/ 1239294 h 4367670"/>
              <a:gd name="connsiteX8592" fmla="*/ 4140972 w 5365133"/>
              <a:gd name="connsiteY8592" fmla="*/ 1257186 h 4367670"/>
              <a:gd name="connsiteX8593" fmla="*/ 4129016 w 5365133"/>
              <a:gd name="connsiteY8593" fmla="*/ 1245258 h 4367670"/>
              <a:gd name="connsiteX8594" fmla="*/ 4129016 w 5365133"/>
              <a:gd name="connsiteY8594" fmla="*/ 1263151 h 4367670"/>
              <a:gd name="connsiteX8595" fmla="*/ 4117061 w 5365133"/>
              <a:gd name="connsiteY8595" fmla="*/ 1263151 h 4367670"/>
              <a:gd name="connsiteX8596" fmla="*/ 4123039 w 5365133"/>
              <a:gd name="connsiteY8596" fmla="*/ 1269115 h 4367670"/>
              <a:gd name="connsiteX8597" fmla="*/ 4105105 w 5365133"/>
              <a:gd name="connsiteY8597" fmla="*/ 1275078 h 4367670"/>
              <a:gd name="connsiteX8598" fmla="*/ 4129016 w 5365133"/>
              <a:gd name="connsiteY8598" fmla="*/ 1275078 h 4367670"/>
              <a:gd name="connsiteX8599" fmla="*/ 4194775 w 5365133"/>
              <a:gd name="connsiteY8599" fmla="*/ 1239294 h 4367670"/>
              <a:gd name="connsiteX8600" fmla="*/ 4200753 w 5365133"/>
              <a:gd name="connsiteY8600" fmla="*/ 1245258 h 4367670"/>
              <a:gd name="connsiteX8601" fmla="*/ 4212710 w 5365133"/>
              <a:gd name="connsiteY8601" fmla="*/ 1233329 h 4367670"/>
              <a:gd name="connsiteX8602" fmla="*/ 4248017 w 5365133"/>
              <a:gd name="connsiteY8602" fmla="*/ 1225782 h 4367670"/>
              <a:gd name="connsiteX8603" fmla="*/ 4259301 w 5365133"/>
              <a:gd name="connsiteY8603" fmla="*/ 1216456 h 4367670"/>
              <a:gd name="connsiteX8604" fmla="*/ 4266510 w 5365133"/>
              <a:gd name="connsiteY8604" fmla="*/ 1221402 h 4367670"/>
              <a:gd name="connsiteX8605" fmla="*/ 4265534 w 5365133"/>
              <a:gd name="connsiteY8605" fmla="*/ 1217504 h 4367670"/>
              <a:gd name="connsiteX8606" fmla="*/ 4272488 w 5365133"/>
              <a:gd name="connsiteY8606" fmla="*/ 1220377 h 4367670"/>
              <a:gd name="connsiteX8607" fmla="*/ 4293412 w 5365133"/>
              <a:gd name="connsiteY8607" fmla="*/ 1214691 h 4367670"/>
              <a:gd name="connsiteX8608" fmla="*/ 4305264 w 5365133"/>
              <a:gd name="connsiteY8608" fmla="*/ 1210839 h 4367670"/>
              <a:gd name="connsiteX8609" fmla="*/ 4269500 w 5365133"/>
              <a:gd name="connsiteY8609" fmla="*/ 1226620 h 4367670"/>
              <a:gd name="connsiteX8610" fmla="*/ 4230643 w 5365133"/>
              <a:gd name="connsiteY8610" fmla="*/ 1239294 h 4367670"/>
              <a:gd name="connsiteX8611" fmla="*/ 4224665 w 5365133"/>
              <a:gd name="connsiteY8611" fmla="*/ 1251222 h 4367670"/>
              <a:gd name="connsiteX8612" fmla="*/ 4212710 w 5365133"/>
              <a:gd name="connsiteY8612" fmla="*/ 1245258 h 4367670"/>
              <a:gd name="connsiteX8613" fmla="*/ 4212710 w 5365133"/>
              <a:gd name="connsiteY8613" fmla="*/ 1257186 h 4367670"/>
              <a:gd name="connsiteX8614" fmla="*/ 4204770 w 5365133"/>
              <a:gd name="connsiteY8614" fmla="*/ 1255602 h 4367670"/>
              <a:gd name="connsiteX8615" fmla="*/ 4200691 w 5365133"/>
              <a:gd name="connsiteY8615" fmla="*/ 1257120 h 4367670"/>
              <a:gd name="connsiteX8616" fmla="*/ 4196083 w 5365133"/>
              <a:gd name="connsiteY8616" fmla="*/ 1252247 h 4367670"/>
              <a:gd name="connsiteX8617" fmla="*/ 4170863 w 5365133"/>
              <a:gd name="connsiteY8617" fmla="*/ 1263151 h 4367670"/>
              <a:gd name="connsiteX8618" fmla="*/ 4170863 w 5365133"/>
              <a:gd name="connsiteY8618" fmla="*/ 1269115 h 4367670"/>
              <a:gd name="connsiteX8619" fmla="*/ 4140188 w 5365133"/>
              <a:gd name="connsiteY8619" fmla="*/ 1275606 h 4367670"/>
              <a:gd name="connsiteX8620" fmla="*/ 4140972 w 5365133"/>
              <a:gd name="connsiteY8620" fmla="*/ 1275078 h 4367670"/>
              <a:gd name="connsiteX8621" fmla="*/ 4139296 w 5365133"/>
              <a:gd name="connsiteY8621" fmla="*/ 1275794 h 4367670"/>
              <a:gd name="connsiteX8622" fmla="*/ 4121545 w 5365133"/>
              <a:gd name="connsiteY8622" fmla="*/ 1279550 h 4367670"/>
              <a:gd name="connsiteX8623" fmla="*/ 4081193 w 5365133"/>
              <a:gd name="connsiteY8623" fmla="*/ 1298934 h 4367670"/>
              <a:gd name="connsiteX8624" fmla="*/ 4099127 w 5365133"/>
              <a:gd name="connsiteY8624" fmla="*/ 1292971 h 4367670"/>
              <a:gd name="connsiteX8625" fmla="*/ 4139296 w 5365133"/>
              <a:gd name="connsiteY8625" fmla="*/ 1275794 h 4367670"/>
              <a:gd name="connsiteX8626" fmla="*/ 4140188 w 5365133"/>
              <a:gd name="connsiteY8626" fmla="*/ 1275606 h 4367670"/>
              <a:gd name="connsiteX8627" fmla="*/ 4106601 w 5365133"/>
              <a:gd name="connsiteY8627" fmla="*/ 1298188 h 4367670"/>
              <a:gd name="connsiteX8628" fmla="*/ 4063259 w 5365133"/>
              <a:gd name="connsiteY8628" fmla="*/ 1316825 h 4367670"/>
              <a:gd name="connsiteX8629" fmla="*/ 4039346 w 5365133"/>
              <a:gd name="connsiteY8629" fmla="*/ 1322791 h 4367670"/>
              <a:gd name="connsiteX8630" fmla="*/ 4045325 w 5365133"/>
              <a:gd name="connsiteY8630" fmla="*/ 1328755 h 4367670"/>
              <a:gd name="connsiteX8631" fmla="*/ 4021412 w 5365133"/>
              <a:gd name="connsiteY8631" fmla="*/ 1328755 h 4367670"/>
              <a:gd name="connsiteX8632" fmla="*/ 4015434 w 5365133"/>
              <a:gd name="connsiteY8632" fmla="*/ 1340682 h 4367670"/>
              <a:gd name="connsiteX8633" fmla="*/ 4009456 w 5365133"/>
              <a:gd name="connsiteY8633" fmla="*/ 1334718 h 4367670"/>
              <a:gd name="connsiteX8634" fmla="*/ 4009456 w 5365133"/>
              <a:gd name="connsiteY8634" fmla="*/ 1340682 h 4367670"/>
              <a:gd name="connsiteX8635" fmla="*/ 3997501 w 5365133"/>
              <a:gd name="connsiteY8635" fmla="*/ 1334718 h 4367670"/>
              <a:gd name="connsiteX8636" fmla="*/ 3973590 w 5365133"/>
              <a:gd name="connsiteY8636" fmla="*/ 1346647 h 4367670"/>
              <a:gd name="connsiteX8637" fmla="*/ 3979568 w 5365133"/>
              <a:gd name="connsiteY8637" fmla="*/ 1346647 h 4367670"/>
              <a:gd name="connsiteX8638" fmla="*/ 3854030 w 5365133"/>
              <a:gd name="connsiteY8638" fmla="*/ 1394358 h 4367670"/>
              <a:gd name="connsiteX8639" fmla="*/ 3854030 w 5365133"/>
              <a:gd name="connsiteY8639" fmla="*/ 1400322 h 4367670"/>
              <a:gd name="connsiteX8640" fmla="*/ 3734470 w 5365133"/>
              <a:gd name="connsiteY8640" fmla="*/ 1453998 h 4367670"/>
              <a:gd name="connsiteX8641" fmla="*/ 3758848 w 5365133"/>
              <a:gd name="connsiteY8641" fmla="*/ 1451761 h 4367670"/>
              <a:gd name="connsiteX8642" fmla="*/ 3782334 w 5365133"/>
              <a:gd name="connsiteY8642" fmla="*/ 1442100 h 4367670"/>
              <a:gd name="connsiteX8643" fmla="*/ 3789765 w 5365133"/>
              <a:gd name="connsiteY8643" fmla="*/ 1447290 h 4367670"/>
              <a:gd name="connsiteX8644" fmla="*/ 3788271 w 5365133"/>
              <a:gd name="connsiteY8644" fmla="*/ 1448034 h 4367670"/>
              <a:gd name="connsiteX8645" fmla="*/ 3788373 w 5365133"/>
              <a:gd name="connsiteY8645" fmla="*/ 1448150 h 4367670"/>
              <a:gd name="connsiteX8646" fmla="*/ 3796331 w 5365133"/>
              <a:gd name="connsiteY8646" fmla="*/ 1446669 h 4367670"/>
              <a:gd name="connsiteX8647" fmla="*/ 3799320 w 5365133"/>
              <a:gd name="connsiteY8647" fmla="*/ 1440705 h 4367670"/>
              <a:gd name="connsiteX8648" fmla="*/ 3799385 w 5365133"/>
              <a:gd name="connsiteY8648" fmla="*/ 1440576 h 4367670"/>
              <a:gd name="connsiteX8649" fmla="*/ 3797239 w 5365133"/>
              <a:gd name="connsiteY8649" fmla="*/ 1441326 h 4367670"/>
              <a:gd name="connsiteX8650" fmla="*/ 3782420 w 5365133"/>
              <a:gd name="connsiteY8650" fmla="*/ 1442063 h 4367670"/>
              <a:gd name="connsiteX8651" fmla="*/ 3786028 w 5365133"/>
              <a:gd name="connsiteY8651" fmla="*/ 1440579 h 4367670"/>
              <a:gd name="connsiteX8652" fmla="*/ 3842073 w 5365133"/>
              <a:gd name="connsiteY8652" fmla="*/ 1418214 h 4367670"/>
              <a:gd name="connsiteX8653" fmla="*/ 3838864 w 5365133"/>
              <a:gd name="connsiteY8653" fmla="*/ 1422706 h 4367670"/>
              <a:gd name="connsiteX8654" fmla="*/ 3843874 w 5365133"/>
              <a:gd name="connsiteY8654" fmla="*/ 1422626 h 4367670"/>
              <a:gd name="connsiteX8655" fmla="*/ 3846743 w 5365133"/>
              <a:gd name="connsiteY8655" fmla="*/ 1420968 h 4367670"/>
              <a:gd name="connsiteX8656" fmla="*/ 3846743 w 5365133"/>
              <a:gd name="connsiteY8656" fmla="*/ 1418798 h 4367670"/>
              <a:gd name="connsiteX8657" fmla="*/ 3847403 w 5365133"/>
              <a:gd name="connsiteY8657" fmla="*/ 1420586 h 4367670"/>
              <a:gd name="connsiteX8658" fmla="*/ 3853869 w 5365133"/>
              <a:gd name="connsiteY8658" fmla="*/ 1416849 h 4367670"/>
              <a:gd name="connsiteX8659" fmla="*/ 3855940 w 5365133"/>
              <a:gd name="connsiteY8659" fmla="*/ 1415773 h 4367670"/>
              <a:gd name="connsiteX8660" fmla="*/ 3859178 w 5365133"/>
              <a:gd name="connsiteY8660" fmla="*/ 1412484 h 4367670"/>
              <a:gd name="connsiteX8661" fmla="*/ 3865397 w 5365133"/>
              <a:gd name="connsiteY8661" fmla="*/ 1406171 h 4367670"/>
              <a:gd name="connsiteX8662" fmla="*/ 3863541 w 5365133"/>
              <a:gd name="connsiteY8662" fmla="*/ 1411821 h 4367670"/>
              <a:gd name="connsiteX8663" fmla="*/ 3864984 w 5365133"/>
              <a:gd name="connsiteY8663" fmla="*/ 1411071 h 4367670"/>
              <a:gd name="connsiteX8664" fmla="*/ 3880023 w 5365133"/>
              <a:gd name="connsiteY8664" fmla="*/ 1410885 h 4367670"/>
              <a:gd name="connsiteX8665" fmla="*/ 3881610 w 5365133"/>
              <a:gd name="connsiteY8665" fmla="*/ 1406505 h 4367670"/>
              <a:gd name="connsiteX8666" fmla="*/ 3881558 w 5365133"/>
              <a:gd name="connsiteY8666" fmla="*/ 1406420 h 4367670"/>
              <a:gd name="connsiteX8667" fmla="*/ 3877830 w 5365133"/>
              <a:gd name="connsiteY8667" fmla="*/ 1406171 h 4367670"/>
              <a:gd name="connsiteX8668" fmla="*/ 3879917 w 5365133"/>
              <a:gd name="connsiteY8668" fmla="*/ 1403735 h 4367670"/>
              <a:gd name="connsiteX8669" fmla="*/ 3879276 w 5365133"/>
              <a:gd name="connsiteY8669" fmla="*/ 1402685 h 4367670"/>
              <a:gd name="connsiteX8670" fmla="*/ 3874044 w 5365133"/>
              <a:gd name="connsiteY8670" fmla="*/ 1398957 h 4367670"/>
              <a:gd name="connsiteX8671" fmla="*/ 3886001 w 5365133"/>
              <a:gd name="connsiteY8671" fmla="*/ 1392992 h 4367670"/>
              <a:gd name="connsiteX8672" fmla="*/ 3886001 w 5365133"/>
              <a:gd name="connsiteY8672" fmla="*/ 1398957 h 4367670"/>
              <a:gd name="connsiteX8673" fmla="*/ 3894196 w 5365133"/>
              <a:gd name="connsiteY8673" fmla="*/ 1395687 h 4367670"/>
              <a:gd name="connsiteX8674" fmla="*/ 3895049 w 5365133"/>
              <a:gd name="connsiteY8674" fmla="*/ 1394692 h 4367670"/>
              <a:gd name="connsiteX8675" fmla="*/ 3895515 w 5365133"/>
              <a:gd name="connsiteY8675" fmla="*/ 1395160 h 4367670"/>
              <a:gd name="connsiteX8676" fmla="*/ 3897210 w 5365133"/>
              <a:gd name="connsiteY8676" fmla="*/ 1394484 h 4367670"/>
              <a:gd name="connsiteX8677" fmla="*/ 3903935 w 5365133"/>
              <a:gd name="connsiteY8677" fmla="*/ 1381065 h 4367670"/>
              <a:gd name="connsiteX8678" fmla="*/ 3915891 w 5365133"/>
              <a:gd name="connsiteY8678" fmla="*/ 1387029 h 4367670"/>
              <a:gd name="connsiteX8679" fmla="*/ 4107186 w 5365133"/>
              <a:gd name="connsiteY8679" fmla="*/ 1309496 h 4367670"/>
              <a:gd name="connsiteX8680" fmla="*/ 4320382 w 5365133"/>
              <a:gd name="connsiteY8680" fmla="*/ 1211678 h 4367670"/>
              <a:gd name="connsiteX8681" fmla="*/ 4309064 w 5365133"/>
              <a:gd name="connsiteY8681" fmla="*/ 1209603 h 4367670"/>
              <a:gd name="connsiteX8682" fmla="*/ 4314335 w 5365133"/>
              <a:gd name="connsiteY8682" fmla="*/ 1207890 h 4367670"/>
              <a:gd name="connsiteX8683" fmla="*/ 4325434 w 5365133"/>
              <a:gd name="connsiteY8683" fmla="*/ 1209361 h 4367670"/>
              <a:gd name="connsiteX8684" fmla="*/ 4327286 w 5365133"/>
              <a:gd name="connsiteY8684" fmla="*/ 1208511 h 4367670"/>
              <a:gd name="connsiteX8685" fmla="*/ 4332737 w 5365133"/>
              <a:gd name="connsiteY8685" fmla="*/ 1203230 h 4367670"/>
              <a:gd name="connsiteX8686" fmla="*/ 4362159 w 5365133"/>
              <a:gd name="connsiteY8686" fmla="*/ 1185618 h 4367670"/>
              <a:gd name="connsiteX8687" fmla="*/ 4366470 w 5365133"/>
              <a:gd name="connsiteY8687" fmla="*/ 1190532 h 4367670"/>
              <a:gd name="connsiteX8688" fmla="*/ 4386659 w 5365133"/>
              <a:gd name="connsiteY8688" fmla="*/ 1181270 h 4367670"/>
              <a:gd name="connsiteX8689" fmla="*/ 4475237 w 5365133"/>
              <a:gd name="connsiteY8689" fmla="*/ 1143929 h 4367670"/>
              <a:gd name="connsiteX8690" fmla="*/ 4472646 w 5365133"/>
              <a:gd name="connsiteY8690" fmla="*/ 1142087 h 4367670"/>
              <a:gd name="connsiteX8691" fmla="*/ 4485560 w 5365133"/>
              <a:gd name="connsiteY8691" fmla="*/ 1136347 h 4367670"/>
              <a:gd name="connsiteX8692" fmla="*/ 4488412 w 5365133"/>
              <a:gd name="connsiteY8692" fmla="*/ 1138375 h 4367670"/>
              <a:gd name="connsiteX8693" fmla="*/ 4524152 w 5365133"/>
              <a:gd name="connsiteY8693" fmla="*/ 1123307 h 4367670"/>
              <a:gd name="connsiteX8694" fmla="*/ 4657163 w 5365133"/>
              <a:gd name="connsiteY8694" fmla="*/ 1070936 h 4367670"/>
              <a:gd name="connsiteX8695" fmla="*/ 4567494 w 5365133"/>
              <a:gd name="connsiteY8695" fmla="*/ 1124613 h 4367670"/>
              <a:gd name="connsiteX8696" fmla="*/ 4394131 w 5365133"/>
              <a:gd name="connsiteY8696" fmla="*/ 1202143 h 4367670"/>
              <a:gd name="connsiteX8697" fmla="*/ 4394131 w 5365133"/>
              <a:gd name="connsiteY8697" fmla="*/ 1208109 h 4367670"/>
              <a:gd name="connsiteX8698" fmla="*/ 4382175 w 5365133"/>
              <a:gd name="connsiteY8698" fmla="*/ 1220036 h 4367670"/>
              <a:gd name="connsiteX8699" fmla="*/ 4388153 w 5365133"/>
              <a:gd name="connsiteY8699" fmla="*/ 1208109 h 4367670"/>
              <a:gd name="connsiteX8700" fmla="*/ 4364241 w 5365133"/>
              <a:gd name="connsiteY8700" fmla="*/ 1214072 h 4367670"/>
              <a:gd name="connsiteX8701" fmla="*/ 4376197 w 5365133"/>
              <a:gd name="connsiteY8701" fmla="*/ 1214072 h 4367670"/>
              <a:gd name="connsiteX8702" fmla="*/ 4369472 w 5365133"/>
              <a:gd name="connsiteY8702" fmla="*/ 1221527 h 4367670"/>
              <a:gd name="connsiteX8703" fmla="*/ 4362914 w 5365133"/>
              <a:gd name="connsiteY8703" fmla="*/ 1220654 h 4367670"/>
              <a:gd name="connsiteX8704" fmla="*/ 4364241 w 5365133"/>
              <a:gd name="connsiteY8704" fmla="*/ 1220036 h 4367670"/>
              <a:gd name="connsiteX8705" fmla="*/ 4362823 w 5365133"/>
              <a:gd name="connsiteY8705" fmla="*/ 1220643 h 4367670"/>
              <a:gd name="connsiteX8706" fmla="*/ 4358263 w 5365133"/>
              <a:gd name="connsiteY8706" fmla="*/ 1220036 h 4367670"/>
              <a:gd name="connsiteX8707" fmla="*/ 4359011 w 5365133"/>
              <a:gd name="connsiteY8707" fmla="*/ 1222273 h 4367670"/>
              <a:gd name="connsiteX8708" fmla="*/ 4362823 w 5365133"/>
              <a:gd name="connsiteY8708" fmla="*/ 1220643 h 4367670"/>
              <a:gd name="connsiteX8709" fmla="*/ 4362914 w 5365133"/>
              <a:gd name="connsiteY8709" fmla="*/ 1220654 h 4367670"/>
              <a:gd name="connsiteX8710" fmla="*/ 4250659 w 5365133"/>
              <a:gd name="connsiteY8710" fmla="*/ 1272967 h 4367670"/>
              <a:gd name="connsiteX8711" fmla="*/ 4137077 w 5365133"/>
              <a:gd name="connsiteY8711" fmla="*/ 1321425 h 4367670"/>
              <a:gd name="connsiteX8712" fmla="*/ 4143055 w 5365133"/>
              <a:gd name="connsiteY8712" fmla="*/ 1333352 h 4367670"/>
              <a:gd name="connsiteX8713" fmla="*/ 4107186 w 5365133"/>
              <a:gd name="connsiteY8713" fmla="*/ 1345281 h 4367670"/>
              <a:gd name="connsiteX8714" fmla="*/ 4109060 w 5365133"/>
              <a:gd name="connsiteY8714" fmla="*/ 1345982 h 4367670"/>
              <a:gd name="connsiteX8715" fmla="*/ 4110926 w 5365133"/>
              <a:gd name="connsiteY8715" fmla="*/ 1344608 h 4367670"/>
              <a:gd name="connsiteX8716" fmla="*/ 4139257 w 5365133"/>
              <a:gd name="connsiteY8716" fmla="*/ 1334837 h 4367670"/>
              <a:gd name="connsiteX8717" fmla="*/ 4144184 w 5365133"/>
              <a:gd name="connsiteY8717" fmla="*/ 1336643 h 4367670"/>
              <a:gd name="connsiteX8718" fmla="*/ 4145943 w 5365133"/>
              <a:gd name="connsiteY8718" fmla="*/ 1335253 h 4367670"/>
              <a:gd name="connsiteX8719" fmla="*/ 4145222 w 5365133"/>
              <a:gd name="connsiteY8719" fmla="*/ 1334837 h 4367670"/>
              <a:gd name="connsiteX8720" fmla="*/ 4147674 w 5365133"/>
              <a:gd name="connsiteY8720" fmla="*/ 1333885 h 4367670"/>
              <a:gd name="connsiteX8721" fmla="*/ 4151953 w 5365133"/>
              <a:gd name="connsiteY8721" fmla="*/ 1330503 h 4367670"/>
              <a:gd name="connsiteX8722" fmla="*/ 4174193 w 5365133"/>
              <a:gd name="connsiteY8722" fmla="*/ 1320010 h 4367670"/>
              <a:gd name="connsiteX8723" fmla="*/ 4168067 w 5365133"/>
              <a:gd name="connsiteY8723" fmla="*/ 1325963 h 4367670"/>
              <a:gd name="connsiteX8724" fmla="*/ 4184644 w 5365133"/>
              <a:gd name="connsiteY8724" fmla="*/ 1319523 h 4367670"/>
              <a:gd name="connsiteX8725" fmla="*/ 4306265 w 5365133"/>
              <a:gd name="connsiteY8725" fmla="*/ 1274709 h 4367670"/>
              <a:gd name="connsiteX8726" fmla="*/ 4324158 w 5365133"/>
              <a:gd name="connsiteY8726" fmla="*/ 1286736 h 4367670"/>
              <a:gd name="connsiteX8727" fmla="*/ 4324158 w 5365133"/>
              <a:gd name="connsiteY8727" fmla="*/ 1280722 h 4367670"/>
              <a:gd name="connsiteX8728" fmla="*/ 4336087 w 5365133"/>
              <a:gd name="connsiteY8728" fmla="*/ 1268697 h 4367670"/>
              <a:gd name="connsiteX8729" fmla="*/ 4330123 w 5365133"/>
              <a:gd name="connsiteY8729" fmla="*/ 1274709 h 4367670"/>
              <a:gd name="connsiteX8730" fmla="*/ 4353982 w 5365133"/>
              <a:gd name="connsiteY8730" fmla="*/ 1268697 h 4367670"/>
              <a:gd name="connsiteX8731" fmla="*/ 4348016 w 5365133"/>
              <a:gd name="connsiteY8731" fmla="*/ 1280722 h 4367670"/>
              <a:gd name="connsiteX8732" fmla="*/ 4324158 w 5365133"/>
              <a:gd name="connsiteY8732" fmla="*/ 1292748 h 4367670"/>
              <a:gd name="connsiteX8733" fmla="*/ 4222762 w 5365133"/>
              <a:gd name="connsiteY8733" fmla="*/ 1316800 h 4367670"/>
              <a:gd name="connsiteX8734" fmla="*/ 4222762 w 5365133"/>
              <a:gd name="connsiteY8734" fmla="*/ 1310786 h 4367670"/>
              <a:gd name="connsiteX8735" fmla="*/ 4216797 w 5365133"/>
              <a:gd name="connsiteY8735" fmla="*/ 1322813 h 4367670"/>
              <a:gd name="connsiteX8736" fmla="*/ 4210833 w 5365133"/>
              <a:gd name="connsiteY8736" fmla="*/ 1328825 h 4367670"/>
              <a:gd name="connsiteX8737" fmla="*/ 4210833 w 5365133"/>
              <a:gd name="connsiteY8737" fmla="*/ 1322813 h 4367670"/>
              <a:gd name="connsiteX8738" fmla="*/ 4204867 w 5365133"/>
              <a:gd name="connsiteY8738" fmla="*/ 1322813 h 4367670"/>
              <a:gd name="connsiteX8739" fmla="*/ 4198902 w 5365133"/>
              <a:gd name="connsiteY8739" fmla="*/ 1328825 h 4367670"/>
              <a:gd name="connsiteX8740" fmla="*/ 4181009 w 5365133"/>
              <a:gd name="connsiteY8740" fmla="*/ 1328825 h 4367670"/>
              <a:gd name="connsiteX8741" fmla="*/ 4177281 w 5365133"/>
              <a:gd name="connsiteY8741" fmla="*/ 1335589 h 4367670"/>
              <a:gd name="connsiteX8742" fmla="*/ 4176532 w 5365133"/>
              <a:gd name="connsiteY8742" fmla="*/ 1337657 h 4367670"/>
              <a:gd name="connsiteX8743" fmla="*/ 4177917 w 5365133"/>
              <a:gd name="connsiteY8743" fmla="*/ 1340612 h 4367670"/>
              <a:gd name="connsiteX8744" fmla="*/ 4175325 w 5365133"/>
              <a:gd name="connsiteY8744" fmla="*/ 1340990 h 4367670"/>
              <a:gd name="connsiteX8745" fmla="*/ 4175137 w 5365133"/>
              <a:gd name="connsiteY8745" fmla="*/ 1341508 h 4367670"/>
              <a:gd name="connsiteX8746" fmla="*/ 4169080 w 5365133"/>
              <a:gd name="connsiteY8746" fmla="*/ 1346864 h 4367670"/>
              <a:gd name="connsiteX8747" fmla="*/ 4170582 w 5365133"/>
              <a:gd name="connsiteY8747" fmla="*/ 1343077 h 4367670"/>
              <a:gd name="connsiteX8748" fmla="*/ 4166438 w 5365133"/>
              <a:gd name="connsiteY8748" fmla="*/ 1347307 h 4367670"/>
              <a:gd name="connsiteX8749" fmla="*/ 4165810 w 5365133"/>
              <a:gd name="connsiteY8749" fmla="*/ 1341553 h 4367670"/>
              <a:gd name="connsiteX8750" fmla="*/ 4168924 w 5365133"/>
              <a:gd name="connsiteY8750" fmla="*/ 1337765 h 4367670"/>
              <a:gd name="connsiteX8751" fmla="*/ 4163115 w 5365133"/>
              <a:gd name="connsiteY8751" fmla="*/ 1334837 h 4367670"/>
              <a:gd name="connsiteX8752" fmla="*/ 4157151 w 5365133"/>
              <a:gd name="connsiteY8752" fmla="*/ 1340850 h 4367670"/>
              <a:gd name="connsiteX8753" fmla="*/ 4157151 w 5365133"/>
              <a:gd name="connsiteY8753" fmla="*/ 1346864 h 4367670"/>
              <a:gd name="connsiteX8754" fmla="*/ 4156302 w 5365133"/>
              <a:gd name="connsiteY8754" fmla="*/ 1347677 h 4367670"/>
              <a:gd name="connsiteX8755" fmla="*/ 4160700 w 5365133"/>
              <a:gd name="connsiteY8755" fmla="*/ 1347307 h 4367670"/>
              <a:gd name="connsiteX8756" fmla="*/ 4148265 w 5365133"/>
              <a:gd name="connsiteY8756" fmla="*/ 1353047 h 4367670"/>
              <a:gd name="connsiteX8757" fmla="*/ 4139050 w 5365133"/>
              <a:gd name="connsiteY8757" fmla="*/ 1358022 h 4367670"/>
              <a:gd name="connsiteX8758" fmla="*/ 4139257 w 5365133"/>
              <a:gd name="connsiteY8758" fmla="*/ 1358889 h 4367670"/>
              <a:gd name="connsiteX8759" fmla="*/ 4138625 w 5365133"/>
              <a:gd name="connsiteY8759" fmla="*/ 1358252 h 4367670"/>
              <a:gd name="connsiteX8760" fmla="*/ 4137966 w 5365133"/>
              <a:gd name="connsiteY8760" fmla="*/ 1358607 h 4367670"/>
              <a:gd name="connsiteX8761" fmla="*/ 4138352 w 5365133"/>
              <a:gd name="connsiteY8761" fmla="*/ 1357977 h 4367670"/>
              <a:gd name="connsiteX8762" fmla="*/ 4134039 w 5365133"/>
              <a:gd name="connsiteY8762" fmla="*/ 1353628 h 4367670"/>
              <a:gd name="connsiteX8763" fmla="*/ 4133293 w 5365133"/>
              <a:gd name="connsiteY8763" fmla="*/ 1352876 h 4367670"/>
              <a:gd name="connsiteX8764" fmla="*/ 4139257 w 5365133"/>
              <a:gd name="connsiteY8764" fmla="*/ 1346864 h 4367670"/>
              <a:gd name="connsiteX8765" fmla="*/ 4139257 w 5365133"/>
              <a:gd name="connsiteY8765" fmla="*/ 1347615 h 4367670"/>
              <a:gd name="connsiteX8766" fmla="*/ 4137579 w 5365133"/>
              <a:gd name="connsiteY8766" fmla="*/ 1351843 h 4367670"/>
              <a:gd name="connsiteX8767" fmla="*/ 4138847 w 5365133"/>
              <a:gd name="connsiteY8767" fmla="*/ 1357168 h 4367670"/>
              <a:gd name="connsiteX8768" fmla="*/ 4140492 w 5365133"/>
              <a:gd name="connsiteY8768" fmla="*/ 1354482 h 4367670"/>
              <a:gd name="connsiteX8769" fmla="*/ 4144770 w 5365133"/>
              <a:gd name="connsiteY8769" fmla="*/ 1351661 h 4367670"/>
              <a:gd name="connsiteX8770" fmla="*/ 4142985 w 5365133"/>
              <a:gd name="connsiteY8770" fmla="*/ 1346864 h 4367670"/>
              <a:gd name="connsiteX8771" fmla="*/ 4145147 w 5365133"/>
              <a:gd name="connsiteY8771" fmla="*/ 1341051 h 4367670"/>
              <a:gd name="connsiteX8772" fmla="*/ 4139257 w 5365133"/>
              <a:gd name="connsiteY8772" fmla="*/ 1343585 h 4367670"/>
              <a:gd name="connsiteX8773" fmla="*/ 4139257 w 5365133"/>
              <a:gd name="connsiteY8773" fmla="*/ 1346864 h 4367670"/>
              <a:gd name="connsiteX8774" fmla="*/ 4120804 w 5365133"/>
              <a:gd name="connsiteY8774" fmla="*/ 1353628 h 4367670"/>
              <a:gd name="connsiteX8775" fmla="*/ 4118127 w 5365133"/>
              <a:gd name="connsiteY8775" fmla="*/ 1350278 h 4367670"/>
              <a:gd name="connsiteX8776" fmla="*/ 4115406 w 5365133"/>
              <a:gd name="connsiteY8776" fmla="*/ 1351245 h 4367670"/>
              <a:gd name="connsiteX8777" fmla="*/ 4111712 w 5365133"/>
              <a:gd name="connsiteY8777" fmla="*/ 1352797 h 4367670"/>
              <a:gd name="connsiteX8778" fmla="*/ 4110087 w 5365133"/>
              <a:gd name="connsiteY8778" fmla="*/ 1355413 h 4367670"/>
              <a:gd name="connsiteX8779" fmla="*/ 4104216 w 5365133"/>
              <a:gd name="connsiteY8779" fmla="*/ 1356635 h 4367670"/>
              <a:gd name="connsiteX8780" fmla="*/ 4103513 w 5365133"/>
              <a:gd name="connsiteY8780" fmla="*/ 1356240 h 4367670"/>
              <a:gd name="connsiteX8781" fmla="*/ 4101208 w 5365133"/>
              <a:gd name="connsiteY8781" fmla="*/ 1357208 h 4367670"/>
              <a:gd name="connsiteX8782" fmla="*/ 4101541 w 5365133"/>
              <a:gd name="connsiteY8782" fmla="*/ 1355136 h 4367670"/>
              <a:gd name="connsiteX8783" fmla="*/ 4100174 w 5365133"/>
              <a:gd name="connsiteY8783" fmla="*/ 1354370 h 4367670"/>
              <a:gd name="connsiteX8784" fmla="*/ 4101208 w 5365133"/>
              <a:gd name="connsiteY8784" fmla="*/ 1357208 h 4367670"/>
              <a:gd name="connsiteX8785" fmla="*/ 4093920 w 5365133"/>
              <a:gd name="connsiteY8785" fmla="*/ 1360105 h 4367670"/>
              <a:gd name="connsiteX8786" fmla="*/ 4091540 w 5365133"/>
              <a:gd name="connsiteY8786" fmla="*/ 1364902 h 4367670"/>
              <a:gd name="connsiteX8787" fmla="*/ 4085576 w 5365133"/>
              <a:gd name="connsiteY8787" fmla="*/ 1370914 h 4367670"/>
              <a:gd name="connsiteX8788" fmla="*/ 4085576 w 5365133"/>
              <a:gd name="connsiteY8788" fmla="*/ 1364902 h 4367670"/>
              <a:gd name="connsiteX8789" fmla="*/ 4082941 w 5365133"/>
              <a:gd name="connsiteY8789" fmla="*/ 1364467 h 4367670"/>
              <a:gd name="connsiteX8790" fmla="*/ 4077777 w 5365133"/>
              <a:gd name="connsiteY8790" fmla="*/ 1366519 h 4367670"/>
              <a:gd name="connsiteX8791" fmla="*/ 4075884 w 5365133"/>
              <a:gd name="connsiteY8791" fmla="*/ 1367907 h 4367670"/>
              <a:gd name="connsiteX8792" fmla="*/ 4069640 w 5365133"/>
              <a:gd name="connsiteY8792" fmla="*/ 1371665 h 4367670"/>
              <a:gd name="connsiteX8793" fmla="*/ 4065755 w 5365133"/>
              <a:gd name="connsiteY8793" fmla="*/ 1371297 h 4367670"/>
              <a:gd name="connsiteX8794" fmla="*/ 4062638 w 5365133"/>
              <a:gd name="connsiteY8794" fmla="*/ 1372536 h 4367670"/>
              <a:gd name="connsiteX8795" fmla="*/ 4064700 w 5365133"/>
              <a:gd name="connsiteY8795" fmla="*/ 1376175 h 4367670"/>
              <a:gd name="connsiteX8796" fmla="*/ 4067682 w 5365133"/>
              <a:gd name="connsiteY8796" fmla="*/ 1376926 h 4367670"/>
              <a:gd name="connsiteX8797" fmla="*/ 4061718 w 5365133"/>
              <a:gd name="connsiteY8797" fmla="*/ 1377678 h 4367670"/>
              <a:gd name="connsiteX8798" fmla="*/ 4059837 w 5365133"/>
              <a:gd name="connsiteY8798" fmla="*/ 1373648 h 4367670"/>
              <a:gd name="connsiteX8799" fmla="*/ 4054641 w 5365133"/>
              <a:gd name="connsiteY8799" fmla="*/ 1375713 h 4367670"/>
              <a:gd name="connsiteX8800" fmla="*/ 4053421 w 5365133"/>
              <a:gd name="connsiteY8800" fmla="*/ 1380074 h 4367670"/>
              <a:gd name="connsiteX8801" fmla="*/ 4057367 w 5365133"/>
              <a:gd name="connsiteY8801" fmla="*/ 1383841 h 4367670"/>
              <a:gd name="connsiteX8802" fmla="*/ 4058060 w 5365133"/>
              <a:gd name="connsiteY8802" fmla="*/ 1384700 h 4367670"/>
              <a:gd name="connsiteX8803" fmla="*/ 4063128 w 5365133"/>
              <a:gd name="connsiteY8803" fmla="*/ 1381744 h 4367670"/>
              <a:gd name="connsiteX8804" fmla="*/ 4063845 w 5365133"/>
              <a:gd name="connsiteY8804" fmla="*/ 1387574 h 4367670"/>
              <a:gd name="connsiteX8805" fmla="*/ 4061478 w 5365133"/>
              <a:gd name="connsiteY8805" fmla="*/ 1388935 h 4367670"/>
              <a:gd name="connsiteX8806" fmla="*/ 4061492 w 5365133"/>
              <a:gd name="connsiteY8806" fmla="*/ 1388953 h 4367670"/>
              <a:gd name="connsiteX8807" fmla="*/ 4061283 w 5365133"/>
              <a:gd name="connsiteY8807" fmla="*/ 1389046 h 4367670"/>
              <a:gd name="connsiteX8808" fmla="*/ 4060257 w 5365133"/>
              <a:gd name="connsiteY8808" fmla="*/ 1389636 h 4367670"/>
              <a:gd name="connsiteX8809" fmla="*/ 4059498 w 5365133"/>
              <a:gd name="connsiteY8809" fmla="*/ 1389845 h 4367670"/>
              <a:gd name="connsiteX8810" fmla="*/ 4058085 w 5365133"/>
              <a:gd name="connsiteY8810" fmla="*/ 1390477 h 4367670"/>
              <a:gd name="connsiteX8811" fmla="*/ 4057888 w 5365133"/>
              <a:gd name="connsiteY8811" fmla="*/ 1390288 h 4367670"/>
              <a:gd name="connsiteX8812" fmla="*/ 4056670 w 5365133"/>
              <a:gd name="connsiteY8812" fmla="*/ 1390622 h 4367670"/>
              <a:gd name="connsiteX8813" fmla="*/ 4057388 w 5365133"/>
              <a:gd name="connsiteY8813" fmla="*/ 1393224 h 4367670"/>
              <a:gd name="connsiteX8814" fmla="*/ 4045909 w 5365133"/>
              <a:gd name="connsiteY8814" fmla="*/ 1387484 h 4367670"/>
              <a:gd name="connsiteX8815" fmla="*/ 4054113 w 5365133"/>
              <a:gd name="connsiteY8815" fmla="*/ 1386800 h 4367670"/>
              <a:gd name="connsiteX8816" fmla="*/ 4050014 w 5365133"/>
              <a:gd name="connsiteY8816" fmla="*/ 1383214 h 4367670"/>
              <a:gd name="connsiteX8817" fmla="*/ 4049054 w 5365133"/>
              <a:gd name="connsiteY8817" fmla="*/ 1377934 h 4367670"/>
              <a:gd name="connsiteX8818" fmla="*/ 4045426 w 5365133"/>
              <a:gd name="connsiteY8818" fmla="*/ 1379375 h 4367670"/>
              <a:gd name="connsiteX8819" fmla="*/ 4044274 w 5365133"/>
              <a:gd name="connsiteY8819" fmla="*/ 1383214 h 4367670"/>
              <a:gd name="connsiteX8820" fmla="*/ 4041405 w 5365133"/>
              <a:gd name="connsiteY8820" fmla="*/ 1384648 h 4367670"/>
              <a:gd name="connsiteX8821" fmla="*/ 4040136 w 5365133"/>
              <a:gd name="connsiteY8821" fmla="*/ 1381477 h 4367670"/>
              <a:gd name="connsiteX8822" fmla="*/ 4024582 w 5365133"/>
              <a:gd name="connsiteY8822" fmla="*/ 1387658 h 4367670"/>
              <a:gd name="connsiteX8823" fmla="*/ 4024904 w 5365133"/>
              <a:gd name="connsiteY8823" fmla="*/ 1389670 h 4367670"/>
              <a:gd name="connsiteX8824" fmla="*/ 4026966 w 5365133"/>
              <a:gd name="connsiteY8824" fmla="*/ 1396934 h 4367670"/>
              <a:gd name="connsiteX8825" fmla="*/ 4031880 w 5365133"/>
              <a:gd name="connsiteY8825" fmla="*/ 1399883 h 4367670"/>
              <a:gd name="connsiteX8826" fmla="*/ 4039094 w 5365133"/>
              <a:gd name="connsiteY8826" fmla="*/ 1396533 h 4367670"/>
              <a:gd name="connsiteX8827" fmla="*/ 4041713 w 5365133"/>
              <a:gd name="connsiteY8827" fmla="*/ 1395884 h 4367670"/>
              <a:gd name="connsiteX8828" fmla="*/ 4038535 w 5365133"/>
              <a:gd name="connsiteY8828" fmla="*/ 1394692 h 4367670"/>
              <a:gd name="connsiteX8829" fmla="*/ 4044274 w 5365133"/>
              <a:gd name="connsiteY8829" fmla="*/ 1390387 h 4367670"/>
              <a:gd name="connsiteX8830" fmla="*/ 4049147 w 5365133"/>
              <a:gd name="connsiteY8830" fmla="*/ 1394042 h 4367670"/>
              <a:gd name="connsiteX8831" fmla="*/ 4053385 w 5365133"/>
              <a:gd name="connsiteY8831" fmla="*/ 1392992 h 4367670"/>
              <a:gd name="connsiteX8832" fmla="*/ 4047408 w 5365133"/>
              <a:gd name="connsiteY8832" fmla="*/ 1404921 h 4367670"/>
              <a:gd name="connsiteX8833" fmla="*/ 4050970 w 5365133"/>
              <a:gd name="connsiteY8833" fmla="*/ 1402734 h 4367670"/>
              <a:gd name="connsiteX8834" fmla="*/ 4061557 w 5365133"/>
              <a:gd name="connsiteY8834" fmla="*/ 1391754 h 4367670"/>
              <a:gd name="connsiteX8835" fmla="*/ 4062162 w 5365133"/>
              <a:gd name="connsiteY8835" fmla="*/ 1393952 h 4367670"/>
              <a:gd name="connsiteX8836" fmla="*/ 4056936 w 5365133"/>
              <a:gd name="connsiteY8836" fmla="*/ 1399070 h 4367670"/>
              <a:gd name="connsiteX8837" fmla="*/ 4057122 w 5365133"/>
              <a:gd name="connsiteY8837" fmla="*/ 1398956 h 4367670"/>
              <a:gd name="connsiteX8838" fmla="*/ 4071320 w 5365133"/>
              <a:gd name="connsiteY8838" fmla="*/ 1392992 h 4367670"/>
              <a:gd name="connsiteX8839" fmla="*/ 4071320 w 5365133"/>
              <a:gd name="connsiteY8839" fmla="*/ 1375101 h 4367670"/>
              <a:gd name="connsiteX8840" fmla="*/ 4083276 w 5365133"/>
              <a:gd name="connsiteY8840" fmla="*/ 1375101 h 4367670"/>
              <a:gd name="connsiteX8841" fmla="*/ 4089252 w 5365133"/>
              <a:gd name="connsiteY8841" fmla="*/ 1392992 h 4367670"/>
              <a:gd name="connsiteX8842" fmla="*/ 4089252 w 5365133"/>
              <a:gd name="connsiteY8842" fmla="*/ 1381065 h 4367670"/>
              <a:gd name="connsiteX8843" fmla="*/ 4125121 w 5365133"/>
              <a:gd name="connsiteY8843" fmla="*/ 1381065 h 4367670"/>
              <a:gd name="connsiteX8844" fmla="*/ 4160989 w 5365133"/>
              <a:gd name="connsiteY8844" fmla="*/ 1357208 h 4367670"/>
              <a:gd name="connsiteX8845" fmla="*/ 4160989 w 5365133"/>
              <a:gd name="connsiteY8845" fmla="*/ 1363172 h 4367670"/>
              <a:gd name="connsiteX8846" fmla="*/ 4160989 w 5365133"/>
              <a:gd name="connsiteY8846" fmla="*/ 1364627 h 4367670"/>
              <a:gd name="connsiteX8847" fmla="*/ 4169966 w 5365133"/>
              <a:gd name="connsiteY8847" fmla="*/ 1365244 h 4367670"/>
              <a:gd name="connsiteX8848" fmla="*/ 4171461 w 5365133"/>
              <a:gd name="connsiteY8848" fmla="*/ 1353047 h 4367670"/>
              <a:gd name="connsiteX8849" fmla="*/ 4183420 w 5365133"/>
              <a:gd name="connsiteY8849" fmla="*/ 1353047 h 4367670"/>
              <a:gd name="connsiteX8850" fmla="*/ 4179683 w 5365133"/>
              <a:gd name="connsiteY8850" fmla="*/ 1360222 h 4367670"/>
              <a:gd name="connsiteX8851" fmla="*/ 4189292 w 5365133"/>
              <a:gd name="connsiteY8851" fmla="*/ 1358802 h 4367670"/>
              <a:gd name="connsiteX8852" fmla="*/ 4189365 w 5365133"/>
              <a:gd name="connsiteY8852" fmla="*/ 1358857 h 4367670"/>
              <a:gd name="connsiteX8853" fmla="*/ 4186689 w 5365133"/>
              <a:gd name="connsiteY8853" fmla="*/ 1364705 h 4367670"/>
              <a:gd name="connsiteX8854" fmla="*/ 4176787 w 5365133"/>
              <a:gd name="connsiteY8854" fmla="*/ 1370086 h 4367670"/>
              <a:gd name="connsiteX8855" fmla="*/ 4177277 w 5365133"/>
              <a:gd name="connsiteY8855" fmla="*/ 1374523 h 4367670"/>
              <a:gd name="connsiteX8856" fmla="*/ 4182023 w 5365133"/>
              <a:gd name="connsiteY8856" fmla="*/ 1371734 h 4367670"/>
              <a:gd name="connsiteX8857" fmla="*/ 4175807 w 5365133"/>
              <a:gd name="connsiteY8857" fmla="*/ 1388953 h 4367670"/>
              <a:gd name="connsiteX8858" fmla="*/ 4150934 w 5365133"/>
              <a:gd name="connsiteY8858" fmla="*/ 1394692 h 4367670"/>
              <a:gd name="connsiteX8859" fmla="*/ 4150934 w 5365133"/>
              <a:gd name="connsiteY8859" fmla="*/ 1389409 h 4367670"/>
              <a:gd name="connsiteX8860" fmla="*/ 4143063 w 5365133"/>
              <a:gd name="connsiteY8860" fmla="*/ 1389636 h 4367670"/>
              <a:gd name="connsiteX8861" fmla="*/ 4135589 w 5365133"/>
              <a:gd name="connsiteY8861" fmla="*/ 1404702 h 4367670"/>
              <a:gd name="connsiteX8862" fmla="*/ 4128116 w 5365133"/>
              <a:gd name="connsiteY8862" fmla="*/ 1398245 h 4367670"/>
              <a:gd name="connsiteX8863" fmla="*/ 4128579 w 5365133"/>
              <a:gd name="connsiteY8863" fmla="*/ 1394919 h 4367670"/>
              <a:gd name="connsiteX8864" fmla="*/ 4125121 w 5365133"/>
              <a:gd name="connsiteY8864" fmla="*/ 1404921 h 4367670"/>
              <a:gd name="connsiteX8865" fmla="*/ 4119143 w 5365133"/>
              <a:gd name="connsiteY8865" fmla="*/ 1392992 h 4367670"/>
              <a:gd name="connsiteX8866" fmla="*/ 4111483 w 5365133"/>
              <a:gd name="connsiteY8866" fmla="*/ 1409393 h 4367670"/>
              <a:gd name="connsiteX8867" fmla="*/ 4104540 w 5365133"/>
              <a:gd name="connsiteY8867" fmla="*/ 1414061 h 4367670"/>
              <a:gd name="connsiteX8868" fmla="*/ 4104540 w 5365133"/>
              <a:gd name="connsiteY8868" fmla="*/ 1414063 h 4367670"/>
              <a:gd name="connsiteX8869" fmla="*/ 4104537 w 5365133"/>
              <a:gd name="connsiteY8869" fmla="*/ 1414062 h 4367670"/>
              <a:gd name="connsiteX8870" fmla="*/ 4093737 w 5365133"/>
              <a:gd name="connsiteY8870" fmla="*/ 1421321 h 4367670"/>
              <a:gd name="connsiteX8871" fmla="*/ 4091632 w 5365133"/>
              <a:gd name="connsiteY8871" fmla="*/ 1421871 h 4367670"/>
              <a:gd name="connsiteX8872" fmla="*/ 4092722 w 5365133"/>
              <a:gd name="connsiteY8872" fmla="*/ 1423910 h 4367670"/>
              <a:gd name="connsiteX8873" fmla="*/ 4098800 w 5365133"/>
              <a:gd name="connsiteY8873" fmla="*/ 1430725 h 4367670"/>
              <a:gd name="connsiteX8874" fmla="*/ 4092722 w 5365133"/>
              <a:gd name="connsiteY8874" fmla="*/ 1436785 h 4367670"/>
              <a:gd name="connsiteX8875" fmla="*/ 4080569 w 5365133"/>
              <a:gd name="connsiteY8875" fmla="*/ 1438298 h 4367670"/>
              <a:gd name="connsiteX8876" fmla="*/ 4074582 w 5365133"/>
              <a:gd name="connsiteY8876" fmla="*/ 1443520 h 4367670"/>
              <a:gd name="connsiteX8877" fmla="*/ 4086068 w 5365133"/>
              <a:gd name="connsiteY8877" fmla="*/ 1444914 h 4367670"/>
              <a:gd name="connsiteX8878" fmla="*/ 4097905 w 5365133"/>
              <a:gd name="connsiteY8878" fmla="*/ 1437740 h 4367670"/>
              <a:gd name="connsiteX8879" fmla="*/ 4105436 w 5365133"/>
              <a:gd name="connsiteY8879" fmla="*/ 1439731 h 4367670"/>
              <a:gd name="connsiteX8880" fmla="*/ 4087547 w 5365133"/>
              <a:gd name="connsiteY8880" fmla="*/ 1450654 h 4367670"/>
              <a:gd name="connsiteX8881" fmla="*/ 4038715 w 5365133"/>
              <a:gd name="connsiteY8881" fmla="*/ 1466437 h 4367670"/>
              <a:gd name="connsiteX8882" fmla="*/ 4044636 w 5365133"/>
              <a:gd name="connsiteY8882" fmla="*/ 1454958 h 4367670"/>
              <a:gd name="connsiteX8883" fmla="*/ 4061652 w 5365133"/>
              <a:gd name="connsiteY8883" fmla="*/ 1453522 h 4367670"/>
              <a:gd name="connsiteX8884" fmla="*/ 4067980 w 5365133"/>
              <a:gd name="connsiteY8884" fmla="*/ 1448468 h 4367670"/>
              <a:gd name="connsiteX8885" fmla="*/ 4065377 w 5365133"/>
              <a:gd name="connsiteY8885" fmla="*/ 1445872 h 4367670"/>
              <a:gd name="connsiteX8886" fmla="*/ 4062339 w 5365133"/>
              <a:gd name="connsiteY8886" fmla="*/ 1442843 h 4367670"/>
              <a:gd name="connsiteX8887" fmla="*/ 4062339 w 5365133"/>
              <a:gd name="connsiteY8887" fmla="*/ 1448900 h 4367670"/>
              <a:gd name="connsiteX8888" fmla="*/ 4038030 w 5365133"/>
              <a:gd name="connsiteY8888" fmla="*/ 1454960 h 4367670"/>
              <a:gd name="connsiteX8889" fmla="*/ 4035398 w 5365133"/>
              <a:gd name="connsiteY8889" fmla="*/ 1453319 h 4367670"/>
              <a:gd name="connsiteX8890" fmla="*/ 4030125 w 5365133"/>
              <a:gd name="connsiteY8890" fmla="*/ 1455657 h 4367670"/>
              <a:gd name="connsiteX8891" fmla="*/ 4030152 w 5365133"/>
              <a:gd name="connsiteY8891" fmla="*/ 1455675 h 4367670"/>
              <a:gd name="connsiteX8892" fmla="*/ 4026340 w 5365133"/>
              <a:gd name="connsiteY8892" fmla="*/ 1466437 h 4367670"/>
              <a:gd name="connsiteX8893" fmla="*/ 4032027 w 5365133"/>
              <a:gd name="connsiteY8893" fmla="*/ 1465768 h 4367670"/>
              <a:gd name="connsiteX8894" fmla="*/ 4016430 w 5365133"/>
              <a:gd name="connsiteY8894" fmla="*/ 1477915 h 4367670"/>
              <a:gd name="connsiteX8895" fmla="*/ 3989751 w 5365133"/>
              <a:gd name="connsiteY8895" fmla="*/ 1477915 h 4367670"/>
              <a:gd name="connsiteX8896" fmla="*/ 4008046 w 5365133"/>
              <a:gd name="connsiteY8896" fmla="*/ 1472176 h 4367670"/>
              <a:gd name="connsiteX8897" fmla="*/ 3996612 w 5365133"/>
              <a:gd name="connsiteY8897" fmla="*/ 1466437 h 4367670"/>
              <a:gd name="connsiteX8898" fmla="*/ 3993596 w 5365133"/>
              <a:gd name="connsiteY8898" fmla="*/ 1463915 h 4367670"/>
              <a:gd name="connsiteX8899" fmla="*/ 3987906 w 5365133"/>
              <a:gd name="connsiteY8899" fmla="*/ 1466052 h 4367670"/>
              <a:gd name="connsiteX8900" fmla="*/ 3981648 w 5365133"/>
              <a:gd name="connsiteY8900" fmla="*/ 1464561 h 4367670"/>
              <a:gd name="connsiteX8901" fmla="*/ 3980258 w 5365133"/>
              <a:gd name="connsiteY8901" fmla="*/ 1467075 h 4367670"/>
              <a:gd name="connsiteX8902" fmla="*/ 3986293 w 5365133"/>
              <a:gd name="connsiteY8902" fmla="*/ 1477109 h 4367670"/>
              <a:gd name="connsiteX8903" fmla="*/ 3997501 w 5365133"/>
              <a:gd name="connsiteY8903" fmla="*/ 1483818 h 4367670"/>
              <a:gd name="connsiteX8904" fmla="*/ 3899144 w 5365133"/>
              <a:gd name="connsiteY8904" fmla="*/ 1522398 h 4367670"/>
              <a:gd name="connsiteX8905" fmla="*/ 3883238 w 5365133"/>
              <a:gd name="connsiteY8905" fmla="*/ 1526779 h 4367670"/>
              <a:gd name="connsiteX8906" fmla="*/ 3886766 w 5365133"/>
              <a:gd name="connsiteY8906" fmla="*/ 1534277 h 4367670"/>
              <a:gd name="connsiteX8907" fmla="*/ 3902123 w 5365133"/>
              <a:gd name="connsiteY8907" fmla="*/ 1529435 h 4367670"/>
              <a:gd name="connsiteX8908" fmla="*/ 3907830 w 5365133"/>
              <a:gd name="connsiteY8908" fmla="*/ 1525567 h 4367670"/>
              <a:gd name="connsiteX8909" fmla="*/ 3919039 w 5365133"/>
              <a:gd name="connsiteY8909" fmla="*/ 1521094 h 4367670"/>
              <a:gd name="connsiteX8910" fmla="*/ 3919767 w 5365133"/>
              <a:gd name="connsiteY8910" fmla="*/ 1521578 h 4367670"/>
              <a:gd name="connsiteX8911" fmla="*/ 3924529 w 5365133"/>
              <a:gd name="connsiteY8911" fmla="*/ 1518023 h 4367670"/>
              <a:gd name="connsiteX8912" fmla="*/ 3921915 w 5365133"/>
              <a:gd name="connsiteY8912" fmla="*/ 1523007 h 4367670"/>
              <a:gd name="connsiteX8913" fmla="*/ 3922107 w 5365133"/>
              <a:gd name="connsiteY8913" fmla="*/ 1523134 h 4367670"/>
              <a:gd name="connsiteX8914" fmla="*/ 3932856 w 5365133"/>
              <a:gd name="connsiteY8914" fmla="*/ 1519745 h 4367670"/>
              <a:gd name="connsiteX8915" fmla="*/ 3931743 w 5365133"/>
              <a:gd name="connsiteY8915" fmla="*/ 1513640 h 4367670"/>
              <a:gd name="connsiteX8916" fmla="*/ 3963041 w 5365133"/>
              <a:gd name="connsiteY8916" fmla="*/ 1508187 h 4367670"/>
              <a:gd name="connsiteX8917" fmla="*/ 3964702 w 5365133"/>
              <a:gd name="connsiteY8917" fmla="*/ 1506544 h 4367670"/>
              <a:gd name="connsiteX8918" fmla="*/ 3966150 w 5365133"/>
              <a:gd name="connsiteY8918" fmla="*/ 1507268 h 4367670"/>
              <a:gd name="connsiteX8919" fmla="*/ 3997808 w 5365133"/>
              <a:gd name="connsiteY8919" fmla="*/ 1495065 h 4367670"/>
              <a:gd name="connsiteX8920" fmla="*/ 3996270 w 5365133"/>
              <a:gd name="connsiteY8920" fmla="*/ 1495065 h 4367670"/>
              <a:gd name="connsiteX8921" fmla="*/ 3990531 w 5365133"/>
              <a:gd name="connsiteY8921" fmla="*/ 1495065 h 4367670"/>
              <a:gd name="connsiteX8922" fmla="*/ 4002011 w 5365133"/>
              <a:gd name="connsiteY8922" fmla="*/ 1487890 h 4367670"/>
              <a:gd name="connsiteX8923" fmla="*/ 4002011 w 5365133"/>
              <a:gd name="connsiteY8923" fmla="*/ 1488787 h 4367670"/>
              <a:gd name="connsiteX8924" fmla="*/ 4002011 w 5365133"/>
              <a:gd name="connsiteY8924" fmla="*/ 1493667 h 4367670"/>
              <a:gd name="connsiteX8925" fmla="*/ 4021412 w 5365133"/>
              <a:gd name="connsiteY8925" fmla="*/ 1483818 h 4367670"/>
              <a:gd name="connsiteX8926" fmla="*/ 4006546 w 5365133"/>
              <a:gd name="connsiteY8926" fmla="*/ 1499532 h 4367670"/>
              <a:gd name="connsiteX8927" fmla="*/ 4010792 w 5365133"/>
              <a:gd name="connsiteY8927" fmla="*/ 1499599 h 4367670"/>
              <a:gd name="connsiteX8928" fmla="*/ 4017517 w 5365133"/>
              <a:gd name="connsiteY8928" fmla="*/ 1500345 h 4367670"/>
              <a:gd name="connsiteX8929" fmla="*/ 4028923 w 5365133"/>
              <a:gd name="connsiteY8929" fmla="*/ 1496025 h 4367670"/>
              <a:gd name="connsiteX8930" fmla="*/ 4027390 w 5365133"/>
              <a:gd name="connsiteY8930" fmla="*/ 1495747 h 4367670"/>
              <a:gd name="connsiteX8931" fmla="*/ 4021412 w 5365133"/>
              <a:gd name="connsiteY8931" fmla="*/ 1489783 h 4367670"/>
              <a:gd name="connsiteX8932" fmla="*/ 4027390 w 5365133"/>
              <a:gd name="connsiteY8932" fmla="*/ 1483818 h 4367670"/>
              <a:gd name="connsiteX8933" fmla="*/ 4063259 w 5365133"/>
              <a:gd name="connsiteY8933" fmla="*/ 1465927 h 4367670"/>
              <a:gd name="connsiteX8934" fmla="*/ 4057281 w 5365133"/>
              <a:gd name="connsiteY8934" fmla="*/ 1483818 h 4367670"/>
              <a:gd name="connsiteX8935" fmla="*/ 4033368 w 5365133"/>
              <a:gd name="connsiteY8935" fmla="*/ 1483818 h 4367670"/>
              <a:gd name="connsiteX8936" fmla="*/ 4033368 w 5365133"/>
              <a:gd name="connsiteY8936" fmla="*/ 1487546 h 4367670"/>
              <a:gd name="connsiteX8937" fmla="*/ 4033368 w 5365133"/>
              <a:gd name="connsiteY8937" fmla="*/ 1494341 h 4367670"/>
              <a:gd name="connsiteX8938" fmla="*/ 4077298 w 5365133"/>
              <a:gd name="connsiteY8938" fmla="*/ 1477703 h 4367670"/>
              <a:gd name="connsiteX8939" fmla="*/ 4077298 w 5365133"/>
              <a:gd name="connsiteY8939" fmla="*/ 1485557 h 4367670"/>
              <a:gd name="connsiteX8940" fmla="*/ 4080061 w 5365133"/>
              <a:gd name="connsiteY8940" fmla="*/ 1482919 h 4367670"/>
              <a:gd name="connsiteX8941" fmla="*/ 4079492 w 5365133"/>
              <a:gd name="connsiteY8941" fmla="*/ 1482868 h 4367670"/>
              <a:gd name="connsiteX8942" fmla="*/ 4080117 w 5365133"/>
              <a:gd name="connsiteY8942" fmla="*/ 1479300 h 4367670"/>
              <a:gd name="connsiteX8943" fmla="*/ 4078180 w 5365133"/>
              <a:gd name="connsiteY8943" fmla="*/ 1477369 h 4367670"/>
              <a:gd name="connsiteX8944" fmla="*/ 4080616 w 5365133"/>
              <a:gd name="connsiteY8944" fmla="*/ 1476446 h 4367670"/>
              <a:gd name="connsiteX8945" fmla="*/ 4080657 w 5365133"/>
              <a:gd name="connsiteY8945" fmla="*/ 1476209 h 4367670"/>
              <a:gd name="connsiteX8946" fmla="*/ 4084617 w 5365133"/>
              <a:gd name="connsiteY8946" fmla="*/ 1474741 h 4367670"/>
              <a:gd name="connsiteX8947" fmla="*/ 4081605 w 5365133"/>
              <a:gd name="connsiteY8947" fmla="*/ 1471068 h 4367670"/>
              <a:gd name="connsiteX8948" fmla="*/ 4087171 w 5365133"/>
              <a:gd name="connsiteY8948" fmla="*/ 1459963 h 4367670"/>
              <a:gd name="connsiteX8949" fmla="*/ 4116193 w 5365133"/>
              <a:gd name="connsiteY8949" fmla="*/ 1452490 h 4367670"/>
              <a:gd name="connsiteX8950" fmla="*/ 4116193 w 5365133"/>
              <a:gd name="connsiteY8950" fmla="*/ 1451266 h 4367670"/>
              <a:gd name="connsiteX8951" fmla="*/ 4116854 w 5365133"/>
              <a:gd name="connsiteY8951" fmla="*/ 1452320 h 4367670"/>
              <a:gd name="connsiteX8952" fmla="*/ 4127901 w 5365133"/>
              <a:gd name="connsiteY8952" fmla="*/ 1449476 h 4367670"/>
              <a:gd name="connsiteX8953" fmla="*/ 4128149 w 5365133"/>
              <a:gd name="connsiteY8953" fmla="*/ 1445303 h 4367670"/>
              <a:gd name="connsiteX8954" fmla="*/ 4130880 w 5365133"/>
              <a:gd name="connsiteY8954" fmla="*/ 1448709 h 4367670"/>
              <a:gd name="connsiteX8955" fmla="*/ 4133500 w 5365133"/>
              <a:gd name="connsiteY8955" fmla="*/ 1448035 h 4367670"/>
              <a:gd name="connsiteX8956" fmla="*/ 4136004 w 5365133"/>
              <a:gd name="connsiteY8956" fmla="*/ 1447235 h 4367670"/>
              <a:gd name="connsiteX8957" fmla="*/ 4136368 w 5365133"/>
              <a:gd name="connsiteY8957" fmla="*/ 1445303 h 4367670"/>
              <a:gd name="connsiteX8958" fmla="*/ 4134371 w 5365133"/>
              <a:gd name="connsiteY8958" fmla="*/ 1434684 h 4367670"/>
              <a:gd name="connsiteX8959" fmla="*/ 4127498 w 5365133"/>
              <a:gd name="connsiteY8959" fmla="*/ 1437740 h 4367670"/>
              <a:gd name="connsiteX8960" fmla="*/ 4133237 w 5365133"/>
              <a:gd name="connsiteY8960" fmla="*/ 1432000 h 4367670"/>
              <a:gd name="connsiteX8961" fmla="*/ 4127499 w 5365133"/>
              <a:gd name="connsiteY8961" fmla="*/ 1426260 h 4367670"/>
              <a:gd name="connsiteX8962" fmla="*/ 4138976 w 5365133"/>
              <a:gd name="connsiteY8962" fmla="*/ 1426260 h 4367670"/>
              <a:gd name="connsiteX8963" fmla="*/ 4144716 w 5365133"/>
              <a:gd name="connsiteY8963" fmla="*/ 1426260 h 4367670"/>
              <a:gd name="connsiteX8964" fmla="*/ 4140411 w 5365133"/>
              <a:gd name="connsiteY8964" fmla="*/ 1432000 h 4367670"/>
              <a:gd name="connsiteX8965" fmla="*/ 4134675 w 5365133"/>
              <a:gd name="connsiteY8965" fmla="*/ 1434550 h 4367670"/>
              <a:gd name="connsiteX8966" fmla="*/ 4139356 w 5365133"/>
              <a:gd name="connsiteY8966" fmla="*/ 1444557 h 4367670"/>
              <a:gd name="connsiteX8967" fmla="*/ 4140039 w 5365133"/>
              <a:gd name="connsiteY8967" fmla="*/ 1445947 h 4367670"/>
              <a:gd name="connsiteX8968" fmla="*/ 4145262 w 5365133"/>
              <a:gd name="connsiteY8968" fmla="*/ 1444280 h 4367670"/>
              <a:gd name="connsiteX8969" fmla="*/ 4143093 w 5365133"/>
              <a:gd name="connsiteY8969" fmla="*/ 1441575 h 4367670"/>
              <a:gd name="connsiteX8970" fmla="*/ 4140104 w 5365133"/>
              <a:gd name="connsiteY8970" fmla="*/ 1433375 h 4367670"/>
              <a:gd name="connsiteX8971" fmla="*/ 4148324 w 5365133"/>
              <a:gd name="connsiteY8971" fmla="*/ 1440084 h 4367670"/>
              <a:gd name="connsiteX8972" fmla="*/ 4149296 w 5365133"/>
              <a:gd name="connsiteY8972" fmla="*/ 1442992 h 4367670"/>
              <a:gd name="connsiteX8973" fmla="*/ 4157524 w 5365133"/>
              <a:gd name="connsiteY8973" fmla="*/ 1440365 h 4367670"/>
              <a:gd name="connsiteX8974" fmla="*/ 4158038 w 5365133"/>
              <a:gd name="connsiteY8974" fmla="*/ 1439339 h 4367670"/>
              <a:gd name="connsiteX8975" fmla="*/ 4158693 w 5365133"/>
              <a:gd name="connsiteY8975" fmla="*/ 1439992 h 4367670"/>
              <a:gd name="connsiteX8976" fmla="*/ 4170459 w 5365133"/>
              <a:gd name="connsiteY8976" fmla="*/ 1436236 h 4367670"/>
              <a:gd name="connsiteX8977" fmla="*/ 4169994 w 5365133"/>
              <a:gd name="connsiteY8977" fmla="*/ 1433375 h 4367670"/>
              <a:gd name="connsiteX8978" fmla="*/ 4181950 w 5365133"/>
              <a:gd name="connsiteY8978" fmla="*/ 1427412 h 4367670"/>
              <a:gd name="connsiteX8979" fmla="*/ 4183445 w 5365133"/>
              <a:gd name="connsiteY8979" fmla="*/ 1434121 h 4367670"/>
              <a:gd name="connsiteX8980" fmla="*/ 4179024 w 5365133"/>
              <a:gd name="connsiteY8980" fmla="*/ 1440736 h 4367670"/>
              <a:gd name="connsiteX8981" fmla="*/ 4179534 w 5365133"/>
              <a:gd name="connsiteY8981" fmla="*/ 1440894 h 4367670"/>
              <a:gd name="connsiteX8982" fmla="*/ 4178923 w 5365133"/>
              <a:gd name="connsiteY8982" fmla="*/ 1441111 h 4367670"/>
              <a:gd name="connsiteX8983" fmla="*/ 4178923 w 5365133"/>
              <a:gd name="connsiteY8983" fmla="*/ 1440886 h 4367670"/>
              <a:gd name="connsiteX8984" fmla="*/ 4178726 w 5365133"/>
              <a:gd name="connsiteY8984" fmla="*/ 1441181 h 4367670"/>
              <a:gd name="connsiteX8985" fmla="*/ 4178923 w 5365133"/>
              <a:gd name="connsiteY8985" fmla="*/ 1441111 h 4367670"/>
              <a:gd name="connsiteX8986" fmla="*/ 4178923 w 5365133"/>
              <a:gd name="connsiteY8986" fmla="*/ 1442727 h 4367670"/>
              <a:gd name="connsiteX8987" fmla="*/ 4184271 w 5365133"/>
              <a:gd name="connsiteY8987" fmla="*/ 1442371 h 4367670"/>
              <a:gd name="connsiteX8988" fmla="*/ 4179534 w 5365133"/>
              <a:gd name="connsiteY8988" fmla="*/ 1440894 h 4367670"/>
              <a:gd name="connsiteX8989" fmla="*/ 4188796 w 5365133"/>
              <a:gd name="connsiteY8989" fmla="*/ 1437605 h 4367670"/>
              <a:gd name="connsiteX8990" fmla="*/ 4188796 w 5365133"/>
              <a:gd name="connsiteY8990" fmla="*/ 1436107 h 4367670"/>
              <a:gd name="connsiteX8991" fmla="*/ 4188796 w 5365133"/>
              <a:gd name="connsiteY8991" fmla="*/ 1430143 h 4367670"/>
              <a:gd name="connsiteX8992" fmla="*/ 4197497 w 5365133"/>
              <a:gd name="connsiteY8992" fmla="*/ 1425441 h 4367670"/>
              <a:gd name="connsiteX8993" fmla="*/ 4198110 w 5365133"/>
              <a:gd name="connsiteY8993" fmla="*/ 1423321 h 4367670"/>
              <a:gd name="connsiteX8994" fmla="*/ 4198372 w 5365133"/>
              <a:gd name="connsiteY8994" fmla="*/ 1424969 h 4367670"/>
              <a:gd name="connsiteX8995" fmla="*/ 4206731 w 5365133"/>
              <a:gd name="connsiteY8995" fmla="*/ 1420451 h 4367670"/>
              <a:gd name="connsiteX8996" fmla="*/ 4210870 w 5365133"/>
              <a:gd name="connsiteY8996" fmla="*/ 1419892 h 4367670"/>
              <a:gd name="connsiteX8997" fmla="*/ 4211500 w 5365133"/>
              <a:gd name="connsiteY8997" fmla="*/ 1417581 h 4367670"/>
              <a:gd name="connsiteX8998" fmla="*/ 4214013 w 5365133"/>
              <a:gd name="connsiteY8998" fmla="*/ 1419467 h 4367670"/>
              <a:gd name="connsiteX8999" fmla="*/ 4215699 w 5365133"/>
              <a:gd name="connsiteY8999" fmla="*/ 1419239 h 4367670"/>
              <a:gd name="connsiteX9000" fmla="*/ 4218544 w 5365133"/>
              <a:gd name="connsiteY9000" fmla="*/ 1420806 h 4367670"/>
              <a:gd name="connsiteX9001" fmla="*/ 4222978 w 5365133"/>
              <a:gd name="connsiteY9001" fmla="*/ 1417581 h 4367670"/>
              <a:gd name="connsiteX9002" fmla="*/ 4218621 w 5365133"/>
              <a:gd name="connsiteY9002" fmla="*/ 1420849 h 4367670"/>
              <a:gd name="connsiteX9003" fmla="*/ 4224665 w 5365133"/>
              <a:gd name="connsiteY9003" fmla="*/ 1424178 h 4367670"/>
              <a:gd name="connsiteX9004" fmla="*/ 4230643 w 5365133"/>
              <a:gd name="connsiteY9004" fmla="*/ 1412250 h 4367670"/>
              <a:gd name="connsiteX9005" fmla="*/ 4228964 w 5365133"/>
              <a:gd name="connsiteY9005" fmla="*/ 1416719 h 4367670"/>
              <a:gd name="connsiteX9006" fmla="*/ 4236939 w 5365133"/>
              <a:gd name="connsiteY9006" fmla="*/ 1409372 h 4367670"/>
              <a:gd name="connsiteX9007" fmla="*/ 4240606 w 5365133"/>
              <a:gd name="connsiteY9007" fmla="*/ 1410859 h 4367670"/>
              <a:gd name="connsiteX9008" fmla="*/ 4240721 w 5365133"/>
              <a:gd name="connsiteY9008" fmla="*/ 1410819 h 4367670"/>
              <a:gd name="connsiteX9009" fmla="*/ 4246654 w 5365133"/>
              <a:gd name="connsiteY9009" fmla="*/ 1401799 h 4367670"/>
              <a:gd name="connsiteX9010" fmla="*/ 4252634 w 5365133"/>
              <a:gd name="connsiteY9010" fmla="*/ 1392710 h 4367670"/>
              <a:gd name="connsiteX9011" fmla="*/ 4252634 w 5365133"/>
              <a:gd name="connsiteY9011" fmla="*/ 1398770 h 4367670"/>
              <a:gd name="connsiteX9012" fmla="*/ 4258612 w 5365133"/>
              <a:gd name="connsiteY9012" fmla="*/ 1386653 h 4367670"/>
              <a:gd name="connsiteX9013" fmla="*/ 4264590 w 5365133"/>
              <a:gd name="connsiteY9013" fmla="*/ 1380593 h 4367670"/>
              <a:gd name="connsiteX9014" fmla="*/ 4270570 w 5365133"/>
              <a:gd name="connsiteY9014" fmla="*/ 1392710 h 4367670"/>
              <a:gd name="connsiteX9015" fmla="*/ 4264590 w 5365133"/>
              <a:gd name="connsiteY9015" fmla="*/ 1392710 h 4367670"/>
              <a:gd name="connsiteX9016" fmla="*/ 4261600 w 5365133"/>
              <a:gd name="connsiteY9016" fmla="*/ 1401799 h 4367670"/>
              <a:gd name="connsiteX9017" fmla="*/ 4260514 w 5365133"/>
              <a:gd name="connsiteY9017" fmla="*/ 1405104 h 4367670"/>
              <a:gd name="connsiteX9018" fmla="*/ 4266510 w 5365133"/>
              <a:gd name="connsiteY9018" fmla="*/ 1406287 h 4367670"/>
              <a:gd name="connsiteX9019" fmla="*/ 4260533 w 5365133"/>
              <a:gd name="connsiteY9019" fmla="*/ 1409269 h 4367670"/>
              <a:gd name="connsiteX9020" fmla="*/ 4258871 w 5365133"/>
              <a:gd name="connsiteY9020" fmla="*/ 1410098 h 4367670"/>
              <a:gd name="connsiteX9021" fmla="*/ 4258612 w 5365133"/>
              <a:gd name="connsiteY9021" fmla="*/ 1410887 h 4367670"/>
              <a:gd name="connsiteX9022" fmla="*/ 4258466 w 5365133"/>
              <a:gd name="connsiteY9022" fmla="*/ 1410299 h 4367670"/>
              <a:gd name="connsiteX9023" fmla="*/ 4254556 w 5365133"/>
              <a:gd name="connsiteY9023" fmla="*/ 1412250 h 4367670"/>
              <a:gd name="connsiteX9024" fmla="*/ 4256272 w 5365133"/>
              <a:gd name="connsiteY9024" fmla="*/ 1413820 h 4367670"/>
              <a:gd name="connsiteX9025" fmla="*/ 4260374 w 5365133"/>
              <a:gd name="connsiteY9025" fmla="*/ 1412376 h 4367670"/>
              <a:gd name="connsiteX9026" fmla="*/ 4266239 w 5365133"/>
              <a:gd name="connsiteY9026" fmla="*/ 1410803 h 4367670"/>
              <a:gd name="connsiteX9027" fmla="*/ 4268005 w 5365133"/>
              <a:gd name="connsiteY9027" fmla="*/ 1408896 h 4367670"/>
              <a:gd name="connsiteX9028" fmla="*/ 4272488 w 5365133"/>
              <a:gd name="connsiteY9028" fmla="*/ 1406287 h 4367670"/>
              <a:gd name="connsiteX9029" fmla="*/ 4296401 w 5365133"/>
              <a:gd name="connsiteY9029" fmla="*/ 1394358 h 4367670"/>
              <a:gd name="connsiteX9030" fmla="*/ 4320313 w 5365133"/>
              <a:gd name="connsiteY9030" fmla="*/ 1382431 h 4367670"/>
              <a:gd name="connsiteX9031" fmla="*/ 4332270 w 5365133"/>
              <a:gd name="connsiteY9031" fmla="*/ 1376467 h 4367670"/>
              <a:gd name="connsiteX9032" fmla="*/ 4762686 w 5365133"/>
              <a:gd name="connsiteY9032" fmla="*/ 1215438 h 4367670"/>
              <a:gd name="connsiteX9033" fmla="*/ 4607257 w 5365133"/>
              <a:gd name="connsiteY9033" fmla="*/ 1281042 h 4367670"/>
              <a:gd name="connsiteX9034" fmla="*/ 4612516 w 5365133"/>
              <a:gd name="connsiteY9034" fmla="*/ 1280218 h 4367670"/>
              <a:gd name="connsiteX9035" fmla="*/ 4618133 w 5365133"/>
              <a:gd name="connsiteY9035" fmla="*/ 1278399 h 4367670"/>
              <a:gd name="connsiteX9036" fmla="*/ 4641962 w 5365133"/>
              <a:gd name="connsiteY9036" fmla="*/ 1274094 h 4367670"/>
              <a:gd name="connsiteX9037" fmla="*/ 4640605 w 5365133"/>
              <a:gd name="connsiteY9037" fmla="*/ 1275152 h 4367670"/>
              <a:gd name="connsiteX9038" fmla="*/ 4666290 w 5365133"/>
              <a:gd name="connsiteY9038" fmla="*/ 1265386 h 4367670"/>
              <a:gd name="connsiteX9039" fmla="*/ 4720839 w 5365133"/>
              <a:gd name="connsiteY9039" fmla="*/ 1245258 h 4367670"/>
              <a:gd name="connsiteX9040" fmla="*/ 4661713 w 5365133"/>
              <a:gd name="connsiteY9040" fmla="*/ 1268555 h 4367670"/>
              <a:gd name="connsiteX9041" fmla="*/ 4637014 w 5365133"/>
              <a:gd name="connsiteY9041" fmla="*/ 1277952 h 4367670"/>
              <a:gd name="connsiteX9042" fmla="*/ 4634370 w 5365133"/>
              <a:gd name="connsiteY9042" fmla="*/ 1280013 h 4367670"/>
              <a:gd name="connsiteX9043" fmla="*/ 4627291 w 5365133"/>
              <a:gd name="connsiteY9043" fmla="*/ 1281652 h 4367670"/>
              <a:gd name="connsiteX9044" fmla="*/ 4597543 w 5365133"/>
              <a:gd name="connsiteY9044" fmla="*/ 1292970 h 4367670"/>
              <a:gd name="connsiteX9045" fmla="*/ 4580932 w 5365133"/>
              <a:gd name="connsiteY9045" fmla="*/ 1299640 h 4367670"/>
              <a:gd name="connsiteX9046" fmla="*/ 4576499 w 5365133"/>
              <a:gd name="connsiteY9046" fmla="*/ 1302166 h 4367670"/>
              <a:gd name="connsiteX9047" fmla="*/ 4696059 w 5365133"/>
              <a:gd name="connsiteY9047" fmla="*/ 1266382 h 4367670"/>
              <a:gd name="connsiteX9048" fmla="*/ 4711752 w 5365133"/>
              <a:gd name="connsiteY9048" fmla="*/ 1251473 h 4367670"/>
              <a:gd name="connsiteX9049" fmla="*/ 4731927 w 5365133"/>
              <a:gd name="connsiteY9049" fmla="*/ 1254454 h 4367670"/>
              <a:gd name="connsiteX9050" fmla="*/ 4703532 w 5365133"/>
              <a:gd name="connsiteY9050" fmla="*/ 1264891 h 4367670"/>
              <a:gd name="connsiteX9051" fmla="*/ 4688587 w 5365133"/>
              <a:gd name="connsiteY9051" fmla="*/ 1279801 h 4367670"/>
              <a:gd name="connsiteX9052" fmla="*/ 4687093 w 5365133"/>
              <a:gd name="connsiteY9052" fmla="*/ 1275329 h 4367670"/>
              <a:gd name="connsiteX9053" fmla="*/ 4684103 w 5365133"/>
              <a:gd name="connsiteY9053" fmla="*/ 1284273 h 4367670"/>
              <a:gd name="connsiteX9054" fmla="*/ 4688587 w 5365133"/>
              <a:gd name="connsiteY9054" fmla="*/ 1279801 h 4367670"/>
              <a:gd name="connsiteX9055" fmla="*/ 4690081 w 5365133"/>
              <a:gd name="connsiteY9055" fmla="*/ 1284273 h 4367670"/>
              <a:gd name="connsiteX9056" fmla="*/ 4702037 w 5365133"/>
              <a:gd name="connsiteY9056" fmla="*/ 1278310 h 4367670"/>
              <a:gd name="connsiteX9057" fmla="*/ 4725950 w 5365133"/>
              <a:gd name="connsiteY9057" fmla="*/ 1260419 h 4367670"/>
              <a:gd name="connsiteX9058" fmla="*/ 4725950 w 5365133"/>
              <a:gd name="connsiteY9058" fmla="*/ 1272346 h 4367670"/>
              <a:gd name="connsiteX9059" fmla="*/ 4616664 w 5365133"/>
              <a:gd name="connsiteY9059" fmla="*/ 1317636 h 4367670"/>
              <a:gd name="connsiteX9060" fmla="*/ 4601434 w 5365133"/>
              <a:gd name="connsiteY9060" fmla="*/ 1323382 h 4367670"/>
              <a:gd name="connsiteX9061" fmla="*/ 4608781 w 5365133"/>
              <a:gd name="connsiteY9061" fmla="*/ 1326017 h 4367670"/>
              <a:gd name="connsiteX9062" fmla="*/ 4624720 w 5365133"/>
              <a:gd name="connsiteY9062" fmla="*/ 1324710 h 4367670"/>
              <a:gd name="connsiteX9063" fmla="*/ 4626274 w 5365133"/>
              <a:gd name="connsiteY9063" fmla="*/ 1324590 h 4367670"/>
              <a:gd name="connsiteX9064" fmla="*/ 4695376 w 5365133"/>
              <a:gd name="connsiteY9064" fmla="*/ 1302257 h 4367670"/>
              <a:gd name="connsiteX9065" fmla="*/ 4689431 w 5365133"/>
              <a:gd name="connsiteY9065" fmla="*/ 1304869 h 4367670"/>
              <a:gd name="connsiteX9066" fmla="*/ 4652781 w 5365133"/>
              <a:gd name="connsiteY9066" fmla="*/ 1322948 h 4367670"/>
              <a:gd name="connsiteX9067" fmla="*/ 4647051 w 5365133"/>
              <a:gd name="connsiteY9067" fmla="*/ 1324872 h 4367670"/>
              <a:gd name="connsiteX9068" fmla="*/ 4657165 w 5365133"/>
              <a:gd name="connsiteY9068" fmla="*/ 1327699 h 4367670"/>
              <a:gd name="connsiteX9069" fmla="*/ 4620948 w 5365133"/>
              <a:gd name="connsiteY9069" fmla="*/ 1333677 h 4367670"/>
              <a:gd name="connsiteX9070" fmla="*/ 4566621 w 5365133"/>
              <a:gd name="connsiteY9070" fmla="*/ 1357592 h 4367670"/>
              <a:gd name="connsiteX9071" fmla="*/ 4534175 w 5365133"/>
              <a:gd name="connsiteY9071" fmla="*/ 1372539 h 4367670"/>
              <a:gd name="connsiteX9072" fmla="*/ 4532503 w 5365133"/>
              <a:gd name="connsiteY9072" fmla="*/ 1372955 h 4367670"/>
              <a:gd name="connsiteX9073" fmla="*/ 4532910 w 5365133"/>
              <a:gd name="connsiteY9073" fmla="*/ 1374534 h 4367670"/>
              <a:gd name="connsiteX9074" fmla="*/ 4531074 w 5365133"/>
              <a:gd name="connsiteY9074" fmla="*/ 1373310 h 4367670"/>
              <a:gd name="connsiteX9075" fmla="*/ 4526218 w 5365133"/>
              <a:gd name="connsiteY9075" fmla="*/ 1374518 h 4367670"/>
              <a:gd name="connsiteX9076" fmla="*/ 4515155 w 5365133"/>
              <a:gd name="connsiteY9076" fmla="*/ 1383214 h 4367670"/>
              <a:gd name="connsiteX9077" fmla="*/ 4515155 w 5365133"/>
              <a:gd name="connsiteY9077" fmla="*/ 1379446 h 4367670"/>
              <a:gd name="connsiteX9078" fmla="*/ 4516220 w 5365133"/>
              <a:gd name="connsiteY9078" fmla="*/ 1377005 h 4367670"/>
              <a:gd name="connsiteX9079" fmla="*/ 4513141 w 5365133"/>
              <a:gd name="connsiteY9079" fmla="*/ 1377770 h 4367670"/>
              <a:gd name="connsiteX9080" fmla="*/ 4511872 w 5365133"/>
              <a:gd name="connsiteY9080" fmla="*/ 1378264 h 4367670"/>
              <a:gd name="connsiteX9081" fmla="*/ 4512357 w 5365133"/>
              <a:gd name="connsiteY9081" fmla="*/ 1379448 h 4367670"/>
              <a:gd name="connsiteX9082" fmla="*/ 4505632 w 5365133"/>
              <a:gd name="connsiteY9082" fmla="*/ 1388395 h 4367670"/>
              <a:gd name="connsiteX9083" fmla="*/ 4507874 w 5365133"/>
              <a:gd name="connsiteY9083" fmla="*/ 1382431 h 4367670"/>
              <a:gd name="connsiteX9084" fmla="*/ 4507017 w 5365133"/>
              <a:gd name="connsiteY9084" fmla="*/ 1380151 h 4367670"/>
              <a:gd name="connsiteX9085" fmla="*/ 4493725 w 5365133"/>
              <a:gd name="connsiteY9085" fmla="*/ 1385318 h 4367670"/>
              <a:gd name="connsiteX9086" fmla="*/ 4491341 w 5365133"/>
              <a:gd name="connsiteY9086" fmla="*/ 1387090 h 4367670"/>
              <a:gd name="connsiteX9087" fmla="*/ 4487287 w 5365133"/>
              <a:gd name="connsiteY9087" fmla="*/ 1389063 h 4367670"/>
              <a:gd name="connsiteX9088" fmla="*/ 4487309 w 5365133"/>
              <a:gd name="connsiteY9088" fmla="*/ 1389961 h 4367670"/>
              <a:gd name="connsiteX9089" fmla="*/ 4492735 w 5365133"/>
              <a:gd name="connsiteY9089" fmla="*/ 1391754 h 4367670"/>
              <a:gd name="connsiteX9090" fmla="*/ 4473794 w 5365133"/>
              <a:gd name="connsiteY9090" fmla="*/ 1403233 h 4367670"/>
              <a:gd name="connsiteX9091" fmla="*/ 4467482 w 5365133"/>
              <a:gd name="connsiteY9091" fmla="*/ 1403233 h 4367670"/>
              <a:gd name="connsiteX9092" fmla="*/ 4465820 w 5365133"/>
              <a:gd name="connsiteY9092" fmla="*/ 1400716 h 4367670"/>
              <a:gd name="connsiteX9093" fmla="*/ 4451830 w 5365133"/>
              <a:gd name="connsiteY9093" fmla="*/ 1412250 h 4367670"/>
              <a:gd name="connsiteX9094" fmla="*/ 4448324 w 5365133"/>
              <a:gd name="connsiteY9094" fmla="*/ 1408899 h 4367670"/>
              <a:gd name="connsiteX9095" fmla="*/ 4442888 w 5365133"/>
              <a:gd name="connsiteY9095" fmla="*/ 1409260 h 4367670"/>
              <a:gd name="connsiteX9096" fmla="*/ 4442862 w 5365133"/>
              <a:gd name="connsiteY9096" fmla="*/ 1409268 h 4367670"/>
              <a:gd name="connsiteX9097" fmla="*/ 4433895 w 5365133"/>
              <a:gd name="connsiteY9097" fmla="*/ 1406287 h 4367670"/>
              <a:gd name="connsiteX9098" fmla="*/ 4432021 w 5365133"/>
              <a:gd name="connsiteY9098" fmla="*/ 1414701 h 4367670"/>
              <a:gd name="connsiteX9099" fmla="*/ 4441662 w 5365133"/>
              <a:gd name="connsiteY9099" fmla="*/ 1410442 h 4367670"/>
              <a:gd name="connsiteX9100" fmla="*/ 4447674 w 5365133"/>
              <a:gd name="connsiteY9100" fmla="*/ 1416539 h 4367670"/>
              <a:gd name="connsiteX9101" fmla="*/ 4437903 w 5365133"/>
              <a:gd name="connsiteY9101" fmla="*/ 1424163 h 4367670"/>
              <a:gd name="connsiteX9102" fmla="*/ 4430100 w 5365133"/>
              <a:gd name="connsiteY9102" fmla="*/ 1423330 h 4367670"/>
              <a:gd name="connsiteX9103" fmla="*/ 4429911 w 5365133"/>
              <a:gd name="connsiteY9103" fmla="*/ 1424178 h 4367670"/>
              <a:gd name="connsiteX9104" fmla="*/ 4427917 w 5365133"/>
              <a:gd name="connsiteY9104" fmla="*/ 1424178 h 4367670"/>
              <a:gd name="connsiteX9105" fmla="*/ 4427344 w 5365133"/>
              <a:gd name="connsiteY9105" fmla="*/ 1423036 h 4367670"/>
              <a:gd name="connsiteX9106" fmla="*/ 4423623 w 5365133"/>
              <a:gd name="connsiteY9106" fmla="*/ 1422639 h 4367670"/>
              <a:gd name="connsiteX9107" fmla="*/ 4422955 w 5365133"/>
              <a:gd name="connsiteY9107" fmla="*/ 1428734 h 4367670"/>
              <a:gd name="connsiteX9108" fmla="*/ 4426114 w 5365133"/>
              <a:gd name="connsiteY9108" fmla="*/ 1430952 h 4367670"/>
              <a:gd name="connsiteX9109" fmla="*/ 4425554 w 5365133"/>
              <a:gd name="connsiteY9109" fmla="*/ 1433375 h 4367670"/>
              <a:gd name="connsiteX9110" fmla="*/ 4421079 w 5365133"/>
              <a:gd name="connsiteY9110" fmla="*/ 1439327 h 4367670"/>
              <a:gd name="connsiteX9111" fmla="*/ 4421076 w 5365133"/>
              <a:gd name="connsiteY9111" fmla="*/ 1439338 h 4367670"/>
              <a:gd name="connsiteX9112" fmla="*/ 4421527 w 5365133"/>
              <a:gd name="connsiteY9112" fmla="*/ 1439288 h 4367670"/>
              <a:gd name="connsiteX9113" fmla="*/ 4425140 w 5365133"/>
              <a:gd name="connsiteY9113" fmla="*/ 1437705 h 4367670"/>
              <a:gd name="connsiteX9114" fmla="*/ 4430569 w 5365133"/>
              <a:gd name="connsiteY9114" fmla="*/ 1436725 h 4367670"/>
              <a:gd name="connsiteX9115" fmla="*/ 4428851 w 5365133"/>
              <a:gd name="connsiteY9115" fmla="*/ 1433963 h 4367670"/>
              <a:gd name="connsiteX9116" fmla="*/ 4429412 w 5365133"/>
              <a:gd name="connsiteY9116" fmla="*/ 1426416 h 4367670"/>
              <a:gd name="connsiteX9117" fmla="*/ 4429911 w 5365133"/>
              <a:gd name="connsiteY9117" fmla="*/ 1424178 h 4367670"/>
              <a:gd name="connsiteX9118" fmla="*/ 4439873 w 5365133"/>
              <a:gd name="connsiteY9118" fmla="*/ 1424178 h 4367670"/>
              <a:gd name="connsiteX9119" fmla="*/ 4439287 w 5365133"/>
              <a:gd name="connsiteY9119" fmla="*/ 1430607 h 4367670"/>
              <a:gd name="connsiteX9120" fmla="*/ 4437429 w 5365133"/>
              <a:gd name="connsiteY9120" fmla="*/ 1432000 h 4367670"/>
              <a:gd name="connsiteX9121" fmla="*/ 4438126 w 5365133"/>
              <a:gd name="connsiteY9121" fmla="*/ 1433092 h 4367670"/>
              <a:gd name="connsiteX9122" fmla="*/ 4435323 w 5365133"/>
              <a:gd name="connsiteY9122" fmla="*/ 1435089 h 4367670"/>
              <a:gd name="connsiteX9123" fmla="*/ 4438467 w 5365133"/>
              <a:gd name="connsiteY9123" fmla="*/ 1433625 h 4367670"/>
              <a:gd name="connsiteX9124" fmla="*/ 4438126 w 5365133"/>
              <a:gd name="connsiteY9124" fmla="*/ 1433092 h 4367670"/>
              <a:gd name="connsiteX9125" fmla="*/ 4439126 w 5365133"/>
              <a:gd name="connsiteY9125" fmla="*/ 1432379 h 4367670"/>
              <a:gd name="connsiteX9126" fmla="*/ 4439287 w 5365133"/>
              <a:gd name="connsiteY9126" fmla="*/ 1430607 h 4367670"/>
              <a:gd name="connsiteX9127" fmla="*/ 4441502 w 5365133"/>
              <a:gd name="connsiteY9127" fmla="*/ 1428946 h 4367670"/>
              <a:gd name="connsiteX9128" fmla="*/ 4445730 w 5365133"/>
              <a:gd name="connsiteY9128" fmla="*/ 1421447 h 4367670"/>
              <a:gd name="connsiteX9129" fmla="*/ 4451615 w 5365133"/>
              <a:gd name="connsiteY9129" fmla="*/ 1419956 h 4367670"/>
              <a:gd name="connsiteX9130" fmla="*/ 4454645 w 5365133"/>
              <a:gd name="connsiteY9130" fmla="*/ 1424199 h 4367670"/>
              <a:gd name="connsiteX9131" fmla="*/ 4459573 w 5365133"/>
              <a:gd name="connsiteY9131" fmla="*/ 1423122 h 4367670"/>
              <a:gd name="connsiteX9132" fmla="*/ 4457686 w 5365133"/>
              <a:gd name="connsiteY9132" fmla="*/ 1420702 h 4367670"/>
              <a:gd name="connsiteX9133" fmla="*/ 4456939 w 5365133"/>
              <a:gd name="connsiteY9133" fmla="*/ 1409519 h 4367670"/>
              <a:gd name="connsiteX9134" fmla="*/ 4471137 w 5365133"/>
              <a:gd name="connsiteY9134" fmla="*/ 1413246 h 4367670"/>
              <a:gd name="connsiteX9135" fmla="*/ 4474482 w 5365133"/>
              <a:gd name="connsiteY9135" fmla="*/ 1409909 h 4367670"/>
              <a:gd name="connsiteX9136" fmla="*/ 4464890 w 5365133"/>
              <a:gd name="connsiteY9136" fmla="*/ 1410442 h 4367670"/>
              <a:gd name="connsiteX9137" fmla="*/ 4475651 w 5365133"/>
              <a:gd name="connsiteY9137" fmla="*/ 1403267 h 4367670"/>
              <a:gd name="connsiteX9138" fmla="*/ 4480140 w 5365133"/>
              <a:gd name="connsiteY9138" fmla="*/ 1404265 h 4367670"/>
              <a:gd name="connsiteX9139" fmla="*/ 4480852 w 5365133"/>
              <a:gd name="connsiteY9139" fmla="*/ 1403555 h 4367670"/>
              <a:gd name="connsiteX9140" fmla="*/ 4480604 w 5365133"/>
              <a:gd name="connsiteY9140" fmla="*/ 1404368 h 4367670"/>
              <a:gd name="connsiteX9141" fmla="*/ 4482108 w 5365133"/>
              <a:gd name="connsiteY9141" fmla="*/ 1404702 h 4367670"/>
              <a:gd name="connsiteX9142" fmla="*/ 4482647 w 5365133"/>
              <a:gd name="connsiteY9142" fmla="*/ 1408021 h 4367670"/>
              <a:gd name="connsiteX9143" fmla="*/ 4481126 w 5365133"/>
              <a:gd name="connsiteY9143" fmla="*/ 1408556 h 4367670"/>
              <a:gd name="connsiteX9144" fmla="*/ 4481598 w 5365133"/>
              <a:gd name="connsiteY9144" fmla="*/ 1409518 h 4367670"/>
              <a:gd name="connsiteX9145" fmla="*/ 4481599 w 5365133"/>
              <a:gd name="connsiteY9145" fmla="*/ 1409519 h 4367670"/>
              <a:gd name="connsiteX9146" fmla="*/ 4486830 w 5365133"/>
              <a:gd name="connsiteY9146" fmla="*/ 1415482 h 4367670"/>
              <a:gd name="connsiteX9147" fmla="*/ 4484922 w 5365133"/>
              <a:gd name="connsiteY9147" fmla="*/ 1416302 h 4367670"/>
              <a:gd name="connsiteX9148" fmla="*/ 4486788 w 5365133"/>
              <a:gd name="connsiteY9148" fmla="*/ 1420111 h 4367670"/>
              <a:gd name="connsiteX9149" fmla="*/ 4491648 w 5365133"/>
              <a:gd name="connsiteY9149" fmla="*/ 1415151 h 4367670"/>
              <a:gd name="connsiteX9150" fmla="*/ 4487577 w 5365133"/>
              <a:gd name="connsiteY9150" fmla="*/ 1413992 h 4367670"/>
              <a:gd name="connsiteX9151" fmla="*/ 4486830 w 5365133"/>
              <a:gd name="connsiteY9151" fmla="*/ 1403555 h 4367670"/>
              <a:gd name="connsiteX9152" fmla="*/ 4490187 w 5365133"/>
              <a:gd name="connsiteY9152" fmla="*/ 1402355 h 4367670"/>
              <a:gd name="connsiteX9153" fmla="*/ 4486788 w 5365133"/>
              <a:gd name="connsiteY9153" fmla="*/ 1401661 h 4367670"/>
              <a:gd name="connsiteX9154" fmla="*/ 4492813 w 5365133"/>
              <a:gd name="connsiteY9154" fmla="*/ 1397817 h 4367670"/>
              <a:gd name="connsiteX9155" fmla="*/ 4494598 w 5365133"/>
              <a:gd name="connsiteY9155" fmla="*/ 1400778 h 4367670"/>
              <a:gd name="connsiteX9156" fmla="*/ 4509246 w 5365133"/>
              <a:gd name="connsiteY9156" fmla="*/ 1395540 h 4367670"/>
              <a:gd name="connsiteX9157" fmla="*/ 4531663 w 5365133"/>
              <a:gd name="connsiteY9157" fmla="*/ 1384171 h 4367670"/>
              <a:gd name="connsiteX9158" fmla="*/ 4547136 w 5365133"/>
              <a:gd name="connsiteY9158" fmla="*/ 1377868 h 4367670"/>
              <a:gd name="connsiteX9159" fmla="*/ 4546479 w 5365133"/>
              <a:gd name="connsiteY9159" fmla="*/ 1377474 h 4367670"/>
              <a:gd name="connsiteX9160" fmla="*/ 4549322 w 5365133"/>
              <a:gd name="connsiteY9160" fmla="*/ 1376978 h 4367670"/>
              <a:gd name="connsiteX9161" fmla="*/ 4554081 w 5365133"/>
              <a:gd name="connsiteY9161" fmla="*/ 1375039 h 4367670"/>
              <a:gd name="connsiteX9162" fmla="*/ 4563555 w 5365133"/>
              <a:gd name="connsiteY9162" fmla="*/ 1374488 h 4367670"/>
              <a:gd name="connsiteX9163" fmla="*/ 4563855 w 5365133"/>
              <a:gd name="connsiteY9163" fmla="*/ 1373976 h 4367670"/>
              <a:gd name="connsiteX9164" fmla="*/ 4582351 w 5365133"/>
              <a:gd name="connsiteY9164" fmla="*/ 1360256 h 4367670"/>
              <a:gd name="connsiteX9165" fmla="*/ 4594309 w 5365133"/>
              <a:gd name="connsiteY9165" fmla="*/ 1360256 h 4367670"/>
              <a:gd name="connsiteX9166" fmla="*/ 4591319 w 5365133"/>
              <a:gd name="connsiteY9166" fmla="*/ 1365995 h 4367670"/>
              <a:gd name="connsiteX9167" fmla="*/ 4589258 w 5365133"/>
              <a:gd name="connsiteY9167" fmla="*/ 1369953 h 4367670"/>
              <a:gd name="connsiteX9168" fmla="*/ 4592458 w 5365133"/>
              <a:gd name="connsiteY9168" fmla="*/ 1370232 h 4367670"/>
              <a:gd name="connsiteX9169" fmla="*/ 4593176 w 5365133"/>
              <a:gd name="connsiteY9169" fmla="*/ 1370823 h 4367670"/>
              <a:gd name="connsiteX9170" fmla="*/ 4593176 w 5365133"/>
              <a:gd name="connsiteY9170" fmla="*/ 1372066 h 4367670"/>
              <a:gd name="connsiteX9171" fmla="*/ 4594825 w 5365133"/>
              <a:gd name="connsiteY9171" fmla="*/ 1372180 h 4367670"/>
              <a:gd name="connsiteX9172" fmla="*/ 4593176 w 5365133"/>
              <a:gd name="connsiteY9172" fmla="*/ 1370823 h 4367670"/>
              <a:gd name="connsiteX9173" fmla="*/ 4593176 w 5365133"/>
              <a:gd name="connsiteY9173" fmla="*/ 1368797 h 4367670"/>
              <a:gd name="connsiteX9174" fmla="*/ 4594869 w 5365133"/>
              <a:gd name="connsiteY9174" fmla="*/ 1372183 h 4367670"/>
              <a:gd name="connsiteX9175" fmla="*/ 4596177 w 5365133"/>
              <a:gd name="connsiteY9175" fmla="*/ 1372273 h 4367670"/>
              <a:gd name="connsiteX9176" fmla="*/ 4601782 w 5365133"/>
              <a:gd name="connsiteY9176" fmla="*/ 1367430 h 4367670"/>
              <a:gd name="connsiteX9177" fmla="*/ 4604652 w 5365133"/>
              <a:gd name="connsiteY9177" fmla="*/ 1359166 h 4367670"/>
              <a:gd name="connsiteX9178" fmla="*/ 4604652 w 5365133"/>
              <a:gd name="connsiteY9178" fmla="*/ 1357315 h 4367670"/>
              <a:gd name="connsiteX9179" fmla="*/ 4605264 w 5365133"/>
              <a:gd name="connsiteY9179" fmla="*/ 1357403 h 4367670"/>
              <a:gd name="connsiteX9180" fmla="*/ 4606267 w 5365133"/>
              <a:gd name="connsiteY9180" fmla="*/ 1354516 h 4367670"/>
              <a:gd name="connsiteX9181" fmla="*/ 4610912 w 5365133"/>
              <a:gd name="connsiteY9181" fmla="*/ 1352286 h 4367670"/>
              <a:gd name="connsiteX9182" fmla="*/ 4610394 w 5365133"/>
              <a:gd name="connsiteY9182" fmla="*/ 1351578 h 4367670"/>
              <a:gd name="connsiteX9183" fmla="*/ 4611981 w 5365133"/>
              <a:gd name="connsiteY9183" fmla="*/ 1351772 h 4367670"/>
              <a:gd name="connsiteX9184" fmla="*/ 4618221 w 5365133"/>
              <a:gd name="connsiteY9184" fmla="*/ 1348776 h 4367670"/>
              <a:gd name="connsiteX9185" fmla="*/ 4618221 w 5365133"/>
              <a:gd name="connsiteY9185" fmla="*/ 1347343 h 4367670"/>
              <a:gd name="connsiteX9186" fmla="*/ 4624604 w 5365133"/>
              <a:gd name="connsiteY9186" fmla="*/ 1348639 h 4367670"/>
              <a:gd name="connsiteX9187" fmla="*/ 4623787 w 5365133"/>
              <a:gd name="connsiteY9187" fmla="*/ 1345839 h 4367670"/>
              <a:gd name="connsiteX9188" fmla="*/ 4627181 w 5365133"/>
              <a:gd name="connsiteY9188" fmla="*/ 1349163 h 4367670"/>
              <a:gd name="connsiteX9189" fmla="*/ 4629701 w 5365133"/>
              <a:gd name="connsiteY9189" fmla="*/ 1349675 h 4367670"/>
              <a:gd name="connsiteX9190" fmla="*/ 4635706 w 5365133"/>
              <a:gd name="connsiteY9190" fmla="*/ 1348455 h 4367670"/>
              <a:gd name="connsiteX9191" fmla="*/ 4639363 w 5365133"/>
              <a:gd name="connsiteY9191" fmla="*/ 1343900 h 4367670"/>
              <a:gd name="connsiteX9192" fmla="*/ 4638309 w 5365133"/>
              <a:gd name="connsiteY9192" fmla="*/ 1341902 h 4367670"/>
              <a:gd name="connsiteX9193" fmla="*/ 4635440 w 5365133"/>
              <a:gd name="connsiteY9193" fmla="*/ 1341125 h 4367670"/>
              <a:gd name="connsiteX9194" fmla="*/ 4638759 w 5365133"/>
              <a:gd name="connsiteY9194" fmla="*/ 1337724 h 4367670"/>
              <a:gd name="connsiteX9195" fmla="*/ 4640268 w 5365133"/>
              <a:gd name="connsiteY9195" fmla="*/ 1342786 h 4367670"/>
              <a:gd name="connsiteX9196" fmla="*/ 4647699 w 5365133"/>
              <a:gd name="connsiteY9196" fmla="*/ 1340099 h 4367670"/>
              <a:gd name="connsiteX9197" fmla="*/ 4647699 w 5365133"/>
              <a:gd name="connsiteY9197" fmla="*/ 1347901 h 4367670"/>
              <a:gd name="connsiteX9198" fmla="*/ 4654094 w 5365133"/>
              <a:gd name="connsiteY9198" fmla="*/ 1340707 h 4367670"/>
              <a:gd name="connsiteX9199" fmla="*/ 4655668 w 5365133"/>
              <a:gd name="connsiteY9199" fmla="*/ 1341029 h 4367670"/>
              <a:gd name="connsiteX9200" fmla="*/ 4658820 w 5365133"/>
              <a:gd name="connsiteY9200" fmla="*/ 1334224 h 4367670"/>
              <a:gd name="connsiteX9201" fmla="*/ 4666353 w 5365133"/>
              <a:gd name="connsiteY9201" fmla="*/ 1328261 h 4367670"/>
              <a:gd name="connsiteX9202" fmla="*/ 4681741 w 5365133"/>
              <a:gd name="connsiteY9202" fmla="*/ 1326466 h 4367670"/>
              <a:gd name="connsiteX9203" fmla="*/ 4685110 w 5365133"/>
              <a:gd name="connsiteY9203" fmla="*/ 1322950 h 4367670"/>
              <a:gd name="connsiteX9204" fmla="*/ 4685110 w 5365133"/>
              <a:gd name="connsiteY9204" fmla="*/ 1325820 h 4367670"/>
              <a:gd name="connsiteX9205" fmla="*/ 4685110 w 5365133"/>
              <a:gd name="connsiteY9205" fmla="*/ 1326072 h 4367670"/>
              <a:gd name="connsiteX9206" fmla="*/ 4687876 w 5365133"/>
              <a:gd name="connsiteY9206" fmla="*/ 1325750 h 4367670"/>
              <a:gd name="connsiteX9207" fmla="*/ 4685110 w 5365133"/>
              <a:gd name="connsiteY9207" fmla="*/ 1328054 h 4367670"/>
              <a:gd name="connsiteX9208" fmla="*/ 4685110 w 5365133"/>
              <a:gd name="connsiteY9208" fmla="*/ 1328689 h 4367670"/>
              <a:gd name="connsiteX9209" fmla="*/ 4702990 w 5365133"/>
              <a:gd name="connsiteY9209" fmla="*/ 1317210 h 4367670"/>
              <a:gd name="connsiteX9210" fmla="*/ 4709422 w 5365133"/>
              <a:gd name="connsiteY9210" fmla="*/ 1319112 h 4367670"/>
              <a:gd name="connsiteX9211" fmla="*/ 4717290 w 5365133"/>
              <a:gd name="connsiteY9211" fmla="*/ 1314271 h 4367670"/>
              <a:gd name="connsiteX9212" fmla="*/ 4730921 w 5365133"/>
              <a:gd name="connsiteY9212" fmla="*/ 1308531 h 4367670"/>
              <a:gd name="connsiteX9213" fmla="*/ 4719442 w 5365133"/>
              <a:gd name="connsiteY9213" fmla="*/ 1316423 h 4367670"/>
              <a:gd name="connsiteX9214" fmla="*/ 4710149 w 5365133"/>
              <a:gd name="connsiteY9214" fmla="*/ 1319327 h 4367670"/>
              <a:gd name="connsiteX9215" fmla="*/ 4713608 w 5365133"/>
              <a:gd name="connsiteY9215" fmla="*/ 1320349 h 4367670"/>
              <a:gd name="connsiteX9216" fmla="*/ 4738753 w 5365133"/>
              <a:gd name="connsiteY9216" fmla="*/ 1311471 h 4367670"/>
              <a:gd name="connsiteX9217" fmla="*/ 4697030 w 5365133"/>
              <a:gd name="connsiteY9217" fmla="*/ 1322950 h 4367670"/>
              <a:gd name="connsiteX9218" fmla="*/ 4674400 w 5365133"/>
              <a:gd name="connsiteY9218" fmla="*/ 1337478 h 4367670"/>
              <a:gd name="connsiteX9219" fmla="*/ 4673312 w 5365133"/>
              <a:gd name="connsiteY9219" fmla="*/ 1337886 h 4367670"/>
              <a:gd name="connsiteX9220" fmla="*/ 4672810 w 5365133"/>
              <a:gd name="connsiteY9220" fmla="*/ 1338305 h 4367670"/>
              <a:gd name="connsiteX9221" fmla="*/ 4662856 w 5365133"/>
              <a:gd name="connsiteY9221" fmla="*/ 1343642 h 4367670"/>
              <a:gd name="connsiteX9222" fmla="*/ 4659860 w 5365133"/>
              <a:gd name="connsiteY9222" fmla="*/ 1344340 h 4367670"/>
              <a:gd name="connsiteX9223" fmla="*/ 4661268 w 5365133"/>
              <a:gd name="connsiteY9223" fmla="*/ 1348778 h 4367670"/>
              <a:gd name="connsiteX9224" fmla="*/ 4656784 w 5365133"/>
              <a:gd name="connsiteY9224" fmla="*/ 1348778 h 4367670"/>
              <a:gd name="connsiteX9225" fmla="*/ 4647699 w 5365133"/>
              <a:gd name="connsiteY9225" fmla="*/ 1348778 h 4367670"/>
              <a:gd name="connsiteX9226" fmla="*/ 4647699 w 5365133"/>
              <a:gd name="connsiteY9226" fmla="*/ 1351578 h 4367670"/>
              <a:gd name="connsiteX9227" fmla="*/ 4639808 w 5365133"/>
              <a:gd name="connsiteY9227" fmla="*/ 1352296 h 4367670"/>
              <a:gd name="connsiteX9228" fmla="*/ 4639467 w 5365133"/>
              <a:gd name="connsiteY9228" fmla="*/ 1352307 h 4367670"/>
              <a:gd name="connsiteX9229" fmla="*/ 4638399 w 5365133"/>
              <a:gd name="connsiteY9229" fmla="*/ 1355407 h 4367670"/>
              <a:gd name="connsiteX9230" fmla="*/ 4636349 w 5365133"/>
              <a:gd name="connsiteY9230" fmla="*/ 1356679 h 4367670"/>
              <a:gd name="connsiteX9231" fmla="*/ 4636221 w 5365133"/>
              <a:gd name="connsiteY9231" fmla="*/ 1357317 h 4367670"/>
              <a:gd name="connsiteX9232" fmla="*/ 4635913 w 5365133"/>
              <a:gd name="connsiteY9232" fmla="*/ 1356949 h 4367670"/>
              <a:gd name="connsiteX9233" fmla="*/ 4628007 w 5365133"/>
              <a:gd name="connsiteY9233" fmla="*/ 1361855 h 4367670"/>
              <a:gd name="connsiteX9234" fmla="*/ 4619189 w 5365133"/>
              <a:gd name="connsiteY9234" fmla="*/ 1359984 h 4367670"/>
              <a:gd name="connsiteX9235" fmla="*/ 4617927 w 5365133"/>
              <a:gd name="connsiteY9235" fmla="*/ 1360905 h 4367670"/>
              <a:gd name="connsiteX9236" fmla="*/ 4616358 w 5365133"/>
              <a:gd name="connsiteY9236" fmla="*/ 1359739 h 4367670"/>
              <a:gd name="connsiteX9237" fmla="*/ 4613790 w 5365133"/>
              <a:gd name="connsiteY9237" fmla="*/ 1356225 h 4367670"/>
              <a:gd name="connsiteX9238" fmla="*/ 4612245 w 5365133"/>
              <a:gd name="connsiteY9238" fmla="*/ 1358820 h 4367670"/>
              <a:gd name="connsiteX9239" fmla="*/ 4610142 w 5365133"/>
              <a:gd name="connsiteY9239" fmla="*/ 1361305 h 4367670"/>
              <a:gd name="connsiteX9240" fmla="*/ 4610392 w 5365133"/>
              <a:gd name="connsiteY9240" fmla="*/ 1363055 h 4367670"/>
              <a:gd name="connsiteX9241" fmla="*/ 4609804 w 5365133"/>
              <a:gd name="connsiteY9241" fmla="*/ 1365409 h 4367670"/>
              <a:gd name="connsiteX9242" fmla="*/ 4612245 w 5365133"/>
              <a:gd name="connsiteY9242" fmla="*/ 1365995 h 4367670"/>
              <a:gd name="connsiteX9243" fmla="*/ 4596069 w 5365133"/>
              <a:gd name="connsiteY9243" fmla="*/ 1373204 h 4367670"/>
              <a:gd name="connsiteX9244" fmla="*/ 4604654 w 5365133"/>
              <a:gd name="connsiteY9244" fmla="*/ 1380276 h 4367670"/>
              <a:gd name="connsiteX9245" fmla="*/ 4598915 w 5365133"/>
              <a:gd name="connsiteY9245" fmla="*/ 1391754 h 4367670"/>
              <a:gd name="connsiteX9246" fmla="*/ 4587436 w 5365133"/>
              <a:gd name="connsiteY9246" fmla="*/ 1391754 h 4367670"/>
              <a:gd name="connsiteX9247" fmla="*/ 4593176 w 5365133"/>
              <a:gd name="connsiteY9247" fmla="*/ 1391754 h 4367670"/>
              <a:gd name="connsiteX9248" fmla="*/ 4587436 w 5365133"/>
              <a:gd name="connsiteY9248" fmla="*/ 1386015 h 4367670"/>
              <a:gd name="connsiteX9249" fmla="*/ 4598915 w 5365133"/>
              <a:gd name="connsiteY9249" fmla="*/ 1380276 h 4367670"/>
              <a:gd name="connsiteX9250" fmla="*/ 4595506 w 5365133"/>
              <a:gd name="connsiteY9250" fmla="*/ 1373456 h 4367670"/>
              <a:gd name="connsiteX9251" fmla="*/ 4593176 w 5365133"/>
              <a:gd name="connsiteY9251" fmla="*/ 1374494 h 4367670"/>
              <a:gd name="connsiteX9252" fmla="*/ 4593176 w 5365133"/>
              <a:gd name="connsiteY9252" fmla="*/ 1374536 h 4367670"/>
              <a:gd name="connsiteX9253" fmla="*/ 4592458 w 5365133"/>
              <a:gd name="connsiteY9253" fmla="*/ 1375971 h 4367670"/>
              <a:gd name="connsiteX9254" fmla="*/ 4591840 w 5365133"/>
              <a:gd name="connsiteY9254" fmla="*/ 1375089 h 4367670"/>
              <a:gd name="connsiteX9255" fmla="*/ 4591319 w 5365133"/>
              <a:gd name="connsiteY9255" fmla="*/ 1375322 h 4367670"/>
              <a:gd name="connsiteX9256" fmla="*/ 4584856 w 5365133"/>
              <a:gd name="connsiteY9256" fmla="*/ 1374213 h 4367670"/>
              <a:gd name="connsiteX9257" fmla="*/ 4581696 w 5365133"/>
              <a:gd name="connsiteY9257" fmla="*/ 1373818 h 4367670"/>
              <a:gd name="connsiteX9258" fmla="*/ 4581487 w 5365133"/>
              <a:gd name="connsiteY9258" fmla="*/ 1373636 h 4367670"/>
              <a:gd name="connsiteX9259" fmla="*/ 4570395 w 5365133"/>
              <a:gd name="connsiteY9259" fmla="*/ 1371734 h 4367670"/>
              <a:gd name="connsiteX9260" fmla="*/ 4569453 w 5365133"/>
              <a:gd name="connsiteY9260" fmla="*/ 1374145 h 4367670"/>
              <a:gd name="connsiteX9261" fmla="*/ 4576499 w 5365133"/>
              <a:gd name="connsiteY9261" fmla="*/ 1373735 h 4367670"/>
              <a:gd name="connsiteX9262" fmla="*/ 4569027 w 5365133"/>
              <a:gd name="connsiteY9262" fmla="*/ 1377462 h 4367670"/>
              <a:gd name="connsiteX9263" fmla="*/ 4568205 w 5365133"/>
              <a:gd name="connsiteY9263" fmla="*/ 1377608 h 4367670"/>
              <a:gd name="connsiteX9264" fmla="*/ 4570395 w 5365133"/>
              <a:gd name="connsiteY9264" fmla="*/ 1383214 h 4367670"/>
              <a:gd name="connsiteX9265" fmla="*/ 4569582 w 5365133"/>
              <a:gd name="connsiteY9265" fmla="*/ 1383896 h 4367670"/>
              <a:gd name="connsiteX9266" fmla="*/ 4570521 w 5365133"/>
              <a:gd name="connsiteY9266" fmla="*/ 1385662 h 4367670"/>
              <a:gd name="connsiteX9267" fmla="*/ 4568939 w 5365133"/>
              <a:gd name="connsiteY9267" fmla="*/ 1384435 h 4367670"/>
              <a:gd name="connsiteX9268" fmla="*/ 4564415 w 5365133"/>
              <a:gd name="connsiteY9268" fmla="*/ 1388235 h 4367670"/>
              <a:gd name="connsiteX9269" fmla="*/ 4558437 w 5365133"/>
              <a:gd name="connsiteY9269" fmla="*/ 1388953 h 4367670"/>
              <a:gd name="connsiteX9270" fmla="*/ 4556569 w 5365133"/>
              <a:gd name="connsiteY9270" fmla="*/ 1383124 h 4367670"/>
              <a:gd name="connsiteX9271" fmla="*/ 4553768 w 5365133"/>
              <a:gd name="connsiteY9271" fmla="*/ 1381719 h 4367670"/>
              <a:gd name="connsiteX9272" fmla="*/ 4557818 w 5365133"/>
              <a:gd name="connsiteY9272" fmla="*/ 1388644 h 4367670"/>
              <a:gd name="connsiteX9273" fmla="*/ 4558565 w 5365133"/>
              <a:gd name="connsiteY9273" fmla="*/ 1397589 h 4367670"/>
              <a:gd name="connsiteX9274" fmla="*/ 4540630 w 5365133"/>
              <a:gd name="connsiteY9274" fmla="*/ 1403555 h 4367670"/>
              <a:gd name="connsiteX9275" fmla="*/ 4539883 w 5365133"/>
              <a:gd name="connsiteY9275" fmla="*/ 1397590 h 4367670"/>
              <a:gd name="connsiteX9276" fmla="*/ 4539734 w 5365133"/>
              <a:gd name="connsiteY9276" fmla="*/ 1397419 h 4367670"/>
              <a:gd name="connsiteX9277" fmla="*/ 4535000 w 5365133"/>
              <a:gd name="connsiteY9277" fmla="*/ 1400432 h 4367670"/>
              <a:gd name="connsiteX9278" fmla="*/ 4536749 w 5365133"/>
              <a:gd name="connsiteY9278" fmla="*/ 1394017 h 4367670"/>
              <a:gd name="connsiteX9279" fmla="*/ 4534652 w 5365133"/>
              <a:gd name="connsiteY9279" fmla="*/ 1391626 h 4367670"/>
              <a:gd name="connsiteX9280" fmla="*/ 4530389 w 5365133"/>
              <a:gd name="connsiteY9280" fmla="*/ 1394315 h 4367670"/>
              <a:gd name="connsiteX9281" fmla="*/ 4535000 w 5365133"/>
              <a:gd name="connsiteY9281" fmla="*/ 1401661 h 4367670"/>
              <a:gd name="connsiteX9282" fmla="*/ 4517109 w 5365133"/>
              <a:gd name="connsiteY9282" fmla="*/ 1406982 h 4367670"/>
              <a:gd name="connsiteX9283" fmla="*/ 4518745 w 5365133"/>
              <a:gd name="connsiteY9283" fmla="*/ 1399750 h 4367670"/>
              <a:gd name="connsiteX9284" fmla="*/ 4513730 w 5365133"/>
              <a:gd name="connsiteY9284" fmla="*/ 1401319 h 4367670"/>
              <a:gd name="connsiteX9285" fmla="*/ 4509632 w 5365133"/>
              <a:gd name="connsiteY9285" fmla="*/ 1404092 h 4367670"/>
              <a:gd name="connsiteX9286" fmla="*/ 4509807 w 5365133"/>
              <a:gd name="connsiteY9286" fmla="*/ 1404181 h 4367670"/>
              <a:gd name="connsiteX9287" fmla="*/ 4516719 w 5365133"/>
              <a:gd name="connsiteY9287" fmla="*/ 1403555 h 4367670"/>
              <a:gd name="connsiteX9288" fmla="*/ 4514584 w 5365133"/>
              <a:gd name="connsiteY9288" fmla="*/ 1406618 h 4367670"/>
              <a:gd name="connsiteX9289" fmla="*/ 4516022 w 5365133"/>
              <a:gd name="connsiteY9289" fmla="*/ 1407352 h 4367670"/>
              <a:gd name="connsiteX9290" fmla="*/ 4513053 w 5365133"/>
              <a:gd name="connsiteY9290" fmla="*/ 1408814 h 4367670"/>
              <a:gd name="connsiteX9291" fmla="*/ 4509901 w 5365133"/>
              <a:gd name="connsiteY9291" fmla="*/ 1413340 h 4367670"/>
              <a:gd name="connsiteX9292" fmla="*/ 4511488 w 5365133"/>
              <a:gd name="connsiteY9292" fmla="*/ 1423684 h 4367670"/>
              <a:gd name="connsiteX9293" fmla="*/ 4511342 w 5365133"/>
              <a:gd name="connsiteY9293" fmla="*/ 1426751 h 4367670"/>
              <a:gd name="connsiteX9294" fmla="*/ 4510742 w 5365133"/>
              <a:gd name="connsiteY9294" fmla="*/ 1427412 h 4367670"/>
              <a:gd name="connsiteX9295" fmla="*/ 4511297 w 5365133"/>
              <a:gd name="connsiteY9295" fmla="*/ 1427688 h 4367670"/>
              <a:gd name="connsiteX9296" fmla="*/ 4510742 w 5365133"/>
              <a:gd name="connsiteY9296" fmla="*/ 1439339 h 4367670"/>
              <a:gd name="connsiteX9297" fmla="*/ 4522697 w 5365133"/>
              <a:gd name="connsiteY9297" fmla="*/ 1433375 h 4367670"/>
              <a:gd name="connsiteX9298" fmla="*/ 4511297 w 5365133"/>
              <a:gd name="connsiteY9298" fmla="*/ 1427688 h 4367670"/>
              <a:gd name="connsiteX9299" fmla="*/ 4511342 w 5365133"/>
              <a:gd name="connsiteY9299" fmla="*/ 1426751 h 4367670"/>
              <a:gd name="connsiteX9300" fmla="*/ 4518213 w 5365133"/>
              <a:gd name="connsiteY9300" fmla="*/ 1419210 h 4367670"/>
              <a:gd name="connsiteX9301" fmla="*/ 4516719 w 5365133"/>
              <a:gd name="connsiteY9301" fmla="*/ 1415482 h 4367670"/>
              <a:gd name="connsiteX9302" fmla="*/ 4546608 w 5365133"/>
              <a:gd name="connsiteY9302" fmla="*/ 1403555 h 4367670"/>
              <a:gd name="connsiteX9303" fmla="*/ 4558565 w 5365133"/>
              <a:gd name="connsiteY9303" fmla="*/ 1415482 h 4367670"/>
              <a:gd name="connsiteX9304" fmla="*/ 4558565 w 5365133"/>
              <a:gd name="connsiteY9304" fmla="*/ 1403555 h 4367670"/>
              <a:gd name="connsiteX9305" fmla="*/ 4570521 w 5365133"/>
              <a:gd name="connsiteY9305" fmla="*/ 1409519 h 4367670"/>
              <a:gd name="connsiteX9306" fmla="*/ 4564543 w 5365133"/>
              <a:gd name="connsiteY9306" fmla="*/ 1421446 h 4367670"/>
              <a:gd name="connsiteX9307" fmla="*/ 4576499 w 5365133"/>
              <a:gd name="connsiteY9307" fmla="*/ 1421446 h 4367670"/>
              <a:gd name="connsiteX9308" fmla="*/ 4576499 w 5365133"/>
              <a:gd name="connsiteY9308" fmla="*/ 1403555 h 4367670"/>
              <a:gd name="connsiteX9309" fmla="*/ 4564543 w 5365133"/>
              <a:gd name="connsiteY9309" fmla="*/ 1397589 h 4367670"/>
              <a:gd name="connsiteX9310" fmla="*/ 4582477 w 5365133"/>
              <a:gd name="connsiteY9310" fmla="*/ 1391626 h 4367670"/>
              <a:gd name="connsiteX9311" fmla="*/ 4588455 w 5365133"/>
              <a:gd name="connsiteY9311" fmla="*/ 1403555 h 4367670"/>
              <a:gd name="connsiteX9312" fmla="*/ 4582477 w 5365133"/>
              <a:gd name="connsiteY9312" fmla="*/ 1409519 h 4367670"/>
              <a:gd name="connsiteX9313" fmla="*/ 4594433 w 5365133"/>
              <a:gd name="connsiteY9313" fmla="*/ 1415482 h 4367670"/>
              <a:gd name="connsiteX9314" fmla="*/ 4606390 w 5365133"/>
              <a:gd name="connsiteY9314" fmla="*/ 1397589 h 4367670"/>
              <a:gd name="connsiteX9315" fmla="*/ 4606390 w 5365133"/>
              <a:gd name="connsiteY9315" fmla="*/ 1403555 h 4367670"/>
              <a:gd name="connsiteX9316" fmla="*/ 4612368 w 5365133"/>
              <a:gd name="connsiteY9316" fmla="*/ 1403555 h 4367670"/>
              <a:gd name="connsiteX9317" fmla="*/ 4600412 w 5365133"/>
              <a:gd name="connsiteY9317" fmla="*/ 1415482 h 4367670"/>
              <a:gd name="connsiteX9318" fmla="*/ 4612368 w 5365133"/>
              <a:gd name="connsiteY9318" fmla="*/ 1415482 h 4367670"/>
              <a:gd name="connsiteX9319" fmla="*/ 4618346 w 5365133"/>
              <a:gd name="connsiteY9319" fmla="*/ 1397589 h 4367670"/>
              <a:gd name="connsiteX9320" fmla="*/ 4630302 w 5365133"/>
              <a:gd name="connsiteY9320" fmla="*/ 1391626 h 4367670"/>
              <a:gd name="connsiteX9321" fmla="*/ 4630302 w 5365133"/>
              <a:gd name="connsiteY9321" fmla="*/ 1397589 h 4367670"/>
              <a:gd name="connsiteX9322" fmla="*/ 4648234 w 5365133"/>
              <a:gd name="connsiteY9322" fmla="*/ 1391626 h 4367670"/>
              <a:gd name="connsiteX9323" fmla="*/ 4654212 w 5365133"/>
              <a:gd name="connsiteY9323" fmla="*/ 1403555 h 4367670"/>
              <a:gd name="connsiteX9324" fmla="*/ 4642257 w 5365133"/>
              <a:gd name="connsiteY9324" fmla="*/ 1409519 h 4367670"/>
              <a:gd name="connsiteX9325" fmla="*/ 4636280 w 5365133"/>
              <a:gd name="connsiteY9325" fmla="*/ 1403555 h 4367670"/>
              <a:gd name="connsiteX9326" fmla="*/ 4624324 w 5365133"/>
              <a:gd name="connsiteY9326" fmla="*/ 1409519 h 4367670"/>
              <a:gd name="connsiteX9327" fmla="*/ 4624324 w 5365133"/>
              <a:gd name="connsiteY9327" fmla="*/ 1427412 h 4367670"/>
              <a:gd name="connsiteX9328" fmla="*/ 4642257 w 5365133"/>
              <a:gd name="connsiteY9328" fmla="*/ 1421446 h 4367670"/>
              <a:gd name="connsiteX9329" fmla="*/ 4648234 w 5365133"/>
              <a:gd name="connsiteY9329" fmla="*/ 1421446 h 4367670"/>
              <a:gd name="connsiteX9330" fmla="*/ 4660190 w 5365133"/>
              <a:gd name="connsiteY9330" fmla="*/ 1403555 h 4367670"/>
              <a:gd name="connsiteX9331" fmla="*/ 4678125 w 5365133"/>
              <a:gd name="connsiteY9331" fmla="*/ 1397589 h 4367670"/>
              <a:gd name="connsiteX9332" fmla="*/ 4684103 w 5365133"/>
              <a:gd name="connsiteY9332" fmla="*/ 1409519 h 4367670"/>
              <a:gd name="connsiteX9333" fmla="*/ 4696059 w 5365133"/>
              <a:gd name="connsiteY9333" fmla="*/ 1409519 h 4367670"/>
              <a:gd name="connsiteX9334" fmla="*/ 4690081 w 5365133"/>
              <a:gd name="connsiteY9334" fmla="*/ 1409519 h 4367670"/>
              <a:gd name="connsiteX9335" fmla="*/ 4690081 w 5365133"/>
              <a:gd name="connsiteY9335" fmla="*/ 1415482 h 4367670"/>
              <a:gd name="connsiteX9336" fmla="*/ 4708015 w 5365133"/>
              <a:gd name="connsiteY9336" fmla="*/ 1409519 h 4367670"/>
              <a:gd name="connsiteX9337" fmla="*/ 4696059 w 5365133"/>
              <a:gd name="connsiteY9337" fmla="*/ 1397589 h 4367670"/>
              <a:gd name="connsiteX9338" fmla="*/ 4731927 w 5365133"/>
              <a:gd name="connsiteY9338" fmla="*/ 1379699 h 4367670"/>
              <a:gd name="connsiteX9339" fmla="*/ 4725950 w 5365133"/>
              <a:gd name="connsiteY9339" fmla="*/ 1385662 h 4367670"/>
              <a:gd name="connsiteX9340" fmla="*/ 4737906 w 5365133"/>
              <a:gd name="connsiteY9340" fmla="*/ 1385662 h 4367670"/>
              <a:gd name="connsiteX9341" fmla="*/ 4737906 w 5365133"/>
              <a:gd name="connsiteY9341" fmla="*/ 1379699 h 4367670"/>
              <a:gd name="connsiteX9342" fmla="*/ 4761818 w 5365133"/>
              <a:gd name="connsiteY9342" fmla="*/ 1373735 h 4367670"/>
              <a:gd name="connsiteX9343" fmla="*/ 4761818 w 5365133"/>
              <a:gd name="connsiteY9343" fmla="*/ 1379699 h 4367670"/>
              <a:gd name="connsiteX9344" fmla="*/ 4779750 w 5365133"/>
              <a:gd name="connsiteY9344" fmla="*/ 1379699 h 4367670"/>
              <a:gd name="connsiteX9345" fmla="*/ 4773772 w 5365133"/>
              <a:gd name="connsiteY9345" fmla="*/ 1391626 h 4367670"/>
              <a:gd name="connsiteX9346" fmla="*/ 4767796 w 5365133"/>
              <a:gd name="connsiteY9346" fmla="*/ 1385662 h 4367670"/>
              <a:gd name="connsiteX9347" fmla="*/ 4600412 w 5365133"/>
              <a:gd name="connsiteY9347" fmla="*/ 1463195 h 4367670"/>
              <a:gd name="connsiteX9348" fmla="*/ 4618346 w 5365133"/>
              <a:gd name="connsiteY9348" fmla="*/ 1463195 h 4367670"/>
              <a:gd name="connsiteX9349" fmla="*/ 4598170 w 5365133"/>
              <a:gd name="connsiteY9349" fmla="*/ 1471395 h 4367670"/>
              <a:gd name="connsiteX9350" fmla="*/ 4591233 w 5365133"/>
              <a:gd name="connsiteY9350" fmla="*/ 1473043 h 4367670"/>
              <a:gd name="connsiteX9351" fmla="*/ 4591338 w 5365133"/>
              <a:gd name="connsiteY9351" fmla="*/ 1476355 h 4367670"/>
              <a:gd name="connsiteX9352" fmla="*/ 4602638 w 5365133"/>
              <a:gd name="connsiteY9352" fmla="*/ 1470706 h 4367670"/>
              <a:gd name="connsiteX9353" fmla="*/ 4603098 w 5365133"/>
              <a:gd name="connsiteY9353" fmla="*/ 1477073 h 4367670"/>
              <a:gd name="connsiteX9354" fmla="*/ 4624324 w 5365133"/>
              <a:gd name="connsiteY9354" fmla="*/ 1469158 h 4367670"/>
              <a:gd name="connsiteX9355" fmla="*/ 4624324 w 5365133"/>
              <a:gd name="connsiteY9355" fmla="*/ 1481086 h 4367670"/>
              <a:gd name="connsiteX9356" fmla="*/ 4636280 w 5365133"/>
              <a:gd name="connsiteY9356" fmla="*/ 1469158 h 4367670"/>
              <a:gd name="connsiteX9357" fmla="*/ 4636280 w 5365133"/>
              <a:gd name="connsiteY9357" fmla="*/ 1475122 h 4367670"/>
              <a:gd name="connsiteX9358" fmla="*/ 4660190 w 5365133"/>
              <a:gd name="connsiteY9358" fmla="*/ 1475122 h 4367670"/>
              <a:gd name="connsiteX9359" fmla="*/ 4660190 w 5365133"/>
              <a:gd name="connsiteY9359" fmla="*/ 1463195 h 4367670"/>
              <a:gd name="connsiteX9360" fmla="*/ 4678125 w 5365133"/>
              <a:gd name="connsiteY9360" fmla="*/ 1463195 h 4367670"/>
              <a:gd name="connsiteX9361" fmla="*/ 4672147 w 5365133"/>
              <a:gd name="connsiteY9361" fmla="*/ 1481086 h 4367670"/>
              <a:gd name="connsiteX9362" fmla="*/ 4612368 w 5365133"/>
              <a:gd name="connsiteY9362" fmla="*/ 1498979 h 4367670"/>
              <a:gd name="connsiteX9363" fmla="*/ 4624324 w 5365133"/>
              <a:gd name="connsiteY9363" fmla="*/ 1510908 h 4367670"/>
              <a:gd name="connsiteX9364" fmla="*/ 4636280 w 5365133"/>
              <a:gd name="connsiteY9364" fmla="*/ 1498979 h 4367670"/>
              <a:gd name="connsiteX9365" fmla="*/ 4636991 w 5365133"/>
              <a:gd name="connsiteY9365" fmla="*/ 1503236 h 4367670"/>
              <a:gd name="connsiteX9366" fmla="*/ 4626005 w 5365133"/>
              <a:gd name="connsiteY9366" fmla="*/ 1512118 h 4367670"/>
              <a:gd name="connsiteX9367" fmla="*/ 4570521 w 5365133"/>
              <a:gd name="connsiteY9367" fmla="*/ 1534762 h 4367670"/>
              <a:gd name="connsiteX9368" fmla="*/ 4570521 w 5365133"/>
              <a:gd name="connsiteY9368" fmla="*/ 1540728 h 4367670"/>
              <a:gd name="connsiteX9369" fmla="*/ 4546608 w 5365133"/>
              <a:gd name="connsiteY9369" fmla="*/ 1540728 h 4367670"/>
              <a:gd name="connsiteX9370" fmla="*/ 4474873 w 5365133"/>
              <a:gd name="connsiteY9370" fmla="*/ 1582475 h 4367670"/>
              <a:gd name="connsiteX9371" fmla="*/ 4504764 w 5365133"/>
              <a:gd name="connsiteY9371" fmla="*/ 1576511 h 4367670"/>
              <a:gd name="connsiteX9372" fmla="*/ 4492808 w 5365133"/>
              <a:gd name="connsiteY9372" fmla="*/ 1582475 h 4367670"/>
              <a:gd name="connsiteX9373" fmla="*/ 4510742 w 5365133"/>
              <a:gd name="connsiteY9373" fmla="*/ 1570548 h 4367670"/>
              <a:gd name="connsiteX9374" fmla="*/ 4510742 w 5365133"/>
              <a:gd name="connsiteY9374" fmla="*/ 1576511 h 4367670"/>
              <a:gd name="connsiteX9375" fmla="*/ 4510742 w 5365133"/>
              <a:gd name="connsiteY9375" fmla="*/ 1588438 h 4367670"/>
              <a:gd name="connsiteX9376" fmla="*/ 4534652 w 5365133"/>
              <a:gd name="connsiteY9376" fmla="*/ 1570548 h 4367670"/>
              <a:gd name="connsiteX9377" fmla="*/ 4529859 w 5365133"/>
              <a:gd name="connsiteY9377" fmla="*/ 1566919 h 4367670"/>
              <a:gd name="connsiteX9378" fmla="*/ 4540630 w 5365133"/>
              <a:gd name="connsiteY9378" fmla="*/ 1564582 h 4367670"/>
              <a:gd name="connsiteX9379" fmla="*/ 4594433 w 5365133"/>
              <a:gd name="connsiteY9379" fmla="*/ 1546691 h 4367670"/>
              <a:gd name="connsiteX9380" fmla="*/ 4611095 w 5365133"/>
              <a:gd name="connsiteY9380" fmla="*/ 1540174 h 4367670"/>
              <a:gd name="connsiteX9381" fmla="*/ 4611111 w 5365133"/>
              <a:gd name="connsiteY9381" fmla="*/ 1540174 h 4367670"/>
              <a:gd name="connsiteX9382" fmla="*/ 4611110 w 5365133"/>
              <a:gd name="connsiteY9382" fmla="*/ 1540169 h 4367670"/>
              <a:gd name="connsiteX9383" fmla="*/ 4725950 w 5365133"/>
              <a:gd name="connsiteY9383" fmla="*/ 1495251 h 4367670"/>
              <a:gd name="connsiteX9384" fmla="*/ 4875400 w 5365133"/>
              <a:gd name="connsiteY9384" fmla="*/ 1439339 h 4367670"/>
              <a:gd name="connsiteX9385" fmla="*/ 4875400 w 5365133"/>
              <a:gd name="connsiteY9385" fmla="*/ 1457231 h 4367670"/>
              <a:gd name="connsiteX9386" fmla="*/ 4863444 w 5365133"/>
              <a:gd name="connsiteY9386" fmla="*/ 1451266 h 4367670"/>
              <a:gd name="connsiteX9387" fmla="*/ 4863444 w 5365133"/>
              <a:gd name="connsiteY9387" fmla="*/ 1463195 h 4367670"/>
              <a:gd name="connsiteX9388" fmla="*/ 4857466 w 5365133"/>
              <a:gd name="connsiteY9388" fmla="*/ 1451266 h 4367670"/>
              <a:gd name="connsiteX9389" fmla="*/ 4827575 w 5365133"/>
              <a:gd name="connsiteY9389" fmla="*/ 1463195 h 4367670"/>
              <a:gd name="connsiteX9390" fmla="*/ 4839531 w 5365133"/>
              <a:gd name="connsiteY9390" fmla="*/ 1469158 h 4367670"/>
              <a:gd name="connsiteX9391" fmla="*/ 4851487 w 5365133"/>
              <a:gd name="connsiteY9391" fmla="*/ 1457231 h 4367670"/>
              <a:gd name="connsiteX9392" fmla="*/ 4821597 w 5365133"/>
              <a:gd name="connsiteY9392" fmla="*/ 1481086 h 4367670"/>
              <a:gd name="connsiteX9393" fmla="*/ 4827575 w 5365133"/>
              <a:gd name="connsiteY9393" fmla="*/ 1469158 h 4367670"/>
              <a:gd name="connsiteX9394" fmla="*/ 4808147 w 5365133"/>
              <a:gd name="connsiteY9394" fmla="*/ 1483324 h 4367670"/>
              <a:gd name="connsiteX9395" fmla="*/ 4792068 w 5365133"/>
              <a:gd name="connsiteY9395" fmla="*/ 1488810 h 4367670"/>
              <a:gd name="connsiteX9396" fmla="*/ 4791186 w 5365133"/>
              <a:gd name="connsiteY9396" fmla="*/ 1489325 h 4367670"/>
              <a:gd name="connsiteX9397" fmla="*/ 4791186 w 5365133"/>
              <a:gd name="connsiteY9397" fmla="*/ 1489112 h 4367670"/>
              <a:gd name="connsiteX9398" fmla="*/ 4779750 w 5365133"/>
              <a:gd name="connsiteY9398" fmla="*/ 1493015 h 4367670"/>
              <a:gd name="connsiteX9399" fmla="*/ 4767796 w 5365133"/>
              <a:gd name="connsiteY9399" fmla="*/ 1487051 h 4367670"/>
              <a:gd name="connsiteX9400" fmla="*/ 4743884 w 5365133"/>
              <a:gd name="connsiteY9400" fmla="*/ 1493015 h 4367670"/>
              <a:gd name="connsiteX9401" fmla="*/ 4725950 w 5365133"/>
              <a:gd name="connsiteY9401" fmla="*/ 1510908 h 4367670"/>
              <a:gd name="connsiteX9402" fmla="*/ 4761818 w 5365133"/>
              <a:gd name="connsiteY9402" fmla="*/ 1493015 h 4367670"/>
              <a:gd name="connsiteX9403" fmla="*/ 4773772 w 5365133"/>
              <a:gd name="connsiteY9403" fmla="*/ 1498979 h 4367670"/>
              <a:gd name="connsiteX9404" fmla="*/ 4690081 w 5365133"/>
              <a:gd name="connsiteY9404" fmla="*/ 1534762 h 4367670"/>
              <a:gd name="connsiteX9405" fmla="*/ 4696059 w 5365133"/>
              <a:gd name="connsiteY9405" fmla="*/ 1522835 h 4367670"/>
              <a:gd name="connsiteX9406" fmla="*/ 4684103 w 5365133"/>
              <a:gd name="connsiteY9406" fmla="*/ 1522835 h 4367670"/>
              <a:gd name="connsiteX9407" fmla="*/ 4684103 w 5365133"/>
              <a:gd name="connsiteY9407" fmla="*/ 1534762 h 4367670"/>
              <a:gd name="connsiteX9408" fmla="*/ 4660190 w 5365133"/>
              <a:gd name="connsiteY9408" fmla="*/ 1546691 h 4367670"/>
              <a:gd name="connsiteX9409" fmla="*/ 4660190 w 5365133"/>
              <a:gd name="connsiteY9409" fmla="*/ 1540728 h 4367670"/>
              <a:gd name="connsiteX9410" fmla="*/ 4648234 w 5365133"/>
              <a:gd name="connsiteY9410" fmla="*/ 1540728 h 4367670"/>
              <a:gd name="connsiteX9411" fmla="*/ 4594433 w 5365133"/>
              <a:gd name="connsiteY9411" fmla="*/ 1564582 h 4367670"/>
              <a:gd name="connsiteX9412" fmla="*/ 4594433 w 5365133"/>
              <a:gd name="connsiteY9412" fmla="*/ 1570548 h 4367670"/>
              <a:gd name="connsiteX9413" fmla="*/ 4570521 w 5365133"/>
              <a:gd name="connsiteY9413" fmla="*/ 1588438 h 4367670"/>
              <a:gd name="connsiteX9414" fmla="*/ 4576499 w 5365133"/>
              <a:gd name="connsiteY9414" fmla="*/ 1576511 h 4367670"/>
              <a:gd name="connsiteX9415" fmla="*/ 4576499 w 5365133"/>
              <a:gd name="connsiteY9415" fmla="*/ 1570548 h 4367670"/>
              <a:gd name="connsiteX9416" fmla="*/ 4540630 w 5365133"/>
              <a:gd name="connsiteY9416" fmla="*/ 1600367 h 4367670"/>
              <a:gd name="connsiteX9417" fmla="*/ 4540630 w 5365133"/>
              <a:gd name="connsiteY9417" fmla="*/ 1588438 h 4367670"/>
              <a:gd name="connsiteX9418" fmla="*/ 4516719 w 5365133"/>
              <a:gd name="connsiteY9418" fmla="*/ 1600367 h 4367670"/>
              <a:gd name="connsiteX9419" fmla="*/ 4492808 w 5365133"/>
              <a:gd name="connsiteY9419" fmla="*/ 1624224 h 4367670"/>
              <a:gd name="connsiteX9420" fmla="*/ 4480852 w 5365133"/>
              <a:gd name="connsiteY9420" fmla="*/ 1612295 h 4367670"/>
              <a:gd name="connsiteX9421" fmla="*/ 4474873 w 5365133"/>
              <a:gd name="connsiteY9421" fmla="*/ 1624224 h 4367670"/>
              <a:gd name="connsiteX9422" fmla="*/ 4433027 w 5365133"/>
              <a:gd name="connsiteY9422" fmla="*/ 1648078 h 4367670"/>
              <a:gd name="connsiteX9423" fmla="*/ 4415092 w 5365133"/>
              <a:gd name="connsiteY9423" fmla="*/ 1642115 h 4367670"/>
              <a:gd name="connsiteX9424" fmla="*/ 4415092 w 5365133"/>
              <a:gd name="connsiteY9424" fmla="*/ 1654044 h 4367670"/>
              <a:gd name="connsiteX9425" fmla="*/ 4397159 w 5365133"/>
              <a:gd name="connsiteY9425" fmla="*/ 1654044 h 4367670"/>
              <a:gd name="connsiteX9426" fmla="*/ 4397159 w 5365133"/>
              <a:gd name="connsiteY9426" fmla="*/ 1660007 h 4367670"/>
              <a:gd name="connsiteX9427" fmla="*/ 4338313 w 5365133"/>
              <a:gd name="connsiteY9427" fmla="*/ 1688523 h 4367670"/>
              <a:gd name="connsiteX9428" fmla="*/ 4326671 w 5365133"/>
              <a:gd name="connsiteY9428" fmla="*/ 1689328 h 4367670"/>
              <a:gd name="connsiteX9429" fmla="*/ 4313919 w 5365133"/>
              <a:gd name="connsiteY9429" fmla="*/ 1696292 h 4367670"/>
              <a:gd name="connsiteX9430" fmla="*/ 4312301 w 5365133"/>
              <a:gd name="connsiteY9430" fmla="*/ 1696645 h 4367670"/>
              <a:gd name="connsiteX9431" fmla="*/ 4306554 w 5365133"/>
              <a:gd name="connsiteY9431" fmla="*/ 1702128 h 4367670"/>
              <a:gd name="connsiteX9432" fmla="*/ 4247710 w 5365133"/>
              <a:gd name="connsiteY9432" fmla="*/ 1725611 h 4367670"/>
              <a:gd name="connsiteX9433" fmla="*/ 4241732 w 5365133"/>
              <a:gd name="connsiteY9433" fmla="*/ 1737540 h 4367670"/>
              <a:gd name="connsiteX9434" fmla="*/ 4241732 w 5365133"/>
              <a:gd name="connsiteY9434" fmla="*/ 1731575 h 4367670"/>
              <a:gd name="connsiteX9435" fmla="*/ 4229775 w 5365133"/>
              <a:gd name="connsiteY9435" fmla="*/ 1737540 h 4367670"/>
              <a:gd name="connsiteX9436" fmla="*/ 4217819 w 5365133"/>
              <a:gd name="connsiteY9436" fmla="*/ 1743504 h 4367670"/>
              <a:gd name="connsiteX9437" fmla="*/ 4229775 w 5365133"/>
              <a:gd name="connsiteY9437" fmla="*/ 1749468 h 4367670"/>
              <a:gd name="connsiteX9438" fmla="*/ 4229775 w 5365133"/>
              <a:gd name="connsiteY9438" fmla="*/ 1737540 h 4367670"/>
              <a:gd name="connsiteX9439" fmla="*/ 4235753 w 5365133"/>
              <a:gd name="connsiteY9439" fmla="*/ 1749468 h 4367670"/>
              <a:gd name="connsiteX9440" fmla="*/ 4241023 w 5365133"/>
              <a:gd name="connsiteY9440" fmla="*/ 1749468 h 4367670"/>
              <a:gd name="connsiteX9441" fmla="*/ 4249948 w 5365133"/>
              <a:gd name="connsiteY9441" fmla="*/ 1738610 h 4367670"/>
              <a:gd name="connsiteX9442" fmla="*/ 4264200 w 5365133"/>
              <a:gd name="connsiteY9442" fmla="*/ 1726748 h 4367670"/>
              <a:gd name="connsiteX9443" fmla="*/ 4336204 w 5365133"/>
              <a:gd name="connsiteY9443" fmla="*/ 1697094 h 4367670"/>
              <a:gd name="connsiteX9444" fmla="*/ 4324203 w 5365133"/>
              <a:gd name="connsiteY9444" fmla="*/ 1708957 h 4367670"/>
              <a:gd name="connsiteX9445" fmla="*/ 4342204 w 5365133"/>
              <a:gd name="connsiteY9445" fmla="*/ 1700061 h 4367670"/>
              <a:gd name="connsiteX9446" fmla="*/ 4344775 w 5365133"/>
              <a:gd name="connsiteY9446" fmla="*/ 1698790 h 4367670"/>
              <a:gd name="connsiteX9447" fmla="*/ 4348954 w 5365133"/>
              <a:gd name="connsiteY9447" fmla="*/ 1701543 h 4367670"/>
              <a:gd name="connsiteX9448" fmla="*/ 4360205 w 5365133"/>
              <a:gd name="connsiteY9448" fmla="*/ 1697094 h 4367670"/>
              <a:gd name="connsiteX9449" fmla="*/ 4360205 w 5365133"/>
              <a:gd name="connsiteY9449" fmla="*/ 1691164 h 4367670"/>
              <a:gd name="connsiteX9450" fmla="*/ 4360205 w 5365133"/>
              <a:gd name="connsiteY9450" fmla="*/ 1685232 h 4367670"/>
              <a:gd name="connsiteX9451" fmla="*/ 4396207 w 5365133"/>
              <a:gd name="connsiteY9451" fmla="*/ 1673372 h 4367670"/>
              <a:gd name="connsiteX9452" fmla="*/ 4390208 w 5365133"/>
              <a:gd name="connsiteY9452" fmla="*/ 1685232 h 4367670"/>
              <a:gd name="connsiteX9453" fmla="*/ 4414209 w 5365133"/>
              <a:gd name="connsiteY9453" fmla="*/ 1667441 h 4367670"/>
              <a:gd name="connsiteX9454" fmla="*/ 4414209 w 5365133"/>
              <a:gd name="connsiteY9454" fmla="*/ 1673372 h 4367670"/>
              <a:gd name="connsiteX9455" fmla="*/ 4432209 w 5365133"/>
              <a:gd name="connsiteY9455" fmla="*/ 1673372 h 4367670"/>
              <a:gd name="connsiteX9456" fmla="*/ 4306201 w 5365133"/>
              <a:gd name="connsiteY9456" fmla="*/ 1726748 h 4367670"/>
              <a:gd name="connsiteX9457" fmla="*/ 4264200 w 5365133"/>
              <a:gd name="connsiteY9457" fmla="*/ 1750473 h 4367670"/>
              <a:gd name="connsiteX9458" fmla="*/ 4258948 w 5365133"/>
              <a:gd name="connsiteY9458" fmla="*/ 1741576 h 4367670"/>
              <a:gd name="connsiteX9459" fmla="*/ 4242315 w 5365133"/>
              <a:gd name="connsiteY9459" fmla="*/ 1749468 h 4367670"/>
              <a:gd name="connsiteX9460" fmla="*/ 4242479 w 5365133"/>
              <a:gd name="connsiteY9460" fmla="*/ 1749468 h 4367670"/>
              <a:gd name="connsiteX9461" fmla="*/ 4253688 w 5365133"/>
              <a:gd name="connsiteY9461" fmla="*/ 1749468 h 4367670"/>
              <a:gd name="connsiteX9462" fmla="*/ 4206610 w 5365133"/>
              <a:gd name="connsiteY9462" fmla="*/ 1772951 h 4367670"/>
              <a:gd name="connsiteX9463" fmla="*/ 4198571 w 5365133"/>
              <a:gd name="connsiteY9463" fmla="*/ 1776960 h 4367670"/>
              <a:gd name="connsiteX9464" fmla="*/ 4236090 w 5365133"/>
              <a:gd name="connsiteY9464" fmla="*/ 1764392 h 4367670"/>
              <a:gd name="connsiteX9465" fmla="*/ 4193066 w 5365133"/>
              <a:gd name="connsiteY9465" fmla="*/ 1785854 h 4367670"/>
              <a:gd name="connsiteX9466" fmla="*/ 4200632 w 5365133"/>
              <a:gd name="connsiteY9466" fmla="*/ 1786742 h 4367670"/>
              <a:gd name="connsiteX9467" fmla="*/ 4217819 w 5365133"/>
              <a:gd name="connsiteY9467" fmla="*/ 1779287 h 4367670"/>
              <a:gd name="connsiteX9468" fmla="*/ 4205863 w 5365133"/>
              <a:gd name="connsiteY9468" fmla="*/ 1791216 h 4367670"/>
              <a:gd name="connsiteX9469" fmla="*/ 4213484 w 5365133"/>
              <a:gd name="connsiteY9469" fmla="*/ 1798819 h 4367670"/>
              <a:gd name="connsiteX9470" fmla="*/ 4220329 w 5365133"/>
              <a:gd name="connsiteY9470" fmla="*/ 1797077 h 4367670"/>
              <a:gd name="connsiteX9471" fmla="*/ 4225841 w 5365133"/>
              <a:gd name="connsiteY9471" fmla="*/ 1798166 h 4367670"/>
              <a:gd name="connsiteX9472" fmla="*/ 4223797 w 5365133"/>
              <a:gd name="connsiteY9472" fmla="*/ 1785251 h 4367670"/>
              <a:gd name="connsiteX9473" fmla="*/ 4217819 w 5365133"/>
              <a:gd name="connsiteY9473" fmla="*/ 1791216 h 4367670"/>
              <a:gd name="connsiteX9474" fmla="*/ 4223797 w 5365133"/>
              <a:gd name="connsiteY9474" fmla="*/ 1773324 h 4367670"/>
              <a:gd name="connsiteX9475" fmla="*/ 4349335 w 5365133"/>
              <a:gd name="connsiteY9475" fmla="*/ 1725611 h 4367670"/>
              <a:gd name="connsiteX9476" fmla="*/ 4302258 w 5365133"/>
              <a:gd name="connsiteY9476" fmla="*/ 1748722 h 4367670"/>
              <a:gd name="connsiteX9477" fmla="*/ 4263219 w 5365133"/>
              <a:gd name="connsiteY9477" fmla="*/ 1765805 h 4367670"/>
              <a:gd name="connsiteX9478" fmla="*/ 4263028 w 5365133"/>
              <a:gd name="connsiteY9478" fmla="*/ 1765683 h 4367670"/>
              <a:gd name="connsiteX9479" fmla="*/ 4262977 w 5365133"/>
              <a:gd name="connsiteY9479" fmla="*/ 1765911 h 4367670"/>
              <a:gd name="connsiteX9480" fmla="*/ 4259666 w 5365133"/>
              <a:gd name="connsiteY9480" fmla="*/ 1767360 h 4367670"/>
              <a:gd name="connsiteX9481" fmla="*/ 4262654 w 5365133"/>
              <a:gd name="connsiteY9481" fmla="*/ 1767360 h 4367670"/>
              <a:gd name="connsiteX9482" fmla="*/ 4262977 w 5365133"/>
              <a:gd name="connsiteY9482" fmla="*/ 1765911 h 4367670"/>
              <a:gd name="connsiteX9483" fmla="*/ 4263219 w 5365133"/>
              <a:gd name="connsiteY9483" fmla="*/ 1765805 h 4367670"/>
              <a:gd name="connsiteX9484" fmla="*/ 4265642 w 5365133"/>
              <a:gd name="connsiteY9484" fmla="*/ 1767360 h 4367670"/>
              <a:gd name="connsiteX9485" fmla="*/ 4265642 w 5365133"/>
              <a:gd name="connsiteY9485" fmla="*/ 1773324 h 4367670"/>
              <a:gd name="connsiteX9486" fmla="*/ 4265642 w 5365133"/>
              <a:gd name="connsiteY9486" fmla="*/ 1776141 h 4367670"/>
              <a:gd name="connsiteX9487" fmla="*/ 4270267 w 5365133"/>
              <a:gd name="connsiteY9487" fmla="*/ 1773498 h 4367670"/>
              <a:gd name="connsiteX9488" fmla="*/ 4270984 w 5365133"/>
              <a:gd name="connsiteY9488" fmla="*/ 1770629 h 4367670"/>
              <a:gd name="connsiteX9489" fmla="*/ 4275967 w 5365133"/>
              <a:gd name="connsiteY9489" fmla="*/ 1771156 h 4367670"/>
              <a:gd name="connsiteX9490" fmla="*/ 4277599 w 5365133"/>
              <a:gd name="connsiteY9490" fmla="*/ 1770342 h 4367670"/>
              <a:gd name="connsiteX9491" fmla="*/ 4283577 w 5365133"/>
              <a:gd name="connsiteY9491" fmla="*/ 1767360 h 4367670"/>
              <a:gd name="connsiteX9492" fmla="*/ 4283675 w 5365133"/>
              <a:gd name="connsiteY9492" fmla="*/ 1768939 h 4367670"/>
              <a:gd name="connsiteX9493" fmla="*/ 4284164 w 5365133"/>
              <a:gd name="connsiteY9493" fmla="*/ 1768699 h 4367670"/>
              <a:gd name="connsiteX9494" fmla="*/ 4283577 w 5365133"/>
              <a:gd name="connsiteY9494" fmla="*/ 1767360 h 4367670"/>
              <a:gd name="connsiteX9495" fmla="*/ 4294307 w 5365133"/>
              <a:gd name="connsiteY9495" fmla="*/ 1764683 h 4367670"/>
              <a:gd name="connsiteX9496" fmla="*/ 4300261 w 5365133"/>
              <a:gd name="connsiteY9496" fmla="*/ 1761329 h 4367670"/>
              <a:gd name="connsiteX9497" fmla="*/ 4295532 w 5365133"/>
              <a:gd name="connsiteY9497" fmla="*/ 1755431 h 4367670"/>
              <a:gd name="connsiteX9498" fmla="*/ 4313467 w 5365133"/>
              <a:gd name="connsiteY9498" fmla="*/ 1755431 h 4367670"/>
              <a:gd name="connsiteX9499" fmla="*/ 4315961 w 5365133"/>
              <a:gd name="connsiteY9499" fmla="*/ 1755431 h 4367670"/>
              <a:gd name="connsiteX9500" fmla="*/ 4319301 w 5365133"/>
              <a:gd name="connsiteY9500" fmla="*/ 1753589 h 4367670"/>
              <a:gd name="connsiteX9501" fmla="*/ 4325033 w 5365133"/>
              <a:gd name="connsiteY9501" fmla="*/ 1741931 h 4367670"/>
              <a:gd name="connsiteX9502" fmla="*/ 4326005 w 5365133"/>
              <a:gd name="connsiteY9502" fmla="*/ 1741303 h 4367670"/>
              <a:gd name="connsiteX9503" fmla="*/ 4329283 w 5365133"/>
              <a:gd name="connsiteY9503" fmla="*/ 1748265 h 4367670"/>
              <a:gd name="connsiteX9504" fmla="*/ 4331162 w 5365133"/>
              <a:gd name="connsiteY9504" fmla="*/ 1753181 h 4367670"/>
              <a:gd name="connsiteX9505" fmla="*/ 4330748 w 5365133"/>
              <a:gd name="connsiteY9505" fmla="*/ 1749281 h 4367670"/>
              <a:gd name="connsiteX9506" fmla="*/ 4340648 w 5365133"/>
              <a:gd name="connsiteY9506" fmla="*/ 1743690 h 4367670"/>
              <a:gd name="connsiteX9507" fmla="*/ 4342074 w 5365133"/>
              <a:gd name="connsiteY9507" fmla="*/ 1740453 h 4367670"/>
              <a:gd name="connsiteX9508" fmla="*/ 4339857 w 5365133"/>
              <a:gd name="connsiteY9508" fmla="*/ 1741931 h 4367670"/>
              <a:gd name="connsiteX9509" fmla="*/ 4331248 w 5365133"/>
              <a:gd name="connsiteY9509" fmla="*/ 1747671 h 4367670"/>
              <a:gd name="connsiteX9510" fmla="*/ 4331248 w 5365133"/>
              <a:gd name="connsiteY9510" fmla="*/ 1736192 h 4367670"/>
              <a:gd name="connsiteX9511" fmla="*/ 4342009 w 5365133"/>
              <a:gd name="connsiteY9511" fmla="*/ 1734039 h 4367670"/>
              <a:gd name="connsiteX9512" fmla="*/ 4344969 w 5365133"/>
              <a:gd name="connsiteY9512" fmla="*/ 1732156 h 4367670"/>
              <a:gd name="connsiteX9513" fmla="*/ 4348466 w 5365133"/>
              <a:gd name="connsiteY9513" fmla="*/ 1736192 h 4367670"/>
              <a:gd name="connsiteX9514" fmla="*/ 4345334 w 5365133"/>
              <a:gd name="connsiteY9514" fmla="*/ 1738280 h 4367670"/>
              <a:gd name="connsiteX9515" fmla="*/ 4349335 w 5365133"/>
              <a:gd name="connsiteY9515" fmla="*/ 1739776 h 4367670"/>
              <a:gd name="connsiteX9516" fmla="*/ 4355313 w 5365133"/>
              <a:gd name="connsiteY9516" fmla="*/ 1737540 h 4367670"/>
              <a:gd name="connsiteX9517" fmla="*/ 4337379 w 5365133"/>
              <a:gd name="connsiteY9517" fmla="*/ 1755431 h 4367670"/>
              <a:gd name="connsiteX9518" fmla="*/ 4349335 w 5365133"/>
              <a:gd name="connsiteY9518" fmla="*/ 1755431 h 4367670"/>
              <a:gd name="connsiteX9519" fmla="*/ 4379226 w 5365133"/>
              <a:gd name="connsiteY9519" fmla="*/ 1743504 h 4367670"/>
              <a:gd name="connsiteX9520" fmla="*/ 4373248 w 5365133"/>
              <a:gd name="connsiteY9520" fmla="*/ 1725611 h 4367670"/>
              <a:gd name="connsiteX9521" fmla="*/ 4415092 w 5365133"/>
              <a:gd name="connsiteY9521" fmla="*/ 1719647 h 4367670"/>
              <a:gd name="connsiteX9522" fmla="*/ 4385202 w 5365133"/>
              <a:gd name="connsiteY9522" fmla="*/ 1731575 h 4367670"/>
              <a:gd name="connsiteX9523" fmla="*/ 4433027 w 5365133"/>
              <a:gd name="connsiteY9523" fmla="*/ 1731575 h 4367670"/>
              <a:gd name="connsiteX9524" fmla="*/ 4409114 w 5365133"/>
              <a:gd name="connsiteY9524" fmla="*/ 1743504 h 4367670"/>
              <a:gd name="connsiteX9525" fmla="*/ 4391180 w 5365133"/>
              <a:gd name="connsiteY9525" fmla="*/ 1749468 h 4367670"/>
              <a:gd name="connsiteX9526" fmla="*/ 4403137 w 5365133"/>
              <a:gd name="connsiteY9526" fmla="*/ 1755431 h 4367670"/>
              <a:gd name="connsiteX9527" fmla="*/ 4349335 w 5365133"/>
              <a:gd name="connsiteY9527" fmla="*/ 1779287 h 4367670"/>
              <a:gd name="connsiteX9528" fmla="*/ 4355313 w 5365133"/>
              <a:gd name="connsiteY9528" fmla="*/ 1767360 h 4367670"/>
              <a:gd name="connsiteX9529" fmla="*/ 4343357 w 5365133"/>
              <a:gd name="connsiteY9529" fmla="*/ 1767360 h 4367670"/>
              <a:gd name="connsiteX9530" fmla="*/ 4343357 w 5365133"/>
              <a:gd name="connsiteY9530" fmla="*/ 1779287 h 4367670"/>
              <a:gd name="connsiteX9531" fmla="*/ 4265642 w 5365133"/>
              <a:gd name="connsiteY9531" fmla="*/ 1809107 h 4367670"/>
              <a:gd name="connsiteX9532" fmla="*/ 4265642 w 5365133"/>
              <a:gd name="connsiteY9532" fmla="*/ 1803144 h 4367670"/>
              <a:gd name="connsiteX9533" fmla="*/ 4259666 w 5365133"/>
              <a:gd name="connsiteY9533" fmla="*/ 1815071 h 4367670"/>
              <a:gd name="connsiteX9534" fmla="*/ 4391180 w 5365133"/>
              <a:gd name="connsiteY9534" fmla="*/ 1761396 h 4367670"/>
              <a:gd name="connsiteX9535" fmla="*/ 4444983 w 5365133"/>
              <a:gd name="connsiteY9535" fmla="*/ 1743504 h 4367670"/>
              <a:gd name="connsiteX9536" fmla="*/ 4447972 w 5365133"/>
              <a:gd name="connsiteY9536" fmla="*/ 1749468 h 4367670"/>
              <a:gd name="connsiteX9537" fmla="*/ 4448721 w 5365133"/>
              <a:gd name="connsiteY9537" fmla="*/ 1750961 h 4367670"/>
              <a:gd name="connsiteX9538" fmla="*/ 4454172 w 5365133"/>
              <a:gd name="connsiteY9538" fmla="*/ 1749024 h 4367670"/>
              <a:gd name="connsiteX9539" fmla="*/ 4455445 w 5365133"/>
              <a:gd name="connsiteY9539" fmla="*/ 1746486 h 4367670"/>
              <a:gd name="connsiteX9540" fmla="*/ 4450961 w 5365133"/>
              <a:gd name="connsiteY9540" fmla="*/ 1737540 h 4367670"/>
              <a:gd name="connsiteX9541" fmla="*/ 4516719 w 5365133"/>
              <a:gd name="connsiteY9541" fmla="*/ 1713684 h 4367670"/>
              <a:gd name="connsiteX9542" fmla="*/ 4456939 w 5365133"/>
              <a:gd name="connsiteY9542" fmla="*/ 1743504 h 4367670"/>
              <a:gd name="connsiteX9543" fmla="*/ 4517466 w 5365133"/>
              <a:gd name="connsiteY9543" fmla="*/ 1727849 h 4367670"/>
              <a:gd name="connsiteX9544" fmla="*/ 4532742 w 5365133"/>
              <a:gd name="connsiteY9544" fmla="*/ 1723118 h 4367670"/>
              <a:gd name="connsiteX9545" fmla="*/ 4532910 w 5365133"/>
              <a:gd name="connsiteY9545" fmla="*/ 1721773 h 4367670"/>
              <a:gd name="connsiteX9546" fmla="*/ 4533897 w 5365133"/>
              <a:gd name="connsiteY9546" fmla="*/ 1722760 h 4367670"/>
              <a:gd name="connsiteX9547" fmla="*/ 4536417 w 5365133"/>
              <a:gd name="connsiteY9547" fmla="*/ 1721980 h 4367670"/>
              <a:gd name="connsiteX9548" fmla="*/ 4537083 w 5365133"/>
              <a:gd name="connsiteY9548" fmla="*/ 1721136 h 4367670"/>
              <a:gd name="connsiteX9549" fmla="*/ 4565332 w 5365133"/>
              <a:gd name="connsiteY9549" fmla="*/ 1708894 h 4367670"/>
              <a:gd name="connsiteX9550" fmla="*/ 4553756 w 5365133"/>
              <a:gd name="connsiteY9550" fmla="*/ 1716612 h 4367670"/>
              <a:gd name="connsiteX9551" fmla="*/ 4579363 w 5365133"/>
              <a:gd name="connsiteY9551" fmla="*/ 1708684 h 4367670"/>
              <a:gd name="connsiteX9552" fmla="*/ 4576499 w 5365133"/>
              <a:gd name="connsiteY9552" fmla="*/ 1713684 h 4367670"/>
              <a:gd name="connsiteX9553" fmla="*/ 4618346 w 5365133"/>
              <a:gd name="connsiteY9553" fmla="*/ 1699518 h 4367670"/>
              <a:gd name="connsiteX9554" fmla="*/ 4630302 w 5365133"/>
              <a:gd name="connsiteY9554" fmla="*/ 1696749 h 4367670"/>
              <a:gd name="connsiteX9555" fmla="*/ 4630302 w 5365133"/>
              <a:gd name="connsiteY9555" fmla="*/ 1707720 h 4367670"/>
              <a:gd name="connsiteX9556" fmla="*/ 4576499 w 5365133"/>
              <a:gd name="connsiteY9556" fmla="*/ 1725611 h 4367670"/>
              <a:gd name="connsiteX9557" fmla="*/ 4576499 w 5365133"/>
              <a:gd name="connsiteY9557" fmla="*/ 1719647 h 4367670"/>
              <a:gd name="connsiteX9558" fmla="*/ 4564543 w 5365133"/>
              <a:gd name="connsiteY9558" fmla="*/ 1719647 h 4367670"/>
              <a:gd name="connsiteX9559" fmla="*/ 4570521 w 5365133"/>
              <a:gd name="connsiteY9559" fmla="*/ 1725611 h 4367670"/>
              <a:gd name="connsiteX9560" fmla="*/ 4558565 w 5365133"/>
              <a:gd name="connsiteY9560" fmla="*/ 1731575 h 4367670"/>
              <a:gd name="connsiteX9561" fmla="*/ 4564543 w 5365133"/>
              <a:gd name="connsiteY9561" fmla="*/ 1725611 h 4367670"/>
              <a:gd name="connsiteX9562" fmla="*/ 4552587 w 5365133"/>
              <a:gd name="connsiteY9562" fmla="*/ 1719647 h 4367670"/>
              <a:gd name="connsiteX9563" fmla="*/ 4540630 w 5365133"/>
              <a:gd name="connsiteY9563" fmla="*/ 1743504 h 4367670"/>
              <a:gd name="connsiteX9564" fmla="*/ 4534652 w 5365133"/>
              <a:gd name="connsiteY9564" fmla="*/ 1731575 h 4367670"/>
              <a:gd name="connsiteX9565" fmla="*/ 4516719 w 5365133"/>
              <a:gd name="connsiteY9565" fmla="*/ 1743504 h 4367670"/>
              <a:gd name="connsiteX9566" fmla="*/ 4504764 w 5365133"/>
              <a:gd name="connsiteY9566" fmla="*/ 1743504 h 4367670"/>
              <a:gd name="connsiteX9567" fmla="*/ 4504764 w 5365133"/>
              <a:gd name="connsiteY9567" fmla="*/ 1749468 h 4367670"/>
              <a:gd name="connsiteX9568" fmla="*/ 4498786 w 5365133"/>
              <a:gd name="connsiteY9568" fmla="*/ 1743504 h 4367670"/>
              <a:gd name="connsiteX9569" fmla="*/ 4480852 w 5365133"/>
              <a:gd name="connsiteY9569" fmla="*/ 1755431 h 4367670"/>
              <a:gd name="connsiteX9570" fmla="*/ 4480852 w 5365133"/>
              <a:gd name="connsiteY9570" fmla="*/ 1761396 h 4367670"/>
              <a:gd name="connsiteX9571" fmla="*/ 4474873 w 5365133"/>
              <a:gd name="connsiteY9571" fmla="*/ 1761396 h 4367670"/>
              <a:gd name="connsiteX9572" fmla="*/ 4462917 w 5365133"/>
              <a:gd name="connsiteY9572" fmla="*/ 1767360 h 4367670"/>
              <a:gd name="connsiteX9573" fmla="*/ 4468895 w 5365133"/>
              <a:gd name="connsiteY9573" fmla="*/ 1761396 h 4367670"/>
              <a:gd name="connsiteX9574" fmla="*/ 4427048 w 5365133"/>
              <a:gd name="connsiteY9574" fmla="*/ 1779287 h 4367670"/>
              <a:gd name="connsiteX9575" fmla="*/ 4391180 w 5365133"/>
              <a:gd name="connsiteY9575" fmla="*/ 1797180 h 4367670"/>
              <a:gd name="connsiteX9576" fmla="*/ 4391180 w 5365133"/>
              <a:gd name="connsiteY9576" fmla="*/ 1791216 h 4367670"/>
              <a:gd name="connsiteX9577" fmla="*/ 4385202 w 5365133"/>
              <a:gd name="connsiteY9577" fmla="*/ 1791216 h 4367670"/>
              <a:gd name="connsiteX9578" fmla="*/ 4385202 w 5365133"/>
              <a:gd name="connsiteY9578" fmla="*/ 1797180 h 4367670"/>
              <a:gd name="connsiteX9579" fmla="*/ 4271620 w 5365133"/>
              <a:gd name="connsiteY9579" fmla="*/ 1844892 h 4367670"/>
              <a:gd name="connsiteX9580" fmla="*/ 4271620 w 5365133"/>
              <a:gd name="connsiteY9580" fmla="*/ 1856820 h 4367670"/>
              <a:gd name="connsiteX9581" fmla="*/ 4325423 w 5365133"/>
              <a:gd name="connsiteY9581" fmla="*/ 1832964 h 4367670"/>
              <a:gd name="connsiteX9582" fmla="*/ 4325423 w 5365133"/>
              <a:gd name="connsiteY9582" fmla="*/ 1827000 h 4367670"/>
              <a:gd name="connsiteX9583" fmla="*/ 4486830 w 5365133"/>
              <a:gd name="connsiteY9583" fmla="*/ 1773324 h 4367670"/>
              <a:gd name="connsiteX9584" fmla="*/ 4501121 w 5365133"/>
              <a:gd name="connsiteY9584" fmla="*/ 1766428 h 4367670"/>
              <a:gd name="connsiteX9585" fmla="*/ 4515351 w 5365133"/>
              <a:gd name="connsiteY9585" fmla="*/ 1758749 h 4367670"/>
              <a:gd name="connsiteX9586" fmla="*/ 4513730 w 5365133"/>
              <a:gd name="connsiteY9586" fmla="*/ 1761396 h 4367670"/>
              <a:gd name="connsiteX9587" fmla="*/ 4510742 w 5365133"/>
              <a:gd name="connsiteY9587" fmla="*/ 1761396 h 4367670"/>
              <a:gd name="connsiteX9588" fmla="*/ 4510742 w 5365133"/>
              <a:gd name="connsiteY9588" fmla="*/ 1773324 h 4367670"/>
              <a:gd name="connsiteX9589" fmla="*/ 4504764 w 5365133"/>
              <a:gd name="connsiteY9589" fmla="*/ 1779287 h 4367670"/>
              <a:gd name="connsiteX9590" fmla="*/ 4439005 w 5365133"/>
              <a:gd name="connsiteY9590" fmla="*/ 1809107 h 4367670"/>
              <a:gd name="connsiteX9591" fmla="*/ 4410142 w 5365133"/>
              <a:gd name="connsiteY9591" fmla="*/ 1820103 h 4367670"/>
              <a:gd name="connsiteX9592" fmla="*/ 4381238 w 5365133"/>
              <a:gd name="connsiteY9592" fmla="*/ 1837286 h 4367670"/>
              <a:gd name="connsiteX9593" fmla="*/ 4398559 w 5365133"/>
              <a:gd name="connsiteY9593" fmla="*/ 1831689 h 4367670"/>
              <a:gd name="connsiteX9594" fmla="*/ 4392613 w 5365133"/>
              <a:gd name="connsiteY9594" fmla="*/ 1834301 h 4367670"/>
              <a:gd name="connsiteX9595" fmla="*/ 4355963 w 5365133"/>
              <a:gd name="connsiteY9595" fmla="*/ 1852380 h 4367670"/>
              <a:gd name="connsiteX9596" fmla="*/ 4353759 w 5365133"/>
              <a:gd name="connsiteY9596" fmla="*/ 1853119 h 4367670"/>
              <a:gd name="connsiteX9597" fmla="*/ 4345692 w 5365133"/>
              <a:gd name="connsiteY9597" fmla="*/ 1857751 h 4367670"/>
              <a:gd name="connsiteX9598" fmla="*/ 4313467 w 5365133"/>
              <a:gd name="connsiteY9598" fmla="*/ 1868747 h 4367670"/>
              <a:gd name="connsiteX9599" fmla="*/ 4312823 w 5365133"/>
              <a:gd name="connsiteY9599" fmla="*/ 1870460 h 4367670"/>
              <a:gd name="connsiteX9600" fmla="*/ 4314077 w 5365133"/>
              <a:gd name="connsiteY9600" fmla="*/ 1870460 h 4367670"/>
              <a:gd name="connsiteX9601" fmla="*/ 4312622 w 5365133"/>
              <a:gd name="connsiteY9601" fmla="*/ 1870995 h 4367670"/>
              <a:gd name="connsiteX9602" fmla="*/ 4311225 w 5365133"/>
              <a:gd name="connsiteY9602" fmla="*/ 1874712 h 4367670"/>
              <a:gd name="connsiteX9603" fmla="*/ 4313467 w 5365133"/>
              <a:gd name="connsiteY9603" fmla="*/ 1880676 h 4367670"/>
              <a:gd name="connsiteX9604" fmla="*/ 4308236 w 5365133"/>
              <a:gd name="connsiteY9604" fmla="*/ 1879185 h 4367670"/>
              <a:gd name="connsiteX9605" fmla="*/ 4307777 w 5365133"/>
              <a:gd name="connsiteY9605" fmla="*/ 1872777 h 4367670"/>
              <a:gd name="connsiteX9606" fmla="*/ 4291545 w 5365133"/>
              <a:gd name="connsiteY9606" fmla="*/ 1878746 h 4367670"/>
              <a:gd name="connsiteX9607" fmla="*/ 4237504 w 5365133"/>
              <a:gd name="connsiteY9607" fmla="*/ 1897579 h 4367670"/>
              <a:gd name="connsiteX9608" fmla="*/ 4224658 w 5365133"/>
              <a:gd name="connsiteY9608" fmla="*/ 1907676 h 4367670"/>
              <a:gd name="connsiteX9609" fmla="*/ 4225130 w 5365133"/>
              <a:gd name="connsiteY9609" fmla="*/ 1908306 h 4367670"/>
              <a:gd name="connsiteX9610" fmla="*/ 4222978 w 5365133"/>
              <a:gd name="connsiteY9610" fmla="*/ 1911176 h 4367670"/>
              <a:gd name="connsiteX9611" fmla="*/ 4234457 w 5365133"/>
              <a:gd name="connsiteY9611" fmla="*/ 1905437 h 4367670"/>
              <a:gd name="connsiteX9612" fmla="*/ 4211500 w 5365133"/>
              <a:gd name="connsiteY9612" fmla="*/ 1928395 h 4367670"/>
              <a:gd name="connsiteX9613" fmla="*/ 4211500 w 5365133"/>
              <a:gd name="connsiteY9613" fmla="*/ 1916549 h 4367670"/>
              <a:gd name="connsiteX9614" fmla="*/ 4208814 w 5365133"/>
              <a:gd name="connsiteY9614" fmla="*/ 1917825 h 4367670"/>
              <a:gd name="connsiteX9615" fmla="*/ 4208814 w 5365133"/>
              <a:gd name="connsiteY9615" fmla="*/ 1905898 h 4367670"/>
              <a:gd name="connsiteX9616" fmla="*/ 4196213 w 5365133"/>
              <a:gd name="connsiteY9616" fmla="*/ 1915265 h 4367670"/>
              <a:gd name="connsiteX9617" fmla="*/ 4199885 w 5365133"/>
              <a:gd name="connsiteY9617" fmla="*/ 1922424 h 4367670"/>
              <a:gd name="connsiteX9618" fmla="*/ 4193907 w 5365133"/>
              <a:gd name="connsiteY9618" fmla="*/ 1922424 h 4367670"/>
              <a:gd name="connsiteX9619" fmla="*/ 4182462 w 5365133"/>
              <a:gd name="connsiteY9619" fmla="*/ 1922424 h 4367670"/>
              <a:gd name="connsiteX9620" fmla="*/ 4179671 w 5365133"/>
              <a:gd name="connsiteY9620" fmla="*/ 1923790 h 4367670"/>
              <a:gd name="connsiteX9621" fmla="*/ 4165940 w 5365133"/>
              <a:gd name="connsiteY9621" fmla="*/ 1931058 h 4367670"/>
              <a:gd name="connsiteX9622" fmla="*/ 4158878 w 5365133"/>
              <a:gd name="connsiteY9622" fmla="*/ 1937923 h 4367670"/>
              <a:gd name="connsiteX9623" fmla="*/ 4158038 w 5365133"/>
              <a:gd name="connsiteY9623" fmla="*/ 1940316 h 4367670"/>
              <a:gd name="connsiteX9624" fmla="*/ 4157037 w 5365133"/>
              <a:gd name="connsiteY9624" fmla="*/ 1939712 h 4367670"/>
              <a:gd name="connsiteX9625" fmla="*/ 4155011 w 5365133"/>
              <a:gd name="connsiteY9625" fmla="*/ 1941682 h 4367670"/>
              <a:gd name="connsiteX9626" fmla="*/ 4141561 w 5365133"/>
              <a:gd name="connsiteY9626" fmla="*/ 1940004 h 4367670"/>
              <a:gd name="connsiteX9627" fmla="*/ 4138621 w 5365133"/>
              <a:gd name="connsiteY9627" fmla="*/ 1937195 h 4367670"/>
              <a:gd name="connsiteX9628" fmla="*/ 4136566 w 5365133"/>
              <a:gd name="connsiteY9628" fmla="*/ 1938013 h 4367670"/>
              <a:gd name="connsiteX9629" fmla="*/ 4133093 w 5365133"/>
              <a:gd name="connsiteY9629" fmla="*/ 1953609 h 4367670"/>
              <a:gd name="connsiteX9630" fmla="*/ 4131099 w 5365133"/>
              <a:gd name="connsiteY9630" fmla="*/ 1953609 h 4367670"/>
              <a:gd name="connsiteX9631" fmla="*/ 4128110 w 5365133"/>
              <a:gd name="connsiteY9631" fmla="*/ 1947646 h 4367670"/>
              <a:gd name="connsiteX9632" fmla="*/ 4125491 w 5365133"/>
              <a:gd name="connsiteY9632" fmla="*/ 1942420 h 4367670"/>
              <a:gd name="connsiteX9633" fmla="*/ 4125160 w 5365133"/>
              <a:gd name="connsiteY9633" fmla="*/ 1942553 h 4367670"/>
              <a:gd name="connsiteX9634" fmla="*/ 4120845 w 5365133"/>
              <a:gd name="connsiteY9634" fmla="*/ 1945094 h 4367670"/>
              <a:gd name="connsiteX9635" fmla="*/ 4117648 w 5365133"/>
              <a:gd name="connsiteY9635" fmla="*/ 1947646 h 4367670"/>
              <a:gd name="connsiteX9636" fmla="*/ 4119143 w 5365133"/>
              <a:gd name="connsiteY9636" fmla="*/ 1953609 h 4367670"/>
              <a:gd name="connsiteX9637" fmla="*/ 4104945 w 5365133"/>
              <a:gd name="connsiteY9637" fmla="*/ 1955846 h 4367670"/>
              <a:gd name="connsiteX9638" fmla="*/ 4096869 w 5365133"/>
              <a:gd name="connsiteY9638" fmla="*/ 1968861 h 4367670"/>
              <a:gd name="connsiteX9639" fmla="*/ 4110201 w 5365133"/>
              <a:gd name="connsiteY9639" fmla="*/ 1965158 h 4367670"/>
              <a:gd name="connsiteX9640" fmla="*/ 4111914 w 5365133"/>
              <a:gd name="connsiteY9640" fmla="*/ 1964301 h 4367670"/>
              <a:gd name="connsiteX9641" fmla="*/ 4117653 w 5365133"/>
              <a:gd name="connsiteY9641" fmla="*/ 1961431 h 4367670"/>
              <a:gd name="connsiteX9642" fmla="*/ 4117680 w 5365133"/>
              <a:gd name="connsiteY9642" fmla="*/ 1963080 h 4367670"/>
              <a:gd name="connsiteX9643" fmla="*/ 4121797 w 5365133"/>
              <a:gd name="connsiteY9643" fmla="*/ 1961935 h 4367670"/>
              <a:gd name="connsiteX9644" fmla="*/ 4132512 w 5365133"/>
              <a:gd name="connsiteY9644" fmla="*/ 1956957 h 4367670"/>
              <a:gd name="connsiteX9645" fmla="*/ 4132594 w 5365133"/>
              <a:gd name="connsiteY9645" fmla="*/ 1955847 h 4367670"/>
              <a:gd name="connsiteX9646" fmla="*/ 4133093 w 5365133"/>
              <a:gd name="connsiteY9646" fmla="*/ 1953609 h 4367670"/>
              <a:gd name="connsiteX9647" fmla="*/ 4139717 w 5365133"/>
              <a:gd name="connsiteY9647" fmla="*/ 1953609 h 4367670"/>
              <a:gd name="connsiteX9648" fmla="*/ 4149072 w 5365133"/>
              <a:gd name="connsiteY9648" fmla="*/ 1949262 h 4367670"/>
              <a:gd name="connsiteX9649" fmla="*/ 4173713 w 5365133"/>
              <a:gd name="connsiteY9649" fmla="*/ 1940206 h 4367670"/>
              <a:gd name="connsiteX9650" fmla="*/ 4174192 w 5365133"/>
              <a:gd name="connsiteY9650" fmla="*/ 1939873 h 4367670"/>
              <a:gd name="connsiteX9651" fmla="*/ 4174125 w 5365133"/>
              <a:gd name="connsiteY9651" fmla="*/ 1940054 h 4367670"/>
              <a:gd name="connsiteX9652" fmla="*/ 4187980 w 5365133"/>
              <a:gd name="connsiteY9652" fmla="*/ 1934962 h 4367670"/>
              <a:gd name="connsiteX9653" fmla="*/ 4188677 w 5365133"/>
              <a:gd name="connsiteY9653" fmla="*/ 1943299 h 4367670"/>
              <a:gd name="connsiteX9654" fmla="*/ 4191446 w 5365133"/>
              <a:gd name="connsiteY9654" fmla="*/ 1948036 h 4367670"/>
              <a:gd name="connsiteX9655" fmla="*/ 4195997 w 5365133"/>
              <a:gd name="connsiteY9655" fmla="*/ 1943392 h 4367670"/>
              <a:gd name="connsiteX9656" fmla="*/ 4202023 w 5365133"/>
              <a:gd name="connsiteY9656" fmla="*/ 1937242 h 4367670"/>
              <a:gd name="connsiteX9657" fmla="*/ 4211063 w 5365133"/>
              <a:gd name="connsiteY9657" fmla="*/ 1932630 h 4367670"/>
              <a:gd name="connsiteX9658" fmla="*/ 4219204 w 5365133"/>
              <a:gd name="connsiteY9658" fmla="*/ 1936784 h 4367670"/>
              <a:gd name="connsiteX9659" fmla="*/ 4207974 w 5365133"/>
              <a:gd name="connsiteY9659" fmla="*/ 1942316 h 4367670"/>
              <a:gd name="connsiteX9660" fmla="*/ 4208092 w 5365133"/>
              <a:gd name="connsiteY9660" fmla="*/ 1942407 h 4367670"/>
              <a:gd name="connsiteX9661" fmla="*/ 4211500 w 5365133"/>
              <a:gd name="connsiteY9661" fmla="*/ 1940591 h 4367670"/>
              <a:gd name="connsiteX9662" fmla="*/ 4211500 w 5365133"/>
              <a:gd name="connsiteY9662" fmla="*/ 1953505 h 4367670"/>
              <a:gd name="connsiteX9663" fmla="*/ 4205760 w 5365133"/>
              <a:gd name="connsiteY9663" fmla="*/ 1947048 h 4367670"/>
              <a:gd name="connsiteX9664" fmla="*/ 4205760 w 5365133"/>
              <a:gd name="connsiteY9664" fmla="*/ 1953505 h 4367670"/>
              <a:gd name="connsiteX9665" fmla="*/ 4202890 w 5365133"/>
              <a:gd name="connsiteY9665" fmla="*/ 1947048 h 4367670"/>
              <a:gd name="connsiteX9666" fmla="*/ 4202137 w 5365133"/>
              <a:gd name="connsiteY9666" fmla="*/ 1945354 h 4367670"/>
              <a:gd name="connsiteX9667" fmla="*/ 4193266 w 5365133"/>
              <a:gd name="connsiteY9667" fmla="*/ 1950118 h 4367670"/>
              <a:gd name="connsiteX9668" fmla="*/ 4192770 w 5365133"/>
              <a:gd name="connsiteY9668" fmla="*/ 1950299 h 4367670"/>
              <a:gd name="connsiteX9669" fmla="*/ 4193907 w 5365133"/>
              <a:gd name="connsiteY9669" fmla="*/ 1952244 h 4367670"/>
              <a:gd name="connsiteX9670" fmla="*/ 4187928 w 5365133"/>
              <a:gd name="connsiteY9670" fmla="*/ 1952244 h 4367670"/>
              <a:gd name="connsiteX9671" fmla="*/ 4187867 w 5365133"/>
              <a:gd name="connsiteY9671" fmla="*/ 1952079 h 4367670"/>
              <a:gd name="connsiteX9672" fmla="*/ 4177917 w 5365133"/>
              <a:gd name="connsiteY9672" fmla="*/ 1955692 h 4367670"/>
              <a:gd name="connsiteX9673" fmla="*/ 4178720 w 5365133"/>
              <a:gd name="connsiteY9673" fmla="*/ 1953791 h 4367670"/>
              <a:gd name="connsiteX9674" fmla="*/ 4177894 w 5365133"/>
              <a:gd name="connsiteY9674" fmla="*/ 1954186 h 4367670"/>
              <a:gd name="connsiteX9675" fmla="*/ 4177917 w 5365133"/>
              <a:gd name="connsiteY9675" fmla="*/ 1954256 h 4367670"/>
              <a:gd name="connsiteX9676" fmla="*/ 4177290 w 5365133"/>
              <a:gd name="connsiteY9676" fmla="*/ 1954475 h 4367670"/>
              <a:gd name="connsiteX9677" fmla="*/ 4163269 w 5365133"/>
              <a:gd name="connsiteY9677" fmla="*/ 1961190 h 4367670"/>
              <a:gd name="connsiteX9678" fmla="*/ 4140104 w 5365133"/>
              <a:gd name="connsiteY9678" fmla="*/ 1970136 h 4367670"/>
              <a:gd name="connsiteX9679" fmla="*/ 4140104 w 5365133"/>
              <a:gd name="connsiteY9679" fmla="*/ 1966409 h 4367670"/>
              <a:gd name="connsiteX9680" fmla="*/ 4140104 w 5365133"/>
              <a:gd name="connsiteY9680" fmla="*/ 1963382 h 4367670"/>
              <a:gd name="connsiteX9681" fmla="*/ 4137077 w 5365133"/>
              <a:gd name="connsiteY9681" fmla="*/ 1965538 h 4367670"/>
              <a:gd name="connsiteX9682" fmla="*/ 4137077 w 5365133"/>
              <a:gd name="connsiteY9682" fmla="*/ 1971502 h 4367670"/>
              <a:gd name="connsiteX9683" fmla="*/ 4133440 w 5365133"/>
              <a:gd name="connsiteY9683" fmla="*/ 1965655 h 4367670"/>
              <a:gd name="connsiteX9684" fmla="*/ 4131138 w 5365133"/>
              <a:gd name="connsiteY9684" fmla="*/ 1971627 h 4367670"/>
              <a:gd name="connsiteX9685" fmla="*/ 4122172 w 5365133"/>
              <a:gd name="connsiteY9685" fmla="*/ 1976100 h 4367670"/>
              <a:gd name="connsiteX9686" fmla="*/ 4116940 w 5365133"/>
              <a:gd name="connsiteY9686" fmla="*/ 1982810 h 4367670"/>
              <a:gd name="connsiteX9687" fmla="*/ 4116531 w 5365133"/>
              <a:gd name="connsiteY9687" fmla="*/ 1988929 h 4367670"/>
              <a:gd name="connsiteX9688" fmla="*/ 4116193 w 5365133"/>
              <a:gd name="connsiteY9688" fmla="*/ 1988029 h 4367670"/>
              <a:gd name="connsiteX9689" fmla="*/ 4116193 w 5365133"/>
              <a:gd name="connsiteY9689" fmla="*/ 1993993 h 4367670"/>
              <a:gd name="connsiteX9690" fmla="*/ 4116531 w 5365133"/>
              <a:gd name="connsiteY9690" fmla="*/ 1988929 h 4367670"/>
              <a:gd name="connsiteX9691" fmla="*/ 4118435 w 5365133"/>
              <a:gd name="connsiteY9691" fmla="*/ 1993993 h 4367670"/>
              <a:gd name="connsiteX9692" fmla="*/ 4116078 w 5365133"/>
              <a:gd name="connsiteY9692" fmla="*/ 1995846 h 4367670"/>
              <a:gd name="connsiteX9693" fmla="*/ 4122855 w 5365133"/>
              <a:gd name="connsiteY9693" fmla="*/ 1992909 h 4367670"/>
              <a:gd name="connsiteX9694" fmla="*/ 4129132 w 5365133"/>
              <a:gd name="connsiteY9694" fmla="*/ 1995868 h 4367670"/>
              <a:gd name="connsiteX9695" fmla="*/ 4088956 w 5365133"/>
              <a:gd name="connsiteY9695" fmla="*/ 2013086 h 4367670"/>
              <a:gd name="connsiteX9696" fmla="*/ 4101667 w 5365133"/>
              <a:gd name="connsiteY9696" fmla="*/ 2002089 h 4367670"/>
              <a:gd name="connsiteX9697" fmla="*/ 4111040 w 5365133"/>
              <a:gd name="connsiteY9697" fmla="*/ 1998028 h 4367670"/>
              <a:gd name="connsiteX9698" fmla="*/ 4110215 w 5365133"/>
              <a:gd name="connsiteY9698" fmla="*/ 1997720 h 4367670"/>
              <a:gd name="connsiteX9699" fmla="*/ 4104237 w 5365133"/>
              <a:gd name="connsiteY9699" fmla="*/ 1999956 h 4367670"/>
              <a:gd name="connsiteX9700" fmla="*/ 4100501 w 5365133"/>
              <a:gd name="connsiteY9700" fmla="*/ 1996228 h 4367670"/>
              <a:gd name="connsiteX9701" fmla="*/ 4092668 w 5365133"/>
              <a:gd name="connsiteY9701" fmla="*/ 1988416 h 4367670"/>
              <a:gd name="connsiteX9702" fmla="*/ 4091811 w 5365133"/>
              <a:gd name="connsiteY9702" fmla="*/ 1988539 h 4367670"/>
              <a:gd name="connsiteX9703" fmla="*/ 4075095 w 5365133"/>
              <a:gd name="connsiteY9703" fmla="*/ 2006667 h 4367670"/>
              <a:gd name="connsiteX9704" fmla="*/ 4071796 w 5365133"/>
              <a:gd name="connsiteY9704" fmla="*/ 2017341 h 4367670"/>
              <a:gd name="connsiteX9705" fmla="*/ 4073216 w 5365133"/>
              <a:gd name="connsiteY9705" fmla="*/ 2021382 h 4367670"/>
              <a:gd name="connsiteX9706" fmla="*/ 4072096 w 5365133"/>
              <a:gd name="connsiteY9706" fmla="*/ 2025642 h 4367670"/>
              <a:gd name="connsiteX9707" fmla="*/ 4064567 w 5365133"/>
              <a:gd name="connsiteY9707" fmla="*/ 2027148 h 4367670"/>
              <a:gd name="connsiteX9708" fmla="*/ 4062390 w 5365133"/>
              <a:gd name="connsiteY9708" fmla="*/ 2029776 h 4367670"/>
              <a:gd name="connsiteX9709" fmla="*/ 4068368 w 5365133"/>
              <a:gd name="connsiteY9709" fmla="*/ 2011884 h 4367670"/>
              <a:gd name="connsiteX9710" fmla="*/ 4060803 w 5365133"/>
              <a:gd name="connsiteY9710" fmla="*/ 2004335 h 4367670"/>
              <a:gd name="connsiteX9711" fmla="*/ 4057891 w 5365133"/>
              <a:gd name="connsiteY9711" fmla="*/ 2001431 h 4367670"/>
              <a:gd name="connsiteX9712" fmla="*/ 4055405 w 5365133"/>
              <a:gd name="connsiteY9712" fmla="*/ 2002368 h 4367670"/>
              <a:gd name="connsiteX9713" fmla="*/ 4052676 w 5365133"/>
              <a:gd name="connsiteY9713" fmla="*/ 2008902 h 4367670"/>
              <a:gd name="connsiteX9714" fmla="*/ 4044456 w 5365133"/>
              <a:gd name="connsiteY9714" fmla="*/ 2017849 h 4367670"/>
              <a:gd name="connsiteX9715" fmla="*/ 4056412 w 5365133"/>
              <a:gd name="connsiteY9715" fmla="*/ 2029776 h 4367670"/>
              <a:gd name="connsiteX9716" fmla="*/ 4044456 w 5365133"/>
              <a:gd name="connsiteY9716" fmla="*/ 2023812 h 4367670"/>
              <a:gd name="connsiteX9717" fmla="*/ 4044456 w 5365133"/>
              <a:gd name="connsiteY9717" fmla="*/ 2035739 h 4367670"/>
              <a:gd name="connsiteX9718" fmla="*/ 4040814 w 5365133"/>
              <a:gd name="connsiteY9718" fmla="*/ 2035647 h 4367670"/>
              <a:gd name="connsiteX9719" fmla="*/ 4038520 w 5365133"/>
              <a:gd name="connsiteY9719" fmla="*/ 2031833 h 4367670"/>
              <a:gd name="connsiteX9720" fmla="*/ 4038017 w 5365133"/>
              <a:gd name="connsiteY9720" fmla="*/ 2033174 h 4367670"/>
              <a:gd name="connsiteX9721" fmla="*/ 4040169 w 5365133"/>
              <a:gd name="connsiteY9721" fmla="*/ 2038913 h 4367670"/>
              <a:gd name="connsiteX9722" fmla="*/ 4032278 w 5365133"/>
              <a:gd name="connsiteY9722" fmla="*/ 2040348 h 4367670"/>
              <a:gd name="connsiteX9723" fmla="*/ 4031415 w 5365133"/>
              <a:gd name="connsiteY9723" fmla="*/ 2039872 h 4367670"/>
              <a:gd name="connsiteX9724" fmla="*/ 4023346 w 5365133"/>
              <a:gd name="connsiteY9724" fmla="*/ 2044593 h 4367670"/>
              <a:gd name="connsiteX9725" fmla="*/ 3984678 w 5365133"/>
              <a:gd name="connsiteY9725" fmla="*/ 2065560 h 4367670"/>
              <a:gd name="connsiteX9726" fmla="*/ 3984678 w 5365133"/>
              <a:gd name="connsiteY9726" fmla="*/ 2071525 h 4367670"/>
              <a:gd name="connsiteX9727" fmla="*/ 3996633 w 5365133"/>
              <a:gd name="connsiteY9727" fmla="*/ 2077489 h 4367670"/>
              <a:gd name="connsiteX9728" fmla="*/ 4014565 w 5365133"/>
              <a:gd name="connsiteY9728" fmla="*/ 2053632 h 4367670"/>
              <a:gd name="connsiteX9729" fmla="*/ 4020544 w 5365133"/>
              <a:gd name="connsiteY9729" fmla="*/ 2065560 h 4367670"/>
              <a:gd name="connsiteX9730" fmla="*/ 4038479 w 5365133"/>
              <a:gd name="connsiteY9730" fmla="*/ 2041705 h 4367670"/>
              <a:gd name="connsiteX9731" fmla="*/ 4044456 w 5365133"/>
              <a:gd name="connsiteY9731" fmla="*/ 2053632 h 4367670"/>
              <a:gd name="connsiteX9732" fmla="*/ 4080325 w 5365133"/>
              <a:gd name="connsiteY9732" fmla="*/ 2023812 h 4367670"/>
              <a:gd name="connsiteX9733" fmla="*/ 4098259 w 5365133"/>
              <a:gd name="connsiteY9733" fmla="*/ 2041705 h 4367670"/>
              <a:gd name="connsiteX9734" fmla="*/ 4110215 w 5365133"/>
              <a:gd name="connsiteY9734" fmla="*/ 2029776 h 4367670"/>
              <a:gd name="connsiteX9735" fmla="*/ 4104237 w 5365133"/>
              <a:gd name="connsiteY9735" fmla="*/ 2035739 h 4367670"/>
              <a:gd name="connsiteX9736" fmla="*/ 4116193 w 5365133"/>
              <a:gd name="connsiteY9736" fmla="*/ 2029776 h 4367670"/>
              <a:gd name="connsiteX9737" fmla="*/ 4116193 w 5365133"/>
              <a:gd name="connsiteY9737" fmla="*/ 2035739 h 4367670"/>
              <a:gd name="connsiteX9738" fmla="*/ 4199885 w 5365133"/>
              <a:gd name="connsiteY9738" fmla="*/ 1993993 h 4367670"/>
              <a:gd name="connsiteX9739" fmla="*/ 4175972 w 5365133"/>
              <a:gd name="connsiteY9739" fmla="*/ 2017849 h 4367670"/>
              <a:gd name="connsiteX9740" fmla="*/ 4167075 w 5365133"/>
              <a:gd name="connsiteY9740" fmla="*/ 2018403 h 4367670"/>
              <a:gd name="connsiteX9741" fmla="*/ 4164016 w 5365133"/>
              <a:gd name="connsiteY9741" fmla="*/ 2017849 h 4367670"/>
              <a:gd name="connsiteX9742" fmla="*/ 4162779 w 5365133"/>
              <a:gd name="connsiteY9742" fmla="*/ 2018671 h 4367670"/>
              <a:gd name="connsiteX9743" fmla="*/ 4152061 w 5365133"/>
              <a:gd name="connsiteY9743" fmla="*/ 2019339 h 4367670"/>
              <a:gd name="connsiteX9744" fmla="*/ 4128149 w 5365133"/>
              <a:gd name="connsiteY9744" fmla="*/ 2029776 h 4367670"/>
              <a:gd name="connsiteX9745" fmla="*/ 4148323 w 5365133"/>
              <a:gd name="connsiteY9745" fmla="*/ 2028285 h 4367670"/>
              <a:gd name="connsiteX9746" fmla="*/ 4162779 w 5365133"/>
              <a:gd name="connsiteY9746" fmla="*/ 2018671 h 4367670"/>
              <a:gd name="connsiteX9747" fmla="*/ 4167075 w 5365133"/>
              <a:gd name="connsiteY9747" fmla="*/ 2018403 h 4367670"/>
              <a:gd name="connsiteX9748" fmla="*/ 4172236 w 5365133"/>
              <a:gd name="connsiteY9748" fmla="*/ 2019339 h 4367670"/>
              <a:gd name="connsiteX9749" fmla="*/ 4193907 w 5365133"/>
              <a:gd name="connsiteY9749" fmla="*/ 2011884 h 4367670"/>
              <a:gd name="connsiteX9750" fmla="*/ 4199885 w 5365133"/>
              <a:gd name="connsiteY9750" fmla="*/ 2023812 h 4367670"/>
              <a:gd name="connsiteX9751" fmla="*/ 4205863 w 5365133"/>
              <a:gd name="connsiteY9751" fmla="*/ 2005920 h 4367670"/>
              <a:gd name="connsiteX9752" fmla="*/ 4217819 w 5365133"/>
              <a:gd name="connsiteY9752" fmla="*/ 2017849 h 4367670"/>
              <a:gd name="connsiteX9753" fmla="*/ 4211841 w 5365133"/>
              <a:gd name="connsiteY9753" fmla="*/ 2029776 h 4367670"/>
              <a:gd name="connsiteX9754" fmla="*/ 4253688 w 5365133"/>
              <a:gd name="connsiteY9754" fmla="*/ 2005920 h 4367670"/>
              <a:gd name="connsiteX9755" fmla="*/ 4349335 w 5365133"/>
              <a:gd name="connsiteY9755" fmla="*/ 1976100 h 4367670"/>
              <a:gd name="connsiteX9756" fmla="*/ 4355313 w 5365133"/>
              <a:gd name="connsiteY9756" fmla="*/ 1964172 h 4367670"/>
              <a:gd name="connsiteX9757" fmla="*/ 4367270 w 5365133"/>
              <a:gd name="connsiteY9757" fmla="*/ 1970136 h 4367670"/>
              <a:gd name="connsiteX9758" fmla="*/ 4367270 w 5365133"/>
              <a:gd name="connsiteY9758" fmla="*/ 1958209 h 4367670"/>
              <a:gd name="connsiteX9759" fmla="*/ 4385202 w 5365133"/>
              <a:gd name="connsiteY9759" fmla="*/ 1964172 h 4367670"/>
              <a:gd name="connsiteX9760" fmla="*/ 4385202 w 5365133"/>
              <a:gd name="connsiteY9760" fmla="*/ 1952244 h 4367670"/>
              <a:gd name="connsiteX9761" fmla="*/ 4433027 w 5365133"/>
              <a:gd name="connsiteY9761" fmla="*/ 1940316 h 4367670"/>
              <a:gd name="connsiteX9762" fmla="*/ 4427048 w 5365133"/>
              <a:gd name="connsiteY9762" fmla="*/ 1928389 h 4367670"/>
              <a:gd name="connsiteX9763" fmla="*/ 4439005 w 5365133"/>
              <a:gd name="connsiteY9763" fmla="*/ 1922424 h 4367670"/>
              <a:gd name="connsiteX9764" fmla="*/ 4439005 w 5365133"/>
              <a:gd name="connsiteY9764" fmla="*/ 1928389 h 4367670"/>
              <a:gd name="connsiteX9765" fmla="*/ 4456939 w 5365133"/>
              <a:gd name="connsiteY9765" fmla="*/ 1910496 h 4367670"/>
              <a:gd name="connsiteX9766" fmla="*/ 4468895 w 5365133"/>
              <a:gd name="connsiteY9766" fmla="*/ 1916460 h 4367670"/>
              <a:gd name="connsiteX9767" fmla="*/ 4660190 w 5365133"/>
              <a:gd name="connsiteY9767" fmla="*/ 1838927 h 4367670"/>
              <a:gd name="connsiteX9768" fmla="*/ 5210167 w 5365133"/>
              <a:gd name="connsiteY9768" fmla="*/ 1600367 h 4367670"/>
              <a:gd name="connsiteX9769" fmla="*/ 5120498 w 5365133"/>
              <a:gd name="connsiteY9769" fmla="*/ 1654044 h 4367670"/>
              <a:gd name="connsiteX9770" fmla="*/ 4947135 w 5365133"/>
              <a:gd name="connsiteY9770" fmla="*/ 1731575 h 4367670"/>
              <a:gd name="connsiteX9771" fmla="*/ 4947135 w 5365133"/>
              <a:gd name="connsiteY9771" fmla="*/ 1737540 h 4367670"/>
              <a:gd name="connsiteX9772" fmla="*/ 4935179 w 5365133"/>
              <a:gd name="connsiteY9772" fmla="*/ 1749468 h 4367670"/>
              <a:gd name="connsiteX9773" fmla="*/ 4941157 w 5365133"/>
              <a:gd name="connsiteY9773" fmla="*/ 1737540 h 4367670"/>
              <a:gd name="connsiteX9774" fmla="*/ 4917245 w 5365133"/>
              <a:gd name="connsiteY9774" fmla="*/ 1743504 h 4367670"/>
              <a:gd name="connsiteX9775" fmla="*/ 4929201 w 5365133"/>
              <a:gd name="connsiteY9775" fmla="*/ 1743504 h 4367670"/>
              <a:gd name="connsiteX9776" fmla="*/ 4922476 w 5365133"/>
              <a:gd name="connsiteY9776" fmla="*/ 1750959 h 4367670"/>
              <a:gd name="connsiteX9777" fmla="*/ 4915918 w 5365133"/>
              <a:gd name="connsiteY9777" fmla="*/ 1750085 h 4367670"/>
              <a:gd name="connsiteX9778" fmla="*/ 4917245 w 5365133"/>
              <a:gd name="connsiteY9778" fmla="*/ 1749468 h 4367670"/>
              <a:gd name="connsiteX9779" fmla="*/ 4915827 w 5365133"/>
              <a:gd name="connsiteY9779" fmla="*/ 1750074 h 4367670"/>
              <a:gd name="connsiteX9780" fmla="*/ 4911267 w 5365133"/>
              <a:gd name="connsiteY9780" fmla="*/ 1749468 h 4367670"/>
              <a:gd name="connsiteX9781" fmla="*/ 4912015 w 5365133"/>
              <a:gd name="connsiteY9781" fmla="*/ 1751703 h 4367670"/>
              <a:gd name="connsiteX9782" fmla="*/ 4915827 w 5365133"/>
              <a:gd name="connsiteY9782" fmla="*/ 1750074 h 4367670"/>
              <a:gd name="connsiteX9783" fmla="*/ 4915918 w 5365133"/>
              <a:gd name="connsiteY9783" fmla="*/ 1750085 h 4367670"/>
              <a:gd name="connsiteX9784" fmla="*/ 4803663 w 5365133"/>
              <a:gd name="connsiteY9784" fmla="*/ 1802399 h 4367670"/>
              <a:gd name="connsiteX9785" fmla="*/ 4690081 w 5365133"/>
              <a:gd name="connsiteY9785" fmla="*/ 1850856 h 4367670"/>
              <a:gd name="connsiteX9786" fmla="*/ 4696059 w 5365133"/>
              <a:gd name="connsiteY9786" fmla="*/ 1862784 h 4367670"/>
              <a:gd name="connsiteX9787" fmla="*/ 4660190 w 5365133"/>
              <a:gd name="connsiteY9787" fmla="*/ 1874713 h 4367670"/>
              <a:gd name="connsiteX9788" fmla="*/ 4678125 w 5365133"/>
              <a:gd name="connsiteY9788" fmla="*/ 1874713 h 4367670"/>
              <a:gd name="connsiteX9789" fmla="*/ 4654212 w 5365133"/>
              <a:gd name="connsiteY9789" fmla="*/ 1886640 h 4367670"/>
              <a:gd name="connsiteX9790" fmla="*/ 4642257 w 5365133"/>
              <a:gd name="connsiteY9790" fmla="*/ 1880676 h 4367670"/>
              <a:gd name="connsiteX9791" fmla="*/ 4654212 w 5365133"/>
              <a:gd name="connsiteY9791" fmla="*/ 1886640 h 4367670"/>
              <a:gd name="connsiteX9792" fmla="*/ 4486830 w 5365133"/>
              <a:gd name="connsiteY9792" fmla="*/ 1952244 h 4367670"/>
              <a:gd name="connsiteX9793" fmla="*/ 4492808 w 5365133"/>
              <a:gd name="connsiteY9793" fmla="*/ 1970136 h 4367670"/>
              <a:gd name="connsiteX9794" fmla="*/ 4504764 w 5365133"/>
              <a:gd name="connsiteY9794" fmla="*/ 1952244 h 4367670"/>
              <a:gd name="connsiteX9795" fmla="*/ 4504764 w 5365133"/>
              <a:gd name="connsiteY9795" fmla="*/ 1958209 h 4367670"/>
              <a:gd name="connsiteX9796" fmla="*/ 4528674 w 5365133"/>
              <a:gd name="connsiteY9796" fmla="*/ 1946280 h 4367670"/>
              <a:gd name="connsiteX9797" fmla="*/ 4534652 w 5365133"/>
              <a:gd name="connsiteY9797" fmla="*/ 1952244 h 4367670"/>
              <a:gd name="connsiteX9798" fmla="*/ 4552587 w 5365133"/>
              <a:gd name="connsiteY9798" fmla="*/ 1934353 h 4367670"/>
              <a:gd name="connsiteX9799" fmla="*/ 4606390 w 5365133"/>
              <a:gd name="connsiteY9799" fmla="*/ 1922424 h 4367670"/>
              <a:gd name="connsiteX9800" fmla="*/ 4600412 w 5365133"/>
              <a:gd name="connsiteY9800" fmla="*/ 1934353 h 4367670"/>
              <a:gd name="connsiteX9801" fmla="*/ 4624324 w 5365133"/>
              <a:gd name="connsiteY9801" fmla="*/ 1922424 h 4367670"/>
              <a:gd name="connsiteX9802" fmla="*/ 4624324 w 5365133"/>
              <a:gd name="connsiteY9802" fmla="*/ 1904532 h 4367670"/>
              <a:gd name="connsiteX9803" fmla="*/ 4636280 w 5365133"/>
              <a:gd name="connsiteY9803" fmla="*/ 1904532 h 4367670"/>
              <a:gd name="connsiteX9804" fmla="*/ 4642257 w 5365133"/>
              <a:gd name="connsiteY9804" fmla="*/ 1922424 h 4367670"/>
              <a:gd name="connsiteX9805" fmla="*/ 4642257 w 5365133"/>
              <a:gd name="connsiteY9805" fmla="*/ 1910496 h 4367670"/>
              <a:gd name="connsiteX9806" fmla="*/ 4678125 w 5365133"/>
              <a:gd name="connsiteY9806" fmla="*/ 1910496 h 4367670"/>
              <a:gd name="connsiteX9807" fmla="*/ 4713993 w 5365133"/>
              <a:gd name="connsiteY9807" fmla="*/ 1886640 h 4367670"/>
              <a:gd name="connsiteX9808" fmla="*/ 4713993 w 5365133"/>
              <a:gd name="connsiteY9808" fmla="*/ 1892604 h 4367670"/>
              <a:gd name="connsiteX9809" fmla="*/ 4713993 w 5365133"/>
              <a:gd name="connsiteY9809" fmla="*/ 1894059 h 4367670"/>
              <a:gd name="connsiteX9810" fmla="*/ 4722970 w 5365133"/>
              <a:gd name="connsiteY9810" fmla="*/ 1894675 h 4367670"/>
              <a:gd name="connsiteX9811" fmla="*/ 4724465 w 5365133"/>
              <a:gd name="connsiteY9811" fmla="*/ 1882479 h 4367670"/>
              <a:gd name="connsiteX9812" fmla="*/ 4736424 w 5365133"/>
              <a:gd name="connsiteY9812" fmla="*/ 1882479 h 4367670"/>
              <a:gd name="connsiteX9813" fmla="*/ 4732687 w 5365133"/>
              <a:gd name="connsiteY9813" fmla="*/ 1889653 h 4367670"/>
              <a:gd name="connsiteX9814" fmla="*/ 4742296 w 5365133"/>
              <a:gd name="connsiteY9814" fmla="*/ 1888234 h 4367670"/>
              <a:gd name="connsiteX9815" fmla="*/ 4742370 w 5365133"/>
              <a:gd name="connsiteY9815" fmla="*/ 1888289 h 4367670"/>
              <a:gd name="connsiteX9816" fmla="*/ 4739693 w 5365133"/>
              <a:gd name="connsiteY9816" fmla="*/ 1894137 h 4367670"/>
              <a:gd name="connsiteX9817" fmla="*/ 4730445 w 5365133"/>
              <a:gd name="connsiteY9817" fmla="*/ 1905437 h 4367670"/>
              <a:gd name="connsiteX9818" fmla="*/ 4721476 w 5365133"/>
              <a:gd name="connsiteY9818" fmla="*/ 1907589 h 4367670"/>
              <a:gd name="connsiteX9819" fmla="*/ 4716044 w 5365133"/>
              <a:gd name="connsiteY9819" fmla="*/ 1906285 h 4367670"/>
              <a:gd name="connsiteX9820" fmla="*/ 4718487 w 5365133"/>
              <a:gd name="connsiteY9820" fmla="*/ 1905437 h 4367670"/>
              <a:gd name="connsiteX9821" fmla="*/ 4713993 w 5365133"/>
              <a:gd name="connsiteY9821" fmla="*/ 1896808 h 4367670"/>
              <a:gd name="connsiteX9822" fmla="*/ 4713993 w 5365133"/>
              <a:gd name="connsiteY9822" fmla="*/ 1898567 h 4367670"/>
              <a:gd name="connsiteX9823" fmla="*/ 4708015 w 5365133"/>
              <a:gd name="connsiteY9823" fmla="*/ 1896331 h 4367670"/>
              <a:gd name="connsiteX9824" fmla="*/ 4702037 w 5365133"/>
              <a:gd name="connsiteY9824" fmla="*/ 1898567 h 4367670"/>
              <a:gd name="connsiteX9825" fmla="*/ 4702037 w 5365133"/>
              <a:gd name="connsiteY9825" fmla="*/ 1904532 h 4367670"/>
              <a:gd name="connsiteX9826" fmla="*/ 4685598 w 5365133"/>
              <a:gd name="connsiteY9826" fmla="*/ 1912732 h 4367670"/>
              <a:gd name="connsiteX9827" fmla="*/ 4684394 w 5365133"/>
              <a:gd name="connsiteY9827" fmla="*/ 1916218 h 4367670"/>
              <a:gd name="connsiteX9828" fmla="*/ 4699056 w 5365133"/>
              <a:gd name="connsiteY9828" fmla="*/ 1910458 h 4367670"/>
              <a:gd name="connsiteX9829" fmla="*/ 4706529 w 5365133"/>
              <a:gd name="connsiteY9829" fmla="*/ 1899697 h 4367670"/>
              <a:gd name="connsiteX9830" fmla="*/ 4710267 w 5365133"/>
              <a:gd name="connsiteY9830" fmla="*/ 1904719 h 4367670"/>
              <a:gd name="connsiteX9831" fmla="*/ 4712364 w 5365133"/>
              <a:gd name="connsiteY9831" fmla="*/ 1905947 h 4367670"/>
              <a:gd name="connsiteX9832" fmla="*/ 4710267 w 5365133"/>
              <a:gd name="connsiteY9832" fmla="*/ 1913328 h 4367670"/>
              <a:gd name="connsiteX9833" fmla="*/ 4712509 w 5365133"/>
              <a:gd name="connsiteY9833" fmla="*/ 1916915 h 4367670"/>
              <a:gd name="connsiteX9834" fmla="*/ 4688593 w 5365133"/>
              <a:gd name="connsiteY9834" fmla="*/ 1934134 h 4367670"/>
              <a:gd name="connsiteX9835" fmla="*/ 4681120 w 5365133"/>
              <a:gd name="connsiteY9835" fmla="*/ 1927677 h 4367670"/>
              <a:gd name="connsiteX9836" fmla="*/ 4681583 w 5365133"/>
              <a:gd name="connsiteY9836" fmla="*/ 1924350 h 4367670"/>
              <a:gd name="connsiteX9837" fmla="*/ 4678125 w 5365133"/>
              <a:gd name="connsiteY9837" fmla="*/ 1934353 h 4367670"/>
              <a:gd name="connsiteX9838" fmla="*/ 4672147 w 5365133"/>
              <a:gd name="connsiteY9838" fmla="*/ 1922424 h 4367670"/>
              <a:gd name="connsiteX9839" fmla="*/ 4612368 w 5365133"/>
              <a:gd name="connsiteY9839" fmla="*/ 1952244 h 4367670"/>
              <a:gd name="connsiteX9840" fmla="*/ 4588455 w 5365133"/>
              <a:gd name="connsiteY9840" fmla="*/ 1958209 h 4367670"/>
              <a:gd name="connsiteX9841" fmla="*/ 4588455 w 5365133"/>
              <a:gd name="connsiteY9841" fmla="*/ 1970136 h 4367670"/>
              <a:gd name="connsiteX9842" fmla="*/ 4600412 w 5365133"/>
              <a:gd name="connsiteY9842" fmla="*/ 1964172 h 4367670"/>
              <a:gd name="connsiteX9843" fmla="*/ 4612368 w 5365133"/>
              <a:gd name="connsiteY9843" fmla="*/ 1970136 h 4367670"/>
              <a:gd name="connsiteX9844" fmla="*/ 4576499 w 5365133"/>
              <a:gd name="connsiteY9844" fmla="*/ 1988029 h 4367670"/>
              <a:gd name="connsiteX9845" fmla="*/ 4552587 w 5365133"/>
              <a:gd name="connsiteY9845" fmla="*/ 1982063 h 4367670"/>
              <a:gd name="connsiteX9846" fmla="*/ 4558565 w 5365133"/>
              <a:gd name="connsiteY9846" fmla="*/ 1982063 h 4367670"/>
              <a:gd name="connsiteX9847" fmla="*/ 4534652 w 5365133"/>
              <a:gd name="connsiteY9847" fmla="*/ 1993993 h 4367670"/>
              <a:gd name="connsiteX9848" fmla="*/ 4504764 w 5365133"/>
              <a:gd name="connsiteY9848" fmla="*/ 2017849 h 4367670"/>
              <a:gd name="connsiteX9849" fmla="*/ 4397159 w 5365133"/>
              <a:gd name="connsiteY9849" fmla="*/ 2053632 h 4367670"/>
              <a:gd name="connsiteX9850" fmla="*/ 4319445 w 5365133"/>
              <a:gd name="connsiteY9850" fmla="*/ 2095379 h 4367670"/>
              <a:gd name="connsiteX9851" fmla="*/ 4552587 w 5365133"/>
              <a:gd name="connsiteY9851" fmla="*/ 2023812 h 4367670"/>
              <a:gd name="connsiteX9852" fmla="*/ 4570521 w 5365133"/>
              <a:gd name="connsiteY9852" fmla="*/ 2029776 h 4367670"/>
              <a:gd name="connsiteX9853" fmla="*/ 4630302 w 5365133"/>
              <a:gd name="connsiteY9853" fmla="*/ 2007134 h 4367670"/>
              <a:gd name="connsiteX9854" fmla="*/ 4630302 w 5365133"/>
              <a:gd name="connsiteY9854" fmla="*/ 2029776 h 4367670"/>
              <a:gd name="connsiteX9855" fmla="*/ 4576499 w 5365133"/>
              <a:gd name="connsiteY9855" fmla="*/ 2053632 h 4367670"/>
              <a:gd name="connsiteX9856" fmla="*/ 4588455 w 5365133"/>
              <a:gd name="connsiteY9856" fmla="*/ 2053632 h 4367670"/>
              <a:gd name="connsiteX9857" fmla="*/ 4588455 w 5365133"/>
              <a:gd name="connsiteY9857" fmla="*/ 2059596 h 4367670"/>
              <a:gd name="connsiteX9858" fmla="*/ 4606390 w 5365133"/>
              <a:gd name="connsiteY9858" fmla="*/ 2065560 h 4367670"/>
              <a:gd name="connsiteX9859" fmla="*/ 4618346 w 5365133"/>
              <a:gd name="connsiteY9859" fmla="*/ 2059596 h 4367670"/>
              <a:gd name="connsiteX9860" fmla="*/ 4617599 w 5365133"/>
              <a:gd name="connsiteY9860" fmla="*/ 2065560 h 4367670"/>
              <a:gd name="connsiteX9861" fmla="*/ 4617575 w 5365133"/>
              <a:gd name="connsiteY9861" fmla="*/ 2065587 h 4367670"/>
              <a:gd name="connsiteX9862" fmla="*/ 4613489 w 5365133"/>
              <a:gd name="connsiteY9862" fmla="*/ 2067238 h 4367670"/>
              <a:gd name="connsiteX9863" fmla="*/ 4612368 w 5365133"/>
              <a:gd name="connsiteY9863" fmla="*/ 2071525 h 4367670"/>
              <a:gd name="connsiteX9864" fmla="*/ 4617575 w 5365133"/>
              <a:gd name="connsiteY9864" fmla="*/ 2065587 h 4367670"/>
              <a:gd name="connsiteX9865" fmla="*/ 4621335 w 5365133"/>
              <a:gd name="connsiteY9865" fmla="*/ 2064069 h 4367670"/>
              <a:gd name="connsiteX9866" fmla="*/ 4630302 w 5365133"/>
              <a:gd name="connsiteY9866" fmla="*/ 2065560 h 4367670"/>
              <a:gd name="connsiteX9867" fmla="*/ 4630302 w 5365133"/>
              <a:gd name="connsiteY9867" fmla="*/ 2059596 h 4367670"/>
              <a:gd name="connsiteX9868" fmla="*/ 4660190 w 5365133"/>
              <a:gd name="connsiteY9868" fmla="*/ 2059596 h 4367670"/>
              <a:gd name="connsiteX9869" fmla="*/ 4660190 w 5365133"/>
              <a:gd name="connsiteY9869" fmla="*/ 2047669 h 4367670"/>
              <a:gd name="connsiteX9870" fmla="*/ 4666168 w 5365133"/>
              <a:gd name="connsiteY9870" fmla="*/ 2053632 h 4367670"/>
              <a:gd name="connsiteX9871" fmla="*/ 4672147 w 5365133"/>
              <a:gd name="connsiteY9871" fmla="*/ 2035739 h 4367670"/>
              <a:gd name="connsiteX9872" fmla="*/ 4690081 w 5365133"/>
              <a:gd name="connsiteY9872" fmla="*/ 2047669 h 4367670"/>
              <a:gd name="connsiteX9873" fmla="*/ 4713993 w 5365133"/>
              <a:gd name="connsiteY9873" fmla="*/ 2017849 h 4367670"/>
              <a:gd name="connsiteX9874" fmla="*/ 4708015 w 5365133"/>
              <a:gd name="connsiteY9874" fmla="*/ 2035739 h 4367670"/>
              <a:gd name="connsiteX9875" fmla="*/ 4755840 w 5365133"/>
              <a:gd name="connsiteY9875" fmla="*/ 2011884 h 4367670"/>
              <a:gd name="connsiteX9876" fmla="*/ 4761818 w 5365133"/>
              <a:gd name="connsiteY9876" fmla="*/ 2011884 h 4367670"/>
              <a:gd name="connsiteX9877" fmla="*/ 4785728 w 5365133"/>
              <a:gd name="connsiteY9877" fmla="*/ 1999956 h 4367670"/>
              <a:gd name="connsiteX9878" fmla="*/ 4761818 w 5365133"/>
              <a:gd name="connsiteY9878" fmla="*/ 2017849 h 4367670"/>
              <a:gd name="connsiteX9879" fmla="*/ 4785728 w 5365133"/>
              <a:gd name="connsiteY9879" fmla="*/ 2017849 h 4367670"/>
              <a:gd name="connsiteX9880" fmla="*/ 4791707 w 5365133"/>
              <a:gd name="connsiteY9880" fmla="*/ 2006667 h 4367670"/>
              <a:gd name="connsiteX9881" fmla="*/ 4792237 w 5365133"/>
              <a:gd name="connsiteY9881" fmla="*/ 2006071 h 4367670"/>
              <a:gd name="connsiteX9882" fmla="*/ 4791707 w 5365133"/>
              <a:gd name="connsiteY9882" fmla="*/ 2011884 h 4367670"/>
              <a:gd name="connsiteX9883" fmla="*/ 4797685 w 5365133"/>
              <a:gd name="connsiteY9883" fmla="*/ 1988029 h 4367670"/>
              <a:gd name="connsiteX9884" fmla="*/ 4803663 w 5365133"/>
              <a:gd name="connsiteY9884" fmla="*/ 2011884 h 4367670"/>
              <a:gd name="connsiteX9885" fmla="*/ 4809641 w 5365133"/>
              <a:gd name="connsiteY9885" fmla="*/ 1993993 h 4367670"/>
              <a:gd name="connsiteX9886" fmla="*/ 4809641 w 5365133"/>
              <a:gd name="connsiteY9886" fmla="*/ 2005920 h 4367670"/>
              <a:gd name="connsiteX9887" fmla="*/ 4839531 w 5365133"/>
              <a:gd name="connsiteY9887" fmla="*/ 1999956 h 4367670"/>
              <a:gd name="connsiteX9888" fmla="*/ 4869422 w 5365133"/>
              <a:gd name="connsiteY9888" fmla="*/ 1982063 h 4367670"/>
              <a:gd name="connsiteX9889" fmla="*/ 4863444 w 5365133"/>
              <a:gd name="connsiteY9889" fmla="*/ 1999956 h 4367670"/>
              <a:gd name="connsiteX9890" fmla="*/ 4851487 w 5365133"/>
              <a:gd name="connsiteY9890" fmla="*/ 1999956 h 4367670"/>
              <a:gd name="connsiteX9891" fmla="*/ 4863444 w 5365133"/>
              <a:gd name="connsiteY9891" fmla="*/ 2005920 h 4367670"/>
              <a:gd name="connsiteX9892" fmla="*/ 4869422 w 5365133"/>
              <a:gd name="connsiteY9892" fmla="*/ 1988029 h 4367670"/>
              <a:gd name="connsiteX9893" fmla="*/ 4875400 w 5365133"/>
              <a:gd name="connsiteY9893" fmla="*/ 1999956 h 4367670"/>
              <a:gd name="connsiteX9894" fmla="*/ 4887356 w 5365133"/>
              <a:gd name="connsiteY9894" fmla="*/ 1999956 h 4367670"/>
              <a:gd name="connsiteX9895" fmla="*/ 4911267 w 5365133"/>
              <a:gd name="connsiteY9895" fmla="*/ 1988029 h 4367670"/>
              <a:gd name="connsiteX9896" fmla="*/ 4917245 w 5365133"/>
              <a:gd name="connsiteY9896" fmla="*/ 1993993 h 4367670"/>
              <a:gd name="connsiteX9897" fmla="*/ 4929201 w 5365133"/>
              <a:gd name="connsiteY9897" fmla="*/ 1982063 h 4367670"/>
              <a:gd name="connsiteX9898" fmla="*/ 4947135 w 5365133"/>
              <a:gd name="connsiteY9898" fmla="*/ 1976100 h 4367670"/>
              <a:gd name="connsiteX9899" fmla="*/ 4947135 w 5365133"/>
              <a:gd name="connsiteY9899" fmla="*/ 1988029 h 4367670"/>
              <a:gd name="connsiteX9900" fmla="*/ 4845510 w 5365133"/>
              <a:gd name="connsiteY9900" fmla="*/ 2023812 h 4367670"/>
              <a:gd name="connsiteX9901" fmla="*/ 4839531 w 5365133"/>
              <a:gd name="connsiteY9901" fmla="*/ 2035739 h 4367670"/>
              <a:gd name="connsiteX9902" fmla="*/ 4833553 w 5365133"/>
              <a:gd name="connsiteY9902" fmla="*/ 2029776 h 4367670"/>
              <a:gd name="connsiteX9903" fmla="*/ 4810856 w 5365133"/>
              <a:gd name="connsiteY9903" fmla="*/ 2045711 h 4367670"/>
              <a:gd name="connsiteX9904" fmla="*/ 4807426 w 5365133"/>
              <a:gd name="connsiteY9904" fmla="*/ 2043801 h 4367670"/>
              <a:gd name="connsiteX9905" fmla="*/ 4806652 w 5365133"/>
              <a:gd name="connsiteY9905" fmla="*/ 2042451 h 4367670"/>
              <a:gd name="connsiteX9906" fmla="*/ 4803663 w 5365133"/>
              <a:gd name="connsiteY9906" fmla="*/ 2041705 h 4367670"/>
              <a:gd name="connsiteX9907" fmla="*/ 4807426 w 5365133"/>
              <a:gd name="connsiteY9907" fmla="*/ 2043801 h 4367670"/>
              <a:gd name="connsiteX9908" fmla="*/ 4809641 w 5365133"/>
              <a:gd name="connsiteY9908" fmla="*/ 2047669 h 4367670"/>
              <a:gd name="connsiteX9909" fmla="*/ 4773772 w 5365133"/>
              <a:gd name="connsiteY9909" fmla="*/ 2053632 h 4367670"/>
              <a:gd name="connsiteX9910" fmla="*/ 4731927 w 5365133"/>
              <a:gd name="connsiteY9910" fmla="*/ 2077489 h 4367670"/>
              <a:gd name="connsiteX9911" fmla="*/ 4743884 w 5365133"/>
              <a:gd name="connsiteY9911" fmla="*/ 2089416 h 4367670"/>
              <a:gd name="connsiteX9912" fmla="*/ 4719972 w 5365133"/>
              <a:gd name="connsiteY9912" fmla="*/ 2095379 h 4367670"/>
              <a:gd name="connsiteX9913" fmla="*/ 4719972 w 5365133"/>
              <a:gd name="connsiteY9913" fmla="*/ 2083452 h 4367670"/>
              <a:gd name="connsiteX9914" fmla="*/ 4713993 w 5365133"/>
              <a:gd name="connsiteY9914" fmla="*/ 2083452 h 4367670"/>
              <a:gd name="connsiteX9915" fmla="*/ 4713993 w 5365133"/>
              <a:gd name="connsiteY9915" fmla="*/ 2095379 h 4367670"/>
              <a:gd name="connsiteX9916" fmla="*/ 4702037 w 5365133"/>
              <a:gd name="connsiteY9916" fmla="*/ 2102089 h 4367670"/>
              <a:gd name="connsiteX9917" fmla="*/ 4691318 w 5365133"/>
              <a:gd name="connsiteY9917" fmla="*/ 2096074 h 4367670"/>
              <a:gd name="connsiteX9918" fmla="*/ 4703875 w 5365133"/>
              <a:gd name="connsiteY9918" fmla="*/ 2095551 h 4367670"/>
              <a:gd name="connsiteX9919" fmla="*/ 4706894 w 5365133"/>
              <a:gd name="connsiteY9919" fmla="*/ 2097057 h 4367670"/>
              <a:gd name="connsiteX9920" fmla="*/ 4708015 w 5365133"/>
              <a:gd name="connsiteY9920" fmla="*/ 2095379 h 4367670"/>
              <a:gd name="connsiteX9921" fmla="*/ 4703875 w 5365133"/>
              <a:gd name="connsiteY9921" fmla="*/ 2095551 h 4367670"/>
              <a:gd name="connsiteX9922" fmla="*/ 4703532 w 5365133"/>
              <a:gd name="connsiteY9922" fmla="*/ 2095380 h 4367670"/>
              <a:gd name="connsiteX9923" fmla="*/ 4690081 w 5365133"/>
              <a:gd name="connsiteY9923" fmla="*/ 2095379 h 4367670"/>
              <a:gd name="connsiteX9924" fmla="*/ 4691318 w 5365133"/>
              <a:gd name="connsiteY9924" fmla="*/ 2096074 h 4367670"/>
              <a:gd name="connsiteX9925" fmla="*/ 4690081 w 5365133"/>
              <a:gd name="connsiteY9925" fmla="*/ 2096126 h 4367670"/>
              <a:gd name="connsiteX9926" fmla="*/ 4672147 w 5365133"/>
              <a:gd name="connsiteY9926" fmla="*/ 2101345 h 4367670"/>
              <a:gd name="connsiteX9927" fmla="*/ 4684103 w 5365133"/>
              <a:gd name="connsiteY9927" fmla="*/ 2101345 h 4367670"/>
              <a:gd name="connsiteX9928" fmla="*/ 4690081 w 5365133"/>
              <a:gd name="connsiteY9928" fmla="*/ 2101345 h 4367670"/>
              <a:gd name="connsiteX9929" fmla="*/ 4666168 w 5365133"/>
              <a:gd name="connsiteY9929" fmla="*/ 2125200 h 4367670"/>
              <a:gd name="connsiteX9930" fmla="*/ 4666168 w 5365133"/>
              <a:gd name="connsiteY9930" fmla="*/ 2107309 h 4367670"/>
              <a:gd name="connsiteX9931" fmla="*/ 4654212 w 5365133"/>
              <a:gd name="connsiteY9931" fmla="*/ 2107309 h 4367670"/>
              <a:gd name="connsiteX9932" fmla="*/ 4660190 w 5365133"/>
              <a:gd name="connsiteY9932" fmla="*/ 2107309 h 4367670"/>
              <a:gd name="connsiteX9933" fmla="*/ 4660190 w 5365133"/>
              <a:gd name="connsiteY9933" fmla="*/ 2125200 h 4367670"/>
              <a:gd name="connsiteX9934" fmla="*/ 4648234 w 5365133"/>
              <a:gd name="connsiteY9934" fmla="*/ 2107309 h 4367670"/>
              <a:gd name="connsiteX9935" fmla="*/ 4636280 w 5365133"/>
              <a:gd name="connsiteY9935" fmla="*/ 2119236 h 4367670"/>
              <a:gd name="connsiteX9936" fmla="*/ 4648234 w 5365133"/>
              <a:gd name="connsiteY9936" fmla="*/ 2119236 h 4367670"/>
              <a:gd name="connsiteX9937" fmla="*/ 4642257 w 5365133"/>
              <a:gd name="connsiteY9937" fmla="*/ 2131165 h 4367670"/>
              <a:gd name="connsiteX9938" fmla="*/ 4630302 w 5365133"/>
              <a:gd name="connsiteY9938" fmla="*/ 2125200 h 4367670"/>
              <a:gd name="connsiteX9939" fmla="*/ 4630302 w 5365133"/>
              <a:gd name="connsiteY9939" fmla="*/ 2137129 h 4367670"/>
              <a:gd name="connsiteX9940" fmla="*/ 4612368 w 5365133"/>
              <a:gd name="connsiteY9940" fmla="*/ 2125200 h 4367670"/>
              <a:gd name="connsiteX9941" fmla="*/ 4618346 w 5365133"/>
              <a:gd name="connsiteY9941" fmla="*/ 2137129 h 4367670"/>
              <a:gd name="connsiteX9942" fmla="*/ 4498786 w 5365133"/>
              <a:gd name="connsiteY9942" fmla="*/ 2190805 h 4367670"/>
              <a:gd name="connsiteX9943" fmla="*/ 4474873 w 5365133"/>
              <a:gd name="connsiteY9943" fmla="*/ 2184841 h 4367670"/>
              <a:gd name="connsiteX9944" fmla="*/ 4474873 w 5365133"/>
              <a:gd name="connsiteY9944" fmla="*/ 2202732 h 4367670"/>
              <a:gd name="connsiteX9945" fmla="*/ 4462917 w 5365133"/>
              <a:gd name="connsiteY9945" fmla="*/ 2214661 h 4367670"/>
              <a:gd name="connsiteX9946" fmla="*/ 4456939 w 5365133"/>
              <a:gd name="connsiteY9946" fmla="*/ 2196769 h 4367670"/>
              <a:gd name="connsiteX9947" fmla="*/ 4444983 w 5365133"/>
              <a:gd name="connsiteY9947" fmla="*/ 2202732 h 4367670"/>
              <a:gd name="connsiteX9948" fmla="*/ 4450399 w 5365133"/>
              <a:gd name="connsiteY9948" fmla="*/ 2213540 h 4367670"/>
              <a:gd name="connsiteX9949" fmla="*/ 4447973 w 5365133"/>
              <a:gd name="connsiteY9949" fmla="*/ 2213914 h 4367670"/>
              <a:gd name="connsiteX9950" fmla="*/ 4444983 w 5365133"/>
              <a:gd name="connsiteY9950" fmla="*/ 2220625 h 4367670"/>
              <a:gd name="connsiteX9951" fmla="*/ 4439005 w 5365133"/>
              <a:gd name="connsiteY9951" fmla="*/ 2208695 h 4367670"/>
              <a:gd name="connsiteX9952" fmla="*/ 4433027 w 5365133"/>
              <a:gd name="connsiteY9952" fmla="*/ 2208695 h 4367670"/>
              <a:gd name="connsiteX9953" fmla="*/ 4439005 w 5365133"/>
              <a:gd name="connsiteY9953" fmla="*/ 2232552 h 4367670"/>
              <a:gd name="connsiteX9954" fmla="*/ 4462917 w 5365133"/>
              <a:gd name="connsiteY9954" fmla="*/ 2214661 h 4367670"/>
              <a:gd name="connsiteX9955" fmla="*/ 4468895 w 5365133"/>
              <a:gd name="connsiteY9955" fmla="*/ 2232552 h 4367670"/>
              <a:gd name="connsiteX9956" fmla="*/ 4468895 w 5365133"/>
              <a:gd name="connsiteY9956" fmla="*/ 2214661 h 4367670"/>
              <a:gd name="connsiteX9957" fmla="*/ 4474873 w 5365133"/>
              <a:gd name="connsiteY9957" fmla="*/ 2226588 h 4367670"/>
              <a:gd name="connsiteX9958" fmla="*/ 4522697 w 5365133"/>
              <a:gd name="connsiteY9958" fmla="*/ 2220625 h 4367670"/>
              <a:gd name="connsiteX9959" fmla="*/ 4516719 w 5365133"/>
              <a:gd name="connsiteY9959" fmla="*/ 2226588 h 4367670"/>
              <a:gd name="connsiteX9960" fmla="*/ 4510742 w 5365133"/>
              <a:gd name="connsiteY9960" fmla="*/ 2232552 h 4367670"/>
              <a:gd name="connsiteX9961" fmla="*/ 4518213 w 5365133"/>
              <a:gd name="connsiteY9961" fmla="*/ 2234043 h 4367670"/>
              <a:gd name="connsiteX9962" fmla="*/ 4516719 w 5365133"/>
              <a:gd name="connsiteY9962" fmla="*/ 2226588 h 4367670"/>
              <a:gd name="connsiteX9963" fmla="*/ 4528674 w 5365133"/>
              <a:gd name="connsiteY9963" fmla="*/ 2232552 h 4367670"/>
              <a:gd name="connsiteX9964" fmla="*/ 4528674 w 5365133"/>
              <a:gd name="connsiteY9964" fmla="*/ 2220625 h 4367670"/>
              <a:gd name="connsiteX9965" fmla="*/ 4558565 w 5365133"/>
              <a:gd name="connsiteY9965" fmla="*/ 2208695 h 4367670"/>
              <a:gd name="connsiteX9966" fmla="*/ 4546608 w 5365133"/>
              <a:gd name="connsiteY9966" fmla="*/ 2220625 h 4367670"/>
              <a:gd name="connsiteX9967" fmla="*/ 4564543 w 5365133"/>
              <a:gd name="connsiteY9967" fmla="*/ 2220625 h 4367670"/>
              <a:gd name="connsiteX9968" fmla="*/ 4558565 w 5365133"/>
              <a:gd name="connsiteY9968" fmla="*/ 2208695 h 4367670"/>
              <a:gd name="connsiteX9969" fmla="*/ 4606390 w 5365133"/>
              <a:gd name="connsiteY9969" fmla="*/ 2202732 h 4367670"/>
              <a:gd name="connsiteX9970" fmla="*/ 4612368 w 5365133"/>
              <a:gd name="connsiteY9970" fmla="*/ 2190805 h 4367670"/>
              <a:gd name="connsiteX9971" fmla="*/ 4618346 w 5365133"/>
              <a:gd name="connsiteY9971" fmla="*/ 2208695 h 4367670"/>
              <a:gd name="connsiteX9972" fmla="*/ 4606390 w 5365133"/>
              <a:gd name="connsiteY9972" fmla="*/ 2208695 h 4367670"/>
              <a:gd name="connsiteX9973" fmla="*/ 4606390 w 5365133"/>
              <a:gd name="connsiteY9973" fmla="*/ 2214661 h 4367670"/>
              <a:gd name="connsiteX9974" fmla="*/ 4558565 w 5365133"/>
              <a:gd name="connsiteY9974" fmla="*/ 2232552 h 4367670"/>
              <a:gd name="connsiteX9975" fmla="*/ 4462917 w 5365133"/>
              <a:gd name="connsiteY9975" fmla="*/ 2256409 h 4367670"/>
              <a:gd name="connsiteX9976" fmla="*/ 4450961 w 5365133"/>
              <a:gd name="connsiteY9976" fmla="*/ 2268337 h 4367670"/>
              <a:gd name="connsiteX9977" fmla="*/ 4450961 w 5365133"/>
              <a:gd name="connsiteY9977" fmla="*/ 2274301 h 4367670"/>
              <a:gd name="connsiteX9978" fmla="*/ 4415092 w 5365133"/>
              <a:gd name="connsiteY9978" fmla="*/ 2286228 h 4367670"/>
              <a:gd name="connsiteX9979" fmla="*/ 4516719 w 5365133"/>
              <a:gd name="connsiteY9979" fmla="*/ 2256409 h 4367670"/>
              <a:gd name="connsiteX9980" fmla="*/ 4521720 w 5365133"/>
              <a:gd name="connsiteY9980" fmla="*/ 2276368 h 4367670"/>
              <a:gd name="connsiteX9981" fmla="*/ 4516719 w 5365133"/>
              <a:gd name="connsiteY9981" fmla="*/ 2274301 h 4367670"/>
              <a:gd name="connsiteX9982" fmla="*/ 4515487 w 5365133"/>
              <a:gd name="connsiteY9982" fmla="*/ 2275318 h 4367670"/>
              <a:gd name="connsiteX9983" fmla="*/ 4510740 w 5365133"/>
              <a:gd name="connsiteY9983" fmla="*/ 2272065 h 4367670"/>
              <a:gd name="connsiteX9984" fmla="*/ 4498786 w 5365133"/>
              <a:gd name="connsiteY9984" fmla="*/ 2286228 h 4367670"/>
              <a:gd name="connsiteX9985" fmla="*/ 4474873 w 5365133"/>
              <a:gd name="connsiteY9985" fmla="*/ 2280265 h 4367670"/>
              <a:gd name="connsiteX9986" fmla="*/ 4468895 w 5365133"/>
              <a:gd name="connsiteY9986" fmla="*/ 2280265 h 4367670"/>
              <a:gd name="connsiteX9987" fmla="*/ 4456939 w 5365133"/>
              <a:gd name="connsiteY9987" fmla="*/ 2298157 h 4367670"/>
              <a:gd name="connsiteX9988" fmla="*/ 4456939 w 5365133"/>
              <a:gd name="connsiteY9988" fmla="*/ 2286228 h 4367670"/>
              <a:gd name="connsiteX9989" fmla="*/ 4450961 w 5365133"/>
              <a:gd name="connsiteY9989" fmla="*/ 2298157 h 4367670"/>
              <a:gd name="connsiteX9990" fmla="*/ 4450961 w 5365133"/>
              <a:gd name="connsiteY9990" fmla="*/ 2286228 h 4367670"/>
              <a:gd name="connsiteX9991" fmla="*/ 4421070 w 5365133"/>
              <a:gd name="connsiteY9991" fmla="*/ 2304121 h 4367670"/>
              <a:gd name="connsiteX9992" fmla="*/ 4421070 w 5365133"/>
              <a:gd name="connsiteY9992" fmla="*/ 2292192 h 4367670"/>
              <a:gd name="connsiteX9993" fmla="*/ 4415092 w 5365133"/>
              <a:gd name="connsiteY9993" fmla="*/ 2298157 h 4367670"/>
              <a:gd name="connsiteX9994" fmla="*/ 4397159 w 5365133"/>
              <a:gd name="connsiteY9994" fmla="*/ 2316048 h 4367670"/>
              <a:gd name="connsiteX9995" fmla="*/ 4385202 w 5365133"/>
              <a:gd name="connsiteY9995" fmla="*/ 2304121 h 4367670"/>
              <a:gd name="connsiteX9996" fmla="*/ 4385202 w 5365133"/>
              <a:gd name="connsiteY9996" fmla="*/ 2322014 h 4367670"/>
              <a:gd name="connsiteX9997" fmla="*/ 4373248 w 5365133"/>
              <a:gd name="connsiteY9997" fmla="*/ 2322014 h 4367670"/>
              <a:gd name="connsiteX9998" fmla="*/ 4379226 w 5365133"/>
              <a:gd name="connsiteY9998" fmla="*/ 2327977 h 4367670"/>
              <a:gd name="connsiteX9999" fmla="*/ 4361292 w 5365133"/>
              <a:gd name="connsiteY9999" fmla="*/ 2333941 h 4367670"/>
              <a:gd name="connsiteX10000" fmla="*/ 4385202 w 5365133"/>
              <a:gd name="connsiteY10000" fmla="*/ 2333941 h 4367670"/>
              <a:gd name="connsiteX10001" fmla="*/ 4450961 w 5365133"/>
              <a:gd name="connsiteY10001" fmla="*/ 2298157 h 4367670"/>
              <a:gd name="connsiteX10002" fmla="*/ 4456939 w 5365133"/>
              <a:gd name="connsiteY10002" fmla="*/ 2304121 h 4367670"/>
              <a:gd name="connsiteX10003" fmla="*/ 4468895 w 5365133"/>
              <a:gd name="connsiteY10003" fmla="*/ 2292192 h 4367670"/>
              <a:gd name="connsiteX10004" fmla="*/ 4504203 w 5365133"/>
              <a:gd name="connsiteY10004" fmla="*/ 2284644 h 4367670"/>
              <a:gd name="connsiteX10005" fmla="*/ 4515487 w 5365133"/>
              <a:gd name="connsiteY10005" fmla="*/ 2275318 h 4367670"/>
              <a:gd name="connsiteX10006" fmla="*/ 4522697 w 5365133"/>
              <a:gd name="connsiteY10006" fmla="*/ 2280265 h 4367670"/>
              <a:gd name="connsiteX10007" fmla="*/ 4521720 w 5365133"/>
              <a:gd name="connsiteY10007" fmla="*/ 2276368 h 4367670"/>
              <a:gd name="connsiteX10008" fmla="*/ 4528674 w 5365133"/>
              <a:gd name="connsiteY10008" fmla="*/ 2279240 h 4367670"/>
              <a:gd name="connsiteX10009" fmla="*/ 4549599 w 5365133"/>
              <a:gd name="connsiteY10009" fmla="*/ 2273554 h 4367670"/>
              <a:gd name="connsiteX10010" fmla="*/ 4561450 w 5365133"/>
              <a:gd name="connsiteY10010" fmla="*/ 2269702 h 4367670"/>
              <a:gd name="connsiteX10011" fmla="*/ 4525686 w 5365133"/>
              <a:gd name="connsiteY10011" fmla="*/ 2285483 h 4367670"/>
              <a:gd name="connsiteX10012" fmla="*/ 4486830 w 5365133"/>
              <a:gd name="connsiteY10012" fmla="*/ 2298157 h 4367670"/>
              <a:gd name="connsiteX10013" fmla="*/ 4480852 w 5365133"/>
              <a:gd name="connsiteY10013" fmla="*/ 2310085 h 4367670"/>
              <a:gd name="connsiteX10014" fmla="*/ 4468895 w 5365133"/>
              <a:gd name="connsiteY10014" fmla="*/ 2304121 h 4367670"/>
              <a:gd name="connsiteX10015" fmla="*/ 4468895 w 5365133"/>
              <a:gd name="connsiteY10015" fmla="*/ 2316048 h 4367670"/>
              <a:gd name="connsiteX10016" fmla="*/ 4460956 w 5365133"/>
              <a:gd name="connsiteY10016" fmla="*/ 2314464 h 4367670"/>
              <a:gd name="connsiteX10017" fmla="*/ 4456878 w 5365133"/>
              <a:gd name="connsiteY10017" fmla="*/ 2315983 h 4367670"/>
              <a:gd name="connsiteX10018" fmla="*/ 4452269 w 5365133"/>
              <a:gd name="connsiteY10018" fmla="*/ 2311110 h 4367670"/>
              <a:gd name="connsiteX10019" fmla="*/ 4427048 w 5365133"/>
              <a:gd name="connsiteY10019" fmla="*/ 2322014 h 4367670"/>
              <a:gd name="connsiteX10020" fmla="*/ 4427048 w 5365133"/>
              <a:gd name="connsiteY10020" fmla="*/ 2327977 h 4367670"/>
              <a:gd name="connsiteX10021" fmla="*/ 4396374 w 5365133"/>
              <a:gd name="connsiteY10021" fmla="*/ 2334468 h 4367670"/>
              <a:gd name="connsiteX10022" fmla="*/ 4397159 w 5365133"/>
              <a:gd name="connsiteY10022" fmla="*/ 2333941 h 4367670"/>
              <a:gd name="connsiteX10023" fmla="*/ 4395482 w 5365133"/>
              <a:gd name="connsiteY10023" fmla="*/ 2334657 h 4367670"/>
              <a:gd name="connsiteX10024" fmla="*/ 4377731 w 5365133"/>
              <a:gd name="connsiteY10024" fmla="*/ 2338413 h 4367670"/>
              <a:gd name="connsiteX10025" fmla="*/ 4337379 w 5365133"/>
              <a:gd name="connsiteY10025" fmla="*/ 2357797 h 4367670"/>
              <a:gd name="connsiteX10026" fmla="*/ 4355313 w 5365133"/>
              <a:gd name="connsiteY10026" fmla="*/ 2351833 h 4367670"/>
              <a:gd name="connsiteX10027" fmla="*/ 4395482 w 5365133"/>
              <a:gd name="connsiteY10027" fmla="*/ 2334657 h 4367670"/>
              <a:gd name="connsiteX10028" fmla="*/ 4396374 w 5365133"/>
              <a:gd name="connsiteY10028" fmla="*/ 2334468 h 4367670"/>
              <a:gd name="connsiteX10029" fmla="*/ 4362786 w 5365133"/>
              <a:gd name="connsiteY10029" fmla="*/ 2357051 h 4367670"/>
              <a:gd name="connsiteX10030" fmla="*/ 4319445 w 5365133"/>
              <a:gd name="connsiteY10030" fmla="*/ 2375688 h 4367670"/>
              <a:gd name="connsiteX10031" fmla="*/ 4295532 w 5365133"/>
              <a:gd name="connsiteY10031" fmla="*/ 2381654 h 4367670"/>
              <a:gd name="connsiteX10032" fmla="*/ 4301510 w 5365133"/>
              <a:gd name="connsiteY10032" fmla="*/ 2387617 h 4367670"/>
              <a:gd name="connsiteX10033" fmla="*/ 4277599 w 5365133"/>
              <a:gd name="connsiteY10033" fmla="*/ 2387617 h 4367670"/>
              <a:gd name="connsiteX10034" fmla="*/ 4271620 w 5365133"/>
              <a:gd name="connsiteY10034" fmla="*/ 2399545 h 4367670"/>
              <a:gd name="connsiteX10035" fmla="*/ 4265642 w 5365133"/>
              <a:gd name="connsiteY10035" fmla="*/ 2393581 h 4367670"/>
              <a:gd name="connsiteX10036" fmla="*/ 4265642 w 5365133"/>
              <a:gd name="connsiteY10036" fmla="*/ 2399545 h 4367670"/>
              <a:gd name="connsiteX10037" fmla="*/ 4253688 w 5365133"/>
              <a:gd name="connsiteY10037" fmla="*/ 2393581 h 4367670"/>
              <a:gd name="connsiteX10038" fmla="*/ 4229775 w 5365133"/>
              <a:gd name="connsiteY10038" fmla="*/ 2405510 h 4367670"/>
              <a:gd name="connsiteX10039" fmla="*/ 4235753 w 5365133"/>
              <a:gd name="connsiteY10039" fmla="*/ 2405510 h 4367670"/>
              <a:gd name="connsiteX10040" fmla="*/ 4110215 w 5365133"/>
              <a:gd name="connsiteY10040" fmla="*/ 2453221 h 4367670"/>
              <a:gd name="connsiteX10041" fmla="*/ 4110215 w 5365133"/>
              <a:gd name="connsiteY10041" fmla="*/ 2459184 h 4367670"/>
              <a:gd name="connsiteX10042" fmla="*/ 3990656 w 5365133"/>
              <a:gd name="connsiteY10042" fmla="*/ 2512861 h 4367670"/>
              <a:gd name="connsiteX10043" fmla="*/ 4015034 w 5365133"/>
              <a:gd name="connsiteY10043" fmla="*/ 2510624 h 4367670"/>
              <a:gd name="connsiteX10044" fmla="*/ 4038520 w 5365133"/>
              <a:gd name="connsiteY10044" fmla="*/ 2500962 h 4367670"/>
              <a:gd name="connsiteX10045" fmla="*/ 4045952 w 5365133"/>
              <a:gd name="connsiteY10045" fmla="*/ 2506152 h 4367670"/>
              <a:gd name="connsiteX10046" fmla="*/ 4044456 w 5365133"/>
              <a:gd name="connsiteY10046" fmla="*/ 2506897 h 4367670"/>
              <a:gd name="connsiteX10047" fmla="*/ 4062390 w 5365133"/>
              <a:gd name="connsiteY10047" fmla="*/ 2500934 h 4367670"/>
              <a:gd name="connsiteX10048" fmla="*/ 4068368 w 5365133"/>
              <a:gd name="connsiteY10048" fmla="*/ 2506897 h 4367670"/>
              <a:gd name="connsiteX10049" fmla="*/ 4068368 w 5365133"/>
              <a:gd name="connsiteY10049" fmla="*/ 2512861 h 4367670"/>
              <a:gd name="connsiteX10050" fmla="*/ 4062390 w 5365133"/>
              <a:gd name="connsiteY10050" fmla="*/ 2518826 h 4367670"/>
              <a:gd name="connsiteX10051" fmla="*/ 4062390 w 5365133"/>
              <a:gd name="connsiteY10051" fmla="*/ 2512861 h 4367670"/>
              <a:gd name="connsiteX10052" fmla="*/ 4050434 w 5365133"/>
              <a:gd name="connsiteY10052" fmla="*/ 2518826 h 4367670"/>
              <a:gd name="connsiteX10053" fmla="*/ 4050434 w 5365133"/>
              <a:gd name="connsiteY10053" fmla="*/ 2524789 h 4367670"/>
              <a:gd name="connsiteX10054" fmla="*/ 4074347 w 5365133"/>
              <a:gd name="connsiteY10054" fmla="*/ 2512861 h 4367670"/>
              <a:gd name="connsiteX10055" fmla="*/ 4086303 w 5365133"/>
              <a:gd name="connsiteY10055" fmla="*/ 2518826 h 4367670"/>
              <a:gd name="connsiteX10056" fmla="*/ 4094709 w 5365133"/>
              <a:gd name="connsiteY10056" fmla="*/ 2511277 h 4367670"/>
              <a:gd name="connsiteX10057" fmla="*/ 4097799 w 5365133"/>
              <a:gd name="connsiteY10057" fmla="*/ 2507464 h 4367670"/>
              <a:gd name="connsiteX10058" fmla="*/ 4096765 w 5365133"/>
              <a:gd name="connsiteY10058" fmla="*/ 2510625 h 4367670"/>
              <a:gd name="connsiteX10059" fmla="*/ 4098259 w 5365133"/>
              <a:gd name="connsiteY10059" fmla="*/ 2506897 h 4367670"/>
              <a:gd name="connsiteX10060" fmla="*/ 4097799 w 5365133"/>
              <a:gd name="connsiteY10060" fmla="*/ 2507464 h 4367670"/>
              <a:gd name="connsiteX10061" fmla="*/ 4098259 w 5365133"/>
              <a:gd name="connsiteY10061" fmla="*/ 2506059 h 4367670"/>
              <a:gd name="connsiteX10062" fmla="*/ 4104237 w 5365133"/>
              <a:gd name="connsiteY10062" fmla="*/ 2500934 h 4367670"/>
              <a:gd name="connsiteX10063" fmla="*/ 4146082 w 5365133"/>
              <a:gd name="connsiteY10063" fmla="*/ 2494970 h 4367670"/>
              <a:gd name="connsiteX10064" fmla="*/ 4146082 w 5365133"/>
              <a:gd name="connsiteY10064" fmla="*/ 2489006 h 4367670"/>
              <a:gd name="connsiteX10065" fmla="*/ 4175972 w 5365133"/>
              <a:gd name="connsiteY10065" fmla="*/ 2477077 h 4367670"/>
              <a:gd name="connsiteX10066" fmla="*/ 4181950 w 5365133"/>
              <a:gd name="connsiteY10066" fmla="*/ 2489006 h 4367670"/>
              <a:gd name="connsiteX10067" fmla="*/ 4181950 w 5365133"/>
              <a:gd name="connsiteY10067" fmla="*/ 2494970 h 4367670"/>
              <a:gd name="connsiteX10068" fmla="*/ 4175972 w 5365133"/>
              <a:gd name="connsiteY10068" fmla="*/ 2500934 h 4367670"/>
              <a:gd name="connsiteX10069" fmla="*/ 4169994 w 5365133"/>
              <a:gd name="connsiteY10069" fmla="*/ 2500934 h 4367670"/>
              <a:gd name="connsiteX10070" fmla="*/ 4169994 w 5365133"/>
              <a:gd name="connsiteY10070" fmla="*/ 2489006 h 4367670"/>
              <a:gd name="connsiteX10071" fmla="*/ 4164016 w 5365133"/>
              <a:gd name="connsiteY10071" fmla="*/ 2494970 h 4367670"/>
              <a:gd name="connsiteX10072" fmla="*/ 4152061 w 5365133"/>
              <a:gd name="connsiteY10072" fmla="*/ 2494970 h 4367670"/>
              <a:gd name="connsiteX10073" fmla="*/ 4140104 w 5365133"/>
              <a:gd name="connsiteY10073" fmla="*/ 2500934 h 4367670"/>
              <a:gd name="connsiteX10074" fmla="*/ 4128149 w 5365133"/>
              <a:gd name="connsiteY10074" fmla="*/ 2506897 h 4367670"/>
              <a:gd name="connsiteX10075" fmla="*/ 4122172 w 5365133"/>
              <a:gd name="connsiteY10075" fmla="*/ 2512861 h 4367670"/>
              <a:gd name="connsiteX10076" fmla="*/ 4115113 w 5365133"/>
              <a:gd name="connsiteY10076" fmla="*/ 2513741 h 4367670"/>
              <a:gd name="connsiteX10077" fmla="*/ 4114698 w 5365133"/>
              <a:gd name="connsiteY10077" fmla="*/ 2513607 h 4367670"/>
              <a:gd name="connsiteX10078" fmla="*/ 4114750 w 5365133"/>
              <a:gd name="connsiteY10078" fmla="*/ 2513786 h 4367670"/>
              <a:gd name="connsiteX10079" fmla="*/ 4110215 w 5365133"/>
              <a:gd name="connsiteY10079" fmla="*/ 2514352 h 4367670"/>
              <a:gd name="connsiteX10080" fmla="*/ 4098259 w 5365133"/>
              <a:gd name="connsiteY10080" fmla="*/ 2524789 h 4367670"/>
              <a:gd name="connsiteX10081" fmla="*/ 4074347 w 5365133"/>
              <a:gd name="connsiteY10081" fmla="*/ 2530753 h 4367670"/>
              <a:gd name="connsiteX10082" fmla="*/ 4062390 w 5365133"/>
              <a:gd name="connsiteY10082" fmla="*/ 2554610 h 4367670"/>
              <a:gd name="connsiteX10083" fmla="*/ 4056412 w 5365133"/>
              <a:gd name="connsiteY10083" fmla="*/ 2536717 h 4367670"/>
              <a:gd name="connsiteX10084" fmla="*/ 4038479 w 5365133"/>
              <a:gd name="connsiteY10084" fmla="*/ 2536717 h 4367670"/>
              <a:gd name="connsiteX10085" fmla="*/ 4038479 w 5365133"/>
              <a:gd name="connsiteY10085" fmla="*/ 2548646 h 4367670"/>
              <a:gd name="connsiteX10086" fmla="*/ 4008588 w 5365133"/>
              <a:gd name="connsiteY10086" fmla="*/ 2578466 h 4367670"/>
              <a:gd name="connsiteX10087" fmla="*/ 4002610 w 5365133"/>
              <a:gd name="connsiteY10087" fmla="*/ 2560573 h 4367670"/>
              <a:gd name="connsiteX10088" fmla="*/ 3996633 w 5365133"/>
              <a:gd name="connsiteY10088" fmla="*/ 2566537 h 4367670"/>
              <a:gd name="connsiteX10089" fmla="*/ 3996633 w 5365133"/>
              <a:gd name="connsiteY10089" fmla="*/ 2584429 h 4367670"/>
              <a:gd name="connsiteX10090" fmla="*/ 4020544 w 5365133"/>
              <a:gd name="connsiteY10090" fmla="*/ 2578466 h 4367670"/>
              <a:gd name="connsiteX10091" fmla="*/ 4020544 w 5365133"/>
              <a:gd name="connsiteY10091" fmla="*/ 2590393 h 4367670"/>
              <a:gd name="connsiteX10092" fmla="*/ 4038479 w 5365133"/>
              <a:gd name="connsiteY10092" fmla="*/ 2566537 h 4367670"/>
              <a:gd name="connsiteX10093" fmla="*/ 4056412 w 5365133"/>
              <a:gd name="connsiteY10093" fmla="*/ 2560573 h 4367670"/>
              <a:gd name="connsiteX10094" fmla="*/ 4056412 w 5365133"/>
              <a:gd name="connsiteY10094" fmla="*/ 2578466 h 4367670"/>
              <a:gd name="connsiteX10095" fmla="*/ 4098259 w 5365133"/>
              <a:gd name="connsiteY10095" fmla="*/ 2542680 h 4367670"/>
              <a:gd name="connsiteX10096" fmla="*/ 4098259 w 5365133"/>
              <a:gd name="connsiteY10096" fmla="*/ 2554610 h 4367670"/>
              <a:gd name="connsiteX10097" fmla="*/ 4110215 w 5365133"/>
              <a:gd name="connsiteY10097" fmla="*/ 2566537 h 4367670"/>
              <a:gd name="connsiteX10098" fmla="*/ 4116193 w 5365133"/>
              <a:gd name="connsiteY10098" fmla="*/ 2548646 h 4367670"/>
              <a:gd name="connsiteX10099" fmla="*/ 4104237 w 5365133"/>
              <a:gd name="connsiteY10099" fmla="*/ 2548646 h 4367670"/>
              <a:gd name="connsiteX10100" fmla="*/ 4116193 w 5365133"/>
              <a:gd name="connsiteY10100" fmla="*/ 2536717 h 4367670"/>
              <a:gd name="connsiteX10101" fmla="*/ 4128149 w 5365133"/>
              <a:gd name="connsiteY10101" fmla="*/ 2554610 h 4367670"/>
              <a:gd name="connsiteX10102" fmla="*/ 4152061 w 5365133"/>
              <a:gd name="connsiteY10102" fmla="*/ 2542680 h 4367670"/>
              <a:gd name="connsiteX10103" fmla="*/ 4146082 w 5365133"/>
              <a:gd name="connsiteY10103" fmla="*/ 2530753 h 4367670"/>
              <a:gd name="connsiteX10104" fmla="*/ 4158038 w 5365133"/>
              <a:gd name="connsiteY10104" fmla="*/ 2524789 h 4367670"/>
              <a:gd name="connsiteX10105" fmla="*/ 4158038 w 5365133"/>
              <a:gd name="connsiteY10105" fmla="*/ 2536717 h 4367670"/>
              <a:gd name="connsiteX10106" fmla="*/ 4164016 w 5365133"/>
              <a:gd name="connsiteY10106" fmla="*/ 2524789 h 4367670"/>
              <a:gd name="connsiteX10107" fmla="*/ 4199885 w 5365133"/>
              <a:gd name="connsiteY10107" fmla="*/ 2512861 h 4367670"/>
              <a:gd name="connsiteX10108" fmla="*/ 4205863 w 5365133"/>
              <a:gd name="connsiteY10108" fmla="*/ 2524789 h 4367670"/>
              <a:gd name="connsiteX10109" fmla="*/ 4205863 w 5365133"/>
              <a:gd name="connsiteY10109" fmla="*/ 2512861 h 4367670"/>
              <a:gd name="connsiteX10110" fmla="*/ 4229775 w 5365133"/>
              <a:gd name="connsiteY10110" fmla="*/ 2518826 h 4367670"/>
              <a:gd name="connsiteX10111" fmla="*/ 4211094 w 5365133"/>
              <a:gd name="connsiteY10111" fmla="*/ 2523298 h 4367670"/>
              <a:gd name="connsiteX10112" fmla="*/ 4207414 w 5365133"/>
              <a:gd name="connsiteY10112" fmla="*/ 2532742 h 4367670"/>
              <a:gd name="connsiteX10113" fmla="*/ 4205863 w 5365133"/>
              <a:gd name="connsiteY10113" fmla="*/ 2530753 h 4367670"/>
              <a:gd name="connsiteX10114" fmla="*/ 4205863 w 5365133"/>
              <a:gd name="connsiteY10114" fmla="*/ 2536717 h 4367670"/>
              <a:gd name="connsiteX10115" fmla="*/ 4207414 w 5365133"/>
              <a:gd name="connsiteY10115" fmla="*/ 2532742 h 4367670"/>
              <a:gd name="connsiteX10116" fmla="*/ 4211094 w 5365133"/>
              <a:gd name="connsiteY10116" fmla="*/ 2537463 h 4367670"/>
              <a:gd name="connsiteX10117" fmla="*/ 4211841 w 5365133"/>
              <a:gd name="connsiteY10117" fmla="*/ 2548646 h 4367670"/>
              <a:gd name="connsiteX10118" fmla="*/ 4235753 w 5365133"/>
              <a:gd name="connsiteY10118" fmla="*/ 2524789 h 4367670"/>
              <a:gd name="connsiteX10119" fmla="*/ 4253688 w 5365133"/>
              <a:gd name="connsiteY10119" fmla="*/ 2542680 h 4367670"/>
              <a:gd name="connsiteX10120" fmla="*/ 4122172 w 5365133"/>
              <a:gd name="connsiteY10120" fmla="*/ 2590393 h 4367670"/>
              <a:gd name="connsiteX10121" fmla="*/ 4122172 w 5365133"/>
              <a:gd name="connsiteY10121" fmla="*/ 2602322 h 4367670"/>
              <a:gd name="connsiteX10122" fmla="*/ 4086303 w 5365133"/>
              <a:gd name="connsiteY10122" fmla="*/ 2602322 h 4367670"/>
              <a:gd name="connsiteX10123" fmla="*/ 4086303 w 5365133"/>
              <a:gd name="connsiteY10123" fmla="*/ 2614249 h 4367670"/>
              <a:gd name="connsiteX10124" fmla="*/ 4068368 w 5365133"/>
              <a:gd name="connsiteY10124" fmla="*/ 2614249 h 4367670"/>
              <a:gd name="connsiteX10125" fmla="*/ 3924896 w 5365133"/>
              <a:gd name="connsiteY10125" fmla="*/ 2667926 h 4367670"/>
              <a:gd name="connsiteX10126" fmla="*/ 3877072 w 5365133"/>
              <a:gd name="connsiteY10126" fmla="*/ 2679853 h 4367670"/>
              <a:gd name="connsiteX10127" fmla="*/ 3883050 w 5365133"/>
              <a:gd name="connsiteY10127" fmla="*/ 2691782 h 4367670"/>
              <a:gd name="connsiteX10128" fmla="*/ 3841205 w 5365133"/>
              <a:gd name="connsiteY10128" fmla="*/ 2709673 h 4367670"/>
              <a:gd name="connsiteX10129" fmla="*/ 3847183 w 5365133"/>
              <a:gd name="connsiteY10129" fmla="*/ 2721602 h 4367670"/>
              <a:gd name="connsiteX10130" fmla="*/ 3859139 w 5365133"/>
              <a:gd name="connsiteY10130" fmla="*/ 2715638 h 4367670"/>
              <a:gd name="connsiteX10131" fmla="*/ 3900984 w 5365133"/>
              <a:gd name="connsiteY10131" fmla="*/ 2685819 h 4367670"/>
              <a:gd name="connsiteX10132" fmla="*/ 3906963 w 5365133"/>
              <a:gd name="connsiteY10132" fmla="*/ 2697746 h 4367670"/>
              <a:gd name="connsiteX10133" fmla="*/ 3924896 w 5365133"/>
              <a:gd name="connsiteY10133" fmla="*/ 2685819 h 4367670"/>
              <a:gd name="connsiteX10134" fmla="*/ 4020544 w 5365133"/>
              <a:gd name="connsiteY10134" fmla="*/ 2650033 h 4367670"/>
              <a:gd name="connsiteX10135" fmla="*/ 4020544 w 5365133"/>
              <a:gd name="connsiteY10135" fmla="*/ 2638106 h 4367670"/>
              <a:gd name="connsiteX10136" fmla="*/ 4038479 w 5365133"/>
              <a:gd name="connsiteY10136" fmla="*/ 2632142 h 4367670"/>
              <a:gd name="connsiteX10137" fmla="*/ 4164016 w 5365133"/>
              <a:gd name="connsiteY10137" fmla="*/ 2584429 h 4367670"/>
              <a:gd name="connsiteX10138" fmla="*/ 4181950 w 5365133"/>
              <a:gd name="connsiteY10138" fmla="*/ 2584429 h 4367670"/>
              <a:gd name="connsiteX10139" fmla="*/ 4187928 w 5365133"/>
              <a:gd name="connsiteY10139" fmla="*/ 2572502 h 4367670"/>
              <a:gd name="connsiteX10140" fmla="*/ 4277599 w 5365133"/>
              <a:gd name="connsiteY10140" fmla="*/ 2542680 h 4367670"/>
              <a:gd name="connsiteX10141" fmla="*/ 4193907 w 5365133"/>
              <a:gd name="connsiteY10141" fmla="*/ 2584429 h 4367670"/>
              <a:gd name="connsiteX10142" fmla="*/ 4187928 w 5365133"/>
              <a:gd name="connsiteY10142" fmla="*/ 2602322 h 4367670"/>
              <a:gd name="connsiteX10143" fmla="*/ 4247710 w 5365133"/>
              <a:gd name="connsiteY10143" fmla="*/ 2578466 h 4367670"/>
              <a:gd name="connsiteX10144" fmla="*/ 4247238 w 5365133"/>
              <a:gd name="connsiteY10144" fmla="*/ 2577052 h 4367670"/>
              <a:gd name="connsiteX10145" fmla="*/ 4267885 w 5365133"/>
              <a:gd name="connsiteY10145" fmla="*/ 2571756 h 4367670"/>
              <a:gd name="connsiteX10146" fmla="*/ 4289554 w 5365133"/>
              <a:gd name="connsiteY10146" fmla="*/ 2560573 h 4367670"/>
              <a:gd name="connsiteX10147" fmla="*/ 4277599 w 5365133"/>
              <a:gd name="connsiteY10147" fmla="*/ 2548646 h 4367670"/>
              <a:gd name="connsiteX10148" fmla="*/ 4283577 w 5365133"/>
              <a:gd name="connsiteY10148" fmla="*/ 2542680 h 4367670"/>
              <a:gd name="connsiteX10149" fmla="*/ 4319445 w 5365133"/>
              <a:gd name="connsiteY10149" fmla="*/ 2524789 h 4367670"/>
              <a:gd name="connsiteX10150" fmla="*/ 4313467 w 5365133"/>
              <a:gd name="connsiteY10150" fmla="*/ 2542680 h 4367670"/>
              <a:gd name="connsiteX10151" fmla="*/ 4289554 w 5365133"/>
              <a:gd name="connsiteY10151" fmla="*/ 2542680 h 4367670"/>
              <a:gd name="connsiteX10152" fmla="*/ 4289554 w 5365133"/>
              <a:gd name="connsiteY10152" fmla="*/ 2554610 h 4367670"/>
              <a:gd name="connsiteX10153" fmla="*/ 4319445 w 5365133"/>
              <a:gd name="connsiteY10153" fmla="*/ 2542680 h 4367670"/>
              <a:gd name="connsiteX10154" fmla="*/ 4343357 w 5365133"/>
              <a:gd name="connsiteY10154" fmla="*/ 2536717 h 4367670"/>
              <a:gd name="connsiteX10155" fmla="*/ 4337792 w 5365133"/>
              <a:gd name="connsiteY10155" fmla="*/ 2529931 h 4367670"/>
              <a:gd name="connsiteX10156" fmla="*/ 4343357 w 5365133"/>
              <a:gd name="connsiteY10156" fmla="*/ 2518826 h 4367670"/>
              <a:gd name="connsiteX10157" fmla="*/ 4427048 w 5365133"/>
              <a:gd name="connsiteY10157" fmla="*/ 2494970 h 4367670"/>
              <a:gd name="connsiteX10158" fmla="*/ 4427048 w 5365133"/>
              <a:gd name="connsiteY10158" fmla="*/ 2506897 h 4367670"/>
              <a:gd name="connsiteX10159" fmla="*/ 4444983 w 5365133"/>
              <a:gd name="connsiteY10159" fmla="*/ 2500934 h 4367670"/>
              <a:gd name="connsiteX10160" fmla="*/ 4444983 w 5365133"/>
              <a:gd name="connsiteY10160" fmla="*/ 2489006 h 4367670"/>
              <a:gd name="connsiteX10161" fmla="*/ 4480852 w 5365133"/>
              <a:gd name="connsiteY10161" fmla="*/ 2483041 h 4367670"/>
              <a:gd name="connsiteX10162" fmla="*/ 4486830 w 5365133"/>
              <a:gd name="connsiteY10162" fmla="*/ 2471113 h 4367670"/>
              <a:gd name="connsiteX10163" fmla="*/ 4486830 w 5365133"/>
              <a:gd name="connsiteY10163" fmla="*/ 2483041 h 4367670"/>
              <a:gd name="connsiteX10164" fmla="*/ 4492808 w 5365133"/>
              <a:gd name="connsiteY10164" fmla="*/ 2483041 h 4367670"/>
              <a:gd name="connsiteX10165" fmla="*/ 4492808 w 5365133"/>
              <a:gd name="connsiteY10165" fmla="*/ 2471113 h 4367670"/>
              <a:gd name="connsiteX10166" fmla="*/ 4522697 w 5365133"/>
              <a:gd name="connsiteY10166" fmla="*/ 2465149 h 4367670"/>
              <a:gd name="connsiteX10167" fmla="*/ 4510742 w 5365133"/>
              <a:gd name="connsiteY10167" fmla="*/ 2471113 h 4367670"/>
              <a:gd name="connsiteX10168" fmla="*/ 4514696 w 5365133"/>
              <a:gd name="connsiteY10168" fmla="*/ 2474729 h 4367670"/>
              <a:gd name="connsiteX10169" fmla="*/ 4514477 w 5365133"/>
              <a:gd name="connsiteY10169" fmla="*/ 2474841 h 4367670"/>
              <a:gd name="connsiteX10170" fmla="*/ 4510742 w 5365133"/>
              <a:gd name="connsiteY10170" fmla="*/ 2477077 h 4367670"/>
              <a:gd name="connsiteX10171" fmla="*/ 4510742 w 5365133"/>
              <a:gd name="connsiteY10171" fmla="*/ 2489006 h 4367670"/>
              <a:gd name="connsiteX10172" fmla="*/ 4504764 w 5365133"/>
              <a:gd name="connsiteY10172" fmla="*/ 2483041 h 4367670"/>
              <a:gd name="connsiteX10173" fmla="*/ 4474873 w 5365133"/>
              <a:gd name="connsiteY10173" fmla="*/ 2489006 h 4367670"/>
              <a:gd name="connsiteX10174" fmla="*/ 4444983 w 5365133"/>
              <a:gd name="connsiteY10174" fmla="*/ 2518826 h 4367670"/>
              <a:gd name="connsiteX10175" fmla="*/ 4433027 w 5365133"/>
              <a:gd name="connsiteY10175" fmla="*/ 2506897 h 4367670"/>
              <a:gd name="connsiteX10176" fmla="*/ 4430785 w 5365133"/>
              <a:gd name="connsiteY10176" fmla="*/ 2515843 h 4367670"/>
              <a:gd name="connsiteX10177" fmla="*/ 4432279 w 5365133"/>
              <a:gd name="connsiteY10177" fmla="*/ 2521808 h 4367670"/>
              <a:gd name="connsiteX10178" fmla="*/ 4427048 w 5365133"/>
              <a:gd name="connsiteY10178" fmla="*/ 2518826 h 4367670"/>
              <a:gd name="connsiteX10179" fmla="*/ 4427048 w 5365133"/>
              <a:gd name="connsiteY10179" fmla="*/ 2524789 h 4367670"/>
              <a:gd name="connsiteX10180" fmla="*/ 4415092 w 5365133"/>
              <a:gd name="connsiteY10180" fmla="*/ 2524789 h 4367670"/>
              <a:gd name="connsiteX10181" fmla="*/ 4403137 w 5365133"/>
              <a:gd name="connsiteY10181" fmla="*/ 2536717 h 4367670"/>
              <a:gd name="connsiteX10182" fmla="*/ 4397159 w 5365133"/>
              <a:gd name="connsiteY10182" fmla="*/ 2530753 h 4367670"/>
              <a:gd name="connsiteX10183" fmla="*/ 4397159 w 5365133"/>
              <a:gd name="connsiteY10183" fmla="*/ 2536717 h 4367670"/>
              <a:gd name="connsiteX10184" fmla="*/ 4385202 w 5365133"/>
              <a:gd name="connsiteY10184" fmla="*/ 2536717 h 4367670"/>
              <a:gd name="connsiteX10185" fmla="*/ 4379226 w 5365133"/>
              <a:gd name="connsiteY10185" fmla="*/ 2548646 h 4367670"/>
              <a:gd name="connsiteX10186" fmla="*/ 4343357 w 5365133"/>
              <a:gd name="connsiteY10186" fmla="*/ 2548646 h 4367670"/>
              <a:gd name="connsiteX10187" fmla="*/ 4337379 w 5365133"/>
              <a:gd name="connsiteY10187" fmla="*/ 2560573 h 4367670"/>
              <a:gd name="connsiteX10188" fmla="*/ 4343357 w 5365133"/>
              <a:gd name="connsiteY10188" fmla="*/ 2566537 h 4367670"/>
              <a:gd name="connsiteX10189" fmla="*/ 4331401 w 5365133"/>
              <a:gd name="connsiteY10189" fmla="*/ 2560573 h 4367670"/>
              <a:gd name="connsiteX10190" fmla="*/ 4331401 w 5365133"/>
              <a:gd name="connsiteY10190" fmla="*/ 2572502 h 4367670"/>
              <a:gd name="connsiteX10191" fmla="*/ 4325423 w 5365133"/>
              <a:gd name="connsiteY10191" fmla="*/ 2560573 h 4367670"/>
              <a:gd name="connsiteX10192" fmla="*/ 4319445 w 5365133"/>
              <a:gd name="connsiteY10192" fmla="*/ 2560573 h 4367670"/>
              <a:gd name="connsiteX10193" fmla="*/ 4301510 w 5365133"/>
              <a:gd name="connsiteY10193" fmla="*/ 2584429 h 4367670"/>
              <a:gd name="connsiteX10194" fmla="*/ 4283577 w 5365133"/>
              <a:gd name="connsiteY10194" fmla="*/ 2584429 h 4367670"/>
              <a:gd name="connsiteX10195" fmla="*/ 4271620 w 5365133"/>
              <a:gd name="connsiteY10195" fmla="*/ 2572502 h 4367670"/>
              <a:gd name="connsiteX10196" fmla="*/ 4253688 w 5365133"/>
              <a:gd name="connsiteY10196" fmla="*/ 2596357 h 4367670"/>
              <a:gd name="connsiteX10197" fmla="*/ 4259666 w 5365133"/>
              <a:gd name="connsiteY10197" fmla="*/ 2602322 h 4367670"/>
              <a:gd name="connsiteX10198" fmla="*/ 4175972 w 5365133"/>
              <a:gd name="connsiteY10198" fmla="*/ 2632142 h 4367670"/>
              <a:gd name="connsiteX10199" fmla="*/ 4116193 w 5365133"/>
              <a:gd name="connsiteY10199" fmla="*/ 2661962 h 4367670"/>
              <a:gd name="connsiteX10200" fmla="*/ 4122172 w 5365133"/>
              <a:gd name="connsiteY10200" fmla="*/ 2667926 h 4367670"/>
              <a:gd name="connsiteX10201" fmla="*/ 4110215 w 5365133"/>
              <a:gd name="connsiteY10201" fmla="*/ 2673889 h 4367670"/>
              <a:gd name="connsiteX10202" fmla="*/ 4110215 w 5365133"/>
              <a:gd name="connsiteY10202" fmla="*/ 2667926 h 4367670"/>
              <a:gd name="connsiteX10203" fmla="*/ 4086303 w 5365133"/>
              <a:gd name="connsiteY10203" fmla="*/ 2685819 h 4367670"/>
              <a:gd name="connsiteX10204" fmla="*/ 4128149 w 5365133"/>
              <a:gd name="connsiteY10204" fmla="*/ 2667926 h 4367670"/>
              <a:gd name="connsiteX10205" fmla="*/ 4134125 w 5365133"/>
              <a:gd name="connsiteY10205" fmla="*/ 2673889 h 4367670"/>
              <a:gd name="connsiteX10206" fmla="*/ 4146082 w 5365133"/>
              <a:gd name="connsiteY10206" fmla="*/ 2667926 h 4367670"/>
              <a:gd name="connsiteX10207" fmla="*/ 4146082 w 5365133"/>
              <a:gd name="connsiteY10207" fmla="*/ 2655998 h 4367670"/>
              <a:gd name="connsiteX10208" fmla="*/ 4175972 w 5365133"/>
              <a:gd name="connsiteY10208" fmla="*/ 2655998 h 4367670"/>
              <a:gd name="connsiteX10209" fmla="*/ 4181950 w 5365133"/>
              <a:gd name="connsiteY10209" fmla="*/ 2650033 h 4367670"/>
              <a:gd name="connsiteX10210" fmla="*/ 4175972 w 5365133"/>
              <a:gd name="connsiteY10210" fmla="*/ 2650033 h 4367670"/>
              <a:gd name="connsiteX10211" fmla="*/ 4229775 w 5365133"/>
              <a:gd name="connsiteY10211" fmla="*/ 2632142 h 4367670"/>
              <a:gd name="connsiteX10212" fmla="*/ 4229775 w 5365133"/>
              <a:gd name="connsiteY10212" fmla="*/ 2644069 h 4367670"/>
              <a:gd name="connsiteX10213" fmla="*/ 4235753 w 5365133"/>
              <a:gd name="connsiteY10213" fmla="*/ 2638106 h 4367670"/>
              <a:gd name="connsiteX10214" fmla="*/ 4235753 w 5365133"/>
              <a:gd name="connsiteY10214" fmla="*/ 2626177 h 4367670"/>
              <a:gd name="connsiteX10215" fmla="*/ 4241732 w 5365133"/>
              <a:gd name="connsiteY10215" fmla="*/ 2620213 h 4367670"/>
              <a:gd name="connsiteX10216" fmla="*/ 4265642 w 5365133"/>
              <a:gd name="connsiteY10216" fmla="*/ 2608286 h 4367670"/>
              <a:gd name="connsiteX10217" fmla="*/ 4271620 w 5365133"/>
              <a:gd name="connsiteY10217" fmla="*/ 2620213 h 4367670"/>
              <a:gd name="connsiteX10218" fmla="*/ 4301510 w 5365133"/>
              <a:gd name="connsiteY10218" fmla="*/ 2602322 h 4367670"/>
              <a:gd name="connsiteX10219" fmla="*/ 4319445 w 5365133"/>
              <a:gd name="connsiteY10219" fmla="*/ 2602322 h 4367670"/>
              <a:gd name="connsiteX10220" fmla="*/ 4325423 w 5365133"/>
              <a:gd name="connsiteY10220" fmla="*/ 2584429 h 4367670"/>
              <a:gd name="connsiteX10221" fmla="*/ 4325423 w 5365133"/>
              <a:gd name="connsiteY10221" fmla="*/ 2602322 h 4367670"/>
              <a:gd name="connsiteX10222" fmla="*/ 4331401 w 5365133"/>
              <a:gd name="connsiteY10222" fmla="*/ 2584429 h 4367670"/>
              <a:gd name="connsiteX10223" fmla="*/ 4344852 w 5365133"/>
              <a:gd name="connsiteY10223" fmla="*/ 2595612 h 4367670"/>
              <a:gd name="connsiteX10224" fmla="*/ 4366858 w 5365133"/>
              <a:gd name="connsiteY10224" fmla="*/ 2584636 h 4367670"/>
              <a:gd name="connsiteX10225" fmla="*/ 4367270 w 5365133"/>
              <a:gd name="connsiteY10225" fmla="*/ 2590393 h 4367670"/>
              <a:gd name="connsiteX10226" fmla="*/ 4385202 w 5365133"/>
              <a:gd name="connsiteY10226" fmla="*/ 2572502 h 4367670"/>
              <a:gd name="connsiteX10227" fmla="*/ 4391180 w 5365133"/>
              <a:gd name="connsiteY10227" fmla="*/ 2584429 h 4367670"/>
              <a:gd name="connsiteX10228" fmla="*/ 4421070 w 5365133"/>
              <a:gd name="connsiteY10228" fmla="*/ 2560573 h 4367670"/>
              <a:gd name="connsiteX10229" fmla="*/ 4415092 w 5365133"/>
              <a:gd name="connsiteY10229" fmla="*/ 2554610 h 4367670"/>
              <a:gd name="connsiteX10230" fmla="*/ 4409114 w 5365133"/>
              <a:gd name="connsiteY10230" fmla="*/ 2566537 h 4367670"/>
              <a:gd name="connsiteX10231" fmla="*/ 4415092 w 5365133"/>
              <a:gd name="connsiteY10231" fmla="*/ 2548646 h 4367670"/>
              <a:gd name="connsiteX10232" fmla="*/ 4427048 w 5365133"/>
              <a:gd name="connsiteY10232" fmla="*/ 2554610 h 4367670"/>
              <a:gd name="connsiteX10233" fmla="*/ 4421070 w 5365133"/>
              <a:gd name="connsiteY10233" fmla="*/ 2566537 h 4367670"/>
              <a:gd name="connsiteX10234" fmla="*/ 4439005 w 5365133"/>
              <a:gd name="connsiteY10234" fmla="*/ 2554610 h 4367670"/>
              <a:gd name="connsiteX10235" fmla="*/ 4444983 w 5365133"/>
              <a:gd name="connsiteY10235" fmla="*/ 2542680 h 4367670"/>
              <a:gd name="connsiteX10236" fmla="*/ 4444983 w 5365133"/>
              <a:gd name="connsiteY10236" fmla="*/ 2554610 h 4367670"/>
              <a:gd name="connsiteX10237" fmla="*/ 4456939 w 5365133"/>
              <a:gd name="connsiteY10237" fmla="*/ 2548646 h 4367670"/>
              <a:gd name="connsiteX10238" fmla="*/ 4456939 w 5365133"/>
              <a:gd name="connsiteY10238" fmla="*/ 2536717 h 4367670"/>
              <a:gd name="connsiteX10239" fmla="*/ 4462917 w 5365133"/>
              <a:gd name="connsiteY10239" fmla="*/ 2536717 h 4367670"/>
              <a:gd name="connsiteX10240" fmla="*/ 4462917 w 5365133"/>
              <a:gd name="connsiteY10240" fmla="*/ 2542680 h 4367670"/>
              <a:gd name="connsiteX10241" fmla="*/ 4474873 w 5365133"/>
              <a:gd name="connsiteY10241" fmla="*/ 2548646 h 4367670"/>
              <a:gd name="connsiteX10242" fmla="*/ 4468895 w 5365133"/>
              <a:gd name="connsiteY10242" fmla="*/ 2542680 h 4367670"/>
              <a:gd name="connsiteX10243" fmla="*/ 4474873 w 5365133"/>
              <a:gd name="connsiteY10243" fmla="*/ 2536717 h 4367670"/>
              <a:gd name="connsiteX10244" fmla="*/ 4479356 w 5365133"/>
              <a:gd name="connsiteY10244" fmla="*/ 2543077 h 4367670"/>
              <a:gd name="connsiteX10245" fmla="*/ 4510742 w 5365133"/>
              <a:gd name="connsiteY10245" fmla="*/ 2536717 h 4367670"/>
              <a:gd name="connsiteX10246" fmla="*/ 4522697 w 5365133"/>
              <a:gd name="connsiteY10246" fmla="*/ 2524789 h 4367670"/>
              <a:gd name="connsiteX10247" fmla="*/ 4528674 w 5365133"/>
              <a:gd name="connsiteY10247" fmla="*/ 2524789 h 4367670"/>
              <a:gd name="connsiteX10248" fmla="*/ 4528674 w 5365133"/>
              <a:gd name="connsiteY10248" fmla="*/ 2518826 h 4367670"/>
              <a:gd name="connsiteX10249" fmla="*/ 4528674 w 5365133"/>
              <a:gd name="connsiteY10249" fmla="*/ 2512861 h 4367670"/>
              <a:gd name="connsiteX10250" fmla="*/ 4540630 w 5365133"/>
              <a:gd name="connsiteY10250" fmla="*/ 2506897 h 4367670"/>
              <a:gd name="connsiteX10251" fmla="*/ 4546608 w 5365133"/>
              <a:gd name="connsiteY10251" fmla="*/ 2512861 h 4367670"/>
              <a:gd name="connsiteX10252" fmla="*/ 4558565 w 5365133"/>
              <a:gd name="connsiteY10252" fmla="*/ 2518826 h 4367670"/>
              <a:gd name="connsiteX10253" fmla="*/ 4555640 w 5365133"/>
              <a:gd name="connsiteY10253" fmla="*/ 2507152 h 4367670"/>
              <a:gd name="connsiteX10254" fmla="*/ 4564543 w 5365133"/>
              <a:gd name="connsiteY10254" fmla="*/ 2512861 h 4367670"/>
              <a:gd name="connsiteX10255" fmla="*/ 4564543 w 5365133"/>
              <a:gd name="connsiteY10255" fmla="*/ 2494970 h 4367670"/>
              <a:gd name="connsiteX10256" fmla="*/ 4576499 w 5365133"/>
              <a:gd name="connsiteY10256" fmla="*/ 2506897 h 4367670"/>
              <a:gd name="connsiteX10257" fmla="*/ 4581730 w 5365133"/>
              <a:gd name="connsiteY10257" fmla="*/ 2498697 h 4367670"/>
              <a:gd name="connsiteX10258" fmla="*/ 4583907 w 5365133"/>
              <a:gd name="connsiteY10258" fmla="*/ 2496177 h 4367670"/>
              <a:gd name="connsiteX10259" fmla="*/ 4582477 w 5365133"/>
              <a:gd name="connsiteY10259" fmla="*/ 2500934 h 4367670"/>
              <a:gd name="connsiteX10260" fmla="*/ 4588455 w 5365133"/>
              <a:gd name="connsiteY10260" fmla="*/ 2489006 h 4367670"/>
              <a:gd name="connsiteX10261" fmla="*/ 4600412 w 5365133"/>
              <a:gd name="connsiteY10261" fmla="*/ 2494970 h 4367670"/>
              <a:gd name="connsiteX10262" fmla="*/ 4624324 w 5365133"/>
              <a:gd name="connsiteY10262" fmla="*/ 2489006 h 4367670"/>
              <a:gd name="connsiteX10263" fmla="*/ 4626263 w 5365133"/>
              <a:gd name="connsiteY10263" fmla="*/ 2494164 h 4367670"/>
              <a:gd name="connsiteX10264" fmla="*/ 4624324 w 5365133"/>
              <a:gd name="connsiteY10264" fmla="*/ 2500934 h 4367670"/>
              <a:gd name="connsiteX10265" fmla="*/ 4626566 w 5365133"/>
              <a:gd name="connsiteY10265" fmla="*/ 2494970 h 4367670"/>
              <a:gd name="connsiteX10266" fmla="*/ 4626263 w 5365133"/>
              <a:gd name="connsiteY10266" fmla="*/ 2494164 h 4367670"/>
              <a:gd name="connsiteX10267" fmla="*/ 4627313 w 5365133"/>
              <a:gd name="connsiteY10267" fmla="*/ 2490497 h 4367670"/>
              <a:gd name="connsiteX10268" fmla="*/ 4630302 w 5365133"/>
              <a:gd name="connsiteY10268" fmla="*/ 2489006 h 4367670"/>
              <a:gd name="connsiteX10269" fmla="*/ 4624324 w 5365133"/>
              <a:gd name="connsiteY10269" fmla="*/ 2483041 h 4367670"/>
              <a:gd name="connsiteX10270" fmla="*/ 4761818 w 5365133"/>
              <a:gd name="connsiteY10270" fmla="*/ 2429364 h 4367670"/>
              <a:gd name="connsiteX10271" fmla="*/ 4761818 w 5365133"/>
              <a:gd name="connsiteY10271" fmla="*/ 2447257 h 4367670"/>
              <a:gd name="connsiteX10272" fmla="*/ 4761818 w 5365133"/>
              <a:gd name="connsiteY10272" fmla="*/ 2435330 h 4367670"/>
              <a:gd name="connsiteX10273" fmla="*/ 4708015 w 5365133"/>
              <a:gd name="connsiteY10273" fmla="*/ 2471113 h 4367670"/>
              <a:gd name="connsiteX10274" fmla="*/ 4690081 w 5365133"/>
              <a:gd name="connsiteY10274" fmla="*/ 2465149 h 4367670"/>
              <a:gd name="connsiteX10275" fmla="*/ 4686097 w 5365133"/>
              <a:gd name="connsiteY10275" fmla="*/ 2483041 h 4367670"/>
              <a:gd name="connsiteX10276" fmla="*/ 4684103 w 5365133"/>
              <a:gd name="connsiteY10276" fmla="*/ 2483041 h 4367670"/>
              <a:gd name="connsiteX10277" fmla="*/ 4678125 w 5365133"/>
              <a:gd name="connsiteY10277" fmla="*/ 2471113 h 4367670"/>
              <a:gd name="connsiteX10278" fmla="*/ 4672147 w 5365133"/>
              <a:gd name="connsiteY10278" fmla="*/ 2483041 h 4367670"/>
              <a:gd name="connsiteX10279" fmla="*/ 4648234 w 5365133"/>
              <a:gd name="connsiteY10279" fmla="*/ 2500934 h 4367670"/>
              <a:gd name="connsiteX10280" fmla="*/ 4660190 w 5365133"/>
              <a:gd name="connsiteY10280" fmla="*/ 2506897 h 4367670"/>
              <a:gd name="connsiteX10281" fmla="*/ 4582477 w 5365133"/>
              <a:gd name="connsiteY10281" fmla="*/ 2548646 h 4367670"/>
              <a:gd name="connsiteX10282" fmla="*/ 4576499 w 5365133"/>
              <a:gd name="connsiteY10282" fmla="*/ 2530753 h 4367670"/>
              <a:gd name="connsiteX10283" fmla="*/ 4576499 w 5365133"/>
              <a:gd name="connsiteY10283" fmla="*/ 2542680 h 4367670"/>
              <a:gd name="connsiteX10284" fmla="*/ 4534652 w 5365133"/>
              <a:gd name="connsiteY10284" fmla="*/ 2560573 h 4367670"/>
              <a:gd name="connsiteX10285" fmla="*/ 4510742 w 5365133"/>
              <a:gd name="connsiteY10285" fmla="*/ 2560573 h 4367670"/>
              <a:gd name="connsiteX10286" fmla="*/ 4528674 w 5365133"/>
              <a:gd name="connsiteY10286" fmla="*/ 2560573 h 4367670"/>
              <a:gd name="connsiteX10287" fmla="*/ 4480852 w 5365133"/>
              <a:gd name="connsiteY10287" fmla="*/ 2578466 h 4367670"/>
              <a:gd name="connsiteX10288" fmla="*/ 4385202 w 5365133"/>
              <a:gd name="connsiteY10288" fmla="*/ 2626177 h 4367670"/>
              <a:gd name="connsiteX10289" fmla="*/ 4379226 w 5365133"/>
              <a:gd name="connsiteY10289" fmla="*/ 2620213 h 4367670"/>
              <a:gd name="connsiteX10290" fmla="*/ 4240237 w 5365133"/>
              <a:gd name="connsiteY10290" fmla="*/ 2688054 h 4367670"/>
              <a:gd name="connsiteX10291" fmla="*/ 4092281 w 5365133"/>
              <a:gd name="connsiteY10291" fmla="*/ 2751422 h 4367670"/>
              <a:gd name="connsiteX10292" fmla="*/ 4098259 w 5365133"/>
              <a:gd name="connsiteY10292" fmla="*/ 2757386 h 4367670"/>
              <a:gd name="connsiteX10293" fmla="*/ 4199885 w 5365133"/>
              <a:gd name="connsiteY10293" fmla="*/ 2721602 h 4367670"/>
              <a:gd name="connsiteX10294" fmla="*/ 4140104 w 5365133"/>
              <a:gd name="connsiteY10294" fmla="*/ 2751422 h 4367670"/>
              <a:gd name="connsiteX10295" fmla="*/ 3984678 w 5365133"/>
              <a:gd name="connsiteY10295" fmla="*/ 2811062 h 4367670"/>
              <a:gd name="connsiteX10296" fmla="*/ 3918919 w 5365133"/>
              <a:gd name="connsiteY10296" fmla="*/ 2840882 h 4367670"/>
              <a:gd name="connsiteX10297" fmla="*/ 3906963 w 5365133"/>
              <a:gd name="connsiteY10297" fmla="*/ 2852811 h 4367670"/>
              <a:gd name="connsiteX10298" fmla="*/ 3900984 w 5365133"/>
              <a:gd name="connsiteY10298" fmla="*/ 2834918 h 4367670"/>
              <a:gd name="connsiteX10299" fmla="*/ 3895005 w 5365133"/>
              <a:gd name="connsiteY10299" fmla="*/ 2846845 h 4367670"/>
              <a:gd name="connsiteX10300" fmla="*/ 3889028 w 5365133"/>
              <a:gd name="connsiteY10300" fmla="*/ 2840882 h 4367670"/>
              <a:gd name="connsiteX10301" fmla="*/ 3889028 w 5365133"/>
              <a:gd name="connsiteY10301" fmla="*/ 2852811 h 4367670"/>
              <a:gd name="connsiteX10302" fmla="*/ 3835227 w 5365133"/>
              <a:gd name="connsiteY10302" fmla="*/ 2864738 h 4367670"/>
              <a:gd name="connsiteX10303" fmla="*/ 3835227 w 5365133"/>
              <a:gd name="connsiteY10303" fmla="*/ 2876666 h 4367670"/>
              <a:gd name="connsiteX10304" fmla="*/ 3823270 w 5365133"/>
              <a:gd name="connsiteY10304" fmla="*/ 2870702 h 4367670"/>
              <a:gd name="connsiteX10305" fmla="*/ 3817292 w 5365133"/>
              <a:gd name="connsiteY10305" fmla="*/ 2882631 h 4367670"/>
              <a:gd name="connsiteX10306" fmla="*/ 3787403 w 5365133"/>
              <a:gd name="connsiteY10306" fmla="*/ 2894558 h 4367670"/>
              <a:gd name="connsiteX10307" fmla="*/ 3805336 w 5365133"/>
              <a:gd name="connsiteY10307" fmla="*/ 2894558 h 4367670"/>
              <a:gd name="connsiteX10308" fmla="*/ 3733601 w 5365133"/>
              <a:gd name="connsiteY10308" fmla="*/ 2930342 h 4367670"/>
              <a:gd name="connsiteX10309" fmla="*/ 3673821 w 5365133"/>
              <a:gd name="connsiteY10309" fmla="*/ 2954198 h 4367670"/>
              <a:gd name="connsiteX10310" fmla="*/ 3631974 w 5365133"/>
              <a:gd name="connsiteY10310" fmla="*/ 2966127 h 4367670"/>
              <a:gd name="connsiteX10311" fmla="*/ 3596107 w 5365133"/>
              <a:gd name="connsiteY10311" fmla="*/ 2989982 h 4367670"/>
              <a:gd name="connsiteX10312" fmla="*/ 3590129 w 5365133"/>
              <a:gd name="connsiteY10312" fmla="*/ 2984018 h 4367670"/>
              <a:gd name="connsiteX10313" fmla="*/ 3584898 w 5365133"/>
              <a:gd name="connsiteY10313" fmla="*/ 2984764 h 4367670"/>
              <a:gd name="connsiteX10314" fmla="*/ 3584453 w 5365133"/>
              <a:gd name="connsiteY10314" fmla="*/ 2987868 h 4367670"/>
              <a:gd name="connsiteX10315" fmla="*/ 3564162 w 5365133"/>
              <a:gd name="connsiteY10315" fmla="*/ 3001631 h 4367670"/>
              <a:gd name="connsiteX10316" fmla="*/ 3488501 w 5365133"/>
              <a:gd name="connsiteY10316" fmla="*/ 3037694 h 4367670"/>
              <a:gd name="connsiteX10317" fmla="*/ 3464591 w 5365133"/>
              <a:gd name="connsiteY10317" fmla="*/ 3049623 h 4367670"/>
              <a:gd name="connsiteX10318" fmla="*/ 3458613 w 5365133"/>
              <a:gd name="connsiteY10318" fmla="*/ 3043658 h 4367670"/>
              <a:gd name="connsiteX10319" fmla="*/ 3446657 w 5365133"/>
              <a:gd name="connsiteY10319" fmla="*/ 3055587 h 4367670"/>
              <a:gd name="connsiteX10320" fmla="*/ 3440679 w 5365133"/>
              <a:gd name="connsiteY10320" fmla="*/ 3043658 h 4367670"/>
              <a:gd name="connsiteX10321" fmla="*/ 3410788 w 5365133"/>
              <a:gd name="connsiteY10321" fmla="*/ 3061551 h 4367670"/>
              <a:gd name="connsiteX10322" fmla="*/ 3416766 w 5365133"/>
              <a:gd name="connsiteY10322" fmla="*/ 3067514 h 4367670"/>
              <a:gd name="connsiteX10323" fmla="*/ 3386876 w 5365133"/>
              <a:gd name="connsiteY10323" fmla="*/ 3073478 h 4367670"/>
              <a:gd name="connsiteX10324" fmla="*/ 3392854 w 5365133"/>
              <a:gd name="connsiteY10324" fmla="*/ 3091370 h 4367670"/>
              <a:gd name="connsiteX10325" fmla="*/ 3458613 w 5365133"/>
              <a:gd name="connsiteY10325" fmla="*/ 3061551 h 4367670"/>
              <a:gd name="connsiteX10326" fmla="*/ 3452634 w 5365133"/>
              <a:gd name="connsiteY10326" fmla="*/ 3055587 h 4367670"/>
              <a:gd name="connsiteX10327" fmla="*/ 3464591 w 5365133"/>
              <a:gd name="connsiteY10327" fmla="*/ 3061551 h 4367670"/>
              <a:gd name="connsiteX10328" fmla="*/ 3494479 w 5365133"/>
              <a:gd name="connsiteY10328" fmla="*/ 3043658 h 4367670"/>
              <a:gd name="connsiteX10329" fmla="*/ 3536326 w 5365133"/>
              <a:gd name="connsiteY10329" fmla="*/ 3031730 h 4367670"/>
              <a:gd name="connsiteX10330" fmla="*/ 3554261 w 5365133"/>
              <a:gd name="connsiteY10330" fmla="*/ 3031730 h 4367670"/>
              <a:gd name="connsiteX10331" fmla="*/ 3563975 w 5365133"/>
              <a:gd name="connsiteY10331" fmla="*/ 3029494 h 4367670"/>
              <a:gd name="connsiteX10332" fmla="*/ 3577985 w 5365133"/>
              <a:gd name="connsiteY10332" fmla="*/ 3031702 h 4367670"/>
              <a:gd name="connsiteX10333" fmla="*/ 3577985 w 5365133"/>
              <a:gd name="connsiteY10333" fmla="*/ 3022864 h 4367670"/>
              <a:gd name="connsiteX10334" fmla="*/ 3577985 w 5365133"/>
              <a:gd name="connsiteY10334" fmla="*/ 3021381 h 4367670"/>
              <a:gd name="connsiteX10335" fmla="*/ 3554331 w 5365133"/>
              <a:gd name="connsiteY10335" fmla="*/ 3021381 h 4367670"/>
              <a:gd name="connsiteX10336" fmla="*/ 3725819 w 5365133"/>
              <a:gd name="connsiteY10336" fmla="*/ 2950212 h 4367670"/>
              <a:gd name="connsiteX10337" fmla="*/ 3737647 w 5365133"/>
              <a:gd name="connsiteY10337" fmla="*/ 2962072 h 4367670"/>
              <a:gd name="connsiteX10338" fmla="*/ 3749066 w 5365133"/>
              <a:gd name="connsiteY10338" fmla="*/ 2956347 h 4367670"/>
              <a:gd name="connsiteX10339" fmla="*/ 3749473 w 5365133"/>
              <a:gd name="connsiteY10339" fmla="*/ 2962072 h 4367670"/>
              <a:gd name="connsiteX10340" fmla="*/ 3699578 w 5365133"/>
              <a:gd name="connsiteY10340" fmla="*/ 2982089 h 4367670"/>
              <a:gd name="connsiteX10341" fmla="*/ 3686208 w 5365133"/>
              <a:gd name="connsiteY10341" fmla="*/ 2980128 h 4367670"/>
              <a:gd name="connsiteX10342" fmla="*/ 3694036 w 5365133"/>
              <a:gd name="connsiteY10342" fmla="*/ 2978383 h 4367670"/>
              <a:gd name="connsiteX10343" fmla="*/ 3731734 w 5365133"/>
              <a:gd name="connsiteY10343" fmla="*/ 2962072 h 4367670"/>
              <a:gd name="connsiteX10344" fmla="*/ 3687382 w 5365133"/>
              <a:gd name="connsiteY10344" fmla="*/ 2975417 h 4367670"/>
              <a:gd name="connsiteX10345" fmla="*/ 3671416 w 5365133"/>
              <a:gd name="connsiteY10345" fmla="*/ 2983425 h 4367670"/>
              <a:gd name="connsiteX10346" fmla="*/ 3660773 w 5365133"/>
              <a:gd name="connsiteY10346" fmla="*/ 2985797 h 4367670"/>
              <a:gd name="connsiteX10347" fmla="*/ 3659928 w 5365133"/>
              <a:gd name="connsiteY10347" fmla="*/ 2989184 h 4367670"/>
              <a:gd name="connsiteX10348" fmla="*/ 3643031 w 5365133"/>
              <a:gd name="connsiteY10348" fmla="*/ 2997659 h 4367670"/>
              <a:gd name="connsiteX10349" fmla="*/ 3654859 w 5365133"/>
              <a:gd name="connsiteY10349" fmla="*/ 2997659 h 4367670"/>
              <a:gd name="connsiteX10350" fmla="*/ 3631206 w 5365133"/>
              <a:gd name="connsiteY10350" fmla="*/ 3015450 h 4367670"/>
              <a:gd name="connsiteX10351" fmla="*/ 3619380 w 5365133"/>
              <a:gd name="connsiteY10351" fmla="*/ 3015450 h 4367670"/>
              <a:gd name="connsiteX10352" fmla="*/ 3607552 w 5365133"/>
              <a:gd name="connsiteY10352" fmla="*/ 3027312 h 4367670"/>
              <a:gd name="connsiteX10353" fmla="*/ 3601639 w 5365133"/>
              <a:gd name="connsiteY10353" fmla="*/ 3021381 h 4367670"/>
              <a:gd name="connsiteX10354" fmla="*/ 3577985 w 5365133"/>
              <a:gd name="connsiteY10354" fmla="*/ 3033244 h 4367670"/>
              <a:gd name="connsiteX10355" fmla="*/ 3577985 w 5365133"/>
              <a:gd name="connsiteY10355" fmla="*/ 3031777 h 4367670"/>
              <a:gd name="connsiteX10356" fmla="*/ 3557250 w 5365133"/>
              <a:gd name="connsiteY10356" fmla="*/ 3036949 h 4367670"/>
              <a:gd name="connsiteX10357" fmla="*/ 3536326 w 5365133"/>
              <a:gd name="connsiteY10357" fmla="*/ 3037694 h 4367670"/>
              <a:gd name="connsiteX10358" fmla="*/ 3536326 w 5365133"/>
              <a:gd name="connsiteY10358" fmla="*/ 3043658 h 4367670"/>
              <a:gd name="connsiteX10359" fmla="*/ 3518392 w 5365133"/>
              <a:gd name="connsiteY10359" fmla="*/ 3043658 h 4367670"/>
              <a:gd name="connsiteX10360" fmla="*/ 3521381 w 5365133"/>
              <a:gd name="connsiteY10360" fmla="*/ 3044404 h 4367670"/>
              <a:gd name="connsiteX10361" fmla="*/ 3524262 w 5365133"/>
              <a:gd name="connsiteY10361" fmla="*/ 3049435 h 4367670"/>
              <a:gd name="connsiteX10362" fmla="*/ 3523854 w 5365133"/>
              <a:gd name="connsiteY10362" fmla="*/ 3049956 h 4367670"/>
              <a:gd name="connsiteX10363" fmla="*/ 3511666 w 5365133"/>
              <a:gd name="connsiteY10363" fmla="*/ 3057823 h 4367670"/>
              <a:gd name="connsiteX10364" fmla="*/ 3494479 w 5365133"/>
              <a:gd name="connsiteY10364" fmla="*/ 3061551 h 4367670"/>
              <a:gd name="connsiteX10365" fmla="*/ 3500458 w 5365133"/>
              <a:gd name="connsiteY10365" fmla="*/ 3049623 h 4367670"/>
              <a:gd name="connsiteX10366" fmla="*/ 3458613 w 5365133"/>
              <a:gd name="connsiteY10366" fmla="*/ 3073478 h 4367670"/>
              <a:gd name="connsiteX10367" fmla="*/ 3464591 w 5365133"/>
              <a:gd name="connsiteY10367" fmla="*/ 3067514 h 4367670"/>
              <a:gd name="connsiteX10368" fmla="*/ 3458613 w 5365133"/>
              <a:gd name="connsiteY10368" fmla="*/ 3085407 h 4367670"/>
              <a:gd name="connsiteX10369" fmla="*/ 3440679 w 5365133"/>
              <a:gd name="connsiteY10369" fmla="*/ 3097334 h 4367670"/>
              <a:gd name="connsiteX10370" fmla="*/ 3434319 w 5365133"/>
              <a:gd name="connsiteY10370" fmla="*/ 3091623 h 4367670"/>
              <a:gd name="connsiteX10371" fmla="*/ 3434701 w 5365133"/>
              <a:gd name="connsiteY10371" fmla="*/ 3091370 h 4367670"/>
              <a:gd name="connsiteX10372" fmla="*/ 3433420 w 5365133"/>
              <a:gd name="connsiteY10372" fmla="*/ 3089027 h 4367670"/>
              <a:gd name="connsiteX10373" fmla="*/ 3434701 w 5365133"/>
              <a:gd name="connsiteY10373" fmla="*/ 3079443 h 4367670"/>
              <a:gd name="connsiteX10374" fmla="*/ 3430217 w 5365133"/>
              <a:gd name="connsiteY10374" fmla="*/ 3083170 h 4367670"/>
              <a:gd name="connsiteX10375" fmla="*/ 3433420 w 5365133"/>
              <a:gd name="connsiteY10375" fmla="*/ 3089027 h 4367670"/>
              <a:gd name="connsiteX10376" fmla="*/ 3433206 w 5365133"/>
              <a:gd name="connsiteY10376" fmla="*/ 3090625 h 4367670"/>
              <a:gd name="connsiteX10377" fmla="*/ 3434319 w 5365133"/>
              <a:gd name="connsiteY10377" fmla="*/ 3091623 h 4367670"/>
              <a:gd name="connsiteX10378" fmla="*/ 3416766 w 5365133"/>
              <a:gd name="connsiteY10378" fmla="*/ 3103299 h 4367670"/>
              <a:gd name="connsiteX10379" fmla="*/ 3428722 w 5365133"/>
              <a:gd name="connsiteY10379" fmla="*/ 3091370 h 4367670"/>
              <a:gd name="connsiteX10380" fmla="*/ 3410788 w 5365133"/>
              <a:gd name="connsiteY10380" fmla="*/ 3097334 h 4367670"/>
              <a:gd name="connsiteX10381" fmla="*/ 3398832 w 5365133"/>
              <a:gd name="connsiteY10381" fmla="*/ 3103299 h 4367670"/>
              <a:gd name="connsiteX10382" fmla="*/ 3392854 w 5365133"/>
              <a:gd name="connsiteY10382" fmla="*/ 3097334 h 4367670"/>
              <a:gd name="connsiteX10383" fmla="*/ 3380898 w 5365133"/>
              <a:gd name="connsiteY10383" fmla="*/ 3103299 h 4367670"/>
              <a:gd name="connsiteX10384" fmla="*/ 3392854 w 5365133"/>
              <a:gd name="connsiteY10384" fmla="*/ 3103299 h 4367670"/>
              <a:gd name="connsiteX10385" fmla="*/ 3380898 w 5365133"/>
              <a:gd name="connsiteY10385" fmla="*/ 3115227 h 4367670"/>
              <a:gd name="connsiteX10386" fmla="*/ 3368941 w 5365133"/>
              <a:gd name="connsiteY10386" fmla="*/ 3103299 h 4367670"/>
              <a:gd name="connsiteX10387" fmla="*/ 3374919 w 5365133"/>
              <a:gd name="connsiteY10387" fmla="*/ 3115227 h 4367670"/>
              <a:gd name="connsiteX10388" fmla="*/ 3351009 w 5365133"/>
              <a:gd name="connsiteY10388" fmla="*/ 3115227 h 4367670"/>
              <a:gd name="connsiteX10389" fmla="*/ 3351009 w 5365133"/>
              <a:gd name="connsiteY10389" fmla="*/ 3133120 h 4367670"/>
              <a:gd name="connsiteX10390" fmla="*/ 3356985 w 5365133"/>
              <a:gd name="connsiteY10390" fmla="*/ 3127154 h 4367670"/>
              <a:gd name="connsiteX10391" fmla="*/ 3309162 w 5365133"/>
              <a:gd name="connsiteY10391" fmla="*/ 3145047 h 4367670"/>
              <a:gd name="connsiteX10392" fmla="*/ 3297206 w 5365133"/>
              <a:gd name="connsiteY10392" fmla="*/ 3133120 h 4367670"/>
              <a:gd name="connsiteX10393" fmla="*/ 3291228 w 5365133"/>
              <a:gd name="connsiteY10393" fmla="*/ 3156974 h 4367670"/>
              <a:gd name="connsiteX10394" fmla="*/ 3273294 w 5365133"/>
              <a:gd name="connsiteY10394" fmla="*/ 3168903 h 4367670"/>
              <a:gd name="connsiteX10395" fmla="*/ 3279272 w 5365133"/>
              <a:gd name="connsiteY10395" fmla="*/ 3145047 h 4367670"/>
              <a:gd name="connsiteX10396" fmla="*/ 3285250 w 5365133"/>
              <a:gd name="connsiteY10396" fmla="*/ 3156974 h 4367670"/>
              <a:gd name="connsiteX10397" fmla="*/ 3291228 w 5365133"/>
              <a:gd name="connsiteY10397" fmla="*/ 3139083 h 4367670"/>
              <a:gd name="connsiteX10398" fmla="*/ 3279272 w 5365133"/>
              <a:gd name="connsiteY10398" fmla="*/ 3145047 h 4367670"/>
              <a:gd name="connsiteX10399" fmla="*/ 3273294 w 5365133"/>
              <a:gd name="connsiteY10399" fmla="*/ 3156974 h 4367670"/>
              <a:gd name="connsiteX10400" fmla="*/ 3267316 w 5365133"/>
              <a:gd name="connsiteY10400" fmla="*/ 3145047 h 4367670"/>
              <a:gd name="connsiteX10401" fmla="*/ 3261338 w 5365133"/>
              <a:gd name="connsiteY10401" fmla="*/ 3156974 h 4367670"/>
              <a:gd name="connsiteX10402" fmla="*/ 3261338 w 5365133"/>
              <a:gd name="connsiteY10402" fmla="*/ 3151010 h 4367670"/>
              <a:gd name="connsiteX10403" fmla="*/ 3249382 w 5365133"/>
              <a:gd name="connsiteY10403" fmla="*/ 3156974 h 4367670"/>
              <a:gd name="connsiteX10404" fmla="*/ 3249382 w 5365133"/>
              <a:gd name="connsiteY10404" fmla="*/ 3162939 h 4367670"/>
              <a:gd name="connsiteX10405" fmla="*/ 3225469 w 5365133"/>
              <a:gd name="connsiteY10405" fmla="*/ 3174867 h 4367670"/>
              <a:gd name="connsiteX10406" fmla="*/ 3237425 w 5365133"/>
              <a:gd name="connsiteY10406" fmla="*/ 3174867 h 4367670"/>
              <a:gd name="connsiteX10407" fmla="*/ 3195581 w 5365133"/>
              <a:gd name="connsiteY10407" fmla="*/ 3186794 h 4367670"/>
              <a:gd name="connsiteX10408" fmla="*/ 3195581 w 5365133"/>
              <a:gd name="connsiteY10408" fmla="*/ 3174867 h 4367670"/>
              <a:gd name="connsiteX10409" fmla="*/ 3183624 w 5365133"/>
              <a:gd name="connsiteY10409" fmla="*/ 3186794 h 4367670"/>
              <a:gd name="connsiteX10410" fmla="*/ 3189602 w 5365133"/>
              <a:gd name="connsiteY10410" fmla="*/ 3186794 h 4367670"/>
              <a:gd name="connsiteX10411" fmla="*/ 3171668 w 5365133"/>
              <a:gd name="connsiteY10411" fmla="*/ 3180830 h 4367670"/>
              <a:gd name="connsiteX10412" fmla="*/ 3165690 w 5365133"/>
              <a:gd name="connsiteY10412" fmla="*/ 3186794 h 4367670"/>
              <a:gd name="connsiteX10413" fmla="*/ 3177646 w 5365133"/>
              <a:gd name="connsiteY10413" fmla="*/ 3192760 h 4367670"/>
              <a:gd name="connsiteX10414" fmla="*/ 3153734 w 5365133"/>
              <a:gd name="connsiteY10414" fmla="*/ 3204687 h 4367670"/>
              <a:gd name="connsiteX10415" fmla="*/ 3201559 w 5365133"/>
              <a:gd name="connsiteY10415" fmla="*/ 3186794 h 4367670"/>
              <a:gd name="connsiteX10416" fmla="*/ 3177646 w 5365133"/>
              <a:gd name="connsiteY10416" fmla="*/ 3204687 h 4367670"/>
              <a:gd name="connsiteX10417" fmla="*/ 2962437 w 5365133"/>
              <a:gd name="connsiteY10417" fmla="*/ 3300112 h 4367670"/>
              <a:gd name="connsiteX10418" fmla="*/ 2962437 w 5365133"/>
              <a:gd name="connsiteY10418" fmla="*/ 3288183 h 4367670"/>
              <a:gd name="connsiteX10419" fmla="*/ 2896679 w 5365133"/>
              <a:gd name="connsiteY10419" fmla="*/ 3312039 h 4367670"/>
              <a:gd name="connsiteX10420" fmla="*/ 2896679 w 5365133"/>
              <a:gd name="connsiteY10420" fmla="*/ 3306076 h 4367670"/>
              <a:gd name="connsiteX10421" fmla="*/ 2884723 w 5365133"/>
              <a:gd name="connsiteY10421" fmla="*/ 3312039 h 4367670"/>
              <a:gd name="connsiteX10422" fmla="*/ 2902658 w 5365133"/>
              <a:gd name="connsiteY10422" fmla="*/ 3318003 h 4367670"/>
              <a:gd name="connsiteX10423" fmla="*/ 2878745 w 5365133"/>
              <a:gd name="connsiteY10423" fmla="*/ 3329932 h 4367670"/>
              <a:gd name="connsiteX10424" fmla="*/ 2878745 w 5365133"/>
              <a:gd name="connsiteY10424" fmla="*/ 3312039 h 4367670"/>
              <a:gd name="connsiteX10425" fmla="*/ 2860811 w 5365133"/>
              <a:gd name="connsiteY10425" fmla="*/ 3323967 h 4367670"/>
              <a:gd name="connsiteX10426" fmla="*/ 2872767 w 5365133"/>
              <a:gd name="connsiteY10426" fmla="*/ 3323967 h 4367670"/>
              <a:gd name="connsiteX10427" fmla="*/ 2786419 w 5365133"/>
              <a:gd name="connsiteY10427" fmla="*/ 3358426 h 4367670"/>
              <a:gd name="connsiteX10428" fmla="*/ 2789076 w 5365133"/>
              <a:gd name="connsiteY10428" fmla="*/ 3353786 h 4367670"/>
              <a:gd name="connsiteX10429" fmla="*/ 2771142 w 5365133"/>
              <a:gd name="connsiteY10429" fmla="*/ 3365715 h 4367670"/>
              <a:gd name="connsiteX10430" fmla="*/ 2777120 w 5365133"/>
              <a:gd name="connsiteY10430" fmla="*/ 3371679 h 4367670"/>
              <a:gd name="connsiteX10431" fmla="*/ 2771142 w 5365133"/>
              <a:gd name="connsiteY10431" fmla="*/ 3377645 h 4367670"/>
              <a:gd name="connsiteX10432" fmla="*/ 2771142 w 5365133"/>
              <a:gd name="connsiteY10432" fmla="*/ 3359752 h 4367670"/>
              <a:gd name="connsiteX10433" fmla="*/ 2759185 w 5365133"/>
              <a:gd name="connsiteY10433" fmla="*/ 3365715 h 4367670"/>
              <a:gd name="connsiteX10434" fmla="*/ 2759185 w 5365133"/>
              <a:gd name="connsiteY10434" fmla="*/ 3383608 h 4367670"/>
              <a:gd name="connsiteX10435" fmla="*/ 2741251 w 5365133"/>
              <a:gd name="connsiteY10435" fmla="*/ 3377645 h 4367670"/>
              <a:gd name="connsiteX10436" fmla="*/ 2723317 w 5365133"/>
              <a:gd name="connsiteY10436" fmla="*/ 3389572 h 4367670"/>
              <a:gd name="connsiteX10437" fmla="*/ 2729295 w 5365133"/>
              <a:gd name="connsiteY10437" fmla="*/ 3383608 h 4367670"/>
              <a:gd name="connsiteX10438" fmla="*/ 2651581 w 5365133"/>
              <a:gd name="connsiteY10438" fmla="*/ 3425355 h 4367670"/>
              <a:gd name="connsiteX10439" fmla="*/ 2633647 w 5365133"/>
              <a:gd name="connsiteY10439" fmla="*/ 3431321 h 4367670"/>
              <a:gd name="connsiteX10440" fmla="*/ 2633647 w 5365133"/>
              <a:gd name="connsiteY10440" fmla="*/ 3419392 h 4367670"/>
              <a:gd name="connsiteX10441" fmla="*/ 2609735 w 5365133"/>
              <a:gd name="connsiteY10441" fmla="*/ 3425355 h 4367670"/>
              <a:gd name="connsiteX10442" fmla="*/ 2639625 w 5365133"/>
              <a:gd name="connsiteY10442" fmla="*/ 3431321 h 4367670"/>
              <a:gd name="connsiteX10443" fmla="*/ 2615713 w 5365133"/>
              <a:gd name="connsiteY10443" fmla="*/ 3443248 h 4367670"/>
              <a:gd name="connsiteX10444" fmla="*/ 2615713 w 5365133"/>
              <a:gd name="connsiteY10444" fmla="*/ 3455175 h 4367670"/>
              <a:gd name="connsiteX10445" fmla="*/ 2717339 w 5365133"/>
              <a:gd name="connsiteY10445" fmla="*/ 3413428 h 4367670"/>
              <a:gd name="connsiteX10446" fmla="*/ 2101605 w 5365133"/>
              <a:gd name="connsiteY10446" fmla="*/ 3699701 h 4367670"/>
              <a:gd name="connsiteX10447" fmla="*/ 2083670 w 5365133"/>
              <a:gd name="connsiteY10447" fmla="*/ 3699701 h 4367670"/>
              <a:gd name="connsiteX10448" fmla="*/ 1988023 w 5365133"/>
              <a:gd name="connsiteY10448" fmla="*/ 3753377 h 4367670"/>
              <a:gd name="connsiteX10449" fmla="*/ 1994000 w 5365133"/>
              <a:gd name="connsiteY10449" fmla="*/ 3753377 h 4367670"/>
              <a:gd name="connsiteX10450" fmla="*/ 1993511 w 5365133"/>
              <a:gd name="connsiteY10450" fmla="*/ 3756795 h 4367670"/>
              <a:gd name="connsiteX10451" fmla="*/ 1988023 w 5365133"/>
              <a:gd name="connsiteY10451" fmla="*/ 3759341 h 4367670"/>
              <a:gd name="connsiteX10452" fmla="*/ 1993254 w 5365133"/>
              <a:gd name="connsiteY10452" fmla="*/ 3758595 h 4367670"/>
              <a:gd name="connsiteX10453" fmla="*/ 1993511 w 5365133"/>
              <a:gd name="connsiteY10453" fmla="*/ 3756795 h 4367670"/>
              <a:gd name="connsiteX10454" fmla="*/ 2013335 w 5365133"/>
              <a:gd name="connsiteY10454" fmla="*/ 3747599 h 4367670"/>
              <a:gd name="connsiteX10455" fmla="*/ 2101605 w 5365133"/>
              <a:gd name="connsiteY10455" fmla="*/ 3705664 h 4367670"/>
              <a:gd name="connsiteX10456" fmla="*/ 2106836 w 5365133"/>
              <a:gd name="connsiteY10456" fmla="*/ 3704173 h 4367670"/>
              <a:gd name="connsiteX10457" fmla="*/ 2107843 w 5365133"/>
              <a:gd name="connsiteY10457" fmla="*/ 3705541 h 4367670"/>
              <a:gd name="connsiteX10458" fmla="*/ 2107583 w 5365133"/>
              <a:gd name="connsiteY10458" fmla="*/ 3705664 h 4367670"/>
              <a:gd name="connsiteX10459" fmla="*/ 2108272 w 5365133"/>
              <a:gd name="connsiteY10459" fmla="*/ 3706122 h 4367670"/>
              <a:gd name="connsiteX10460" fmla="*/ 2109171 w 5365133"/>
              <a:gd name="connsiteY10460" fmla="*/ 3707342 h 4367670"/>
              <a:gd name="connsiteX10461" fmla="*/ 2107583 w 5365133"/>
              <a:gd name="connsiteY10461" fmla="*/ 3711629 h 4367670"/>
              <a:gd name="connsiteX10462" fmla="*/ 2112066 w 5365133"/>
              <a:gd name="connsiteY10462" fmla="*/ 3708647 h 4367670"/>
              <a:gd name="connsiteX10463" fmla="*/ 2108272 w 5365133"/>
              <a:gd name="connsiteY10463" fmla="*/ 3706122 h 4367670"/>
              <a:gd name="connsiteX10464" fmla="*/ 2107843 w 5365133"/>
              <a:gd name="connsiteY10464" fmla="*/ 3705541 h 4367670"/>
              <a:gd name="connsiteX10465" fmla="*/ 2134483 w 5365133"/>
              <a:gd name="connsiteY10465" fmla="*/ 3692991 h 4367670"/>
              <a:gd name="connsiteX10466" fmla="*/ 2147933 w 5365133"/>
              <a:gd name="connsiteY10466" fmla="*/ 3686375 h 4367670"/>
              <a:gd name="connsiteX10467" fmla="*/ 2161125 w 5365133"/>
              <a:gd name="connsiteY10467" fmla="*/ 3676048 h 4367670"/>
              <a:gd name="connsiteX10468" fmla="*/ 2160637 w 5365133"/>
              <a:gd name="connsiteY10468" fmla="*/ 3678827 h 4367670"/>
              <a:gd name="connsiteX10469" fmla="*/ 2155406 w 5365133"/>
              <a:gd name="connsiteY10469" fmla="*/ 3681810 h 4367670"/>
              <a:gd name="connsiteX10470" fmla="*/ 2161384 w 5365133"/>
              <a:gd name="connsiteY10470" fmla="*/ 3693737 h 4367670"/>
              <a:gd name="connsiteX10471" fmla="*/ 2184549 w 5365133"/>
              <a:gd name="connsiteY10471" fmla="*/ 3672117 h 4367670"/>
              <a:gd name="connsiteX10472" fmla="*/ 2188123 w 5365133"/>
              <a:gd name="connsiteY10472" fmla="*/ 3668620 h 4367670"/>
              <a:gd name="connsiteX10473" fmla="*/ 2189053 w 5365133"/>
              <a:gd name="connsiteY10473" fmla="*/ 3666019 h 4367670"/>
              <a:gd name="connsiteX10474" fmla="*/ 2191177 w 5365133"/>
              <a:gd name="connsiteY10474" fmla="*/ 3665633 h 4367670"/>
              <a:gd name="connsiteX10475" fmla="*/ 2194170 w 5365133"/>
              <a:gd name="connsiteY10475" fmla="*/ 3662706 h 4367670"/>
              <a:gd name="connsiteX10476" fmla="*/ 2203230 w 5365133"/>
              <a:gd name="connsiteY10476" fmla="*/ 3663917 h 4367670"/>
              <a:gd name="connsiteX10477" fmla="*/ 2233120 w 5365133"/>
              <a:gd name="connsiteY10477" fmla="*/ 3640061 h 4367670"/>
              <a:gd name="connsiteX10478" fmla="*/ 2239099 w 5365133"/>
              <a:gd name="connsiteY10478" fmla="*/ 3651989 h 4367670"/>
              <a:gd name="connsiteX10479" fmla="*/ 2239099 w 5365133"/>
              <a:gd name="connsiteY10479" fmla="*/ 3640061 h 4367670"/>
              <a:gd name="connsiteX10480" fmla="*/ 2322790 w 5365133"/>
              <a:gd name="connsiteY10480" fmla="*/ 3598313 h 4367670"/>
              <a:gd name="connsiteX10481" fmla="*/ 2358659 w 5365133"/>
              <a:gd name="connsiteY10481" fmla="*/ 3598313 h 4367670"/>
              <a:gd name="connsiteX10482" fmla="*/ 2292900 w 5365133"/>
              <a:gd name="connsiteY10482" fmla="*/ 3628133 h 4367670"/>
              <a:gd name="connsiteX10483" fmla="*/ 2346703 w 5365133"/>
              <a:gd name="connsiteY10483" fmla="*/ 3610240 h 4367670"/>
              <a:gd name="connsiteX10484" fmla="*/ 2382571 w 5365133"/>
              <a:gd name="connsiteY10484" fmla="*/ 3604277 h 4367670"/>
              <a:gd name="connsiteX10485" fmla="*/ 2376593 w 5365133"/>
              <a:gd name="connsiteY10485" fmla="*/ 3598313 h 4367670"/>
              <a:gd name="connsiteX10486" fmla="*/ 2376593 w 5365133"/>
              <a:gd name="connsiteY10486" fmla="*/ 3592348 h 4367670"/>
              <a:gd name="connsiteX10487" fmla="*/ 2394526 w 5365133"/>
              <a:gd name="connsiteY10487" fmla="*/ 3598313 h 4367670"/>
              <a:gd name="connsiteX10488" fmla="*/ 2412460 w 5365133"/>
              <a:gd name="connsiteY10488" fmla="*/ 3580421 h 4367670"/>
              <a:gd name="connsiteX10489" fmla="*/ 2406482 w 5365133"/>
              <a:gd name="connsiteY10489" fmla="*/ 3580421 h 4367670"/>
              <a:gd name="connsiteX10490" fmla="*/ 2430394 w 5365133"/>
              <a:gd name="connsiteY10490" fmla="*/ 3568494 h 4367670"/>
              <a:gd name="connsiteX10491" fmla="*/ 2418438 w 5365133"/>
              <a:gd name="connsiteY10491" fmla="*/ 3574457 h 4367670"/>
              <a:gd name="connsiteX10492" fmla="*/ 2436372 w 5365133"/>
              <a:gd name="connsiteY10492" fmla="*/ 3580421 h 4367670"/>
              <a:gd name="connsiteX10493" fmla="*/ 2436372 w 5365133"/>
              <a:gd name="connsiteY10493" fmla="*/ 3562528 h 4367670"/>
              <a:gd name="connsiteX10494" fmla="*/ 2400504 w 5365133"/>
              <a:gd name="connsiteY10494" fmla="*/ 3568494 h 4367670"/>
              <a:gd name="connsiteX10495" fmla="*/ 2424416 w 5365133"/>
              <a:gd name="connsiteY10495" fmla="*/ 3555073 h 4367670"/>
              <a:gd name="connsiteX10496" fmla="*/ 2442274 w 5365133"/>
              <a:gd name="connsiteY10496" fmla="*/ 3551733 h 4367670"/>
              <a:gd name="connsiteX10497" fmla="*/ 2441604 w 5365133"/>
              <a:gd name="connsiteY10497" fmla="*/ 3561783 h 4367670"/>
              <a:gd name="connsiteX10498" fmla="*/ 2436372 w 5365133"/>
              <a:gd name="connsiteY10498" fmla="*/ 3568494 h 4367670"/>
              <a:gd name="connsiteX10499" fmla="*/ 2478219 w 5365133"/>
              <a:gd name="connsiteY10499" fmla="*/ 3556564 h 4367670"/>
              <a:gd name="connsiteX10500" fmla="*/ 2473736 w 5365133"/>
              <a:gd name="connsiteY10500" fmla="*/ 3554980 h 4367670"/>
              <a:gd name="connsiteX10501" fmla="*/ 2472487 w 5365133"/>
              <a:gd name="connsiteY10501" fmla="*/ 3555629 h 4367670"/>
              <a:gd name="connsiteX10502" fmla="*/ 2475977 w 5365133"/>
              <a:gd name="connsiteY10502" fmla="*/ 3542400 h 4367670"/>
              <a:gd name="connsiteX10503" fmla="*/ 2484197 w 5365133"/>
              <a:gd name="connsiteY10503" fmla="*/ 3532708 h 4367670"/>
              <a:gd name="connsiteX10504" fmla="*/ 2478219 w 5365133"/>
              <a:gd name="connsiteY10504" fmla="*/ 3550601 h 4367670"/>
              <a:gd name="connsiteX10505" fmla="*/ 2502131 w 5365133"/>
              <a:gd name="connsiteY10505" fmla="*/ 3538671 h 4367670"/>
              <a:gd name="connsiteX10506" fmla="*/ 2490175 w 5365133"/>
              <a:gd name="connsiteY10506" fmla="*/ 3532708 h 4367670"/>
              <a:gd name="connsiteX10507" fmla="*/ 2508109 w 5365133"/>
              <a:gd name="connsiteY10507" fmla="*/ 3514817 h 4367670"/>
              <a:gd name="connsiteX10508" fmla="*/ 2508109 w 5365133"/>
              <a:gd name="connsiteY10508" fmla="*/ 3532708 h 4367670"/>
              <a:gd name="connsiteX10509" fmla="*/ 2514087 w 5365133"/>
              <a:gd name="connsiteY10509" fmla="*/ 3514817 h 4367670"/>
              <a:gd name="connsiteX10510" fmla="*/ 2549954 w 5365133"/>
              <a:gd name="connsiteY10510" fmla="*/ 3502888 h 4367670"/>
              <a:gd name="connsiteX10511" fmla="*/ 2544725 w 5365133"/>
              <a:gd name="connsiteY10511" fmla="*/ 3514817 h 4367670"/>
              <a:gd name="connsiteX10512" fmla="*/ 2544023 w 5365133"/>
              <a:gd name="connsiteY10512" fmla="*/ 3525999 h 4367670"/>
              <a:gd name="connsiteX10513" fmla="*/ 2543737 w 5365133"/>
              <a:gd name="connsiteY10513" fmla="*/ 3526267 h 4367670"/>
              <a:gd name="connsiteX10514" fmla="*/ 2537998 w 5365133"/>
              <a:gd name="connsiteY10514" fmla="*/ 3514817 h 4367670"/>
              <a:gd name="connsiteX10515" fmla="*/ 2496153 w 5365133"/>
              <a:gd name="connsiteY10515" fmla="*/ 3544637 h 4367670"/>
              <a:gd name="connsiteX10516" fmla="*/ 2530527 w 5365133"/>
              <a:gd name="connsiteY10516" fmla="*/ 3538671 h 4367670"/>
              <a:gd name="connsiteX10517" fmla="*/ 2543737 w 5365133"/>
              <a:gd name="connsiteY10517" fmla="*/ 3526267 h 4367670"/>
              <a:gd name="connsiteX10518" fmla="*/ 2543975 w 5365133"/>
              <a:gd name="connsiteY10518" fmla="*/ 3526744 h 4367670"/>
              <a:gd name="connsiteX10519" fmla="*/ 2544023 w 5365133"/>
              <a:gd name="connsiteY10519" fmla="*/ 3525999 h 4367670"/>
              <a:gd name="connsiteX10520" fmla="*/ 2555932 w 5365133"/>
              <a:gd name="connsiteY10520" fmla="*/ 3514817 h 4367670"/>
              <a:gd name="connsiteX10521" fmla="*/ 2561910 w 5365133"/>
              <a:gd name="connsiteY10521" fmla="*/ 3517798 h 4367670"/>
              <a:gd name="connsiteX10522" fmla="*/ 2564302 w 5365133"/>
              <a:gd name="connsiteY10522" fmla="*/ 3518991 h 4367670"/>
              <a:gd name="connsiteX10523" fmla="*/ 2561910 w 5365133"/>
              <a:gd name="connsiteY10523" fmla="*/ 3520781 h 4367670"/>
              <a:gd name="connsiteX10524" fmla="*/ 2573867 w 5365133"/>
              <a:gd name="connsiteY10524" fmla="*/ 3520781 h 4367670"/>
              <a:gd name="connsiteX10525" fmla="*/ 2573867 w 5365133"/>
              <a:gd name="connsiteY10525" fmla="*/ 3508852 h 4367670"/>
              <a:gd name="connsiteX10526" fmla="*/ 2603757 w 5365133"/>
              <a:gd name="connsiteY10526" fmla="*/ 3508852 h 4367670"/>
              <a:gd name="connsiteX10527" fmla="*/ 2603757 w 5365133"/>
              <a:gd name="connsiteY10527" fmla="*/ 3490961 h 4367670"/>
              <a:gd name="connsiteX10528" fmla="*/ 2633647 w 5365133"/>
              <a:gd name="connsiteY10528" fmla="*/ 3484997 h 4367670"/>
              <a:gd name="connsiteX10529" fmla="*/ 2633647 w 5365133"/>
              <a:gd name="connsiteY10529" fmla="*/ 3490961 h 4367670"/>
              <a:gd name="connsiteX10530" fmla="*/ 2645604 w 5365133"/>
              <a:gd name="connsiteY10530" fmla="*/ 3502888 h 4367670"/>
              <a:gd name="connsiteX10531" fmla="*/ 2645604 w 5365133"/>
              <a:gd name="connsiteY10531" fmla="*/ 3484997 h 4367670"/>
              <a:gd name="connsiteX10532" fmla="*/ 2651581 w 5365133"/>
              <a:gd name="connsiteY10532" fmla="*/ 3496924 h 4367670"/>
              <a:gd name="connsiteX10533" fmla="*/ 2663535 w 5365133"/>
              <a:gd name="connsiteY10533" fmla="*/ 3484997 h 4367670"/>
              <a:gd name="connsiteX10534" fmla="*/ 2675492 w 5365133"/>
              <a:gd name="connsiteY10534" fmla="*/ 3479031 h 4367670"/>
              <a:gd name="connsiteX10535" fmla="*/ 2669514 w 5365133"/>
              <a:gd name="connsiteY10535" fmla="*/ 3490961 h 4367670"/>
              <a:gd name="connsiteX10536" fmla="*/ 2705382 w 5365133"/>
              <a:gd name="connsiteY10536" fmla="*/ 3479031 h 4367670"/>
              <a:gd name="connsiteX10537" fmla="*/ 2693427 w 5365133"/>
              <a:gd name="connsiteY10537" fmla="*/ 3473068 h 4367670"/>
              <a:gd name="connsiteX10538" fmla="*/ 2687449 w 5365133"/>
              <a:gd name="connsiteY10538" fmla="*/ 3479031 h 4367670"/>
              <a:gd name="connsiteX10539" fmla="*/ 2675492 w 5365133"/>
              <a:gd name="connsiteY10539" fmla="*/ 3473068 h 4367670"/>
              <a:gd name="connsiteX10540" fmla="*/ 2687449 w 5365133"/>
              <a:gd name="connsiteY10540" fmla="*/ 3473068 h 4367670"/>
              <a:gd name="connsiteX10541" fmla="*/ 2695804 w 5365133"/>
              <a:gd name="connsiteY10541" fmla="*/ 3466817 h 4367670"/>
              <a:gd name="connsiteX10542" fmla="*/ 2693410 w 5365133"/>
              <a:gd name="connsiteY10542" fmla="*/ 3460834 h 4367670"/>
              <a:gd name="connsiteX10543" fmla="*/ 2701300 w 5365133"/>
              <a:gd name="connsiteY10543" fmla="*/ 3462627 h 4367670"/>
              <a:gd name="connsiteX10544" fmla="*/ 2701319 w 5365133"/>
              <a:gd name="connsiteY10544" fmla="*/ 3462690 h 4367670"/>
              <a:gd name="connsiteX10545" fmla="*/ 2711360 w 5365133"/>
              <a:gd name="connsiteY10545" fmla="*/ 3455175 h 4367670"/>
              <a:gd name="connsiteX10546" fmla="*/ 2711360 w 5365133"/>
              <a:gd name="connsiteY10546" fmla="*/ 3473068 h 4367670"/>
              <a:gd name="connsiteX10547" fmla="*/ 2717339 w 5365133"/>
              <a:gd name="connsiteY10547" fmla="*/ 3479031 h 4367670"/>
              <a:gd name="connsiteX10548" fmla="*/ 2741251 w 5365133"/>
              <a:gd name="connsiteY10548" fmla="*/ 3461141 h 4367670"/>
              <a:gd name="connsiteX10549" fmla="*/ 2759185 w 5365133"/>
              <a:gd name="connsiteY10549" fmla="*/ 3461141 h 4367670"/>
              <a:gd name="connsiteX10550" fmla="*/ 2902658 w 5365133"/>
              <a:gd name="connsiteY10550" fmla="*/ 3395535 h 4367670"/>
              <a:gd name="connsiteX10551" fmla="*/ 2896679 w 5365133"/>
              <a:gd name="connsiteY10551" fmla="*/ 3407464 h 4367670"/>
              <a:gd name="connsiteX10552" fmla="*/ 2926570 w 5365133"/>
              <a:gd name="connsiteY10552" fmla="*/ 3383608 h 4367670"/>
              <a:gd name="connsiteX10553" fmla="*/ 2962437 w 5365133"/>
              <a:gd name="connsiteY10553" fmla="*/ 3347822 h 4367670"/>
              <a:gd name="connsiteX10554" fmla="*/ 2962437 w 5365133"/>
              <a:gd name="connsiteY10554" fmla="*/ 3353786 h 4367670"/>
              <a:gd name="connsiteX10555" fmla="*/ 2980371 w 5365133"/>
              <a:gd name="connsiteY10555" fmla="*/ 3341859 h 4367670"/>
              <a:gd name="connsiteX10556" fmla="*/ 2980371 w 5365133"/>
              <a:gd name="connsiteY10556" fmla="*/ 3353786 h 4367670"/>
              <a:gd name="connsiteX10557" fmla="*/ 2932548 w 5365133"/>
              <a:gd name="connsiteY10557" fmla="*/ 3371679 h 4367670"/>
              <a:gd name="connsiteX10558" fmla="*/ 2932548 w 5365133"/>
              <a:gd name="connsiteY10558" fmla="*/ 3383608 h 4367670"/>
              <a:gd name="connsiteX10559" fmla="*/ 3010262 w 5365133"/>
              <a:gd name="connsiteY10559" fmla="*/ 3347822 h 4367670"/>
              <a:gd name="connsiteX10560" fmla="*/ 3034174 w 5365133"/>
              <a:gd name="connsiteY10560" fmla="*/ 3341859 h 4367670"/>
              <a:gd name="connsiteX10561" fmla="*/ 3058086 w 5365133"/>
              <a:gd name="connsiteY10561" fmla="*/ 3335895 h 4367670"/>
              <a:gd name="connsiteX10562" fmla="*/ 3064064 w 5365133"/>
              <a:gd name="connsiteY10562" fmla="*/ 3329932 h 4367670"/>
              <a:gd name="connsiteX10563" fmla="*/ 3081999 w 5365133"/>
              <a:gd name="connsiteY10563" fmla="*/ 3312039 h 4367670"/>
              <a:gd name="connsiteX10564" fmla="*/ 3105909 w 5365133"/>
              <a:gd name="connsiteY10564" fmla="*/ 3282219 h 4367670"/>
              <a:gd name="connsiteX10565" fmla="*/ 3117865 w 5365133"/>
              <a:gd name="connsiteY10565" fmla="*/ 3288183 h 4367670"/>
              <a:gd name="connsiteX10566" fmla="*/ 3123843 w 5365133"/>
              <a:gd name="connsiteY10566" fmla="*/ 3300112 h 4367670"/>
              <a:gd name="connsiteX10567" fmla="*/ 3135799 w 5365133"/>
              <a:gd name="connsiteY10567" fmla="*/ 3288183 h 4367670"/>
              <a:gd name="connsiteX10568" fmla="*/ 3117865 w 5365133"/>
              <a:gd name="connsiteY10568" fmla="*/ 3288183 h 4367670"/>
              <a:gd name="connsiteX10569" fmla="*/ 3165690 w 5365133"/>
              <a:gd name="connsiteY10569" fmla="*/ 3270290 h 4367670"/>
              <a:gd name="connsiteX10570" fmla="*/ 3147756 w 5365133"/>
              <a:gd name="connsiteY10570" fmla="*/ 3288183 h 4367670"/>
              <a:gd name="connsiteX10571" fmla="*/ 3141778 w 5365133"/>
              <a:gd name="connsiteY10571" fmla="*/ 3282219 h 4367670"/>
              <a:gd name="connsiteX10572" fmla="*/ 3135799 w 5365133"/>
              <a:gd name="connsiteY10572" fmla="*/ 3294146 h 4367670"/>
              <a:gd name="connsiteX10573" fmla="*/ 3159712 w 5365133"/>
              <a:gd name="connsiteY10573" fmla="*/ 3300112 h 4367670"/>
              <a:gd name="connsiteX10574" fmla="*/ 3147756 w 5365133"/>
              <a:gd name="connsiteY10574" fmla="*/ 3294146 h 4367670"/>
              <a:gd name="connsiteX10575" fmla="*/ 3183624 w 5365133"/>
              <a:gd name="connsiteY10575" fmla="*/ 3276255 h 4367670"/>
              <a:gd name="connsiteX10576" fmla="*/ 3183624 w 5365133"/>
              <a:gd name="connsiteY10576" fmla="*/ 3282219 h 4367670"/>
              <a:gd name="connsiteX10577" fmla="*/ 3195581 w 5365133"/>
              <a:gd name="connsiteY10577" fmla="*/ 3270290 h 4367670"/>
              <a:gd name="connsiteX10578" fmla="*/ 3201559 w 5365133"/>
              <a:gd name="connsiteY10578" fmla="*/ 3282219 h 4367670"/>
              <a:gd name="connsiteX10579" fmla="*/ 3219493 w 5365133"/>
              <a:gd name="connsiteY10579" fmla="*/ 3270290 h 4367670"/>
              <a:gd name="connsiteX10580" fmla="*/ 3249382 w 5365133"/>
              <a:gd name="connsiteY10580" fmla="*/ 3240470 h 4367670"/>
              <a:gd name="connsiteX10581" fmla="*/ 3259526 w 5365133"/>
              <a:gd name="connsiteY10581" fmla="*/ 3251233 h 4367670"/>
              <a:gd name="connsiteX10582" fmla="*/ 3259926 w 5365133"/>
              <a:gd name="connsiteY10582" fmla="*/ 3247994 h 4367670"/>
              <a:gd name="connsiteX10583" fmla="*/ 3265307 w 5365133"/>
              <a:gd name="connsiteY10583" fmla="*/ 3241777 h 4367670"/>
              <a:gd name="connsiteX10584" fmla="*/ 3253008 w 5365133"/>
              <a:gd name="connsiteY10584" fmla="*/ 3235559 h 4367670"/>
              <a:gd name="connsiteX10585" fmla="*/ 3253008 w 5365133"/>
              <a:gd name="connsiteY10585" fmla="*/ 3216905 h 4367670"/>
              <a:gd name="connsiteX10586" fmla="*/ 3265307 w 5365133"/>
              <a:gd name="connsiteY10586" fmla="*/ 3235559 h 4367670"/>
              <a:gd name="connsiteX10587" fmla="*/ 3271457 w 5365133"/>
              <a:gd name="connsiteY10587" fmla="*/ 3235559 h 4367670"/>
              <a:gd name="connsiteX10588" fmla="*/ 3296055 w 5365133"/>
              <a:gd name="connsiteY10588" fmla="*/ 3216905 h 4367670"/>
              <a:gd name="connsiteX10589" fmla="*/ 3279912 w 5365133"/>
              <a:gd name="connsiteY10589" fmla="*/ 3235559 h 4367670"/>
              <a:gd name="connsiteX10590" fmla="*/ 3260877 w 5365133"/>
              <a:gd name="connsiteY10590" fmla="*/ 3252667 h 4367670"/>
              <a:gd name="connsiteX10591" fmla="*/ 3261152 w 5365133"/>
              <a:gd name="connsiteY10591" fmla="*/ 3252958 h 4367670"/>
              <a:gd name="connsiteX10592" fmla="*/ 3303184 w 5365133"/>
              <a:gd name="connsiteY10592" fmla="*/ 3234507 h 4367670"/>
              <a:gd name="connsiteX10593" fmla="*/ 3291228 w 5365133"/>
              <a:gd name="connsiteY10593" fmla="*/ 3234507 h 4367670"/>
              <a:gd name="connsiteX10594" fmla="*/ 3311404 w 5365133"/>
              <a:gd name="connsiteY10594" fmla="*/ 3226307 h 4367670"/>
              <a:gd name="connsiteX10595" fmla="*/ 3323609 w 5365133"/>
              <a:gd name="connsiteY10595" fmla="*/ 3223407 h 4367670"/>
              <a:gd name="connsiteX10596" fmla="*/ 3330084 w 5365133"/>
              <a:gd name="connsiteY10596" fmla="*/ 3225561 h 4367670"/>
              <a:gd name="connsiteX10597" fmla="*/ 3333074 w 5365133"/>
              <a:gd name="connsiteY10597" fmla="*/ 3228543 h 4367670"/>
              <a:gd name="connsiteX10598" fmla="*/ 3339053 w 5365133"/>
              <a:gd name="connsiteY10598" fmla="*/ 3234507 h 4367670"/>
              <a:gd name="connsiteX10599" fmla="*/ 3339053 w 5365133"/>
              <a:gd name="connsiteY10599" fmla="*/ 3228543 h 4367670"/>
              <a:gd name="connsiteX10600" fmla="*/ 3330084 w 5365133"/>
              <a:gd name="connsiteY10600" fmla="*/ 3225561 h 4367670"/>
              <a:gd name="connsiteX10601" fmla="*/ 3327097 w 5365133"/>
              <a:gd name="connsiteY10601" fmla="*/ 3222579 h 4367670"/>
              <a:gd name="connsiteX10602" fmla="*/ 3323609 w 5365133"/>
              <a:gd name="connsiteY10602" fmla="*/ 3223407 h 4367670"/>
              <a:gd name="connsiteX10603" fmla="*/ 3321119 w 5365133"/>
              <a:gd name="connsiteY10603" fmla="*/ 3222579 h 4367670"/>
              <a:gd name="connsiteX10604" fmla="*/ 3351009 w 5365133"/>
              <a:gd name="connsiteY10604" fmla="*/ 3210650 h 4367670"/>
              <a:gd name="connsiteX10605" fmla="*/ 3356985 w 5365133"/>
              <a:gd name="connsiteY10605" fmla="*/ 3216615 h 4367670"/>
              <a:gd name="connsiteX10606" fmla="*/ 3362963 w 5365133"/>
              <a:gd name="connsiteY10606" fmla="*/ 3210650 h 4367670"/>
              <a:gd name="connsiteX10607" fmla="*/ 3398832 w 5365133"/>
              <a:gd name="connsiteY10607" fmla="*/ 3192760 h 4367670"/>
              <a:gd name="connsiteX10608" fmla="*/ 3392854 w 5365133"/>
              <a:gd name="connsiteY10608" fmla="*/ 3198723 h 4367670"/>
              <a:gd name="connsiteX10609" fmla="*/ 3404810 w 5365133"/>
              <a:gd name="connsiteY10609" fmla="*/ 3198723 h 4367670"/>
              <a:gd name="connsiteX10610" fmla="*/ 3398832 w 5365133"/>
              <a:gd name="connsiteY10610" fmla="*/ 3204687 h 4367670"/>
              <a:gd name="connsiteX10611" fmla="*/ 3404810 w 5365133"/>
              <a:gd name="connsiteY10611" fmla="*/ 3216615 h 4367670"/>
              <a:gd name="connsiteX10612" fmla="*/ 3398832 w 5365133"/>
              <a:gd name="connsiteY10612" fmla="*/ 3216615 h 4367670"/>
              <a:gd name="connsiteX10613" fmla="*/ 3398832 w 5365133"/>
              <a:gd name="connsiteY10613" fmla="*/ 3223112 h 4367670"/>
              <a:gd name="connsiteX10614" fmla="*/ 3399007 w 5365133"/>
              <a:gd name="connsiteY10614" fmla="*/ 3223465 h 4367670"/>
              <a:gd name="connsiteX10615" fmla="*/ 3399007 w 5365133"/>
              <a:gd name="connsiteY10615" fmla="*/ 3230383 h 4367670"/>
              <a:gd name="connsiteX10616" fmla="*/ 3399007 w 5365133"/>
              <a:gd name="connsiteY10616" fmla="*/ 3234432 h 4367670"/>
              <a:gd name="connsiteX10617" fmla="*/ 3424986 w 5365133"/>
              <a:gd name="connsiteY10617" fmla="*/ 3223324 h 4367670"/>
              <a:gd name="connsiteX10618" fmla="*/ 3446657 w 5365133"/>
              <a:gd name="connsiteY10618" fmla="*/ 3216615 h 4367670"/>
              <a:gd name="connsiteX10619" fmla="*/ 3399007 w 5365133"/>
              <a:gd name="connsiteY10619" fmla="*/ 3237943 h 4367670"/>
              <a:gd name="connsiteX10620" fmla="*/ 3399007 w 5365133"/>
              <a:gd name="connsiteY10620" fmla="*/ 3241913 h 4367670"/>
              <a:gd name="connsiteX10621" fmla="*/ 3386203 w 5365133"/>
              <a:gd name="connsiteY10621" fmla="*/ 3243674 h 4367670"/>
              <a:gd name="connsiteX10622" fmla="*/ 3338954 w 5365133"/>
              <a:gd name="connsiteY10622" fmla="*/ 3264822 h 4367670"/>
              <a:gd name="connsiteX10623" fmla="*/ 3338529 w 5365133"/>
              <a:gd name="connsiteY10623" fmla="*/ 3265691 h 4367670"/>
              <a:gd name="connsiteX10624" fmla="*/ 3338102 w 5365133"/>
              <a:gd name="connsiteY10624" fmla="*/ 3265203 h 4367670"/>
              <a:gd name="connsiteX10625" fmla="*/ 3308414 w 5365133"/>
              <a:gd name="connsiteY10625" fmla="*/ 3278492 h 4367670"/>
              <a:gd name="connsiteX10626" fmla="*/ 3165690 w 5365133"/>
              <a:gd name="connsiteY10626" fmla="*/ 3335895 h 4367670"/>
              <a:gd name="connsiteX10627" fmla="*/ 3141778 w 5365133"/>
              <a:gd name="connsiteY10627" fmla="*/ 3353786 h 4367670"/>
              <a:gd name="connsiteX10628" fmla="*/ 3135799 w 5365133"/>
              <a:gd name="connsiteY10628" fmla="*/ 3347822 h 4367670"/>
              <a:gd name="connsiteX10629" fmla="*/ 3081999 w 5365133"/>
              <a:gd name="connsiteY10629" fmla="*/ 3371679 h 4367670"/>
              <a:gd name="connsiteX10630" fmla="*/ 3081999 w 5365133"/>
              <a:gd name="connsiteY10630" fmla="*/ 3365715 h 4367670"/>
              <a:gd name="connsiteX10631" fmla="*/ 3064064 w 5365133"/>
              <a:gd name="connsiteY10631" fmla="*/ 3365715 h 4367670"/>
              <a:gd name="connsiteX10632" fmla="*/ 3076021 w 5365133"/>
              <a:gd name="connsiteY10632" fmla="*/ 3383608 h 4367670"/>
              <a:gd name="connsiteX10633" fmla="*/ 3058086 w 5365133"/>
              <a:gd name="connsiteY10633" fmla="*/ 3383608 h 4367670"/>
              <a:gd name="connsiteX10634" fmla="*/ 3058086 w 5365133"/>
              <a:gd name="connsiteY10634" fmla="*/ 3389572 h 4367670"/>
              <a:gd name="connsiteX10635" fmla="*/ 2549954 w 5365133"/>
              <a:gd name="connsiteY10635" fmla="*/ 3610240 h 4367670"/>
              <a:gd name="connsiteX10636" fmla="*/ 2442350 w 5365133"/>
              <a:gd name="connsiteY10636" fmla="*/ 3651989 h 4367670"/>
              <a:gd name="connsiteX10637" fmla="*/ 2059758 w 5365133"/>
              <a:gd name="connsiteY10637" fmla="*/ 3830909 h 4367670"/>
              <a:gd name="connsiteX10638" fmla="*/ 2131493 w 5365133"/>
              <a:gd name="connsiteY10638" fmla="*/ 3818982 h 4367670"/>
              <a:gd name="connsiteX10639" fmla="*/ 2197252 w 5365133"/>
              <a:gd name="connsiteY10639" fmla="*/ 3777233 h 4367670"/>
              <a:gd name="connsiteX10640" fmla="*/ 2197252 w 5365133"/>
              <a:gd name="connsiteY10640" fmla="*/ 3789160 h 4367670"/>
              <a:gd name="connsiteX10641" fmla="*/ 2215186 w 5365133"/>
              <a:gd name="connsiteY10641" fmla="*/ 3765306 h 4367670"/>
              <a:gd name="connsiteX10642" fmla="*/ 2233120 w 5365133"/>
              <a:gd name="connsiteY10642" fmla="*/ 3759341 h 4367670"/>
              <a:gd name="connsiteX10643" fmla="*/ 2257034 w 5365133"/>
              <a:gd name="connsiteY10643" fmla="*/ 3759341 h 4367670"/>
              <a:gd name="connsiteX10644" fmla="*/ 2257034 w 5365133"/>
              <a:gd name="connsiteY10644" fmla="*/ 3747413 h 4367670"/>
              <a:gd name="connsiteX10645" fmla="*/ 2304856 w 5365133"/>
              <a:gd name="connsiteY10645" fmla="*/ 3741449 h 4367670"/>
              <a:gd name="connsiteX10646" fmla="*/ 2304856 w 5365133"/>
              <a:gd name="connsiteY10646" fmla="*/ 3729520 h 4367670"/>
              <a:gd name="connsiteX10647" fmla="*/ 2549954 w 5365133"/>
              <a:gd name="connsiteY10647" fmla="*/ 3616204 h 4367670"/>
              <a:gd name="connsiteX10648" fmla="*/ 2555932 w 5365133"/>
              <a:gd name="connsiteY10648" fmla="*/ 3622168 h 4367670"/>
              <a:gd name="connsiteX10649" fmla="*/ 2627669 w 5365133"/>
              <a:gd name="connsiteY10649" fmla="*/ 3586384 h 4367670"/>
              <a:gd name="connsiteX10650" fmla="*/ 2633647 w 5365133"/>
              <a:gd name="connsiteY10650" fmla="*/ 3598313 h 4367670"/>
              <a:gd name="connsiteX10651" fmla="*/ 2645604 w 5365133"/>
              <a:gd name="connsiteY10651" fmla="*/ 3598313 h 4367670"/>
              <a:gd name="connsiteX10652" fmla="*/ 2633647 w 5365133"/>
              <a:gd name="connsiteY10652" fmla="*/ 3580421 h 4367670"/>
              <a:gd name="connsiteX10653" fmla="*/ 2657558 w 5365133"/>
              <a:gd name="connsiteY10653" fmla="*/ 3574457 h 4367670"/>
              <a:gd name="connsiteX10654" fmla="*/ 2657558 w 5365133"/>
              <a:gd name="connsiteY10654" fmla="*/ 3580421 h 4367670"/>
              <a:gd name="connsiteX10655" fmla="*/ 2663535 w 5365133"/>
              <a:gd name="connsiteY10655" fmla="*/ 3568494 h 4367670"/>
              <a:gd name="connsiteX10656" fmla="*/ 2765163 w 5365133"/>
              <a:gd name="connsiteY10656" fmla="*/ 3532708 h 4367670"/>
              <a:gd name="connsiteX10657" fmla="*/ 2759185 w 5365133"/>
              <a:gd name="connsiteY10657" fmla="*/ 3532708 h 4367670"/>
              <a:gd name="connsiteX10658" fmla="*/ 2818966 w 5365133"/>
              <a:gd name="connsiteY10658" fmla="*/ 3514817 h 4367670"/>
              <a:gd name="connsiteX10659" fmla="*/ 2836899 w 5365133"/>
              <a:gd name="connsiteY10659" fmla="*/ 3490961 h 4367670"/>
              <a:gd name="connsiteX10660" fmla="*/ 2842877 w 5365133"/>
              <a:gd name="connsiteY10660" fmla="*/ 3502888 h 4367670"/>
              <a:gd name="connsiteX10661" fmla="*/ 2878745 w 5365133"/>
              <a:gd name="connsiteY10661" fmla="*/ 3484997 h 4367670"/>
              <a:gd name="connsiteX10662" fmla="*/ 2872767 w 5365133"/>
              <a:gd name="connsiteY10662" fmla="*/ 3479031 h 4367670"/>
              <a:gd name="connsiteX10663" fmla="*/ 2908636 w 5365133"/>
              <a:gd name="connsiteY10663" fmla="*/ 3467104 h 4367670"/>
              <a:gd name="connsiteX10664" fmla="*/ 2920592 w 5365133"/>
              <a:gd name="connsiteY10664" fmla="*/ 3473068 h 4367670"/>
              <a:gd name="connsiteX10665" fmla="*/ 2956461 w 5365133"/>
              <a:gd name="connsiteY10665" fmla="*/ 3443248 h 4367670"/>
              <a:gd name="connsiteX10666" fmla="*/ 2962437 w 5365133"/>
              <a:gd name="connsiteY10666" fmla="*/ 3455175 h 4367670"/>
              <a:gd name="connsiteX10667" fmla="*/ 2980371 w 5365133"/>
              <a:gd name="connsiteY10667" fmla="*/ 3431321 h 4367670"/>
              <a:gd name="connsiteX10668" fmla="*/ 2998305 w 5365133"/>
              <a:gd name="connsiteY10668" fmla="*/ 3431321 h 4367670"/>
              <a:gd name="connsiteX10669" fmla="*/ 3004283 w 5365133"/>
              <a:gd name="connsiteY10669" fmla="*/ 3437285 h 4367670"/>
              <a:gd name="connsiteX10670" fmla="*/ 3022218 w 5365133"/>
              <a:gd name="connsiteY10670" fmla="*/ 3431321 h 4367670"/>
              <a:gd name="connsiteX10671" fmla="*/ 3016239 w 5365133"/>
              <a:gd name="connsiteY10671" fmla="*/ 3419392 h 4367670"/>
              <a:gd name="connsiteX10672" fmla="*/ 3028196 w 5365133"/>
              <a:gd name="connsiteY10672" fmla="*/ 3413428 h 4367670"/>
              <a:gd name="connsiteX10673" fmla="*/ 3034174 w 5365133"/>
              <a:gd name="connsiteY10673" fmla="*/ 3425355 h 4367670"/>
              <a:gd name="connsiteX10674" fmla="*/ 3087977 w 5365133"/>
              <a:gd name="connsiteY10674" fmla="*/ 3395535 h 4367670"/>
              <a:gd name="connsiteX10675" fmla="*/ 3099931 w 5365133"/>
              <a:gd name="connsiteY10675" fmla="*/ 3401501 h 4367670"/>
              <a:gd name="connsiteX10676" fmla="*/ 3093953 w 5365133"/>
              <a:gd name="connsiteY10676" fmla="*/ 3395535 h 4367670"/>
              <a:gd name="connsiteX10677" fmla="*/ 3123843 w 5365133"/>
              <a:gd name="connsiteY10677" fmla="*/ 3383608 h 4367670"/>
              <a:gd name="connsiteX10678" fmla="*/ 3129822 w 5365133"/>
              <a:gd name="connsiteY10678" fmla="*/ 3389572 h 4367670"/>
              <a:gd name="connsiteX10679" fmla="*/ 3129822 w 5365133"/>
              <a:gd name="connsiteY10679" fmla="*/ 3377645 h 4367670"/>
              <a:gd name="connsiteX10680" fmla="*/ 3404810 w 5365133"/>
              <a:gd name="connsiteY10680" fmla="*/ 3270290 h 4367670"/>
              <a:gd name="connsiteX10681" fmla="*/ 3530348 w 5365133"/>
              <a:gd name="connsiteY10681" fmla="*/ 3222579 h 4367670"/>
              <a:gd name="connsiteX10682" fmla="*/ 3620018 w 5365133"/>
              <a:gd name="connsiteY10682" fmla="*/ 3180830 h 4367670"/>
              <a:gd name="connsiteX10683" fmla="*/ 3793381 w 5365133"/>
              <a:gd name="connsiteY10683" fmla="*/ 3109263 h 4367670"/>
              <a:gd name="connsiteX10684" fmla="*/ 3799359 w 5365133"/>
              <a:gd name="connsiteY10684" fmla="*/ 3109263 h 4367670"/>
              <a:gd name="connsiteX10685" fmla="*/ 4223797 w 5365133"/>
              <a:gd name="connsiteY10685" fmla="*/ 2930342 h 4367670"/>
              <a:gd name="connsiteX10686" fmla="*/ 4229775 w 5365133"/>
              <a:gd name="connsiteY10686" fmla="*/ 2930342 h 4367670"/>
              <a:gd name="connsiteX10687" fmla="*/ 4337379 w 5365133"/>
              <a:gd name="connsiteY10687" fmla="*/ 2888595 h 4367670"/>
              <a:gd name="connsiteX10688" fmla="*/ 4426302 w 5365133"/>
              <a:gd name="connsiteY10688" fmla="*/ 2845356 h 4367670"/>
              <a:gd name="connsiteX10689" fmla="*/ 4492276 w 5365133"/>
              <a:gd name="connsiteY10689" fmla="*/ 2823255 h 4367670"/>
              <a:gd name="connsiteX10690" fmla="*/ 4433027 w 5365133"/>
              <a:gd name="connsiteY10690" fmla="*/ 2852811 h 4367670"/>
              <a:gd name="connsiteX10691" fmla="*/ 4432207 w 5365133"/>
              <a:gd name="connsiteY10691" fmla="*/ 2853972 h 4367670"/>
              <a:gd name="connsiteX10692" fmla="*/ 4432186 w 5365133"/>
              <a:gd name="connsiteY10692" fmla="*/ 2853649 h 4367670"/>
              <a:gd name="connsiteX10693" fmla="*/ 4427048 w 5365133"/>
              <a:gd name="connsiteY10693" fmla="*/ 2852811 h 4367670"/>
              <a:gd name="connsiteX10694" fmla="*/ 4379226 w 5365133"/>
              <a:gd name="connsiteY10694" fmla="*/ 2876666 h 4367670"/>
              <a:gd name="connsiteX10695" fmla="*/ 4080325 w 5365133"/>
              <a:gd name="connsiteY10695" fmla="*/ 2989982 h 4367670"/>
              <a:gd name="connsiteX10696" fmla="*/ 3871094 w 5365133"/>
              <a:gd name="connsiteY10696" fmla="*/ 3091370 h 4367670"/>
              <a:gd name="connsiteX10697" fmla="*/ 3811314 w 5365133"/>
              <a:gd name="connsiteY10697" fmla="*/ 3109263 h 4367670"/>
              <a:gd name="connsiteX10698" fmla="*/ 3823270 w 5365133"/>
              <a:gd name="connsiteY10698" fmla="*/ 3115227 h 4367670"/>
              <a:gd name="connsiteX10699" fmla="*/ 3787403 w 5365133"/>
              <a:gd name="connsiteY10699" fmla="*/ 3127154 h 4367670"/>
              <a:gd name="connsiteX10700" fmla="*/ 3787403 w 5365133"/>
              <a:gd name="connsiteY10700" fmla="*/ 3121191 h 4367670"/>
              <a:gd name="connsiteX10701" fmla="*/ 3775445 w 5365133"/>
              <a:gd name="connsiteY10701" fmla="*/ 3127154 h 4367670"/>
              <a:gd name="connsiteX10702" fmla="*/ 3775445 w 5365133"/>
              <a:gd name="connsiteY10702" fmla="*/ 3133120 h 4367670"/>
              <a:gd name="connsiteX10703" fmla="*/ 3763490 w 5365133"/>
              <a:gd name="connsiteY10703" fmla="*/ 3127154 h 4367670"/>
              <a:gd name="connsiteX10704" fmla="*/ 3763490 w 5365133"/>
              <a:gd name="connsiteY10704" fmla="*/ 3139083 h 4367670"/>
              <a:gd name="connsiteX10705" fmla="*/ 3751535 w 5365133"/>
              <a:gd name="connsiteY10705" fmla="*/ 3145047 h 4367670"/>
              <a:gd name="connsiteX10706" fmla="*/ 3745556 w 5365133"/>
              <a:gd name="connsiteY10706" fmla="*/ 3139083 h 4367670"/>
              <a:gd name="connsiteX10707" fmla="*/ 3739579 w 5365133"/>
              <a:gd name="connsiteY10707" fmla="*/ 3151010 h 4367670"/>
              <a:gd name="connsiteX10708" fmla="*/ 3733601 w 5365133"/>
              <a:gd name="connsiteY10708" fmla="*/ 3139083 h 4367670"/>
              <a:gd name="connsiteX10709" fmla="*/ 3727623 w 5365133"/>
              <a:gd name="connsiteY10709" fmla="*/ 3151010 h 4367670"/>
              <a:gd name="connsiteX10710" fmla="*/ 3727623 w 5365133"/>
              <a:gd name="connsiteY10710" fmla="*/ 3145047 h 4367670"/>
              <a:gd name="connsiteX10711" fmla="*/ 3721645 w 5365133"/>
              <a:gd name="connsiteY10711" fmla="*/ 3156974 h 4367670"/>
              <a:gd name="connsiteX10712" fmla="*/ 3715667 w 5365133"/>
              <a:gd name="connsiteY10712" fmla="*/ 3151010 h 4367670"/>
              <a:gd name="connsiteX10713" fmla="*/ 3709690 w 5365133"/>
              <a:gd name="connsiteY10713" fmla="*/ 3156974 h 4367670"/>
              <a:gd name="connsiteX10714" fmla="*/ 3715667 w 5365133"/>
              <a:gd name="connsiteY10714" fmla="*/ 3180830 h 4367670"/>
              <a:gd name="connsiteX10715" fmla="*/ 3721645 w 5365133"/>
              <a:gd name="connsiteY10715" fmla="*/ 3176358 h 4367670"/>
              <a:gd name="connsiteX10716" fmla="*/ 3722077 w 5365133"/>
              <a:gd name="connsiteY10716" fmla="*/ 3175065 h 4367670"/>
              <a:gd name="connsiteX10717" fmla="*/ 3725101 w 5365133"/>
              <a:gd name="connsiteY10717" fmla="*/ 3176451 h 4367670"/>
              <a:gd name="connsiteX10718" fmla="*/ 3727623 w 5365133"/>
              <a:gd name="connsiteY10718" fmla="*/ 3168903 h 4367670"/>
              <a:gd name="connsiteX10719" fmla="*/ 3733601 w 5365133"/>
              <a:gd name="connsiteY10719" fmla="*/ 3180830 h 4367670"/>
              <a:gd name="connsiteX10720" fmla="*/ 3733601 w 5365133"/>
              <a:gd name="connsiteY10720" fmla="*/ 3162939 h 4367670"/>
              <a:gd name="connsiteX10721" fmla="*/ 3769468 w 5365133"/>
              <a:gd name="connsiteY10721" fmla="*/ 3162939 h 4367670"/>
              <a:gd name="connsiteX10722" fmla="*/ 3775445 w 5365133"/>
              <a:gd name="connsiteY10722" fmla="*/ 3151010 h 4367670"/>
              <a:gd name="connsiteX10723" fmla="*/ 3769468 w 5365133"/>
              <a:gd name="connsiteY10723" fmla="*/ 3151010 h 4367670"/>
              <a:gd name="connsiteX10724" fmla="*/ 3781424 w 5365133"/>
              <a:gd name="connsiteY10724" fmla="*/ 3151010 h 4367670"/>
              <a:gd name="connsiteX10725" fmla="*/ 3769468 w 5365133"/>
              <a:gd name="connsiteY10725" fmla="*/ 3168903 h 4367670"/>
              <a:gd name="connsiteX10726" fmla="*/ 3631974 w 5365133"/>
              <a:gd name="connsiteY10726" fmla="*/ 3228543 h 4367670"/>
              <a:gd name="connsiteX10727" fmla="*/ 3625996 w 5365133"/>
              <a:gd name="connsiteY10727" fmla="*/ 3216615 h 4367670"/>
              <a:gd name="connsiteX10728" fmla="*/ 3620018 w 5365133"/>
              <a:gd name="connsiteY10728" fmla="*/ 3234507 h 4367670"/>
              <a:gd name="connsiteX10729" fmla="*/ 3590129 w 5365133"/>
              <a:gd name="connsiteY10729" fmla="*/ 3234507 h 4367670"/>
              <a:gd name="connsiteX10730" fmla="*/ 3548282 w 5365133"/>
              <a:gd name="connsiteY10730" fmla="*/ 3258363 h 4367670"/>
              <a:gd name="connsiteX10731" fmla="*/ 3548282 w 5365133"/>
              <a:gd name="connsiteY10731" fmla="*/ 3252399 h 4367670"/>
              <a:gd name="connsiteX10732" fmla="*/ 3548282 w 5365133"/>
              <a:gd name="connsiteY10732" fmla="*/ 3246436 h 4367670"/>
              <a:gd name="connsiteX10733" fmla="*/ 3536326 w 5365133"/>
              <a:gd name="connsiteY10733" fmla="*/ 3258363 h 4367670"/>
              <a:gd name="connsiteX10734" fmla="*/ 3536326 w 5365133"/>
              <a:gd name="connsiteY10734" fmla="*/ 3264327 h 4367670"/>
              <a:gd name="connsiteX10735" fmla="*/ 3518392 w 5365133"/>
              <a:gd name="connsiteY10735" fmla="*/ 3252399 h 4367670"/>
              <a:gd name="connsiteX10736" fmla="*/ 3518392 w 5365133"/>
              <a:gd name="connsiteY10736" fmla="*/ 3270290 h 4367670"/>
              <a:gd name="connsiteX10737" fmla="*/ 3488501 w 5365133"/>
              <a:gd name="connsiteY10737" fmla="*/ 3270290 h 4367670"/>
              <a:gd name="connsiteX10738" fmla="*/ 3488501 w 5365133"/>
              <a:gd name="connsiteY10738" fmla="*/ 3282219 h 4367670"/>
              <a:gd name="connsiteX10739" fmla="*/ 3440679 w 5365133"/>
              <a:gd name="connsiteY10739" fmla="*/ 3306076 h 4367670"/>
              <a:gd name="connsiteX10740" fmla="*/ 3416766 w 5365133"/>
              <a:gd name="connsiteY10740" fmla="*/ 3312039 h 4367670"/>
              <a:gd name="connsiteX10741" fmla="*/ 3374919 w 5365133"/>
              <a:gd name="connsiteY10741" fmla="*/ 3335895 h 4367670"/>
              <a:gd name="connsiteX10742" fmla="*/ 3374919 w 5365133"/>
              <a:gd name="connsiteY10742" fmla="*/ 3329932 h 4367670"/>
              <a:gd name="connsiteX10743" fmla="*/ 3362963 w 5365133"/>
              <a:gd name="connsiteY10743" fmla="*/ 3335895 h 4367670"/>
              <a:gd name="connsiteX10744" fmla="*/ 3356985 w 5365133"/>
              <a:gd name="connsiteY10744" fmla="*/ 3347822 h 4367670"/>
              <a:gd name="connsiteX10745" fmla="*/ 3333074 w 5365133"/>
              <a:gd name="connsiteY10745" fmla="*/ 3353786 h 4367670"/>
              <a:gd name="connsiteX10746" fmla="*/ 3333074 w 5365133"/>
              <a:gd name="connsiteY10746" fmla="*/ 3341859 h 4367670"/>
              <a:gd name="connsiteX10747" fmla="*/ 3321119 w 5365133"/>
              <a:gd name="connsiteY10747" fmla="*/ 3353786 h 4367670"/>
              <a:gd name="connsiteX10748" fmla="*/ 3261338 w 5365133"/>
              <a:gd name="connsiteY10748" fmla="*/ 3383608 h 4367670"/>
              <a:gd name="connsiteX10749" fmla="*/ 3255359 w 5365133"/>
              <a:gd name="connsiteY10749" fmla="*/ 3377645 h 4367670"/>
              <a:gd name="connsiteX10750" fmla="*/ 3195581 w 5365133"/>
              <a:gd name="connsiteY10750" fmla="*/ 3383608 h 4367670"/>
              <a:gd name="connsiteX10751" fmla="*/ 3195581 w 5365133"/>
              <a:gd name="connsiteY10751" fmla="*/ 3401501 h 4367670"/>
              <a:gd name="connsiteX10752" fmla="*/ 3213514 w 5365133"/>
              <a:gd name="connsiteY10752" fmla="*/ 3401501 h 4367670"/>
              <a:gd name="connsiteX10753" fmla="*/ 3153734 w 5365133"/>
              <a:gd name="connsiteY10753" fmla="*/ 3425355 h 4367670"/>
              <a:gd name="connsiteX10754" fmla="*/ 3147756 w 5365133"/>
              <a:gd name="connsiteY10754" fmla="*/ 3413428 h 4367670"/>
              <a:gd name="connsiteX10755" fmla="*/ 3147756 w 5365133"/>
              <a:gd name="connsiteY10755" fmla="*/ 3431321 h 4367670"/>
              <a:gd name="connsiteX10756" fmla="*/ 3117865 w 5365133"/>
              <a:gd name="connsiteY10756" fmla="*/ 3443248 h 4367670"/>
              <a:gd name="connsiteX10757" fmla="*/ 3093953 w 5365133"/>
              <a:gd name="connsiteY10757" fmla="*/ 3443248 h 4367670"/>
              <a:gd name="connsiteX10758" fmla="*/ 3105909 w 5365133"/>
              <a:gd name="connsiteY10758" fmla="*/ 3443248 h 4367670"/>
              <a:gd name="connsiteX10759" fmla="*/ 3087977 w 5365133"/>
              <a:gd name="connsiteY10759" fmla="*/ 3455175 h 4367670"/>
              <a:gd name="connsiteX10760" fmla="*/ 3087977 w 5365133"/>
              <a:gd name="connsiteY10760" fmla="*/ 3437285 h 4367670"/>
              <a:gd name="connsiteX10761" fmla="*/ 3064064 w 5365133"/>
              <a:gd name="connsiteY10761" fmla="*/ 3473068 h 4367670"/>
              <a:gd name="connsiteX10762" fmla="*/ 3040152 w 5365133"/>
              <a:gd name="connsiteY10762" fmla="*/ 3484997 h 4367670"/>
              <a:gd name="connsiteX10763" fmla="*/ 2956461 w 5365133"/>
              <a:gd name="connsiteY10763" fmla="*/ 3520781 h 4367670"/>
              <a:gd name="connsiteX10764" fmla="*/ 2950482 w 5365133"/>
              <a:gd name="connsiteY10764" fmla="*/ 3496924 h 4367670"/>
              <a:gd name="connsiteX10765" fmla="*/ 2950482 w 5365133"/>
              <a:gd name="connsiteY10765" fmla="*/ 3520781 h 4367670"/>
              <a:gd name="connsiteX10766" fmla="*/ 2902658 w 5365133"/>
              <a:gd name="connsiteY10766" fmla="*/ 3538671 h 4367670"/>
              <a:gd name="connsiteX10767" fmla="*/ 2914614 w 5365133"/>
              <a:gd name="connsiteY10767" fmla="*/ 3520781 h 4367670"/>
              <a:gd name="connsiteX10768" fmla="*/ 2896679 w 5365133"/>
              <a:gd name="connsiteY10768" fmla="*/ 3520781 h 4367670"/>
              <a:gd name="connsiteX10769" fmla="*/ 2890702 w 5365133"/>
              <a:gd name="connsiteY10769" fmla="*/ 3544637 h 4367670"/>
              <a:gd name="connsiteX10770" fmla="*/ 2890702 w 5365133"/>
              <a:gd name="connsiteY10770" fmla="*/ 3538671 h 4367670"/>
              <a:gd name="connsiteX10771" fmla="*/ 2795054 w 5365133"/>
              <a:gd name="connsiteY10771" fmla="*/ 3586384 h 4367670"/>
              <a:gd name="connsiteX10772" fmla="*/ 2801032 w 5365133"/>
              <a:gd name="connsiteY10772" fmla="*/ 3568494 h 4367670"/>
              <a:gd name="connsiteX10773" fmla="*/ 2789076 w 5365133"/>
              <a:gd name="connsiteY10773" fmla="*/ 3598313 h 4367670"/>
              <a:gd name="connsiteX10774" fmla="*/ 2771142 w 5365133"/>
              <a:gd name="connsiteY10774" fmla="*/ 3598313 h 4367670"/>
              <a:gd name="connsiteX10775" fmla="*/ 2771142 w 5365133"/>
              <a:gd name="connsiteY10775" fmla="*/ 3592348 h 4367670"/>
              <a:gd name="connsiteX10776" fmla="*/ 2759185 w 5365133"/>
              <a:gd name="connsiteY10776" fmla="*/ 3598313 h 4367670"/>
              <a:gd name="connsiteX10777" fmla="*/ 2759185 w 5365133"/>
              <a:gd name="connsiteY10777" fmla="*/ 3610240 h 4367670"/>
              <a:gd name="connsiteX10778" fmla="*/ 2741251 w 5365133"/>
              <a:gd name="connsiteY10778" fmla="*/ 3604277 h 4367670"/>
              <a:gd name="connsiteX10779" fmla="*/ 2741251 w 5365133"/>
              <a:gd name="connsiteY10779" fmla="*/ 3616204 h 4367670"/>
              <a:gd name="connsiteX10780" fmla="*/ 2693427 w 5365133"/>
              <a:gd name="connsiteY10780" fmla="*/ 3622168 h 4367670"/>
              <a:gd name="connsiteX10781" fmla="*/ 2705382 w 5365133"/>
              <a:gd name="connsiteY10781" fmla="*/ 3634097 h 4367670"/>
              <a:gd name="connsiteX10782" fmla="*/ 2657558 w 5365133"/>
              <a:gd name="connsiteY10782" fmla="*/ 3651989 h 4367670"/>
              <a:gd name="connsiteX10783" fmla="*/ 2651581 w 5365133"/>
              <a:gd name="connsiteY10783" fmla="*/ 3646024 h 4367670"/>
              <a:gd name="connsiteX10784" fmla="*/ 2651581 w 5365133"/>
              <a:gd name="connsiteY10784" fmla="*/ 3657953 h 4367670"/>
              <a:gd name="connsiteX10785" fmla="*/ 2478219 w 5365133"/>
              <a:gd name="connsiteY10785" fmla="*/ 3729520 h 4367670"/>
              <a:gd name="connsiteX10786" fmla="*/ 2466263 w 5365133"/>
              <a:gd name="connsiteY10786" fmla="*/ 3723556 h 4367670"/>
              <a:gd name="connsiteX10787" fmla="*/ 2466263 w 5365133"/>
              <a:gd name="connsiteY10787" fmla="*/ 3735486 h 4367670"/>
              <a:gd name="connsiteX10788" fmla="*/ 2430394 w 5365133"/>
              <a:gd name="connsiteY10788" fmla="*/ 3747413 h 4367670"/>
              <a:gd name="connsiteX10789" fmla="*/ 2424416 w 5365133"/>
              <a:gd name="connsiteY10789" fmla="*/ 3759341 h 4367670"/>
              <a:gd name="connsiteX10790" fmla="*/ 2424416 w 5365133"/>
              <a:gd name="connsiteY10790" fmla="*/ 3741449 h 4367670"/>
              <a:gd name="connsiteX10791" fmla="*/ 2412460 w 5365133"/>
              <a:gd name="connsiteY10791" fmla="*/ 3735486 h 4367670"/>
              <a:gd name="connsiteX10792" fmla="*/ 2400504 w 5365133"/>
              <a:gd name="connsiteY10792" fmla="*/ 3753377 h 4367670"/>
              <a:gd name="connsiteX10793" fmla="*/ 2406482 w 5365133"/>
              <a:gd name="connsiteY10793" fmla="*/ 3771269 h 4367670"/>
              <a:gd name="connsiteX10794" fmla="*/ 2352680 w 5365133"/>
              <a:gd name="connsiteY10794" fmla="*/ 3777233 h 4367670"/>
              <a:gd name="connsiteX10795" fmla="*/ 2358659 w 5365133"/>
              <a:gd name="connsiteY10795" fmla="*/ 3789160 h 4367670"/>
              <a:gd name="connsiteX10796" fmla="*/ 2346703 w 5365133"/>
              <a:gd name="connsiteY10796" fmla="*/ 3789160 h 4367670"/>
              <a:gd name="connsiteX10797" fmla="*/ 2346703 w 5365133"/>
              <a:gd name="connsiteY10797" fmla="*/ 3777233 h 4367670"/>
              <a:gd name="connsiteX10798" fmla="*/ 2334746 w 5365133"/>
              <a:gd name="connsiteY10798" fmla="*/ 3795126 h 4367670"/>
              <a:gd name="connsiteX10799" fmla="*/ 2286922 w 5365133"/>
              <a:gd name="connsiteY10799" fmla="*/ 3824946 h 4367670"/>
              <a:gd name="connsiteX10800" fmla="*/ 2149427 w 5365133"/>
              <a:gd name="connsiteY10800" fmla="*/ 3890549 h 4367670"/>
              <a:gd name="connsiteX10801" fmla="*/ 2059758 w 5365133"/>
              <a:gd name="connsiteY10801" fmla="*/ 3920369 h 4367670"/>
              <a:gd name="connsiteX10802" fmla="*/ 2041824 w 5365133"/>
              <a:gd name="connsiteY10802" fmla="*/ 3926333 h 4367670"/>
              <a:gd name="connsiteX10803" fmla="*/ 2035846 w 5365133"/>
              <a:gd name="connsiteY10803" fmla="*/ 3944226 h 4367670"/>
              <a:gd name="connsiteX10804" fmla="*/ 2023889 w 5365133"/>
              <a:gd name="connsiteY10804" fmla="*/ 3944226 h 4367670"/>
              <a:gd name="connsiteX10805" fmla="*/ 1999979 w 5365133"/>
              <a:gd name="connsiteY10805" fmla="*/ 3962118 h 4367670"/>
              <a:gd name="connsiteX10806" fmla="*/ 1844551 w 5365133"/>
              <a:gd name="connsiteY10806" fmla="*/ 4033685 h 4367670"/>
              <a:gd name="connsiteX10807" fmla="*/ 1796726 w 5365133"/>
              <a:gd name="connsiteY10807" fmla="*/ 4051578 h 4367670"/>
              <a:gd name="connsiteX10808" fmla="*/ 1796726 w 5365133"/>
              <a:gd name="connsiteY10808" fmla="*/ 4069471 h 4367670"/>
              <a:gd name="connsiteX10809" fmla="*/ 1766835 w 5365133"/>
              <a:gd name="connsiteY10809" fmla="*/ 4081398 h 4367670"/>
              <a:gd name="connsiteX10810" fmla="*/ 1766835 w 5365133"/>
              <a:gd name="connsiteY10810" fmla="*/ 4069471 h 4367670"/>
              <a:gd name="connsiteX10811" fmla="*/ 1772814 w 5365133"/>
              <a:gd name="connsiteY10811" fmla="*/ 4075435 h 4367670"/>
              <a:gd name="connsiteX10812" fmla="*/ 1778791 w 5365133"/>
              <a:gd name="connsiteY10812" fmla="*/ 4063505 h 4367670"/>
              <a:gd name="connsiteX10813" fmla="*/ 1760857 w 5365133"/>
              <a:gd name="connsiteY10813" fmla="*/ 4063505 h 4367670"/>
              <a:gd name="connsiteX10814" fmla="*/ 1748901 w 5365133"/>
              <a:gd name="connsiteY10814" fmla="*/ 4075435 h 4367670"/>
              <a:gd name="connsiteX10815" fmla="*/ 1736947 w 5365133"/>
              <a:gd name="connsiteY10815" fmla="*/ 4087362 h 4367670"/>
              <a:gd name="connsiteX10816" fmla="*/ 1760857 w 5365133"/>
              <a:gd name="connsiteY10816" fmla="*/ 4081398 h 4367670"/>
              <a:gd name="connsiteX10817" fmla="*/ 1719012 w 5365133"/>
              <a:gd name="connsiteY10817" fmla="*/ 4105254 h 4367670"/>
              <a:gd name="connsiteX10818" fmla="*/ 1677166 w 5365133"/>
              <a:gd name="connsiteY10818" fmla="*/ 4129111 h 4367670"/>
              <a:gd name="connsiteX10819" fmla="*/ 1641297 w 5365133"/>
              <a:gd name="connsiteY10819" fmla="*/ 4129111 h 4367670"/>
              <a:gd name="connsiteX10820" fmla="*/ 1653254 w 5365133"/>
              <a:gd name="connsiteY10820" fmla="*/ 4135075 h 4367670"/>
              <a:gd name="connsiteX10821" fmla="*/ 1581518 w 5365133"/>
              <a:gd name="connsiteY10821" fmla="*/ 4164894 h 4367670"/>
              <a:gd name="connsiteX10822" fmla="*/ 1491847 w 5365133"/>
              <a:gd name="connsiteY10822" fmla="*/ 4212607 h 4367670"/>
              <a:gd name="connsiteX10823" fmla="*/ 1408156 w 5365133"/>
              <a:gd name="connsiteY10823" fmla="*/ 4248391 h 4367670"/>
              <a:gd name="connsiteX10824" fmla="*/ 1396199 w 5365133"/>
              <a:gd name="connsiteY10824" fmla="*/ 4266284 h 4367670"/>
              <a:gd name="connsiteX10825" fmla="*/ 1169036 w 5365133"/>
              <a:gd name="connsiteY10825" fmla="*/ 4367670 h 4367670"/>
              <a:gd name="connsiteX10826" fmla="*/ 1186970 w 5365133"/>
              <a:gd name="connsiteY10826" fmla="*/ 4343814 h 4367670"/>
              <a:gd name="connsiteX10827" fmla="*/ 1163057 w 5365133"/>
              <a:gd name="connsiteY10827" fmla="*/ 4349779 h 4367670"/>
              <a:gd name="connsiteX10828" fmla="*/ 1169036 w 5365133"/>
              <a:gd name="connsiteY10828" fmla="*/ 4355743 h 4367670"/>
              <a:gd name="connsiteX10829" fmla="*/ 1151101 w 5365133"/>
              <a:gd name="connsiteY10829" fmla="*/ 4361707 h 4367670"/>
              <a:gd name="connsiteX10830" fmla="*/ 1157079 w 5365133"/>
              <a:gd name="connsiteY10830" fmla="*/ 4349779 h 4367670"/>
              <a:gd name="connsiteX10831" fmla="*/ 1145123 w 5365133"/>
              <a:gd name="connsiteY10831" fmla="*/ 4349779 h 4367670"/>
              <a:gd name="connsiteX10832" fmla="*/ 1169036 w 5365133"/>
              <a:gd name="connsiteY10832" fmla="*/ 4331887 h 4367670"/>
              <a:gd name="connsiteX10833" fmla="*/ 1169036 w 5365133"/>
              <a:gd name="connsiteY10833" fmla="*/ 4325923 h 4367670"/>
              <a:gd name="connsiteX10834" fmla="*/ 1133167 w 5365133"/>
              <a:gd name="connsiteY10834" fmla="*/ 4337851 h 4367670"/>
              <a:gd name="connsiteX10835" fmla="*/ 1109254 w 5365133"/>
              <a:gd name="connsiteY10835" fmla="*/ 4337851 h 4367670"/>
              <a:gd name="connsiteX10836" fmla="*/ 1145123 w 5365133"/>
              <a:gd name="connsiteY10836" fmla="*/ 4331887 h 4367670"/>
              <a:gd name="connsiteX10837" fmla="*/ 1151101 w 5365133"/>
              <a:gd name="connsiteY10837" fmla="*/ 4319958 h 4367670"/>
              <a:gd name="connsiteX10838" fmla="*/ 1133167 w 5365133"/>
              <a:gd name="connsiteY10838" fmla="*/ 4319958 h 4367670"/>
              <a:gd name="connsiteX10839" fmla="*/ 1133167 w 5365133"/>
              <a:gd name="connsiteY10839" fmla="*/ 4313994 h 4367670"/>
              <a:gd name="connsiteX10840" fmla="*/ 1121211 w 5365133"/>
              <a:gd name="connsiteY10840" fmla="*/ 4319958 h 4367670"/>
              <a:gd name="connsiteX10841" fmla="*/ 1121211 w 5365133"/>
              <a:gd name="connsiteY10841" fmla="*/ 4308030 h 4367670"/>
              <a:gd name="connsiteX10842" fmla="*/ 1091321 w 5365133"/>
              <a:gd name="connsiteY10842" fmla="*/ 4331887 h 4367670"/>
              <a:gd name="connsiteX10843" fmla="*/ 1210882 w 5365133"/>
              <a:gd name="connsiteY10843" fmla="*/ 4254354 h 4367670"/>
              <a:gd name="connsiteX10844" fmla="*/ 1085344 w 5365133"/>
              <a:gd name="connsiteY10844" fmla="*/ 4290138 h 4367670"/>
              <a:gd name="connsiteX10845" fmla="*/ 1115232 w 5365133"/>
              <a:gd name="connsiteY10845" fmla="*/ 4254354 h 4367670"/>
              <a:gd name="connsiteX10846" fmla="*/ 1127189 w 5365133"/>
              <a:gd name="connsiteY10846" fmla="*/ 4260318 h 4367670"/>
              <a:gd name="connsiteX10847" fmla="*/ 1121211 w 5365133"/>
              <a:gd name="connsiteY10847" fmla="*/ 4254354 h 4367670"/>
              <a:gd name="connsiteX10848" fmla="*/ 1127189 w 5365133"/>
              <a:gd name="connsiteY10848" fmla="*/ 4242427 h 4367670"/>
              <a:gd name="connsiteX10849" fmla="*/ 1109254 w 5365133"/>
              <a:gd name="connsiteY10849" fmla="*/ 4242427 h 4367670"/>
              <a:gd name="connsiteX10850" fmla="*/ 1121211 w 5365133"/>
              <a:gd name="connsiteY10850" fmla="*/ 4242427 h 4367670"/>
              <a:gd name="connsiteX10851" fmla="*/ 1103276 w 5365133"/>
              <a:gd name="connsiteY10851" fmla="*/ 4236461 h 4367670"/>
              <a:gd name="connsiteX10852" fmla="*/ 1055454 w 5365133"/>
              <a:gd name="connsiteY10852" fmla="*/ 4254354 h 4367670"/>
              <a:gd name="connsiteX10853" fmla="*/ 1061432 w 5365133"/>
              <a:gd name="connsiteY10853" fmla="*/ 4242427 h 4367670"/>
              <a:gd name="connsiteX10854" fmla="*/ 1186970 w 5365133"/>
              <a:gd name="connsiteY10854" fmla="*/ 4152965 h 4367670"/>
              <a:gd name="connsiteX10855" fmla="*/ 1175879 w 5365133"/>
              <a:gd name="connsiteY10855" fmla="*/ 4150803 h 4367670"/>
              <a:gd name="connsiteX10856" fmla="*/ 1172666 w 5365133"/>
              <a:gd name="connsiteY10856" fmla="*/ 4151490 h 4367670"/>
              <a:gd name="connsiteX10857" fmla="*/ 1163804 w 5365133"/>
              <a:gd name="connsiteY10857" fmla="*/ 4155948 h 4367670"/>
              <a:gd name="connsiteX10858" fmla="*/ 1154183 w 5365133"/>
              <a:gd name="connsiteY10858" fmla="*/ 4161353 h 4367670"/>
              <a:gd name="connsiteX10859" fmla="*/ 1150783 w 5365133"/>
              <a:gd name="connsiteY10859" fmla="*/ 4160444 h 4367670"/>
              <a:gd name="connsiteX10860" fmla="*/ 1149492 w 5365133"/>
              <a:gd name="connsiteY10860" fmla="*/ 4161049 h 4367670"/>
              <a:gd name="connsiteX10861" fmla="*/ 1149492 w 5365133"/>
              <a:gd name="connsiteY10861" fmla="*/ 4160099 h 4367670"/>
              <a:gd name="connsiteX10862" fmla="*/ 1145123 w 5365133"/>
              <a:gd name="connsiteY10862" fmla="*/ 4158930 h 4367670"/>
              <a:gd name="connsiteX10863" fmla="*/ 1135409 w 5365133"/>
              <a:gd name="connsiteY10863" fmla="*/ 4172349 h 4367670"/>
              <a:gd name="connsiteX10864" fmla="*/ 1124337 w 5365133"/>
              <a:gd name="connsiteY10864" fmla="*/ 4175837 h 4367670"/>
              <a:gd name="connsiteX10865" fmla="*/ 1127189 w 5365133"/>
              <a:gd name="connsiteY10865" fmla="*/ 4170858 h 4367670"/>
              <a:gd name="connsiteX10866" fmla="*/ 1085344 w 5365133"/>
              <a:gd name="connsiteY10866" fmla="*/ 4182787 h 4367670"/>
              <a:gd name="connsiteX10867" fmla="*/ 1088520 w 5365133"/>
              <a:gd name="connsiteY10867" fmla="*/ 4178349 h 4367670"/>
              <a:gd name="connsiteX10868" fmla="*/ 1097298 w 5365133"/>
              <a:gd name="connsiteY10868" fmla="*/ 4176821 h 4367670"/>
              <a:gd name="connsiteX10869" fmla="*/ 1089080 w 5365133"/>
              <a:gd name="connsiteY10869" fmla="*/ 4177567 h 4367670"/>
              <a:gd name="connsiteX10870" fmla="*/ 1088520 w 5365133"/>
              <a:gd name="connsiteY10870" fmla="*/ 4178349 h 4367670"/>
              <a:gd name="connsiteX10871" fmla="*/ 1081234 w 5365133"/>
              <a:gd name="connsiteY10871" fmla="*/ 4179617 h 4367670"/>
              <a:gd name="connsiteX10872" fmla="*/ 1037519 w 5365133"/>
              <a:gd name="connsiteY10872" fmla="*/ 4194714 h 4367670"/>
              <a:gd name="connsiteX10873" fmla="*/ 1073388 w 5365133"/>
              <a:gd name="connsiteY10873" fmla="*/ 4152965 h 4367670"/>
              <a:gd name="connsiteX10874" fmla="*/ 1055454 w 5365133"/>
              <a:gd name="connsiteY10874" fmla="*/ 4135075 h 4367670"/>
              <a:gd name="connsiteX10875" fmla="*/ 1043497 w 5365133"/>
              <a:gd name="connsiteY10875" fmla="*/ 4135075 h 4367670"/>
              <a:gd name="connsiteX10876" fmla="*/ 1037519 w 5365133"/>
              <a:gd name="connsiteY10876" fmla="*/ 4135075 h 4367670"/>
              <a:gd name="connsiteX10877" fmla="*/ 1031541 w 5365133"/>
              <a:gd name="connsiteY10877" fmla="*/ 4135075 h 4367670"/>
              <a:gd name="connsiteX10878" fmla="*/ 1031541 w 5365133"/>
              <a:gd name="connsiteY10878" fmla="*/ 4147002 h 4367670"/>
              <a:gd name="connsiteX10879" fmla="*/ 1043497 w 5365133"/>
              <a:gd name="connsiteY10879" fmla="*/ 4147002 h 4367670"/>
              <a:gd name="connsiteX10880" fmla="*/ 1037519 w 5365133"/>
              <a:gd name="connsiteY10880" fmla="*/ 4152965 h 4367670"/>
              <a:gd name="connsiteX10881" fmla="*/ 1013607 w 5365133"/>
              <a:gd name="connsiteY10881" fmla="*/ 4147002 h 4367670"/>
              <a:gd name="connsiteX10882" fmla="*/ 1031541 w 5365133"/>
              <a:gd name="connsiteY10882" fmla="*/ 4129111 h 4367670"/>
              <a:gd name="connsiteX10883" fmla="*/ 1037519 w 5365133"/>
              <a:gd name="connsiteY10883" fmla="*/ 4111218 h 4367670"/>
              <a:gd name="connsiteX10884" fmla="*/ 995672 w 5365133"/>
              <a:gd name="connsiteY10884" fmla="*/ 4117182 h 4367670"/>
              <a:gd name="connsiteX10885" fmla="*/ 1019585 w 5365133"/>
              <a:gd name="connsiteY10885" fmla="*/ 4105254 h 4367670"/>
              <a:gd name="connsiteX10886" fmla="*/ 1025563 w 5365133"/>
              <a:gd name="connsiteY10886" fmla="*/ 4105254 h 4367670"/>
              <a:gd name="connsiteX10887" fmla="*/ 1019585 w 5365133"/>
              <a:gd name="connsiteY10887" fmla="*/ 4081398 h 4367670"/>
              <a:gd name="connsiteX10888" fmla="*/ 1013607 w 5365133"/>
              <a:gd name="connsiteY10888" fmla="*/ 4090169 h 4367670"/>
              <a:gd name="connsiteX10889" fmla="*/ 1013607 w 5365133"/>
              <a:gd name="connsiteY10889" fmla="*/ 4075435 h 4367670"/>
              <a:gd name="connsiteX10890" fmla="*/ 1007629 w 5365133"/>
              <a:gd name="connsiteY10890" fmla="*/ 4087362 h 4367670"/>
              <a:gd name="connsiteX10891" fmla="*/ 1001651 w 5365133"/>
              <a:gd name="connsiteY10891" fmla="*/ 4069471 h 4367670"/>
              <a:gd name="connsiteX10892" fmla="*/ 1019585 w 5365133"/>
              <a:gd name="connsiteY10892" fmla="*/ 4063505 h 4367670"/>
              <a:gd name="connsiteX10893" fmla="*/ 1007629 w 5365133"/>
              <a:gd name="connsiteY10893" fmla="*/ 4045614 h 4367670"/>
              <a:gd name="connsiteX10894" fmla="*/ 1001651 w 5365133"/>
              <a:gd name="connsiteY10894" fmla="*/ 4027722 h 4367670"/>
              <a:gd name="connsiteX10895" fmla="*/ 1001651 w 5365133"/>
              <a:gd name="connsiteY10895" fmla="*/ 4033685 h 4367670"/>
              <a:gd name="connsiteX10896" fmla="*/ 983716 w 5365133"/>
              <a:gd name="connsiteY10896" fmla="*/ 4027722 h 4367670"/>
              <a:gd name="connsiteX10897" fmla="*/ 983716 w 5365133"/>
              <a:gd name="connsiteY10897" fmla="*/ 4033685 h 4367670"/>
              <a:gd name="connsiteX10898" fmla="*/ 1001651 w 5365133"/>
              <a:gd name="connsiteY10898" fmla="*/ 4039649 h 4367670"/>
              <a:gd name="connsiteX10899" fmla="*/ 989695 w 5365133"/>
              <a:gd name="connsiteY10899" fmla="*/ 4045614 h 4367670"/>
              <a:gd name="connsiteX10900" fmla="*/ 1001651 w 5365133"/>
              <a:gd name="connsiteY10900" fmla="*/ 4051578 h 4367670"/>
              <a:gd name="connsiteX10901" fmla="*/ 983716 w 5365133"/>
              <a:gd name="connsiteY10901" fmla="*/ 4057542 h 4367670"/>
              <a:gd name="connsiteX10902" fmla="*/ 977738 w 5365133"/>
              <a:gd name="connsiteY10902" fmla="*/ 4045614 h 4367670"/>
              <a:gd name="connsiteX10903" fmla="*/ 983716 w 5365133"/>
              <a:gd name="connsiteY10903" fmla="*/ 4021758 h 4367670"/>
              <a:gd name="connsiteX10904" fmla="*/ 959804 w 5365133"/>
              <a:gd name="connsiteY10904" fmla="*/ 4033685 h 4367670"/>
              <a:gd name="connsiteX10905" fmla="*/ 983716 w 5365133"/>
              <a:gd name="connsiteY10905" fmla="*/ 4009829 h 4367670"/>
              <a:gd name="connsiteX10906" fmla="*/ 953828 w 5365133"/>
              <a:gd name="connsiteY10906" fmla="*/ 4009829 h 4367670"/>
              <a:gd name="connsiteX10907" fmla="*/ 983716 w 5365133"/>
              <a:gd name="connsiteY10907" fmla="*/ 3974045 h 4367670"/>
              <a:gd name="connsiteX10908" fmla="*/ 971761 w 5365133"/>
              <a:gd name="connsiteY10908" fmla="*/ 3980009 h 4367670"/>
              <a:gd name="connsiteX10909" fmla="*/ 971761 w 5365133"/>
              <a:gd name="connsiteY10909" fmla="*/ 3962118 h 4367670"/>
              <a:gd name="connsiteX10910" fmla="*/ 947850 w 5365133"/>
              <a:gd name="connsiteY10910" fmla="*/ 3962118 h 4367670"/>
              <a:gd name="connsiteX10911" fmla="*/ 956127 w 5365133"/>
              <a:gd name="connsiteY10911" fmla="*/ 3951107 h 4367670"/>
              <a:gd name="connsiteX10912" fmla="*/ 959804 w 5365133"/>
              <a:gd name="connsiteY10912" fmla="*/ 3950189 h 4367670"/>
              <a:gd name="connsiteX10913" fmla="*/ 960119 w 5365133"/>
              <a:gd name="connsiteY10913" fmla="*/ 3945795 h 4367670"/>
              <a:gd name="connsiteX10914" fmla="*/ 965782 w 5365133"/>
              <a:gd name="connsiteY10914" fmla="*/ 3938262 h 4367670"/>
              <a:gd name="connsiteX10915" fmla="*/ 960552 w 5365133"/>
              <a:gd name="connsiteY10915" fmla="*/ 3939753 h 4367670"/>
              <a:gd name="connsiteX10916" fmla="*/ 960119 w 5365133"/>
              <a:gd name="connsiteY10916" fmla="*/ 3945795 h 4367670"/>
              <a:gd name="connsiteX10917" fmla="*/ 956127 w 5365133"/>
              <a:gd name="connsiteY10917" fmla="*/ 3951107 h 4367670"/>
              <a:gd name="connsiteX10918" fmla="*/ 935894 w 5365133"/>
              <a:gd name="connsiteY10918" fmla="*/ 3956153 h 4367670"/>
              <a:gd name="connsiteX10919" fmla="*/ 941872 w 5365133"/>
              <a:gd name="connsiteY10919" fmla="*/ 3938262 h 4367670"/>
              <a:gd name="connsiteX10920" fmla="*/ 965782 w 5365133"/>
              <a:gd name="connsiteY10920" fmla="*/ 3920369 h 4367670"/>
              <a:gd name="connsiteX10921" fmla="*/ 917959 w 5365133"/>
              <a:gd name="connsiteY10921" fmla="*/ 3938262 h 4367670"/>
              <a:gd name="connsiteX10922" fmla="*/ 947850 w 5365133"/>
              <a:gd name="connsiteY10922" fmla="*/ 3914405 h 4367670"/>
              <a:gd name="connsiteX10923" fmla="*/ 935894 w 5365133"/>
              <a:gd name="connsiteY10923" fmla="*/ 3920369 h 4367670"/>
              <a:gd name="connsiteX10924" fmla="*/ 911981 w 5365133"/>
              <a:gd name="connsiteY10924" fmla="*/ 3920369 h 4367670"/>
              <a:gd name="connsiteX10925" fmla="*/ 935894 w 5365133"/>
              <a:gd name="connsiteY10925" fmla="*/ 3914405 h 4367670"/>
              <a:gd name="connsiteX10926" fmla="*/ 947850 w 5365133"/>
              <a:gd name="connsiteY10926" fmla="*/ 3890549 h 4367670"/>
              <a:gd name="connsiteX10927" fmla="*/ 929916 w 5365133"/>
              <a:gd name="connsiteY10927" fmla="*/ 3896513 h 4367670"/>
              <a:gd name="connsiteX10928" fmla="*/ 953828 w 5365133"/>
              <a:gd name="connsiteY10928" fmla="*/ 3866693 h 4367670"/>
              <a:gd name="connsiteX10929" fmla="*/ 906003 w 5365133"/>
              <a:gd name="connsiteY10929" fmla="*/ 3872657 h 4367670"/>
              <a:gd name="connsiteX10930" fmla="*/ 906003 w 5365133"/>
              <a:gd name="connsiteY10930" fmla="*/ 3860729 h 4367670"/>
              <a:gd name="connsiteX10931" fmla="*/ 894047 w 5365133"/>
              <a:gd name="connsiteY10931" fmla="*/ 3866693 h 4367670"/>
              <a:gd name="connsiteX10932" fmla="*/ 906003 w 5365133"/>
              <a:gd name="connsiteY10932" fmla="*/ 3848802 h 4367670"/>
              <a:gd name="connsiteX10933" fmla="*/ 900025 w 5365133"/>
              <a:gd name="connsiteY10933" fmla="*/ 3842836 h 4367670"/>
              <a:gd name="connsiteX10934" fmla="*/ 882091 w 5365133"/>
              <a:gd name="connsiteY10934" fmla="*/ 3854765 h 4367670"/>
              <a:gd name="connsiteX10935" fmla="*/ 900025 w 5365133"/>
              <a:gd name="connsiteY10935" fmla="*/ 3836873 h 4367670"/>
              <a:gd name="connsiteX10936" fmla="*/ 888069 w 5365133"/>
              <a:gd name="connsiteY10936" fmla="*/ 3836873 h 4367670"/>
              <a:gd name="connsiteX10937" fmla="*/ 876113 w 5365133"/>
              <a:gd name="connsiteY10937" fmla="*/ 3830909 h 4367670"/>
              <a:gd name="connsiteX10938" fmla="*/ 894047 w 5365133"/>
              <a:gd name="connsiteY10938" fmla="*/ 3795126 h 4367670"/>
              <a:gd name="connsiteX10939" fmla="*/ 876113 w 5365133"/>
              <a:gd name="connsiteY10939" fmla="*/ 3801089 h 4367670"/>
              <a:gd name="connsiteX10940" fmla="*/ 852201 w 5365133"/>
              <a:gd name="connsiteY10940" fmla="*/ 3783196 h 4367670"/>
              <a:gd name="connsiteX10941" fmla="*/ 840244 w 5365133"/>
              <a:gd name="connsiteY10941" fmla="*/ 3765306 h 4367670"/>
              <a:gd name="connsiteX10942" fmla="*/ 858178 w 5365133"/>
              <a:gd name="connsiteY10942" fmla="*/ 3753377 h 4367670"/>
              <a:gd name="connsiteX10943" fmla="*/ 852201 w 5365133"/>
              <a:gd name="connsiteY10943" fmla="*/ 3747413 h 4367670"/>
              <a:gd name="connsiteX10944" fmla="*/ 882091 w 5365133"/>
              <a:gd name="connsiteY10944" fmla="*/ 3717593 h 4367670"/>
              <a:gd name="connsiteX10945" fmla="*/ 852201 w 5365133"/>
              <a:gd name="connsiteY10945" fmla="*/ 3729520 h 4367670"/>
              <a:gd name="connsiteX10946" fmla="*/ 852673 w 5365133"/>
              <a:gd name="connsiteY10946" fmla="*/ 3721656 h 4367670"/>
              <a:gd name="connsiteX10947" fmla="*/ 846932 w 5365133"/>
              <a:gd name="connsiteY10947" fmla="*/ 3727904 h 4367670"/>
              <a:gd name="connsiteX10948" fmla="*/ 843195 w 5365133"/>
              <a:gd name="connsiteY10948" fmla="*/ 3736852 h 4367670"/>
              <a:gd name="connsiteX10949" fmla="*/ 616032 w 5365133"/>
              <a:gd name="connsiteY10949" fmla="*/ 3838239 h 4367670"/>
              <a:gd name="connsiteX10950" fmla="*/ 633965 w 5365133"/>
              <a:gd name="connsiteY10950" fmla="*/ 3814383 h 4367670"/>
              <a:gd name="connsiteX10951" fmla="*/ 610053 w 5365133"/>
              <a:gd name="connsiteY10951" fmla="*/ 3820348 h 4367670"/>
              <a:gd name="connsiteX10952" fmla="*/ 616032 w 5365133"/>
              <a:gd name="connsiteY10952" fmla="*/ 3826312 h 4367670"/>
              <a:gd name="connsiteX10953" fmla="*/ 598097 w 5365133"/>
              <a:gd name="connsiteY10953" fmla="*/ 3832276 h 4367670"/>
              <a:gd name="connsiteX10954" fmla="*/ 604075 w 5365133"/>
              <a:gd name="connsiteY10954" fmla="*/ 3820348 h 4367670"/>
              <a:gd name="connsiteX10955" fmla="*/ 592119 w 5365133"/>
              <a:gd name="connsiteY10955" fmla="*/ 3820348 h 4367670"/>
              <a:gd name="connsiteX10956" fmla="*/ 616032 w 5365133"/>
              <a:gd name="connsiteY10956" fmla="*/ 3802455 h 4367670"/>
              <a:gd name="connsiteX10957" fmla="*/ 616032 w 5365133"/>
              <a:gd name="connsiteY10957" fmla="*/ 3796491 h 4367670"/>
              <a:gd name="connsiteX10958" fmla="*/ 580163 w 5365133"/>
              <a:gd name="connsiteY10958" fmla="*/ 3808419 h 4367670"/>
              <a:gd name="connsiteX10959" fmla="*/ 556250 w 5365133"/>
              <a:gd name="connsiteY10959" fmla="*/ 3808419 h 4367670"/>
              <a:gd name="connsiteX10960" fmla="*/ 592119 w 5365133"/>
              <a:gd name="connsiteY10960" fmla="*/ 3802455 h 4367670"/>
              <a:gd name="connsiteX10961" fmla="*/ 598097 w 5365133"/>
              <a:gd name="connsiteY10961" fmla="*/ 3790526 h 4367670"/>
              <a:gd name="connsiteX10962" fmla="*/ 580163 w 5365133"/>
              <a:gd name="connsiteY10962" fmla="*/ 3790526 h 4367670"/>
              <a:gd name="connsiteX10963" fmla="*/ 580163 w 5365133"/>
              <a:gd name="connsiteY10963" fmla="*/ 3784562 h 4367670"/>
              <a:gd name="connsiteX10964" fmla="*/ 568207 w 5365133"/>
              <a:gd name="connsiteY10964" fmla="*/ 3790526 h 4367670"/>
              <a:gd name="connsiteX10965" fmla="*/ 568207 w 5365133"/>
              <a:gd name="connsiteY10965" fmla="*/ 3778599 h 4367670"/>
              <a:gd name="connsiteX10966" fmla="*/ 538317 w 5365133"/>
              <a:gd name="connsiteY10966" fmla="*/ 3802455 h 4367670"/>
              <a:gd name="connsiteX10967" fmla="*/ 657878 w 5365133"/>
              <a:gd name="connsiteY10967" fmla="*/ 3724922 h 4367670"/>
              <a:gd name="connsiteX10968" fmla="*/ 532340 w 5365133"/>
              <a:gd name="connsiteY10968" fmla="*/ 3760706 h 4367670"/>
              <a:gd name="connsiteX10969" fmla="*/ 562228 w 5365133"/>
              <a:gd name="connsiteY10969" fmla="*/ 3724922 h 4367670"/>
              <a:gd name="connsiteX10970" fmla="*/ 574185 w 5365133"/>
              <a:gd name="connsiteY10970" fmla="*/ 3730886 h 4367670"/>
              <a:gd name="connsiteX10971" fmla="*/ 568207 w 5365133"/>
              <a:gd name="connsiteY10971" fmla="*/ 3724922 h 4367670"/>
              <a:gd name="connsiteX10972" fmla="*/ 574185 w 5365133"/>
              <a:gd name="connsiteY10972" fmla="*/ 3712996 h 4367670"/>
              <a:gd name="connsiteX10973" fmla="*/ 556250 w 5365133"/>
              <a:gd name="connsiteY10973" fmla="*/ 3712996 h 4367670"/>
              <a:gd name="connsiteX10974" fmla="*/ 568207 w 5365133"/>
              <a:gd name="connsiteY10974" fmla="*/ 3712996 h 4367670"/>
              <a:gd name="connsiteX10975" fmla="*/ 550272 w 5365133"/>
              <a:gd name="connsiteY10975" fmla="*/ 3707030 h 4367670"/>
              <a:gd name="connsiteX10976" fmla="*/ 502450 w 5365133"/>
              <a:gd name="connsiteY10976" fmla="*/ 3724922 h 4367670"/>
              <a:gd name="connsiteX10977" fmla="*/ 508428 w 5365133"/>
              <a:gd name="connsiteY10977" fmla="*/ 3712996 h 4367670"/>
              <a:gd name="connsiteX10978" fmla="*/ 633965 w 5365133"/>
              <a:gd name="connsiteY10978" fmla="*/ 3623534 h 4367670"/>
              <a:gd name="connsiteX10979" fmla="*/ 622875 w 5365133"/>
              <a:gd name="connsiteY10979" fmla="*/ 3621372 h 4367670"/>
              <a:gd name="connsiteX10980" fmla="*/ 619662 w 5365133"/>
              <a:gd name="connsiteY10980" fmla="*/ 3622059 h 4367670"/>
              <a:gd name="connsiteX10981" fmla="*/ 610800 w 5365133"/>
              <a:gd name="connsiteY10981" fmla="*/ 3626516 h 4367670"/>
              <a:gd name="connsiteX10982" fmla="*/ 601179 w 5365133"/>
              <a:gd name="connsiteY10982" fmla="*/ 3631922 h 4367670"/>
              <a:gd name="connsiteX10983" fmla="*/ 597779 w 5365133"/>
              <a:gd name="connsiteY10983" fmla="*/ 3631012 h 4367670"/>
              <a:gd name="connsiteX10984" fmla="*/ 596488 w 5365133"/>
              <a:gd name="connsiteY10984" fmla="*/ 3631618 h 4367670"/>
              <a:gd name="connsiteX10985" fmla="*/ 596488 w 5365133"/>
              <a:gd name="connsiteY10985" fmla="*/ 3630667 h 4367670"/>
              <a:gd name="connsiteX10986" fmla="*/ 592119 w 5365133"/>
              <a:gd name="connsiteY10986" fmla="*/ 3629499 h 4367670"/>
              <a:gd name="connsiteX10987" fmla="*/ 582405 w 5365133"/>
              <a:gd name="connsiteY10987" fmla="*/ 3642917 h 4367670"/>
              <a:gd name="connsiteX10988" fmla="*/ 571333 w 5365133"/>
              <a:gd name="connsiteY10988" fmla="*/ 3646405 h 4367670"/>
              <a:gd name="connsiteX10989" fmla="*/ 574185 w 5365133"/>
              <a:gd name="connsiteY10989" fmla="*/ 3641427 h 4367670"/>
              <a:gd name="connsiteX10990" fmla="*/ 532340 w 5365133"/>
              <a:gd name="connsiteY10990" fmla="*/ 3653356 h 4367670"/>
              <a:gd name="connsiteX10991" fmla="*/ 535516 w 5365133"/>
              <a:gd name="connsiteY10991" fmla="*/ 3648918 h 4367670"/>
              <a:gd name="connsiteX10992" fmla="*/ 544295 w 5365133"/>
              <a:gd name="connsiteY10992" fmla="*/ 3647390 h 4367670"/>
              <a:gd name="connsiteX10993" fmla="*/ 536076 w 5365133"/>
              <a:gd name="connsiteY10993" fmla="*/ 3648135 h 4367670"/>
              <a:gd name="connsiteX10994" fmla="*/ 535516 w 5365133"/>
              <a:gd name="connsiteY10994" fmla="*/ 3648918 h 4367670"/>
              <a:gd name="connsiteX10995" fmla="*/ 528230 w 5365133"/>
              <a:gd name="connsiteY10995" fmla="*/ 3650185 h 4367670"/>
              <a:gd name="connsiteX10996" fmla="*/ 484515 w 5365133"/>
              <a:gd name="connsiteY10996" fmla="*/ 3665282 h 4367670"/>
              <a:gd name="connsiteX10997" fmla="*/ 520384 w 5365133"/>
              <a:gd name="connsiteY10997" fmla="*/ 3623534 h 4367670"/>
              <a:gd name="connsiteX10998" fmla="*/ 502450 w 5365133"/>
              <a:gd name="connsiteY10998" fmla="*/ 3605643 h 4367670"/>
              <a:gd name="connsiteX10999" fmla="*/ 490493 w 5365133"/>
              <a:gd name="connsiteY10999" fmla="*/ 3605643 h 4367670"/>
              <a:gd name="connsiteX11000" fmla="*/ 484515 w 5365133"/>
              <a:gd name="connsiteY11000" fmla="*/ 3605643 h 4367670"/>
              <a:gd name="connsiteX11001" fmla="*/ 478537 w 5365133"/>
              <a:gd name="connsiteY11001" fmla="*/ 3605643 h 4367670"/>
              <a:gd name="connsiteX11002" fmla="*/ 478537 w 5365133"/>
              <a:gd name="connsiteY11002" fmla="*/ 3617570 h 4367670"/>
              <a:gd name="connsiteX11003" fmla="*/ 490493 w 5365133"/>
              <a:gd name="connsiteY11003" fmla="*/ 3617570 h 4367670"/>
              <a:gd name="connsiteX11004" fmla="*/ 484515 w 5365133"/>
              <a:gd name="connsiteY11004" fmla="*/ 3623534 h 4367670"/>
              <a:gd name="connsiteX11005" fmla="*/ 460603 w 5365133"/>
              <a:gd name="connsiteY11005" fmla="*/ 3617570 h 4367670"/>
              <a:gd name="connsiteX11006" fmla="*/ 478537 w 5365133"/>
              <a:gd name="connsiteY11006" fmla="*/ 3599679 h 4367670"/>
              <a:gd name="connsiteX11007" fmla="*/ 484515 w 5365133"/>
              <a:gd name="connsiteY11007" fmla="*/ 3581787 h 4367670"/>
              <a:gd name="connsiteX11008" fmla="*/ 442668 w 5365133"/>
              <a:gd name="connsiteY11008" fmla="*/ 3587750 h 4367670"/>
              <a:gd name="connsiteX11009" fmla="*/ 466581 w 5365133"/>
              <a:gd name="connsiteY11009" fmla="*/ 3575823 h 4367670"/>
              <a:gd name="connsiteX11010" fmla="*/ 472559 w 5365133"/>
              <a:gd name="connsiteY11010" fmla="*/ 3575823 h 4367670"/>
              <a:gd name="connsiteX11011" fmla="*/ 466581 w 5365133"/>
              <a:gd name="connsiteY11011" fmla="*/ 3551966 h 4367670"/>
              <a:gd name="connsiteX11012" fmla="*/ 460603 w 5365133"/>
              <a:gd name="connsiteY11012" fmla="*/ 3560737 h 4367670"/>
              <a:gd name="connsiteX11013" fmla="*/ 460603 w 5365133"/>
              <a:gd name="connsiteY11013" fmla="*/ 3546003 h 4367670"/>
              <a:gd name="connsiteX11014" fmla="*/ 454625 w 5365133"/>
              <a:gd name="connsiteY11014" fmla="*/ 3557930 h 4367670"/>
              <a:gd name="connsiteX11015" fmla="*/ 448647 w 5365133"/>
              <a:gd name="connsiteY11015" fmla="*/ 3540039 h 4367670"/>
              <a:gd name="connsiteX11016" fmla="*/ 466581 w 5365133"/>
              <a:gd name="connsiteY11016" fmla="*/ 3534074 h 4367670"/>
              <a:gd name="connsiteX11017" fmla="*/ 454625 w 5365133"/>
              <a:gd name="connsiteY11017" fmla="*/ 3516183 h 4367670"/>
              <a:gd name="connsiteX11018" fmla="*/ 448647 w 5365133"/>
              <a:gd name="connsiteY11018" fmla="*/ 3498290 h 4367670"/>
              <a:gd name="connsiteX11019" fmla="*/ 448647 w 5365133"/>
              <a:gd name="connsiteY11019" fmla="*/ 3504254 h 4367670"/>
              <a:gd name="connsiteX11020" fmla="*/ 430712 w 5365133"/>
              <a:gd name="connsiteY11020" fmla="*/ 3498290 h 4367670"/>
              <a:gd name="connsiteX11021" fmla="*/ 430712 w 5365133"/>
              <a:gd name="connsiteY11021" fmla="*/ 3504254 h 4367670"/>
              <a:gd name="connsiteX11022" fmla="*/ 448647 w 5365133"/>
              <a:gd name="connsiteY11022" fmla="*/ 3510218 h 4367670"/>
              <a:gd name="connsiteX11023" fmla="*/ 436690 w 5365133"/>
              <a:gd name="connsiteY11023" fmla="*/ 3516183 h 4367670"/>
              <a:gd name="connsiteX11024" fmla="*/ 448647 w 5365133"/>
              <a:gd name="connsiteY11024" fmla="*/ 3522147 h 4367670"/>
              <a:gd name="connsiteX11025" fmla="*/ 430712 w 5365133"/>
              <a:gd name="connsiteY11025" fmla="*/ 3528110 h 4367670"/>
              <a:gd name="connsiteX11026" fmla="*/ 424734 w 5365133"/>
              <a:gd name="connsiteY11026" fmla="*/ 3516183 h 4367670"/>
              <a:gd name="connsiteX11027" fmla="*/ 430712 w 5365133"/>
              <a:gd name="connsiteY11027" fmla="*/ 3492327 h 4367670"/>
              <a:gd name="connsiteX11028" fmla="*/ 406800 w 5365133"/>
              <a:gd name="connsiteY11028" fmla="*/ 3504254 h 4367670"/>
              <a:gd name="connsiteX11029" fmla="*/ 430712 w 5365133"/>
              <a:gd name="connsiteY11029" fmla="*/ 3480397 h 4367670"/>
              <a:gd name="connsiteX11030" fmla="*/ 400824 w 5365133"/>
              <a:gd name="connsiteY11030" fmla="*/ 3480397 h 4367670"/>
              <a:gd name="connsiteX11031" fmla="*/ 430712 w 5365133"/>
              <a:gd name="connsiteY11031" fmla="*/ 3444614 h 4367670"/>
              <a:gd name="connsiteX11032" fmla="*/ 418757 w 5365133"/>
              <a:gd name="connsiteY11032" fmla="*/ 3450578 h 4367670"/>
              <a:gd name="connsiteX11033" fmla="*/ 418757 w 5365133"/>
              <a:gd name="connsiteY11033" fmla="*/ 3432687 h 4367670"/>
              <a:gd name="connsiteX11034" fmla="*/ 394845 w 5365133"/>
              <a:gd name="connsiteY11034" fmla="*/ 3432687 h 4367670"/>
              <a:gd name="connsiteX11035" fmla="*/ 403123 w 5365133"/>
              <a:gd name="connsiteY11035" fmla="*/ 3421676 h 4367670"/>
              <a:gd name="connsiteX11036" fmla="*/ 406800 w 5365133"/>
              <a:gd name="connsiteY11036" fmla="*/ 3420757 h 4367670"/>
              <a:gd name="connsiteX11037" fmla="*/ 407115 w 5365133"/>
              <a:gd name="connsiteY11037" fmla="*/ 3416363 h 4367670"/>
              <a:gd name="connsiteX11038" fmla="*/ 412778 w 5365133"/>
              <a:gd name="connsiteY11038" fmla="*/ 3408830 h 4367670"/>
              <a:gd name="connsiteX11039" fmla="*/ 407548 w 5365133"/>
              <a:gd name="connsiteY11039" fmla="*/ 3410322 h 4367670"/>
              <a:gd name="connsiteX11040" fmla="*/ 407115 w 5365133"/>
              <a:gd name="connsiteY11040" fmla="*/ 3416363 h 4367670"/>
              <a:gd name="connsiteX11041" fmla="*/ 403123 w 5365133"/>
              <a:gd name="connsiteY11041" fmla="*/ 3421676 h 4367670"/>
              <a:gd name="connsiteX11042" fmla="*/ 382890 w 5365133"/>
              <a:gd name="connsiteY11042" fmla="*/ 3426721 h 4367670"/>
              <a:gd name="connsiteX11043" fmla="*/ 388868 w 5365133"/>
              <a:gd name="connsiteY11043" fmla="*/ 3408830 h 4367670"/>
              <a:gd name="connsiteX11044" fmla="*/ 412778 w 5365133"/>
              <a:gd name="connsiteY11044" fmla="*/ 3390938 h 4367670"/>
              <a:gd name="connsiteX11045" fmla="*/ 364955 w 5365133"/>
              <a:gd name="connsiteY11045" fmla="*/ 3408830 h 4367670"/>
              <a:gd name="connsiteX11046" fmla="*/ 394845 w 5365133"/>
              <a:gd name="connsiteY11046" fmla="*/ 3384974 h 4367670"/>
              <a:gd name="connsiteX11047" fmla="*/ 382890 w 5365133"/>
              <a:gd name="connsiteY11047" fmla="*/ 3390938 h 4367670"/>
              <a:gd name="connsiteX11048" fmla="*/ 358977 w 5365133"/>
              <a:gd name="connsiteY11048" fmla="*/ 3390938 h 4367670"/>
              <a:gd name="connsiteX11049" fmla="*/ 382890 w 5365133"/>
              <a:gd name="connsiteY11049" fmla="*/ 3384974 h 4367670"/>
              <a:gd name="connsiteX11050" fmla="*/ 394845 w 5365133"/>
              <a:gd name="connsiteY11050" fmla="*/ 3361118 h 4367670"/>
              <a:gd name="connsiteX11051" fmla="*/ 376912 w 5365133"/>
              <a:gd name="connsiteY11051" fmla="*/ 3367081 h 4367670"/>
              <a:gd name="connsiteX11052" fmla="*/ 400824 w 5365133"/>
              <a:gd name="connsiteY11052" fmla="*/ 3337262 h 4367670"/>
              <a:gd name="connsiteX11053" fmla="*/ 352999 w 5365133"/>
              <a:gd name="connsiteY11053" fmla="*/ 3343225 h 4367670"/>
              <a:gd name="connsiteX11054" fmla="*/ 352999 w 5365133"/>
              <a:gd name="connsiteY11054" fmla="*/ 3331298 h 4367670"/>
              <a:gd name="connsiteX11055" fmla="*/ 341043 w 5365133"/>
              <a:gd name="connsiteY11055" fmla="*/ 3337262 h 4367670"/>
              <a:gd name="connsiteX11056" fmla="*/ 352999 w 5365133"/>
              <a:gd name="connsiteY11056" fmla="*/ 3319371 h 4367670"/>
              <a:gd name="connsiteX11057" fmla="*/ 347021 w 5365133"/>
              <a:gd name="connsiteY11057" fmla="*/ 3313405 h 4367670"/>
              <a:gd name="connsiteX11058" fmla="*/ 329087 w 5365133"/>
              <a:gd name="connsiteY11058" fmla="*/ 3325334 h 4367670"/>
              <a:gd name="connsiteX11059" fmla="*/ 347021 w 5365133"/>
              <a:gd name="connsiteY11059" fmla="*/ 3307441 h 4367670"/>
              <a:gd name="connsiteX11060" fmla="*/ 335065 w 5365133"/>
              <a:gd name="connsiteY11060" fmla="*/ 3307441 h 4367670"/>
              <a:gd name="connsiteX11061" fmla="*/ 323109 w 5365133"/>
              <a:gd name="connsiteY11061" fmla="*/ 3301478 h 4367670"/>
              <a:gd name="connsiteX11062" fmla="*/ 341043 w 5365133"/>
              <a:gd name="connsiteY11062" fmla="*/ 3265695 h 4367670"/>
              <a:gd name="connsiteX11063" fmla="*/ 323109 w 5365133"/>
              <a:gd name="connsiteY11063" fmla="*/ 3271658 h 4367670"/>
              <a:gd name="connsiteX11064" fmla="*/ 299197 w 5365133"/>
              <a:gd name="connsiteY11064" fmla="*/ 3253765 h 4367670"/>
              <a:gd name="connsiteX11065" fmla="*/ 287240 w 5365133"/>
              <a:gd name="connsiteY11065" fmla="*/ 3235874 h 4367670"/>
              <a:gd name="connsiteX11066" fmla="*/ 305175 w 5365133"/>
              <a:gd name="connsiteY11066" fmla="*/ 3223945 h 4367670"/>
              <a:gd name="connsiteX11067" fmla="*/ 299197 w 5365133"/>
              <a:gd name="connsiteY11067" fmla="*/ 3217982 h 4367670"/>
              <a:gd name="connsiteX11068" fmla="*/ 329087 w 5365133"/>
              <a:gd name="connsiteY11068" fmla="*/ 3188162 h 4367670"/>
              <a:gd name="connsiteX11069" fmla="*/ 299197 w 5365133"/>
              <a:gd name="connsiteY11069" fmla="*/ 3200089 h 4367670"/>
              <a:gd name="connsiteX11070" fmla="*/ 281262 w 5365133"/>
              <a:gd name="connsiteY11070" fmla="*/ 3194125 h 4367670"/>
              <a:gd name="connsiteX11071" fmla="*/ 287240 w 5365133"/>
              <a:gd name="connsiteY11071" fmla="*/ 3164305 h 4367670"/>
              <a:gd name="connsiteX11072" fmla="*/ 293218 w 5365133"/>
              <a:gd name="connsiteY11072" fmla="*/ 3176232 h 4367670"/>
              <a:gd name="connsiteX11073" fmla="*/ 287240 w 5365133"/>
              <a:gd name="connsiteY11073" fmla="*/ 3158342 h 4367670"/>
              <a:gd name="connsiteX11074" fmla="*/ 293218 w 5365133"/>
              <a:gd name="connsiteY11074" fmla="*/ 3140449 h 4367670"/>
              <a:gd name="connsiteX11075" fmla="*/ 287240 w 5365133"/>
              <a:gd name="connsiteY11075" fmla="*/ 3140449 h 4367670"/>
              <a:gd name="connsiteX11076" fmla="*/ 281262 w 5365133"/>
              <a:gd name="connsiteY11076" fmla="*/ 3122558 h 4367670"/>
              <a:gd name="connsiteX11077" fmla="*/ 269308 w 5365133"/>
              <a:gd name="connsiteY11077" fmla="*/ 3110629 h 4367670"/>
              <a:gd name="connsiteX11078" fmla="*/ 281262 w 5365133"/>
              <a:gd name="connsiteY11078" fmla="*/ 3098702 h 4367670"/>
              <a:gd name="connsiteX11079" fmla="*/ 269308 w 5365133"/>
              <a:gd name="connsiteY11079" fmla="*/ 3086773 h 4367670"/>
              <a:gd name="connsiteX11080" fmla="*/ 275286 w 5365133"/>
              <a:gd name="connsiteY11080" fmla="*/ 3092736 h 4367670"/>
              <a:gd name="connsiteX11081" fmla="*/ 275286 w 5365133"/>
              <a:gd name="connsiteY11081" fmla="*/ 3080809 h 4367670"/>
              <a:gd name="connsiteX11082" fmla="*/ 251373 w 5365133"/>
              <a:gd name="connsiteY11082" fmla="*/ 3086773 h 4367670"/>
              <a:gd name="connsiteX11083" fmla="*/ 275286 w 5365133"/>
              <a:gd name="connsiteY11083" fmla="*/ 3074846 h 4367670"/>
              <a:gd name="connsiteX11084" fmla="*/ 263329 w 5365133"/>
              <a:gd name="connsiteY11084" fmla="*/ 3056953 h 4367670"/>
              <a:gd name="connsiteX11085" fmla="*/ 245395 w 5365133"/>
              <a:gd name="connsiteY11085" fmla="*/ 3068882 h 4367670"/>
              <a:gd name="connsiteX11086" fmla="*/ 251373 w 5365133"/>
              <a:gd name="connsiteY11086" fmla="*/ 3062916 h 4367670"/>
              <a:gd name="connsiteX11087" fmla="*/ 257351 w 5365133"/>
              <a:gd name="connsiteY11087" fmla="*/ 3050989 h 4367670"/>
              <a:gd name="connsiteX11088" fmla="*/ 251373 w 5365133"/>
              <a:gd name="connsiteY11088" fmla="*/ 3039062 h 4367670"/>
              <a:gd name="connsiteX11089" fmla="*/ 239417 w 5365133"/>
              <a:gd name="connsiteY11089" fmla="*/ 3045025 h 4367670"/>
              <a:gd name="connsiteX11090" fmla="*/ 245395 w 5365133"/>
              <a:gd name="connsiteY11090" fmla="*/ 3027133 h 4367670"/>
              <a:gd name="connsiteX11091" fmla="*/ 227461 w 5365133"/>
              <a:gd name="connsiteY11091" fmla="*/ 3021169 h 4367670"/>
              <a:gd name="connsiteX11092" fmla="*/ 233439 w 5365133"/>
              <a:gd name="connsiteY11092" fmla="*/ 3015206 h 4367670"/>
              <a:gd name="connsiteX11093" fmla="*/ 215505 w 5365133"/>
              <a:gd name="connsiteY11093" fmla="*/ 2979420 h 4367670"/>
              <a:gd name="connsiteX11094" fmla="*/ 179636 w 5365133"/>
              <a:gd name="connsiteY11094" fmla="*/ 2931709 h 4367670"/>
              <a:gd name="connsiteX11095" fmla="*/ 149746 w 5365133"/>
              <a:gd name="connsiteY11095" fmla="*/ 2901889 h 4367670"/>
              <a:gd name="connsiteX11096" fmla="*/ 143769 w 5365133"/>
              <a:gd name="connsiteY11096" fmla="*/ 2842248 h 4367670"/>
              <a:gd name="connsiteX11097" fmla="*/ 113879 w 5365133"/>
              <a:gd name="connsiteY11097" fmla="*/ 2752788 h 4367670"/>
              <a:gd name="connsiteX11098" fmla="*/ 101923 w 5365133"/>
              <a:gd name="connsiteY11098" fmla="*/ 2561939 h 4367670"/>
              <a:gd name="connsiteX11099" fmla="*/ 89966 w 5365133"/>
              <a:gd name="connsiteY11099" fmla="*/ 2555975 h 4367670"/>
              <a:gd name="connsiteX11100" fmla="*/ 107901 w 5365133"/>
              <a:gd name="connsiteY11100" fmla="*/ 2526155 h 4367670"/>
              <a:gd name="connsiteX11101" fmla="*/ 101923 w 5365133"/>
              <a:gd name="connsiteY11101" fmla="*/ 2514227 h 4367670"/>
              <a:gd name="connsiteX11102" fmla="*/ 78010 w 5365133"/>
              <a:gd name="connsiteY11102" fmla="*/ 2532119 h 4367670"/>
              <a:gd name="connsiteX11103" fmla="*/ 89966 w 5365133"/>
              <a:gd name="connsiteY11103" fmla="*/ 2514227 h 4367670"/>
              <a:gd name="connsiteX11104" fmla="*/ 54098 w 5365133"/>
              <a:gd name="connsiteY11104" fmla="*/ 2412839 h 4367670"/>
              <a:gd name="connsiteX11105" fmla="*/ 66054 w 5365133"/>
              <a:gd name="connsiteY11105" fmla="*/ 2394947 h 4367670"/>
              <a:gd name="connsiteX11106" fmla="*/ 36164 w 5365133"/>
              <a:gd name="connsiteY11106" fmla="*/ 2317414 h 4367670"/>
              <a:gd name="connsiteX11107" fmla="*/ 24208 w 5365133"/>
              <a:gd name="connsiteY11107" fmla="*/ 2132531 h 4367670"/>
              <a:gd name="connsiteX11108" fmla="*/ 297 w 5365133"/>
              <a:gd name="connsiteY11108" fmla="*/ 2126567 h 4367670"/>
              <a:gd name="connsiteX11109" fmla="*/ 227461 w 5365133"/>
              <a:gd name="connsiteY11109" fmla="*/ 1995358 h 4367670"/>
              <a:gd name="connsiteX11110" fmla="*/ 233439 w 5365133"/>
              <a:gd name="connsiteY11110" fmla="*/ 2001322 h 4367670"/>
              <a:gd name="connsiteX11111" fmla="*/ 239417 w 5365133"/>
              <a:gd name="connsiteY11111" fmla="*/ 1995358 h 4367670"/>
              <a:gd name="connsiteX11112" fmla="*/ 257351 w 5365133"/>
              <a:gd name="connsiteY11112" fmla="*/ 1977465 h 4367670"/>
              <a:gd name="connsiteX11113" fmla="*/ 293218 w 5365133"/>
              <a:gd name="connsiteY11113" fmla="*/ 1953609 h 4367670"/>
              <a:gd name="connsiteX11114" fmla="*/ 299197 w 5365133"/>
              <a:gd name="connsiteY11114" fmla="*/ 1959575 h 4367670"/>
              <a:gd name="connsiteX11115" fmla="*/ 352999 w 5365133"/>
              <a:gd name="connsiteY11115" fmla="*/ 1929753 h 4367670"/>
              <a:gd name="connsiteX11116" fmla="*/ 358977 w 5365133"/>
              <a:gd name="connsiteY11116" fmla="*/ 1917825 h 4367670"/>
              <a:gd name="connsiteX11117" fmla="*/ 364955 w 5365133"/>
              <a:gd name="connsiteY11117" fmla="*/ 1921553 h 4367670"/>
              <a:gd name="connsiteX11118" fmla="*/ 368410 w 5365133"/>
              <a:gd name="connsiteY11118" fmla="*/ 1915953 h 4367670"/>
              <a:gd name="connsiteX11119" fmla="*/ 366609 w 5365133"/>
              <a:gd name="connsiteY11119" fmla="*/ 1909314 h 4367670"/>
              <a:gd name="connsiteX11120" fmla="*/ 350916 w 5365133"/>
              <a:gd name="connsiteY11120" fmla="*/ 1883408 h 4367670"/>
              <a:gd name="connsiteX11121" fmla="*/ 362872 w 5365133"/>
              <a:gd name="connsiteY11121" fmla="*/ 1865515 h 4367670"/>
              <a:gd name="connsiteX11122" fmla="*/ 332982 w 5365133"/>
              <a:gd name="connsiteY11122" fmla="*/ 1787983 h 4367670"/>
              <a:gd name="connsiteX11123" fmla="*/ 321026 w 5365133"/>
              <a:gd name="connsiteY11123" fmla="*/ 1603099 h 4367670"/>
              <a:gd name="connsiteX11124" fmla="*/ 297115 w 5365133"/>
              <a:gd name="connsiteY11124" fmla="*/ 1597136 h 4367670"/>
              <a:gd name="connsiteX11125" fmla="*/ 524279 w 5365133"/>
              <a:gd name="connsiteY11125" fmla="*/ 1465927 h 4367670"/>
              <a:gd name="connsiteX11126" fmla="*/ 530257 w 5365133"/>
              <a:gd name="connsiteY11126" fmla="*/ 1471890 h 4367670"/>
              <a:gd name="connsiteX11127" fmla="*/ 536235 w 5365133"/>
              <a:gd name="connsiteY11127" fmla="*/ 1465927 h 4367670"/>
              <a:gd name="connsiteX11128" fmla="*/ 554169 w 5365133"/>
              <a:gd name="connsiteY11128" fmla="*/ 1448034 h 4367670"/>
              <a:gd name="connsiteX11129" fmla="*/ 590036 w 5365133"/>
              <a:gd name="connsiteY11129" fmla="*/ 1424178 h 4367670"/>
              <a:gd name="connsiteX11130" fmla="*/ 596015 w 5365133"/>
              <a:gd name="connsiteY11130" fmla="*/ 1430143 h 4367670"/>
              <a:gd name="connsiteX11131" fmla="*/ 649817 w 5365133"/>
              <a:gd name="connsiteY11131" fmla="*/ 1400322 h 4367670"/>
              <a:gd name="connsiteX11132" fmla="*/ 655795 w 5365133"/>
              <a:gd name="connsiteY11132" fmla="*/ 1388395 h 4367670"/>
              <a:gd name="connsiteX11133" fmla="*/ 667751 w 5365133"/>
              <a:gd name="connsiteY11133" fmla="*/ 1382431 h 4367670"/>
              <a:gd name="connsiteX11134" fmla="*/ 673730 w 5365133"/>
              <a:gd name="connsiteY11134" fmla="*/ 1388395 h 4367670"/>
              <a:gd name="connsiteX11135" fmla="*/ 679707 w 5365133"/>
              <a:gd name="connsiteY11135" fmla="*/ 1376467 h 4367670"/>
              <a:gd name="connsiteX11136" fmla="*/ 703618 w 5365133"/>
              <a:gd name="connsiteY11136" fmla="*/ 1370501 h 4367670"/>
              <a:gd name="connsiteX11137" fmla="*/ 703618 w 5365133"/>
              <a:gd name="connsiteY11137" fmla="*/ 1364538 h 4367670"/>
              <a:gd name="connsiteX11138" fmla="*/ 715575 w 5365133"/>
              <a:gd name="connsiteY11138" fmla="*/ 1358574 h 4367670"/>
              <a:gd name="connsiteX11139" fmla="*/ 721552 w 5365133"/>
              <a:gd name="connsiteY11139" fmla="*/ 1370501 h 4367670"/>
              <a:gd name="connsiteX11140" fmla="*/ 733508 w 5365133"/>
              <a:gd name="connsiteY11140" fmla="*/ 1346647 h 4367670"/>
              <a:gd name="connsiteX11141" fmla="*/ 751443 w 5365133"/>
              <a:gd name="connsiteY11141" fmla="*/ 1346647 h 4367670"/>
              <a:gd name="connsiteX11142" fmla="*/ 775355 w 5365133"/>
              <a:gd name="connsiteY11142" fmla="*/ 1322791 h 4367670"/>
              <a:gd name="connsiteX11143" fmla="*/ 781333 w 5365133"/>
              <a:gd name="connsiteY11143" fmla="*/ 1328755 h 4367670"/>
              <a:gd name="connsiteX11144" fmla="*/ 787311 w 5365133"/>
              <a:gd name="connsiteY11144" fmla="*/ 1322791 h 4367670"/>
              <a:gd name="connsiteX11145" fmla="*/ 835135 w 5365133"/>
              <a:gd name="connsiteY11145" fmla="*/ 1298934 h 4367670"/>
              <a:gd name="connsiteX11146" fmla="*/ 865025 w 5365133"/>
              <a:gd name="connsiteY11146" fmla="*/ 1292971 h 4367670"/>
              <a:gd name="connsiteX11147" fmla="*/ 871003 w 5365133"/>
              <a:gd name="connsiteY11147" fmla="*/ 1281042 h 4367670"/>
              <a:gd name="connsiteX11148" fmla="*/ 865025 w 5365133"/>
              <a:gd name="connsiteY11148" fmla="*/ 1281042 h 4367670"/>
              <a:gd name="connsiteX11149" fmla="*/ 876981 w 5365133"/>
              <a:gd name="connsiteY11149" fmla="*/ 1269115 h 4367670"/>
              <a:gd name="connsiteX11150" fmla="*/ 882959 w 5365133"/>
              <a:gd name="connsiteY11150" fmla="*/ 1275078 h 4367670"/>
              <a:gd name="connsiteX11151" fmla="*/ 888937 w 5365133"/>
              <a:gd name="connsiteY11151" fmla="*/ 1263151 h 4367670"/>
              <a:gd name="connsiteX11152" fmla="*/ 936762 w 5365133"/>
              <a:gd name="connsiteY11152" fmla="*/ 1239294 h 4367670"/>
              <a:gd name="connsiteX11153" fmla="*/ 960674 w 5365133"/>
              <a:gd name="connsiteY11153" fmla="*/ 1221402 h 4367670"/>
              <a:gd name="connsiteX11154" fmla="*/ 972628 w 5365133"/>
              <a:gd name="connsiteY11154" fmla="*/ 1233329 h 4367670"/>
              <a:gd name="connsiteX11155" fmla="*/ 972628 w 5365133"/>
              <a:gd name="connsiteY11155" fmla="*/ 1221402 h 4367670"/>
              <a:gd name="connsiteX11156" fmla="*/ 1068278 w 5365133"/>
              <a:gd name="connsiteY11156" fmla="*/ 1173689 h 4367670"/>
              <a:gd name="connsiteX11157" fmla="*/ 1092190 w 5365133"/>
              <a:gd name="connsiteY11157" fmla="*/ 1173689 h 4367670"/>
              <a:gd name="connsiteX11158" fmla="*/ 1098166 w 5365133"/>
              <a:gd name="connsiteY11158" fmla="*/ 1155798 h 4367670"/>
              <a:gd name="connsiteX11159" fmla="*/ 1169903 w 5365133"/>
              <a:gd name="connsiteY11159" fmla="*/ 1114049 h 4367670"/>
              <a:gd name="connsiteX11160" fmla="*/ 1169903 w 5365133"/>
              <a:gd name="connsiteY11160" fmla="*/ 1131942 h 4367670"/>
              <a:gd name="connsiteX11161" fmla="*/ 1199794 w 5365133"/>
              <a:gd name="connsiteY11161" fmla="*/ 1120013 h 4367670"/>
              <a:gd name="connsiteX11162" fmla="*/ 1193816 w 5365133"/>
              <a:gd name="connsiteY11162" fmla="*/ 1108085 h 4367670"/>
              <a:gd name="connsiteX11163" fmla="*/ 1211750 w 5365133"/>
              <a:gd name="connsiteY11163" fmla="*/ 1096158 h 4367670"/>
              <a:gd name="connsiteX11164" fmla="*/ 1259573 w 5365133"/>
              <a:gd name="connsiteY11164" fmla="*/ 1090193 h 4367670"/>
              <a:gd name="connsiteX11165" fmla="*/ 1319354 w 5365133"/>
              <a:gd name="connsiteY11165" fmla="*/ 1054409 h 4367670"/>
              <a:gd name="connsiteX11166" fmla="*/ 1355221 w 5365133"/>
              <a:gd name="connsiteY11166" fmla="*/ 1030553 h 4367670"/>
              <a:gd name="connsiteX11167" fmla="*/ 1367177 w 5365133"/>
              <a:gd name="connsiteY11167" fmla="*/ 1042482 h 4367670"/>
              <a:gd name="connsiteX11168" fmla="*/ 1397067 w 5365133"/>
              <a:gd name="connsiteY11168" fmla="*/ 1024589 h 4367670"/>
              <a:gd name="connsiteX11169" fmla="*/ 1379133 w 5365133"/>
              <a:gd name="connsiteY11169" fmla="*/ 1030553 h 4367670"/>
              <a:gd name="connsiteX11170" fmla="*/ 1373155 w 5365133"/>
              <a:gd name="connsiteY11170" fmla="*/ 1018626 h 4367670"/>
              <a:gd name="connsiteX11171" fmla="*/ 1409023 w 5365133"/>
              <a:gd name="connsiteY11171" fmla="*/ 1000733 h 4367670"/>
              <a:gd name="connsiteX11172" fmla="*/ 1397067 w 5365133"/>
              <a:gd name="connsiteY11172" fmla="*/ 1000733 h 4367670"/>
              <a:gd name="connsiteX11173" fmla="*/ 1528583 w 5365133"/>
              <a:gd name="connsiteY11173" fmla="*/ 947057 h 4367670"/>
              <a:gd name="connsiteX11174" fmla="*/ 1540540 w 5365133"/>
              <a:gd name="connsiteY11174" fmla="*/ 953021 h 4367670"/>
              <a:gd name="connsiteX11175" fmla="*/ 1516627 w 5365133"/>
              <a:gd name="connsiteY11175" fmla="*/ 964949 h 4367670"/>
              <a:gd name="connsiteX11176" fmla="*/ 1534561 w 5365133"/>
              <a:gd name="connsiteY11176" fmla="*/ 976877 h 4367670"/>
              <a:gd name="connsiteX11177" fmla="*/ 1522605 w 5365133"/>
              <a:gd name="connsiteY11177" fmla="*/ 988806 h 4367670"/>
              <a:gd name="connsiteX11178" fmla="*/ 1516627 w 5365133"/>
              <a:gd name="connsiteY11178" fmla="*/ 982842 h 4367670"/>
              <a:gd name="connsiteX11179" fmla="*/ 1498693 w 5365133"/>
              <a:gd name="connsiteY11179" fmla="*/ 994769 h 4367670"/>
              <a:gd name="connsiteX11180" fmla="*/ 1492715 w 5365133"/>
              <a:gd name="connsiteY11180" fmla="*/ 982842 h 4367670"/>
              <a:gd name="connsiteX11181" fmla="*/ 1488530 w 5365133"/>
              <a:gd name="connsiteY11181" fmla="*/ 983439 h 4367670"/>
              <a:gd name="connsiteX11182" fmla="*/ 1490473 w 5365133"/>
              <a:gd name="connsiteY11182" fmla="*/ 977623 h 4367670"/>
              <a:gd name="connsiteX11183" fmla="*/ 1498693 w 5365133"/>
              <a:gd name="connsiteY11183" fmla="*/ 970913 h 4367670"/>
              <a:gd name="connsiteX11184" fmla="*/ 1426958 w 5365133"/>
              <a:gd name="connsiteY11184" fmla="*/ 1006697 h 4367670"/>
              <a:gd name="connsiteX11185" fmla="*/ 1456848 w 5365133"/>
              <a:gd name="connsiteY11185" fmla="*/ 988806 h 4367670"/>
              <a:gd name="connsiteX11186" fmla="*/ 1480760 w 5365133"/>
              <a:gd name="connsiteY11186" fmla="*/ 982842 h 4367670"/>
              <a:gd name="connsiteX11187" fmla="*/ 1462826 w 5365133"/>
              <a:gd name="connsiteY11187" fmla="*/ 1012662 h 4367670"/>
              <a:gd name="connsiteX11188" fmla="*/ 1456848 w 5365133"/>
              <a:gd name="connsiteY11188" fmla="*/ 1006697 h 4367670"/>
              <a:gd name="connsiteX11189" fmla="*/ 1415001 w 5365133"/>
              <a:gd name="connsiteY11189" fmla="*/ 1036516 h 4367670"/>
              <a:gd name="connsiteX11190" fmla="*/ 1337288 w 5365133"/>
              <a:gd name="connsiteY11190" fmla="*/ 1066337 h 4367670"/>
              <a:gd name="connsiteX11191" fmla="*/ 1331310 w 5365133"/>
              <a:gd name="connsiteY11191" fmla="*/ 1078266 h 4367670"/>
              <a:gd name="connsiteX11192" fmla="*/ 1283485 w 5365133"/>
              <a:gd name="connsiteY11192" fmla="*/ 1096158 h 4367670"/>
              <a:gd name="connsiteX11193" fmla="*/ 1289323 w 5365133"/>
              <a:gd name="connsiteY11193" fmla="*/ 1101981 h 4367670"/>
              <a:gd name="connsiteX11194" fmla="*/ 1289330 w 5365133"/>
              <a:gd name="connsiteY11194" fmla="*/ 1101979 h 4367670"/>
              <a:gd name="connsiteX11195" fmla="*/ 1289326 w 5365133"/>
              <a:gd name="connsiteY11195" fmla="*/ 1101985 h 4367670"/>
              <a:gd name="connsiteX11196" fmla="*/ 1295441 w 5365133"/>
              <a:gd name="connsiteY11196" fmla="*/ 1108085 h 4367670"/>
              <a:gd name="connsiteX11197" fmla="*/ 1295441 w 5365133"/>
              <a:gd name="connsiteY11197" fmla="*/ 1114049 h 4367670"/>
              <a:gd name="connsiteX11198" fmla="*/ 1253595 w 5365133"/>
              <a:gd name="connsiteY11198" fmla="*/ 1137906 h 4367670"/>
              <a:gd name="connsiteX11199" fmla="*/ 1229683 w 5365133"/>
              <a:gd name="connsiteY11199" fmla="*/ 1149833 h 4367670"/>
              <a:gd name="connsiteX11200" fmla="*/ 1223705 w 5365133"/>
              <a:gd name="connsiteY11200" fmla="*/ 1149833 h 4367670"/>
              <a:gd name="connsiteX11201" fmla="*/ 1241639 w 5365133"/>
              <a:gd name="connsiteY11201" fmla="*/ 1131942 h 4367670"/>
              <a:gd name="connsiteX11202" fmla="*/ 1247617 w 5365133"/>
              <a:gd name="connsiteY11202" fmla="*/ 1125978 h 4367670"/>
              <a:gd name="connsiteX11203" fmla="*/ 1193816 w 5365133"/>
              <a:gd name="connsiteY11203" fmla="*/ 1143869 h 4367670"/>
              <a:gd name="connsiteX11204" fmla="*/ 1199794 w 5365133"/>
              <a:gd name="connsiteY11204" fmla="*/ 1167725 h 4367670"/>
              <a:gd name="connsiteX11205" fmla="*/ 1217728 w 5365133"/>
              <a:gd name="connsiteY11205" fmla="*/ 1167725 h 4367670"/>
              <a:gd name="connsiteX11206" fmla="*/ 1235661 w 5365133"/>
              <a:gd name="connsiteY11206" fmla="*/ 1167725 h 4367670"/>
              <a:gd name="connsiteX11207" fmla="*/ 1307398 w 5365133"/>
              <a:gd name="connsiteY11207" fmla="*/ 1120013 h 4367670"/>
              <a:gd name="connsiteX11208" fmla="*/ 1283485 w 5365133"/>
              <a:gd name="connsiteY11208" fmla="*/ 1143869 h 4367670"/>
              <a:gd name="connsiteX11209" fmla="*/ 1307398 w 5365133"/>
              <a:gd name="connsiteY11209" fmla="*/ 1131942 h 4367670"/>
              <a:gd name="connsiteX11210" fmla="*/ 1301420 w 5365133"/>
              <a:gd name="connsiteY11210" fmla="*/ 1143869 h 4367670"/>
              <a:gd name="connsiteX11211" fmla="*/ 1337288 w 5365133"/>
              <a:gd name="connsiteY11211" fmla="*/ 1131942 h 4367670"/>
              <a:gd name="connsiteX11212" fmla="*/ 1319354 w 5365133"/>
              <a:gd name="connsiteY11212" fmla="*/ 1143869 h 4367670"/>
              <a:gd name="connsiteX11213" fmla="*/ 1325332 w 5365133"/>
              <a:gd name="connsiteY11213" fmla="*/ 1143869 h 4367670"/>
              <a:gd name="connsiteX11214" fmla="*/ 1253595 w 5365133"/>
              <a:gd name="connsiteY11214" fmla="*/ 1179655 h 4367670"/>
              <a:gd name="connsiteX11215" fmla="*/ 1265551 w 5365133"/>
              <a:gd name="connsiteY11215" fmla="*/ 1167725 h 4367670"/>
              <a:gd name="connsiteX11216" fmla="*/ 1247617 w 5365133"/>
              <a:gd name="connsiteY11216" fmla="*/ 1167725 h 4367670"/>
              <a:gd name="connsiteX11217" fmla="*/ 1259573 w 5365133"/>
              <a:gd name="connsiteY11217" fmla="*/ 1155798 h 4367670"/>
              <a:gd name="connsiteX11218" fmla="*/ 1241639 w 5365133"/>
              <a:gd name="connsiteY11218" fmla="*/ 1167725 h 4367670"/>
              <a:gd name="connsiteX11219" fmla="*/ 1217728 w 5365133"/>
              <a:gd name="connsiteY11219" fmla="*/ 1191582 h 4367670"/>
              <a:gd name="connsiteX11220" fmla="*/ 1229683 w 5365133"/>
              <a:gd name="connsiteY11220" fmla="*/ 1191582 h 4367670"/>
              <a:gd name="connsiteX11221" fmla="*/ 1157947 w 5365133"/>
              <a:gd name="connsiteY11221" fmla="*/ 1233329 h 4367670"/>
              <a:gd name="connsiteX11222" fmla="*/ 1157947 w 5365133"/>
              <a:gd name="connsiteY11222" fmla="*/ 1245258 h 4367670"/>
              <a:gd name="connsiteX11223" fmla="*/ 1175882 w 5365133"/>
              <a:gd name="connsiteY11223" fmla="*/ 1233329 h 4367670"/>
              <a:gd name="connsiteX11224" fmla="*/ 1175882 w 5365133"/>
              <a:gd name="connsiteY11224" fmla="*/ 1245258 h 4367670"/>
              <a:gd name="connsiteX11225" fmla="*/ 1187838 w 5365133"/>
              <a:gd name="connsiteY11225" fmla="*/ 1251222 h 4367670"/>
              <a:gd name="connsiteX11226" fmla="*/ 1181860 w 5365133"/>
              <a:gd name="connsiteY11226" fmla="*/ 1233329 h 4367670"/>
              <a:gd name="connsiteX11227" fmla="*/ 1229683 w 5365133"/>
              <a:gd name="connsiteY11227" fmla="*/ 1209475 h 4367670"/>
              <a:gd name="connsiteX11228" fmla="*/ 1259573 w 5365133"/>
              <a:gd name="connsiteY11228" fmla="*/ 1215438 h 4367670"/>
              <a:gd name="connsiteX11229" fmla="*/ 1253595 w 5365133"/>
              <a:gd name="connsiteY11229" fmla="*/ 1197546 h 4367670"/>
              <a:gd name="connsiteX11230" fmla="*/ 1349245 w 5365133"/>
              <a:gd name="connsiteY11230" fmla="*/ 1149833 h 4367670"/>
              <a:gd name="connsiteX11231" fmla="*/ 1415001 w 5365133"/>
              <a:gd name="connsiteY11231" fmla="*/ 1120013 h 4367670"/>
              <a:gd name="connsiteX11232" fmla="*/ 1397067 w 5365133"/>
              <a:gd name="connsiteY11232" fmla="*/ 1131942 h 4367670"/>
              <a:gd name="connsiteX11233" fmla="*/ 1438914 w 5365133"/>
              <a:gd name="connsiteY11233" fmla="*/ 1102122 h 4367670"/>
              <a:gd name="connsiteX11234" fmla="*/ 1432936 w 5365133"/>
              <a:gd name="connsiteY11234" fmla="*/ 1108085 h 4367670"/>
              <a:gd name="connsiteX11235" fmla="*/ 1492715 w 5365133"/>
              <a:gd name="connsiteY11235" fmla="*/ 1084229 h 4367670"/>
              <a:gd name="connsiteX11236" fmla="*/ 1432936 w 5365133"/>
              <a:gd name="connsiteY11236" fmla="*/ 1125978 h 4367670"/>
              <a:gd name="connsiteX11237" fmla="*/ 1532320 w 5365133"/>
              <a:gd name="connsiteY11237" fmla="*/ 1080502 h 4367670"/>
              <a:gd name="connsiteX11238" fmla="*/ 1634435 w 5365133"/>
              <a:gd name="connsiteY11238" fmla="*/ 1031397 h 4367670"/>
              <a:gd name="connsiteX11239" fmla="*/ 1641419 w 5365133"/>
              <a:gd name="connsiteY11239" fmla="*/ 1032789 h 4367670"/>
              <a:gd name="connsiteX11240" fmla="*/ 1648143 w 5365133"/>
              <a:gd name="connsiteY11240" fmla="*/ 1030553 h 4367670"/>
              <a:gd name="connsiteX11241" fmla="*/ 1642165 w 5365133"/>
              <a:gd name="connsiteY11241" fmla="*/ 1024589 h 4367670"/>
              <a:gd name="connsiteX11242" fmla="*/ 1719881 w 5365133"/>
              <a:gd name="connsiteY11242" fmla="*/ 976877 h 4367670"/>
              <a:gd name="connsiteX11243" fmla="*/ 1719881 w 5365133"/>
              <a:gd name="connsiteY11243" fmla="*/ 994769 h 4367670"/>
              <a:gd name="connsiteX11244" fmla="*/ 1737815 w 5365133"/>
              <a:gd name="connsiteY11244" fmla="*/ 988806 h 4367670"/>
              <a:gd name="connsiteX11245" fmla="*/ 1767703 w 5365133"/>
              <a:gd name="connsiteY11245" fmla="*/ 970913 h 4367670"/>
              <a:gd name="connsiteX11246" fmla="*/ 1767703 w 5365133"/>
              <a:gd name="connsiteY11246" fmla="*/ 958986 h 4367670"/>
              <a:gd name="connsiteX11247" fmla="*/ 1821506 w 5365133"/>
              <a:gd name="connsiteY11247" fmla="*/ 947057 h 4367670"/>
              <a:gd name="connsiteX11248" fmla="*/ 1833463 w 5365133"/>
              <a:gd name="connsiteY11248" fmla="*/ 941093 h 4367670"/>
              <a:gd name="connsiteX11249" fmla="*/ 1827484 w 5365133"/>
              <a:gd name="connsiteY11249" fmla="*/ 941093 h 4367670"/>
              <a:gd name="connsiteX11250" fmla="*/ 1908887 w 5365133"/>
              <a:gd name="connsiteY11250" fmla="*/ 892577 h 4367670"/>
              <a:gd name="connsiteX11251" fmla="*/ 1913355 w 5365133"/>
              <a:gd name="connsiteY11251" fmla="*/ 886564 h 4367670"/>
              <a:gd name="connsiteX11252" fmla="*/ 1927616 w 5365133"/>
              <a:gd name="connsiteY11252" fmla="*/ 880987 h 4367670"/>
              <a:gd name="connsiteX11253" fmla="*/ 1994869 w 5365133"/>
              <a:gd name="connsiteY11253" fmla="*/ 851633 h 4367670"/>
              <a:gd name="connsiteX11254" fmla="*/ 1994869 w 5365133"/>
              <a:gd name="connsiteY11254" fmla="*/ 857597 h 4367670"/>
              <a:gd name="connsiteX11255" fmla="*/ 2054648 w 5365133"/>
              <a:gd name="connsiteY11255" fmla="*/ 827777 h 4367670"/>
              <a:gd name="connsiteX11256" fmla="*/ 2120407 w 5365133"/>
              <a:gd name="connsiteY11256" fmla="*/ 791993 h 4367670"/>
              <a:gd name="connsiteX11257" fmla="*/ 2114429 w 5365133"/>
              <a:gd name="connsiteY11257" fmla="*/ 803921 h 4367670"/>
              <a:gd name="connsiteX11258" fmla="*/ 2150296 w 5365133"/>
              <a:gd name="connsiteY11258" fmla="*/ 786029 h 4367670"/>
              <a:gd name="connsiteX11259" fmla="*/ 2126385 w 5365133"/>
              <a:gd name="connsiteY11259" fmla="*/ 791993 h 4367670"/>
              <a:gd name="connsiteX11260" fmla="*/ 2174208 w 5365133"/>
              <a:gd name="connsiteY11260" fmla="*/ 774101 h 4367670"/>
              <a:gd name="connsiteX11261" fmla="*/ 2186164 w 5365133"/>
              <a:gd name="connsiteY11261" fmla="*/ 780064 h 4367670"/>
              <a:gd name="connsiteX11262" fmla="*/ 2204098 w 5365133"/>
              <a:gd name="connsiteY11262" fmla="*/ 768137 h 4367670"/>
              <a:gd name="connsiteX11263" fmla="*/ 2174208 w 5365133"/>
              <a:gd name="connsiteY11263" fmla="*/ 768137 h 4367670"/>
              <a:gd name="connsiteX11264" fmla="*/ 2192142 w 5365133"/>
              <a:gd name="connsiteY11264" fmla="*/ 744281 h 4367670"/>
              <a:gd name="connsiteX11265" fmla="*/ 2180186 w 5365133"/>
              <a:gd name="connsiteY11265" fmla="*/ 738317 h 4367670"/>
              <a:gd name="connsiteX11266" fmla="*/ 2204098 w 5365133"/>
              <a:gd name="connsiteY11266" fmla="*/ 714461 h 4367670"/>
              <a:gd name="connsiteX11267" fmla="*/ 2192142 w 5365133"/>
              <a:gd name="connsiteY11267" fmla="*/ 720424 h 4367670"/>
              <a:gd name="connsiteX11268" fmla="*/ 2180186 w 5365133"/>
              <a:gd name="connsiteY11268" fmla="*/ 720424 h 4367670"/>
              <a:gd name="connsiteX11269" fmla="*/ 2186164 w 5365133"/>
              <a:gd name="connsiteY11269" fmla="*/ 702534 h 4367670"/>
              <a:gd name="connsiteX11270" fmla="*/ 2168230 w 5365133"/>
              <a:gd name="connsiteY11270" fmla="*/ 696568 h 4367670"/>
              <a:gd name="connsiteX11271" fmla="*/ 2210076 w 5365133"/>
              <a:gd name="connsiteY11271" fmla="*/ 678677 h 4367670"/>
              <a:gd name="connsiteX11272" fmla="*/ 2204098 w 5365133"/>
              <a:gd name="connsiteY11272" fmla="*/ 684641 h 4367670"/>
              <a:gd name="connsiteX11273" fmla="*/ 2210076 w 5365133"/>
              <a:gd name="connsiteY11273" fmla="*/ 696568 h 4367670"/>
              <a:gd name="connsiteX11274" fmla="*/ 2228011 w 5365133"/>
              <a:gd name="connsiteY11274" fmla="*/ 678677 h 4367670"/>
              <a:gd name="connsiteX11275" fmla="*/ 2257901 w 5365133"/>
              <a:gd name="connsiteY11275" fmla="*/ 684641 h 4367670"/>
              <a:gd name="connsiteX11276" fmla="*/ 2228011 w 5365133"/>
              <a:gd name="connsiteY11276" fmla="*/ 702534 h 4367670"/>
              <a:gd name="connsiteX11277" fmla="*/ 2245945 w 5365133"/>
              <a:gd name="connsiteY11277" fmla="*/ 696568 h 4367670"/>
              <a:gd name="connsiteX11278" fmla="*/ 2204098 w 5365133"/>
              <a:gd name="connsiteY11278" fmla="*/ 732353 h 4367670"/>
              <a:gd name="connsiteX11279" fmla="*/ 2239967 w 5365133"/>
              <a:gd name="connsiteY11279" fmla="*/ 720424 h 4367670"/>
              <a:gd name="connsiteX11280" fmla="*/ 2245945 w 5365133"/>
              <a:gd name="connsiteY11280" fmla="*/ 726388 h 4367670"/>
              <a:gd name="connsiteX11281" fmla="*/ 2269856 w 5365133"/>
              <a:gd name="connsiteY11281" fmla="*/ 702534 h 4367670"/>
              <a:gd name="connsiteX11282" fmla="*/ 2281812 w 5365133"/>
              <a:gd name="connsiteY11282" fmla="*/ 720424 h 4367670"/>
              <a:gd name="connsiteX11283" fmla="*/ 2383440 w 5365133"/>
              <a:gd name="connsiteY11283" fmla="*/ 672712 h 4367670"/>
              <a:gd name="connsiteX11284" fmla="*/ 2389418 w 5365133"/>
              <a:gd name="connsiteY11284" fmla="*/ 684641 h 4367670"/>
              <a:gd name="connsiteX11285" fmla="*/ 2431262 w 5365133"/>
              <a:gd name="connsiteY11285" fmla="*/ 660784 h 4367670"/>
              <a:gd name="connsiteX11286" fmla="*/ 2485065 w 5365133"/>
              <a:gd name="connsiteY11286" fmla="*/ 636928 h 4367670"/>
              <a:gd name="connsiteX11287" fmla="*/ 2491043 w 5365133"/>
              <a:gd name="connsiteY11287" fmla="*/ 630965 h 4367670"/>
              <a:gd name="connsiteX11288" fmla="*/ 2503000 w 5365133"/>
              <a:gd name="connsiteY11288" fmla="*/ 630965 h 4367670"/>
              <a:gd name="connsiteX11289" fmla="*/ 2574736 w 5365133"/>
              <a:gd name="connsiteY11289" fmla="*/ 595181 h 4367670"/>
              <a:gd name="connsiteX11290" fmla="*/ 2568758 w 5365133"/>
              <a:gd name="connsiteY11290" fmla="*/ 583252 h 4367670"/>
              <a:gd name="connsiteX11291" fmla="*/ 2580713 w 5365133"/>
              <a:gd name="connsiteY11291" fmla="*/ 595181 h 4367670"/>
              <a:gd name="connsiteX11292" fmla="*/ 2598647 w 5365133"/>
              <a:gd name="connsiteY11292" fmla="*/ 583252 h 4367670"/>
              <a:gd name="connsiteX11293" fmla="*/ 2598647 w 5365133"/>
              <a:gd name="connsiteY11293" fmla="*/ 601144 h 4367670"/>
              <a:gd name="connsiteX11294" fmla="*/ 2604625 w 5365133"/>
              <a:gd name="connsiteY11294" fmla="*/ 577288 h 4367670"/>
              <a:gd name="connsiteX11295" fmla="*/ 2622559 w 5365133"/>
              <a:gd name="connsiteY11295" fmla="*/ 619037 h 4367670"/>
              <a:gd name="connsiteX11296" fmla="*/ 2604625 w 5365133"/>
              <a:gd name="connsiteY11296" fmla="*/ 619037 h 4367670"/>
              <a:gd name="connsiteX11297" fmla="*/ 2608813 w 5365133"/>
              <a:gd name="connsiteY11297" fmla="*/ 620080 h 4367670"/>
              <a:gd name="connsiteX11298" fmla="*/ 2609090 w 5365133"/>
              <a:gd name="connsiteY11298" fmla="*/ 619864 h 4367670"/>
              <a:gd name="connsiteX11299" fmla="*/ 2609500 w 5365133"/>
              <a:gd name="connsiteY11299" fmla="*/ 620252 h 4367670"/>
              <a:gd name="connsiteX11300" fmla="*/ 2628538 w 5365133"/>
              <a:gd name="connsiteY11300" fmla="*/ 625001 h 4367670"/>
              <a:gd name="connsiteX11301" fmla="*/ 2616581 w 5365133"/>
              <a:gd name="connsiteY11301" fmla="*/ 636928 h 4367670"/>
              <a:gd name="connsiteX11302" fmla="*/ 2634516 w 5365133"/>
              <a:gd name="connsiteY11302" fmla="*/ 630965 h 4367670"/>
              <a:gd name="connsiteX11303" fmla="*/ 2628538 w 5365133"/>
              <a:gd name="connsiteY11303" fmla="*/ 619037 h 4367670"/>
              <a:gd name="connsiteX11304" fmla="*/ 2652449 w 5365133"/>
              <a:gd name="connsiteY11304" fmla="*/ 607108 h 4367670"/>
              <a:gd name="connsiteX11305" fmla="*/ 2676362 w 5365133"/>
              <a:gd name="connsiteY11305" fmla="*/ 613072 h 4367670"/>
              <a:gd name="connsiteX11306" fmla="*/ 2676362 w 5365133"/>
              <a:gd name="connsiteY11306" fmla="*/ 625001 h 4367670"/>
              <a:gd name="connsiteX11307" fmla="*/ 2664406 w 5365133"/>
              <a:gd name="connsiteY11307" fmla="*/ 630965 h 4367670"/>
              <a:gd name="connsiteX11308" fmla="*/ 2664406 w 5365133"/>
              <a:gd name="connsiteY11308" fmla="*/ 619037 h 4367670"/>
              <a:gd name="connsiteX11309" fmla="*/ 2658428 w 5365133"/>
              <a:gd name="connsiteY11309" fmla="*/ 642892 h 4367670"/>
              <a:gd name="connsiteX11310" fmla="*/ 2652449 w 5365133"/>
              <a:gd name="connsiteY11310" fmla="*/ 636928 h 4367670"/>
              <a:gd name="connsiteX11311" fmla="*/ 2640494 w 5365133"/>
              <a:gd name="connsiteY11311" fmla="*/ 642892 h 4367670"/>
              <a:gd name="connsiteX11312" fmla="*/ 2640494 w 5365133"/>
              <a:gd name="connsiteY11312" fmla="*/ 654821 h 4367670"/>
              <a:gd name="connsiteX11313" fmla="*/ 2652449 w 5365133"/>
              <a:gd name="connsiteY11313" fmla="*/ 642892 h 4367670"/>
              <a:gd name="connsiteX11314" fmla="*/ 2652449 w 5365133"/>
              <a:gd name="connsiteY11314" fmla="*/ 660784 h 4367670"/>
              <a:gd name="connsiteX11315" fmla="*/ 2664406 w 5365133"/>
              <a:gd name="connsiteY11315" fmla="*/ 642892 h 4367670"/>
              <a:gd name="connsiteX11316" fmla="*/ 2682340 w 5365133"/>
              <a:gd name="connsiteY11316" fmla="*/ 613072 h 4367670"/>
              <a:gd name="connsiteX11317" fmla="*/ 2694296 w 5365133"/>
              <a:gd name="connsiteY11317" fmla="*/ 601144 h 4367670"/>
              <a:gd name="connsiteX11318" fmla="*/ 2690559 w 5365133"/>
              <a:gd name="connsiteY11318" fmla="*/ 585490 h 4367670"/>
              <a:gd name="connsiteX11319" fmla="*/ 2682664 w 5365133"/>
              <a:gd name="connsiteY11319" fmla="*/ 566153 h 4367670"/>
              <a:gd name="connsiteX11320" fmla="*/ 2683087 w 5365133"/>
              <a:gd name="connsiteY11320" fmla="*/ 559396 h 4367670"/>
              <a:gd name="connsiteX11321" fmla="*/ 2706251 w 5365133"/>
              <a:gd name="connsiteY11321" fmla="*/ 547468 h 4367670"/>
              <a:gd name="connsiteX11322" fmla="*/ 2706251 w 5365133"/>
              <a:gd name="connsiteY11322" fmla="*/ 559396 h 4367670"/>
              <a:gd name="connsiteX11323" fmla="*/ 2718207 w 5365133"/>
              <a:gd name="connsiteY11323" fmla="*/ 541504 h 4367670"/>
              <a:gd name="connsiteX11324" fmla="*/ 2706251 w 5365133"/>
              <a:gd name="connsiteY11324" fmla="*/ 535541 h 4367670"/>
              <a:gd name="connsiteX11325" fmla="*/ 2742119 w 5365133"/>
              <a:gd name="connsiteY11325" fmla="*/ 517648 h 4367670"/>
              <a:gd name="connsiteX11326" fmla="*/ 2748098 w 5365133"/>
              <a:gd name="connsiteY11326" fmla="*/ 529575 h 4367670"/>
              <a:gd name="connsiteX11327" fmla="*/ 2801900 w 5365133"/>
              <a:gd name="connsiteY11327" fmla="*/ 505719 h 4367670"/>
              <a:gd name="connsiteX11328" fmla="*/ 2789944 w 5365133"/>
              <a:gd name="connsiteY11328" fmla="*/ 499756 h 4367670"/>
              <a:gd name="connsiteX11329" fmla="*/ 2795922 w 5365133"/>
              <a:gd name="connsiteY11329" fmla="*/ 499756 h 4367670"/>
              <a:gd name="connsiteX11330" fmla="*/ 2801900 w 5365133"/>
              <a:gd name="connsiteY11330" fmla="*/ 487828 h 4367670"/>
              <a:gd name="connsiteX11331" fmla="*/ 2855701 w 5365133"/>
              <a:gd name="connsiteY11331" fmla="*/ 463972 h 4367670"/>
              <a:gd name="connsiteX11332" fmla="*/ 2837767 w 5365133"/>
              <a:gd name="connsiteY11332" fmla="*/ 481865 h 4367670"/>
              <a:gd name="connsiteX11333" fmla="*/ 2849723 w 5365133"/>
              <a:gd name="connsiteY11333" fmla="*/ 487828 h 4367670"/>
              <a:gd name="connsiteX11334" fmla="*/ 2921460 w 5365133"/>
              <a:gd name="connsiteY11334" fmla="*/ 458008 h 4367670"/>
              <a:gd name="connsiteX11335" fmla="*/ 2921460 w 5365133"/>
              <a:gd name="connsiteY11335" fmla="*/ 463972 h 4367670"/>
              <a:gd name="connsiteX11336" fmla="*/ 2921460 w 5365133"/>
              <a:gd name="connsiteY11336" fmla="*/ 469935 h 4367670"/>
              <a:gd name="connsiteX11337" fmla="*/ 2897548 w 5365133"/>
              <a:gd name="connsiteY11337" fmla="*/ 475899 h 4367670"/>
              <a:gd name="connsiteX11338" fmla="*/ 2885591 w 5365133"/>
              <a:gd name="connsiteY11338" fmla="*/ 487828 h 4367670"/>
              <a:gd name="connsiteX11339" fmla="*/ 2873636 w 5365133"/>
              <a:gd name="connsiteY11339" fmla="*/ 493792 h 4367670"/>
              <a:gd name="connsiteX11340" fmla="*/ 2867658 w 5365133"/>
              <a:gd name="connsiteY11340" fmla="*/ 481865 h 4367670"/>
              <a:gd name="connsiteX11341" fmla="*/ 2867658 w 5365133"/>
              <a:gd name="connsiteY11341" fmla="*/ 499756 h 4367670"/>
              <a:gd name="connsiteX11342" fmla="*/ 2867658 w 5365133"/>
              <a:gd name="connsiteY11342" fmla="*/ 505719 h 4367670"/>
              <a:gd name="connsiteX11343" fmla="*/ 2861679 w 5365133"/>
              <a:gd name="connsiteY11343" fmla="*/ 505719 h 4367670"/>
              <a:gd name="connsiteX11344" fmla="*/ 2861679 w 5365133"/>
              <a:gd name="connsiteY11344" fmla="*/ 493792 h 4367670"/>
              <a:gd name="connsiteX11345" fmla="*/ 2855701 w 5365133"/>
              <a:gd name="connsiteY11345" fmla="*/ 511685 h 4367670"/>
              <a:gd name="connsiteX11346" fmla="*/ 2849723 w 5365133"/>
              <a:gd name="connsiteY11346" fmla="*/ 499756 h 4367670"/>
              <a:gd name="connsiteX11347" fmla="*/ 2849723 w 5365133"/>
              <a:gd name="connsiteY11347" fmla="*/ 523612 h 4367670"/>
              <a:gd name="connsiteX11348" fmla="*/ 2903526 w 5365133"/>
              <a:gd name="connsiteY11348" fmla="*/ 487828 h 4367670"/>
              <a:gd name="connsiteX11349" fmla="*/ 2939394 w 5365133"/>
              <a:gd name="connsiteY11349" fmla="*/ 475899 h 4367670"/>
              <a:gd name="connsiteX11350" fmla="*/ 2939394 w 5365133"/>
              <a:gd name="connsiteY11350" fmla="*/ 463972 h 4367670"/>
              <a:gd name="connsiteX11351" fmla="*/ 2942382 w 5365133"/>
              <a:gd name="connsiteY11351" fmla="*/ 463227 h 4367670"/>
              <a:gd name="connsiteX11352" fmla="*/ 2944712 w 5365133"/>
              <a:gd name="connsiteY11352" fmla="*/ 459160 h 4367670"/>
              <a:gd name="connsiteX11353" fmla="*/ 2938856 w 5365133"/>
              <a:gd name="connsiteY11353" fmla="*/ 459160 h 4367670"/>
              <a:gd name="connsiteX11354" fmla="*/ 2938856 w 5365133"/>
              <a:gd name="connsiteY11354" fmla="*/ 453420 h 4367670"/>
              <a:gd name="connsiteX11355" fmla="*/ 2913600 w 5365133"/>
              <a:gd name="connsiteY11355" fmla="*/ 441942 h 4367670"/>
              <a:gd name="connsiteX11356" fmla="*/ 2945168 w 5365133"/>
              <a:gd name="connsiteY11356" fmla="*/ 430462 h 4367670"/>
              <a:gd name="connsiteX11357" fmla="*/ 2945168 w 5365133"/>
              <a:gd name="connsiteY11357" fmla="*/ 436202 h 4367670"/>
              <a:gd name="connsiteX11358" fmla="*/ 2932541 w 5365133"/>
              <a:gd name="connsiteY11358" fmla="*/ 441942 h 4367670"/>
              <a:gd name="connsiteX11359" fmla="*/ 2945168 w 5365133"/>
              <a:gd name="connsiteY11359" fmla="*/ 447681 h 4367670"/>
              <a:gd name="connsiteX11360" fmla="*/ 2945168 w 5365133"/>
              <a:gd name="connsiteY11360" fmla="*/ 458363 h 4367670"/>
              <a:gd name="connsiteX11361" fmla="*/ 2945373 w 5365133"/>
              <a:gd name="connsiteY11361" fmla="*/ 458008 h 4367670"/>
              <a:gd name="connsiteX11362" fmla="*/ 2945373 w 5365133"/>
              <a:gd name="connsiteY11362" fmla="*/ 469935 h 4367670"/>
              <a:gd name="connsiteX11363" fmla="*/ 2963307 w 5365133"/>
              <a:gd name="connsiteY11363" fmla="*/ 458008 h 4367670"/>
              <a:gd name="connsiteX11364" fmla="*/ 2969283 w 5365133"/>
              <a:gd name="connsiteY11364" fmla="*/ 469935 h 4367670"/>
              <a:gd name="connsiteX11365" fmla="*/ 3106778 w 5365133"/>
              <a:gd name="connsiteY11365" fmla="*/ 410296 h 4367670"/>
              <a:gd name="connsiteX11366" fmla="*/ 3106802 w 5365133"/>
              <a:gd name="connsiteY11366" fmla="*/ 410676 h 4367670"/>
              <a:gd name="connsiteX11367" fmla="*/ 3120939 w 5365133"/>
              <a:gd name="connsiteY11367" fmla="*/ 402196 h 4367670"/>
              <a:gd name="connsiteX11368" fmla="*/ 3140309 w 5365133"/>
              <a:gd name="connsiteY11368" fmla="*/ 393155 h 4367670"/>
              <a:gd name="connsiteX11369" fmla="*/ 3140309 w 5365133"/>
              <a:gd name="connsiteY11369" fmla="*/ 405209 h 4367670"/>
              <a:gd name="connsiteX11370" fmla="*/ 3128829 w 5365133"/>
              <a:gd name="connsiteY11370" fmla="*/ 405209 h 4367670"/>
              <a:gd name="connsiteX11371" fmla="*/ 3134569 w 5365133"/>
              <a:gd name="connsiteY11371" fmla="*/ 417261 h 4367670"/>
              <a:gd name="connsiteX11372" fmla="*/ 3123090 w 5365133"/>
              <a:gd name="connsiteY11372" fmla="*/ 405209 h 4367670"/>
              <a:gd name="connsiteX11373" fmla="*/ 3117350 w 5365133"/>
              <a:gd name="connsiteY11373" fmla="*/ 411234 h 4367670"/>
              <a:gd name="connsiteX11374" fmla="*/ 3116419 w 5365133"/>
              <a:gd name="connsiteY11374" fmla="*/ 416773 h 4367670"/>
              <a:gd name="connsiteX11375" fmla="*/ 3106875 w 5365133"/>
              <a:gd name="connsiteY11375" fmla="*/ 411762 h 4367670"/>
              <a:gd name="connsiteX11376" fmla="*/ 3107526 w 5365133"/>
              <a:gd name="connsiteY11376" fmla="*/ 421478 h 4367670"/>
              <a:gd name="connsiteX11377" fmla="*/ 3112756 w 5365133"/>
              <a:gd name="connsiteY11377" fmla="*/ 428189 h 4367670"/>
              <a:gd name="connsiteX11378" fmla="*/ 3100800 w 5365133"/>
              <a:gd name="connsiteY11378" fmla="*/ 416259 h 4367670"/>
              <a:gd name="connsiteX11379" fmla="*/ 3094823 w 5365133"/>
              <a:gd name="connsiteY11379" fmla="*/ 434152 h 4367670"/>
              <a:gd name="connsiteX11380" fmla="*/ 3094823 w 5365133"/>
              <a:gd name="connsiteY11380" fmla="*/ 422223 h 4367670"/>
              <a:gd name="connsiteX11381" fmla="*/ 3082867 w 5365133"/>
              <a:gd name="connsiteY11381" fmla="*/ 428189 h 4367670"/>
              <a:gd name="connsiteX11382" fmla="*/ 3088845 w 5365133"/>
              <a:gd name="connsiteY11382" fmla="*/ 428189 h 4367670"/>
              <a:gd name="connsiteX11383" fmla="*/ 3070911 w 5365133"/>
              <a:gd name="connsiteY11383" fmla="*/ 446080 h 4367670"/>
              <a:gd name="connsiteX11384" fmla="*/ 3076889 w 5365133"/>
              <a:gd name="connsiteY11384" fmla="*/ 434152 h 4367670"/>
              <a:gd name="connsiteX11385" fmla="*/ 3070911 w 5365133"/>
              <a:gd name="connsiteY11385" fmla="*/ 434152 h 4367670"/>
              <a:gd name="connsiteX11386" fmla="*/ 3064932 w 5365133"/>
              <a:gd name="connsiteY11386" fmla="*/ 446080 h 4367670"/>
              <a:gd name="connsiteX11387" fmla="*/ 3046998 w 5365133"/>
              <a:gd name="connsiteY11387" fmla="*/ 463972 h 4367670"/>
              <a:gd name="connsiteX11388" fmla="*/ 3046998 w 5365133"/>
              <a:gd name="connsiteY11388" fmla="*/ 446080 h 4367670"/>
              <a:gd name="connsiteX11389" fmla="*/ 3064932 w 5365133"/>
              <a:gd name="connsiteY11389" fmla="*/ 440116 h 4367670"/>
              <a:gd name="connsiteX11390" fmla="*/ 3017107 w 5365133"/>
              <a:gd name="connsiteY11390" fmla="*/ 458008 h 4367670"/>
              <a:gd name="connsiteX11391" fmla="*/ 3023086 w 5365133"/>
              <a:gd name="connsiteY11391" fmla="*/ 466208 h 4367670"/>
              <a:gd name="connsiteX11392" fmla="*/ 3027743 w 5365133"/>
              <a:gd name="connsiteY11392" fmla="*/ 469111 h 4367670"/>
              <a:gd name="connsiteX11393" fmla="*/ 3032627 w 5365133"/>
              <a:gd name="connsiteY11393" fmla="*/ 462746 h 4367670"/>
              <a:gd name="connsiteX11394" fmla="*/ 3039868 w 5365133"/>
              <a:gd name="connsiteY11394" fmla="*/ 464900 h 4367670"/>
              <a:gd name="connsiteX11395" fmla="*/ 3027672 w 5365133"/>
              <a:gd name="connsiteY11395" fmla="*/ 487857 h 4367670"/>
              <a:gd name="connsiteX11396" fmla="*/ 3003279 w 5365133"/>
              <a:gd name="connsiteY11396" fmla="*/ 493597 h 4367670"/>
              <a:gd name="connsiteX11397" fmla="*/ 2997181 w 5365133"/>
              <a:gd name="connsiteY11397" fmla="*/ 487857 h 4367670"/>
              <a:gd name="connsiteX11398" fmla="*/ 3003279 w 5365133"/>
              <a:gd name="connsiteY11398" fmla="*/ 476378 h 4367670"/>
              <a:gd name="connsiteX11399" fmla="*/ 3015475 w 5365133"/>
              <a:gd name="connsiteY11399" fmla="*/ 482118 h 4367670"/>
              <a:gd name="connsiteX11400" fmla="*/ 3025125 w 5365133"/>
              <a:gd name="connsiteY11400" fmla="*/ 471901 h 4367670"/>
              <a:gd name="connsiteX11401" fmla="*/ 3017107 w 5365133"/>
              <a:gd name="connsiteY11401" fmla="*/ 475899 h 4367670"/>
              <a:gd name="connsiteX11402" fmla="*/ 3017107 w 5365133"/>
              <a:gd name="connsiteY11402" fmla="*/ 463972 h 4367670"/>
              <a:gd name="connsiteX11403" fmla="*/ 2987218 w 5365133"/>
              <a:gd name="connsiteY11403" fmla="*/ 469935 h 4367670"/>
              <a:gd name="connsiteX11404" fmla="*/ 2993196 w 5365133"/>
              <a:gd name="connsiteY11404" fmla="*/ 481865 h 4367670"/>
              <a:gd name="connsiteX11405" fmla="*/ 2975261 w 5365133"/>
              <a:gd name="connsiteY11405" fmla="*/ 475899 h 4367670"/>
              <a:gd name="connsiteX11406" fmla="*/ 2967790 w 5365133"/>
              <a:gd name="connsiteY11406" fmla="*/ 477391 h 4367670"/>
              <a:gd name="connsiteX11407" fmla="*/ 2969119 w 5365133"/>
              <a:gd name="connsiteY11407" fmla="*/ 486677 h 4367670"/>
              <a:gd name="connsiteX11408" fmla="*/ 2979603 w 5365133"/>
              <a:gd name="connsiteY11408" fmla="*/ 482118 h 4367670"/>
              <a:gd name="connsiteX11409" fmla="*/ 2950906 w 5365133"/>
              <a:gd name="connsiteY11409" fmla="*/ 499336 h 4367670"/>
              <a:gd name="connsiteX11410" fmla="*/ 2950906 w 5365133"/>
              <a:gd name="connsiteY11410" fmla="*/ 487857 h 4367670"/>
              <a:gd name="connsiteX11411" fmla="*/ 2963102 w 5365133"/>
              <a:gd name="connsiteY11411" fmla="*/ 489292 h 4367670"/>
              <a:gd name="connsiteX11412" fmla="*/ 2968378 w 5365133"/>
              <a:gd name="connsiteY11412" fmla="*/ 486998 h 4367670"/>
              <a:gd name="connsiteX11413" fmla="*/ 2960317 w 5365133"/>
              <a:gd name="connsiteY11413" fmla="*/ 479627 h 4367670"/>
              <a:gd name="connsiteX11414" fmla="*/ 2951351 w 5365133"/>
              <a:gd name="connsiteY11414" fmla="*/ 475899 h 4367670"/>
              <a:gd name="connsiteX11415" fmla="*/ 2945373 w 5365133"/>
              <a:gd name="connsiteY11415" fmla="*/ 487828 h 4367670"/>
              <a:gd name="connsiteX11416" fmla="*/ 2939394 w 5365133"/>
              <a:gd name="connsiteY11416" fmla="*/ 505719 h 4367670"/>
              <a:gd name="connsiteX11417" fmla="*/ 2945373 w 5365133"/>
              <a:gd name="connsiteY11417" fmla="*/ 505719 h 4367670"/>
              <a:gd name="connsiteX11418" fmla="*/ 2945373 w 5365133"/>
              <a:gd name="connsiteY11418" fmla="*/ 517648 h 4367670"/>
              <a:gd name="connsiteX11419" fmla="*/ 2957329 w 5365133"/>
              <a:gd name="connsiteY11419" fmla="*/ 517648 h 4367670"/>
              <a:gd name="connsiteX11420" fmla="*/ 2941636 w 5365133"/>
              <a:gd name="connsiteY11420" fmla="*/ 525104 h 4367670"/>
              <a:gd name="connsiteX11421" fmla="*/ 2928754 w 5365133"/>
              <a:gd name="connsiteY11421" fmla="*/ 512730 h 4367670"/>
              <a:gd name="connsiteX11422" fmla="*/ 2925797 w 5365133"/>
              <a:gd name="connsiteY11422" fmla="*/ 512730 h 4367670"/>
              <a:gd name="connsiteX11423" fmla="*/ 2926142 w 5365133"/>
              <a:gd name="connsiteY11423" fmla="*/ 510218 h 4367670"/>
              <a:gd name="connsiteX11424" fmla="*/ 2921460 w 5365133"/>
              <a:gd name="connsiteY11424" fmla="*/ 505719 h 4367670"/>
              <a:gd name="connsiteX11425" fmla="*/ 2909504 w 5365133"/>
              <a:gd name="connsiteY11425" fmla="*/ 523612 h 4367670"/>
              <a:gd name="connsiteX11426" fmla="*/ 2873636 w 5365133"/>
              <a:gd name="connsiteY11426" fmla="*/ 535541 h 4367670"/>
              <a:gd name="connsiteX11427" fmla="*/ 2885591 w 5365133"/>
              <a:gd name="connsiteY11427" fmla="*/ 541504 h 4367670"/>
              <a:gd name="connsiteX11428" fmla="*/ 2873636 w 5365133"/>
              <a:gd name="connsiteY11428" fmla="*/ 541504 h 4367670"/>
              <a:gd name="connsiteX11429" fmla="*/ 2861679 w 5365133"/>
              <a:gd name="connsiteY11429" fmla="*/ 541504 h 4367670"/>
              <a:gd name="connsiteX11430" fmla="*/ 2867658 w 5365133"/>
              <a:gd name="connsiteY11430" fmla="*/ 553432 h 4367670"/>
              <a:gd name="connsiteX11431" fmla="*/ 2861679 w 5365133"/>
              <a:gd name="connsiteY11431" fmla="*/ 571325 h 4367670"/>
              <a:gd name="connsiteX11432" fmla="*/ 2855701 w 5365133"/>
              <a:gd name="connsiteY11432" fmla="*/ 541504 h 4367670"/>
              <a:gd name="connsiteX11433" fmla="*/ 2849723 w 5365133"/>
              <a:gd name="connsiteY11433" fmla="*/ 547468 h 4367670"/>
              <a:gd name="connsiteX11434" fmla="*/ 2861679 w 5365133"/>
              <a:gd name="connsiteY11434" fmla="*/ 571325 h 4367670"/>
              <a:gd name="connsiteX11435" fmla="*/ 2852713 w 5365133"/>
              <a:gd name="connsiteY11435" fmla="*/ 571325 h 4367670"/>
              <a:gd name="connsiteX11436" fmla="*/ 2855701 w 5365133"/>
              <a:gd name="connsiteY11436" fmla="*/ 565361 h 4367670"/>
              <a:gd name="connsiteX11437" fmla="*/ 2849723 w 5365133"/>
              <a:gd name="connsiteY11437" fmla="*/ 559396 h 4367670"/>
              <a:gd name="connsiteX11438" fmla="*/ 2849723 w 5365133"/>
              <a:gd name="connsiteY11438" fmla="*/ 571325 h 4367670"/>
              <a:gd name="connsiteX11439" fmla="*/ 2852713 w 5365133"/>
              <a:gd name="connsiteY11439" fmla="*/ 571325 h 4367670"/>
              <a:gd name="connsiteX11440" fmla="*/ 2849723 w 5365133"/>
              <a:gd name="connsiteY11440" fmla="*/ 577288 h 4367670"/>
              <a:gd name="connsiteX11441" fmla="*/ 2843745 w 5365133"/>
              <a:gd name="connsiteY11441" fmla="*/ 559396 h 4367670"/>
              <a:gd name="connsiteX11442" fmla="*/ 2843745 w 5365133"/>
              <a:gd name="connsiteY11442" fmla="*/ 577288 h 4367670"/>
              <a:gd name="connsiteX11443" fmla="*/ 2825813 w 5365133"/>
              <a:gd name="connsiteY11443" fmla="*/ 565361 h 4367670"/>
              <a:gd name="connsiteX11444" fmla="*/ 2807878 w 5365133"/>
              <a:gd name="connsiteY11444" fmla="*/ 595181 h 4367670"/>
              <a:gd name="connsiteX11445" fmla="*/ 2807878 w 5365133"/>
              <a:gd name="connsiteY11445" fmla="*/ 577288 h 4367670"/>
              <a:gd name="connsiteX11446" fmla="*/ 2795922 w 5365133"/>
              <a:gd name="connsiteY11446" fmla="*/ 577288 h 4367670"/>
              <a:gd name="connsiteX11447" fmla="*/ 2783966 w 5365133"/>
              <a:gd name="connsiteY11447" fmla="*/ 601144 h 4367670"/>
              <a:gd name="connsiteX11448" fmla="*/ 2783966 w 5365133"/>
              <a:gd name="connsiteY11448" fmla="*/ 583252 h 4367670"/>
              <a:gd name="connsiteX11449" fmla="*/ 2772009 w 5365133"/>
              <a:gd name="connsiteY11449" fmla="*/ 589215 h 4367670"/>
              <a:gd name="connsiteX11450" fmla="*/ 2772009 w 5365133"/>
              <a:gd name="connsiteY11450" fmla="*/ 613072 h 4367670"/>
              <a:gd name="connsiteX11451" fmla="*/ 2760054 w 5365133"/>
              <a:gd name="connsiteY11451" fmla="*/ 601144 h 4367670"/>
              <a:gd name="connsiteX11452" fmla="*/ 2766031 w 5365133"/>
              <a:gd name="connsiteY11452" fmla="*/ 613072 h 4367670"/>
              <a:gd name="connsiteX11453" fmla="*/ 2688318 w 5365133"/>
              <a:gd name="connsiteY11453" fmla="*/ 648857 h 4367670"/>
              <a:gd name="connsiteX11454" fmla="*/ 2694296 w 5365133"/>
              <a:gd name="connsiteY11454" fmla="*/ 630965 h 4367670"/>
              <a:gd name="connsiteX11455" fmla="*/ 2676362 w 5365133"/>
              <a:gd name="connsiteY11455" fmla="*/ 642892 h 4367670"/>
              <a:gd name="connsiteX11456" fmla="*/ 2682340 w 5365133"/>
              <a:gd name="connsiteY11456" fmla="*/ 642892 h 4367670"/>
              <a:gd name="connsiteX11457" fmla="*/ 2658428 w 5365133"/>
              <a:gd name="connsiteY11457" fmla="*/ 666748 h 4367670"/>
              <a:gd name="connsiteX11458" fmla="*/ 2646471 w 5365133"/>
              <a:gd name="connsiteY11458" fmla="*/ 666748 h 4367670"/>
              <a:gd name="connsiteX11459" fmla="*/ 2628538 w 5365133"/>
              <a:gd name="connsiteY11459" fmla="*/ 672712 h 4367670"/>
              <a:gd name="connsiteX11460" fmla="*/ 2604625 w 5365133"/>
              <a:gd name="connsiteY11460" fmla="*/ 684641 h 4367670"/>
              <a:gd name="connsiteX11461" fmla="*/ 2598647 w 5365133"/>
              <a:gd name="connsiteY11461" fmla="*/ 672712 h 4367670"/>
              <a:gd name="connsiteX11462" fmla="*/ 2586691 w 5365133"/>
              <a:gd name="connsiteY11462" fmla="*/ 672712 h 4367670"/>
              <a:gd name="connsiteX11463" fmla="*/ 2598647 w 5365133"/>
              <a:gd name="connsiteY11463" fmla="*/ 672712 h 4367670"/>
              <a:gd name="connsiteX11464" fmla="*/ 2586691 w 5365133"/>
              <a:gd name="connsiteY11464" fmla="*/ 696568 h 4367670"/>
              <a:gd name="connsiteX11465" fmla="*/ 2574736 w 5365133"/>
              <a:gd name="connsiteY11465" fmla="*/ 690605 h 4367670"/>
              <a:gd name="connsiteX11466" fmla="*/ 2574736 w 5365133"/>
              <a:gd name="connsiteY11466" fmla="*/ 696568 h 4367670"/>
              <a:gd name="connsiteX11467" fmla="*/ 2568758 w 5365133"/>
              <a:gd name="connsiteY11467" fmla="*/ 702534 h 4367670"/>
              <a:gd name="connsiteX11468" fmla="*/ 2562780 w 5365133"/>
              <a:gd name="connsiteY11468" fmla="*/ 690605 h 4367670"/>
              <a:gd name="connsiteX11469" fmla="*/ 2556802 w 5365133"/>
              <a:gd name="connsiteY11469" fmla="*/ 702534 h 4367670"/>
              <a:gd name="connsiteX11470" fmla="*/ 2562780 w 5365133"/>
              <a:gd name="connsiteY11470" fmla="*/ 702534 h 4367670"/>
              <a:gd name="connsiteX11471" fmla="*/ 2544846 w 5365133"/>
              <a:gd name="connsiteY11471" fmla="*/ 708497 h 4367670"/>
              <a:gd name="connsiteX11472" fmla="*/ 2550824 w 5365133"/>
              <a:gd name="connsiteY11472" fmla="*/ 702534 h 4367670"/>
              <a:gd name="connsiteX11473" fmla="*/ 2538868 w 5365133"/>
              <a:gd name="connsiteY11473" fmla="*/ 702534 h 4367670"/>
              <a:gd name="connsiteX11474" fmla="*/ 2534385 w 5365133"/>
              <a:gd name="connsiteY11474" fmla="*/ 710733 h 4367670"/>
              <a:gd name="connsiteX11475" fmla="*/ 2534453 w 5365133"/>
              <a:gd name="connsiteY11475" fmla="*/ 710791 h 4367670"/>
              <a:gd name="connsiteX11476" fmla="*/ 2532889 w 5365133"/>
              <a:gd name="connsiteY11476" fmla="*/ 713716 h 4367670"/>
              <a:gd name="connsiteX11477" fmla="*/ 2526911 w 5365133"/>
              <a:gd name="connsiteY11477" fmla="*/ 720424 h 4367670"/>
              <a:gd name="connsiteX11478" fmla="*/ 2526911 w 5365133"/>
              <a:gd name="connsiteY11478" fmla="*/ 708497 h 4367670"/>
              <a:gd name="connsiteX11479" fmla="*/ 2514956 w 5365133"/>
              <a:gd name="connsiteY11479" fmla="*/ 714461 h 4367670"/>
              <a:gd name="connsiteX11480" fmla="*/ 2520934 w 5365133"/>
              <a:gd name="connsiteY11480" fmla="*/ 720424 h 4367670"/>
              <a:gd name="connsiteX11481" fmla="*/ 2503000 w 5365133"/>
              <a:gd name="connsiteY11481" fmla="*/ 720424 h 4367670"/>
              <a:gd name="connsiteX11482" fmla="*/ 2508978 w 5365133"/>
              <a:gd name="connsiteY11482" fmla="*/ 726388 h 4367670"/>
              <a:gd name="connsiteX11483" fmla="*/ 2485065 w 5365133"/>
              <a:gd name="connsiteY11483" fmla="*/ 744281 h 4367670"/>
              <a:gd name="connsiteX11484" fmla="*/ 2449196 w 5365133"/>
              <a:gd name="connsiteY11484" fmla="*/ 756208 h 4367670"/>
              <a:gd name="connsiteX11485" fmla="*/ 2437241 w 5365133"/>
              <a:gd name="connsiteY11485" fmla="*/ 756208 h 4367670"/>
              <a:gd name="connsiteX11486" fmla="*/ 2431262 w 5365133"/>
              <a:gd name="connsiteY11486" fmla="*/ 768137 h 4367670"/>
              <a:gd name="connsiteX11487" fmla="*/ 2425284 w 5365133"/>
              <a:gd name="connsiteY11487" fmla="*/ 756208 h 4367670"/>
              <a:gd name="connsiteX11488" fmla="*/ 2377461 w 5365133"/>
              <a:gd name="connsiteY11488" fmla="*/ 780064 h 4367670"/>
              <a:gd name="connsiteX11489" fmla="*/ 2377461 w 5365133"/>
              <a:gd name="connsiteY11489" fmla="*/ 791993 h 4367670"/>
              <a:gd name="connsiteX11490" fmla="*/ 2275834 w 5365133"/>
              <a:gd name="connsiteY11490" fmla="*/ 827777 h 4367670"/>
              <a:gd name="connsiteX11491" fmla="*/ 2269856 w 5365133"/>
              <a:gd name="connsiteY11491" fmla="*/ 815850 h 4367670"/>
              <a:gd name="connsiteX11492" fmla="*/ 2251923 w 5365133"/>
              <a:gd name="connsiteY11492" fmla="*/ 833741 h 4367670"/>
              <a:gd name="connsiteX11493" fmla="*/ 2252670 w 5365133"/>
              <a:gd name="connsiteY11493" fmla="*/ 835232 h 4367670"/>
              <a:gd name="connsiteX11494" fmla="*/ 2256705 w 5365133"/>
              <a:gd name="connsiteY11494" fmla="*/ 843284 h 4367670"/>
              <a:gd name="connsiteX11495" fmla="*/ 2251923 w 5365133"/>
              <a:gd name="connsiteY11495" fmla="*/ 845669 h 4367670"/>
              <a:gd name="connsiteX11496" fmla="*/ 2239967 w 5365133"/>
              <a:gd name="connsiteY11496" fmla="*/ 844178 h 4367670"/>
              <a:gd name="connsiteX11497" fmla="*/ 2228011 w 5365133"/>
              <a:gd name="connsiteY11497" fmla="*/ 851633 h 4367670"/>
              <a:gd name="connsiteX11498" fmla="*/ 2233989 w 5365133"/>
              <a:gd name="connsiteY11498" fmla="*/ 851633 h 4367670"/>
              <a:gd name="connsiteX11499" fmla="*/ 2222033 w 5365133"/>
              <a:gd name="connsiteY11499" fmla="*/ 851633 h 4367670"/>
              <a:gd name="connsiteX11500" fmla="*/ 2156274 w 5365133"/>
              <a:gd name="connsiteY11500" fmla="*/ 881453 h 4367670"/>
              <a:gd name="connsiteX11501" fmla="*/ 2168230 w 5365133"/>
              <a:gd name="connsiteY11501" fmla="*/ 875490 h 4367670"/>
              <a:gd name="connsiteX11502" fmla="*/ 2150296 w 5365133"/>
              <a:gd name="connsiteY11502" fmla="*/ 875490 h 4367670"/>
              <a:gd name="connsiteX11503" fmla="*/ 2150296 w 5365133"/>
              <a:gd name="connsiteY11503" fmla="*/ 887417 h 4367670"/>
              <a:gd name="connsiteX11504" fmla="*/ 2144318 w 5365133"/>
              <a:gd name="connsiteY11504" fmla="*/ 893381 h 4367670"/>
              <a:gd name="connsiteX11505" fmla="*/ 2138339 w 5365133"/>
              <a:gd name="connsiteY11505" fmla="*/ 887417 h 4367670"/>
              <a:gd name="connsiteX11506" fmla="*/ 2060626 w 5365133"/>
              <a:gd name="connsiteY11506" fmla="*/ 929166 h 4367670"/>
              <a:gd name="connsiteX11507" fmla="*/ 1935088 w 5365133"/>
              <a:gd name="connsiteY11507" fmla="*/ 988806 h 4367670"/>
              <a:gd name="connsiteX11508" fmla="*/ 1923132 w 5365133"/>
              <a:gd name="connsiteY11508" fmla="*/ 988806 h 4367670"/>
              <a:gd name="connsiteX11509" fmla="*/ 1899219 w 5365133"/>
              <a:gd name="connsiteY11509" fmla="*/ 1006697 h 4367670"/>
              <a:gd name="connsiteX11510" fmla="*/ 1863353 w 5365133"/>
              <a:gd name="connsiteY11510" fmla="*/ 1024589 h 4367670"/>
              <a:gd name="connsiteX11511" fmla="*/ 1839440 w 5365133"/>
              <a:gd name="connsiteY11511" fmla="*/ 1036516 h 4367670"/>
              <a:gd name="connsiteX11512" fmla="*/ 1743793 w 5365133"/>
              <a:gd name="connsiteY11512" fmla="*/ 1090193 h 4367670"/>
              <a:gd name="connsiteX11513" fmla="*/ 1606298 w 5365133"/>
              <a:gd name="connsiteY11513" fmla="*/ 1155798 h 4367670"/>
              <a:gd name="connsiteX11514" fmla="*/ 1612277 w 5365133"/>
              <a:gd name="connsiteY11514" fmla="*/ 1161762 h 4367670"/>
              <a:gd name="connsiteX11515" fmla="*/ 1606298 w 5365133"/>
              <a:gd name="connsiteY11515" fmla="*/ 1173689 h 4367670"/>
              <a:gd name="connsiteX11516" fmla="*/ 1599574 w 5365133"/>
              <a:gd name="connsiteY11516" fmla="*/ 1167725 h 4367670"/>
              <a:gd name="connsiteX11517" fmla="*/ 1600356 w 5365133"/>
              <a:gd name="connsiteY11517" fmla="*/ 1163909 h 4367670"/>
              <a:gd name="connsiteX11518" fmla="*/ 1606298 w 5365133"/>
              <a:gd name="connsiteY11518" fmla="*/ 1161762 h 4367670"/>
              <a:gd name="connsiteX11519" fmla="*/ 1600414 w 5365133"/>
              <a:gd name="connsiteY11519" fmla="*/ 1163625 h 4367670"/>
              <a:gd name="connsiteX11520" fmla="*/ 1600356 w 5365133"/>
              <a:gd name="connsiteY11520" fmla="*/ 1163909 h 4367670"/>
              <a:gd name="connsiteX11521" fmla="*/ 1562958 w 5365133"/>
              <a:gd name="connsiteY11521" fmla="*/ 1177417 h 4367670"/>
              <a:gd name="connsiteX11522" fmla="*/ 1528583 w 5365133"/>
              <a:gd name="connsiteY11522" fmla="*/ 1197546 h 4367670"/>
              <a:gd name="connsiteX11523" fmla="*/ 1367177 w 5365133"/>
              <a:gd name="connsiteY11523" fmla="*/ 1287005 h 4367670"/>
              <a:gd name="connsiteX11524" fmla="*/ 1385111 w 5365133"/>
              <a:gd name="connsiteY11524" fmla="*/ 1298934 h 4367670"/>
              <a:gd name="connsiteX11525" fmla="*/ 1468805 w 5365133"/>
              <a:gd name="connsiteY11525" fmla="*/ 1245258 h 4367670"/>
              <a:gd name="connsiteX11526" fmla="*/ 1450870 w 5365133"/>
              <a:gd name="connsiteY11526" fmla="*/ 1257186 h 4367670"/>
              <a:gd name="connsiteX11527" fmla="*/ 1540540 w 5365133"/>
              <a:gd name="connsiteY11527" fmla="*/ 1209475 h 4367670"/>
              <a:gd name="connsiteX11528" fmla="*/ 1540540 w 5365133"/>
              <a:gd name="connsiteY11528" fmla="*/ 1215438 h 4367670"/>
              <a:gd name="connsiteX11529" fmla="*/ 1725858 w 5365133"/>
              <a:gd name="connsiteY11529" fmla="*/ 1120013 h 4367670"/>
              <a:gd name="connsiteX11530" fmla="*/ 1731836 w 5365133"/>
              <a:gd name="connsiteY11530" fmla="*/ 1125978 h 4367670"/>
              <a:gd name="connsiteX11531" fmla="*/ 1725858 w 5365133"/>
              <a:gd name="connsiteY11531" fmla="*/ 1131942 h 4367670"/>
              <a:gd name="connsiteX11532" fmla="*/ 1788067 w 5365133"/>
              <a:gd name="connsiteY11532" fmla="*/ 1115168 h 4367670"/>
              <a:gd name="connsiteX11533" fmla="*/ 1798249 w 5365133"/>
              <a:gd name="connsiteY11533" fmla="*/ 1114638 h 4367670"/>
              <a:gd name="connsiteX11534" fmla="*/ 1798528 w 5365133"/>
              <a:gd name="connsiteY11534" fmla="*/ 1114888 h 4367670"/>
              <a:gd name="connsiteX11535" fmla="*/ 1798711 w 5365133"/>
              <a:gd name="connsiteY11535" fmla="*/ 1114614 h 4367670"/>
              <a:gd name="connsiteX11536" fmla="*/ 1809550 w 5365133"/>
              <a:gd name="connsiteY11536" fmla="*/ 1114049 h 4367670"/>
              <a:gd name="connsiteX11537" fmla="*/ 1803572 w 5365133"/>
              <a:gd name="connsiteY11537" fmla="*/ 1114049 h 4367670"/>
              <a:gd name="connsiteX11538" fmla="*/ 1800583 w 5365133"/>
              <a:gd name="connsiteY11538" fmla="*/ 1111813 h 4367670"/>
              <a:gd name="connsiteX11539" fmla="*/ 1798711 w 5365133"/>
              <a:gd name="connsiteY11539" fmla="*/ 1114614 h 4367670"/>
              <a:gd name="connsiteX11540" fmla="*/ 1798249 w 5365133"/>
              <a:gd name="connsiteY11540" fmla="*/ 1114638 h 4367670"/>
              <a:gd name="connsiteX11541" fmla="*/ 1797594 w 5365133"/>
              <a:gd name="connsiteY11541" fmla="*/ 1114049 h 4367670"/>
              <a:gd name="connsiteX11542" fmla="*/ 1857375 w 5365133"/>
              <a:gd name="connsiteY11542" fmla="*/ 1066337 h 4367670"/>
              <a:gd name="connsiteX11543" fmla="*/ 1941066 w 5365133"/>
              <a:gd name="connsiteY11543" fmla="*/ 1036516 h 4367670"/>
              <a:gd name="connsiteX11544" fmla="*/ 1947044 w 5365133"/>
              <a:gd name="connsiteY11544" fmla="*/ 1054409 h 4367670"/>
              <a:gd name="connsiteX11545" fmla="*/ 1935088 w 5365133"/>
              <a:gd name="connsiteY11545" fmla="*/ 1072302 h 4367670"/>
              <a:gd name="connsiteX11546" fmla="*/ 2000847 w 5365133"/>
              <a:gd name="connsiteY11546" fmla="*/ 1042482 h 4367670"/>
              <a:gd name="connsiteX11547" fmla="*/ 1995980 w 5365133"/>
              <a:gd name="connsiteY11547" fmla="*/ 1037186 h 4367670"/>
              <a:gd name="connsiteX11548" fmla="*/ 1992414 w 5365133"/>
              <a:gd name="connsiteY11548" fmla="*/ 1038846 h 4367670"/>
              <a:gd name="connsiteX11549" fmla="*/ 1992414 w 5365133"/>
              <a:gd name="connsiteY11549" fmla="*/ 1033026 h 4367670"/>
              <a:gd name="connsiteX11550" fmla="*/ 1988891 w 5365133"/>
              <a:gd name="connsiteY11550" fmla="*/ 1024589 h 4367670"/>
              <a:gd name="connsiteX11551" fmla="*/ 1988891 w 5365133"/>
              <a:gd name="connsiteY11551" fmla="*/ 1036516 h 4367670"/>
              <a:gd name="connsiteX11552" fmla="*/ 1970956 w 5365133"/>
              <a:gd name="connsiteY11552" fmla="*/ 1042482 h 4367670"/>
              <a:gd name="connsiteX11553" fmla="*/ 2018779 w 5365133"/>
              <a:gd name="connsiteY11553" fmla="*/ 1012662 h 4367670"/>
              <a:gd name="connsiteX11554" fmla="*/ 2012801 w 5365133"/>
              <a:gd name="connsiteY11554" fmla="*/ 1012662 h 4367670"/>
              <a:gd name="connsiteX11555" fmla="*/ 2012801 w 5365133"/>
              <a:gd name="connsiteY11555" fmla="*/ 1000733 h 4367670"/>
              <a:gd name="connsiteX11556" fmla="*/ 1959000 w 5365133"/>
              <a:gd name="connsiteY11556" fmla="*/ 1036516 h 4367670"/>
              <a:gd name="connsiteX11557" fmla="*/ 1976935 w 5365133"/>
              <a:gd name="connsiteY11557" fmla="*/ 1012662 h 4367670"/>
              <a:gd name="connsiteX11558" fmla="*/ 2006823 w 5365133"/>
              <a:gd name="connsiteY11558" fmla="*/ 994769 h 4367670"/>
              <a:gd name="connsiteX11559" fmla="*/ 2000847 w 5365133"/>
              <a:gd name="connsiteY11559" fmla="*/ 994769 h 4367670"/>
              <a:gd name="connsiteX11560" fmla="*/ 2018779 w 5365133"/>
              <a:gd name="connsiteY11560" fmla="*/ 988806 h 4367670"/>
              <a:gd name="connsiteX11561" fmla="*/ 2012801 w 5365133"/>
              <a:gd name="connsiteY11561" fmla="*/ 994769 h 4367670"/>
              <a:gd name="connsiteX11562" fmla="*/ 2114429 w 5365133"/>
              <a:gd name="connsiteY11562" fmla="*/ 953021 h 4367670"/>
              <a:gd name="connsiteX11563" fmla="*/ 2111440 w 5365133"/>
              <a:gd name="connsiteY11563" fmla="*/ 963458 h 4367670"/>
              <a:gd name="connsiteX11564" fmla="*/ 2107978 w 5365133"/>
              <a:gd name="connsiteY11564" fmla="*/ 965365 h 4367670"/>
              <a:gd name="connsiteX11565" fmla="*/ 2108451 w 5365133"/>
              <a:gd name="connsiteY11565" fmla="*/ 964949 h 4367670"/>
              <a:gd name="connsiteX11566" fmla="*/ 2106023 w 5365133"/>
              <a:gd name="connsiteY11566" fmla="*/ 966440 h 4367670"/>
              <a:gd name="connsiteX11567" fmla="*/ 2107978 w 5365133"/>
              <a:gd name="connsiteY11567" fmla="*/ 965365 h 4367670"/>
              <a:gd name="connsiteX11568" fmla="*/ 2098456 w 5365133"/>
              <a:gd name="connsiteY11568" fmla="*/ 973710 h 4367670"/>
              <a:gd name="connsiteX11569" fmla="*/ 2086780 w 5365133"/>
              <a:gd name="connsiteY11569" fmla="*/ 976877 h 4367670"/>
              <a:gd name="connsiteX11570" fmla="*/ 2077389 w 5365133"/>
              <a:gd name="connsiteY11570" fmla="*/ 981161 h 4367670"/>
              <a:gd name="connsiteX11571" fmla="*/ 2078560 w 5365133"/>
              <a:gd name="connsiteY11571" fmla="*/ 976877 h 4367670"/>
              <a:gd name="connsiteX11572" fmla="*/ 2060626 w 5365133"/>
              <a:gd name="connsiteY11572" fmla="*/ 988806 h 4367670"/>
              <a:gd name="connsiteX11573" fmla="*/ 2077389 w 5365133"/>
              <a:gd name="connsiteY11573" fmla="*/ 981161 h 4367670"/>
              <a:gd name="connsiteX11574" fmla="*/ 2076318 w 5365133"/>
              <a:gd name="connsiteY11574" fmla="*/ 985078 h 4367670"/>
              <a:gd name="connsiteX11575" fmla="*/ 2078560 w 5365133"/>
              <a:gd name="connsiteY11575" fmla="*/ 988806 h 4367670"/>
              <a:gd name="connsiteX11576" fmla="*/ 2060626 w 5365133"/>
              <a:gd name="connsiteY11576" fmla="*/ 1000733 h 4367670"/>
              <a:gd name="connsiteX11577" fmla="*/ 2072582 w 5365133"/>
              <a:gd name="connsiteY11577" fmla="*/ 994769 h 4367670"/>
              <a:gd name="connsiteX11578" fmla="*/ 2048670 w 5365133"/>
              <a:gd name="connsiteY11578" fmla="*/ 1012662 h 4367670"/>
              <a:gd name="connsiteX11579" fmla="*/ 2204098 w 5365133"/>
              <a:gd name="connsiteY11579" fmla="*/ 953021 h 4367670"/>
              <a:gd name="connsiteX11580" fmla="*/ 2198121 w 5365133"/>
              <a:gd name="connsiteY11580" fmla="*/ 976877 h 4367670"/>
              <a:gd name="connsiteX11581" fmla="*/ 2192142 w 5365133"/>
              <a:gd name="connsiteY11581" fmla="*/ 964949 h 4367670"/>
              <a:gd name="connsiteX11582" fmla="*/ 2162252 w 5365133"/>
              <a:gd name="connsiteY11582" fmla="*/ 982842 h 4367670"/>
              <a:gd name="connsiteX11583" fmla="*/ 2162252 w 5365133"/>
              <a:gd name="connsiteY11583" fmla="*/ 994769 h 4367670"/>
              <a:gd name="connsiteX11584" fmla="*/ 2156274 w 5365133"/>
              <a:gd name="connsiteY11584" fmla="*/ 994769 h 4367670"/>
              <a:gd name="connsiteX11585" fmla="*/ 2162252 w 5365133"/>
              <a:gd name="connsiteY11585" fmla="*/ 976877 h 4367670"/>
              <a:gd name="connsiteX11586" fmla="*/ 2132363 w 5365133"/>
              <a:gd name="connsiteY11586" fmla="*/ 994769 h 4367670"/>
              <a:gd name="connsiteX11587" fmla="*/ 2114429 w 5365133"/>
              <a:gd name="connsiteY11587" fmla="*/ 994769 h 4367670"/>
              <a:gd name="connsiteX11588" fmla="*/ 2102473 w 5365133"/>
              <a:gd name="connsiteY11588" fmla="*/ 1012662 h 4367670"/>
              <a:gd name="connsiteX11589" fmla="*/ 2090516 w 5365133"/>
              <a:gd name="connsiteY11589" fmla="*/ 1014152 h 4367670"/>
              <a:gd name="connsiteX11590" fmla="*/ 2085240 w 5365133"/>
              <a:gd name="connsiteY11590" fmla="*/ 1018758 h 4367670"/>
              <a:gd name="connsiteX11591" fmla="*/ 2101464 w 5365133"/>
              <a:gd name="connsiteY11591" fmla="*/ 1018758 h 4367670"/>
              <a:gd name="connsiteX11592" fmla="*/ 2092854 w 5365133"/>
              <a:gd name="connsiteY11592" fmla="*/ 1025215 h 4367670"/>
              <a:gd name="connsiteX11593" fmla="*/ 2084780 w 5365133"/>
              <a:gd name="connsiteY11593" fmla="*/ 1019159 h 4367670"/>
              <a:gd name="connsiteX11594" fmla="*/ 2078560 w 5365133"/>
              <a:gd name="connsiteY11594" fmla="*/ 1024589 h 4367670"/>
              <a:gd name="connsiteX11595" fmla="*/ 2084538 w 5365133"/>
              <a:gd name="connsiteY11595" fmla="*/ 1012662 h 4367670"/>
              <a:gd name="connsiteX11596" fmla="*/ 2066604 w 5365133"/>
              <a:gd name="connsiteY11596" fmla="*/ 1024589 h 4367670"/>
              <a:gd name="connsiteX11597" fmla="*/ 2078560 w 5365133"/>
              <a:gd name="connsiteY11597" fmla="*/ 1030553 h 4367670"/>
              <a:gd name="connsiteX11598" fmla="*/ 2066604 w 5365133"/>
              <a:gd name="connsiteY11598" fmla="*/ 1036516 h 4367670"/>
              <a:gd name="connsiteX11599" fmla="*/ 2006823 w 5365133"/>
              <a:gd name="connsiteY11599" fmla="*/ 1060373 h 4367670"/>
              <a:gd name="connsiteX11600" fmla="*/ 1976935 w 5365133"/>
              <a:gd name="connsiteY11600" fmla="*/ 1078266 h 4367670"/>
              <a:gd name="connsiteX11601" fmla="*/ 1982913 w 5365133"/>
              <a:gd name="connsiteY11601" fmla="*/ 1072302 h 4367670"/>
              <a:gd name="connsiteX11602" fmla="*/ 1929110 w 5365133"/>
              <a:gd name="connsiteY11602" fmla="*/ 1096158 h 4367670"/>
              <a:gd name="connsiteX11603" fmla="*/ 1947044 w 5365133"/>
              <a:gd name="connsiteY11603" fmla="*/ 1108085 h 4367670"/>
              <a:gd name="connsiteX11604" fmla="*/ 1941066 w 5365133"/>
              <a:gd name="connsiteY11604" fmla="*/ 1125978 h 4367670"/>
              <a:gd name="connsiteX11605" fmla="*/ 1940484 w 5365133"/>
              <a:gd name="connsiteY11605" fmla="*/ 1126269 h 4367670"/>
              <a:gd name="connsiteX11606" fmla="*/ 1942394 w 5365133"/>
              <a:gd name="connsiteY11606" fmla="*/ 1129207 h 4367670"/>
              <a:gd name="connsiteX11607" fmla="*/ 1948133 w 5365133"/>
              <a:gd name="connsiteY11607" fmla="*/ 1132077 h 4367670"/>
              <a:gd name="connsiteX11608" fmla="*/ 1936654 w 5365133"/>
              <a:gd name="connsiteY11608" fmla="*/ 1137816 h 4367670"/>
              <a:gd name="connsiteX11609" fmla="*/ 1936654 w 5365133"/>
              <a:gd name="connsiteY11609" fmla="*/ 1132077 h 4367670"/>
              <a:gd name="connsiteX11610" fmla="*/ 1936654 w 5365133"/>
              <a:gd name="connsiteY11610" fmla="*/ 1128179 h 4367670"/>
              <a:gd name="connsiteX11611" fmla="*/ 1935088 w 5365133"/>
              <a:gd name="connsiteY11611" fmla="*/ 1128960 h 4367670"/>
              <a:gd name="connsiteX11612" fmla="*/ 1929110 w 5365133"/>
              <a:gd name="connsiteY11612" fmla="*/ 1131942 h 4367670"/>
              <a:gd name="connsiteX11613" fmla="*/ 1917901 w 5365133"/>
              <a:gd name="connsiteY11613" fmla="*/ 1133433 h 4367670"/>
              <a:gd name="connsiteX11614" fmla="*/ 1913449 w 5365133"/>
              <a:gd name="connsiteY11614" fmla="*/ 1140342 h 4367670"/>
              <a:gd name="connsiteX11615" fmla="*/ 1923740 w 5365133"/>
              <a:gd name="connsiteY11615" fmla="*/ 1137132 h 4367670"/>
              <a:gd name="connsiteX11616" fmla="*/ 1905661 w 5365133"/>
              <a:gd name="connsiteY11616" fmla="*/ 1155172 h 4367670"/>
              <a:gd name="connsiteX11617" fmla="*/ 1899634 w 5365133"/>
              <a:gd name="connsiteY11617" fmla="*/ 1149159 h 4367670"/>
              <a:gd name="connsiteX11618" fmla="*/ 1907088 w 5365133"/>
              <a:gd name="connsiteY11618" fmla="*/ 1144047 h 4367670"/>
              <a:gd name="connsiteX11619" fmla="*/ 1893989 w 5365133"/>
              <a:gd name="connsiteY11619" fmla="*/ 1144614 h 4367670"/>
              <a:gd name="connsiteX11620" fmla="*/ 1881285 w 5365133"/>
              <a:gd name="connsiteY11620" fmla="*/ 1149833 h 4367670"/>
              <a:gd name="connsiteX11621" fmla="*/ 1873067 w 5365133"/>
              <a:gd name="connsiteY11621" fmla="*/ 1157941 h 4367670"/>
              <a:gd name="connsiteX11622" fmla="*/ 1869363 w 5365133"/>
              <a:gd name="connsiteY11622" fmla="*/ 1163357 h 4367670"/>
              <a:gd name="connsiteX11623" fmla="*/ 1893607 w 5365133"/>
              <a:gd name="connsiteY11623" fmla="*/ 1149159 h 4367670"/>
              <a:gd name="connsiteX11624" fmla="*/ 1905661 w 5365133"/>
              <a:gd name="connsiteY11624" fmla="*/ 1155172 h 4367670"/>
              <a:gd name="connsiteX11625" fmla="*/ 1941819 w 5365133"/>
              <a:gd name="connsiteY11625" fmla="*/ 1149159 h 4367670"/>
              <a:gd name="connsiteX11626" fmla="*/ 1965924 w 5365133"/>
              <a:gd name="connsiteY11626" fmla="*/ 1137132 h 4367670"/>
              <a:gd name="connsiteX11627" fmla="*/ 1971951 w 5365133"/>
              <a:gd name="connsiteY11627" fmla="*/ 1131120 h 4367670"/>
              <a:gd name="connsiteX11628" fmla="*/ 1953872 w 5365133"/>
              <a:gd name="connsiteY11628" fmla="*/ 1131120 h 4367670"/>
              <a:gd name="connsiteX11629" fmla="*/ 1982686 w 5365133"/>
              <a:gd name="connsiteY11629" fmla="*/ 1114210 h 4367670"/>
              <a:gd name="connsiteX11630" fmla="*/ 1985944 w 5365133"/>
              <a:gd name="connsiteY11630" fmla="*/ 1111043 h 4367670"/>
              <a:gd name="connsiteX11631" fmla="*/ 1985359 w 5365133"/>
              <a:gd name="connsiteY11631" fmla="*/ 1111396 h 4367670"/>
              <a:gd name="connsiteX11632" fmla="*/ 1952476 w 5365133"/>
              <a:gd name="connsiteY11632" fmla="*/ 1122068 h 4367670"/>
              <a:gd name="connsiteX11633" fmla="*/ 1970412 w 5365133"/>
              <a:gd name="connsiteY11633" fmla="*/ 1103773 h 4367670"/>
              <a:gd name="connsiteX11634" fmla="*/ 1976390 w 5365133"/>
              <a:gd name="connsiteY11634" fmla="*/ 1091576 h 4367670"/>
              <a:gd name="connsiteX11635" fmla="*/ 1982370 w 5365133"/>
              <a:gd name="connsiteY11635" fmla="*/ 1103773 h 4367670"/>
              <a:gd name="connsiteX11636" fmla="*/ 1958454 w 5365133"/>
              <a:gd name="connsiteY11636" fmla="*/ 1109871 h 4367670"/>
              <a:gd name="connsiteX11637" fmla="*/ 2000307 w 5365133"/>
              <a:gd name="connsiteY11637" fmla="*/ 1091576 h 4367670"/>
              <a:gd name="connsiteX11638" fmla="*/ 1988349 w 5365133"/>
              <a:gd name="connsiteY11638" fmla="*/ 1091576 h 4367670"/>
              <a:gd name="connsiteX11639" fmla="*/ 2008676 w 5365133"/>
              <a:gd name="connsiteY11639" fmla="*/ 1081208 h 4367670"/>
              <a:gd name="connsiteX11640" fmla="*/ 2006284 w 5365133"/>
              <a:gd name="connsiteY11640" fmla="*/ 1085479 h 4367670"/>
              <a:gd name="connsiteX11641" fmla="*/ 2018242 w 5365133"/>
              <a:gd name="connsiteY11641" fmla="*/ 1091576 h 4367670"/>
              <a:gd name="connsiteX11642" fmla="*/ 1990611 w 5365133"/>
              <a:gd name="connsiteY11642" fmla="*/ 1108230 h 4367670"/>
              <a:gd name="connsiteX11643" fmla="*/ 1994550 w 5365133"/>
              <a:gd name="connsiteY11643" fmla="*/ 1116089 h 4367670"/>
              <a:gd name="connsiteX11644" fmla="*/ 1990030 w 5365133"/>
              <a:gd name="connsiteY11644" fmla="*/ 1125108 h 4367670"/>
              <a:gd name="connsiteX11645" fmla="*/ 2008111 w 5365133"/>
              <a:gd name="connsiteY11645" fmla="*/ 1119095 h 4367670"/>
              <a:gd name="connsiteX11646" fmla="*/ 2034476 w 5365133"/>
              <a:gd name="connsiteY11646" fmla="*/ 1104062 h 4367670"/>
              <a:gd name="connsiteX11647" fmla="*/ 2055313 w 5365133"/>
              <a:gd name="connsiteY11647" fmla="*/ 1089724 h 4367670"/>
              <a:gd name="connsiteX11648" fmla="*/ 2042835 w 5365133"/>
              <a:gd name="connsiteY11648" fmla="*/ 1089031 h 4367670"/>
              <a:gd name="connsiteX11649" fmla="*/ 2062207 w 5365133"/>
              <a:gd name="connsiteY11649" fmla="*/ 1077552 h 4367670"/>
              <a:gd name="connsiteX11650" fmla="*/ 2065435 w 5365133"/>
              <a:gd name="connsiteY11650" fmla="*/ 1088313 h 4367670"/>
              <a:gd name="connsiteX11651" fmla="*/ 2068662 w 5365133"/>
              <a:gd name="connsiteY11651" fmla="*/ 1094769 h 4367670"/>
              <a:gd name="connsiteX11652" fmla="*/ 2072966 w 5365133"/>
              <a:gd name="connsiteY11652" fmla="*/ 1084727 h 4367670"/>
              <a:gd name="connsiteX11653" fmla="*/ 2068662 w 5365133"/>
              <a:gd name="connsiteY11653" fmla="*/ 1083292 h 4367670"/>
              <a:gd name="connsiteX11654" fmla="*/ 2068662 w 5365133"/>
              <a:gd name="connsiteY11654" fmla="*/ 1071813 h 4367670"/>
              <a:gd name="connsiteX11655" fmla="*/ 2080141 w 5365133"/>
              <a:gd name="connsiteY11655" fmla="*/ 1071813 h 4367670"/>
              <a:gd name="connsiteX11656" fmla="*/ 2085880 w 5365133"/>
              <a:gd name="connsiteY11656" fmla="*/ 1089031 h 4367670"/>
              <a:gd name="connsiteX11657" fmla="*/ 2091620 w 5365133"/>
              <a:gd name="connsiteY11657" fmla="*/ 1077552 h 4367670"/>
              <a:gd name="connsiteX11658" fmla="*/ 2085880 w 5365133"/>
              <a:gd name="connsiteY11658" fmla="*/ 1071813 h 4367670"/>
              <a:gd name="connsiteX11659" fmla="*/ 2091620 w 5365133"/>
              <a:gd name="connsiteY11659" fmla="*/ 1066073 h 4367670"/>
              <a:gd name="connsiteX11660" fmla="*/ 2097359 w 5365133"/>
              <a:gd name="connsiteY11660" fmla="*/ 1083292 h 4367670"/>
              <a:gd name="connsiteX11661" fmla="*/ 2097359 w 5365133"/>
              <a:gd name="connsiteY11661" fmla="*/ 1060334 h 4367670"/>
              <a:gd name="connsiteX11662" fmla="*/ 2105969 w 5365133"/>
              <a:gd name="connsiteY11662" fmla="*/ 1064639 h 4367670"/>
              <a:gd name="connsiteX11663" fmla="*/ 2108896 w 5365133"/>
              <a:gd name="connsiteY11663" fmla="*/ 1063175 h 4367670"/>
              <a:gd name="connsiteX11664" fmla="*/ 2108121 w 5365133"/>
              <a:gd name="connsiteY11664" fmla="*/ 1064370 h 4367670"/>
              <a:gd name="connsiteX11665" fmla="*/ 2114578 w 5365133"/>
              <a:gd name="connsiteY11665" fmla="*/ 1066073 h 4367670"/>
              <a:gd name="connsiteX11666" fmla="*/ 2103099 w 5365133"/>
              <a:gd name="connsiteY11666" fmla="*/ 1083292 h 4367670"/>
              <a:gd name="connsiteX11667" fmla="*/ 2095474 w 5365133"/>
              <a:gd name="connsiteY11667" fmla="*/ 1094729 h 4367670"/>
              <a:gd name="connsiteX11668" fmla="*/ 2098736 w 5365133"/>
              <a:gd name="connsiteY11668" fmla="*/ 1096158 h 4367670"/>
              <a:gd name="connsiteX11669" fmla="*/ 2102473 w 5365133"/>
              <a:gd name="connsiteY11669" fmla="*/ 1096158 h 4367670"/>
              <a:gd name="connsiteX11670" fmla="*/ 2108451 w 5365133"/>
              <a:gd name="connsiteY11670" fmla="*/ 1102122 h 4367670"/>
              <a:gd name="connsiteX11671" fmla="*/ 2108780 w 5365133"/>
              <a:gd name="connsiteY11671" fmla="*/ 1101707 h 4367670"/>
              <a:gd name="connsiteX11672" fmla="*/ 2108480 w 5365133"/>
              <a:gd name="connsiteY11672" fmla="*/ 1097359 h 4367670"/>
              <a:gd name="connsiteX11673" fmla="*/ 2121546 w 5365133"/>
              <a:gd name="connsiteY11673" fmla="*/ 1090671 h 4367670"/>
              <a:gd name="connsiteX11674" fmla="*/ 2121546 w 5365133"/>
              <a:gd name="connsiteY11674" fmla="*/ 1060948 h 4367670"/>
              <a:gd name="connsiteX11675" fmla="*/ 2133846 w 5365133"/>
              <a:gd name="connsiteY11675" fmla="*/ 1055005 h 4367670"/>
              <a:gd name="connsiteX11676" fmla="*/ 2121546 w 5365133"/>
              <a:gd name="connsiteY11676" fmla="*/ 1055005 h 4367670"/>
              <a:gd name="connsiteX11677" fmla="*/ 2133846 w 5365133"/>
              <a:gd name="connsiteY11677" fmla="*/ 1043115 h 4367670"/>
              <a:gd name="connsiteX11678" fmla="*/ 2146146 w 5365133"/>
              <a:gd name="connsiteY11678" fmla="*/ 1072837 h 4367670"/>
              <a:gd name="connsiteX11679" fmla="*/ 2133846 w 5365133"/>
              <a:gd name="connsiteY11679" fmla="*/ 1084727 h 4367670"/>
              <a:gd name="connsiteX11680" fmla="*/ 2127696 w 5365133"/>
              <a:gd name="connsiteY11680" fmla="*/ 1072837 h 4367670"/>
              <a:gd name="connsiteX11681" fmla="*/ 2121546 w 5365133"/>
              <a:gd name="connsiteY11681" fmla="*/ 1084727 h 4367670"/>
              <a:gd name="connsiteX11682" fmla="*/ 2129689 w 5365133"/>
              <a:gd name="connsiteY11682" fmla="*/ 1088894 h 4367670"/>
              <a:gd name="connsiteX11683" fmla="*/ 2138713 w 5365133"/>
              <a:gd name="connsiteY11683" fmla="*/ 1085348 h 4367670"/>
              <a:gd name="connsiteX11684" fmla="*/ 2144318 w 5365133"/>
              <a:gd name="connsiteY11684" fmla="*/ 1078266 h 4367670"/>
              <a:gd name="connsiteX11685" fmla="*/ 2150296 w 5365133"/>
              <a:gd name="connsiteY11685" fmla="*/ 1084229 h 4367670"/>
              <a:gd name="connsiteX11686" fmla="*/ 2152125 w 5365133"/>
              <a:gd name="connsiteY11686" fmla="*/ 1082654 h 4367670"/>
              <a:gd name="connsiteX11687" fmla="*/ 2153768 w 5365133"/>
              <a:gd name="connsiteY11687" fmla="*/ 1078270 h 4367670"/>
              <a:gd name="connsiteX11688" fmla="*/ 2157013 w 5365133"/>
              <a:gd name="connsiteY11688" fmla="*/ 1077761 h 4367670"/>
              <a:gd name="connsiteX11689" fmla="*/ 2159263 w 5365133"/>
              <a:gd name="connsiteY11689" fmla="*/ 1073047 h 4367670"/>
              <a:gd name="connsiteX11690" fmla="*/ 2162065 w 5365133"/>
              <a:gd name="connsiteY11690" fmla="*/ 1068294 h 4367670"/>
              <a:gd name="connsiteX11691" fmla="*/ 2167912 w 5365133"/>
              <a:gd name="connsiteY11691" fmla="*/ 1066438 h 4367670"/>
              <a:gd name="connsiteX11692" fmla="*/ 2166234 w 5365133"/>
              <a:gd name="connsiteY11692" fmla="*/ 1063921 h 4367670"/>
              <a:gd name="connsiteX11693" fmla="*/ 2163364 w 5365133"/>
              <a:gd name="connsiteY11693" fmla="*/ 1066073 h 4367670"/>
              <a:gd name="connsiteX11694" fmla="*/ 2163364 w 5365133"/>
              <a:gd name="connsiteY11694" fmla="*/ 1054595 h 4367670"/>
              <a:gd name="connsiteX11695" fmla="*/ 2151885 w 5365133"/>
              <a:gd name="connsiteY11695" fmla="*/ 1071813 h 4367670"/>
              <a:gd name="connsiteX11696" fmla="*/ 2146146 w 5365133"/>
              <a:gd name="connsiteY11696" fmla="*/ 1048855 h 4367670"/>
              <a:gd name="connsiteX11697" fmla="*/ 2163364 w 5365133"/>
              <a:gd name="connsiteY11697" fmla="*/ 1043115 h 4367670"/>
              <a:gd name="connsiteX11698" fmla="*/ 2169104 w 5365133"/>
              <a:gd name="connsiteY11698" fmla="*/ 1066073 h 4367670"/>
              <a:gd name="connsiteX11699" fmla="*/ 2168230 w 5365133"/>
              <a:gd name="connsiteY11699" fmla="*/ 1066860 h 4367670"/>
              <a:gd name="connsiteX11700" fmla="*/ 2168230 w 5365133"/>
              <a:gd name="connsiteY11700" fmla="*/ 1071556 h 4367670"/>
              <a:gd name="connsiteX11701" fmla="*/ 2168230 w 5365133"/>
              <a:gd name="connsiteY11701" fmla="*/ 1072302 h 4367670"/>
              <a:gd name="connsiteX11702" fmla="*/ 2168904 w 5365133"/>
              <a:gd name="connsiteY11702" fmla="*/ 1072009 h 4367670"/>
              <a:gd name="connsiteX11703" fmla="*/ 2169104 w 5365133"/>
              <a:gd name="connsiteY11703" fmla="*/ 1071813 h 4367670"/>
              <a:gd name="connsiteX11704" fmla="*/ 2169048 w 5365133"/>
              <a:gd name="connsiteY11704" fmla="*/ 1071946 h 4367670"/>
              <a:gd name="connsiteX11705" fmla="*/ 2180679 w 5365133"/>
              <a:gd name="connsiteY11705" fmla="*/ 1066888 h 4367670"/>
              <a:gd name="connsiteX11706" fmla="*/ 2180580 w 5365133"/>
              <a:gd name="connsiteY11706" fmla="*/ 1066073 h 4367670"/>
              <a:gd name="connsiteX11707" fmla="*/ 2181693 w 5365133"/>
              <a:gd name="connsiteY11707" fmla="*/ 1066447 h 4367670"/>
              <a:gd name="connsiteX11708" fmla="*/ 2197373 w 5365133"/>
              <a:gd name="connsiteY11708" fmla="*/ 1059628 h 4367670"/>
              <a:gd name="connsiteX11709" fmla="*/ 2222033 w 5365133"/>
              <a:gd name="connsiteY11709" fmla="*/ 1042482 h 4367670"/>
              <a:gd name="connsiteX11710" fmla="*/ 2232081 w 5365133"/>
              <a:gd name="connsiteY11710" fmla="*/ 1043735 h 4367670"/>
              <a:gd name="connsiteX11711" fmla="*/ 2233672 w 5365133"/>
              <a:gd name="connsiteY11711" fmla="*/ 1042182 h 4367670"/>
              <a:gd name="connsiteX11712" fmla="*/ 2252325 w 5365133"/>
              <a:gd name="connsiteY11712" fmla="*/ 1028766 h 4367670"/>
              <a:gd name="connsiteX11713" fmla="*/ 2252856 w 5365133"/>
              <a:gd name="connsiteY11713" fmla="*/ 1030326 h 4367670"/>
              <a:gd name="connsiteX11714" fmla="*/ 2263412 w 5365133"/>
              <a:gd name="connsiteY11714" fmla="*/ 1027758 h 4367670"/>
              <a:gd name="connsiteX11715" fmla="*/ 2276582 w 5365133"/>
              <a:gd name="connsiteY11715" fmla="*/ 1026080 h 4367670"/>
              <a:gd name="connsiteX11716" fmla="*/ 2282624 w 5365133"/>
              <a:gd name="connsiteY11716" fmla="*/ 1023669 h 4367670"/>
              <a:gd name="connsiteX11717" fmla="*/ 2281741 w 5365133"/>
              <a:gd name="connsiteY11717" fmla="*/ 1023026 h 4367670"/>
              <a:gd name="connsiteX11718" fmla="*/ 2278153 w 5365133"/>
              <a:gd name="connsiteY11718" fmla="*/ 1017287 h 4367670"/>
              <a:gd name="connsiteX11719" fmla="*/ 2286661 w 5365133"/>
              <a:gd name="connsiteY11719" fmla="*/ 1020325 h 4367670"/>
              <a:gd name="connsiteX11720" fmla="*/ 2287790 w 5365133"/>
              <a:gd name="connsiteY11720" fmla="*/ 1012662 h 4367670"/>
              <a:gd name="connsiteX11721" fmla="*/ 2293768 w 5365133"/>
              <a:gd name="connsiteY11721" fmla="*/ 1018626 h 4367670"/>
              <a:gd name="connsiteX11722" fmla="*/ 2303763 w 5365133"/>
              <a:gd name="connsiteY11722" fmla="*/ 1008189 h 4367670"/>
              <a:gd name="connsiteX11723" fmla="*/ 2310904 w 5365133"/>
              <a:gd name="connsiteY11723" fmla="*/ 1004541 h 4367670"/>
              <a:gd name="connsiteX11724" fmla="*/ 2311871 w 5365133"/>
              <a:gd name="connsiteY11724" fmla="*/ 999351 h 4367670"/>
              <a:gd name="connsiteX11725" fmla="*/ 2306849 w 5365133"/>
              <a:gd name="connsiteY11725" fmla="*/ 982850 h 4367670"/>
              <a:gd name="connsiteX11726" fmla="*/ 2318328 w 5365133"/>
              <a:gd name="connsiteY11726" fmla="*/ 994329 h 4367670"/>
              <a:gd name="connsiteX11727" fmla="*/ 2314023 w 5365133"/>
              <a:gd name="connsiteY11727" fmla="*/ 1002221 h 4367670"/>
              <a:gd name="connsiteX11728" fmla="*/ 2314564 w 5365133"/>
              <a:gd name="connsiteY11728" fmla="*/ 1002671 h 4367670"/>
              <a:gd name="connsiteX11729" fmla="*/ 2315438 w 5365133"/>
              <a:gd name="connsiteY11729" fmla="*/ 1002224 h 4367670"/>
              <a:gd name="connsiteX11730" fmla="*/ 2341593 w 5365133"/>
              <a:gd name="connsiteY11730" fmla="*/ 994769 h 4367670"/>
              <a:gd name="connsiteX11731" fmla="*/ 2329636 w 5365133"/>
              <a:gd name="connsiteY11731" fmla="*/ 1000733 h 4367670"/>
              <a:gd name="connsiteX11732" fmla="*/ 2343087 w 5365133"/>
              <a:gd name="connsiteY11732" fmla="*/ 1000734 h 4367670"/>
              <a:gd name="connsiteX11733" fmla="*/ 2346316 w 5365133"/>
              <a:gd name="connsiteY11733" fmla="*/ 997513 h 4367670"/>
              <a:gd name="connsiteX11734" fmla="*/ 2344587 w 5365133"/>
              <a:gd name="connsiteY11734" fmla="*/ 994070 h 4367670"/>
              <a:gd name="connsiteX11735" fmla="*/ 2341574 w 5365133"/>
              <a:gd name="connsiteY11735" fmla="*/ 988069 h 4367670"/>
              <a:gd name="connsiteX11736" fmla="*/ 2353627 w 5365133"/>
              <a:gd name="connsiteY11736" fmla="*/ 982070 h 4367670"/>
              <a:gd name="connsiteX11737" fmla="*/ 2353627 w 5365133"/>
              <a:gd name="connsiteY11737" fmla="*/ 988069 h 4367670"/>
              <a:gd name="connsiteX11738" fmla="*/ 2353627 w 5365133"/>
              <a:gd name="connsiteY11738" fmla="*/ 993117 h 4367670"/>
              <a:gd name="connsiteX11739" fmla="*/ 2358686 w 5365133"/>
              <a:gd name="connsiteY11739" fmla="*/ 986755 h 4367670"/>
              <a:gd name="connsiteX11740" fmla="*/ 2364120 w 5365133"/>
              <a:gd name="connsiteY11740" fmla="*/ 984420 h 4367670"/>
              <a:gd name="connsiteX11741" fmla="*/ 2365491 w 5365133"/>
              <a:gd name="connsiteY11741" fmla="*/ 983100 h 4367670"/>
              <a:gd name="connsiteX11742" fmla="*/ 2368262 w 5365133"/>
              <a:gd name="connsiteY11742" fmla="*/ 982640 h 4367670"/>
              <a:gd name="connsiteX11743" fmla="*/ 2370777 w 5365133"/>
              <a:gd name="connsiteY11743" fmla="*/ 981560 h 4367670"/>
              <a:gd name="connsiteX11744" fmla="*/ 2356640 w 5365133"/>
              <a:gd name="connsiteY11744" fmla="*/ 973818 h 4367670"/>
              <a:gd name="connsiteX11745" fmla="*/ 2341574 w 5365133"/>
              <a:gd name="connsiteY11745" fmla="*/ 970068 h 4367670"/>
              <a:gd name="connsiteX11746" fmla="*/ 2338183 w 5365133"/>
              <a:gd name="connsiteY11746" fmla="*/ 959099 h 4367670"/>
              <a:gd name="connsiteX11747" fmla="*/ 2335795 w 5365133"/>
              <a:gd name="connsiteY11747" fmla="*/ 952732 h 4367670"/>
              <a:gd name="connsiteX11748" fmla="*/ 2334280 w 5365133"/>
              <a:gd name="connsiteY11748" fmla="*/ 954476 h 4367670"/>
              <a:gd name="connsiteX11749" fmla="*/ 2327493 w 5365133"/>
              <a:gd name="connsiteY11749" fmla="*/ 946943 h 4367670"/>
              <a:gd name="connsiteX11750" fmla="*/ 2318413 w 5365133"/>
              <a:gd name="connsiteY11750" fmla="*/ 948153 h 4367670"/>
              <a:gd name="connsiteX11751" fmla="*/ 2331076 w 5365133"/>
              <a:gd name="connsiteY11751" fmla="*/ 938468 h 4367670"/>
              <a:gd name="connsiteX11752" fmla="*/ 2400652 w 5365133"/>
              <a:gd name="connsiteY11752" fmla="*/ 906264 h 4367670"/>
              <a:gd name="connsiteX11753" fmla="*/ 2406686 w 5365133"/>
              <a:gd name="connsiteY11753" fmla="*/ 906264 h 4367670"/>
              <a:gd name="connsiteX11754" fmla="*/ 2424787 w 5365133"/>
              <a:gd name="connsiteY11754" fmla="*/ 891198 h 4367670"/>
              <a:gd name="connsiteX11755" fmla="*/ 2429312 w 5365133"/>
              <a:gd name="connsiteY11755" fmla="*/ 889691 h 4367670"/>
              <a:gd name="connsiteX11756" fmla="*/ 2418753 w 5365133"/>
              <a:gd name="connsiteY11756" fmla="*/ 900237 h 4367670"/>
              <a:gd name="connsiteX11757" fmla="*/ 2418753 w 5365133"/>
              <a:gd name="connsiteY11757" fmla="*/ 912291 h 4367670"/>
              <a:gd name="connsiteX11758" fmla="*/ 2346631 w 5365133"/>
              <a:gd name="connsiteY11758" fmla="*/ 940257 h 4367670"/>
              <a:gd name="connsiteX11759" fmla="*/ 2336390 w 5365133"/>
              <a:gd name="connsiteY11759" fmla="*/ 952047 h 4367670"/>
              <a:gd name="connsiteX11760" fmla="*/ 2347506 w 5365133"/>
              <a:gd name="connsiteY11760" fmla="*/ 951785 h 4367670"/>
              <a:gd name="connsiteX11761" fmla="*/ 2395812 w 5365133"/>
              <a:gd name="connsiteY11761" fmla="*/ 934066 h 4367670"/>
              <a:gd name="connsiteX11762" fmla="*/ 2347600 w 5365133"/>
              <a:gd name="connsiteY11762" fmla="*/ 958067 h 4367670"/>
              <a:gd name="connsiteX11763" fmla="*/ 2371706 w 5365133"/>
              <a:gd name="connsiteY11763" fmla="*/ 964068 h 4367670"/>
              <a:gd name="connsiteX11764" fmla="*/ 2371706 w 5365133"/>
              <a:gd name="connsiteY11764" fmla="*/ 952067 h 4367670"/>
              <a:gd name="connsiteX11765" fmla="*/ 2389785 w 5365133"/>
              <a:gd name="connsiteY11765" fmla="*/ 946067 h 4367670"/>
              <a:gd name="connsiteX11766" fmla="*/ 2377733 w 5365133"/>
              <a:gd name="connsiteY11766" fmla="*/ 970068 h 4367670"/>
              <a:gd name="connsiteX11767" fmla="*/ 2383006 w 5365133"/>
              <a:gd name="connsiteY11767" fmla="*/ 973818 h 4367670"/>
              <a:gd name="connsiteX11768" fmla="*/ 2383284 w 5365133"/>
              <a:gd name="connsiteY11768" fmla="*/ 976855 h 4367670"/>
              <a:gd name="connsiteX11769" fmla="*/ 2398850 w 5365133"/>
              <a:gd name="connsiteY11769" fmla="*/ 972218 h 4367670"/>
              <a:gd name="connsiteX11770" fmla="*/ 2413328 w 5365133"/>
              <a:gd name="connsiteY11770" fmla="*/ 964949 h 4367670"/>
              <a:gd name="connsiteX11771" fmla="*/ 2419306 w 5365133"/>
              <a:gd name="connsiteY11771" fmla="*/ 970913 h 4367670"/>
              <a:gd name="connsiteX11772" fmla="*/ 2461153 w 5365133"/>
              <a:gd name="connsiteY11772" fmla="*/ 953021 h 4367670"/>
              <a:gd name="connsiteX11773" fmla="*/ 2455175 w 5365133"/>
              <a:gd name="connsiteY11773" fmla="*/ 935130 h 4367670"/>
              <a:gd name="connsiteX11774" fmla="*/ 2503000 w 5365133"/>
              <a:gd name="connsiteY11774" fmla="*/ 929166 h 4367670"/>
              <a:gd name="connsiteX11775" fmla="*/ 2503000 w 5365133"/>
              <a:gd name="connsiteY11775" fmla="*/ 923200 h 4367670"/>
              <a:gd name="connsiteX11776" fmla="*/ 2506358 w 5365133"/>
              <a:gd name="connsiteY11776" fmla="*/ 919966 h 4367670"/>
              <a:gd name="connsiteX11777" fmla="*/ 2506386 w 5365133"/>
              <a:gd name="connsiteY11777" fmla="*/ 919807 h 4367670"/>
              <a:gd name="connsiteX11778" fmla="*/ 2499123 w 5365133"/>
              <a:gd name="connsiteY11778" fmla="*/ 899629 h 4367670"/>
              <a:gd name="connsiteX11779" fmla="*/ 2510601 w 5365133"/>
              <a:gd name="connsiteY11779" fmla="*/ 916847 h 4367670"/>
              <a:gd name="connsiteX11780" fmla="*/ 2529972 w 5365133"/>
              <a:gd name="connsiteY11780" fmla="*/ 907162 h 4367670"/>
              <a:gd name="connsiteX11781" fmla="*/ 2533117 w 5365133"/>
              <a:gd name="connsiteY11781" fmla="*/ 906557 h 4367670"/>
              <a:gd name="connsiteX11782" fmla="*/ 2532889 w 5365133"/>
              <a:gd name="connsiteY11782" fmla="*/ 905309 h 4367670"/>
              <a:gd name="connsiteX11783" fmla="*/ 2544659 w 5365133"/>
              <a:gd name="connsiteY11783" fmla="*/ 902794 h 4367670"/>
              <a:gd name="connsiteX11784" fmla="*/ 2550630 w 5365133"/>
              <a:gd name="connsiteY11784" fmla="*/ 899454 h 4367670"/>
              <a:gd name="connsiteX11785" fmla="*/ 2552822 w 5365133"/>
              <a:gd name="connsiteY11785" fmla="*/ 892634 h 4367670"/>
              <a:gd name="connsiteX11786" fmla="*/ 2559070 w 5365133"/>
              <a:gd name="connsiteY11786" fmla="*/ 886100 h 4367670"/>
              <a:gd name="connsiteX11787" fmla="*/ 2516661 w 5365133"/>
              <a:gd name="connsiteY11787" fmla="*/ 904548 h 4367670"/>
              <a:gd name="connsiteX11788" fmla="*/ 2516661 w 5365133"/>
              <a:gd name="connsiteY11788" fmla="*/ 892250 h 4367670"/>
              <a:gd name="connsiteX11789" fmla="*/ 2546952 w 5365133"/>
              <a:gd name="connsiteY11789" fmla="*/ 873800 h 4367670"/>
              <a:gd name="connsiteX11790" fmla="*/ 2558312 w 5365133"/>
              <a:gd name="connsiteY11790" fmla="*/ 880719 h 4367670"/>
              <a:gd name="connsiteX11791" fmla="*/ 2563748 w 5365133"/>
              <a:gd name="connsiteY11791" fmla="*/ 889916 h 4367670"/>
              <a:gd name="connsiteX11792" fmla="*/ 2568758 w 5365133"/>
              <a:gd name="connsiteY11792" fmla="*/ 887417 h 4367670"/>
              <a:gd name="connsiteX11793" fmla="*/ 2562780 w 5365133"/>
              <a:gd name="connsiteY11793" fmla="*/ 899346 h 4367670"/>
              <a:gd name="connsiteX11794" fmla="*/ 2574736 w 5365133"/>
              <a:gd name="connsiteY11794" fmla="*/ 899346 h 4367670"/>
              <a:gd name="connsiteX11795" fmla="*/ 2574736 w 5365133"/>
              <a:gd name="connsiteY11795" fmla="*/ 887417 h 4367670"/>
              <a:gd name="connsiteX11796" fmla="*/ 2580713 w 5365133"/>
              <a:gd name="connsiteY11796" fmla="*/ 881453 h 4367670"/>
              <a:gd name="connsiteX11797" fmla="*/ 2586691 w 5365133"/>
              <a:gd name="connsiteY11797" fmla="*/ 893381 h 4367670"/>
              <a:gd name="connsiteX11798" fmla="*/ 2592669 w 5365133"/>
              <a:gd name="connsiteY11798" fmla="*/ 893381 h 4367670"/>
              <a:gd name="connsiteX11799" fmla="*/ 2598647 w 5365133"/>
              <a:gd name="connsiteY11799" fmla="*/ 893381 h 4367670"/>
              <a:gd name="connsiteX11800" fmla="*/ 2592669 w 5365133"/>
              <a:gd name="connsiteY11800" fmla="*/ 875490 h 4367670"/>
              <a:gd name="connsiteX11801" fmla="*/ 2622559 w 5365133"/>
              <a:gd name="connsiteY11801" fmla="*/ 863560 h 4367670"/>
              <a:gd name="connsiteX11802" fmla="*/ 2634516 w 5365133"/>
              <a:gd name="connsiteY11802" fmla="*/ 875490 h 4367670"/>
              <a:gd name="connsiteX11803" fmla="*/ 2628538 w 5365133"/>
              <a:gd name="connsiteY11803" fmla="*/ 869526 h 4367670"/>
              <a:gd name="connsiteX11804" fmla="*/ 2646471 w 5365133"/>
              <a:gd name="connsiteY11804" fmla="*/ 859088 h 4367670"/>
              <a:gd name="connsiteX11805" fmla="*/ 2649403 w 5365133"/>
              <a:gd name="connsiteY11805" fmla="*/ 858113 h 4367670"/>
              <a:gd name="connsiteX11806" fmla="*/ 2646138 w 5365133"/>
              <a:gd name="connsiteY11806" fmla="*/ 854430 h 4367670"/>
              <a:gd name="connsiteX11807" fmla="*/ 2634479 w 5365133"/>
              <a:gd name="connsiteY11807" fmla="*/ 850842 h 4367670"/>
              <a:gd name="connsiteX11808" fmla="*/ 2628261 w 5365133"/>
              <a:gd name="connsiteY11808" fmla="*/ 839363 h 4367670"/>
              <a:gd name="connsiteX11809" fmla="*/ 2640698 w 5365133"/>
              <a:gd name="connsiteY11809" fmla="*/ 839363 h 4367670"/>
              <a:gd name="connsiteX11810" fmla="*/ 2646915 w 5365133"/>
              <a:gd name="connsiteY11810" fmla="*/ 850842 h 4367670"/>
              <a:gd name="connsiteX11811" fmla="*/ 2653133 w 5365133"/>
              <a:gd name="connsiteY11811" fmla="*/ 839363 h 4367670"/>
              <a:gd name="connsiteX11812" fmla="*/ 2657797 w 5365133"/>
              <a:gd name="connsiteY11812" fmla="*/ 850842 h 4367670"/>
              <a:gd name="connsiteX11813" fmla="*/ 2655645 w 5365133"/>
              <a:gd name="connsiteY11813" fmla="*/ 856141 h 4367670"/>
              <a:gd name="connsiteX11814" fmla="*/ 2664406 w 5365133"/>
              <a:gd name="connsiteY11814" fmla="*/ 857597 h 4367670"/>
              <a:gd name="connsiteX11815" fmla="*/ 2664406 w 5365133"/>
              <a:gd name="connsiteY11815" fmla="*/ 845669 h 4367670"/>
              <a:gd name="connsiteX11816" fmla="*/ 2831791 w 5365133"/>
              <a:gd name="connsiteY11816" fmla="*/ 768137 h 4367670"/>
              <a:gd name="connsiteX11817" fmla="*/ 2831791 w 5365133"/>
              <a:gd name="connsiteY11817" fmla="*/ 774101 h 4367670"/>
              <a:gd name="connsiteX11818" fmla="*/ 2951351 w 5365133"/>
              <a:gd name="connsiteY11818" fmla="*/ 708497 h 4367670"/>
              <a:gd name="connsiteX11819" fmla="*/ 2957422 w 5365133"/>
              <a:gd name="connsiteY11819" fmla="*/ 713902 h 4367670"/>
              <a:gd name="connsiteX11820" fmla="*/ 2957505 w 5365133"/>
              <a:gd name="connsiteY11820" fmla="*/ 714154 h 4367670"/>
              <a:gd name="connsiteX11821" fmla="*/ 2956645 w 5365133"/>
              <a:gd name="connsiteY11821" fmla="*/ 714566 h 4367670"/>
              <a:gd name="connsiteX11822" fmla="*/ 2957721 w 5365133"/>
              <a:gd name="connsiteY11822" fmla="*/ 714809 h 4367670"/>
              <a:gd name="connsiteX11823" fmla="*/ 2959571 w 5365133"/>
              <a:gd name="connsiteY11823" fmla="*/ 720424 h 4367670"/>
              <a:gd name="connsiteX11824" fmla="*/ 2963307 w 5365133"/>
              <a:gd name="connsiteY11824" fmla="*/ 732353 h 4367670"/>
              <a:gd name="connsiteX11825" fmla="*/ 2951351 w 5365133"/>
              <a:gd name="connsiteY11825" fmla="*/ 732353 h 4367670"/>
              <a:gd name="connsiteX11826" fmla="*/ 2957329 w 5365133"/>
              <a:gd name="connsiteY11826" fmla="*/ 726388 h 4367670"/>
              <a:gd name="connsiteX11827" fmla="*/ 2945373 w 5365133"/>
              <a:gd name="connsiteY11827" fmla="*/ 726388 h 4367670"/>
              <a:gd name="connsiteX11828" fmla="*/ 2950604 w 5365133"/>
              <a:gd name="connsiteY11828" fmla="*/ 736080 h 4367670"/>
              <a:gd name="connsiteX11829" fmla="*/ 2951099 w 5365133"/>
              <a:gd name="connsiteY11829" fmla="*/ 745476 h 4367670"/>
              <a:gd name="connsiteX11830" fmla="*/ 2953258 w 5365133"/>
              <a:gd name="connsiteY11830" fmla="*/ 744663 h 4367670"/>
              <a:gd name="connsiteX11831" fmla="*/ 2964019 w 5365133"/>
              <a:gd name="connsiteY11831" fmla="*/ 738923 h 4367670"/>
              <a:gd name="connsiteX11832" fmla="*/ 2964019 w 5365133"/>
              <a:gd name="connsiteY11832" fmla="*/ 744663 h 4367670"/>
              <a:gd name="connsiteX11833" fmla="*/ 2955410 w 5365133"/>
              <a:gd name="connsiteY11833" fmla="*/ 745380 h 4367670"/>
              <a:gd name="connsiteX11834" fmla="*/ 2951223 w 5365133"/>
              <a:gd name="connsiteY11834" fmla="*/ 747823 h 4367670"/>
              <a:gd name="connsiteX11835" fmla="*/ 2951351 w 5365133"/>
              <a:gd name="connsiteY11835" fmla="*/ 750244 h 4367670"/>
              <a:gd name="connsiteX11836" fmla="*/ 2948087 w 5365133"/>
              <a:gd name="connsiteY11836" fmla="*/ 749653 h 4367670"/>
              <a:gd name="connsiteX11837" fmla="*/ 2946801 w 5365133"/>
              <a:gd name="connsiteY11837" fmla="*/ 750402 h 4367670"/>
              <a:gd name="connsiteX11838" fmla="*/ 2946877 w 5365133"/>
              <a:gd name="connsiteY11838" fmla="*/ 749433 h 4367670"/>
              <a:gd name="connsiteX11839" fmla="*/ 2943131 w 5365133"/>
              <a:gd name="connsiteY11839" fmla="*/ 748753 h 4367670"/>
              <a:gd name="connsiteX11840" fmla="*/ 2939394 w 5365133"/>
              <a:gd name="connsiteY11840" fmla="*/ 738317 h 4367670"/>
              <a:gd name="connsiteX11841" fmla="*/ 2927438 w 5365133"/>
              <a:gd name="connsiteY11841" fmla="*/ 756208 h 4367670"/>
              <a:gd name="connsiteX11842" fmla="*/ 2933416 w 5365133"/>
              <a:gd name="connsiteY11842" fmla="*/ 744281 h 4367670"/>
              <a:gd name="connsiteX11843" fmla="*/ 2921460 w 5365133"/>
              <a:gd name="connsiteY11843" fmla="*/ 732353 h 4367670"/>
              <a:gd name="connsiteX11844" fmla="*/ 2927438 w 5365133"/>
              <a:gd name="connsiteY11844" fmla="*/ 756208 h 4367670"/>
              <a:gd name="connsiteX11845" fmla="*/ 2926756 w 5365133"/>
              <a:gd name="connsiteY11845" fmla="*/ 759206 h 4367670"/>
              <a:gd name="connsiteX11846" fmla="*/ 2929585 w 5365133"/>
              <a:gd name="connsiteY11846" fmla="*/ 761881 h 4367670"/>
              <a:gd name="connsiteX11847" fmla="*/ 2898016 w 5365133"/>
              <a:gd name="connsiteY11847" fmla="*/ 773360 h 4367670"/>
              <a:gd name="connsiteX11848" fmla="*/ 2902949 w 5365133"/>
              <a:gd name="connsiteY11848" fmla="*/ 765110 h 4367670"/>
              <a:gd name="connsiteX11849" fmla="*/ 2908668 w 5365133"/>
              <a:gd name="connsiteY11849" fmla="*/ 761895 h 4367670"/>
              <a:gd name="connsiteX11850" fmla="*/ 2900537 w 5365133"/>
              <a:gd name="connsiteY11850" fmla="*/ 759190 h 4367670"/>
              <a:gd name="connsiteX11851" fmla="*/ 2891569 w 5365133"/>
              <a:gd name="connsiteY11851" fmla="*/ 756208 h 4367670"/>
              <a:gd name="connsiteX11852" fmla="*/ 2897548 w 5365133"/>
              <a:gd name="connsiteY11852" fmla="*/ 762174 h 4367670"/>
              <a:gd name="connsiteX11853" fmla="*/ 2885591 w 5365133"/>
              <a:gd name="connsiteY11853" fmla="*/ 768137 h 4367670"/>
              <a:gd name="connsiteX11854" fmla="*/ 2885591 w 5365133"/>
              <a:gd name="connsiteY11854" fmla="*/ 761427 h 4367670"/>
              <a:gd name="connsiteX11855" fmla="*/ 2885591 w 5365133"/>
              <a:gd name="connsiteY11855" fmla="*/ 756208 h 4367670"/>
              <a:gd name="connsiteX11856" fmla="*/ 2885591 w 5365133"/>
              <a:gd name="connsiteY11856" fmla="*/ 750244 h 4367670"/>
              <a:gd name="connsiteX11857" fmla="*/ 2885591 w 5365133"/>
              <a:gd name="connsiteY11857" fmla="*/ 756208 h 4367670"/>
              <a:gd name="connsiteX11858" fmla="*/ 2861679 w 5365133"/>
              <a:gd name="connsiteY11858" fmla="*/ 791993 h 4367670"/>
              <a:gd name="connsiteX11859" fmla="*/ 2867658 w 5365133"/>
              <a:gd name="connsiteY11859" fmla="*/ 780064 h 4367670"/>
              <a:gd name="connsiteX11860" fmla="*/ 2867658 w 5365133"/>
              <a:gd name="connsiteY11860" fmla="*/ 774101 h 4367670"/>
              <a:gd name="connsiteX11861" fmla="*/ 2861679 w 5365133"/>
              <a:gd name="connsiteY11861" fmla="*/ 762174 h 4367670"/>
              <a:gd name="connsiteX11862" fmla="*/ 2855701 w 5365133"/>
              <a:gd name="connsiteY11862" fmla="*/ 774101 h 4367670"/>
              <a:gd name="connsiteX11863" fmla="*/ 2861679 w 5365133"/>
              <a:gd name="connsiteY11863" fmla="*/ 786029 h 4367670"/>
              <a:gd name="connsiteX11864" fmla="*/ 2855701 w 5365133"/>
              <a:gd name="connsiteY11864" fmla="*/ 797957 h 4367670"/>
              <a:gd name="connsiteX11865" fmla="*/ 2852063 w 5365133"/>
              <a:gd name="connsiteY11865" fmla="*/ 792312 h 4367670"/>
              <a:gd name="connsiteX11866" fmla="*/ 2850665 w 5365133"/>
              <a:gd name="connsiteY11866" fmla="*/ 792731 h 4367670"/>
              <a:gd name="connsiteX11867" fmla="*/ 2843490 w 5365133"/>
              <a:gd name="connsiteY11867" fmla="*/ 790578 h 4367670"/>
              <a:gd name="connsiteX11868" fmla="*/ 2848329 w 5365133"/>
              <a:gd name="connsiteY11868" fmla="*/ 787192 h 4367670"/>
              <a:gd name="connsiteX11869" fmla="*/ 2843091 w 5365133"/>
              <a:gd name="connsiteY11869" fmla="*/ 784538 h 4367670"/>
              <a:gd name="connsiteX11870" fmla="*/ 2837767 w 5365133"/>
              <a:gd name="connsiteY11870" fmla="*/ 786029 h 4367670"/>
              <a:gd name="connsiteX11871" fmla="*/ 2844493 w 5365133"/>
              <a:gd name="connsiteY11871" fmla="*/ 792738 h 4367670"/>
              <a:gd name="connsiteX11872" fmla="*/ 2842857 w 5365133"/>
              <a:gd name="connsiteY11872" fmla="*/ 795457 h 4367670"/>
              <a:gd name="connsiteX11873" fmla="*/ 2843490 w 5365133"/>
              <a:gd name="connsiteY11873" fmla="*/ 796318 h 4367670"/>
              <a:gd name="connsiteX11874" fmla="*/ 2842051 w 5365133"/>
              <a:gd name="connsiteY11874" fmla="*/ 796798 h 4367670"/>
              <a:gd name="connsiteX11875" fmla="*/ 2841782 w 5365133"/>
              <a:gd name="connsiteY11875" fmla="*/ 797245 h 4367670"/>
              <a:gd name="connsiteX11876" fmla="*/ 2841269 w 5365133"/>
              <a:gd name="connsiteY11876" fmla="*/ 797059 h 4367670"/>
              <a:gd name="connsiteX11877" fmla="*/ 2834881 w 5365133"/>
              <a:gd name="connsiteY11877" fmla="*/ 799188 h 4367670"/>
              <a:gd name="connsiteX11878" fmla="*/ 2831791 w 5365133"/>
              <a:gd name="connsiteY11878" fmla="*/ 800218 h 4367670"/>
              <a:gd name="connsiteX11879" fmla="*/ 2831791 w 5365133"/>
              <a:gd name="connsiteY11879" fmla="*/ 803921 h 4367670"/>
              <a:gd name="connsiteX11880" fmla="*/ 2827966 w 5365133"/>
              <a:gd name="connsiteY11880" fmla="*/ 801493 h 4367670"/>
              <a:gd name="connsiteX11881" fmla="*/ 2826272 w 5365133"/>
              <a:gd name="connsiteY11881" fmla="*/ 802058 h 4367670"/>
              <a:gd name="connsiteX11882" fmla="*/ 2826359 w 5365133"/>
              <a:gd name="connsiteY11882" fmla="*/ 800472 h 4367670"/>
              <a:gd name="connsiteX11883" fmla="*/ 2825626 w 5365133"/>
              <a:gd name="connsiteY11883" fmla="*/ 800007 h 4367670"/>
              <a:gd name="connsiteX11884" fmla="*/ 2813856 w 5365133"/>
              <a:gd name="connsiteY11884" fmla="*/ 821814 h 4367670"/>
              <a:gd name="connsiteX11885" fmla="*/ 2807878 w 5365133"/>
              <a:gd name="connsiteY11885" fmla="*/ 809884 h 4367670"/>
              <a:gd name="connsiteX11886" fmla="*/ 2796109 w 5365133"/>
              <a:gd name="connsiteY11886" fmla="*/ 811562 h 4367670"/>
              <a:gd name="connsiteX11887" fmla="*/ 2790856 w 5365133"/>
              <a:gd name="connsiteY11887" fmla="*/ 815215 h 4367670"/>
              <a:gd name="connsiteX11888" fmla="*/ 2797575 w 5365133"/>
              <a:gd name="connsiteY11888" fmla="*/ 816405 h 4367670"/>
              <a:gd name="connsiteX11889" fmla="*/ 2788254 w 5365133"/>
              <a:gd name="connsiteY11889" fmla="*/ 819096 h 4367670"/>
              <a:gd name="connsiteX11890" fmla="*/ 2787660 w 5365133"/>
              <a:gd name="connsiteY11890" fmla="*/ 819451 h 4367670"/>
              <a:gd name="connsiteX11891" fmla="*/ 2789944 w 5365133"/>
              <a:gd name="connsiteY11891" fmla="*/ 821814 h 4367670"/>
              <a:gd name="connsiteX11892" fmla="*/ 2786983 w 5365133"/>
              <a:gd name="connsiteY11892" fmla="*/ 819857 h 4367670"/>
              <a:gd name="connsiteX11893" fmla="*/ 2778358 w 5365133"/>
              <a:gd name="connsiteY11893" fmla="*/ 825014 h 4367670"/>
              <a:gd name="connsiteX11894" fmla="*/ 2767308 w 5365133"/>
              <a:gd name="connsiteY11894" fmla="*/ 830933 h 4367670"/>
              <a:gd name="connsiteX11895" fmla="*/ 2762527 w 5365133"/>
              <a:gd name="connsiteY11895" fmla="*/ 831940 h 4367670"/>
              <a:gd name="connsiteX11896" fmla="*/ 2760054 w 5365133"/>
              <a:gd name="connsiteY11896" fmla="*/ 839704 h 4367670"/>
              <a:gd name="connsiteX11897" fmla="*/ 2758372 w 5365133"/>
              <a:gd name="connsiteY11897" fmla="*/ 835231 h 4367670"/>
              <a:gd name="connsiteX11898" fmla="*/ 2759359 w 5365133"/>
              <a:gd name="connsiteY11898" fmla="*/ 832607 h 4367670"/>
              <a:gd name="connsiteX11899" fmla="*/ 2754584 w 5365133"/>
              <a:gd name="connsiteY11899" fmla="*/ 833612 h 4367670"/>
              <a:gd name="connsiteX11900" fmla="*/ 2754076 w 5365133"/>
              <a:gd name="connsiteY11900" fmla="*/ 839704 h 4367670"/>
              <a:gd name="connsiteX11901" fmla="*/ 2749269 w 5365133"/>
              <a:gd name="connsiteY11901" fmla="*/ 838893 h 4367670"/>
              <a:gd name="connsiteX11902" fmla="*/ 2749507 w 5365133"/>
              <a:gd name="connsiteY11902" fmla="*/ 841515 h 4367670"/>
              <a:gd name="connsiteX11903" fmla="*/ 2737311 w 5365133"/>
              <a:gd name="connsiteY11903" fmla="*/ 845103 h 4367670"/>
              <a:gd name="connsiteX11904" fmla="*/ 2743051 w 5365133"/>
              <a:gd name="connsiteY11904" fmla="*/ 833624 h 4367670"/>
              <a:gd name="connsiteX11905" fmla="*/ 2743768 w 5365133"/>
              <a:gd name="connsiteY11905" fmla="*/ 833624 h 4367670"/>
              <a:gd name="connsiteX11906" fmla="*/ 2744783 w 5365133"/>
              <a:gd name="connsiteY11906" fmla="*/ 833624 h 4367670"/>
              <a:gd name="connsiteX11907" fmla="*/ 2742119 w 5365133"/>
              <a:gd name="connsiteY11907" fmla="*/ 827777 h 4367670"/>
              <a:gd name="connsiteX11908" fmla="*/ 2718207 w 5365133"/>
              <a:gd name="connsiteY11908" fmla="*/ 839704 h 4367670"/>
              <a:gd name="connsiteX11909" fmla="*/ 2727537 w 5365133"/>
              <a:gd name="connsiteY11909" fmla="*/ 842808 h 4367670"/>
              <a:gd name="connsiteX11910" fmla="*/ 2737311 w 5365133"/>
              <a:gd name="connsiteY11910" fmla="*/ 839363 h 4367670"/>
              <a:gd name="connsiteX11911" fmla="*/ 2733527 w 5365133"/>
              <a:gd name="connsiteY11911" fmla="*/ 845282 h 4367670"/>
              <a:gd name="connsiteX11912" fmla="*/ 2734180 w 5365133"/>
              <a:gd name="connsiteY11912" fmla="*/ 845576 h 4367670"/>
              <a:gd name="connsiteX11913" fmla="*/ 2736141 w 5365133"/>
              <a:gd name="connsiteY11913" fmla="*/ 851633 h 4367670"/>
              <a:gd name="connsiteX11914" fmla="*/ 2730865 w 5365133"/>
              <a:gd name="connsiteY11914" fmla="*/ 849001 h 4367670"/>
              <a:gd name="connsiteX11915" fmla="*/ 2720936 w 5365133"/>
              <a:gd name="connsiteY11915" fmla="*/ 855395 h 4367670"/>
              <a:gd name="connsiteX11916" fmla="*/ 2720448 w 5365133"/>
              <a:gd name="connsiteY11916" fmla="*/ 856852 h 4367670"/>
              <a:gd name="connsiteX11917" fmla="*/ 2712229 w 5365133"/>
              <a:gd name="connsiteY11917" fmla="*/ 863560 h 4367670"/>
              <a:gd name="connsiteX11918" fmla="*/ 2710735 w 5365133"/>
              <a:gd name="connsiteY11918" fmla="*/ 861697 h 4367670"/>
              <a:gd name="connsiteX11919" fmla="*/ 2711994 w 5365133"/>
              <a:gd name="connsiteY11919" fmla="*/ 859969 h 4367670"/>
              <a:gd name="connsiteX11920" fmla="*/ 2703201 w 5365133"/>
              <a:gd name="connsiteY11920" fmla="*/ 863495 h 4367670"/>
              <a:gd name="connsiteX11921" fmla="*/ 2704108 w 5365133"/>
              <a:gd name="connsiteY11921" fmla="*/ 863792 h 4367670"/>
              <a:gd name="connsiteX11922" fmla="*/ 2681151 w 5365133"/>
              <a:gd name="connsiteY11922" fmla="*/ 875271 h 4367670"/>
              <a:gd name="connsiteX11923" fmla="*/ 2682317 w 5365133"/>
              <a:gd name="connsiteY11923" fmla="*/ 870248 h 4367670"/>
              <a:gd name="connsiteX11924" fmla="*/ 2687121 w 5365133"/>
              <a:gd name="connsiteY11924" fmla="*/ 867292 h 4367670"/>
              <a:gd name="connsiteX11925" fmla="*/ 2682785 w 5365133"/>
              <a:gd name="connsiteY11925" fmla="*/ 868061 h 4367670"/>
              <a:gd name="connsiteX11926" fmla="*/ 2687097 w 5365133"/>
              <a:gd name="connsiteY11926" fmla="*/ 863398 h 4367670"/>
              <a:gd name="connsiteX11927" fmla="*/ 2677109 w 5365133"/>
              <a:gd name="connsiteY11927" fmla="*/ 862070 h 4367670"/>
              <a:gd name="connsiteX11928" fmla="*/ 2670384 w 5365133"/>
              <a:gd name="connsiteY11928" fmla="*/ 869526 h 4367670"/>
              <a:gd name="connsiteX11929" fmla="*/ 2670384 w 5365133"/>
              <a:gd name="connsiteY11929" fmla="*/ 863560 h 4367670"/>
              <a:gd name="connsiteX11930" fmla="*/ 2651032 w 5365133"/>
              <a:gd name="connsiteY11930" fmla="*/ 875234 h 4367670"/>
              <a:gd name="connsiteX11931" fmla="*/ 2651398 w 5365133"/>
              <a:gd name="connsiteY11931" fmla="*/ 875033 h 4367670"/>
              <a:gd name="connsiteX11932" fmla="*/ 2654088 w 5365133"/>
              <a:gd name="connsiteY11932" fmla="*/ 873800 h 4367670"/>
              <a:gd name="connsiteX11933" fmla="*/ 2648348 w 5365133"/>
              <a:gd name="connsiteY11933" fmla="*/ 888150 h 4367670"/>
              <a:gd name="connsiteX11934" fmla="*/ 2636870 w 5365133"/>
              <a:gd name="connsiteY11934" fmla="*/ 888150 h 4367670"/>
              <a:gd name="connsiteX11935" fmla="*/ 2639560 w 5365133"/>
              <a:gd name="connsiteY11935" fmla="*/ 882881 h 4367670"/>
              <a:gd name="connsiteX11936" fmla="*/ 2643750 w 5365133"/>
              <a:gd name="connsiteY11936" fmla="*/ 879627 h 4367670"/>
              <a:gd name="connsiteX11937" fmla="*/ 2638251 w 5365133"/>
              <a:gd name="connsiteY11937" fmla="*/ 882944 h 4367670"/>
              <a:gd name="connsiteX11938" fmla="*/ 2610603 w 5365133"/>
              <a:gd name="connsiteY11938" fmla="*/ 893381 h 4367670"/>
              <a:gd name="connsiteX11939" fmla="*/ 2608361 w 5365133"/>
              <a:gd name="connsiteY11939" fmla="*/ 894126 h 4367670"/>
              <a:gd name="connsiteX11940" fmla="*/ 2610439 w 5365133"/>
              <a:gd name="connsiteY11940" fmla="*/ 898964 h 4367670"/>
              <a:gd name="connsiteX11941" fmla="*/ 2616782 w 5365133"/>
              <a:gd name="connsiteY11941" fmla="*/ 893889 h 4367670"/>
              <a:gd name="connsiteX11942" fmla="*/ 2616782 w 5365133"/>
              <a:gd name="connsiteY11942" fmla="*/ 899629 h 4367670"/>
              <a:gd name="connsiteX11943" fmla="*/ 2611043 w 5365133"/>
              <a:gd name="connsiteY11943" fmla="*/ 905368 h 4367670"/>
              <a:gd name="connsiteX11944" fmla="*/ 2609673 w 5365133"/>
              <a:gd name="connsiteY11944" fmla="*/ 899887 h 4367670"/>
              <a:gd name="connsiteX11945" fmla="*/ 2605503 w 5365133"/>
              <a:gd name="connsiteY11945" fmla="*/ 902314 h 4367670"/>
              <a:gd name="connsiteX11946" fmla="*/ 2606021 w 5365133"/>
              <a:gd name="connsiteY11946" fmla="*/ 903216 h 4367670"/>
              <a:gd name="connsiteX11947" fmla="*/ 2599564 w 5365133"/>
              <a:gd name="connsiteY11947" fmla="*/ 911108 h 4367670"/>
              <a:gd name="connsiteX11948" fmla="*/ 2599564 w 5365133"/>
              <a:gd name="connsiteY11948" fmla="*/ 905368 h 4367670"/>
              <a:gd name="connsiteX11949" fmla="*/ 2599564 w 5365133"/>
              <a:gd name="connsiteY11949" fmla="*/ 904737 h 4367670"/>
              <a:gd name="connsiteX11950" fmla="*/ 2592669 w 5365133"/>
              <a:gd name="connsiteY11950" fmla="*/ 905309 h 4367670"/>
              <a:gd name="connsiteX11951" fmla="*/ 2595746 w 5365133"/>
              <a:gd name="connsiteY11951" fmla="*/ 901011 h 4367670"/>
              <a:gd name="connsiteX11952" fmla="*/ 2597231 w 5365133"/>
              <a:gd name="connsiteY11952" fmla="*/ 900016 h 4367670"/>
              <a:gd name="connsiteX11953" fmla="*/ 2599564 w 5365133"/>
              <a:gd name="connsiteY11953" fmla="*/ 899805 h 4367670"/>
              <a:gd name="connsiteX11954" fmla="*/ 2599564 w 5365133"/>
              <a:gd name="connsiteY11954" fmla="*/ 899629 h 4367670"/>
              <a:gd name="connsiteX11955" fmla="*/ 2602798 w 5365133"/>
              <a:gd name="connsiteY11955" fmla="*/ 899125 h 4367670"/>
              <a:gd name="connsiteX11956" fmla="*/ 2599207 w 5365133"/>
              <a:gd name="connsiteY11956" fmla="*/ 898692 h 4367670"/>
              <a:gd name="connsiteX11957" fmla="*/ 2597231 w 5365133"/>
              <a:gd name="connsiteY11957" fmla="*/ 900016 h 4367670"/>
              <a:gd name="connsiteX11958" fmla="*/ 2596405 w 5365133"/>
              <a:gd name="connsiteY11958" fmla="*/ 900091 h 4367670"/>
              <a:gd name="connsiteX11959" fmla="*/ 2595746 w 5365133"/>
              <a:gd name="connsiteY11959" fmla="*/ 901011 h 4367670"/>
              <a:gd name="connsiteX11960" fmla="*/ 2592669 w 5365133"/>
              <a:gd name="connsiteY11960" fmla="*/ 903073 h 4367670"/>
              <a:gd name="connsiteX11961" fmla="*/ 2586130 w 5365133"/>
              <a:gd name="connsiteY11961" fmla="*/ 908571 h 4367670"/>
              <a:gd name="connsiteX11962" fmla="*/ 2583148 w 5365133"/>
              <a:gd name="connsiteY11962" fmla="*/ 910058 h 4367670"/>
              <a:gd name="connsiteX11963" fmla="*/ 2588085 w 5365133"/>
              <a:gd name="connsiteY11963" fmla="*/ 916847 h 4367670"/>
              <a:gd name="connsiteX11964" fmla="*/ 2579476 w 5365133"/>
              <a:gd name="connsiteY11964" fmla="*/ 919717 h 4367670"/>
              <a:gd name="connsiteX11965" fmla="*/ 2573305 w 5365133"/>
              <a:gd name="connsiteY11965" fmla="*/ 921774 h 4367670"/>
              <a:gd name="connsiteX11966" fmla="*/ 2574736 w 5365133"/>
              <a:gd name="connsiteY11966" fmla="*/ 923200 h 4367670"/>
              <a:gd name="connsiteX11967" fmla="*/ 2566367 w 5365133"/>
              <a:gd name="connsiteY11967" fmla="*/ 925587 h 4367670"/>
              <a:gd name="connsiteX11968" fmla="*/ 2570591 w 5365133"/>
              <a:gd name="connsiteY11968" fmla="*/ 921372 h 4367670"/>
              <a:gd name="connsiteX11969" fmla="*/ 2569916 w 5365133"/>
              <a:gd name="connsiteY11969" fmla="*/ 918392 h 4367670"/>
              <a:gd name="connsiteX11970" fmla="*/ 2568758 w 5365133"/>
              <a:gd name="connsiteY11970" fmla="*/ 917237 h 4367670"/>
              <a:gd name="connsiteX11971" fmla="*/ 2562780 w 5365133"/>
              <a:gd name="connsiteY11971" fmla="*/ 911273 h 4367670"/>
              <a:gd name="connsiteX11972" fmla="*/ 2554260 w 5365133"/>
              <a:gd name="connsiteY11972" fmla="*/ 918961 h 4367670"/>
              <a:gd name="connsiteX11973" fmla="*/ 2564867 w 5365133"/>
              <a:gd name="connsiteY11973" fmla="*/ 916847 h 4367670"/>
              <a:gd name="connsiteX11974" fmla="*/ 2567117 w 5365133"/>
              <a:gd name="connsiteY11974" fmla="*/ 922586 h 4367670"/>
              <a:gd name="connsiteX11975" fmla="*/ 2565887 w 5365133"/>
              <a:gd name="connsiteY11975" fmla="*/ 925724 h 4367670"/>
              <a:gd name="connsiteX11976" fmla="*/ 2566367 w 5365133"/>
              <a:gd name="connsiteY11976" fmla="*/ 925587 h 4367670"/>
              <a:gd name="connsiteX11977" fmla="*/ 2565667 w 5365133"/>
              <a:gd name="connsiteY11977" fmla="*/ 926285 h 4367670"/>
              <a:gd name="connsiteX11978" fmla="*/ 2564867 w 5365133"/>
              <a:gd name="connsiteY11978" fmla="*/ 928326 h 4367670"/>
              <a:gd name="connsiteX11979" fmla="*/ 2564231 w 5365133"/>
              <a:gd name="connsiteY11979" fmla="*/ 927718 h 4367670"/>
              <a:gd name="connsiteX11980" fmla="*/ 2562780 w 5365133"/>
              <a:gd name="connsiteY11980" fmla="*/ 929166 h 4367670"/>
              <a:gd name="connsiteX11981" fmla="*/ 2561285 w 5365133"/>
              <a:gd name="connsiteY11981" fmla="*/ 928234 h 4367670"/>
              <a:gd name="connsiteX11982" fmla="*/ 2563315 w 5365133"/>
              <a:gd name="connsiteY11982" fmla="*/ 926842 h 4367670"/>
              <a:gd name="connsiteX11983" fmla="*/ 2559617 w 5365133"/>
              <a:gd name="connsiteY11983" fmla="*/ 923304 h 4367670"/>
              <a:gd name="connsiteX11984" fmla="*/ 2558867 w 5365133"/>
              <a:gd name="connsiteY11984" fmla="*/ 922586 h 4367670"/>
              <a:gd name="connsiteX11985" fmla="*/ 2522863 w 5365133"/>
              <a:gd name="connsiteY11985" fmla="*/ 951284 h 4367670"/>
              <a:gd name="connsiteX11986" fmla="*/ 2510863 w 5365133"/>
              <a:gd name="connsiteY11986" fmla="*/ 945544 h 4367670"/>
              <a:gd name="connsiteX11987" fmla="*/ 2509269 w 5365133"/>
              <a:gd name="connsiteY11987" fmla="*/ 943571 h 4367670"/>
              <a:gd name="connsiteX11988" fmla="*/ 2510463 w 5365133"/>
              <a:gd name="connsiteY11988" fmla="*/ 940921 h 4367670"/>
              <a:gd name="connsiteX11989" fmla="*/ 2500011 w 5365133"/>
              <a:gd name="connsiteY11989" fmla="*/ 946312 h 4367670"/>
              <a:gd name="connsiteX11990" fmla="*/ 2498453 w 5365133"/>
              <a:gd name="connsiteY11990" fmla="*/ 947699 h 4367670"/>
              <a:gd name="connsiteX11991" fmla="*/ 2498156 w 5365133"/>
              <a:gd name="connsiteY11991" fmla="*/ 954229 h 4367670"/>
              <a:gd name="connsiteX11992" fmla="*/ 2490659 w 5365133"/>
              <a:gd name="connsiteY11992" fmla="*/ 959774 h 4367670"/>
              <a:gd name="connsiteX11993" fmla="*/ 2483434 w 5365133"/>
              <a:gd name="connsiteY11993" fmla="*/ 961077 h 4367670"/>
              <a:gd name="connsiteX11994" fmla="*/ 2479087 w 5365133"/>
              <a:gd name="connsiteY11994" fmla="*/ 964949 h 4367670"/>
              <a:gd name="connsiteX11995" fmla="*/ 2467595 w 5365133"/>
              <a:gd name="connsiteY11995" fmla="*/ 960049 h 4367670"/>
              <a:gd name="connsiteX11996" fmla="*/ 2468273 w 5365133"/>
              <a:gd name="connsiteY11996" fmla="*/ 962762 h 4367670"/>
              <a:gd name="connsiteX11997" fmla="*/ 2473295 w 5365133"/>
              <a:gd name="connsiteY11997" fmla="*/ 965631 h 4367670"/>
              <a:gd name="connsiteX11998" fmla="*/ 2450338 w 5365133"/>
              <a:gd name="connsiteY11998" fmla="*/ 965631 h 4367670"/>
              <a:gd name="connsiteX11999" fmla="*/ 2458947 w 5365133"/>
              <a:gd name="connsiteY11999" fmla="*/ 962762 h 4367670"/>
              <a:gd name="connsiteX12000" fmla="*/ 2467010 w 5365133"/>
              <a:gd name="connsiteY12000" fmla="*/ 960074 h 4367670"/>
              <a:gd name="connsiteX12001" fmla="*/ 2458164 w 5365133"/>
              <a:gd name="connsiteY12001" fmla="*/ 961221 h 4367670"/>
              <a:gd name="connsiteX12002" fmla="*/ 2437241 w 5365133"/>
              <a:gd name="connsiteY12002" fmla="*/ 970913 h 4367670"/>
              <a:gd name="connsiteX12003" fmla="*/ 2438552 w 5365133"/>
              <a:gd name="connsiteY12003" fmla="*/ 973530 h 4367670"/>
              <a:gd name="connsiteX12004" fmla="*/ 2444599 w 5365133"/>
              <a:gd name="connsiteY12004" fmla="*/ 971371 h 4367670"/>
              <a:gd name="connsiteX12005" fmla="*/ 2450338 w 5365133"/>
              <a:gd name="connsiteY12005" fmla="*/ 971371 h 4367670"/>
              <a:gd name="connsiteX12006" fmla="*/ 2444599 w 5365133"/>
              <a:gd name="connsiteY12006" fmla="*/ 977111 h 4367670"/>
              <a:gd name="connsiteX12007" fmla="*/ 2444599 w 5365133"/>
              <a:gd name="connsiteY12007" fmla="*/ 982850 h 4367670"/>
              <a:gd name="connsiteX12008" fmla="*/ 2433119 w 5365133"/>
              <a:gd name="connsiteY12008" fmla="*/ 982850 h 4367670"/>
              <a:gd name="connsiteX12009" fmla="*/ 2432060 w 5365133"/>
              <a:gd name="connsiteY12009" fmla="*/ 979737 h 4367670"/>
              <a:gd name="connsiteX12010" fmla="*/ 2423043 w 5365133"/>
              <a:gd name="connsiteY12010" fmla="*/ 979859 h 4367670"/>
              <a:gd name="connsiteX12011" fmla="*/ 2410432 w 5365133"/>
              <a:gd name="connsiteY12011" fmla="*/ 984518 h 4367670"/>
              <a:gd name="connsiteX12012" fmla="*/ 2409261 w 5365133"/>
              <a:gd name="connsiteY12012" fmla="*/ 988414 h 4367670"/>
              <a:gd name="connsiteX12013" fmla="*/ 2409322 w 5365133"/>
              <a:gd name="connsiteY12013" fmla="*/ 988908 h 4367670"/>
              <a:gd name="connsiteX12014" fmla="*/ 2414625 w 5365133"/>
              <a:gd name="connsiteY12014" fmla="*/ 994968 h 4367670"/>
              <a:gd name="connsiteX12015" fmla="*/ 2416140 w 5365133"/>
              <a:gd name="connsiteY12015" fmla="*/ 989665 h 4367670"/>
              <a:gd name="connsiteX12016" fmla="*/ 2422841 w 5365133"/>
              <a:gd name="connsiteY12016" fmla="*/ 989188 h 4367670"/>
              <a:gd name="connsiteX12017" fmla="*/ 2420682 w 5365133"/>
              <a:gd name="connsiteY12017" fmla="*/ 992695 h 4367670"/>
              <a:gd name="connsiteX12018" fmla="*/ 2414625 w 5365133"/>
              <a:gd name="connsiteY12018" fmla="*/ 1007084 h 4367670"/>
              <a:gd name="connsiteX12019" fmla="*/ 2402508 w 5365133"/>
              <a:gd name="connsiteY12019" fmla="*/ 1013142 h 4367670"/>
              <a:gd name="connsiteX12020" fmla="*/ 2408565 w 5365133"/>
              <a:gd name="connsiteY12020" fmla="*/ 1001025 h 4367670"/>
              <a:gd name="connsiteX12021" fmla="*/ 2396450 w 5365133"/>
              <a:gd name="connsiteY12021" fmla="*/ 1001025 h 4367670"/>
              <a:gd name="connsiteX12022" fmla="*/ 2378274 w 5365133"/>
              <a:gd name="connsiteY12022" fmla="*/ 1019201 h 4367670"/>
              <a:gd name="connsiteX12023" fmla="*/ 2372216 w 5365133"/>
              <a:gd name="connsiteY12023" fmla="*/ 1007084 h 4367670"/>
              <a:gd name="connsiteX12024" fmla="*/ 2370811 w 5365133"/>
              <a:gd name="connsiteY12024" fmla="*/ 1007787 h 4367670"/>
              <a:gd name="connsiteX12025" fmla="*/ 2363147 w 5365133"/>
              <a:gd name="connsiteY12025" fmla="*/ 1017323 h 4367670"/>
              <a:gd name="connsiteX12026" fmla="*/ 2360647 w 5365133"/>
              <a:gd name="connsiteY12026" fmla="*/ 1017524 h 4367670"/>
              <a:gd name="connsiteX12027" fmla="*/ 2360856 w 5365133"/>
              <a:gd name="connsiteY12027" fmla="*/ 1019201 h 4367670"/>
              <a:gd name="connsiteX12028" fmla="*/ 2366158 w 5365133"/>
              <a:gd name="connsiteY12028" fmla="*/ 1025259 h 4367670"/>
              <a:gd name="connsiteX12029" fmla="*/ 2335867 w 5365133"/>
              <a:gd name="connsiteY12029" fmla="*/ 1037376 h 4367670"/>
              <a:gd name="connsiteX12030" fmla="*/ 2330564 w 5365133"/>
              <a:gd name="connsiteY12030" fmla="*/ 1033589 h 4367670"/>
              <a:gd name="connsiteX12031" fmla="*/ 2330345 w 5365133"/>
              <a:gd name="connsiteY12031" fmla="*/ 1031179 h 4367670"/>
              <a:gd name="connsiteX12032" fmla="*/ 2327421 w 5365133"/>
              <a:gd name="connsiteY12032" fmla="*/ 1033513 h 4367670"/>
              <a:gd name="connsiteX12033" fmla="*/ 2328787 w 5365133"/>
              <a:gd name="connsiteY12033" fmla="*/ 1034953 h 4367670"/>
              <a:gd name="connsiteX12034" fmla="*/ 2329809 w 5365133"/>
              <a:gd name="connsiteY12034" fmla="*/ 1041201 h 4367670"/>
              <a:gd name="connsiteX12035" fmla="*/ 2311976 w 5365133"/>
              <a:gd name="connsiteY12035" fmla="*/ 1047260 h 4367670"/>
              <a:gd name="connsiteX12036" fmla="*/ 2317919 w 5365133"/>
              <a:gd name="connsiteY12036" fmla="*/ 1035144 h 4367670"/>
              <a:gd name="connsiteX12037" fmla="*/ 2311976 w 5365133"/>
              <a:gd name="connsiteY12037" fmla="*/ 1035144 h 4367670"/>
              <a:gd name="connsiteX12038" fmla="*/ 2306032 w 5365133"/>
              <a:gd name="connsiteY12038" fmla="*/ 1035144 h 4367670"/>
              <a:gd name="connsiteX12039" fmla="*/ 2252531 w 5365133"/>
              <a:gd name="connsiteY12039" fmla="*/ 1077552 h 4367670"/>
              <a:gd name="connsiteX12040" fmla="*/ 2250302 w 5365133"/>
              <a:gd name="connsiteY12040" fmla="*/ 1071493 h 4367670"/>
              <a:gd name="connsiteX12041" fmla="*/ 2251971 w 5365133"/>
              <a:gd name="connsiteY12041" fmla="*/ 1066960 h 4367670"/>
              <a:gd name="connsiteX12042" fmla="*/ 2247907 w 5365133"/>
              <a:gd name="connsiteY12042" fmla="*/ 1066244 h 4367670"/>
              <a:gd name="connsiteX12043" fmla="*/ 2246346 w 5365133"/>
              <a:gd name="connsiteY12043" fmla="*/ 1061572 h 4367670"/>
              <a:gd name="connsiteX12044" fmla="*/ 2243486 w 5365133"/>
              <a:gd name="connsiteY12044" fmla="*/ 1064264 h 4367670"/>
              <a:gd name="connsiteX12045" fmla="*/ 2236698 w 5365133"/>
              <a:gd name="connsiteY12045" fmla="*/ 1075004 h 4367670"/>
              <a:gd name="connsiteX12046" fmla="*/ 2221285 w 5365133"/>
              <a:gd name="connsiteY12046" fmla="*/ 1079011 h 4367670"/>
              <a:gd name="connsiteX12047" fmla="*/ 2216266 w 5365133"/>
              <a:gd name="connsiteY12047" fmla="*/ 1079209 h 4367670"/>
              <a:gd name="connsiteX12048" fmla="*/ 2216408 w 5365133"/>
              <a:gd name="connsiteY12048" fmla="*/ 1079705 h 4367670"/>
              <a:gd name="connsiteX12049" fmla="*/ 2211071 w 5365133"/>
              <a:gd name="connsiteY12049" fmla="*/ 1083292 h 4367670"/>
              <a:gd name="connsiteX12050" fmla="*/ 2217171 w 5365133"/>
              <a:gd name="connsiteY12050" fmla="*/ 1100510 h 4367670"/>
              <a:gd name="connsiteX12051" fmla="*/ 2204974 w 5365133"/>
              <a:gd name="connsiteY12051" fmla="*/ 1106250 h 4367670"/>
              <a:gd name="connsiteX12052" fmla="*/ 2193845 w 5365133"/>
              <a:gd name="connsiteY12052" fmla="*/ 1093179 h 4367670"/>
              <a:gd name="connsiteX12053" fmla="*/ 2190647 w 5365133"/>
              <a:gd name="connsiteY12053" fmla="*/ 1095413 h 4367670"/>
              <a:gd name="connsiteX12054" fmla="*/ 2192142 w 5365133"/>
              <a:gd name="connsiteY12054" fmla="*/ 1096158 h 4367670"/>
              <a:gd name="connsiteX12055" fmla="*/ 2183735 w 5365133"/>
              <a:gd name="connsiteY12055" fmla="*/ 1086932 h 4367670"/>
              <a:gd name="connsiteX12056" fmla="*/ 2186135 w 5365133"/>
              <a:gd name="connsiteY12056" fmla="*/ 1084262 h 4367670"/>
              <a:gd name="connsiteX12057" fmla="*/ 2185917 w 5365133"/>
              <a:gd name="connsiteY12057" fmla="*/ 1084009 h 4367670"/>
              <a:gd name="connsiteX12058" fmla="*/ 2185411 w 5365133"/>
              <a:gd name="connsiteY12058" fmla="*/ 1083069 h 4367670"/>
              <a:gd name="connsiteX12059" fmla="*/ 2185136 w 5365133"/>
              <a:gd name="connsiteY12059" fmla="*/ 1082645 h 4367670"/>
              <a:gd name="connsiteX12060" fmla="*/ 2174208 w 5365133"/>
              <a:gd name="connsiteY12060" fmla="*/ 1090193 h 4367670"/>
              <a:gd name="connsiteX12061" fmla="*/ 2174208 w 5365133"/>
              <a:gd name="connsiteY12061" fmla="*/ 1093176 h 4367670"/>
              <a:gd name="connsiteX12062" fmla="*/ 2174208 w 5365133"/>
              <a:gd name="connsiteY12062" fmla="*/ 1094867 h 4367670"/>
              <a:gd name="connsiteX12063" fmla="*/ 2174841 w 5365133"/>
              <a:gd name="connsiteY12063" fmla="*/ 1095058 h 4367670"/>
              <a:gd name="connsiteX12064" fmla="*/ 2173929 w 5365133"/>
              <a:gd name="connsiteY12064" fmla="*/ 1102243 h 4367670"/>
              <a:gd name="connsiteX12065" fmla="*/ 2174208 w 5365133"/>
              <a:gd name="connsiteY12065" fmla="*/ 1102122 h 4367670"/>
              <a:gd name="connsiteX12066" fmla="*/ 2173843 w 5365133"/>
              <a:gd name="connsiteY12066" fmla="*/ 1102925 h 4367670"/>
              <a:gd name="connsiteX12067" fmla="*/ 2173407 w 5365133"/>
              <a:gd name="connsiteY12067" fmla="*/ 1106358 h 4367670"/>
              <a:gd name="connsiteX12068" fmla="*/ 2180580 w 5365133"/>
              <a:gd name="connsiteY12068" fmla="*/ 1113137 h 4367670"/>
              <a:gd name="connsiteX12069" fmla="*/ 2186987 w 5365133"/>
              <a:gd name="connsiteY12069" fmla="*/ 1112016 h 4367670"/>
              <a:gd name="connsiteX12070" fmla="*/ 2190424 w 5365133"/>
              <a:gd name="connsiteY12070" fmla="*/ 1107719 h 4367670"/>
              <a:gd name="connsiteX12071" fmla="*/ 2192444 w 5365133"/>
              <a:gd name="connsiteY12071" fmla="*/ 1112770 h 4367670"/>
              <a:gd name="connsiteX12072" fmla="*/ 2193494 w 5365133"/>
              <a:gd name="connsiteY12072" fmla="*/ 1113137 h 4367670"/>
              <a:gd name="connsiteX12073" fmla="*/ 2196077 w 5365133"/>
              <a:gd name="connsiteY12073" fmla="*/ 1116753 h 4367670"/>
              <a:gd name="connsiteX12074" fmla="*/ 2206340 w 5365133"/>
              <a:gd name="connsiteY12074" fmla="*/ 1112558 h 4367670"/>
              <a:gd name="connsiteX12075" fmla="*/ 2224678 w 5365133"/>
              <a:gd name="connsiteY12075" fmla="*/ 1100565 h 4367670"/>
              <a:gd name="connsiteX12076" fmla="*/ 2223627 w 5365133"/>
              <a:gd name="connsiteY12076" fmla="*/ 1100510 h 4367670"/>
              <a:gd name="connsiteX12077" fmla="*/ 2235106 w 5365133"/>
              <a:gd name="connsiteY12077" fmla="*/ 1089031 h 4367670"/>
              <a:gd name="connsiteX12078" fmla="*/ 2240846 w 5365133"/>
              <a:gd name="connsiteY12078" fmla="*/ 1089031 h 4367670"/>
              <a:gd name="connsiteX12079" fmla="*/ 2243991 w 5365133"/>
              <a:gd name="connsiteY12079" fmla="*/ 1089031 h 4367670"/>
              <a:gd name="connsiteX12080" fmla="*/ 2249009 w 5365133"/>
              <a:gd name="connsiteY12080" fmla="*/ 1086315 h 4367670"/>
              <a:gd name="connsiteX12081" fmla="*/ 2251787 w 5365133"/>
              <a:gd name="connsiteY12081" fmla="*/ 1083202 h 4367670"/>
              <a:gd name="connsiteX12082" fmla="*/ 2258064 w 5365133"/>
              <a:gd name="connsiteY12082" fmla="*/ 1081140 h 4367670"/>
              <a:gd name="connsiteX12083" fmla="*/ 2259262 w 5365133"/>
              <a:gd name="connsiteY12083" fmla="*/ 1080765 h 4367670"/>
              <a:gd name="connsiteX12084" fmla="*/ 2263880 w 5365133"/>
              <a:gd name="connsiteY12084" fmla="*/ 1078266 h 4367670"/>
              <a:gd name="connsiteX12085" fmla="*/ 2264887 w 5365133"/>
              <a:gd name="connsiteY12085" fmla="*/ 1079007 h 4367670"/>
              <a:gd name="connsiteX12086" fmla="*/ 2269543 w 5365133"/>
              <a:gd name="connsiteY12086" fmla="*/ 1077552 h 4367670"/>
              <a:gd name="connsiteX12087" fmla="*/ 2267154 w 5365133"/>
              <a:gd name="connsiteY12087" fmla="*/ 1080678 h 4367670"/>
              <a:gd name="connsiteX12088" fmla="*/ 2273873 w 5365133"/>
              <a:gd name="connsiteY12088" fmla="*/ 1085628 h 4367670"/>
              <a:gd name="connsiteX12089" fmla="*/ 2311702 w 5365133"/>
              <a:gd name="connsiteY12089" fmla="*/ 1066337 h 4367670"/>
              <a:gd name="connsiteX12090" fmla="*/ 2311702 w 5365133"/>
              <a:gd name="connsiteY12090" fmla="*/ 1060373 h 4367670"/>
              <a:gd name="connsiteX12091" fmla="*/ 2338604 w 5365133"/>
              <a:gd name="connsiteY12091" fmla="*/ 1054503 h 4367670"/>
              <a:gd name="connsiteX12092" fmla="*/ 2340640 w 5365133"/>
              <a:gd name="connsiteY12092" fmla="*/ 1054482 h 4367670"/>
              <a:gd name="connsiteX12093" fmla="*/ 2329809 w 5365133"/>
              <a:gd name="connsiteY12093" fmla="*/ 1047752 h 4367670"/>
              <a:gd name="connsiteX12094" fmla="*/ 2384335 w 5365133"/>
              <a:gd name="connsiteY12094" fmla="*/ 1023913 h 4367670"/>
              <a:gd name="connsiteX12095" fmla="*/ 2392664 w 5365133"/>
              <a:gd name="connsiteY12095" fmla="*/ 1015716 h 4367670"/>
              <a:gd name="connsiteX12096" fmla="*/ 2399753 w 5365133"/>
              <a:gd name="connsiteY12096" fmla="*/ 1017181 h 4367670"/>
              <a:gd name="connsiteX12097" fmla="*/ 2399692 w 5365133"/>
              <a:gd name="connsiteY12097" fmla="*/ 1017042 h 4367670"/>
              <a:gd name="connsiteX12098" fmla="*/ 2401372 w 5365133"/>
              <a:gd name="connsiteY12098" fmla="*/ 1012662 h 4367670"/>
              <a:gd name="connsiteX12099" fmla="*/ 2407786 w 5365133"/>
              <a:gd name="connsiteY12099" fmla="*/ 1015861 h 4367670"/>
              <a:gd name="connsiteX12100" fmla="*/ 2414626 w 5365133"/>
              <a:gd name="connsiteY12100" fmla="*/ 1011991 h 4367670"/>
              <a:gd name="connsiteX12101" fmla="*/ 2415384 w 5365133"/>
              <a:gd name="connsiteY12101" fmla="*/ 1013481 h 4367670"/>
              <a:gd name="connsiteX12102" fmla="*/ 2416647 w 5365133"/>
              <a:gd name="connsiteY12102" fmla="*/ 1010079 h 4367670"/>
              <a:gd name="connsiteX12103" fmla="*/ 2416417 w 5365133"/>
              <a:gd name="connsiteY12103" fmla="*/ 1009611 h 4367670"/>
              <a:gd name="connsiteX12104" fmla="*/ 2416963 w 5365133"/>
              <a:gd name="connsiteY12104" fmla="*/ 1009231 h 4367670"/>
              <a:gd name="connsiteX12105" fmla="*/ 2417182 w 5365133"/>
              <a:gd name="connsiteY12105" fmla="*/ 1008638 h 4367670"/>
              <a:gd name="connsiteX12106" fmla="*/ 2420684 w 5365133"/>
              <a:gd name="connsiteY12106" fmla="*/ 1006030 h 4367670"/>
              <a:gd name="connsiteX12107" fmla="*/ 2420847 w 5365133"/>
              <a:gd name="connsiteY12107" fmla="*/ 1006749 h 4367670"/>
              <a:gd name="connsiteX12108" fmla="*/ 2431485 w 5365133"/>
              <a:gd name="connsiteY12108" fmla="*/ 1001540 h 4367670"/>
              <a:gd name="connsiteX12109" fmla="*/ 2427299 w 5365133"/>
              <a:gd name="connsiteY12109" fmla="*/ 1011584 h 4367670"/>
              <a:gd name="connsiteX12110" fmla="*/ 2422130 w 5365133"/>
              <a:gd name="connsiteY12110" fmla="*/ 1012389 h 4367670"/>
              <a:gd name="connsiteX12111" fmla="*/ 2422293 w 5365133"/>
              <a:gd name="connsiteY12111" fmla="*/ 1013108 h 4367670"/>
              <a:gd name="connsiteX12112" fmla="*/ 2419927 w 5365133"/>
              <a:gd name="connsiteY12112" fmla="*/ 1017951 h 4367670"/>
              <a:gd name="connsiteX12113" fmla="*/ 2419115 w 5365133"/>
              <a:gd name="connsiteY12113" fmla="*/ 1019778 h 4367670"/>
              <a:gd name="connsiteX12114" fmla="*/ 2422389 w 5365133"/>
              <a:gd name="connsiteY12114" fmla="*/ 1018439 h 4367670"/>
              <a:gd name="connsiteX12115" fmla="*/ 2455175 w 5365133"/>
              <a:gd name="connsiteY12115" fmla="*/ 1006697 h 4367670"/>
              <a:gd name="connsiteX12116" fmla="*/ 2467314 w 5365133"/>
              <a:gd name="connsiteY12116" fmla="*/ 998047 h 4367670"/>
              <a:gd name="connsiteX12117" fmla="*/ 2466749 w 5365133"/>
              <a:gd name="connsiteY12117" fmla="*/ 993343 h 4367670"/>
              <a:gd name="connsiteX12118" fmla="*/ 2467556 w 5365133"/>
              <a:gd name="connsiteY12118" fmla="*/ 982850 h 4367670"/>
              <a:gd name="connsiteX12119" fmla="*/ 2480470 w 5365133"/>
              <a:gd name="connsiteY12119" fmla="*/ 991728 h 4367670"/>
              <a:gd name="connsiteX12120" fmla="*/ 2481103 w 5365133"/>
              <a:gd name="connsiteY12120" fmla="*/ 992111 h 4367670"/>
              <a:gd name="connsiteX12121" fmla="*/ 2491043 w 5365133"/>
              <a:gd name="connsiteY12121" fmla="*/ 988806 h 4367670"/>
              <a:gd name="connsiteX12122" fmla="*/ 2494851 w 5365133"/>
              <a:gd name="connsiteY12122" fmla="*/ 978578 h 4367670"/>
              <a:gd name="connsiteX12123" fmla="*/ 2493383 w 5365133"/>
              <a:gd name="connsiteY12123" fmla="*/ 977111 h 4367670"/>
              <a:gd name="connsiteX12124" fmla="*/ 2495772 w 5365133"/>
              <a:gd name="connsiteY12124" fmla="*/ 976105 h 4367670"/>
              <a:gd name="connsiteX12125" fmla="*/ 2495900 w 5365133"/>
              <a:gd name="connsiteY12125" fmla="*/ 975760 h 4367670"/>
              <a:gd name="connsiteX12126" fmla="*/ 2507483 w 5365133"/>
              <a:gd name="connsiteY12126" fmla="*/ 969423 h 4367670"/>
              <a:gd name="connsiteX12127" fmla="*/ 2512691 w 5365133"/>
              <a:gd name="connsiteY12127" fmla="*/ 967877 h 4367670"/>
              <a:gd name="connsiteX12128" fmla="*/ 2516341 w 5365133"/>
              <a:gd name="connsiteY12128" fmla="*/ 965631 h 4367670"/>
              <a:gd name="connsiteX12129" fmla="*/ 2516009 w 5365133"/>
              <a:gd name="connsiteY12129" fmla="*/ 966893 h 4367670"/>
              <a:gd name="connsiteX12130" fmla="*/ 2521307 w 5365133"/>
              <a:gd name="connsiteY12130" fmla="*/ 965322 h 4367670"/>
              <a:gd name="connsiteX12131" fmla="*/ 2522477 w 5365133"/>
              <a:gd name="connsiteY12131" fmla="*/ 964682 h 4367670"/>
              <a:gd name="connsiteX12132" fmla="*/ 2522440 w 5365133"/>
              <a:gd name="connsiteY12132" fmla="*/ 964402 h 4367670"/>
              <a:gd name="connsiteX12133" fmla="*/ 2546833 w 5365133"/>
              <a:gd name="connsiteY12133" fmla="*/ 952105 h 4367670"/>
              <a:gd name="connsiteX12134" fmla="*/ 2540734 w 5365133"/>
              <a:gd name="connsiteY12134" fmla="*/ 945955 h 4367670"/>
              <a:gd name="connsiteX12135" fmla="*/ 2552930 w 5365133"/>
              <a:gd name="connsiteY12135" fmla="*/ 945187 h 4367670"/>
              <a:gd name="connsiteX12136" fmla="*/ 2562274 w 5365133"/>
              <a:gd name="connsiteY12136" fmla="*/ 955198 h 4367670"/>
              <a:gd name="connsiteX12137" fmla="*/ 2569225 w 5365133"/>
              <a:gd name="connsiteY12137" fmla="*/ 950132 h 4367670"/>
              <a:gd name="connsiteX12138" fmla="*/ 2580713 w 5365133"/>
              <a:gd name="connsiteY12138" fmla="*/ 941093 h 4367670"/>
              <a:gd name="connsiteX12139" fmla="*/ 2580713 w 5365133"/>
              <a:gd name="connsiteY12139" fmla="*/ 953021 h 4367670"/>
              <a:gd name="connsiteX12140" fmla="*/ 2598647 w 5365133"/>
              <a:gd name="connsiteY12140" fmla="*/ 929166 h 4367670"/>
              <a:gd name="connsiteX12141" fmla="*/ 2610603 w 5365133"/>
              <a:gd name="connsiteY12141" fmla="*/ 923200 h 4367670"/>
              <a:gd name="connsiteX12142" fmla="*/ 2622373 w 5365133"/>
              <a:gd name="connsiteY12142" fmla="*/ 925717 h 4367670"/>
              <a:gd name="connsiteX12143" fmla="*/ 2623245 w 5365133"/>
              <a:gd name="connsiteY12143" fmla="*/ 926205 h 4367670"/>
              <a:gd name="connsiteX12144" fmla="*/ 2625212 w 5365133"/>
              <a:gd name="connsiteY12144" fmla="*/ 920434 h 4367670"/>
              <a:gd name="connsiteX12145" fmla="*/ 2622522 w 5365133"/>
              <a:gd name="connsiteY12145" fmla="*/ 916847 h 4367670"/>
              <a:gd name="connsiteX12146" fmla="*/ 2636871 w 5365133"/>
              <a:gd name="connsiteY12146" fmla="*/ 911108 h 4367670"/>
              <a:gd name="connsiteX12147" fmla="*/ 2635083 w 5365133"/>
              <a:gd name="connsiteY12147" fmla="*/ 919690 h 4367670"/>
              <a:gd name="connsiteX12148" fmla="*/ 2640494 w 5365133"/>
              <a:gd name="connsiteY12148" fmla="*/ 917237 h 4367670"/>
              <a:gd name="connsiteX12149" fmla="*/ 2646471 w 5365133"/>
              <a:gd name="connsiteY12149" fmla="*/ 929166 h 4367670"/>
              <a:gd name="connsiteX12150" fmla="*/ 2658428 w 5365133"/>
              <a:gd name="connsiteY12150" fmla="*/ 899346 h 4367670"/>
              <a:gd name="connsiteX12151" fmla="*/ 2658428 w 5365133"/>
              <a:gd name="connsiteY12151" fmla="*/ 911273 h 4367670"/>
              <a:gd name="connsiteX12152" fmla="*/ 2694576 w 5365133"/>
              <a:gd name="connsiteY12152" fmla="*/ 897854 h 4367670"/>
              <a:gd name="connsiteX12153" fmla="*/ 2700163 w 5365133"/>
              <a:gd name="connsiteY12153" fmla="*/ 898568 h 4367670"/>
              <a:gd name="connsiteX12154" fmla="*/ 2700004 w 5365133"/>
              <a:gd name="connsiteY12154" fmla="*/ 898398 h 4367670"/>
              <a:gd name="connsiteX12155" fmla="*/ 2707897 w 5365133"/>
              <a:gd name="connsiteY12155" fmla="*/ 897861 h 4367670"/>
              <a:gd name="connsiteX12156" fmla="*/ 2714978 w 5365133"/>
              <a:gd name="connsiteY12156" fmla="*/ 891476 h 4367670"/>
              <a:gd name="connsiteX12157" fmla="*/ 2712999 w 5365133"/>
              <a:gd name="connsiteY12157" fmla="*/ 891384 h 4367670"/>
              <a:gd name="connsiteX12158" fmla="*/ 2712058 w 5365133"/>
              <a:gd name="connsiteY12158" fmla="*/ 886100 h 4367670"/>
              <a:gd name="connsiteX12159" fmla="*/ 2720343 w 5365133"/>
              <a:gd name="connsiteY12159" fmla="*/ 884563 h 4367670"/>
              <a:gd name="connsiteX12160" fmla="*/ 2721617 w 5365133"/>
              <a:gd name="connsiteY12160" fmla="*/ 887162 h 4367670"/>
              <a:gd name="connsiteX12161" fmla="*/ 2723965 w 5365133"/>
              <a:gd name="connsiteY12161" fmla="*/ 885739 h 4367670"/>
              <a:gd name="connsiteX12162" fmla="*/ 2722415 w 5365133"/>
              <a:gd name="connsiteY12162" fmla="*/ 881872 h 4367670"/>
              <a:gd name="connsiteX12163" fmla="*/ 2724109 w 5365133"/>
              <a:gd name="connsiteY12163" fmla="*/ 879950 h 4367670"/>
              <a:gd name="connsiteX12164" fmla="*/ 2725831 w 5365133"/>
              <a:gd name="connsiteY12164" fmla="*/ 880201 h 4367670"/>
              <a:gd name="connsiteX12165" fmla="*/ 2725831 w 5365133"/>
              <a:gd name="connsiteY12165" fmla="*/ 873083 h 4367670"/>
              <a:gd name="connsiteX12166" fmla="*/ 2725831 w 5365133"/>
              <a:gd name="connsiteY12166" fmla="*/ 863757 h 4367670"/>
              <a:gd name="connsiteX12167" fmla="*/ 2766007 w 5365133"/>
              <a:gd name="connsiteY12167" fmla="*/ 845103 h 4367670"/>
              <a:gd name="connsiteX12168" fmla="*/ 2748071 w 5365133"/>
              <a:gd name="connsiteY12168" fmla="*/ 863757 h 4367670"/>
              <a:gd name="connsiteX12169" fmla="*/ 2728075 w 5365133"/>
              <a:gd name="connsiteY12169" fmla="*/ 880528 h 4367670"/>
              <a:gd name="connsiteX12170" fmla="*/ 2729384 w 5365133"/>
              <a:gd name="connsiteY12170" fmla="*/ 880718 h 4367670"/>
              <a:gd name="connsiteX12171" fmla="*/ 2729491 w 5365133"/>
              <a:gd name="connsiteY12171" fmla="*/ 881485 h 4367670"/>
              <a:gd name="connsiteX12172" fmla="*/ 2736141 w 5365133"/>
              <a:gd name="connsiteY12172" fmla="*/ 875490 h 4367670"/>
              <a:gd name="connsiteX12173" fmla="*/ 2742119 w 5365133"/>
              <a:gd name="connsiteY12173" fmla="*/ 881453 h 4367670"/>
              <a:gd name="connsiteX12174" fmla="*/ 2807878 w 5365133"/>
              <a:gd name="connsiteY12174" fmla="*/ 845669 h 4367670"/>
              <a:gd name="connsiteX12175" fmla="*/ 2807878 w 5365133"/>
              <a:gd name="connsiteY12175" fmla="*/ 827777 h 4367670"/>
              <a:gd name="connsiteX12176" fmla="*/ 2813856 w 5365133"/>
              <a:gd name="connsiteY12176" fmla="*/ 845669 h 4367670"/>
              <a:gd name="connsiteX12177" fmla="*/ 2843745 w 5365133"/>
              <a:gd name="connsiteY12177" fmla="*/ 815850 h 4367670"/>
              <a:gd name="connsiteX12178" fmla="*/ 2837767 w 5365133"/>
              <a:gd name="connsiteY12178" fmla="*/ 827777 h 4367670"/>
              <a:gd name="connsiteX12179" fmla="*/ 2844492 w 5365133"/>
              <a:gd name="connsiteY12179" fmla="*/ 827777 h 4367670"/>
              <a:gd name="connsiteX12180" fmla="*/ 2849947 w 5365133"/>
              <a:gd name="connsiteY12180" fmla="*/ 827777 h 4367670"/>
              <a:gd name="connsiteX12181" fmla="*/ 2849947 w 5365133"/>
              <a:gd name="connsiteY12181" fmla="*/ 826270 h 4367670"/>
              <a:gd name="connsiteX12182" fmla="*/ 2852176 w 5365133"/>
              <a:gd name="connsiteY12182" fmla="*/ 825265 h 4367670"/>
              <a:gd name="connsiteX12183" fmla="*/ 2850470 w 5365133"/>
              <a:gd name="connsiteY12183" fmla="*/ 824050 h 4367670"/>
              <a:gd name="connsiteX12184" fmla="*/ 2849723 w 5365133"/>
              <a:gd name="connsiteY12184" fmla="*/ 815850 h 4367670"/>
              <a:gd name="connsiteX12185" fmla="*/ 2855701 w 5365133"/>
              <a:gd name="connsiteY12185" fmla="*/ 809884 h 4367670"/>
              <a:gd name="connsiteX12186" fmla="*/ 2861679 w 5365133"/>
              <a:gd name="connsiteY12186" fmla="*/ 815850 h 4367670"/>
              <a:gd name="connsiteX12187" fmla="*/ 2867658 w 5365133"/>
              <a:gd name="connsiteY12187" fmla="*/ 815850 h 4367670"/>
              <a:gd name="connsiteX12188" fmla="*/ 2873636 w 5365133"/>
              <a:gd name="connsiteY12188" fmla="*/ 803921 h 4367670"/>
              <a:gd name="connsiteX12189" fmla="*/ 2879613 w 5365133"/>
              <a:gd name="connsiteY12189" fmla="*/ 809884 h 4367670"/>
              <a:gd name="connsiteX12190" fmla="*/ 2903526 w 5365133"/>
              <a:gd name="connsiteY12190" fmla="*/ 791993 h 4367670"/>
              <a:gd name="connsiteX12191" fmla="*/ 2909504 w 5365133"/>
              <a:gd name="connsiteY12191" fmla="*/ 797957 h 4367670"/>
              <a:gd name="connsiteX12192" fmla="*/ 2915482 w 5365133"/>
              <a:gd name="connsiteY12192" fmla="*/ 786029 h 4367670"/>
              <a:gd name="connsiteX12193" fmla="*/ 2921460 w 5365133"/>
              <a:gd name="connsiteY12193" fmla="*/ 791993 h 4367670"/>
              <a:gd name="connsiteX12194" fmla="*/ 2933416 w 5365133"/>
              <a:gd name="connsiteY12194" fmla="*/ 786029 h 4367670"/>
              <a:gd name="connsiteX12195" fmla="*/ 2933416 w 5365133"/>
              <a:gd name="connsiteY12195" fmla="*/ 774101 h 4367670"/>
              <a:gd name="connsiteX12196" fmla="*/ 2939394 w 5365133"/>
              <a:gd name="connsiteY12196" fmla="*/ 776337 h 4367670"/>
              <a:gd name="connsiteX12197" fmla="*/ 2942444 w 5365133"/>
              <a:gd name="connsiteY12197" fmla="*/ 775196 h 4367670"/>
              <a:gd name="connsiteX12198" fmla="*/ 2945373 w 5365133"/>
              <a:gd name="connsiteY12198" fmla="*/ 780064 h 4367670"/>
              <a:gd name="connsiteX12199" fmla="*/ 2963307 w 5365133"/>
              <a:gd name="connsiteY12199" fmla="*/ 774101 h 4367670"/>
              <a:gd name="connsiteX12200" fmla="*/ 2969283 w 5365133"/>
              <a:gd name="connsiteY12200" fmla="*/ 774101 h 4367670"/>
              <a:gd name="connsiteX12201" fmla="*/ 2969283 w 5365133"/>
              <a:gd name="connsiteY12201" fmla="*/ 762174 h 4367670"/>
              <a:gd name="connsiteX12202" fmla="*/ 3005151 w 5365133"/>
              <a:gd name="connsiteY12202" fmla="*/ 744281 h 4367670"/>
              <a:gd name="connsiteX12203" fmla="*/ 3011129 w 5365133"/>
              <a:gd name="connsiteY12203" fmla="*/ 756208 h 4367670"/>
              <a:gd name="connsiteX12204" fmla="*/ 3023086 w 5365133"/>
              <a:gd name="connsiteY12204" fmla="*/ 744281 h 4367670"/>
              <a:gd name="connsiteX12205" fmla="*/ 3035042 w 5365133"/>
              <a:gd name="connsiteY12205" fmla="*/ 744281 h 4367670"/>
              <a:gd name="connsiteX12206" fmla="*/ 3029064 w 5365133"/>
              <a:gd name="connsiteY12206" fmla="*/ 732353 h 4367670"/>
              <a:gd name="connsiteX12207" fmla="*/ 3041020 w 5365133"/>
              <a:gd name="connsiteY12207" fmla="*/ 744281 h 4367670"/>
              <a:gd name="connsiteX12208" fmla="*/ 3041020 w 5365133"/>
              <a:gd name="connsiteY12208" fmla="*/ 726388 h 4367670"/>
              <a:gd name="connsiteX12209" fmla="*/ 3082867 w 5365133"/>
              <a:gd name="connsiteY12209" fmla="*/ 720424 h 4367670"/>
              <a:gd name="connsiteX12210" fmla="*/ 3082867 w 5365133"/>
              <a:gd name="connsiteY12210" fmla="*/ 702534 h 4367670"/>
              <a:gd name="connsiteX12211" fmla="*/ 3094823 w 5365133"/>
              <a:gd name="connsiteY12211" fmla="*/ 714461 h 4367670"/>
              <a:gd name="connsiteX12212" fmla="*/ 3094823 w 5365133"/>
              <a:gd name="connsiteY12212" fmla="*/ 708497 h 4367670"/>
              <a:gd name="connsiteX12213" fmla="*/ 3100800 w 5365133"/>
              <a:gd name="connsiteY12213" fmla="*/ 708497 h 4367670"/>
              <a:gd name="connsiteX12214" fmla="*/ 3106778 w 5365133"/>
              <a:gd name="connsiteY12214" fmla="*/ 708497 h 4367670"/>
              <a:gd name="connsiteX12215" fmla="*/ 3124711 w 5365133"/>
              <a:gd name="connsiteY12215" fmla="*/ 696568 h 4367670"/>
              <a:gd name="connsiteX12216" fmla="*/ 3124711 w 5365133"/>
              <a:gd name="connsiteY12216" fmla="*/ 684641 h 4367670"/>
              <a:gd name="connsiteX12217" fmla="*/ 3124711 w 5365133"/>
              <a:gd name="connsiteY12217" fmla="*/ 708497 h 4367670"/>
              <a:gd name="connsiteX12218" fmla="*/ 3130689 w 5365133"/>
              <a:gd name="connsiteY12218" fmla="*/ 690605 h 4367670"/>
              <a:gd name="connsiteX12219" fmla="*/ 3142646 w 5365133"/>
              <a:gd name="connsiteY12219" fmla="*/ 678677 h 4367670"/>
              <a:gd name="connsiteX12220" fmla="*/ 3148624 w 5365133"/>
              <a:gd name="connsiteY12220" fmla="*/ 690605 h 4367670"/>
              <a:gd name="connsiteX12221" fmla="*/ 3166558 w 5365133"/>
              <a:gd name="connsiteY12221" fmla="*/ 672712 h 4367670"/>
              <a:gd name="connsiteX12222" fmla="*/ 3172536 w 5365133"/>
              <a:gd name="connsiteY12222" fmla="*/ 678677 h 4367670"/>
              <a:gd name="connsiteX12223" fmla="*/ 3160580 w 5365133"/>
              <a:gd name="connsiteY12223" fmla="*/ 690605 h 4367670"/>
              <a:gd name="connsiteX12224" fmla="*/ 3172536 w 5365133"/>
              <a:gd name="connsiteY12224" fmla="*/ 666748 h 4367670"/>
              <a:gd name="connsiteX12225" fmla="*/ 3178514 w 5365133"/>
              <a:gd name="connsiteY12225" fmla="*/ 678677 h 4367670"/>
              <a:gd name="connsiteX12226" fmla="*/ 3184492 w 5365133"/>
              <a:gd name="connsiteY12226" fmla="*/ 672712 h 4367670"/>
              <a:gd name="connsiteX12227" fmla="*/ 3184492 w 5365133"/>
              <a:gd name="connsiteY12227" fmla="*/ 654821 h 4367670"/>
              <a:gd name="connsiteX12228" fmla="*/ 3190471 w 5365133"/>
              <a:gd name="connsiteY12228" fmla="*/ 672712 h 4367670"/>
              <a:gd name="connsiteX12229" fmla="*/ 3202427 w 5365133"/>
              <a:gd name="connsiteY12229" fmla="*/ 660784 h 4367670"/>
              <a:gd name="connsiteX12230" fmla="*/ 3226338 w 5365133"/>
              <a:gd name="connsiteY12230" fmla="*/ 648857 h 4367670"/>
              <a:gd name="connsiteX12231" fmla="*/ 3244271 w 5365133"/>
              <a:gd name="connsiteY12231" fmla="*/ 654821 h 4367670"/>
              <a:gd name="connsiteX12232" fmla="*/ 3238293 w 5365133"/>
              <a:gd name="connsiteY12232" fmla="*/ 636928 h 4367670"/>
              <a:gd name="connsiteX12233" fmla="*/ 3256227 w 5365133"/>
              <a:gd name="connsiteY12233" fmla="*/ 630965 h 4367670"/>
              <a:gd name="connsiteX12234" fmla="*/ 3244271 w 5365133"/>
              <a:gd name="connsiteY12234" fmla="*/ 636928 h 4367670"/>
              <a:gd name="connsiteX12235" fmla="*/ 3250997 w 5365133"/>
              <a:gd name="connsiteY12235" fmla="*/ 644384 h 4367670"/>
              <a:gd name="connsiteX12236" fmla="*/ 3256479 w 5365133"/>
              <a:gd name="connsiteY12236" fmla="*/ 643654 h 4367670"/>
              <a:gd name="connsiteX12237" fmla="*/ 3258528 w 5365133"/>
              <a:gd name="connsiteY12237" fmla="*/ 645070 h 4367670"/>
              <a:gd name="connsiteX12238" fmla="*/ 3262206 w 5365133"/>
              <a:gd name="connsiteY12238" fmla="*/ 642892 h 4367670"/>
              <a:gd name="connsiteX12239" fmla="*/ 3268184 w 5365133"/>
              <a:gd name="connsiteY12239" fmla="*/ 654821 h 4367670"/>
              <a:gd name="connsiteX12240" fmla="*/ 3238293 w 5365133"/>
              <a:gd name="connsiteY12240" fmla="*/ 660784 h 4367670"/>
              <a:gd name="connsiteX12241" fmla="*/ 3232316 w 5365133"/>
              <a:gd name="connsiteY12241" fmla="*/ 672712 h 4367670"/>
              <a:gd name="connsiteX12242" fmla="*/ 3214383 w 5365133"/>
              <a:gd name="connsiteY12242" fmla="*/ 678677 h 4367670"/>
              <a:gd name="connsiteX12243" fmla="*/ 3214383 w 5365133"/>
              <a:gd name="connsiteY12243" fmla="*/ 684641 h 4367670"/>
              <a:gd name="connsiteX12244" fmla="*/ 3232316 w 5365133"/>
              <a:gd name="connsiteY12244" fmla="*/ 684641 h 4367670"/>
              <a:gd name="connsiteX12245" fmla="*/ 3244271 w 5365133"/>
              <a:gd name="connsiteY12245" fmla="*/ 672712 h 4367670"/>
              <a:gd name="connsiteX12246" fmla="*/ 3250249 w 5365133"/>
              <a:gd name="connsiteY12246" fmla="*/ 684641 h 4367670"/>
              <a:gd name="connsiteX12247" fmla="*/ 3261178 w 5365133"/>
              <a:gd name="connsiteY12247" fmla="*/ 676254 h 4367670"/>
              <a:gd name="connsiteX12248" fmla="*/ 3263745 w 5365133"/>
              <a:gd name="connsiteY12248" fmla="*/ 672771 h 4367670"/>
              <a:gd name="connsiteX12249" fmla="*/ 3268184 w 5365133"/>
              <a:gd name="connsiteY12249" fmla="*/ 678677 h 4367670"/>
              <a:gd name="connsiteX12250" fmla="*/ 3274162 w 5365133"/>
              <a:gd name="connsiteY12250" fmla="*/ 660784 h 4367670"/>
              <a:gd name="connsiteX12251" fmla="*/ 3274162 w 5365133"/>
              <a:gd name="connsiteY12251" fmla="*/ 672712 h 4367670"/>
              <a:gd name="connsiteX12252" fmla="*/ 3280140 w 5365133"/>
              <a:gd name="connsiteY12252" fmla="*/ 672712 h 4367670"/>
              <a:gd name="connsiteX12253" fmla="*/ 3280140 w 5365133"/>
              <a:gd name="connsiteY12253" fmla="*/ 660784 h 4367670"/>
              <a:gd name="connsiteX12254" fmla="*/ 3304052 w 5365133"/>
              <a:gd name="connsiteY12254" fmla="*/ 660784 h 4367670"/>
              <a:gd name="connsiteX12255" fmla="*/ 3310031 w 5365133"/>
              <a:gd name="connsiteY12255" fmla="*/ 660784 h 4367670"/>
              <a:gd name="connsiteX12256" fmla="*/ 3310031 w 5365133"/>
              <a:gd name="connsiteY12256" fmla="*/ 648857 h 4367670"/>
              <a:gd name="connsiteX12257" fmla="*/ 3316009 w 5365133"/>
              <a:gd name="connsiteY12257" fmla="*/ 642892 h 4367670"/>
              <a:gd name="connsiteX12258" fmla="*/ 3321987 w 5365133"/>
              <a:gd name="connsiteY12258" fmla="*/ 648857 h 4367670"/>
              <a:gd name="connsiteX12259" fmla="*/ 3333943 w 5365133"/>
              <a:gd name="connsiteY12259" fmla="*/ 642892 h 4367670"/>
              <a:gd name="connsiteX12260" fmla="*/ 3333943 w 5365133"/>
              <a:gd name="connsiteY12260" fmla="*/ 636928 h 4367670"/>
              <a:gd name="connsiteX12261" fmla="*/ 3339921 w 5365133"/>
              <a:gd name="connsiteY12261" fmla="*/ 642892 h 4367670"/>
              <a:gd name="connsiteX12262" fmla="*/ 3345899 w 5365133"/>
              <a:gd name="connsiteY12262" fmla="*/ 625001 h 4367670"/>
              <a:gd name="connsiteX12263" fmla="*/ 3351877 w 5365133"/>
              <a:gd name="connsiteY12263" fmla="*/ 642892 h 4367670"/>
              <a:gd name="connsiteX12264" fmla="*/ 3357853 w 5365133"/>
              <a:gd name="connsiteY12264" fmla="*/ 630965 h 4367670"/>
              <a:gd name="connsiteX12265" fmla="*/ 3369809 w 5365133"/>
              <a:gd name="connsiteY12265" fmla="*/ 636928 h 4367670"/>
              <a:gd name="connsiteX12266" fmla="*/ 3370650 w 5365133"/>
              <a:gd name="connsiteY12266" fmla="*/ 628541 h 4367670"/>
              <a:gd name="connsiteX12267" fmla="*/ 3370324 w 5365133"/>
              <a:gd name="connsiteY12267" fmla="*/ 624864 h 4367670"/>
              <a:gd name="connsiteX12268" fmla="*/ 3381018 w 5365133"/>
              <a:gd name="connsiteY12268" fmla="*/ 622019 h 4367670"/>
              <a:gd name="connsiteX12269" fmla="*/ 3387744 w 5365133"/>
              <a:gd name="connsiteY12269" fmla="*/ 619037 h 4367670"/>
              <a:gd name="connsiteX12270" fmla="*/ 3393722 w 5365133"/>
              <a:gd name="connsiteY12270" fmla="*/ 601144 h 4367670"/>
              <a:gd name="connsiteX12271" fmla="*/ 3399700 w 5365133"/>
              <a:gd name="connsiteY12271" fmla="*/ 595181 h 4367670"/>
              <a:gd name="connsiteX12272" fmla="*/ 3393722 w 5365133"/>
              <a:gd name="connsiteY12272" fmla="*/ 613072 h 4367670"/>
              <a:gd name="connsiteX12273" fmla="*/ 3405678 w 5365133"/>
              <a:gd name="connsiteY12273" fmla="*/ 613072 h 4367670"/>
              <a:gd name="connsiteX12274" fmla="*/ 3405678 w 5365133"/>
              <a:gd name="connsiteY12274" fmla="*/ 589215 h 4367670"/>
              <a:gd name="connsiteX12275" fmla="*/ 3417634 w 5365133"/>
              <a:gd name="connsiteY12275" fmla="*/ 601144 h 4367670"/>
              <a:gd name="connsiteX12276" fmla="*/ 3447525 w 5365133"/>
              <a:gd name="connsiteY12276" fmla="*/ 571325 h 4367670"/>
              <a:gd name="connsiteX12277" fmla="*/ 3429591 w 5365133"/>
              <a:gd name="connsiteY12277" fmla="*/ 577288 h 4367670"/>
              <a:gd name="connsiteX12278" fmla="*/ 3429591 w 5365133"/>
              <a:gd name="connsiteY12278" fmla="*/ 565361 h 4367670"/>
              <a:gd name="connsiteX12279" fmla="*/ 3411656 w 5365133"/>
              <a:gd name="connsiteY12279" fmla="*/ 589215 h 4367670"/>
              <a:gd name="connsiteX12280" fmla="*/ 3417634 w 5365133"/>
              <a:gd name="connsiteY12280" fmla="*/ 577288 h 4367670"/>
              <a:gd name="connsiteX12281" fmla="*/ 3405678 w 5365133"/>
              <a:gd name="connsiteY12281" fmla="*/ 583252 h 4367670"/>
              <a:gd name="connsiteX12282" fmla="*/ 3411656 w 5365133"/>
              <a:gd name="connsiteY12282" fmla="*/ 559396 h 4367670"/>
              <a:gd name="connsiteX12283" fmla="*/ 3435569 w 5365133"/>
              <a:gd name="connsiteY12283" fmla="*/ 553432 h 4367670"/>
              <a:gd name="connsiteX12284" fmla="*/ 3429591 w 5365133"/>
              <a:gd name="connsiteY12284" fmla="*/ 559396 h 4367670"/>
              <a:gd name="connsiteX12285" fmla="*/ 3441547 w 5365133"/>
              <a:gd name="connsiteY12285" fmla="*/ 565361 h 4367670"/>
              <a:gd name="connsiteX12286" fmla="*/ 3447525 w 5365133"/>
              <a:gd name="connsiteY12286" fmla="*/ 559396 h 4367670"/>
              <a:gd name="connsiteX12287" fmla="*/ 3453503 w 5365133"/>
              <a:gd name="connsiteY12287" fmla="*/ 583252 h 4367670"/>
              <a:gd name="connsiteX12288" fmla="*/ 3465459 w 5365133"/>
              <a:gd name="connsiteY12288" fmla="*/ 589215 h 4367670"/>
              <a:gd name="connsiteX12289" fmla="*/ 3471437 w 5365133"/>
              <a:gd name="connsiteY12289" fmla="*/ 589215 h 4367670"/>
              <a:gd name="connsiteX12290" fmla="*/ 3459481 w 5365133"/>
              <a:gd name="connsiteY12290" fmla="*/ 571325 h 4367670"/>
              <a:gd name="connsiteX12291" fmla="*/ 3470690 w 5365133"/>
              <a:gd name="connsiteY12291" fmla="*/ 572070 h 4367670"/>
              <a:gd name="connsiteX12292" fmla="*/ 3475264 w 5365133"/>
              <a:gd name="connsiteY12292" fmla="*/ 568937 h 4367670"/>
              <a:gd name="connsiteX12293" fmla="*/ 3475173 w 5365133"/>
              <a:gd name="connsiteY12293" fmla="*/ 569088 h 4367670"/>
              <a:gd name="connsiteX12294" fmla="*/ 3477415 w 5365133"/>
              <a:gd name="connsiteY12294" fmla="*/ 583252 h 4367670"/>
              <a:gd name="connsiteX12295" fmla="*/ 3489369 w 5365133"/>
              <a:gd name="connsiteY12295" fmla="*/ 577288 h 4367670"/>
              <a:gd name="connsiteX12296" fmla="*/ 3489369 w 5365133"/>
              <a:gd name="connsiteY12296" fmla="*/ 565361 h 4367670"/>
              <a:gd name="connsiteX12297" fmla="*/ 3508705 w 5365133"/>
              <a:gd name="connsiteY12297" fmla="*/ 565360 h 4367670"/>
              <a:gd name="connsiteX12298" fmla="*/ 3513283 w 5365133"/>
              <a:gd name="connsiteY12298" fmla="*/ 565361 h 4367670"/>
              <a:gd name="connsiteX12299" fmla="*/ 3519114 w 5365133"/>
              <a:gd name="connsiteY12299" fmla="*/ 559542 h 4367670"/>
              <a:gd name="connsiteX12300" fmla="*/ 3519114 w 5365133"/>
              <a:gd name="connsiteY12300" fmla="*/ 559104 h 4367670"/>
              <a:gd name="connsiteX12301" fmla="*/ 3513282 w 5365133"/>
              <a:gd name="connsiteY12301" fmla="*/ 547468 h 4367670"/>
              <a:gd name="connsiteX12302" fmla="*/ 3507304 w 5365133"/>
              <a:gd name="connsiteY12302" fmla="*/ 559396 h 4367670"/>
              <a:gd name="connsiteX12303" fmla="*/ 3501326 w 5365133"/>
              <a:gd name="connsiteY12303" fmla="*/ 559396 h 4367670"/>
              <a:gd name="connsiteX12304" fmla="*/ 3501326 w 5365133"/>
              <a:gd name="connsiteY12304" fmla="*/ 547468 h 4367670"/>
              <a:gd name="connsiteX12305" fmla="*/ 3495347 w 5365133"/>
              <a:gd name="connsiteY12305" fmla="*/ 541504 h 4367670"/>
              <a:gd name="connsiteX12306" fmla="*/ 3489369 w 5365133"/>
              <a:gd name="connsiteY12306" fmla="*/ 559396 h 4367670"/>
              <a:gd name="connsiteX12307" fmla="*/ 3459481 w 5365133"/>
              <a:gd name="connsiteY12307" fmla="*/ 571325 h 4367670"/>
              <a:gd name="connsiteX12308" fmla="*/ 3459481 w 5365133"/>
              <a:gd name="connsiteY12308" fmla="*/ 565361 h 4367670"/>
              <a:gd name="connsiteX12309" fmla="*/ 3453503 w 5365133"/>
              <a:gd name="connsiteY12309" fmla="*/ 571325 h 4367670"/>
              <a:gd name="connsiteX12310" fmla="*/ 3459481 w 5365133"/>
              <a:gd name="connsiteY12310" fmla="*/ 553432 h 4367670"/>
              <a:gd name="connsiteX12311" fmla="*/ 3453503 w 5365133"/>
              <a:gd name="connsiteY12311" fmla="*/ 541504 h 4367670"/>
              <a:gd name="connsiteX12312" fmla="*/ 3477415 w 5365133"/>
              <a:gd name="connsiteY12312" fmla="*/ 529575 h 4367670"/>
              <a:gd name="connsiteX12313" fmla="*/ 3483393 w 5365133"/>
              <a:gd name="connsiteY12313" fmla="*/ 541504 h 4367670"/>
              <a:gd name="connsiteX12314" fmla="*/ 3501326 w 5365133"/>
              <a:gd name="connsiteY12314" fmla="*/ 541504 h 4367670"/>
              <a:gd name="connsiteX12315" fmla="*/ 3501326 w 5365133"/>
              <a:gd name="connsiteY12315" fmla="*/ 523612 h 4367670"/>
              <a:gd name="connsiteX12316" fmla="*/ 3489369 w 5365133"/>
              <a:gd name="connsiteY12316" fmla="*/ 529575 h 4367670"/>
              <a:gd name="connsiteX12317" fmla="*/ 3507304 w 5365133"/>
              <a:gd name="connsiteY12317" fmla="*/ 511685 h 4367670"/>
              <a:gd name="connsiteX12318" fmla="*/ 3513282 w 5365133"/>
              <a:gd name="connsiteY12318" fmla="*/ 519885 h 4367670"/>
              <a:gd name="connsiteX12319" fmla="*/ 3519114 w 5365133"/>
              <a:gd name="connsiteY12319" fmla="*/ 523522 h 4367670"/>
              <a:gd name="connsiteX12320" fmla="*/ 3519114 w 5365133"/>
              <a:gd name="connsiteY12320" fmla="*/ 519424 h 4367670"/>
              <a:gd name="connsiteX12321" fmla="*/ 3524853 w 5365133"/>
              <a:gd name="connsiteY12321" fmla="*/ 513684 h 4367670"/>
              <a:gd name="connsiteX12322" fmla="*/ 3527590 w 5365133"/>
              <a:gd name="connsiteY12322" fmla="*/ 519158 h 4367670"/>
              <a:gd name="connsiteX12323" fmla="*/ 3531216 w 5365133"/>
              <a:gd name="connsiteY12323" fmla="*/ 505719 h 4367670"/>
              <a:gd name="connsiteX12324" fmla="*/ 3536332 w 5365133"/>
              <a:gd name="connsiteY12324" fmla="*/ 511553 h 4367670"/>
              <a:gd name="connsiteX12325" fmla="*/ 3536332 w 5365133"/>
              <a:gd name="connsiteY12325" fmla="*/ 499336 h 4367670"/>
              <a:gd name="connsiteX12326" fmla="*/ 3542071 w 5365133"/>
              <a:gd name="connsiteY12326" fmla="*/ 512251 h 4367670"/>
              <a:gd name="connsiteX12327" fmla="*/ 3542071 w 5365133"/>
              <a:gd name="connsiteY12327" fmla="*/ 499336 h 4367670"/>
              <a:gd name="connsiteX12328" fmla="*/ 3547811 w 5365133"/>
              <a:gd name="connsiteY12328" fmla="*/ 518708 h 4367670"/>
              <a:gd name="connsiteX12329" fmla="*/ 3542071 w 5365133"/>
              <a:gd name="connsiteY12329" fmla="*/ 519514 h 4367670"/>
              <a:gd name="connsiteX12330" fmla="*/ 3540784 w 5365133"/>
              <a:gd name="connsiteY12330" fmla="*/ 520781 h 4367670"/>
              <a:gd name="connsiteX12331" fmla="*/ 3543172 w 5365133"/>
              <a:gd name="connsiteY12331" fmla="*/ 522867 h 4367670"/>
              <a:gd name="connsiteX12332" fmla="*/ 3549151 w 5365133"/>
              <a:gd name="connsiteY12332" fmla="*/ 523612 h 4367670"/>
              <a:gd name="connsiteX12333" fmla="*/ 3555129 w 5365133"/>
              <a:gd name="connsiteY12333" fmla="*/ 511685 h 4367670"/>
              <a:gd name="connsiteX12334" fmla="*/ 3567085 w 5365133"/>
              <a:gd name="connsiteY12334" fmla="*/ 499756 h 4367670"/>
              <a:gd name="connsiteX12335" fmla="*/ 3579041 w 5365133"/>
              <a:gd name="connsiteY12335" fmla="*/ 505719 h 4367670"/>
              <a:gd name="connsiteX12336" fmla="*/ 3598468 w 5365133"/>
              <a:gd name="connsiteY12336" fmla="*/ 496775 h 4367670"/>
              <a:gd name="connsiteX12337" fmla="*/ 3607721 w 5365133"/>
              <a:gd name="connsiteY12337" fmla="*/ 504685 h 4367670"/>
              <a:gd name="connsiteX12338" fmla="*/ 3590249 w 5365133"/>
              <a:gd name="connsiteY12338" fmla="*/ 519140 h 4367670"/>
              <a:gd name="connsiteX12339" fmla="*/ 3580506 w 5365133"/>
              <a:gd name="connsiteY12339" fmla="*/ 523689 h 4367670"/>
              <a:gd name="connsiteX12340" fmla="*/ 3579041 w 5365133"/>
              <a:gd name="connsiteY12340" fmla="*/ 523612 h 4367670"/>
              <a:gd name="connsiteX12341" fmla="*/ 3579041 w 5365133"/>
              <a:gd name="connsiteY12341" fmla="*/ 524373 h 4367670"/>
              <a:gd name="connsiteX12342" fmla="*/ 3555129 w 5365133"/>
              <a:gd name="connsiteY12342" fmla="*/ 535541 h 4367670"/>
              <a:gd name="connsiteX12343" fmla="*/ 3561107 w 5365133"/>
              <a:gd name="connsiteY12343" fmla="*/ 523612 h 4367670"/>
              <a:gd name="connsiteX12344" fmla="*/ 3549151 w 5365133"/>
              <a:gd name="connsiteY12344" fmla="*/ 535541 h 4367670"/>
              <a:gd name="connsiteX12345" fmla="*/ 3555129 w 5365133"/>
              <a:gd name="connsiteY12345" fmla="*/ 541504 h 4367670"/>
              <a:gd name="connsiteX12346" fmla="*/ 3567085 w 5365133"/>
              <a:gd name="connsiteY12346" fmla="*/ 541504 h 4367670"/>
              <a:gd name="connsiteX12347" fmla="*/ 3579041 w 5365133"/>
              <a:gd name="connsiteY12347" fmla="*/ 541504 h 4367670"/>
              <a:gd name="connsiteX12348" fmla="*/ 3579041 w 5365133"/>
              <a:gd name="connsiteY12348" fmla="*/ 524373 h 4367670"/>
              <a:gd name="connsiteX12349" fmla="*/ 3580506 w 5365133"/>
              <a:gd name="connsiteY12349" fmla="*/ 523689 h 4367670"/>
              <a:gd name="connsiteX12350" fmla="*/ 3593238 w 5365133"/>
              <a:gd name="connsiteY12350" fmla="*/ 524359 h 4367670"/>
              <a:gd name="connsiteX12351" fmla="*/ 3602953 w 5365133"/>
              <a:gd name="connsiteY12351" fmla="*/ 529575 h 4367670"/>
              <a:gd name="connsiteX12352" fmla="*/ 3601458 w 5365133"/>
              <a:gd name="connsiteY12352" fmla="*/ 520631 h 4367670"/>
              <a:gd name="connsiteX12353" fmla="*/ 3603807 w 5365133"/>
              <a:gd name="connsiteY12353" fmla="*/ 517818 h 4367670"/>
              <a:gd name="connsiteX12354" fmla="*/ 3610424 w 5365133"/>
              <a:gd name="connsiteY12354" fmla="*/ 519140 h 4367670"/>
              <a:gd name="connsiteX12355" fmla="*/ 3608931 w 5365133"/>
              <a:gd name="connsiteY12355" fmla="*/ 511685 h 4367670"/>
              <a:gd name="connsiteX12356" fmla="*/ 3620886 w 5365133"/>
              <a:gd name="connsiteY12356" fmla="*/ 511685 h 4367670"/>
              <a:gd name="connsiteX12357" fmla="*/ 3626864 w 5365133"/>
              <a:gd name="connsiteY12357" fmla="*/ 511685 h 4367670"/>
              <a:gd name="connsiteX12358" fmla="*/ 3620886 w 5365133"/>
              <a:gd name="connsiteY12358" fmla="*/ 493792 h 4367670"/>
              <a:gd name="connsiteX12359" fmla="*/ 3626864 w 5365133"/>
              <a:gd name="connsiteY12359" fmla="*/ 517648 h 4367670"/>
              <a:gd name="connsiteX12360" fmla="*/ 3638820 w 5365133"/>
              <a:gd name="connsiteY12360" fmla="*/ 511685 h 4367670"/>
              <a:gd name="connsiteX12361" fmla="*/ 3632842 w 5365133"/>
              <a:gd name="connsiteY12361" fmla="*/ 511685 h 4367670"/>
              <a:gd name="connsiteX12362" fmla="*/ 3638820 w 5365133"/>
              <a:gd name="connsiteY12362" fmla="*/ 493792 h 4367670"/>
              <a:gd name="connsiteX12363" fmla="*/ 3638820 w 5365133"/>
              <a:gd name="connsiteY12363" fmla="*/ 505719 h 4367670"/>
              <a:gd name="connsiteX12364" fmla="*/ 3656754 w 5365133"/>
              <a:gd name="connsiteY12364" fmla="*/ 511685 h 4367670"/>
              <a:gd name="connsiteX12365" fmla="*/ 3668711 w 5365133"/>
              <a:gd name="connsiteY12365" fmla="*/ 481865 h 4367670"/>
              <a:gd name="connsiteX12366" fmla="*/ 3673194 w 5365133"/>
              <a:gd name="connsiteY12366" fmla="*/ 490064 h 4367670"/>
              <a:gd name="connsiteX12367" fmla="*/ 3672337 w 5365133"/>
              <a:gd name="connsiteY12367" fmla="*/ 493411 h 4367670"/>
              <a:gd name="connsiteX12368" fmla="*/ 3668711 w 5365133"/>
              <a:gd name="connsiteY12368" fmla="*/ 493792 h 4367670"/>
              <a:gd name="connsiteX12369" fmla="*/ 3672073 w 5365133"/>
              <a:gd name="connsiteY12369" fmla="*/ 494444 h 4367670"/>
              <a:gd name="connsiteX12370" fmla="*/ 3672337 w 5365133"/>
              <a:gd name="connsiteY12370" fmla="*/ 493411 h 4367670"/>
              <a:gd name="connsiteX12371" fmla="*/ 3682908 w 5365133"/>
              <a:gd name="connsiteY12371" fmla="*/ 492301 h 4367670"/>
              <a:gd name="connsiteX12372" fmla="*/ 3692623 w 5365133"/>
              <a:gd name="connsiteY12372" fmla="*/ 481865 h 4367670"/>
              <a:gd name="connsiteX12373" fmla="*/ 3692623 w 5365133"/>
              <a:gd name="connsiteY12373" fmla="*/ 493792 h 4367670"/>
              <a:gd name="connsiteX12374" fmla="*/ 3728491 w 5365133"/>
              <a:gd name="connsiteY12374" fmla="*/ 475899 h 4367670"/>
              <a:gd name="connsiteX12375" fmla="*/ 3734470 w 5365133"/>
              <a:gd name="connsiteY12375" fmla="*/ 452045 h 4367670"/>
              <a:gd name="connsiteX12376" fmla="*/ 3740448 w 5365133"/>
              <a:gd name="connsiteY12376" fmla="*/ 469935 h 4367670"/>
              <a:gd name="connsiteX12377" fmla="*/ 3758380 w 5365133"/>
              <a:gd name="connsiteY12377" fmla="*/ 463972 h 4367670"/>
              <a:gd name="connsiteX12378" fmla="*/ 3758380 w 5365133"/>
              <a:gd name="connsiteY12378" fmla="*/ 446080 h 4367670"/>
              <a:gd name="connsiteX12379" fmla="*/ 3764358 w 5365133"/>
              <a:gd name="connsiteY12379" fmla="*/ 458008 h 4367670"/>
              <a:gd name="connsiteX12380" fmla="*/ 3770336 w 5365133"/>
              <a:gd name="connsiteY12380" fmla="*/ 440116 h 4367670"/>
              <a:gd name="connsiteX12381" fmla="*/ 3770336 w 5365133"/>
              <a:gd name="connsiteY12381" fmla="*/ 452045 h 4367670"/>
              <a:gd name="connsiteX12382" fmla="*/ 3782292 w 5365133"/>
              <a:gd name="connsiteY12382" fmla="*/ 452045 h 4367670"/>
              <a:gd name="connsiteX12383" fmla="*/ 3779901 w 5365133"/>
              <a:gd name="connsiteY12383" fmla="*/ 448466 h 4367670"/>
              <a:gd name="connsiteX12384" fmla="*/ 3784085 w 5365133"/>
              <a:gd name="connsiteY12384" fmla="*/ 444292 h 4367670"/>
              <a:gd name="connsiteX12385" fmla="*/ 3786775 w 5365133"/>
              <a:gd name="connsiteY12385" fmla="*/ 450553 h 4367670"/>
              <a:gd name="connsiteX12386" fmla="*/ 3800226 w 5365133"/>
              <a:gd name="connsiteY12386" fmla="*/ 452045 h 4367670"/>
              <a:gd name="connsiteX12387" fmla="*/ 3788270 w 5365133"/>
              <a:gd name="connsiteY12387" fmla="*/ 446080 h 4367670"/>
              <a:gd name="connsiteX12388" fmla="*/ 3792455 w 5365133"/>
              <a:gd name="connsiteY12388" fmla="*/ 441905 h 4367670"/>
              <a:gd name="connsiteX12389" fmla="*/ 3794248 w 5365133"/>
              <a:gd name="connsiteY12389" fmla="*/ 446080 h 4367670"/>
              <a:gd name="connsiteX12390" fmla="*/ 3818161 w 5365133"/>
              <a:gd name="connsiteY12390" fmla="*/ 440116 h 4367670"/>
              <a:gd name="connsiteX12391" fmla="*/ 3842073 w 5365133"/>
              <a:gd name="connsiteY12391" fmla="*/ 416259 h 4367670"/>
              <a:gd name="connsiteX12392" fmla="*/ 3848051 w 5365133"/>
              <a:gd name="connsiteY12392" fmla="*/ 422223 h 4367670"/>
              <a:gd name="connsiteX12393" fmla="*/ 3860008 w 5365133"/>
              <a:gd name="connsiteY12393" fmla="*/ 416259 h 4367670"/>
              <a:gd name="connsiteX12394" fmla="*/ 3860008 w 5365133"/>
              <a:gd name="connsiteY12394" fmla="*/ 410296 h 4367670"/>
              <a:gd name="connsiteX12395" fmla="*/ 3865985 w 5365133"/>
              <a:gd name="connsiteY12395" fmla="*/ 416259 h 4367670"/>
              <a:gd name="connsiteX12396" fmla="*/ 3871963 w 5365133"/>
              <a:gd name="connsiteY12396" fmla="*/ 410296 h 4367670"/>
              <a:gd name="connsiteX12397" fmla="*/ 3883918 w 5365133"/>
              <a:gd name="connsiteY12397" fmla="*/ 410296 h 4367670"/>
              <a:gd name="connsiteX12398" fmla="*/ 3889896 w 5365133"/>
              <a:gd name="connsiteY12398" fmla="*/ 398368 h 4367670"/>
              <a:gd name="connsiteX12399" fmla="*/ 3871963 w 5365133"/>
              <a:gd name="connsiteY12399" fmla="*/ 386440 h 4367670"/>
              <a:gd name="connsiteX12400" fmla="*/ 3877940 w 5365133"/>
              <a:gd name="connsiteY12400" fmla="*/ 398368 h 4367670"/>
              <a:gd name="connsiteX12401" fmla="*/ 3877940 w 5365133"/>
              <a:gd name="connsiteY12401" fmla="*/ 374512 h 4367670"/>
              <a:gd name="connsiteX12402" fmla="*/ 3883918 w 5365133"/>
              <a:gd name="connsiteY12402" fmla="*/ 392403 h 4367670"/>
              <a:gd name="connsiteX12403" fmla="*/ 3889896 w 5365133"/>
              <a:gd name="connsiteY12403" fmla="*/ 386440 h 4367670"/>
              <a:gd name="connsiteX12404" fmla="*/ 3883918 w 5365133"/>
              <a:gd name="connsiteY12404" fmla="*/ 374512 h 4367670"/>
              <a:gd name="connsiteX12405" fmla="*/ 3895874 w 5365133"/>
              <a:gd name="connsiteY12405" fmla="*/ 392403 h 4367670"/>
              <a:gd name="connsiteX12406" fmla="*/ 3901852 w 5365133"/>
              <a:gd name="connsiteY12406" fmla="*/ 380476 h 4367670"/>
              <a:gd name="connsiteX12407" fmla="*/ 3904842 w 5365133"/>
              <a:gd name="connsiteY12407" fmla="*/ 383458 h 4367670"/>
              <a:gd name="connsiteX12408" fmla="*/ 3907830 w 5365133"/>
              <a:gd name="connsiteY12408" fmla="*/ 386440 h 4367670"/>
              <a:gd name="connsiteX12409" fmla="*/ 3907830 w 5365133"/>
              <a:gd name="connsiteY12409" fmla="*/ 392403 h 4367670"/>
              <a:gd name="connsiteX12410" fmla="*/ 3901852 w 5365133"/>
              <a:gd name="connsiteY12410" fmla="*/ 386440 h 4367670"/>
              <a:gd name="connsiteX12411" fmla="*/ 3895874 w 5365133"/>
              <a:gd name="connsiteY12411" fmla="*/ 398368 h 4367670"/>
              <a:gd name="connsiteX12412" fmla="*/ 3913808 w 5365133"/>
              <a:gd name="connsiteY12412" fmla="*/ 374512 h 4367670"/>
              <a:gd name="connsiteX12413" fmla="*/ 3925765 w 5365133"/>
              <a:gd name="connsiteY12413" fmla="*/ 368549 h 4367670"/>
              <a:gd name="connsiteX12414" fmla="*/ 3919786 w 5365133"/>
              <a:gd name="connsiteY12414" fmla="*/ 386440 h 4367670"/>
              <a:gd name="connsiteX12415" fmla="*/ 3931743 w 5365133"/>
              <a:gd name="connsiteY12415" fmla="*/ 386440 h 4367670"/>
              <a:gd name="connsiteX12416" fmla="*/ 3931743 w 5365133"/>
              <a:gd name="connsiteY12416" fmla="*/ 404332 h 4367670"/>
              <a:gd name="connsiteX12417" fmla="*/ 3925765 w 5365133"/>
              <a:gd name="connsiteY12417" fmla="*/ 398368 h 4367670"/>
              <a:gd name="connsiteX12418" fmla="*/ 3818161 w 5365133"/>
              <a:gd name="connsiteY12418" fmla="*/ 452045 h 4367670"/>
              <a:gd name="connsiteX12419" fmla="*/ 3830117 w 5365133"/>
              <a:gd name="connsiteY12419" fmla="*/ 458008 h 4367670"/>
              <a:gd name="connsiteX12420" fmla="*/ 3865985 w 5365133"/>
              <a:gd name="connsiteY12420" fmla="*/ 446080 h 4367670"/>
              <a:gd name="connsiteX12421" fmla="*/ 3883918 w 5365133"/>
              <a:gd name="connsiteY12421" fmla="*/ 428189 h 4367670"/>
              <a:gd name="connsiteX12422" fmla="*/ 3889896 w 5365133"/>
              <a:gd name="connsiteY12422" fmla="*/ 416259 h 4367670"/>
              <a:gd name="connsiteX12423" fmla="*/ 3893439 w 5365133"/>
              <a:gd name="connsiteY12423" fmla="*/ 423328 h 4367670"/>
              <a:gd name="connsiteX12424" fmla="*/ 3889896 w 5365133"/>
              <a:gd name="connsiteY12424" fmla="*/ 428189 h 4367670"/>
              <a:gd name="connsiteX12425" fmla="*/ 3894495 w 5365133"/>
              <a:gd name="connsiteY12425" fmla="*/ 425435 h 4367670"/>
              <a:gd name="connsiteX12426" fmla="*/ 3895874 w 5365133"/>
              <a:gd name="connsiteY12426" fmla="*/ 428189 h 4367670"/>
              <a:gd name="connsiteX12427" fmla="*/ 3897369 w 5365133"/>
              <a:gd name="connsiteY12427" fmla="*/ 423714 h 4367670"/>
              <a:gd name="connsiteX12428" fmla="*/ 3894495 w 5365133"/>
              <a:gd name="connsiteY12428" fmla="*/ 425435 h 4367670"/>
              <a:gd name="connsiteX12429" fmla="*/ 3893439 w 5365133"/>
              <a:gd name="connsiteY12429" fmla="*/ 423328 h 4367670"/>
              <a:gd name="connsiteX12430" fmla="*/ 3895874 w 5365133"/>
              <a:gd name="connsiteY12430" fmla="*/ 419987 h 4367670"/>
              <a:gd name="connsiteX12431" fmla="*/ 3901852 w 5365133"/>
              <a:gd name="connsiteY12431" fmla="*/ 416259 h 4367670"/>
              <a:gd name="connsiteX12432" fmla="*/ 3907830 w 5365133"/>
              <a:gd name="connsiteY12432" fmla="*/ 422223 h 4367670"/>
              <a:gd name="connsiteX12433" fmla="*/ 3919786 w 5365133"/>
              <a:gd name="connsiteY12433" fmla="*/ 404332 h 4367670"/>
              <a:gd name="connsiteX12434" fmla="*/ 3925765 w 5365133"/>
              <a:gd name="connsiteY12434" fmla="*/ 410296 h 4367670"/>
              <a:gd name="connsiteX12435" fmla="*/ 3997501 w 5365133"/>
              <a:gd name="connsiteY12435" fmla="*/ 374512 h 4367670"/>
              <a:gd name="connsiteX12436" fmla="*/ 4015434 w 5365133"/>
              <a:gd name="connsiteY12436" fmla="*/ 374512 h 4367670"/>
              <a:gd name="connsiteX12437" fmla="*/ 4015434 w 5365133"/>
              <a:gd name="connsiteY12437" fmla="*/ 362583 h 4367670"/>
              <a:gd name="connsiteX12438" fmla="*/ 4027390 w 5365133"/>
              <a:gd name="connsiteY12438" fmla="*/ 356619 h 4367670"/>
              <a:gd name="connsiteX12439" fmla="*/ 4033368 w 5365133"/>
              <a:gd name="connsiteY12439" fmla="*/ 368549 h 4367670"/>
              <a:gd name="connsiteX12440" fmla="*/ 4057281 w 5365133"/>
              <a:gd name="connsiteY12440" fmla="*/ 356619 h 4367670"/>
              <a:gd name="connsiteX12441" fmla="*/ 4075214 w 5365133"/>
              <a:gd name="connsiteY12441" fmla="*/ 338727 h 4367670"/>
              <a:gd name="connsiteX12442" fmla="*/ 4063259 w 5365133"/>
              <a:gd name="connsiteY12442" fmla="*/ 338727 h 4367670"/>
              <a:gd name="connsiteX12443" fmla="*/ 4146950 w 5365133"/>
              <a:gd name="connsiteY12443" fmla="*/ 302943 h 4367670"/>
              <a:gd name="connsiteX12444" fmla="*/ 4129016 w 5365133"/>
              <a:gd name="connsiteY12444" fmla="*/ 314873 h 4367670"/>
              <a:gd name="connsiteX12445" fmla="*/ 4134994 w 5365133"/>
              <a:gd name="connsiteY12445" fmla="*/ 320836 h 4367670"/>
              <a:gd name="connsiteX12446" fmla="*/ 4218688 w 5365133"/>
              <a:gd name="connsiteY12446" fmla="*/ 273123 h 4367670"/>
              <a:gd name="connsiteX12447" fmla="*/ 4308292 w 5365133"/>
              <a:gd name="connsiteY12447" fmla="*/ 272626 h 4367670"/>
              <a:gd name="connsiteX12448" fmla="*/ 4308292 w 5365133"/>
              <a:gd name="connsiteY12448" fmla="*/ 278941 h 4367670"/>
              <a:gd name="connsiteX12449" fmla="*/ 4294900 w 5365133"/>
              <a:gd name="connsiteY12449" fmla="*/ 297880 h 4367670"/>
              <a:gd name="connsiteX12450" fmla="*/ 4288203 w 5365133"/>
              <a:gd name="connsiteY12450" fmla="*/ 304194 h 4367670"/>
              <a:gd name="connsiteX12451" fmla="*/ 4288203 w 5365133"/>
              <a:gd name="connsiteY12451" fmla="*/ 297880 h 4367670"/>
              <a:gd name="connsiteX12452" fmla="*/ 4308292 w 5365133"/>
              <a:gd name="connsiteY12452" fmla="*/ 272626 h 4367670"/>
              <a:gd name="connsiteX12453" fmla="*/ 4204980 w 5365133"/>
              <a:gd name="connsiteY12453" fmla="*/ 272626 h 4367670"/>
              <a:gd name="connsiteX12454" fmla="*/ 4187761 w 5365133"/>
              <a:gd name="connsiteY12454" fmla="*/ 286976 h 4367670"/>
              <a:gd name="connsiteX12455" fmla="*/ 4204980 w 5365133"/>
              <a:gd name="connsiteY12455" fmla="*/ 272626 h 4367670"/>
              <a:gd name="connsiteX12456" fmla="*/ 3333516 w 5365133"/>
              <a:gd name="connsiteY12456" fmla="*/ 268282 h 4367670"/>
              <a:gd name="connsiteX12457" fmla="*/ 3333456 w 5365133"/>
              <a:gd name="connsiteY12457" fmla="*/ 268893 h 4367670"/>
              <a:gd name="connsiteX12458" fmla="*/ 3332901 w 5365133"/>
              <a:gd name="connsiteY12458" fmla="*/ 268610 h 4367670"/>
              <a:gd name="connsiteX12459" fmla="*/ 4277394 w 5365133"/>
              <a:gd name="connsiteY12459" fmla="*/ 267619 h 4367670"/>
              <a:gd name="connsiteX12460" fmla="*/ 4272488 w 5365133"/>
              <a:gd name="connsiteY12460" fmla="*/ 273123 h 4367670"/>
              <a:gd name="connsiteX12461" fmla="*/ 4271619 w 5365133"/>
              <a:gd name="connsiteY12461" fmla="*/ 270088 h 4367670"/>
              <a:gd name="connsiteX12462" fmla="*/ 4278466 w 5365133"/>
              <a:gd name="connsiteY12462" fmla="*/ 267160 h 4367670"/>
              <a:gd name="connsiteX12463" fmla="*/ 4277394 w 5365133"/>
              <a:gd name="connsiteY12463" fmla="*/ 267619 h 4367670"/>
              <a:gd name="connsiteX12464" fmla="*/ 4277739 w 5365133"/>
              <a:gd name="connsiteY12464" fmla="*/ 267232 h 4367670"/>
              <a:gd name="connsiteX12465" fmla="*/ 4431689 w 5365133"/>
              <a:gd name="connsiteY12465" fmla="*/ 266887 h 4367670"/>
              <a:gd name="connsiteX12466" fmla="*/ 4397252 w 5365133"/>
              <a:gd name="connsiteY12466" fmla="*/ 286976 h 4367670"/>
              <a:gd name="connsiteX12467" fmla="*/ 4431689 w 5365133"/>
              <a:gd name="connsiteY12467" fmla="*/ 266887 h 4367670"/>
              <a:gd name="connsiteX12468" fmla="*/ 3237880 w 5365133"/>
              <a:gd name="connsiteY12468" fmla="*/ 266887 h 4367670"/>
              <a:gd name="connsiteX12469" fmla="*/ 3226400 w 5365133"/>
              <a:gd name="connsiteY12469" fmla="*/ 273583 h 4367670"/>
              <a:gd name="connsiteX12470" fmla="*/ 3237880 w 5365133"/>
              <a:gd name="connsiteY12470" fmla="*/ 266887 h 4367670"/>
              <a:gd name="connsiteX12471" fmla="*/ 4303076 w 5365133"/>
              <a:gd name="connsiteY12471" fmla="*/ 266067 h 4367670"/>
              <a:gd name="connsiteX12472" fmla="*/ 4308357 w 5365133"/>
              <a:gd name="connsiteY12472" fmla="*/ 267160 h 4367670"/>
              <a:gd name="connsiteX12473" fmla="*/ 4303126 w 5365133"/>
              <a:gd name="connsiteY12473" fmla="*/ 266414 h 4367670"/>
              <a:gd name="connsiteX12474" fmla="*/ 3136811 w 5365133"/>
              <a:gd name="connsiteY12474" fmla="*/ 262133 h 4367670"/>
              <a:gd name="connsiteX12475" fmla="*/ 3140309 w 5365133"/>
              <a:gd name="connsiteY12475" fmla="*/ 266887 h 4367670"/>
              <a:gd name="connsiteX12476" fmla="*/ 3123090 w 5365133"/>
              <a:gd name="connsiteY12476" fmla="*/ 272626 h 4367670"/>
              <a:gd name="connsiteX12477" fmla="*/ 3129547 w 5365133"/>
              <a:gd name="connsiteY12477" fmla="*/ 263300 h 4367670"/>
              <a:gd name="connsiteX12478" fmla="*/ 3136811 w 5365133"/>
              <a:gd name="connsiteY12478" fmla="*/ 262133 h 4367670"/>
              <a:gd name="connsiteX12479" fmla="*/ 4175501 w 5365133"/>
              <a:gd name="connsiteY12479" fmla="*/ 261147 h 4367670"/>
              <a:gd name="connsiteX12480" fmla="*/ 4181503 w 5365133"/>
              <a:gd name="connsiteY12480" fmla="*/ 261147 h 4367670"/>
              <a:gd name="connsiteX12481" fmla="*/ 4139498 w 5365133"/>
              <a:gd name="connsiteY12481" fmla="*/ 286976 h 4367670"/>
              <a:gd name="connsiteX12482" fmla="*/ 4157500 w 5365133"/>
              <a:gd name="connsiteY12482" fmla="*/ 267605 h 4367670"/>
              <a:gd name="connsiteX12483" fmla="*/ 4175501 w 5365133"/>
              <a:gd name="connsiteY12483" fmla="*/ 261147 h 4367670"/>
              <a:gd name="connsiteX12484" fmla="*/ 3918008 w 5365133"/>
              <a:gd name="connsiteY12484" fmla="*/ 261147 h 4367670"/>
              <a:gd name="connsiteX12485" fmla="*/ 3877832 w 5365133"/>
              <a:gd name="connsiteY12485" fmla="*/ 286976 h 4367670"/>
              <a:gd name="connsiteX12486" fmla="*/ 3918008 w 5365133"/>
              <a:gd name="connsiteY12486" fmla="*/ 261147 h 4367670"/>
              <a:gd name="connsiteX12487" fmla="*/ 3925625 w 5365133"/>
              <a:gd name="connsiteY12487" fmla="*/ 260717 h 4367670"/>
              <a:gd name="connsiteX12488" fmla="*/ 3924226 w 5365133"/>
              <a:gd name="connsiteY12488" fmla="*/ 261147 h 4367670"/>
              <a:gd name="connsiteX12489" fmla="*/ 3924421 w 5365133"/>
              <a:gd name="connsiteY12489" fmla="*/ 260968 h 4367670"/>
              <a:gd name="connsiteX12490" fmla="*/ 3348663 w 5365133"/>
              <a:gd name="connsiteY12490" fmla="*/ 260229 h 4367670"/>
              <a:gd name="connsiteX12491" fmla="*/ 3333516 w 5365133"/>
              <a:gd name="connsiteY12491" fmla="*/ 268282 h 4367670"/>
              <a:gd name="connsiteX12492" fmla="*/ 3333731 w 5365133"/>
              <a:gd name="connsiteY12492" fmla="*/ 266066 h 4367670"/>
              <a:gd name="connsiteX12493" fmla="*/ 3348663 w 5365133"/>
              <a:gd name="connsiteY12493" fmla="*/ 260229 h 4367670"/>
              <a:gd name="connsiteX12494" fmla="*/ 3930810 w 5365133"/>
              <a:gd name="connsiteY12494" fmla="*/ 259121 h 4367670"/>
              <a:gd name="connsiteX12495" fmla="*/ 3930444 w 5365133"/>
              <a:gd name="connsiteY12495" fmla="*/ 259712 h 4367670"/>
              <a:gd name="connsiteX12496" fmla="*/ 3925625 w 5365133"/>
              <a:gd name="connsiteY12496" fmla="*/ 260717 h 4367670"/>
              <a:gd name="connsiteX12497" fmla="*/ 4263522 w 5365133"/>
              <a:gd name="connsiteY12497" fmla="*/ 258960 h 4367670"/>
              <a:gd name="connsiteX12498" fmla="*/ 4264119 w 5365133"/>
              <a:gd name="connsiteY12498" fmla="*/ 259407 h 4367670"/>
              <a:gd name="connsiteX12499" fmla="*/ 4260532 w 5365133"/>
              <a:gd name="connsiteY12499" fmla="*/ 261196 h 4367670"/>
              <a:gd name="connsiteX12500" fmla="*/ 4263522 w 5365133"/>
              <a:gd name="connsiteY12500" fmla="*/ 258960 h 4367670"/>
              <a:gd name="connsiteX12501" fmla="*/ 4705351 w 5365133"/>
              <a:gd name="connsiteY12501" fmla="*/ 258756 h 4367670"/>
              <a:gd name="connsiteX12502" fmla="*/ 4702905 w 5365133"/>
              <a:gd name="connsiteY12502" fmla="*/ 261196 h 4367670"/>
              <a:gd name="connsiteX12503" fmla="*/ 4700958 w 5365133"/>
              <a:gd name="connsiteY12503" fmla="*/ 260787 h 4367670"/>
              <a:gd name="connsiteX12504" fmla="*/ 4284320 w 5365133"/>
              <a:gd name="connsiteY12504" fmla="*/ 255466 h 4367670"/>
              <a:gd name="connsiteX12505" fmla="*/ 4278466 w 5365133"/>
              <a:gd name="connsiteY12505" fmla="*/ 266415 h 4367670"/>
              <a:gd name="connsiteX12506" fmla="*/ 4277739 w 5365133"/>
              <a:gd name="connsiteY12506" fmla="*/ 267232 h 4367670"/>
              <a:gd name="connsiteX12507" fmla="*/ 4270994 w 5365133"/>
              <a:gd name="connsiteY12507" fmla="*/ 267905 h 4367670"/>
              <a:gd name="connsiteX12508" fmla="*/ 4271619 w 5365133"/>
              <a:gd name="connsiteY12508" fmla="*/ 270088 h 4367670"/>
              <a:gd name="connsiteX12509" fmla="*/ 4268005 w 5365133"/>
              <a:gd name="connsiteY12509" fmla="*/ 271632 h 4367670"/>
              <a:gd name="connsiteX12510" fmla="*/ 4266510 w 5365133"/>
              <a:gd name="connsiteY12510" fmla="*/ 285052 h 4367670"/>
              <a:gd name="connsiteX12511" fmla="*/ 4260532 w 5365133"/>
              <a:gd name="connsiteY12511" fmla="*/ 279087 h 4367670"/>
              <a:gd name="connsiteX12512" fmla="*/ 4266510 w 5365133"/>
              <a:gd name="connsiteY12512" fmla="*/ 291016 h 4367670"/>
              <a:gd name="connsiteX12513" fmla="*/ 4254556 w 5365133"/>
              <a:gd name="connsiteY12513" fmla="*/ 291016 h 4367670"/>
              <a:gd name="connsiteX12514" fmla="*/ 4254556 w 5365133"/>
              <a:gd name="connsiteY12514" fmla="*/ 279087 h 4367670"/>
              <a:gd name="connsiteX12515" fmla="*/ 4248578 w 5365133"/>
              <a:gd name="connsiteY12515" fmla="*/ 285052 h 4367670"/>
              <a:gd name="connsiteX12516" fmla="*/ 4250819 w 5365133"/>
              <a:gd name="connsiteY12516" fmla="*/ 296980 h 4367670"/>
              <a:gd name="connsiteX12517" fmla="*/ 4249617 w 5365133"/>
              <a:gd name="connsiteY12517" fmla="*/ 303375 h 4367670"/>
              <a:gd name="connsiteX12518" fmla="*/ 4248578 w 5365133"/>
              <a:gd name="connsiteY12518" fmla="*/ 302943 h 4367670"/>
              <a:gd name="connsiteX12519" fmla="*/ 4248578 w 5365133"/>
              <a:gd name="connsiteY12519" fmla="*/ 308907 h 4367670"/>
              <a:gd name="connsiteX12520" fmla="*/ 4249617 w 5365133"/>
              <a:gd name="connsiteY12520" fmla="*/ 303375 h 4367670"/>
              <a:gd name="connsiteX12521" fmla="*/ 4257544 w 5365133"/>
              <a:gd name="connsiteY12521" fmla="*/ 306671 h 4367670"/>
              <a:gd name="connsiteX12522" fmla="*/ 4266510 w 5365133"/>
              <a:gd name="connsiteY12522" fmla="*/ 314873 h 4367670"/>
              <a:gd name="connsiteX12523" fmla="*/ 4224665 w 5365133"/>
              <a:gd name="connsiteY12523" fmla="*/ 320836 h 4367670"/>
              <a:gd name="connsiteX12524" fmla="*/ 4218688 w 5365133"/>
              <a:gd name="connsiteY12524" fmla="*/ 302943 h 4367670"/>
              <a:gd name="connsiteX12525" fmla="*/ 4224665 w 5365133"/>
              <a:gd name="connsiteY12525" fmla="*/ 314873 h 4367670"/>
              <a:gd name="connsiteX12526" fmla="*/ 4230643 w 5365133"/>
              <a:gd name="connsiteY12526" fmla="*/ 302943 h 4367670"/>
              <a:gd name="connsiteX12527" fmla="*/ 4242599 w 5365133"/>
              <a:gd name="connsiteY12527" fmla="*/ 308907 h 4367670"/>
              <a:gd name="connsiteX12528" fmla="*/ 4242599 w 5365133"/>
              <a:gd name="connsiteY12528" fmla="*/ 296980 h 4367670"/>
              <a:gd name="connsiteX12529" fmla="*/ 4243440 w 5365133"/>
              <a:gd name="connsiteY12529" fmla="*/ 293439 h 4367670"/>
              <a:gd name="connsiteX12530" fmla="*/ 4242599 w 5365133"/>
              <a:gd name="connsiteY12530" fmla="*/ 292778 h 4367670"/>
              <a:gd name="connsiteX12531" fmla="*/ 4242599 w 5365133"/>
              <a:gd name="connsiteY12531" fmla="*/ 285052 h 4367670"/>
              <a:gd name="connsiteX12532" fmla="*/ 4240358 w 5365133"/>
              <a:gd name="connsiteY12532" fmla="*/ 291016 h 4367670"/>
              <a:gd name="connsiteX12533" fmla="*/ 4242599 w 5365133"/>
              <a:gd name="connsiteY12533" fmla="*/ 292778 h 4367670"/>
              <a:gd name="connsiteX12534" fmla="*/ 4242599 w 5365133"/>
              <a:gd name="connsiteY12534" fmla="*/ 296980 h 4367670"/>
              <a:gd name="connsiteX12535" fmla="*/ 4218688 w 5365133"/>
              <a:gd name="connsiteY12535" fmla="*/ 285052 h 4367670"/>
              <a:gd name="connsiteX12536" fmla="*/ 4248578 w 5365133"/>
              <a:gd name="connsiteY12536" fmla="*/ 261196 h 4367670"/>
              <a:gd name="connsiteX12537" fmla="*/ 4248578 w 5365133"/>
              <a:gd name="connsiteY12537" fmla="*/ 267160 h 4367670"/>
              <a:gd name="connsiteX12538" fmla="*/ 4260532 w 5365133"/>
              <a:gd name="connsiteY12538" fmla="*/ 273123 h 4367670"/>
              <a:gd name="connsiteX12539" fmla="*/ 4266510 w 5365133"/>
              <a:gd name="connsiteY12539" fmla="*/ 261196 h 4367670"/>
              <a:gd name="connsiteX12540" fmla="*/ 4264119 w 5365133"/>
              <a:gd name="connsiteY12540" fmla="*/ 259407 h 4367670"/>
              <a:gd name="connsiteX12541" fmla="*/ 4270993 w 5365133"/>
              <a:gd name="connsiteY12541" fmla="*/ 255977 h 4367670"/>
              <a:gd name="connsiteX12542" fmla="*/ 3243619 w 5365133"/>
              <a:gd name="connsiteY12542" fmla="*/ 255408 h 4367670"/>
              <a:gd name="connsiteX12543" fmla="*/ 3220662 w 5365133"/>
              <a:gd name="connsiteY12543" fmla="*/ 261147 h 4367670"/>
              <a:gd name="connsiteX12544" fmla="*/ 3243619 w 5365133"/>
              <a:gd name="connsiteY12544" fmla="*/ 255408 h 4367670"/>
              <a:gd name="connsiteX12545" fmla="*/ 3154658 w 5365133"/>
              <a:gd name="connsiteY12545" fmla="*/ 255408 h 4367670"/>
              <a:gd name="connsiteX12546" fmla="*/ 3154658 w 5365133"/>
              <a:gd name="connsiteY12546" fmla="*/ 261147 h 4367670"/>
              <a:gd name="connsiteX12547" fmla="*/ 3140309 w 5365133"/>
              <a:gd name="connsiteY12547" fmla="*/ 261147 h 4367670"/>
              <a:gd name="connsiteX12548" fmla="*/ 3154658 w 5365133"/>
              <a:gd name="connsiteY12548" fmla="*/ 255408 h 4367670"/>
              <a:gd name="connsiteX12549" fmla="*/ 3011171 w 5365133"/>
              <a:gd name="connsiteY12549" fmla="*/ 255408 h 4367670"/>
              <a:gd name="connsiteX12550" fmla="*/ 3003100 w 5365133"/>
              <a:gd name="connsiteY12550" fmla="*/ 268322 h 4367670"/>
              <a:gd name="connsiteX12551" fmla="*/ 2987886 w 5365133"/>
              <a:gd name="connsiteY12551" fmla="*/ 279387 h 4367670"/>
              <a:gd name="connsiteX12552" fmla="*/ 3004072 w 5365133"/>
              <a:gd name="connsiteY12552" fmla="*/ 276612 h 4367670"/>
              <a:gd name="connsiteX12553" fmla="*/ 3021744 w 5365133"/>
              <a:gd name="connsiteY12553" fmla="*/ 273583 h 4367670"/>
              <a:gd name="connsiteX12554" fmla="*/ 3021744 w 5365133"/>
              <a:gd name="connsiteY12554" fmla="*/ 267525 h 4367670"/>
              <a:gd name="connsiteX12555" fmla="*/ 3033525 w 5365133"/>
              <a:gd name="connsiteY12555" fmla="*/ 267525 h 4367670"/>
              <a:gd name="connsiteX12556" fmla="*/ 3051197 w 5365133"/>
              <a:gd name="connsiteY12556" fmla="*/ 255408 h 4367670"/>
              <a:gd name="connsiteX12557" fmla="*/ 3045307 w 5365133"/>
              <a:gd name="connsiteY12557" fmla="*/ 261466 h 4367670"/>
              <a:gd name="connsiteX12558" fmla="*/ 3051197 w 5365133"/>
              <a:gd name="connsiteY12558" fmla="*/ 267525 h 4367670"/>
              <a:gd name="connsiteX12559" fmla="*/ 3009964 w 5365133"/>
              <a:gd name="connsiteY12559" fmla="*/ 285700 h 4367670"/>
              <a:gd name="connsiteX12560" fmla="*/ 3015853 w 5365133"/>
              <a:gd name="connsiteY12560" fmla="*/ 279642 h 4367670"/>
              <a:gd name="connsiteX12561" fmla="*/ 3004072 w 5365133"/>
              <a:gd name="connsiteY12561" fmla="*/ 285700 h 4367670"/>
              <a:gd name="connsiteX12562" fmla="*/ 3009964 w 5365133"/>
              <a:gd name="connsiteY12562" fmla="*/ 285700 h 4367670"/>
              <a:gd name="connsiteX12563" fmla="*/ 2980511 w 5365133"/>
              <a:gd name="connsiteY12563" fmla="*/ 303874 h 4367670"/>
              <a:gd name="connsiteX12564" fmla="*/ 2986400 w 5365133"/>
              <a:gd name="connsiteY12564" fmla="*/ 291759 h 4367670"/>
              <a:gd name="connsiteX12565" fmla="*/ 2974620 w 5365133"/>
              <a:gd name="connsiteY12565" fmla="*/ 309934 h 4367670"/>
              <a:gd name="connsiteX12566" fmla="*/ 2951058 w 5365133"/>
              <a:gd name="connsiteY12566" fmla="*/ 303874 h 4367670"/>
              <a:gd name="connsiteX12567" fmla="*/ 2962838 w 5365133"/>
              <a:gd name="connsiteY12567" fmla="*/ 291759 h 4367670"/>
              <a:gd name="connsiteX12568" fmla="*/ 2986400 w 5365133"/>
              <a:gd name="connsiteY12568" fmla="*/ 279642 h 4367670"/>
              <a:gd name="connsiteX12569" fmla="*/ 2986438 w 5365133"/>
              <a:gd name="connsiteY12569" fmla="*/ 279634 h 4367670"/>
              <a:gd name="connsiteX12570" fmla="*/ 2995836 w 5365133"/>
              <a:gd name="connsiteY12570" fmla="*/ 265900 h 4367670"/>
              <a:gd name="connsiteX12571" fmla="*/ 3011171 w 5365133"/>
              <a:gd name="connsiteY12571" fmla="*/ 255408 h 4367670"/>
              <a:gd name="connsiteX12572" fmla="*/ 4661059 w 5365133"/>
              <a:gd name="connsiteY12572" fmla="*/ 255233 h 4367670"/>
              <a:gd name="connsiteX12573" fmla="*/ 4661059 w 5365133"/>
              <a:gd name="connsiteY12573" fmla="*/ 261196 h 4367670"/>
              <a:gd name="connsiteX12574" fmla="*/ 4655081 w 5365133"/>
              <a:gd name="connsiteY12574" fmla="*/ 261196 h 4367670"/>
              <a:gd name="connsiteX12575" fmla="*/ 4661059 w 5365133"/>
              <a:gd name="connsiteY12575" fmla="*/ 255233 h 4367670"/>
              <a:gd name="connsiteX12576" fmla="*/ 4625192 w 5365133"/>
              <a:gd name="connsiteY12576" fmla="*/ 255233 h 4367670"/>
              <a:gd name="connsiteX12577" fmla="*/ 4577368 w 5365133"/>
              <a:gd name="connsiteY12577" fmla="*/ 279087 h 4367670"/>
              <a:gd name="connsiteX12578" fmla="*/ 4577368 w 5365133"/>
              <a:gd name="connsiteY12578" fmla="*/ 300957 h 4367670"/>
              <a:gd name="connsiteX12579" fmla="*/ 4564095 w 5365133"/>
              <a:gd name="connsiteY12579" fmla="*/ 305369 h 4367670"/>
              <a:gd name="connsiteX12580" fmla="*/ 4563697 w 5365133"/>
              <a:gd name="connsiteY12580" fmla="*/ 309932 h 4367670"/>
              <a:gd name="connsiteX12581" fmla="*/ 4561104 w 5365133"/>
              <a:gd name="connsiteY12581" fmla="*/ 306365 h 4367670"/>
              <a:gd name="connsiteX12582" fmla="*/ 4553454 w 5365133"/>
              <a:gd name="connsiteY12582" fmla="*/ 308907 h 4367670"/>
              <a:gd name="connsiteX12583" fmla="*/ 4523565 w 5365133"/>
              <a:gd name="connsiteY12583" fmla="*/ 320836 h 4367670"/>
              <a:gd name="connsiteX12584" fmla="*/ 4535521 w 5365133"/>
              <a:gd name="connsiteY12584" fmla="*/ 314873 h 4367670"/>
              <a:gd name="connsiteX12585" fmla="*/ 4523565 w 5365133"/>
              <a:gd name="connsiteY12585" fmla="*/ 302943 h 4367670"/>
              <a:gd name="connsiteX12586" fmla="*/ 4499654 w 5365133"/>
              <a:gd name="connsiteY12586" fmla="*/ 302943 h 4367670"/>
              <a:gd name="connsiteX12587" fmla="*/ 4625192 w 5365133"/>
              <a:gd name="connsiteY12587" fmla="*/ 255233 h 4367670"/>
              <a:gd name="connsiteX12588" fmla="*/ 4290423 w 5365133"/>
              <a:gd name="connsiteY12588" fmla="*/ 255233 h 4367670"/>
              <a:gd name="connsiteX12589" fmla="*/ 4284445 w 5365133"/>
              <a:gd name="connsiteY12589" fmla="*/ 261196 h 4367670"/>
              <a:gd name="connsiteX12590" fmla="*/ 4302379 w 5365133"/>
              <a:gd name="connsiteY12590" fmla="*/ 261196 h 4367670"/>
              <a:gd name="connsiteX12591" fmla="*/ 4303076 w 5365133"/>
              <a:gd name="connsiteY12591" fmla="*/ 266067 h 4367670"/>
              <a:gd name="connsiteX12592" fmla="*/ 4299741 w 5365133"/>
              <a:gd name="connsiteY12592" fmla="*/ 265377 h 4367670"/>
              <a:gd name="connsiteX12593" fmla="*/ 4289862 w 5365133"/>
              <a:gd name="connsiteY12593" fmla="*/ 262966 h 4367670"/>
              <a:gd name="connsiteX12594" fmla="*/ 4284521 w 5365133"/>
              <a:gd name="connsiteY12594" fmla="*/ 272984 h 4367670"/>
              <a:gd name="connsiteX12595" fmla="*/ 4288203 w 5365133"/>
              <a:gd name="connsiteY12595" fmla="*/ 271908 h 4367670"/>
              <a:gd name="connsiteX12596" fmla="*/ 4293942 w 5365133"/>
              <a:gd name="connsiteY12596" fmla="*/ 280280 h 4367670"/>
              <a:gd name="connsiteX12597" fmla="*/ 4282463 w 5365133"/>
              <a:gd name="connsiteY12597" fmla="*/ 286976 h 4367670"/>
              <a:gd name="connsiteX12598" fmla="*/ 4288203 w 5365133"/>
              <a:gd name="connsiteY12598" fmla="*/ 273583 h 4367670"/>
              <a:gd name="connsiteX12599" fmla="*/ 4282463 w 5365133"/>
              <a:gd name="connsiteY12599" fmla="*/ 273583 h 4367670"/>
              <a:gd name="connsiteX12600" fmla="*/ 4284408 w 5365133"/>
              <a:gd name="connsiteY12600" fmla="*/ 273015 h 4367670"/>
              <a:gd name="connsiteX12601" fmla="*/ 4282203 w 5365133"/>
              <a:gd name="connsiteY12601" fmla="*/ 266415 h 4367670"/>
              <a:gd name="connsiteX12602" fmla="*/ 4284399 w 5365133"/>
              <a:gd name="connsiteY12602" fmla="*/ 255462 h 4367670"/>
              <a:gd name="connsiteX12603" fmla="*/ 4284445 w 5365133"/>
              <a:gd name="connsiteY12603" fmla="*/ 255233 h 4367670"/>
              <a:gd name="connsiteX12604" fmla="*/ 4284399 w 5365133"/>
              <a:gd name="connsiteY12604" fmla="*/ 255462 h 4367670"/>
              <a:gd name="connsiteX12605" fmla="*/ 4284320 w 5365133"/>
              <a:gd name="connsiteY12605" fmla="*/ 255466 h 4367670"/>
              <a:gd name="connsiteX12606" fmla="*/ 4474734 w 5365133"/>
              <a:gd name="connsiteY12606" fmla="*/ 249668 h 4367670"/>
              <a:gd name="connsiteX12607" fmla="*/ 4451777 w 5365133"/>
              <a:gd name="connsiteY12607" fmla="*/ 261147 h 4367670"/>
              <a:gd name="connsiteX12608" fmla="*/ 4474734 w 5365133"/>
              <a:gd name="connsiteY12608" fmla="*/ 249668 h 4367670"/>
              <a:gd name="connsiteX12609" fmla="*/ 3936661 w 5365133"/>
              <a:gd name="connsiteY12609" fmla="*/ 249668 h 4367670"/>
              <a:gd name="connsiteX12610" fmla="*/ 3942880 w 5365133"/>
              <a:gd name="connsiteY12610" fmla="*/ 249668 h 4367670"/>
              <a:gd name="connsiteX12611" fmla="*/ 3942880 w 5365133"/>
              <a:gd name="connsiteY12611" fmla="*/ 255408 h 4367670"/>
              <a:gd name="connsiteX12612" fmla="*/ 3930810 w 5365133"/>
              <a:gd name="connsiteY12612" fmla="*/ 259121 h 4367670"/>
              <a:gd name="connsiteX12613" fmla="*/ 3082916 w 5365133"/>
              <a:gd name="connsiteY12613" fmla="*/ 249668 h 4367670"/>
              <a:gd name="connsiteX12614" fmla="*/ 3062827 w 5365133"/>
              <a:gd name="connsiteY12614" fmla="*/ 261147 h 4367670"/>
              <a:gd name="connsiteX12615" fmla="*/ 3082916 w 5365133"/>
              <a:gd name="connsiteY12615" fmla="*/ 249668 h 4367670"/>
              <a:gd name="connsiteX12616" fmla="*/ 4738774 w 5365133"/>
              <a:gd name="connsiteY12616" fmla="*/ 243303 h 4367670"/>
              <a:gd name="connsiteX12617" fmla="*/ 4705351 w 5365133"/>
              <a:gd name="connsiteY12617" fmla="*/ 258756 h 4367670"/>
              <a:gd name="connsiteX12618" fmla="*/ 4714115 w 5365133"/>
              <a:gd name="connsiteY12618" fmla="*/ 250014 h 4367670"/>
              <a:gd name="connsiteX12619" fmla="*/ 4738774 w 5365133"/>
              <a:gd name="connsiteY12619" fmla="*/ 243303 h 4367670"/>
              <a:gd name="connsiteX12620" fmla="*/ 4655081 w 5365133"/>
              <a:gd name="connsiteY12620" fmla="*/ 243303 h 4367670"/>
              <a:gd name="connsiteX12621" fmla="*/ 4656169 w 5365133"/>
              <a:gd name="connsiteY12621" fmla="*/ 243569 h 4367670"/>
              <a:gd name="connsiteX12622" fmla="*/ 4652742 w 5365133"/>
              <a:gd name="connsiteY12622" fmla="*/ 244860 h 4367670"/>
              <a:gd name="connsiteX12623" fmla="*/ 3972533 w 5365133"/>
              <a:gd name="connsiteY12623" fmla="*/ 238190 h 4367670"/>
              <a:gd name="connsiteX12624" fmla="*/ 3949574 w 5365133"/>
              <a:gd name="connsiteY12624" fmla="*/ 243929 h 4367670"/>
              <a:gd name="connsiteX12625" fmla="*/ 3972533 w 5365133"/>
              <a:gd name="connsiteY12625" fmla="*/ 238190 h 4367670"/>
              <a:gd name="connsiteX12626" fmla="*/ 3232142 w 5365133"/>
              <a:gd name="connsiteY12626" fmla="*/ 238190 h 4367670"/>
              <a:gd name="connsiteX12627" fmla="*/ 3212053 w 5365133"/>
              <a:gd name="connsiteY12627" fmla="*/ 249668 h 4367670"/>
              <a:gd name="connsiteX12628" fmla="*/ 3232142 w 5365133"/>
              <a:gd name="connsiteY12628" fmla="*/ 238190 h 4367670"/>
              <a:gd name="connsiteX12629" fmla="*/ 3417698 w 5365133"/>
              <a:gd name="connsiteY12629" fmla="*/ 233957 h 4367670"/>
              <a:gd name="connsiteX12630" fmla="*/ 3427284 w 5365133"/>
              <a:gd name="connsiteY12630" fmla="*/ 238477 h 4367670"/>
              <a:gd name="connsiteX12631" fmla="*/ 3387122 w 5365133"/>
              <a:gd name="connsiteY12631" fmla="*/ 261272 h 4367670"/>
              <a:gd name="connsiteX12632" fmla="*/ 3387823 w 5365133"/>
              <a:gd name="connsiteY12632" fmla="*/ 267006 h 4367670"/>
              <a:gd name="connsiteX12633" fmla="*/ 3392845 w 5365133"/>
              <a:gd name="connsiteY12633" fmla="*/ 267843 h 4367670"/>
              <a:gd name="connsiteX12634" fmla="*/ 3375627 w 5365133"/>
              <a:gd name="connsiteY12634" fmla="*/ 281236 h 4367670"/>
              <a:gd name="connsiteX12635" fmla="*/ 3381366 w 5365133"/>
              <a:gd name="connsiteY12635" fmla="*/ 274541 h 4367670"/>
              <a:gd name="connsiteX12636" fmla="*/ 3387032 w 5365133"/>
              <a:gd name="connsiteY12636" fmla="*/ 261322 h 4367670"/>
              <a:gd name="connsiteX12637" fmla="*/ 3374193 w 5365133"/>
              <a:gd name="connsiteY12637" fmla="*/ 268610 h 4367670"/>
              <a:gd name="connsiteX12638" fmla="*/ 3368295 w 5365133"/>
              <a:gd name="connsiteY12638" fmla="*/ 262582 h 4367670"/>
              <a:gd name="connsiteX12639" fmla="*/ 3356498 w 5365133"/>
              <a:gd name="connsiteY12639" fmla="*/ 274637 h 4367670"/>
              <a:gd name="connsiteX12640" fmla="*/ 3362397 w 5365133"/>
              <a:gd name="connsiteY12640" fmla="*/ 286688 h 4367670"/>
              <a:gd name="connsiteX12641" fmla="*/ 3344699 w 5365133"/>
              <a:gd name="connsiteY12641" fmla="*/ 292715 h 4367670"/>
              <a:gd name="connsiteX12642" fmla="*/ 3356498 w 5365133"/>
              <a:gd name="connsiteY12642" fmla="*/ 280661 h 4367670"/>
              <a:gd name="connsiteX12643" fmla="*/ 3327001 w 5365133"/>
              <a:gd name="connsiteY12643" fmla="*/ 280661 h 4367670"/>
              <a:gd name="connsiteX12644" fmla="*/ 3332901 w 5365133"/>
              <a:gd name="connsiteY12644" fmla="*/ 274637 h 4367670"/>
              <a:gd name="connsiteX12645" fmla="*/ 3333456 w 5365133"/>
              <a:gd name="connsiteY12645" fmla="*/ 268893 h 4367670"/>
              <a:gd name="connsiteX12646" fmla="*/ 3344699 w 5365133"/>
              <a:gd name="connsiteY12646" fmla="*/ 274637 h 4367670"/>
              <a:gd name="connsiteX12647" fmla="*/ 3403688 w 5365133"/>
              <a:gd name="connsiteY12647" fmla="*/ 238477 h 4367670"/>
              <a:gd name="connsiteX12648" fmla="*/ 3417698 w 5365133"/>
              <a:gd name="connsiteY12648" fmla="*/ 233957 h 4367670"/>
              <a:gd name="connsiteX12649" fmla="*/ 3068565 w 5365133"/>
              <a:gd name="connsiteY12649" fmla="*/ 232450 h 4367670"/>
              <a:gd name="connsiteX12650" fmla="*/ 3022648 w 5365133"/>
              <a:gd name="connsiteY12650" fmla="*/ 261147 h 4367670"/>
              <a:gd name="connsiteX12651" fmla="*/ 3068565 w 5365133"/>
              <a:gd name="connsiteY12651" fmla="*/ 232450 h 4367670"/>
              <a:gd name="connsiteX12652" fmla="*/ 3221470 w 5365133"/>
              <a:gd name="connsiteY12652" fmla="*/ 227787 h 4367670"/>
              <a:gd name="connsiteX12653" fmla="*/ 3226402 w 5365133"/>
              <a:gd name="connsiteY12653" fmla="*/ 232450 h 4367670"/>
              <a:gd name="connsiteX12654" fmla="*/ 3194835 w 5365133"/>
              <a:gd name="connsiteY12654" fmla="*/ 243929 h 4367670"/>
              <a:gd name="connsiteX12655" fmla="*/ 3210619 w 5365133"/>
              <a:gd name="connsiteY12655" fmla="*/ 229579 h 4367670"/>
              <a:gd name="connsiteX12656" fmla="*/ 3221470 w 5365133"/>
              <a:gd name="connsiteY12656" fmla="*/ 227787 h 4367670"/>
              <a:gd name="connsiteX12657" fmla="*/ 3332581 w 5365133"/>
              <a:gd name="connsiteY12657" fmla="*/ 226710 h 4367670"/>
              <a:gd name="connsiteX12658" fmla="*/ 3298145 w 5365133"/>
              <a:gd name="connsiteY12658" fmla="*/ 249668 h 4367670"/>
              <a:gd name="connsiteX12659" fmla="*/ 3332581 w 5365133"/>
              <a:gd name="connsiteY12659" fmla="*/ 226710 h 4367670"/>
              <a:gd name="connsiteX12660" fmla="*/ 4624537 w 5365133"/>
              <a:gd name="connsiteY12660" fmla="*/ 225868 h 4367670"/>
              <a:gd name="connsiteX12661" fmla="*/ 4600432 w 5365133"/>
              <a:gd name="connsiteY12661" fmla="*/ 238021 h 4367670"/>
              <a:gd name="connsiteX12662" fmla="*/ 4497982 w 5365133"/>
              <a:gd name="connsiteY12662" fmla="*/ 268407 h 4367670"/>
              <a:gd name="connsiteX12663" fmla="*/ 4624537 w 5365133"/>
              <a:gd name="connsiteY12663" fmla="*/ 225868 h 4367670"/>
              <a:gd name="connsiteX12664" fmla="*/ 4708883 w 5365133"/>
              <a:gd name="connsiteY12664" fmla="*/ 225410 h 4367670"/>
              <a:gd name="connsiteX12665" fmla="*/ 4702309 w 5365133"/>
              <a:gd name="connsiteY12665" fmla="*/ 231973 h 4367670"/>
              <a:gd name="connsiteX12666" fmla="*/ 4694305 w 5365133"/>
              <a:gd name="connsiteY12666" fmla="*/ 236698 h 4367670"/>
              <a:gd name="connsiteX12667" fmla="*/ 4687027 w 5365133"/>
              <a:gd name="connsiteY12667" fmla="*/ 234917 h 4367670"/>
              <a:gd name="connsiteX12668" fmla="*/ 4664981 w 5365133"/>
              <a:gd name="connsiteY12668" fmla="*/ 245726 h 4367670"/>
              <a:gd name="connsiteX12669" fmla="*/ 4656169 w 5365133"/>
              <a:gd name="connsiteY12669" fmla="*/ 243569 h 4367670"/>
              <a:gd name="connsiteX12670" fmla="*/ 4664795 w 5365133"/>
              <a:gd name="connsiteY12670" fmla="*/ 240320 h 4367670"/>
              <a:gd name="connsiteX12671" fmla="*/ 4708883 w 5365133"/>
              <a:gd name="connsiteY12671" fmla="*/ 225410 h 4367670"/>
              <a:gd name="connsiteX12672" fmla="*/ 3134569 w 5365133"/>
              <a:gd name="connsiteY12672" fmla="*/ 220971 h 4367670"/>
              <a:gd name="connsiteX12673" fmla="*/ 3117350 w 5365133"/>
              <a:gd name="connsiteY12673" fmla="*/ 232450 h 4367670"/>
              <a:gd name="connsiteX12674" fmla="*/ 3117350 w 5365133"/>
              <a:gd name="connsiteY12674" fmla="*/ 226710 h 4367670"/>
              <a:gd name="connsiteX12675" fmla="*/ 3134569 w 5365133"/>
              <a:gd name="connsiteY12675" fmla="*/ 220971 h 4367670"/>
              <a:gd name="connsiteX12676" fmla="*/ 4665423 w 5365133"/>
              <a:gd name="connsiteY12676" fmla="*/ 220934 h 4367670"/>
              <a:gd name="connsiteX12677" fmla="*/ 4665027 w 5365133"/>
              <a:gd name="connsiteY12677" fmla="*/ 221310 h 4367670"/>
              <a:gd name="connsiteX12678" fmla="*/ 4664793 w 5365133"/>
              <a:gd name="connsiteY12678" fmla="*/ 221228 h 4367670"/>
              <a:gd name="connsiteX12679" fmla="*/ 4385776 w 5365133"/>
              <a:gd name="connsiteY12679" fmla="*/ 215231 h 4367670"/>
              <a:gd name="connsiteX12680" fmla="*/ 4342728 w 5365133"/>
              <a:gd name="connsiteY12680" fmla="*/ 232450 h 4367670"/>
              <a:gd name="connsiteX12681" fmla="*/ 4343267 w 5365133"/>
              <a:gd name="connsiteY12681" fmla="*/ 231801 h 4367670"/>
              <a:gd name="connsiteX12682" fmla="*/ 4344225 w 5365133"/>
              <a:gd name="connsiteY12682" fmla="*/ 231376 h 4367670"/>
              <a:gd name="connsiteX12683" fmla="*/ 4343701 w 5365133"/>
              <a:gd name="connsiteY12683" fmla="*/ 231278 h 4367670"/>
              <a:gd name="connsiteX12684" fmla="*/ 4350320 w 5365133"/>
              <a:gd name="connsiteY12684" fmla="*/ 223303 h 4367670"/>
              <a:gd name="connsiteX12685" fmla="*/ 4385776 w 5365133"/>
              <a:gd name="connsiteY12685" fmla="*/ 215231 h 4367670"/>
              <a:gd name="connsiteX12686" fmla="*/ 3480911 w 5365133"/>
              <a:gd name="connsiteY12686" fmla="*/ 214424 h 4367670"/>
              <a:gd name="connsiteX12687" fmla="*/ 3481808 w 5365133"/>
              <a:gd name="connsiteY12687" fmla="*/ 220971 h 4367670"/>
              <a:gd name="connsiteX12688" fmla="*/ 3464589 w 5365133"/>
              <a:gd name="connsiteY12688" fmla="*/ 226710 h 4367670"/>
              <a:gd name="connsiteX12689" fmla="*/ 3470329 w 5365133"/>
              <a:gd name="connsiteY12689" fmla="*/ 215231 h 4367670"/>
              <a:gd name="connsiteX12690" fmla="*/ 3476068 w 5365133"/>
              <a:gd name="connsiteY12690" fmla="*/ 215231 h 4367670"/>
              <a:gd name="connsiteX12691" fmla="*/ 3480911 w 5365133"/>
              <a:gd name="connsiteY12691" fmla="*/ 214424 h 4367670"/>
              <a:gd name="connsiteX12692" fmla="*/ 4480474 w 5365133"/>
              <a:gd name="connsiteY12692" fmla="*/ 209492 h 4367670"/>
              <a:gd name="connsiteX12693" fmla="*/ 4486214 w 5365133"/>
              <a:gd name="connsiteY12693" fmla="*/ 209492 h 4367670"/>
              <a:gd name="connsiteX12694" fmla="*/ 4474734 w 5365133"/>
              <a:gd name="connsiteY12694" fmla="*/ 215231 h 4367670"/>
              <a:gd name="connsiteX12695" fmla="*/ 4480474 w 5365133"/>
              <a:gd name="connsiteY12695" fmla="*/ 209492 h 4367670"/>
              <a:gd name="connsiteX12696" fmla="*/ 3260837 w 5365133"/>
              <a:gd name="connsiteY12696" fmla="*/ 209492 h 4367670"/>
              <a:gd name="connsiteX12697" fmla="*/ 3260837 w 5365133"/>
              <a:gd name="connsiteY12697" fmla="*/ 215231 h 4367670"/>
              <a:gd name="connsiteX12698" fmla="*/ 3243619 w 5365133"/>
              <a:gd name="connsiteY12698" fmla="*/ 220971 h 4367670"/>
              <a:gd name="connsiteX12699" fmla="*/ 3260837 w 5365133"/>
              <a:gd name="connsiteY12699" fmla="*/ 209492 h 4367670"/>
              <a:gd name="connsiteX12700" fmla="*/ 3160398 w 5365133"/>
              <a:gd name="connsiteY12700" fmla="*/ 209492 h 4367670"/>
              <a:gd name="connsiteX12701" fmla="*/ 3147006 w 5365133"/>
              <a:gd name="connsiteY12701" fmla="*/ 226710 h 4367670"/>
              <a:gd name="connsiteX12702" fmla="*/ 3140309 w 5365133"/>
              <a:gd name="connsiteY12702" fmla="*/ 220971 h 4367670"/>
              <a:gd name="connsiteX12703" fmla="*/ 3160398 w 5365133"/>
              <a:gd name="connsiteY12703" fmla="*/ 209492 h 4367670"/>
              <a:gd name="connsiteX12704" fmla="*/ 3128829 w 5365133"/>
              <a:gd name="connsiteY12704" fmla="*/ 209492 h 4367670"/>
              <a:gd name="connsiteX12705" fmla="*/ 3111611 w 5365133"/>
              <a:gd name="connsiteY12705" fmla="*/ 220971 h 4367670"/>
              <a:gd name="connsiteX12706" fmla="*/ 3128829 w 5365133"/>
              <a:gd name="connsiteY12706" fmla="*/ 209492 h 4367670"/>
              <a:gd name="connsiteX12707" fmla="*/ 4690895 w 5365133"/>
              <a:gd name="connsiteY12707" fmla="*/ 209051 h 4367670"/>
              <a:gd name="connsiteX12708" fmla="*/ 4684801 w 5365133"/>
              <a:gd name="connsiteY12708" fmla="*/ 213713 h 4367670"/>
              <a:gd name="connsiteX12709" fmla="*/ 4684069 w 5365133"/>
              <a:gd name="connsiteY12709" fmla="*/ 212236 h 4367670"/>
              <a:gd name="connsiteX12710" fmla="*/ 4666722 w 5365133"/>
              <a:gd name="connsiteY12710" fmla="*/ 207635 h 4367670"/>
              <a:gd name="connsiteX12711" fmla="*/ 4660695 w 5365133"/>
              <a:gd name="connsiteY12711" fmla="*/ 219791 h 4367670"/>
              <a:gd name="connsiteX12712" fmla="*/ 4664793 w 5365133"/>
              <a:gd name="connsiteY12712" fmla="*/ 221228 h 4367670"/>
              <a:gd name="connsiteX12713" fmla="*/ 4622278 w 5365133"/>
              <a:gd name="connsiteY12713" fmla="*/ 241060 h 4367670"/>
              <a:gd name="connsiteX12714" fmla="*/ 4497982 w 5365133"/>
              <a:gd name="connsiteY12714" fmla="*/ 292715 h 4367670"/>
              <a:gd name="connsiteX12715" fmla="*/ 4504009 w 5365133"/>
              <a:gd name="connsiteY12715" fmla="*/ 280561 h 4367670"/>
              <a:gd name="connsiteX12716" fmla="*/ 4600432 w 5365133"/>
              <a:gd name="connsiteY12716" fmla="*/ 238021 h 4367670"/>
              <a:gd name="connsiteX12717" fmla="*/ 4630563 w 5365133"/>
              <a:gd name="connsiteY12717" fmla="*/ 219791 h 4367670"/>
              <a:gd name="connsiteX12718" fmla="*/ 4666722 w 5365133"/>
              <a:gd name="connsiteY12718" fmla="*/ 207635 h 4367670"/>
              <a:gd name="connsiteX12719" fmla="*/ 3177614 w 5365133"/>
              <a:gd name="connsiteY12719" fmla="*/ 203752 h 4367670"/>
              <a:gd name="connsiteX12720" fmla="*/ 3171875 w 5365133"/>
              <a:gd name="connsiteY12720" fmla="*/ 215231 h 4367670"/>
              <a:gd name="connsiteX12721" fmla="*/ 3166136 w 5365133"/>
              <a:gd name="connsiteY12721" fmla="*/ 209492 h 4367670"/>
              <a:gd name="connsiteX12722" fmla="*/ 3177614 w 5365133"/>
              <a:gd name="connsiteY12722" fmla="*/ 203752 h 4367670"/>
              <a:gd name="connsiteX12723" fmla="*/ 4678774 w 5365133"/>
              <a:gd name="connsiteY12723" fmla="*/ 201558 h 4367670"/>
              <a:gd name="connsiteX12724" fmla="*/ 4684069 w 5365133"/>
              <a:gd name="connsiteY12724" fmla="*/ 212236 h 4367670"/>
              <a:gd name="connsiteX12725" fmla="*/ 4665423 w 5365133"/>
              <a:gd name="connsiteY12725" fmla="*/ 220934 h 4367670"/>
              <a:gd name="connsiteX12726" fmla="*/ 4668229 w 5365133"/>
              <a:gd name="connsiteY12726" fmla="*/ 218271 h 4367670"/>
              <a:gd name="connsiteX12727" fmla="*/ 4666722 w 5365133"/>
              <a:gd name="connsiteY12727" fmla="*/ 207635 h 4367670"/>
              <a:gd name="connsiteX12728" fmla="*/ 4672749 w 5365133"/>
              <a:gd name="connsiteY12728" fmla="*/ 213713 h 4367670"/>
              <a:gd name="connsiteX12729" fmla="*/ 4678774 w 5365133"/>
              <a:gd name="connsiteY12729" fmla="*/ 201558 h 4367670"/>
              <a:gd name="connsiteX12730" fmla="*/ 4750730 w 5365133"/>
              <a:gd name="connsiteY12730" fmla="*/ 201556 h 4367670"/>
              <a:gd name="connsiteX12731" fmla="*/ 4762686 w 5365133"/>
              <a:gd name="connsiteY12731" fmla="*/ 207520 h 4367670"/>
              <a:gd name="connsiteX12732" fmla="*/ 4678993 w 5365133"/>
              <a:gd name="connsiteY12732" fmla="*/ 255233 h 4367670"/>
              <a:gd name="connsiteX12733" fmla="*/ 4688708 w 5365133"/>
              <a:gd name="connsiteY12733" fmla="*/ 258213 h 4367670"/>
              <a:gd name="connsiteX12734" fmla="*/ 4700958 w 5365133"/>
              <a:gd name="connsiteY12734" fmla="*/ 260787 h 4367670"/>
              <a:gd name="connsiteX12735" fmla="*/ 4677500 w 5365133"/>
              <a:gd name="connsiteY12735" fmla="*/ 271632 h 4367670"/>
              <a:gd name="connsiteX12736" fmla="*/ 4607257 w 5365133"/>
              <a:gd name="connsiteY12736" fmla="*/ 291016 h 4367670"/>
              <a:gd name="connsiteX12737" fmla="*/ 4579144 w 5365133"/>
              <a:gd name="connsiteY12737" fmla="*/ 300365 h 4367670"/>
              <a:gd name="connsiteX12738" fmla="*/ 4585587 w 5365133"/>
              <a:gd name="connsiteY12738" fmla="*/ 291016 h 4367670"/>
              <a:gd name="connsiteX12739" fmla="*/ 4589323 w 5365133"/>
              <a:gd name="connsiteY12739" fmla="*/ 279087 h 4367670"/>
              <a:gd name="connsiteX12740" fmla="*/ 4595301 w 5365133"/>
              <a:gd name="connsiteY12740" fmla="*/ 291016 h 4367670"/>
              <a:gd name="connsiteX12741" fmla="*/ 4607257 w 5365133"/>
              <a:gd name="connsiteY12741" fmla="*/ 285052 h 4367670"/>
              <a:gd name="connsiteX12742" fmla="*/ 4595301 w 5365133"/>
              <a:gd name="connsiteY12742" fmla="*/ 279087 h 4367670"/>
              <a:gd name="connsiteX12743" fmla="*/ 4613236 w 5365133"/>
              <a:gd name="connsiteY12743" fmla="*/ 273123 h 4367670"/>
              <a:gd name="connsiteX12744" fmla="*/ 4613236 w 5365133"/>
              <a:gd name="connsiteY12744" fmla="*/ 285052 h 4367670"/>
              <a:gd name="connsiteX12745" fmla="*/ 4637148 w 5365133"/>
              <a:gd name="connsiteY12745" fmla="*/ 279087 h 4367670"/>
              <a:gd name="connsiteX12746" fmla="*/ 4643126 w 5365133"/>
              <a:gd name="connsiteY12746" fmla="*/ 273123 h 4367670"/>
              <a:gd name="connsiteX12747" fmla="*/ 4637148 w 5365133"/>
              <a:gd name="connsiteY12747" fmla="*/ 279087 h 4367670"/>
              <a:gd name="connsiteX12748" fmla="*/ 4613236 w 5365133"/>
              <a:gd name="connsiteY12748" fmla="*/ 273123 h 4367670"/>
              <a:gd name="connsiteX12749" fmla="*/ 4625192 w 5365133"/>
              <a:gd name="connsiteY12749" fmla="*/ 261196 h 4367670"/>
              <a:gd name="connsiteX12750" fmla="*/ 4631170 w 5365133"/>
              <a:gd name="connsiteY12750" fmla="*/ 267160 h 4367670"/>
              <a:gd name="connsiteX12751" fmla="*/ 4637148 w 5365133"/>
              <a:gd name="connsiteY12751" fmla="*/ 267160 h 4367670"/>
              <a:gd name="connsiteX12752" fmla="*/ 4625192 w 5365133"/>
              <a:gd name="connsiteY12752" fmla="*/ 255233 h 4367670"/>
              <a:gd name="connsiteX12753" fmla="*/ 4652742 w 5365133"/>
              <a:gd name="connsiteY12753" fmla="*/ 244860 h 4367670"/>
              <a:gd name="connsiteX12754" fmla="*/ 4637148 w 5365133"/>
              <a:gd name="connsiteY12754" fmla="*/ 255233 h 4367670"/>
              <a:gd name="connsiteX12755" fmla="*/ 4643126 w 5365133"/>
              <a:gd name="connsiteY12755" fmla="*/ 266415 h 4367670"/>
              <a:gd name="connsiteX12756" fmla="*/ 4643754 w 5365133"/>
              <a:gd name="connsiteY12756" fmla="*/ 267118 h 4367670"/>
              <a:gd name="connsiteX12757" fmla="*/ 4643126 w 5365133"/>
              <a:gd name="connsiteY12757" fmla="*/ 267160 h 4367670"/>
              <a:gd name="connsiteX12758" fmla="*/ 4644157 w 5365133"/>
              <a:gd name="connsiteY12758" fmla="*/ 267571 h 4367670"/>
              <a:gd name="connsiteX12759" fmla="*/ 4649103 w 5365133"/>
              <a:gd name="connsiteY12759" fmla="*/ 273123 h 4367670"/>
              <a:gd name="connsiteX12760" fmla="*/ 4650597 w 5365133"/>
              <a:gd name="connsiteY12760" fmla="*/ 270141 h 4367670"/>
              <a:gd name="connsiteX12761" fmla="*/ 4644157 w 5365133"/>
              <a:gd name="connsiteY12761" fmla="*/ 267571 h 4367670"/>
              <a:gd name="connsiteX12762" fmla="*/ 4643754 w 5365133"/>
              <a:gd name="connsiteY12762" fmla="*/ 267118 h 4367670"/>
              <a:gd name="connsiteX12763" fmla="*/ 4654334 w 5365133"/>
              <a:gd name="connsiteY12763" fmla="*/ 266415 h 4367670"/>
              <a:gd name="connsiteX12764" fmla="*/ 4661059 w 5365133"/>
              <a:gd name="connsiteY12764" fmla="*/ 261196 h 4367670"/>
              <a:gd name="connsiteX12765" fmla="*/ 4661059 w 5365133"/>
              <a:gd name="connsiteY12765" fmla="*/ 267160 h 4367670"/>
              <a:gd name="connsiteX12766" fmla="*/ 4673014 w 5365133"/>
              <a:gd name="connsiteY12766" fmla="*/ 261196 h 4367670"/>
              <a:gd name="connsiteX12767" fmla="*/ 4667037 w 5365133"/>
              <a:gd name="connsiteY12767" fmla="*/ 255233 h 4367670"/>
              <a:gd name="connsiteX12768" fmla="*/ 4673014 w 5365133"/>
              <a:gd name="connsiteY12768" fmla="*/ 249267 h 4367670"/>
              <a:gd name="connsiteX12769" fmla="*/ 4694305 w 5365133"/>
              <a:gd name="connsiteY12769" fmla="*/ 236698 h 4367670"/>
              <a:gd name="connsiteX12770" fmla="*/ 4696928 w 5365133"/>
              <a:gd name="connsiteY12770" fmla="*/ 237340 h 4367670"/>
              <a:gd name="connsiteX12771" fmla="*/ 4702309 w 5365133"/>
              <a:gd name="connsiteY12771" fmla="*/ 231973 h 4367670"/>
              <a:gd name="connsiteX12772" fmla="*/ 4709632 w 5365133"/>
              <a:gd name="connsiteY12772" fmla="*/ 227648 h 4367670"/>
              <a:gd name="connsiteX12773" fmla="*/ 4750730 w 5365133"/>
              <a:gd name="connsiteY12773" fmla="*/ 201556 h 4367670"/>
              <a:gd name="connsiteX12774" fmla="*/ 3453739 w 5365133"/>
              <a:gd name="connsiteY12774" fmla="*/ 199402 h 4367670"/>
              <a:gd name="connsiteX12775" fmla="*/ 3458850 w 5365133"/>
              <a:gd name="connsiteY12775" fmla="*/ 202317 h 4367670"/>
              <a:gd name="connsiteX12776" fmla="*/ 3441632 w 5365133"/>
              <a:gd name="connsiteY12776" fmla="*/ 209492 h 4367670"/>
              <a:gd name="connsiteX12777" fmla="*/ 3448089 w 5365133"/>
              <a:gd name="connsiteY12777" fmla="*/ 200524 h 4367670"/>
              <a:gd name="connsiteX12778" fmla="*/ 3453739 w 5365133"/>
              <a:gd name="connsiteY12778" fmla="*/ 199402 h 4367670"/>
              <a:gd name="connsiteX12779" fmla="*/ 3147962 w 5365133"/>
              <a:gd name="connsiteY12779" fmla="*/ 195142 h 4367670"/>
              <a:gd name="connsiteX12780" fmla="*/ 3134569 w 5365133"/>
              <a:gd name="connsiteY12780" fmla="*/ 209492 h 4367670"/>
              <a:gd name="connsiteX12781" fmla="*/ 3147962 w 5365133"/>
              <a:gd name="connsiteY12781" fmla="*/ 195142 h 4367670"/>
              <a:gd name="connsiteX12782" fmla="*/ 4465934 w 5365133"/>
              <a:gd name="connsiteY12782" fmla="*/ 190746 h 4367670"/>
              <a:gd name="connsiteX12783" fmla="*/ 4475741 w 5365133"/>
              <a:gd name="connsiteY12783" fmla="*/ 195591 h 4367670"/>
              <a:gd name="connsiteX12784" fmla="*/ 4447346 w 5365133"/>
              <a:gd name="connsiteY12784" fmla="*/ 206028 h 4367670"/>
              <a:gd name="connsiteX12785" fmla="*/ 4432402 w 5365133"/>
              <a:gd name="connsiteY12785" fmla="*/ 220938 h 4367670"/>
              <a:gd name="connsiteX12786" fmla="*/ 4430907 w 5365133"/>
              <a:gd name="connsiteY12786" fmla="*/ 216466 h 4367670"/>
              <a:gd name="connsiteX12787" fmla="*/ 4427917 w 5365133"/>
              <a:gd name="connsiteY12787" fmla="*/ 225410 h 4367670"/>
              <a:gd name="connsiteX12788" fmla="*/ 4432402 w 5365133"/>
              <a:gd name="connsiteY12788" fmla="*/ 220938 h 4367670"/>
              <a:gd name="connsiteX12789" fmla="*/ 4433895 w 5365133"/>
              <a:gd name="connsiteY12789" fmla="*/ 225410 h 4367670"/>
              <a:gd name="connsiteX12790" fmla="*/ 4445851 w 5365133"/>
              <a:gd name="connsiteY12790" fmla="*/ 219447 h 4367670"/>
              <a:gd name="connsiteX12791" fmla="*/ 4469763 w 5365133"/>
              <a:gd name="connsiteY12791" fmla="*/ 201556 h 4367670"/>
              <a:gd name="connsiteX12792" fmla="*/ 4469763 w 5365133"/>
              <a:gd name="connsiteY12792" fmla="*/ 213483 h 4367670"/>
              <a:gd name="connsiteX12793" fmla="*/ 4338248 w 5365133"/>
              <a:gd name="connsiteY12793" fmla="*/ 267160 h 4367670"/>
              <a:gd name="connsiteX12794" fmla="*/ 4326291 w 5365133"/>
              <a:gd name="connsiteY12794" fmla="*/ 285052 h 4367670"/>
              <a:gd name="connsiteX12795" fmla="*/ 4326291 w 5365133"/>
              <a:gd name="connsiteY12795" fmla="*/ 279087 h 4367670"/>
              <a:gd name="connsiteX12796" fmla="*/ 4308357 w 5365133"/>
              <a:gd name="connsiteY12796" fmla="*/ 273123 h 4367670"/>
              <a:gd name="connsiteX12797" fmla="*/ 4320313 w 5365133"/>
              <a:gd name="connsiteY12797" fmla="*/ 279087 h 4367670"/>
              <a:gd name="connsiteX12798" fmla="*/ 4338248 w 5365133"/>
              <a:gd name="connsiteY12798" fmla="*/ 261196 h 4367670"/>
              <a:gd name="connsiteX12799" fmla="*/ 4332270 w 5365133"/>
              <a:gd name="connsiteY12799" fmla="*/ 261196 h 4367670"/>
              <a:gd name="connsiteX12800" fmla="*/ 4350203 w 5365133"/>
              <a:gd name="connsiteY12800" fmla="*/ 261196 h 4367670"/>
              <a:gd name="connsiteX12801" fmla="*/ 4374116 w 5365133"/>
              <a:gd name="connsiteY12801" fmla="*/ 237340 h 4367670"/>
              <a:gd name="connsiteX12802" fmla="*/ 4374116 w 5365133"/>
              <a:gd name="connsiteY12802" fmla="*/ 249267 h 4367670"/>
              <a:gd name="connsiteX12803" fmla="*/ 4392048 w 5365133"/>
              <a:gd name="connsiteY12803" fmla="*/ 231376 h 4367670"/>
              <a:gd name="connsiteX12804" fmla="*/ 4392048 w 5365133"/>
              <a:gd name="connsiteY12804" fmla="*/ 237340 h 4367670"/>
              <a:gd name="connsiteX12805" fmla="*/ 4427917 w 5365133"/>
              <a:gd name="connsiteY12805" fmla="*/ 213483 h 4367670"/>
              <a:gd name="connsiteX12806" fmla="*/ 4302379 w 5365133"/>
              <a:gd name="connsiteY12806" fmla="*/ 261196 h 4367670"/>
              <a:gd name="connsiteX12807" fmla="*/ 4296401 w 5365133"/>
              <a:gd name="connsiteY12807" fmla="*/ 255233 h 4367670"/>
              <a:gd name="connsiteX12808" fmla="*/ 4314335 w 5365133"/>
              <a:gd name="connsiteY12808" fmla="*/ 249267 h 4367670"/>
              <a:gd name="connsiteX12809" fmla="*/ 4320313 w 5365133"/>
              <a:gd name="connsiteY12809" fmla="*/ 231376 h 4367670"/>
              <a:gd name="connsiteX12810" fmla="*/ 4332270 w 5365133"/>
              <a:gd name="connsiteY12810" fmla="*/ 229139 h 4367670"/>
              <a:gd name="connsiteX12811" fmla="*/ 4343701 w 5365133"/>
              <a:gd name="connsiteY12811" fmla="*/ 231278 h 4367670"/>
              <a:gd name="connsiteX12812" fmla="*/ 4343267 w 5365133"/>
              <a:gd name="connsiteY12812" fmla="*/ 231801 h 4367670"/>
              <a:gd name="connsiteX12813" fmla="*/ 4337500 w 5365133"/>
              <a:gd name="connsiteY12813" fmla="*/ 234358 h 4367670"/>
              <a:gd name="connsiteX12814" fmla="*/ 4326291 w 5365133"/>
              <a:gd name="connsiteY12814" fmla="*/ 237340 h 4367670"/>
              <a:gd name="connsiteX12815" fmla="*/ 4320313 w 5365133"/>
              <a:gd name="connsiteY12815" fmla="*/ 243303 h 4367670"/>
              <a:gd name="connsiteX12816" fmla="*/ 4439873 w 5365133"/>
              <a:gd name="connsiteY12816" fmla="*/ 207520 h 4367670"/>
              <a:gd name="connsiteX12817" fmla="*/ 4455566 w 5365133"/>
              <a:gd name="connsiteY12817" fmla="*/ 192610 h 4367670"/>
              <a:gd name="connsiteX12818" fmla="*/ 4465934 w 5365133"/>
              <a:gd name="connsiteY12818" fmla="*/ 190746 h 4367670"/>
              <a:gd name="connsiteX12819" fmla="*/ 4733012 w 5365133"/>
              <a:gd name="connsiteY12819" fmla="*/ 189405 h 4367670"/>
              <a:gd name="connsiteX12820" fmla="*/ 4690895 w 5365133"/>
              <a:gd name="connsiteY12820" fmla="*/ 209051 h 4367670"/>
              <a:gd name="connsiteX12821" fmla="*/ 4706647 w 5365133"/>
              <a:gd name="connsiteY12821" fmla="*/ 197000 h 4367670"/>
              <a:gd name="connsiteX12822" fmla="*/ 4733012 w 5365133"/>
              <a:gd name="connsiteY12822" fmla="*/ 189405 h 4367670"/>
              <a:gd name="connsiteX12823" fmla="*/ 4509955 w 5365133"/>
              <a:gd name="connsiteY12823" fmla="*/ 184239 h 4367670"/>
              <a:gd name="connsiteX12824" fmla="*/ 4515956 w 5365133"/>
              <a:gd name="connsiteY12824" fmla="*/ 196865 h 4367670"/>
              <a:gd name="connsiteX12825" fmla="*/ 4491953 w 5365133"/>
              <a:gd name="connsiteY12825" fmla="*/ 209492 h 4367670"/>
              <a:gd name="connsiteX12826" fmla="*/ 4509955 w 5365133"/>
              <a:gd name="connsiteY12826" fmla="*/ 184239 h 4367670"/>
              <a:gd name="connsiteX12827" fmla="*/ 4497333 w 5365133"/>
              <a:gd name="connsiteY12827" fmla="*/ 183967 h 4367670"/>
              <a:gd name="connsiteX12828" fmla="*/ 4480476 w 5365133"/>
              <a:gd name="connsiteY12828" fmla="*/ 195144 h 4367670"/>
              <a:gd name="connsiteX12829" fmla="*/ 4496046 w 5365133"/>
              <a:gd name="connsiteY12829" fmla="*/ 184383 h 4367670"/>
              <a:gd name="connsiteX12830" fmla="*/ 3536333 w 5365133"/>
              <a:gd name="connsiteY12830" fmla="*/ 183665 h 4367670"/>
              <a:gd name="connsiteX12831" fmla="*/ 3499026 w 5365133"/>
              <a:gd name="connsiteY12831" fmla="*/ 209494 h 4367670"/>
              <a:gd name="connsiteX12832" fmla="*/ 3517680 w 5365133"/>
              <a:gd name="connsiteY12832" fmla="*/ 190123 h 4367670"/>
              <a:gd name="connsiteX12833" fmla="*/ 3523898 w 5365133"/>
              <a:gd name="connsiteY12833" fmla="*/ 196580 h 4367670"/>
              <a:gd name="connsiteX12834" fmla="*/ 3536333 w 5365133"/>
              <a:gd name="connsiteY12834" fmla="*/ 183665 h 4367670"/>
              <a:gd name="connsiteX12835" fmla="*/ 4514579 w 5365133"/>
              <a:gd name="connsiteY12835" fmla="*/ 182230 h 4367670"/>
              <a:gd name="connsiteX12836" fmla="*/ 4520540 w 5365133"/>
              <a:gd name="connsiteY12836" fmla="*/ 183384 h 4367670"/>
              <a:gd name="connsiteX12837" fmla="*/ 4516061 w 5365133"/>
              <a:gd name="connsiteY12837" fmla="*/ 189405 h 4367670"/>
              <a:gd name="connsiteX12838" fmla="*/ 4514579 w 5365133"/>
              <a:gd name="connsiteY12838" fmla="*/ 182230 h 4367670"/>
              <a:gd name="connsiteX12839" fmla="*/ 4521716 w 5365133"/>
              <a:gd name="connsiteY12839" fmla="*/ 181803 h 4367670"/>
              <a:gd name="connsiteX12840" fmla="*/ 4521991 w 5365133"/>
              <a:gd name="connsiteY12840" fmla="*/ 183665 h 4367670"/>
              <a:gd name="connsiteX12841" fmla="*/ 4520540 w 5365133"/>
              <a:gd name="connsiteY12841" fmla="*/ 183384 h 4367670"/>
              <a:gd name="connsiteX12842" fmla="*/ 4773187 w 5365133"/>
              <a:gd name="connsiteY12842" fmla="*/ 177924 h 4367670"/>
              <a:gd name="connsiteX12843" fmla="*/ 4750229 w 5365133"/>
              <a:gd name="connsiteY12843" fmla="*/ 183663 h 4367670"/>
              <a:gd name="connsiteX12844" fmla="*/ 4773187 w 5365133"/>
              <a:gd name="connsiteY12844" fmla="*/ 177924 h 4367670"/>
              <a:gd name="connsiteX12845" fmla="*/ 3226402 w 5365133"/>
              <a:gd name="connsiteY12845" fmla="*/ 177924 h 4367670"/>
              <a:gd name="connsiteX12846" fmla="*/ 3189095 w 5365133"/>
              <a:gd name="connsiteY12846" fmla="*/ 190838 h 4367670"/>
              <a:gd name="connsiteX12847" fmla="*/ 3226402 w 5365133"/>
              <a:gd name="connsiteY12847" fmla="*/ 177924 h 4367670"/>
              <a:gd name="connsiteX12848" fmla="*/ 3200572 w 5365133"/>
              <a:gd name="connsiteY12848" fmla="*/ 172184 h 4367670"/>
              <a:gd name="connsiteX12849" fmla="*/ 3177614 w 5365133"/>
              <a:gd name="connsiteY12849" fmla="*/ 189403 h 4367670"/>
              <a:gd name="connsiteX12850" fmla="*/ 3200572 w 5365133"/>
              <a:gd name="connsiteY12850" fmla="*/ 172184 h 4367670"/>
              <a:gd name="connsiteX12851" fmla="*/ 3568348 w 5365133"/>
              <a:gd name="connsiteY12851" fmla="*/ 170660 h 4367670"/>
              <a:gd name="connsiteX12852" fmla="*/ 3570769 w 5365133"/>
              <a:gd name="connsiteY12852" fmla="*/ 177924 h 4367670"/>
              <a:gd name="connsiteX12853" fmla="*/ 3547811 w 5365133"/>
              <a:gd name="connsiteY12853" fmla="*/ 183663 h 4367670"/>
              <a:gd name="connsiteX12854" fmla="*/ 3565029 w 5365133"/>
              <a:gd name="connsiteY12854" fmla="*/ 172184 h 4367670"/>
              <a:gd name="connsiteX12855" fmla="*/ 3568348 w 5365133"/>
              <a:gd name="connsiteY12855" fmla="*/ 170660 h 4367670"/>
              <a:gd name="connsiteX12856" fmla="*/ 3254918 w 5365133"/>
              <a:gd name="connsiteY12856" fmla="*/ 165817 h 4367670"/>
              <a:gd name="connsiteX12857" fmla="*/ 3243619 w 5365133"/>
              <a:gd name="connsiteY12857" fmla="*/ 177924 h 4367670"/>
              <a:gd name="connsiteX12858" fmla="*/ 3249359 w 5365133"/>
              <a:gd name="connsiteY12858" fmla="*/ 172184 h 4367670"/>
              <a:gd name="connsiteX12859" fmla="*/ 3249359 w 5365133"/>
              <a:gd name="connsiteY12859" fmla="*/ 166445 h 4367670"/>
              <a:gd name="connsiteX12860" fmla="*/ 3254918 w 5365133"/>
              <a:gd name="connsiteY12860" fmla="*/ 165817 h 4367670"/>
              <a:gd name="connsiteX12861" fmla="*/ 4569438 w 5365133"/>
              <a:gd name="connsiteY12861" fmla="*/ 154968 h 4367670"/>
              <a:gd name="connsiteX12862" fmla="*/ 4526069 w 5365133"/>
              <a:gd name="connsiteY12862" fmla="*/ 175953 h 4367670"/>
              <a:gd name="connsiteX12863" fmla="*/ 4521716 w 5365133"/>
              <a:gd name="connsiteY12863" fmla="*/ 181803 h 4367670"/>
              <a:gd name="connsiteX12864" fmla="*/ 4521250 w 5365133"/>
              <a:gd name="connsiteY12864" fmla="*/ 178643 h 4367670"/>
              <a:gd name="connsiteX12865" fmla="*/ 4516061 w 5365133"/>
              <a:gd name="connsiteY12865" fmla="*/ 177926 h 4367670"/>
              <a:gd name="connsiteX12866" fmla="*/ 4497333 w 5365133"/>
              <a:gd name="connsiteY12866" fmla="*/ 183967 h 4367670"/>
              <a:gd name="connsiteX12867" fmla="*/ 4520509 w 5365133"/>
              <a:gd name="connsiteY12867" fmla="*/ 168600 h 4367670"/>
              <a:gd name="connsiteX12868" fmla="*/ 4569438 w 5365133"/>
              <a:gd name="connsiteY12868" fmla="*/ 154968 h 4367670"/>
              <a:gd name="connsiteX12869" fmla="*/ 3303884 w 5365133"/>
              <a:gd name="connsiteY12869" fmla="*/ 143487 h 4367670"/>
              <a:gd name="connsiteX12870" fmla="*/ 3266577 w 5365133"/>
              <a:gd name="connsiteY12870" fmla="*/ 160706 h 4367670"/>
              <a:gd name="connsiteX12871" fmla="*/ 3303884 w 5365133"/>
              <a:gd name="connsiteY12871" fmla="*/ 143487 h 4367670"/>
              <a:gd name="connsiteX12872" fmla="*/ 3679820 w 5365133"/>
              <a:gd name="connsiteY12872" fmla="*/ 132010 h 4367670"/>
              <a:gd name="connsiteX12873" fmla="*/ 3625295 w 5365133"/>
              <a:gd name="connsiteY12873" fmla="*/ 154968 h 4367670"/>
              <a:gd name="connsiteX12874" fmla="*/ 3679820 w 5365133"/>
              <a:gd name="connsiteY12874" fmla="*/ 132010 h 4367670"/>
              <a:gd name="connsiteX12875" fmla="*/ 3338321 w 5365133"/>
              <a:gd name="connsiteY12875" fmla="*/ 126268 h 4367670"/>
              <a:gd name="connsiteX12876" fmla="*/ 3326842 w 5365133"/>
              <a:gd name="connsiteY12876" fmla="*/ 137748 h 4367670"/>
              <a:gd name="connsiteX12877" fmla="*/ 3338321 w 5365133"/>
              <a:gd name="connsiteY12877" fmla="*/ 126268 h 4367670"/>
              <a:gd name="connsiteX12878" fmla="*/ 3383071 w 5365133"/>
              <a:gd name="connsiteY12878" fmla="*/ 111024 h 4367670"/>
              <a:gd name="connsiteX12879" fmla="*/ 3387107 w 5365133"/>
              <a:gd name="connsiteY12879" fmla="*/ 112639 h 4367670"/>
              <a:gd name="connsiteX12880" fmla="*/ 3361279 w 5365133"/>
              <a:gd name="connsiteY12880" fmla="*/ 125553 h 4367670"/>
              <a:gd name="connsiteX12881" fmla="*/ 3383071 w 5365133"/>
              <a:gd name="connsiteY12881" fmla="*/ 111024 h 4367670"/>
              <a:gd name="connsiteX12882" fmla="*/ 4216460 w 5365133"/>
              <a:gd name="connsiteY12882" fmla="*/ 83224 h 4367670"/>
              <a:gd name="connsiteX12883" fmla="*/ 4187762 w 5365133"/>
              <a:gd name="connsiteY12883" fmla="*/ 94702 h 4367670"/>
              <a:gd name="connsiteX12884" fmla="*/ 4216460 w 5365133"/>
              <a:gd name="connsiteY12884" fmla="*/ 83224 h 4367670"/>
              <a:gd name="connsiteX12885" fmla="*/ 4229374 w 5365133"/>
              <a:gd name="connsiteY12885" fmla="*/ 77484 h 4367670"/>
              <a:gd name="connsiteX12886" fmla="*/ 4242288 w 5365133"/>
              <a:gd name="connsiteY12886" fmla="*/ 83224 h 4367670"/>
              <a:gd name="connsiteX12887" fmla="*/ 4229374 w 5365133"/>
              <a:gd name="connsiteY12887" fmla="*/ 88963 h 4367670"/>
              <a:gd name="connsiteX12888" fmla="*/ 4216460 w 5365133"/>
              <a:gd name="connsiteY12888" fmla="*/ 83224 h 4367670"/>
              <a:gd name="connsiteX12889" fmla="*/ 4229374 w 5365133"/>
              <a:gd name="connsiteY12889" fmla="*/ 77484 h 4367670"/>
              <a:gd name="connsiteX12890" fmla="*/ 3702776 w 5365133"/>
              <a:gd name="connsiteY12890" fmla="*/ 0 h 4367670"/>
              <a:gd name="connsiteX12891" fmla="*/ 3697037 w 5365133"/>
              <a:gd name="connsiteY12891" fmla="*/ 11480 h 4367670"/>
              <a:gd name="connsiteX12892" fmla="*/ 3702776 w 5365133"/>
              <a:gd name="connsiteY12892" fmla="*/ 0 h 436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Lst>
            <a:rect l="l" t="t" r="r" b="b"/>
            <a:pathLst>
              <a:path w="5365133" h="4367670">
                <a:moveTo>
                  <a:pt x="1124337" y="4175837"/>
                </a:moveTo>
                <a:lnTo>
                  <a:pt x="1124200" y="4176076"/>
                </a:lnTo>
                <a:cubicBezTo>
                  <a:pt x="1122705" y="4176821"/>
                  <a:pt x="1121211" y="4176821"/>
                  <a:pt x="1121211" y="4176821"/>
                </a:cubicBezTo>
                <a:close/>
                <a:moveTo>
                  <a:pt x="1037572" y="4166789"/>
                </a:moveTo>
                <a:cubicBezTo>
                  <a:pt x="1037572" y="4166789"/>
                  <a:pt x="1017483" y="4178268"/>
                  <a:pt x="1017483" y="4172529"/>
                </a:cubicBezTo>
                <a:cubicBezTo>
                  <a:pt x="1024179" y="4166789"/>
                  <a:pt x="1030874" y="4166789"/>
                  <a:pt x="1037572" y="4166789"/>
                </a:cubicBezTo>
                <a:close/>
                <a:moveTo>
                  <a:pt x="1010986" y="4094014"/>
                </a:moveTo>
                <a:lnTo>
                  <a:pt x="1006882" y="4100035"/>
                </a:lnTo>
                <a:cubicBezTo>
                  <a:pt x="1001651" y="4103763"/>
                  <a:pt x="995672" y="4105254"/>
                  <a:pt x="989695" y="4105254"/>
                </a:cubicBezTo>
                <a:cubicBezTo>
                  <a:pt x="992685" y="4096308"/>
                  <a:pt x="995672" y="4096308"/>
                  <a:pt x="999409" y="4097053"/>
                </a:cubicBezTo>
                <a:close/>
                <a:moveTo>
                  <a:pt x="1013607" y="4090169"/>
                </a:moveTo>
                <a:lnTo>
                  <a:pt x="1013607" y="4093325"/>
                </a:lnTo>
                <a:lnTo>
                  <a:pt x="1010986" y="4094014"/>
                </a:lnTo>
                <a:close/>
                <a:moveTo>
                  <a:pt x="994525" y="4057739"/>
                </a:moveTo>
                <a:cubicBezTo>
                  <a:pt x="1000264" y="4070174"/>
                  <a:pt x="1000264" y="4076393"/>
                  <a:pt x="1000264" y="4088828"/>
                </a:cubicBezTo>
                <a:cubicBezTo>
                  <a:pt x="994525" y="4095046"/>
                  <a:pt x="983046" y="4088828"/>
                  <a:pt x="977306" y="4095046"/>
                </a:cubicBezTo>
                <a:cubicBezTo>
                  <a:pt x="977306" y="4088828"/>
                  <a:pt x="983046" y="4082611"/>
                  <a:pt x="983046" y="4082611"/>
                </a:cubicBezTo>
                <a:cubicBezTo>
                  <a:pt x="983046" y="4088828"/>
                  <a:pt x="983046" y="4088828"/>
                  <a:pt x="988785" y="4088828"/>
                </a:cubicBezTo>
                <a:cubicBezTo>
                  <a:pt x="994525" y="4082611"/>
                  <a:pt x="1000264" y="4088828"/>
                  <a:pt x="994525" y="4076393"/>
                </a:cubicBezTo>
                <a:cubicBezTo>
                  <a:pt x="994525" y="4070174"/>
                  <a:pt x="983046" y="4076393"/>
                  <a:pt x="983046" y="4070174"/>
                </a:cubicBezTo>
                <a:cubicBezTo>
                  <a:pt x="988785" y="4070174"/>
                  <a:pt x="988785" y="4057739"/>
                  <a:pt x="994525" y="4057739"/>
                </a:cubicBezTo>
                <a:close/>
                <a:moveTo>
                  <a:pt x="2161291" y="3675099"/>
                </a:moveTo>
                <a:cubicBezTo>
                  <a:pt x="2161384" y="3674353"/>
                  <a:pt x="2161384" y="3674353"/>
                  <a:pt x="2161384" y="3675844"/>
                </a:cubicBezTo>
                <a:lnTo>
                  <a:pt x="2161125" y="3676048"/>
                </a:lnTo>
                <a:close/>
                <a:moveTo>
                  <a:pt x="571333" y="3646405"/>
                </a:moveTo>
                <a:lnTo>
                  <a:pt x="571196" y="3646645"/>
                </a:lnTo>
                <a:cubicBezTo>
                  <a:pt x="569702" y="3647390"/>
                  <a:pt x="568207" y="3647390"/>
                  <a:pt x="568207" y="3647390"/>
                </a:cubicBezTo>
                <a:close/>
                <a:moveTo>
                  <a:pt x="484568" y="3637357"/>
                </a:moveTo>
                <a:cubicBezTo>
                  <a:pt x="484568" y="3637357"/>
                  <a:pt x="464479" y="3648836"/>
                  <a:pt x="464479" y="3643097"/>
                </a:cubicBezTo>
                <a:cubicBezTo>
                  <a:pt x="471175" y="3637357"/>
                  <a:pt x="477870" y="3637357"/>
                  <a:pt x="484568" y="3637357"/>
                </a:cubicBezTo>
                <a:close/>
                <a:moveTo>
                  <a:pt x="2374868" y="3575623"/>
                </a:moveTo>
                <a:cubicBezTo>
                  <a:pt x="2380608" y="3581362"/>
                  <a:pt x="2386348" y="3581362"/>
                  <a:pt x="2392087" y="3575623"/>
                </a:cubicBezTo>
                <a:cubicBezTo>
                  <a:pt x="2392087" y="3587102"/>
                  <a:pt x="2386348" y="3587102"/>
                  <a:pt x="2386348" y="3592841"/>
                </a:cubicBezTo>
                <a:cubicBezTo>
                  <a:pt x="2374868" y="3581362"/>
                  <a:pt x="2351911" y="3592841"/>
                  <a:pt x="2334692" y="3604320"/>
                </a:cubicBezTo>
                <a:cubicBezTo>
                  <a:pt x="2334692" y="3587102"/>
                  <a:pt x="2363390" y="3592841"/>
                  <a:pt x="2369129" y="3581362"/>
                </a:cubicBezTo>
                <a:cubicBezTo>
                  <a:pt x="2369129" y="3575623"/>
                  <a:pt x="2374868" y="3587102"/>
                  <a:pt x="2374868" y="3575623"/>
                </a:cubicBezTo>
                <a:close/>
                <a:moveTo>
                  <a:pt x="457982" y="3564582"/>
                </a:moveTo>
                <a:lnTo>
                  <a:pt x="453878" y="3570604"/>
                </a:lnTo>
                <a:cubicBezTo>
                  <a:pt x="448647" y="3574332"/>
                  <a:pt x="442668" y="3575823"/>
                  <a:pt x="436690" y="3575823"/>
                </a:cubicBezTo>
                <a:cubicBezTo>
                  <a:pt x="439681" y="3566876"/>
                  <a:pt x="442668" y="3566876"/>
                  <a:pt x="446405" y="3567621"/>
                </a:cubicBezTo>
                <a:close/>
                <a:moveTo>
                  <a:pt x="460603" y="3560737"/>
                </a:moveTo>
                <a:lnTo>
                  <a:pt x="460603" y="3563894"/>
                </a:lnTo>
                <a:lnTo>
                  <a:pt x="457982" y="3564582"/>
                </a:lnTo>
                <a:close/>
                <a:moveTo>
                  <a:pt x="2472487" y="3555629"/>
                </a:moveTo>
                <a:lnTo>
                  <a:pt x="2472240" y="3556564"/>
                </a:lnTo>
                <a:lnTo>
                  <a:pt x="2472170" y="3555793"/>
                </a:lnTo>
                <a:close/>
                <a:moveTo>
                  <a:pt x="2448329" y="3550601"/>
                </a:moveTo>
                <a:cubicBezTo>
                  <a:pt x="2448329" y="3553583"/>
                  <a:pt x="2446834" y="3555073"/>
                  <a:pt x="2445340" y="3555073"/>
                </a:cubicBezTo>
                <a:lnTo>
                  <a:pt x="2443014" y="3551594"/>
                </a:lnTo>
                <a:close/>
                <a:moveTo>
                  <a:pt x="2442350" y="3550601"/>
                </a:moveTo>
                <a:lnTo>
                  <a:pt x="2443014" y="3551594"/>
                </a:lnTo>
                <a:lnTo>
                  <a:pt x="2442274" y="3551733"/>
                </a:lnTo>
                <a:close/>
                <a:moveTo>
                  <a:pt x="2466263" y="3544637"/>
                </a:moveTo>
                <a:cubicBezTo>
                  <a:pt x="2469251" y="3544637"/>
                  <a:pt x="2470746" y="3546128"/>
                  <a:pt x="2471494" y="3548365"/>
                </a:cubicBezTo>
                <a:lnTo>
                  <a:pt x="2472170" y="3555793"/>
                </a:lnTo>
                <a:lnTo>
                  <a:pt x="2469251" y="3557310"/>
                </a:lnTo>
                <a:cubicBezTo>
                  <a:pt x="2466263" y="3559546"/>
                  <a:pt x="2463274" y="3562528"/>
                  <a:pt x="2460285" y="3562528"/>
                </a:cubicBezTo>
                <a:cubicBezTo>
                  <a:pt x="2454307" y="3550601"/>
                  <a:pt x="2472240" y="3556564"/>
                  <a:pt x="2466263" y="3544637"/>
                </a:cubicBezTo>
                <a:close/>
                <a:moveTo>
                  <a:pt x="441521" y="3528308"/>
                </a:moveTo>
                <a:cubicBezTo>
                  <a:pt x="447260" y="3540743"/>
                  <a:pt x="447260" y="3546961"/>
                  <a:pt x="447260" y="3559396"/>
                </a:cubicBezTo>
                <a:cubicBezTo>
                  <a:pt x="441521" y="3565614"/>
                  <a:pt x="430042" y="3559396"/>
                  <a:pt x="424302" y="3565614"/>
                </a:cubicBezTo>
                <a:cubicBezTo>
                  <a:pt x="424302" y="3559396"/>
                  <a:pt x="430042" y="3553179"/>
                  <a:pt x="430042" y="3553179"/>
                </a:cubicBezTo>
                <a:cubicBezTo>
                  <a:pt x="430042" y="3559396"/>
                  <a:pt x="430042" y="3559396"/>
                  <a:pt x="435781" y="3559396"/>
                </a:cubicBezTo>
                <a:cubicBezTo>
                  <a:pt x="441521" y="3553179"/>
                  <a:pt x="447260" y="3559396"/>
                  <a:pt x="441521" y="3546961"/>
                </a:cubicBezTo>
                <a:cubicBezTo>
                  <a:pt x="441521" y="3540743"/>
                  <a:pt x="430042" y="3546961"/>
                  <a:pt x="430042" y="3540743"/>
                </a:cubicBezTo>
                <a:cubicBezTo>
                  <a:pt x="435781" y="3540743"/>
                  <a:pt x="435781" y="3528308"/>
                  <a:pt x="441521" y="3528308"/>
                </a:cubicBezTo>
                <a:close/>
                <a:moveTo>
                  <a:pt x="2564900" y="3518543"/>
                </a:moveTo>
                <a:cubicBezTo>
                  <a:pt x="2566395" y="3519289"/>
                  <a:pt x="2567889" y="3520781"/>
                  <a:pt x="2567889" y="3520781"/>
                </a:cubicBezTo>
                <a:lnTo>
                  <a:pt x="2564302" y="3518991"/>
                </a:lnTo>
                <a:close/>
                <a:moveTo>
                  <a:pt x="2590098" y="3492400"/>
                </a:moveTo>
                <a:cubicBezTo>
                  <a:pt x="2584358" y="3498139"/>
                  <a:pt x="2572880" y="3498139"/>
                  <a:pt x="2584358" y="3509618"/>
                </a:cubicBezTo>
                <a:cubicBezTo>
                  <a:pt x="2584358" y="3521097"/>
                  <a:pt x="2578619" y="3498139"/>
                  <a:pt x="2572880" y="3498139"/>
                </a:cubicBezTo>
                <a:cubicBezTo>
                  <a:pt x="2567140" y="3503879"/>
                  <a:pt x="2555661" y="3509618"/>
                  <a:pt x="2549922" y="3509618"/>
                </a:cubicBezTo>
                <a:cubicBezTo>
                  <a:pt x="2555661" y="3492400"/>
                  <a:pt x="2578619" y="3492400"/>
                  <a:pt x="2590098" y="3492400"/>
                </a:cubicBezTo>
                <a:close/>
                <a:moveTo>
                  <a:pt x="2656102" y="3460834"/>
                </a:moveTo>
                <a:cubicBezTo>
                  <a:pt x="2638022" y="3473748"/>
                  <a:pt x="2619943" y="3486662"/>
                  <a:pt x="2595838" y="3486662"/>
                </a:cubicBezTo>
                <a:cubicBezTo>
                  <a:pt x="2613916" y="3480205"/>
                  <a:pt x="2638022" y="3460834"/>
                  <a:pt x="2656102" y="3460834"/>
                </a:cubicBezTo>
                <a:close/>
                <a:moveTo>
                  <a:pt x="2677177" y="3453226"/>
                </a:moveTo>
                <a:cubicBezTo>
                  <a:pt x="2678343" y="3453540"/>
                  <a:pt x="2679060" y="3454377"/>
                  <a:pt x="2679060" y="3456050"/>
                </a:cubicBezTo>
                <a:cubicBezTo>
                  <a:pt x="2673321" y="3456050"/>
                  <a:pt x="2661842" y="3469443"/>
                  <a:pt x="2661842" y="3456050"/>
                </a:cubicBezTo>
                <a:cubicBezTo>
                  <a:pt x="2664711" y="3456050"/>
                  <a:pt x="2669017" y="3454377"/>
                  <a:pt x="2672603" y="3453539"/>
                </a:cubicBezTo>
                <a:cubicBezTo>
                  <a:pt x="2674397" y="3453121"/>
                  <a:pt x="2676011" y="3452912"/>
                  <a:pt x="2677177" y="3453226"/>
                </a:cubicBezTo>
                <a:close/>
                <a:moveTo>
                  <a:pt x="2733584" y="3449354"/>
                </a:moveTo>
                <a:cubicBezTo>
                  <a:pt x="2733584" y="3455094"/>
                  <a:pt x="2722106" y="3455094"/>
                  <a:pt x="2716366" y="3460834"/>
                </a:cubicBezTo>
                <a:cubicBezTo>
                  <a:pt x="2716366" y="3449354"/>
                  <a:pt x="2722106" y="3449354"/>
                  <a:pt x="2733584" y="3449354"/>
                </a:cubicBezTo>
                <a:close/>
                <a:moveTo>
                  <a:pt x="2733586" y="3432136"/>
                </a:moveTo>
                <a:cubicBezTo>
                  <a:pt x="2727529" y="3437876"/>
                  <a:pt x="2691178" y="3455094"/>
                  <a:pt x="2679060" y="3449354"/>
                </a:cubicBezTo>
                <a:cubicBezTo>
                  <a:pt x="2691178" y="3443615"/>
                  <a:pt x="2709352" y="3432136"/>
                  <a:pt x="2733586" y="3432136"/>
                </a:cubicBezTo>
                <a:close/>
                <a:moveTo>
                  <a:pt x="2787590" y="3426397"/>
                </a:moveTo>
                <a:cubicBezTo>
                  <a:pt x="2787590" y="3426397"/>
                  <a:pt x="2787590" y="3432136"/>
                  <a:pt x="2799590" y="3426397"/>
                </a:cubicBezTo>
                <a:cubicBezTo>
                  <a:pt x="2787590" y="3449354"/>
                  <a:pt x="2763587" y="3432136"/>
                  <a:pt x="2757587" y="3449354"/>
                </a:cubicBezTo>
                <a:cubicBezTo>
                  <a:pt x="2751585" y="3437876"/>
                  <a:pt x="2733584" y="3460834"/>
                  <a:pt x="2733584" y="3443615"/>
                </a:cubicBezTo>
                <a:cubicBezTo>
                  <a:pt x="2751585" y="3437876"/>
                  <a:pt x="2763587" y="3437876"/>
                  <a:pt x="2769587" y="3432136"/>
                </a:cubicBezTo>
                <a:cubicBezTo>
                  <a:pt x="2769587" y="3432136"/>
                  <a:pt x="2769587" y="3437876"/>
                  <a:pt x="2775588" y="3437876"/>
                </a:cubicBezTo>
                <a:cubicBezTo>
                  <a:pt x="2775588" y="3437876"/>
                  <a:pt x="2781588" y="3426397"/>
                  <a:pt x="2781588" y="3432136"/>
                </a:cubicBezTo>
                <a:cubicBezTo>
                  <a:pt x="2787590" y="3432136"/>
                  <a:pt x="2787590" y="3426397"/>
                  <a:pt x="2787590" y="3426397"/>
                </a:cubicBezTo>
                <a:close/>
                <a:moveTo>
                  <a:pt x="2834464" y="3401735"/>
                </a:moveTo>
                <a:cubicBezTo>
                  <a:pt x="2835977" y="3401825"/>
                  <a:pt x="2837390" y="3402362"/>
                  <a:pt x="2838600" y="3402721"/>
                </a:cubicBezTo>
                <a:lnTo>
                  <a:pt x="2839171" y="3402704"/>
                </a:lnTo>
                <a:lnTo>
                  <a:pt x="2836179" y="3407026"/>
                </a:lnTo>
                <a:cubicBezTo>
                  <a:pt x="2832951" y="3410613"/>
                  <a:pt x="2829722" y="3414918"/>
                  <a:pt x="2829722" y="3420657"/>
                </a:cubicBezTo>
                <a:cubicBezTo>
                  <a:pt x="2823265" y="3420657"/>
                  <a:pt x="2816808" y="3420657"/>
                  <a:pt x="2816808" y="3409179"/>
                </a:cubicBezTo>
                <a:cubicBezTo>
                  <a:pt x="2823265" y="3409179"/>
                  <a:pt x="2829722" y="3420657"/>
                  <a:pt x="2829722" y="3403439"/>
                </a:cubicBezTo>
                <a:cubicBezTo>
                  <a:pt x="2831337" y="3402004"/>
                  <a:pt x="2832951" y="3401645"/>
                  <a:pt x="2834464" y="3401735"/>
                </a:cubicBezTo>
                <a:close/>
                <a:moveTo>
                  <a:pt x="2842636" y="3397699"/>
                </a:moveTo>
                <a:cubicBezTo>
                  <a:pt x="2842636" y="3400569"/>
                  <a:pt x="2842233" y="3402004"/>
                  <a:pt x="2841526" y="3402632"/>
                </a:cubicBezTo>
                <a:lnTo>
                  <a:pt x="2839171" y="3402704"/>
                </a:lnTo>
                <a:close/>
                <a:moveTo>
                  <a:pt x="2879762" y="3392228"/>
                </a:moveTo>
                <a:cubicBezTo>
                  <a:pt x="2883888" y="3392855"/>
                  <a:pt x="2887115" y="3394111"/>
                  <a:pt x="2888550" y="3395785"/>
                </a:cubicBezTo>
                <a:cubicBezTo>
                  <a:pt x="2871332" y="3389089"/>
                  <a:pt x="2848374" y="3402483"/>
                  <a:pt x="2842635" y="3409179"/>
                </a:cubicBezTo>
                <a:cubicBezTo>
                  <a:pt x="2845506" y="3399135"/>
                  <a:pt x="2855549" y="3394111"/>
                  <a:pt x="2865592" y="3392437"/>
                </a:cubicBezTo>
                <a:cubicBezTo>
                  <a:pt x="2870615" y="3391600"/>
                  <a:pt x="2875637" y="3391600"/>
                  <a:pt x="2879762" y="3392228"/>
                </a:cubicBezTo>
                <a:close/>
                <a:moveTo>
                  <a:pt x="2788110" y="3383350"/>
                </a:moveTo>
                <a:cubicBezTo>
                  <a:pt x="2782083" y="3395977"/>
                  <a:pt x="2739899" y="3408605"/>
                  <a:pt x="2727845" y="3414918"/>
                </a:cubicBezTo>
                <a:cubicBezTo>
                  <a:pt x="2745926" y="3389664"/>
                  <a:pt x="2764005" y="3395977"/>
                  <a:pt x="2788110" y="3383350"/>
                </a:cubicBezTo>
                <a:close/>
                <a:moveTo>
                  <a:pt x="2904925" y="3374572"/>
                </a:moveTo>
                <a:lnTo>
                  <a:pt x="2901825" y="3377610"/>
                </a:lnTo>
                <a:cubicBezTo>
                  <a:pt x="2899313" y="3379045"/>
                  <a:pt x="2897640" y="3380481"/>
                  <a:pt x="2900987" y="3383350"/>
                </a:cubicBezTo>
                <a:cubicBezTo>
                  <a:pt x="2894290" y="3383350"/>
                  <a:pt x="2894290" y="3377610"/>
                  <a:pt x="2894290" y="3377610"/>
                </a:cubicBezTo>
                <a:close/>
                <a:moveTo>
                  <a:pt x="2854114" y="3372109"/>
                </a:moveTo>
                <a:cubicBezTo>
                  <a:pt x="2854114" y="3378089"/>
                  <a:pt x="2854114" y="3384067"/>
                  <a:pt x="2848114" y="3390046"/>
                </a:cubicBezTo>
                <a:cubicBezTo>
                  <a:pt x="2830112" y="3384067"/>
                  <a:pt x="2818112" y="3402003"/>
                  <a:pt x="2800110" y="3402003"/>
                </a:cubicBezTo>
                <a:cubicBezTo>
                  <a:pt x="2794110" y="3402003"/>
                  <a:pt x="2788110" y="3407981"/>
                  <a:pt x="2788110" y="3413961"/>
                </a:cubicBezTo>
                <a:cubicBezTo>
                  <a:pt x="2782109" y="3407981"/>
                  <a:pt x="2722106" y="3437876"/>
                  <a:pt x="2746109" y="3419939"/>
                </a:cubicBezTo>
                <a:cubicBezTo>
                  <a:pt x="2758108" y="3419939"/>
                  <a:pt x="2752108" y="3419939"/>
                  <a:pt x="2758108" y="3419939"/>
                </a:cubicBezTo>
                <a:cubicBezTo>
                  <a:pt x="2764108" y="3419939"/>
                  <a:pt x="2764108" y="3413961"/>
                  <a:pt x="2770110" y="3413961"/>
                </a:cubicBezTo>
                <a:cubicBezTo>
                  <a:pt x="2770110" y="3407981"/>
                  <a:pt x="2770110" y="3407981"/>
                  <a:pt x="2770110" y="3407981"/>
                </a:cubicBezTo>
                <a:cubicBezTo>
                  <a:pt x="2776109" y="3402003"/>
                  <a:pt x="2776109" y="3407981"/>
                  <a:pt x="2782109" y="3407981"/>
                </a:cubicBezTo>
                <a:cubicBezTo>
                  <a:pt x="2788110" y="3407981"/>
                  <a:pt x="2788110" y="3396026"/>
                  <a:pt x="2794110" y="3396026"/>
                </a:cubicBezTo>
                <a:cubicBezTo>
                  <a:pt x="2806112" y="3407981"/>
                  <a:pt x="2830112" y="3366131"/>
                  <a:pt x="2836112" y="3384067"/>
                </a:cubicBezTo>
                <a:cubicBezTo>
                  <a:pt x="2842114" y="3378089"/>
                  <a:pt x="2842114" y="3372109"/>
                  <a:pt x="2854114" y="3372109"/>
                </a:cubicBezTo>
                <a:close/>
                <a:moveTo>
                  <a:pt x="2914379" y="3371871"/>
                </a:moveTo>
                <a:cubicBezTo>
                  <a:pt x="2914379" y="3374741"/>
                  <a:pt x="2912705" y="3376175"/>
                  <a:pt x="2911031" y="3376175"/>
                </a:cubicBezTo>
                <a:lnTo>
                  <a:pt x="2908900" y="3373436"/>
                </a:lnTo>
                <a:close/>
                <a:moveTo>
                  <a:pt x="2907683" y="3371871"/>
                </a:moveTo>
                <a:lnTo>
                  <a:pt x="2908900" y="3373436"/>
                </a:lnTo>
                <a:lnTo>
                  <a:pt x="2904925" y="3374572"/>
                </a:lnTo>
                <a:close/>
                <a:moveTo>
                  <a:pt x="2786419" y="3358426"/>
                </a:moveTo>
                <a:lnTo>
                  <a:pt x="2786087" y="3359006"/>
                </a:lnTo>
                <a:cubicBezTo>
                  <a:pt x="2784592" y="3359752"/>
                  <a:pt x="2783098" y="3359752"/>
                  <a:pt x="2783098" y="3359752"/>
                </a:cubicBezTo>
                <a:close/>
                <a:moveTo>
                  <a:pt x="2848374" y="3354652"/>
                </a:moveTo>
                <a:cubicBezTo>
                  <a:pt x="2854114" y="3360392"/>
                  <a:pt x="2831155" y="3377610"/>
                  <a:pt x="2831155" y="3360392"/>
                </a:cubicBezTo>
                <a:cubicBezTo>
                  <a:pt x="2836895" y="3360392"/>
                  <a:pt x="2848374" y="3366131"/>
                  <a:pt x="2848374" y="3354652"/>
                </a:cubicBezTo>
                <a:close/>
                <a:moveTo>
                  <a:pt x="2914379" y="3348913"/>
                </a:moveTo>
                <a:cubicBezTo>
                  <a:pt x="2914379" y="3348913"/>
                  <a:pt x="2907683" y="3360392"/>
                  <a:pt x="2914379" y="3360392"/>
                </a:cubicBezTo>
                <a:cubicBezTo>
                  <a:pt x="2914379" y="3366131"/>
                  <a:pt x="2907683" y="3348913"/>
                  <a:pt x="2900987" y="3360392"/>
                </a:cubicBezTo>
                <a:cubicBezTo>
                  <a:pt x="2894290" y="3348913"/>
                  <a:pt x="2900987" y="3354652"/>
                  <a:pt x="2914379" y="3348913"/>
                </a:cubicBezTo>
                <a:close/>
                <a:moveTo>
                  <a:pt x="2928011" y="3341021"/>
                </a:moveTo>
                <a:cubicBezTo>
                  <a:pt x="2930164" y="3341738"/>
                  <a:pt x="2931597" y="3343173"/>
                  <a:pt x="2931597" y="3343173"/>
                </a:cubicBezTo>
                <a:cubicBezTo>
                  <a:pt x="2937337" y="3348913"/>
                  <a:pt x="2920118" y="3343173"/>
                  <a:pt x="2920118" y="3354652"/>
                </a:cubicBezTo>
                <a:cubicBezTo>
                  <a:pt x="2914379" y="3354652"/>
                  <a:pt x="2920118" y="3343173"/>
                  <a:pt x="2920118" y="3343173"/>
                </a:cubicBezTo>
                <a:cubicBezTo>
                  <a:pt x="2922989" y="3340303"/>
                  <a:pt x="2925858" y="3340303"/>
                  <a:pt x="2928011" y="3341021"/>
                </a:cubicBezTo>
                <a:close/>
                <a:moveTo>
                  <a:pt x="3031746" y="3329093"/>
                </a:moveTo>
                <a:cubicBezTo>
                  <a:pt x="3034548" y="3331049"/>
                  <a:pt x="3035669" y="3338877"/>
                  <a:pt x="3040152" y="3329932"/>
                </a:cubicBezTo>
                <a:cubicBezTo>
                  <a:pt x="3040152" y="3335895"/>
                  <a:pt x="3034174" y="3335895"/>
                  <a:pt x="3034174" y="3341859"/>
                </a:cubicBezTo>
                <a:cubicBezTo>
                  <a:pt x="3022218" y="3341859"/>
                  <a:pt x="3028196" y="3335895"/>
                  <a:pt x="3028196" y="3329932"/>
                </a:cubicBezTo>
                <a:cubicBezTo>
                  <a:pt x="3029691" y="3328440"/>
                  <a:pt x="3030811" y="3328440"/>
                  <a:pt x="3031746" y="3329093"/>
                </a:cubicBezTo>
                <a:close/>
                <a:moveTo>
                  <a:pt x="2914140" y="3325955"/>
                </a:moveTo>
                <a:cubicBezTo>
                  <a:pt x="2920118" y="3343173"/>
                  <a:pt x="2872290" y="3348913"/>
                  <a:pt x="2854354" y="3360392"/>
                </a:cubicBezTo>
                <a:cubicBezTo>
                  <a:pt x="2848374" y="3348913"/>
                  <a:pt x="2860332" y="3354652"/>
                  <a:pt x="2854354" y="3348913"/>
                </a:cubicBezTo>
                <a:cubicBezTo>
                  <a:pt x="2854354" y="3343173"/>
                  <a:pt x="2854354" y="3343173"/>
                  <a:pt x="2854354" y="3343173"/>
                </a:cubicBezTo>
                <a:cubicBezTo>
                  <a:pt x="2854354" y="3331695"/>
                  <a:pt x="2860332" y="3348913"/>
                  <a:pt x="2866310" y="3348913"/>
                </a:cubicBezTo>
                <a:cubicBezTo>
                  <a:pt x="2872290" y="3348913"/>
                  <a:pt x="2860332" y="3337434"/>
                  <a:pt x="2866310" y="3337434"/>
                </a:cubicBezTo>
                <a:cubicBezTo>
                  <a:pt x="2866310" y="3343173"/>
                  <a:pt x="2866310" y="3343173"/>
                  <a:pt x="2872290" y="3348913"/>
                </a:cubicBezTo>
                <a:cubicBezTo>
                  <a:pt x="2878268" y="3337434"/>
                  <a:pt x="2908162" y="3337434"/>
                  <a:pt x="2914140" y="3325955"/>
                </a:cubicBezTo>
                <a:close/>
                <a:moveTo>
                  <a:pt x="3027637" y="3320237"/>
                </a:moveTo>
                <a:lnTo>
                  <a:pt x="3027637" y="3330740"/>
                </a:lnTo>
                <a:cubicBezTo>
                  <a:pt x="3015777" y="3336798"/>
                  <a:pt x="2997983" y="3330740"/>
                  <a:pt x="3003914" y="3342855"/>
                </a:cubicBezTo>
                <a:cubicBezTo>
                  <a:pt x="2997983" y="3348915"/>
                  <a:pt x="2992052" y="3342855"/>
                  <a:pt x="2986121" y="3342855"/>
                </a:cubicBezTo>
                <a:close/>
                <a:moveTo>
                  <a:pt x="2974234" y="3320215"/>
                </a:moveTo>
                <a:cubicBezTo>
                  <a:pt x="2980384" y="3337434"/>
                  <a:pt x="2949637" y="3343173"/>
                  <a:pt x="2937337" y="3348913"/>
                </a:cubicBezTo>
                <a:cubicBezTo>
                  <a:pt x="2937337" y="3337434"/>
                  <a:pt x="2937337" y="3337434"/>
                  <a:pt x="2943486" y="3331695"/>
                </a:cubicBezTo>
                <a:cubicBezTo>
                  <a:pt x="2943486" y="3337434"/>
                  <a:pt x="2943486" y="3337434"/>
                  <a:pt x="2943486" y="3343173"/>
                </a:cubicBezTo>
                <a:cubicBezTo>
                  <a:pt x="2961936" y="3343173"/>
                  <a:pt x="2961936" y="3325955"/>
                  <a:pt x="2974234" y="3320215"/>
                </a:cubicBezTo>
                <a:close/>
                <a:moveTo>
                  <a:pt x="3027637" y="3318623"/>
                </a:moveTo>
                <a:lnTo>
                  <a:pt x="3029463" y="3319243"/>
                </a:lnTo>
                <a:lnTo>
                  <a:pt x="3027637" y="3320237"/>
                </a:lnTo>
                <a:close/>
                <a:moveTo>
                  <a:pt x="2943076" y="3311607"/>
                </a:moveTo>
                <a:cubicBezTo>
                  <a:pt x="2943076" y="3311607"/>
                  <a:pt x="2943076" y="3318303"/>
                  <a:pt x="2943076" y="3325001"/>
                </a:cubicBezTo>
                <a:cubicBezTo>
                  <a:pt x="2937337" y="3318303"/>
                  <a:pt x="2931597" y="3331696"/>
                  <a:pt x="2920118" y="3331696"/>
                </a:cubicBezTo>
                <a:cubicBezTo>
                  <a:pt x="2925858" y="3318303"/>
                  <a:pt x="2937337" y="3325001"/>
                  <a:pt x="2943076" y="3311607"/>
                </a:cubicBezTo>
                <a:close/>
                <a:moveTo>
                  <a:pt x="2966260" y="3304104"/>
                </a:moveTo>
                <a:cubicBezTo>
                  <a:pt x="2968725" y="3304313"/>
                  <a:pt x="2971488" y="3305150"/>
                  <a:pt x="2974644" y="3306824"/>
                </a:cubicBezTo>
                <a:cubicBezTo>
                  <a:pt x="2968332" y="3320217"/>
                  <a:pt x="2955703" y="3306824"/>
                  <a:pt x="2949390" y="3320217"/>
                </a:cubicBezTo>
                <a:cubicBezTo>
                  <a:pt x="2943076" y="3320217"/>
                  <a:pt x="2949390" y="3320217"/>
                  <a:pt x="2955703" y="3313521"/>
                </a:cubicBezTo>
                <a:cubicBezTo>
                  <a:pt x="2949390" y="3313521"/>
                  <a:pt x="2949390" y="3313521"/>
                  <a:pt x="2949390" y="3313521"/>
                </a:cubicBezTo>
                <a:cubicBezTo>
                  <a:pt x="2952547" y="3310172"/>
                  <a:pt x="2955703" y="3306824"/>
                  <a:pt x="2959649" y="3305150"/>
                </a:cubicBezTo>
                <a:cubicBezTo>
                  <a:pt x="2961622" y="3304313"/>
                  <a:pt x="2963793" y="3303895"/>
                  <a:pt x="2966260" y="3304104"/>
                </a:cubicBezTo>
                <a:close/>
                <a:moveTo>
                  <a:pt x="3075085" y="3294389"/>
                </a:moveTo>
                <a:cubicBezTo>
                  <a:pt x="3075085" y="3300447"/>
                  <a:pt x="3075085" y="3306506"/>
                  <a:pt x="3075085" y="3306506"/>
                </a:cubicBezTo>
                <a:cubicBezTo>
                  <a:pt x="3069153" y="3306506"/>
                  <a:pt x="3057293" y="3312564"/>
                  <a:pt x="3045431" y="3324681"/>
                </a:cubicBezTo>
                <a:cubicBezTo>
                  <a:pt x="3042466" y="3321651"/>
                  <a:pt x="3039499" y="3321651"/>
                  <a:pt x="3036535" y="3321651"/>
                </a:cubicBezTo>
                <a:lnTo>
                  <a:pt x="3029463" y="3319243"/>
                </a:lnTo>
                <a:close/>
                <a:moveTo>
                  <a:pt x="3009079" y="3288649"/>
                </a:moveTo>
                <a:cubicBezTo>
                  <a:pt x="3003340" y="3294389"/>
                  <a:pt x="2980382" y="3305868"/>
                  <a:pt x="2980382" y="3300128"/>
                </a:cubicBezTo>
                <a:cubicBezTo>
                  <a:pt x="2986121" y="3294389"/>
                  <a:pt x="2997600" y="3294389"/>
                  <a:pt x="3009079" y="3288649"/>
                </a:cubicBezTo>
                <a:close/>
                <a:moveTo>
                  <a:pt x="3074925" y="3277170"/>
                </a:moveTo>
                <a:cubicBezTo>
                  <a:pt x="3074925" y="3283197"/>
                  <a:pt x="3074925" y="3289222"/>
                  <a:pt x="3080824" y="3289222"/>
                </a:cubicBezTo>
                <a:cubicBezTo>
                  <a:pt x="3051329" y="3283197"/>
                  <a:pt x="3027733" y="3325382"/>
                  <a:pt x="2998238" y="3313330"/>
                </a:cubicBezTo>
                <a:cubicBezTo>
                  <a:pt x="3004137" y="3325382"/>
                  <a:pt x="2974643" y="3337436"/>
                  <a:pt x="2974643" y="3319355"/>
                </a:cubicBezTo>
                <a:cubicBezTo>
                  <a:pt x="3021834" y="3301276"/>
                  <a:pt x="3033631" y="3301276"/>
                  <a:pt x="3074925" y="3277170"/>
                </a:cubicBezTo>
                <a:close/>
                <a:moveTo>
                  <a:pt x="3108392" y="3268326"/>
                </a:moveTo>
                <a:lnTo>
                  <a:pt x="3108803" y="3268561"/>
                </a:lnTo>
                <a:cubicBezTo>
                  <a:pt x="3109521" y="3269996"/>
                  <a:pt x="3109521" y="3271431"/>
                  <a:pt x="3109521" y="3271431"/>
                </a:cubicBezTo>
                <a:close/>
                <a:moveTo>
                  <a:pt x="3103782" y="3259952"/>
                </a:moveTo>
                <a:cubicBezTo>
                  <a:pt x="3103782" y="3262822"/>
                  <a:pt x="3105216" y="3262822"/>
                  <a:pt x="3106651" y="3263539"/>
                </a:cubicBezTo>
                <a:lnTo>
                  <a:pt x="3108392" y="3268326"/>
                </a:lnTo>
                <a:lnTo>
                  <a:pt x="3103782" y="3265691"/>
                </a:lnTo>
                <a:cubicBezTo>
                  <a:pt x="3103782" y="3271431"/>
                  <a:pt x="3109521" y="3277170"/>
                  <a:pt x="3103782" y="3277170"/>
                </a:cubicBezTo>
                <a:cubicBezTo>
                  <a:pt x="3098042" y="3271431"/>
                  <a:pt x="3092303" y="3277170"/>
                  <a:pt x="3080824" y="3277170"/>
                </a:cubicBezTo>
                <a:cubicBezTo>
                  <a:pt x="3080824" y="3265691"/>
                  <a:pt x="3103782" y="3277170"/>
                  <a:pt x="3103782" y="3259952"/>
                </a:cubicBezTo>
                <a:close/>
                <a:moveTo>
                  <a:pt x="3122914" y="3258516"/>
                </a:moveTo>
                <a:cubicBezTo>
                  <a:pt x="3126262" y="3259952"/>
                  <a:pt x="3129610" y="3262821"/>
                  <a:pt x="3129610" y="3265691"/>
                </a:cubicBezTo>
                <a:cubicBezTo>
                  <a:pt x="3116218" y="3265691"/>
                  <a:pt x="3129610" y="3277170"/>
                  <a:pt x="3116218" y="3277170"/>
                </a:cubicBezTo>
                <a:cubicBezTo>
                  <a:pt x="3116218" y="3271431"/>
                  <a:pt x="3109521" y="3265691"/>
                  <a:pt x="3122914" y="3265691"/>
                </a:cubicBezTo>
                <a:cubicBezTo>
                  <a:pt x="3122914" y="3265691"/>
                  <a:pt x="3116218" y="3259952"/>
                  <a:pt x="3116218" y="3259952"/>
                </a:cubicBezTo>
                <a:cubicBezTo>
                  <a:pt x="3116218" y="3257082"/>
                  <a:pt x="3119566" y="3257082"/>
                  <a:pt x="3122914" y="3258516"/>
                </a:cubicBezTo>
                <a:close/>
                <a:moveTo>
                  <a:pt x="3231447" y="3252399"/>
                </a:moveTo>
                <a:cubicBezTo>
                  <a:pt x="3237425" y="3264327"/>
                  <a:pt x="3213514" y="3264327"/>
                  <a:pt x="3219493" y="3270290"/>
                </a:cubicBezTo>
                <a:cubicBezTo>
                  <a:pt x="3213514" y="3264327"/>
                  <a:pt x="3201559" y="3276255"/>
                  <a:pt x="3201559" y="3264327"/>
                </a:cubicBezTo>
                <a:cubicBezTo>
                  <a:pt x="3207537" y="3264327"/>
                  <a:pt x="3225469" y="3264327"/>
                  <a:pt x="3219493" y="3258363"/>
                </a:cubicBezTo>
                <a:cubicBezTo>
                  <a:pt x="3213514" y="3252399"/>
                  <a:pt x="3225469" y="3252399"/>
                  <a:pt x="3231447" y="3252399"/>
                </a:cubicBezTo>
                <a:close/>
                <a:moveTo>
                  <a:pt x="3100912" y="3244169"/>
                </a:moveTo>
                <a:cubicBezTo>
                  <a:pt x="3105217" y="3244169"/>
                  <a:pt x="3109521" y="3245602"/>
                  <a:pt x="3109521" y="3248473"/>
                </a:cubicBezTo>
                <a:cubicBezTo>
                  <a:pt x="3103782" y="3248473"/>
                  <a:pt x="3103782" y="3254213"/>
                  <a:pt x="3092303" y="3248473"/>
                </a:cubicBezTo>
                <a:cubicBezTo>
                  <a:pt x="3092303" y="3245602"/>
                  <a:pt x="3096608" y="3244169"/>
                  <a:pt x="3100912" y="3244169"/>
                </a:cubicBezTo>
                <a:close/>
                <a:moveTo>
                  <a:pt x="3187824" y="3242016"/>
                </a:moveTo>
                <a:lnTo>
                  <a:pt x="3187824" y="3248473"/>
                </a:lnTo>
                <a:cubicBezTo>
                  <a:pt x="3187824" y="3248473"/>
                  <a:pt x="3181674" y="3248473"/>
                  <a:pt x="3181674" y="3248473"/>
                </a:cubicBezTo>
                <a:cubicBezTo>
                  <a:pt x="3181674" y="3242016"/>
                  <a:pt x="3181674" y="3242016"/>
                  <a:pt x="3187824" y="3242016"/>
                </a:cubicBezTo>
                <a:close/>
                <a:moveTo>
                  <a:pt x="3126576" y="3236231"/>
                </a:moveTo>
                <a:cubicBezTo>
                  <a:pt x="3128355" y="3236754"/>
                  <a:pt x="3129610" y="3238428"/>
                  <a:pt x="3129610" y="3241777"/>
                </a:cubicBezTo>
                <a:cubicBezTo>
                  <a:pt x="3122914" y="3241777"/>
                  <a:pt x="3116218" y="3248473"/>
                  <a:pt x="3116218" y="3248473"/>
                </a:cubicBezTo>
                <a:cubicBezTo>
                  <a:pt x="3112869" y="3245125"/>
                  <a:pt x="3116218" y="3240103"/>
                  <a:pt x="3120403" y="3237590"/>
                </a:cubicBezTo>
                <a:cubicBezTo>
                  <a:pt x="3122496" y="3236335"/>
                  <a:pt x="3124797" y="3235708"/>
                  <a:pt x="3126576" y="3236231"/>
                </a:cubicBezTo>
                <a:close/>
                <a:moveTo>
                  <a:pt x="3169785" y="3234124"/>
                </a:moveTo>
                <a:cubicBezTo>
                  <a:pt x="3175524" y="3246558"/>
                  <a:pt x="3164045" y="3240342"/>
                  <a:pt x="3164045" y="3246558"/>
                </a:cubicBezTo>
                <a:cubicBezTo>
                  <a:pt x="3152566" y="3246558"/>
                  <a:pt x="3158305" y="3258995"/>
                  <a:pt x="3141087" y="3252777"/>
                </a:cubicBezTo>
                <a:cubicBezTo>
                  <a:pt x="3146827" y="3258995"/>
                  <a:pt x="3146827" y="3252777"/>
                  <a:pt x="3146827" y="3258995"/>
                </a:cubicBezTo>
                <a:cubicBezTo>
                  <a:pt x="3141087" y="3265212"/>
                  <a:pt x="3135347" y="3258995"/>
                  <a:pt x="3141087" y="3271431"/>
                </a:cubicBezTo>
                <a:cubicBezTo>
                  <a:pt x="3135347" y="3271431"/>
                  <a:pt x="3129608" y="3265212"/>
                  <a:pt x="3129608" y="3258995"/>
                </a:cubicBezTo>
                <a:cubicBezTo>
                  <a:pt x="3158305" y="3240342"/>
                  <a:pt x="3146827" y="3246558"/>
                  <a:pt x="3169785" y="3234124"/>
                </a:cubicBezTo>
                <a:close/>
                <a:moveTo>
                  <a:pt x="3200123" y="3222644"/>
                </a:moveTo>
                <a:cubicBezTo>
                  <a:pt x="3206273" y="3229102"/>
                  <a:pt x="3212421" y="3222644"/>
                  <a:pt x="3218571" y="3235559"/>
                </a:cubicBezTo>
                <a:cubicBezTo>
                  <a:pt x="3212421" y="3235559"/>
                  <a:pt x="3206273" y="3222644"/>
                  <a:pt x="3206273" y="3235559"/>
                </a:cubicBezTo>
                <a:cubicBezTo>
                  <a:pt x="3200123" y="3235559"/>
                  <a:pt x="3200123" y="3229102"/>
                  <a:pt x="3206273" y="3229102"/>
                </a:cubicBezTo>
                <a:cubicBezTo>
                  <a:pt x="3200123" y="3222644"/>
                  <a:pt x="3193973" y="3235559"/>
                  <a:pt x="3187824" y="3235559"/>
                </a:cubicBezTo>
                <a:lnTo>
                  <a:pt x="3187824" y="3242016"/>
                </a:lnTo>
                <a:cubicBezTo>
                  <a:pt x="3187824" y="3235559"/>
                  <a:pt x="3181674" y="3242016"/>
                  <a:pt x="3175524" y="3235559"/>
                </a:cubicBezTo>
                <a:cubicBezTo>
                  <a:pt x="3175524" y="3229102"/>
                  <a:pt x="3200123" y="3235559"/>
                  <a:pt x="3200123" y="3222644"/>
                </a:cubicBezTo>
                <a:close/>
                <a:moveTo>
                  <a:pt x="3224311" y="3211165"/>
                </a:moveTo>
                <a:cubicBezTo>
                  <a:pt x="3230050" y="3211165"/>
                  <a:pt x="3230050" y="3211165"/>
                  <a:pt x="3235789" y="3222644"/>
                </a:cubicBezTo>
                <a:cubicBezTo>
                  <a:pt x="3230050" y="3216905"/>
                  <a:pt x="3230050" y="3228384"/>
                  <a:pt x="3218571" y="3228384"/>
                </a:cubicBezTo>
                <a:cubicBezTo>
                  <a:pt x="3218571" y="3222644"/>
                  <a:pt x="3224311" y="3222644"/>
                  <a:pt x="3224311" y="3222644"/>
                </a:cubicBezTo>
                <a:cubicBezTo>
                  <a:pt x="3224311" y="3222644"/>
                  <a:pt x="3224311" y="3222644"/>
                  <a:pt x="3218571" y="3222644"/>
                </a:cubicBezTo>
                <a:cubicBezTo>
                  <a:pt x="3218571" y="3216905"/>
                  <a:pt x="3230050" y="3222644"/>
                  <a:pt x="3224311" y="3211165"/>
                </a:cubicBezTo>
                <a:close/>
                <a:moveTo>
                  <a:pt x="3181263" y="3211165"/>
                </a:moveTo>
                <a:cubicBezTo>
                  <a:pt x="3181263" y="3222644"/>
                  <a:pt x="3169785" y="3222644"/>
                  <a:pt x="3164045" y="3222644"/>
                </a:cubicBezTo>
                <a:cubicBezTo>
                  <a:pt x="3164045" y="3216905"/>
                  <a:pt x="3175524" y="3216905"/>
                  <a:pt x="3181263" y="3211165"/>
                </a:cubicBezTo>
                <a:close/>
                <a:moveTo>
                  <a:pt x="3201353" y="3205426"/>
                </a:moveTo>
                <a:lnTo>
                  <a:pt x="3204710" y="3206898"/>
                </a:lnTo>
                <a:lnTo>
                  <a:pt x="3204671" y="3206950"/>
                </a:lnTo>
                <a:cubicBezTo>
                  <a:pt x="3203864" y="3207220"/>
                  <a:pt x="3202787" y="3206861"/>
                  <a:pt x="3201353" y="3205426"/>
                </a:cubicBezTo>
                <a:close/>
                <a:moveTo>
                  <a:pt x="3464591" y="3204687"/>
                </a:moveTo>
                <a:cubicBezTo>
                  <a:pt x="3470569" y="3216615"/>
                  <a:pt x="3464591" y="3198723"/>
                  <a:pt x="3470569" y="3210650"/>
                </a:cubicBezTo>
                <a:cubicBezTo>
                  <a:pt x="3464591" y="3210650"/>
                  <a:pt x="3452634" y="3228543"/>
                  <a:pt x="3446657" y="3216615"/>
                </a:cubicBezTo>
                <a:cubicBezTo>
                  <a:pt x="3458613" y="3210650"/>
                  <a:pt x="3464591" y="3216615"/>
                  <a:pt x="3464591" y="3204687"/>
                </a:cubicBezTo>
                <a:close/>
                <a:moveTo>
                  <a:pt x="3305252" y="3204627"/>
                </a:moveTo>
                <a:lnTo>
                  <a:pt x="3303227" y="3209013"/>
                </a:lnTo>
                <a:cubicBezTo>
                  <a:pt x="3297488" y="3211166"/>
                  <a:pt x="3290313" y="3211166"/>
                  <a:pt x="3290313" y="3205426"/>
                </a:cubicBezTo>
                <a:cubicBezTo>
                  <a:pt x="3293183" y="3202557"/>
                  <a:pt x="3297488" y="3203991"/>
                  <a:pt x="3301075" y="3204709"/>
                </a:cubicBezTo>
                <a:close/>
                <a:moveTo>
                  <a:pt x="3307531" y="3199687"/>
                </a:moveTo>
                <a:cubicBezTo>
                  <a:pt x="3307531" y="3202557"/>
                  <a:pt x="3306814" y="3203991"/>
                  <a:pt x="3305648" y="3204619"/>
                </a:cubicBezTo>
                <a:lnTo>
                  <a:pt x="3305252" y="3204627"/>
                </a:lnTo>
                <a:close/>
                <a:moveTo>
                  <a:pt x="3215073" y="3197355"/>
                </a:moveTo>
                <a:cubicBezTo>
                  <a:pt x="3217696" y="3199372"/>
                  <a:pt x="3213510" y="3207746"/>
                  <a:pt x="3207621" y="3208175"/>
                </a:cubicBezTo>
                <a:lnTo>
                  <a:pt x="3204710" y="3206898"/>
                </a:lnTo>
                <a:lnTo>
                  <a:pt x="3206375" y="3204708"/>
                </a:lnTo>
                <a:cubicBezTo>
                  <a:pt x="3207092" y="3202556"/>
                  <a:pt x="3207092" y="3199687"/>
                  <a:pt x="3207092" y="3199687"/>
                </a:cubicBezTo>
                <a:cubicBezTo>
                  <a:pt x="3211396" y="3196816"/>
                  <a:pt x="3213909" y="3196458"/>
                  <a:pt x="3215073" y="3197355"/>
                </a:cubicBezTo>
                <a:close/>
                <a:moveTo>
                  <a:pt x="3261618" y="3193947"/>
                </a:moveTo>
                <a:cubicBezTo>
                  <a:pt x="3261618" y="3205426"/>
                  <a:pt x="3248704" y="3205426"/>
                  <a:pt x="3248704" y="3216905"/>
                </a:cubicBezTo>
                <a:cubicBezTo>
                  <a:pt x="3242246" y="3222644"/>
                  <a:pt x="3242246" y="3211165"/>
                  <a:pt x="3235789" y="3211165"/>
                </a:cubicBezTo>
                <a:cubicBezTo>
                  <a:pt x="3248704" y="3199687"/>
                  <a:pt x="3242246" y="3211165"/>
                  <a:pt x="3261618" y="3193947"/>
                </a:cubicBezTo>
                <a:close/>
                <a:moveTo>
                  <a:pt x="3425266" y="3179339"/>
                </a:moveTo>
                <a:cubicBezTo>
                  <a:pt x="3426107" y="3180458"/>
                  <a:pt x="3422744" y="3188285"/>
                  <a:pt x="3422744" y="3192760"/>
                </a:cubicBezTo>
                <a:cubicBezTo>
                  <a:pt x="3422744" y="3186794"/>
                  <a:pt x="3416766" y="3186794"/>
                  <a:pt x="3422744" y="3180830"/>
                </a:cubicBezTo>
                <a:cubicBezTo>
                  <a:pt x="3424239" y="3179339"/>
                  <a:pt x="3424986" y="3178967"/>
                  <a:pt x="3425266" y="3179339"/>
                </a:cubicBezTo>
                <a:close/>
                <a:moveTo>
                  <a:pt x="3722393" y="3174121"/>
                </a:moveTo>
                <a:lnTo>
                  <a:pt x="3722077" y="3175065"/>
                </a:lnTo>
                <a:lnTo>
                  <a:pt x="3721645" y="3174867"/>
                </a:lnTo>
                <a:close/>
                <a:moveTo>
                  <a:pt x="3324750" y="3170989"/>
                </a:moveTo>
                <a:cubicBezTo>
                  <a:pt x="3324750" y="3182468"/>
                  <a:pt x="3313271" y="3182468"/>
                  <a:pt x="3319011" y="3193947"/>
                </a:cubicBezTo>
                <a:cubicBezTo>
                  <a:pt x="3313271" y="3193947"/>
                  <a:pt x="3313271" y="3182468"/>
                  <a:pt x="3307531" y="3188207"/>
                </a:cubicBezTo>
                <a:cubicBezTo>
                  <a:pt x="3313271" y="3182468"/>
                  <a:pt x="3313271" y="3182468"/>
                  <a:pt x="3313271" y="3176729"/>
                </a:cubicBezTo>
                <a:cubicBezTo>
                  <a:pt x="3319011" y="3182468"/>
                  <a:pt x="3319011" y="3170989"/>
                  <a:pt x="3324750" y="3170989"/>
                </a:cubicBezTo>
                <a:close/>
                <a:moveTo>
                  <a:pt x="3727623" y="3168903"/>
                </a:moveTo>
                <a:cubicBezTo>
                  <a:pt x="3727623" y="3168903"/>
                  <a:pt x="3726129" y="3170394"/>
                  <a:pt x="3724635" y="3171885"/>
                </a:cubicBezTo>
                <a:lnTo>
                  <a:pt x="3722393" y="3174121"/>
                </a:lnTo>
                <a:lnTo>
                  <a:pt x="3723140" y="3171885"/>
                </a:lnTo>
                <a:lnTo>
                  <a:pt x="3722760" y="3169609"/>
                </a:lnTo>
                <a:close/>
                <a:moveTo>
                  <a:pt x="3440679" y="3168903"/>
                </a:moveTo>
                <a:lnTo>
                  <a:pt x="3438075" y="3173450"/>
                </a:lnTo>
                <a:lnTo>
                  <a:pt x="3434701" y="3174867"/>
                </a:lnTo>
                <a:close/>
                <a:moveTo>
                  <a:pt x="3722437" y="3167674"/>
                </a:moveTo>
                <a:lnTo>
                  <a:pt x="3722760" y="3169609"/>
                </a:lnTo>
                <a:lnTo>
                  <a:pt x="3722486" y="3169648"/>
                </a:lnTo>
                <a:close/>
                <a:moveTo>
                  <a:pt x="3723420" y="3162193"/>
                </a:moveTo>
                <a:cubicBezTo>
                  <a:pt x="3723327" y="3162939"/>
                  <a:pt x="3722766" y="3164430"/>
                  <a:pt x="3722393" y="3165921"/>
                </a:cubicBezTo>
                <a:lnTo>
                  <a:pt x="3722437" y="3167674"/>
                </a:lnTo>
                <a:lnTo>
                  <a:pt x="3721645" y="3162939"/>
                </a:lnTo>
                <a:cubicBezTo>
                  <a:pt x="3723140" y="3161448"/>
                  <a:pt x="3723514" y="3161448"/>
                  <a:pt x="3723420" y="3162193"/>
                </a:cubicBezTo>
                <a:close/>
                <a:moveTo>
                  <a:pt x="3253725" y="3158077"/>
                </a:moveTo>
                <a:cubicBezTo>
                  <a:pt x="3256147" y="3162920"/>
                  <a:pt x="3259476" y="3162314"/>
                  <a:pt x="3262011" y="3160687"/>
                </a:cubicBezTo>
                <a:lnTo>
                  <a:pt x="3264716" y="3158290"/>
                </a:lnTo>
                <a:lnTo>
                  <a:pt x="3260182" y="3164534"/>
                </a:lnTo>
                <a:cubicBezTo>
                  <a:pt x="3260182" y="3164534"/>
                  <a:pt x="3266640" y="3164534"/>
                  <a:pt x="3266640" y="3164534"/>
                </a:cubicBezTo>
                <a:cubicBezTo>
                  <a:pt x="3260182" y="3170991"/>
                  <a:pt x="3253725" y="3164534"/>
                  <a:pt x="3247268" y="3170991"/>
                </a:cubicBezTo>
                <a:cubicBezTo>
                  <a:pt x="3247268" y="3164534"/>
                  <a:pt x="3253725" y="3164534"/>
                  <a:pt x="3253725" y="3158077"/>
                </a:cubicBezTo>
                <a:close/>
                <a:moveTo>
                  <a:pt x="3265529" y="3157169"/>
                </a:moveTo>
                <a:cubicBezTo>
                  <a:pt x="3265907" y="3156791"/>
                  <a:pt x="3265662" y="3157263"/>
                  <a:pt x="3265005" y="3158034"/>
                </a:cubicBezTo>
                <a:lnTo>
                  <a:pt x="3264716" y="3158290"/>
                </a:lnTo>
                <a:close/>
                <a:moveTo>
                  <a:pt x="3367797" y="3156642"/>
                </a:moveTo>
                <a:cubicBezTo>
                  <a:pt x="3373537" y="3163816"/>
                  <a:pt x="3356319" y="3163816"/>
                  <a:pt x="3350579" y="3170991"/>
                </a:cubicBezTo>
                <a:cubicBezTo>
                  <a:pt x="3344839" y="3170991"/>
                  <a:pt x="3349144" y="3167404"/>
                  <a:pt x="3353448" y="3164713"/>
                </a:cubicBezTo>
                <a:lnTo>
                  <a:pt x="3356080" y="3163295"/>
                </a:lnTo>
                <a:lnTo>
                  <a:pt x="3356319" y="3163816"/>
                </a:lnTo>
                <a:cubicBezTo>
                  <a:pt x="3359188" y="3162022"/>
                  <a:pt x="3359547" y="3161574"/>
                  <a:pt x="3358650" y="3161910"/>
                </a:cubicBezTo>
                <a:lnTo>
                  <a:pt x="3356080" y="3163295"/>
                </a:lnTo>
                <a:lnTo>
                  <a:pt x="3354884" y="3160677"/>
                </a:lnTo>
                <a:cubicBezTo>
                  <a:pt x="3355959" y="3159332"/>
                  <a:pt x="3363492" y="3162022"/>
                  <a:pt x="3367797" y="3156642"/>
                </a:cubicBezTo>
                <a:close/>
                <a:moveTo>
                  <a:pt x="3381474" y="3154432"/>
                </a:moveTo>
                <a:lnTo>
                  <a:pt x="3379276" y="3157986"/>
                </a:lnTo>
                <a:cubicBezTo>
                  <a:pt x="3376408" y="3159198"/>
                  <a:pt x="3374254" y="3159400"/>
                  <a:pt x="3374615" y="3158491"/>
                </a:cubicBezTo>
                <a:close/>
                <a:moveTo>
                  <a:pt x="3451019" y="3139423"/>
                </a:moveTo>
                <a:cubicBezTo>
                  <a:pt x="3451019" y="3156642"/>
                  <a:pt x="3451019" y="3145162"/>
                  <a:pt x="3456758" y="3156642"/>
                </a:cubicBezTo>
                <a:cubicBezTo>
                  <a:pt x="3451019" y="3156642"/>
                  <a:pt x="3451019" y="3156642"/>
                  <a:pt x="3445279" y="3156642"/>
                </a:cubicBezTo>
                <a:cubicBezTo>
                  <a:pt x="3445279" y="3150902"/>
                  <a:pt x="3445279" y="3150902"/>
                  <a:pt x="3445279" y="3145162"/>
                </a:cubicBezTo>
                <a:cubicBezTo>
                  <a:pt x="3428061" y="3156642"/>
                  <a:pt x="3422321" y="3156642"/>
                  <a:pt x="3410842" y="3156642"/>
                </a:cubicBezTo>
                <a:cubicBezTo>
                  <a:pt x="3416582" y="3150902"/>
                  <a:pt x="3433800" y="3150902"/>
                  <a:pt x="3451019" y="3139423"/>
                </a:cubicBezTo>
                <a:close/>
                <a:moveTo>
                  <a:pt x="3396494" y="3139423"/>
                </a:moveTo>
                <a:lnTo>
                  <a:pt x="3414154" y="3139898"/>
                </a:lnTo>
                <a:lnTo>
                  <a:pt x="3402594" y="3145162"/>
                </a:lnTo>
                <a:cubicBezTo>
                  <a:pt x="3402594" y="3139423"/>
                  <a:pt x="3402594" y="3139423"/>
                  <a:pt x="3396494" y="3139423"/>
                </a:cubicBezTo>
                <a:close/>
                <a:moveTo>
                  <a:pt x="3390755" y="3139423"/>
                </a:moveTo>
                <a:cubicBezTo>
                  <a:pt x="3385015" y="3145880"/>
                  <a:pt x="3390755" y="3152337"/>
                  <a:pt x="3385015" y="3152337"/>
                </a:cubicBezTo>
                <a:lnTo>
                  <a:pt x="3381474" y="3154432"/>
                </a:lnTo>
                <a:close/>
                <a:moveTo>
                  <a:pt x="3482587" y="3133684"/>
                </a:moveTo>
                <a:cubicBezTo>
                  <a:pt x="3482587" y="3133684"/>
                  <a:pt x="3482587" y="3139423"/>
                  <a:pt x="3482587" y="3139423"/>
                </a:cubicBezTo>
                <a:cubicBezTo>
                  <a:pt x="3482587" y="3150902"/>
                  <a:pt x="3476130" y="3133684"/>
                  <a:pt x="3476130" y="3139423"/>
                </a:cubicBezTo>
                <a:cubicBezTo>
                  <a:pt x="3476130" y="3139423"/>
                  <a:pt x="3469672" y="3145162"/>
                  <a:pt x="3463215" y="3150902"/>
                </a:cubicBezTo>
                <a:cubicBezTo>
                  <a:pt x="3456758" y="3145162"/>
                  <a:pt x="3463215" y="3145162"/>
                  <a:pt x="3456758" y="3139423"/>
                </a:cubicBezTo>
                <a:cubicBezTo>
                  <a:pt x="3463215" y="3139423"/>
                  <a:pt x="3476130" y="3133684"/>
                  <a:pt x="3482587" y="3133684"/>
                </a:cubicBezTo>
                <a:close/>
                <a:moveTo>
                  <a:pt x="3787403" y="3133120"/>
                </a:moveTo>
                <a:cubicBezTo>
                  <a:pt x="3793381" y="3133120"/>
                  <a:pt x="3793381" y="3145047"/>
                  <a:pt x="3799359" y="3145047"/>
                </a:cubicBezTo>
                <a:cubicBezTo>
                  <a:pt x="3799359" y="3151010"/>
                  <a:pt x="3799359" y="3145047"/>
                  <a:pt x="3793381" y="3145047"/>
                </a:cubicBezTo>
                <a:cubicBezTo>
                  <a:pt x="3787403" y="3151010"/>
                  <a:pt x="3793381" y="3156974"/>
                  <a:pt x="3787403" y="3156974"/>
                </a:cubicBezTo>
                <a:cubicBezTo>
                  <a:pt x="3787403" y="3151010"/>
                  <a:pt x="3781424" y="3156974"/>
                  <a:pt x="3781424" y="3151010"/>
                </a:cubicBezTo>
                <a:cubicBezTo>
                  <a:pt x="3781424" y="3139083"/>
                  <a:pt x="3781424" y="3139083"/>
                  <a:pt x="3787403" y="3139083"/>
                </a:cubicBezTo>
                <a:cubicBezTo>
                  <a:pt x="3787403" y="3139083"/>
                  <a:pt x="3787403" y="3139083"/>
                  <a:pt x="3781424" y="3139083"/>
                </a:cubicBezTo>
                <a:cubicBezTo>
                  <a:pt x="3781424" y="3127154"/>
                  <a:pt x="3793381" y="3139083"/>
                  <a:pt x="3787403" y="3133120"/>
                </a:cubicBezTo>
                <a:close/>
                <a:moveTo>
                  <a:pt x="3528502" y="3127944"/>
                </a:moveTo>
                <a:lnTo>
                  <a:pt x="3528502" y="3139423"/>
                </a:lnTo>
                <a:cubicBezTo>
                  <a:pt x="3522763" y="3133684"/>
                  <a:pt x="3522763" y="3133684"/>
                  <a:pt x="3517023" y="3133684"/>
                </a:cubicBezTo>
                <a:cubicBezTo>
                  <a:pt x="3517023" y="3127944"/>
                  <a:pt x="3528502" y="3127944"/>
                  <a:pt x="3528502" y="3127944"/>
                </a:cubicBezTo>
                <a:close/>
                <a:moveTo>
                  <a:pt x="3445281" y="3127944"/>
                </a:moveTo>
                <a:cubicBezTo>
                  <a:pt x="3442233" y="3130813"/>
                  <a:pt x="3433084" y="3136552"/>
                  <a:pt x="3423174" y="3140141"/>
                </a:cubicBezTo>
                <a:lnTo>
                  <a:pt x="3414154" y="3139898"/>
                </a:lnTo>
                <a:lnTo>
                  <a:pt x="3426224" y="3134401"/>
                </a:lnTo>
                <a:cubicBezTo>
                  <a:pt x="3433084" y="3130813"/>
                  <a:pt x="3439184" y="3127944"/>
                  <a:pt x="3445281" y="3127944"/>
                </a:cubicBezTo>
                <a:close/>
                <a:moveTo>
                  <a:pt x="3637952" y="3121191"/>
                </a:moveTo>
                <a:cubicBezTo>
                  <a:pt x="3631974" y="3121191"/>
                  <a:pt x="3643930" y="3133120"/>
                  <a:pt x="3637952" y="3133120"/>
                </a:cubicBezTo>
                <a:cubicBezTo>
                  <a:pt x="3637952" y="3130137"/>
                  <a:pt x="3636459" y="3130137"/>
                  <a:pt x="3634963" y="3131628"/>
                </a:cubicBezTo>
                <a:lnTo>
                  <a:pt x="3632876" y="3136832"/>
                </a:lnTo>
                <a:lnTo>
                  <a:pt x="3631465" y="3137864"/>
                </a:lnTo>
                <a:lnTo>
                  <a:pt x="3628237" y="3130137"/>
                </a:lnTo>
                <a:cubicBezTo>
                  <a:pt x="3630479" y="3127154"/>
                  <a:pt x="3634963" y="3124173"/>
                  <a:pt x="3637952" y="3121191"/>
                </a:cubicBezTo>
                <a:close/>
                <a:moveTo>
                  <a:pt x="3598536" y="3119607"/>
                </a:moveTo>
                <a:cubicBezTo>
                  <a:pt x="3599470" y="3120446"/>
                  <a:pt x="3600591" y="3122682"/>
                  <a:pt x="3602086" y="3127154"/>
                </a:cubicBezTo>
                <a:lnTo>
                  <a:pt x="3590129" y="3127154"/>
                </a:lnTo>
                <a:cubicBezTo>
                  <a:pt x="3593117" y="3127154"/>
                  <a:pt x="3594613" y="3122682"/>
                  <a:pt x="3596107" y="3120446"/>
                </a:cubicBezTo>
                <a:cubicBezTo>
                  <a:pt x="3596855" y="3119328"/>
                  <a:pt x="3597601" y="3118769"/>
                  <a:pt x="3598536" y="3119607"/>
                </a:cubicBezTo>
                <a:close/>
                <a:moveTo>
                  <a:pt x="3468603" y="3117093"/>
                </a:moveTo>
                <a:lnTo>
                  <a:pt x="3455073" y="3127944"/>
                </a:lnTo>
                <a:cubicBezTo>
                  <a:pt x="3449799" y="3130814"/>
                  <a:pt x="3445279" y="3130814"/>
                  <a:pt x="3445279" y="3122205"/>
                </a:cubicBezTo>
                <a:cubicBezTo>
                  <a:pt x="3451305" y="3122205"/>
                  <a:pt x="3456955" y="3121128"/>
                  <a:pt x="3462323" y="3119514"/>
                </a:cubicBezTo>
                <a:close/>
                <a:moveTo>
                  <a:pt x="3470419" y="3116393"/>
                </a:moveTo>
                <a:lnTo>
                  <a:pt x="3468603" y="3117093"/>
                </a:lnTo>
                <a:lnTo>
                  <a:pt x="3469385" y="3116465"/>
                </a:lnTo>
                <a:close/>
                <a:moveTo>
                  <a:pt x="3636278" y="3110725"/>
                </a:moveTo>
                <a:cubicBezTo>
                  <a:pt x="3636278" y="3110725"/>
                  <a:pt x="3642337" y="3110725"/>
                  <a:pt x="3642337" y="3110725"/>
                </a:cubicBezTo>
                <a:cubicBezTo>
                  <a:pt x="3642337" y="3116465"/>
                  <a:pt x="3636278" y="3116465"/>
                  <a:pt x="3636278" y="3116465"/>
                </a:cubicBezTo>
                <a:cubicBezTo>
                  <a:pt x="3636278" y="3116465"/>
                  <a:pt x="3636278" y="3116465"/>
                  <a:pt x="3636278" y="3110725"/>
                </a:cubicBezTo>
                <a:close/>
                <a:moveTo>
                  <a:pt x="3596107" y="3109263"/>
                </a:moveTo>
                <a:cubicBezTo>
                  <a:pt x="3599096" y="3109263"/>
                  <a:pt x="3600591" y="3109263"/>
                  <a:pt x="3602086" y="3110009"/>
                </a:cubicBezTo>
                <a:lnTo>
                  <a:pt x="3602359" y="3110248"/>
                </a:lnTo>
                <a:close/>
                <a:moveTo>
                  <a:pt x="3868703" y="3106877"/>
                </a:moveTo>
                <a:lnTo>
                  <a:pt x="3871094" y="3109263"/>
                </a:lnTo>
                <a:lnTo>
                  <a:pt x="3869661" y="3110217"/>
                </a:lnTo>
                <a:close/>
                <a:moveTo>
                  <a:pt x="3505545" y="3104986"/>
                </a:moveTo>
                <a:cubicBezTo>
                  <a:pt x="3502531" y="3110725"/>
                  <a:pt x="3496505" y="3113596"/>
                  <a:pt x="3489725" y="3115030"/>
                </a:cubicBezTo>
                <a:lnTo>
                  <a:pt x="3470419" y="3116393"/>
                </a:lnTo>
                <a:lnTo>
                  <a:pt x="3477672" y="3113595"/>
                </a:lnTo>
                <a:cubicBezTo>
                  <a:pt x="3487465" y="3109291"/>
                  <a:pt x="3496505" y="3104986"/>
                  <a:pt x="3505545" y="3104986"/>
                </a:cubicBezTo>
                <a:close/>
                <a:moveTo>
                  <a:pt x="3451019" y="3104986"/>
                </a:moveTo>
                <a:cubicBezTo>
                  <a:pt x="3445279" y="3116465"/>
                  <a:pt x="3433800" y="3110725"/>
                  <a:pt x="3428061" y="3116465"/>
                </a:cubicBezTo>
                <a:cubicBezTo>
                  <a:pt x="3422321" y="3110725"/>
                  <a:pt x="3445279" y="3104986"/>
                  <a:pt x="3451019" y="3104986"/>
                </a:cubicBezTo>
                <a:close/>
                <a:moveTo>
                  <a:pt x="3866052" y="3101808"/>
                </a:moveTo>
                <a:cubicBezTo>
                  <a:pt x="3866611" y="3102181"/>
                  <a:pt x="3867358" y="3103299"/>
                  <a:pt x="3868105" y="3104789"/>
                </a:cubicBezTo>
                <a:lnTo>
                  <a:pt x="3868703" y="3106877"/>
                </a:lnTo>
                <a:lnTo>
                  <a:pt x="3865118" y="3103299"/>
                </a:lnTo>
                <a:cubicBezTo>
                  <a:pt x="3865118" y="3101808"/>
                  <a:pt x="3865490" y="3101436"/>
                  <a:pt x="3866052" y="3101808"/>
                </a:cubicBezTo>
                <a:close/>
                <a:moveTo>
                  <a:pt x="3722393" y="3096589"/>
                </a:moveTo>
                <a:cubicBezTo>
                  <a:pt x="3722766" y="3096217"/>
                  <a:pt x="3723327" y="3096403"/>
                  <a:pt x="3723420" y="3097428"/>
                </a:cubicBezTo>
                <a:lnTo>
                  <a:pt x="3722828" y="3099385"/>
                </a:lnTo>
                <a:lnTo>
                  <a:pt x="3722486" y="3099106"/>
                </a:lnTo>
                <a:cubicBezTo>
                  <a:pt x="3721832" y="3097894"/>
                  <a:pt x="3722019" y="3096962"/>
                  <a:pt x="3722393" y="3096589"/>
                </a:cubicBezTo>
                <a:close/>
                <a:moveTo>
                  <a:pt x="3654455" y="3093507"/>
                </a:moveTo>
                <a:cubicBezTo>
                  <a:pt x="3660512" y="3099247"/>
                  <a:pt x="3648395" y="3104986"/>
                  <a:pt x="3648395" y="3110725"/>
                </a:cubicBezTo>
                <a:cubicBezTo>
                  <a:pt x="3648395" y="3110725"/>
                  <a:pt x="3648395" y="3104986"/>
                  <a:pt x="3636278" y="3110725"/>
                </a:cubicBezTo>
                <a:cubicBezTo>
                  <a:pt x="3624163" y="3116465"/>
                  <a:pt x="3630221" y="3127944"/>
                  <a:pt x="3618103" y="3133684"/>
                </a:cubicBezTo>
                <a:lnTo>
                  <a:pt x="3618103" y="3127154"/>
                </a:lnTo>
                <a:lnTo>
                  <a:pt x="3605073" y="3127154"/>
                </a:lnTo>
                <a:lnTo>
                  <a:pt x="3602086" y="3127154"/>
                </a:lnTo>
                <a:cubicBezTo>
                  <a:pt x="3608063" y="3121191"/>
                  <a:pt x="3608063" y="3121191"/>
                  <a:pt x="3608063" y="3115227"/>
                </a:cubicBezTo>
                <a:lnTo>
                  <a:pt x="3602359" y="3110248"/>
                </a:lnTo>
                <a:lnTo>
                  <a:pt x="3610305" y="3111499"/>
                </a:lnTo>
                <a:lnTo>
                  <a:pt x="3618103" y="3124070"/>
                </a:lnTo>
                <a:lnTo>
                  <a:pt x="3618103" y="3116465"/>
                </a:lnTo>
                <a:lnTo>
                  <a:pt x="3618103" y="3104986"/>
                </a:lnTo>
                <a:cubicBezTo>
                  <a:pt x="3618103" y="3110725"/>
                  <a:pt x="3624163" y="3104986"/>
                  <a:pt x="3624163" y="3116465"/>
                </a:cubicBezTo>
                <a:cubicBezTo>
                  <a:pt x="3630221" y="3104986"/>
                  <a:pt x="3648395" y="3099247"/>
                  <a:pt x="3654455" y="3093507"/>
                </a:cubicBezTo>
                <a:close/>
                <a:moveTo>
                  <a:pt x="3767363" y="3086624"/>
                </a:moveTo>
                <a:cubicBezTo>
                  <a:pt x="3768724" y="3087229"/>
                  <a:pt x="3769561" y="3088843"/>
                  <a:pt x="3769561" y="3092072"/>
                </a:cubicBezTo>
                <a:cubicBezTo>
                  <a:pt x="3762864" y="3092072"/>
                  <a:pt x="3756168" y="3104986"/>
                  <a:pt x="3749471" y="3092072"/>
                </a:cubicBezTo>
                <a:cubicBezTo>
                  <a:pt x="3752821" y="3092072"/>
                  <a:pt x="3757842" y="3088843"/>
                  <a:pt x="3762027" y="3087229"/>
                </a:cubicBezTo>
                <a:cubicBezTo>
                  <a:pt x="3764120" y="3086422"/>
                  <a:pt x="3766003" y="3086019"/>
                  <a:pt x="3767363" y="3086624"/>
                </a:cubicBezTo>
                <a:close/>
                <a:moveTo>
                  <a:pt x="3745556" y="3085407"/>
                </a:moveTo>
                <a:cubicBezTo>
                  <a:pt x="3751535" y="3085407"/>
                  <a:pt x="3739579" y="3091370"/>
                  <a:pt x="3751535" y="3097334"/>
                </a:cubicBezTo>
                <a:cubicBezTo>
                  <a:pt x="3679799" y="3127154"/>
                  <a:pt x="3578173" y="3174867"/>
                  <a:pt x="3530348" y="3186794"/>
                </a:cubicBezTo>
                <a:cubicBezTo>
                  <a:pt x="3524370" y="3186794"/>
                  <a:pt x="3524370" y="3186794"/>
                  <a:pt x="3524370" y="3192760"/>
                </a:cubicBezTo>
                <a:lnTo>
                  <a:pt x="3489346" y="3204407"/>
                </a:lnTo>
                <a:lnTo>
                  <a:pt x="3488326" y="3205426"/>
                </a:lnTo>
                <a:lnTo>
                  <a:pt x="3488424" y="3204714"/>
                </a:lnTo>
                <a:lnTo>
                  <a:pt x="3470569" y="3210650"/>
                </a:lnTo>
                <a:cubicBezTo>
                  <a:pt x="3476547" y="3192760"/>
                  <a:pt x="3476547" y="3204687"/>
                  <a:pt x="3488501" y="3192760"/>
                </a:cubicBezTo>
                <a:cubicBezTo>
                  <a:pt x="3488501" y="3186794"/>
                  <a:pt x="3482523" y="3186794"/>
                  <a:pt x="3482523" y="3180830"/>
                </a:cubicBezTo>
                <a:cubicBezTo>
                  <a:pt x="3476547" y="3180830"/>
                  <a:pt x="3482523" y="3186794"/>
                  <a:pt x="3482523" y="3192760"/>
                </a:cubicBezTo>
                <a:cubicBezTo>
                  <a:pt x="3476547" y="3192760"/>
                  <a:pt x="3470569" y="3192760"/>
                  <a:pt x="3464591" y="3198723"/>
                </a:cubicBezTo>
                <a:cubicBezTo>
                  <a:pt x="3464591" y="3192760"/>
                  <a:pt x="3470569" y="3192760"/>
                  <a:pt x="3470569" y="3192760"/>
                </a:cubicBezTo>
                <a:cubicBezTo>
                  <a:pt x="3466085" y="3188285"/>
                  <a:pt x="3464964" y="3193877"/>
                  <a:pt x="3462162" y="3194437"/>
                </a:cubicBezTo>
                <a:lnTo>
                  <a:pt x="3462125" y="3194419"/>
                </a:lnTo>
                <a:lnTo>
                  <a:pt x="3461602" y="3193505"/>
                </a:lnTo>
                <a:cubicBezTo>
                  <a:pt x="3460107" y="3192760"/>
                  <a:pt x="3458613" y="3192760"/>
                  <a:pt x="3458613" y="3192760"/>
                </a:cubicBezTo>
                <a:lnTo>
                  <a:pt x="3462125" y="3194419"/>
                </a:lnTo>
                <a:lnTo>
                  <a:pt x="3464591" y="3198723"/>
                </a:lnTo>
                <a:cubicBezTo>
                  <a:pt x="3458613" y="3198723"/>
                  <a:pt x="3446657" y="3198723"/>
                  <a:pt x="3452634" y="3210650"/>
                </a:cubicBezTo>
                <a:cubicBezTo>
                  <a:pt x="3446657" y="3210650"/>
                  <a:pt x="3446657" y="3198723"/>
                  <a:pt x="3440679" y="3192760"/>
                </a:cubicBezTo>
                <a:cubicBezTo>
                  <a:pt x="3434701" y="3192760"/>
                  <a:pt x="3446657" y="3204687"/>
                  <a:pt x="3446657" y="3204687"/>
                </a:cubicBezTo>
                <a:cubicBezTo>
                  <a:pt x="3434701" y="3210650"/>
                  <a:pt x="3440679" y="3198723"/>
                  <a:pt x="3434701" y="3198723"/>
                </a:cubicBezTo>
                <a:cubicBezTo>
                  <a:pt x="3431712" y="3207669"/>
                  <a:pt x="3427228" y="3213633"/>
                  <a:pt x="3421249" y="3216615"/>
                </a:cubicBezTo>
                <a:lnTo>
                  <a:pt x="3404810" y="3216615"/>
                </a:lnTo>
                <a:cubicBezTo>
                  <a:pt x="3416766" y="3210650"/>
                  <a:pt x="3422744" y="3216615"/>
                  <a:pt x="3428722" y="3198723"/>
                </a:cubicBezTo>
                <a:cubicBezTo>
                  <a:pt x="3422744" y="3198723"/>
                  <a:pt x="3416766" y="3204687"/>
                  <a:pt x="3404810" y="3198723"/>
                </a:cubicBezTo>
                <a:cubicBezTo>
                  <a:pt x="3404810" y="3192760"/>
                  <a:pt x="3410788" y="3192760"/>
                  <a:pt x="3404810" y="3192760"/>
                </a:cubicBezTo>
                <a:cubicBezTo>
                  <a:pt x="3404810" y="3186794"/>
                  <a:pt x="3416766" y="3186794"/>
                  <a:pt x="3410788" y="3180830"/>
                </a:cubicBezTo>
                <a:cubicBezTo>
                  <a:pt x="3422744" y="3180830"/>
                  <a:pt x="3410788" y="3192760"/>
                  <a:pt x="3410788" y="3192760"/>
                </a:cubicBezTo>
                <a:cubicBezTo>
                  <a:pt x="3416766" y="3198723"/>
                  <a:pt x="3416766" y="3186794"/>
                  <a:pt x="3422744" y="3192760"/>
                </a:cubicBezTo>
                <a:cubicBezTo>
                  <a:pt x="3434701" y="3180830"/>
                  <a:pt x="3440679" y="3180830"/>
                  <a:pt x="3452634" y="3180830"/>
                </a:cubicBezTo>
                <a:cubicBezTo>
                  <a:pt x="3440679" y="3180830"/>
                  <a:pt x="3434701" y="3174867"/>
                  <a:pt x="3428722" y="3180830"/>
                </a:cubicBezTo>
                <a:lnTo>
                  <a:pt x="3434701" y="3174867"/>
                </a:lnTo>
                <a:cubicBezTo>
                  <a:pt x="3434701" y="3174867"/>
                  <a:pt x="3436195" y="3174867"/>
                  <a:pt x="3437690" y="3174121"/>
                </a:cubicBezTo>
                <a:lnTo>
                  <a:pt x="3438075" y="3173450"/>
                </a:lnTo>
                <a:lnTo>
                  <a:pt x="3448898" y="3168903"/>
                </a:lnTo>
                <a:cubicBezTo>
                  <a:pt x="3451140" y="3168903"/>
                  <a:pt x="3452634" y="3168903"/>
                  <a:pt x="3458613" y="3162939"/>
                </a:cubicBezTo>
                <a:cubicBezTo>
                  <a:pt x="3464591" y="3168903"/>
                  <a:pt x="3464591" y="3168903"/>
                  <a:pt x="3464591" y="3174867"/>
                </a:cubicBezTo>
                <a:cubicBezTo>
                  <a:pt x="3464591" y="3174867"/>
                  <a:pt x="3470569" y="3162939"/>
                  <a:pt x="3476547" y="3168903"/>
                </a:cubicBezTo>
                <a:cubicBezTo>
                  <a:pt x="3476547" y="3168903"/>
                  <a:pt x="3476547" y="3162939"/>
                  <a:pt x="3476547" y="3156974"/>
                </a:cubicBezTo>
                <a:cubicBezTo>
                  <a:pt x="3482523" y="3168903"/>
                  <a:pt x="3494479" y="3162939"/>
                  <a:pt x="3506436" y="3156974"/>
                </a:cubicBezTo>
                <a:cubicBezTo>
                  <a:pt x="3506436" y="3151010"/>
                  <a:pt x="3500458" y="3151010"/>
                  <a:pt x="3500458" y="3145047"/>
                </a:cubicBezTo>
                <a:cubicBezTo>
                  <a:pt x="3512414" y="3145047"/>
                  <a:pt x="3512414" y="3145047"/>
                  <a:pt x="3518392" y="3145047"/>
                </a:cubicBezTo>
                <a:cubicBezTo>
                  <a:pt x="3518392" y="3145047"/>
                  <a:pt x="3512414" y="3151010"/>
                  <a:pt x="3506436" y="3151010"/>
                </a:cubicBezTo>
                <a:lnTo>
                  <a:pt x="3511230" y="3165358"/>
                </a:lnTo>
                <a:lnTo>
                  <a:pt x="3511283" y="3165249"/>
                </a:lnTo>
                <a:lnTo>
                  <a:pt x="3511283" y="3165521"/>
                </a:lnTo>
                <a:lnTo>
                  <a:pt x="3512414" y="3168903"/>
                </a:lnTo>
                <a:cubicBezTo>
                  <a:pt x="3512414" y="3162939"/>
                  <a:pt x="3530348" y="3151010"/>
                  <a:pt x="3518392" y="3151010"/>
                </a:cubicBezTo>
                <a:cubicBezTo>
                  <a:pt x="3542304" y="3145047"/>
                  <a:pt x="3536326" y="3127154"/>
                  <a:pt x="3566217" y="3121191"/>
                </a:cubicBezTo>
                <a:cubicBezTo>
                  <a:pt x="3560239" y="3133120"/>
                  <a:pt x="3554261" y="3127154"/>
                  <a:pt x="3542304" y="3139083"/>
                </a:cubicBezTo>
                <a:cubicBezTo>
                  <a:pt x="3566217" y="3133120"/>
                  <a:pt x="3572194" y="3127154"/>
                  <a:pt x="3584151" y="3115227"/>
                </a:cubicBezTo>
                <a:cubicBezTo>
                  <a:pt x="3584151" y="3115227"/>
                  <a:pt x="3584151" y="3121191"/>
                  <a:pt x="3590129" y="3127154"/>
                </a:cubicBezTo>
                <a:cubicBezTo>
                  <a:pt x="3584151" y="3133120"/>
                  <a:pt x="3590129" y="3139083"/>
                  <a:pt x="3596107" y="3139083"/>
                </a:cubicBezTo>
                <a:cubicBezTo>
                  <a:pt x="3590129" y="3139083"/>
                  <a:pt x="3584151" y="3145047"/>
                  <a:pt x="3584151" y="3156974"/>
                </a:cubicBezTo>
                <a:cubicBezTo>
                  <a:pt x="3596107" y="3153993"/>
                  <a:pt x="3606568" y="3152502"/>
                  <a:pt x="3615534" y="3149521"/>
                </a:cubicBezTo>
                <a:lnTo>
                  <a:pt x="3631465" y="3137864"/>
                </a:lnTo>
                <a:lnTo>
                  <a:pt x="3631974" y="3139083"/>
                </a:lnTo>
                <a:lnTo>
                  <a:pt x="3632876" y="3136832"/>
                </a:lnTo>
                <a:lnTo>
                  <a:pt x="3637952" y="3133120"/>
                </a:lnTo>
                <a:cubicBezTo>
                  <a:pt x="3637952" y="3139083"/>
                  <a:pt x="3643930" y="3127154"/>
                  <a:pt x="3643930" y="3127154"/>
                </a:cubicBezTo>
                <a:cubicBezTo>
                  <a:pt x="3643930" y="3127154"/>
                  <a:pt x="3643930" y="3133120"/>
                  <a:pt x="3643930" y="3133120"/>
                </a:cubicBezTo>
                <a:cubicBezTo>
                  <a:pt x="3667842" y="3133120"/>
                  <a:pt x="3703710" y="3109263"/>
                  <a:pt x="3715667" y="3097334"/>
                </a:cubicBezTo>
                <a:cubicBezTo>
                  <a:pt x="3715667" y="3097334"/>
                  <a:pt x="3721645" y="3103299"/>
                  <a:pt x="3721645" y="3103299"/>
                </a:cubicBezTo>
                <a:lnTo>
                  <a:pt x="3722828" y="3099385"/>
                </a:lnTo>
                <a:lnTo>
                  <a:pt x="3727623" y="3103299"/>
                </a:lnTo>
                <a:cubicBezTo>
                  <a:pt x="3733601" y="3103299"/>
                  <a:pt x="3745556" y="3085407"/>
                  <a:pt x="3745556" y="3085407"/>
                </a:cubicBezTo>
                <a:close/>
                <a:moveTo>
                  <a:pt x="3548591" y="3079158"/>
                </a:moveTo>
                <a:cubicBezTo>
                  <a:pt x="3548591" y="3092551"/>
                  <a:pt x="3528502" y="3099247"/>
                  <a:pt x="3528502" y="3092551"/>
                </a:cubicBezTo>
                <a:cubicBezTo>
                  <a:pt x="3535200" y="3085854"/>
                  <a:pt x="3541896" y="3092551"/>
                  <a:pt x="3548591" y="3079158"/>
                </a:cubicBezTo>
                <a:close/>
                <a:moveTo>
                  <a:pt x="3508415" y="3077722"/>
                </a:moveTo>
                <a:cubicBezTo>
                  <a:pt x="3511283" y="3076287"/>
                  <a:pt x="3514154" y="3076287"/>
                  <a:pt x="3517023" y="3079158"/>
                </a:cubicBezTo>
                <a:cubicBezTo>
                  <a:pt x="3517023" y="3084897"/>
                  <a:pt x="3511283" y="3079158"/>
                  <a:pt x="3499805" y="3084897"/>
                </a:cubicBezTo>
                <a:cubicBezTo>
                  <a:pt x="3502676" y="3082027"/>
                  <a:pt x="3505545" y="3079158"/>
                  <a:pt x="3508415" y="3077722"/>
                </a:cubicBezTo>
                <a:close/>
                <a:moveTo>
                  <a:pt x="3571547" y="3073418"/>
                </a:moveTo>
                <a:cubicBezTo>
                  <a:pt x="3571547" y="3073418"/>
                  <a:pt x="3571547" y="3073418"/>
                  <a:pt x="3571547" y="3079158"/>
                </a:cubicBezTo>
                <a:cubicBezTo>
                  <a:pt x="3548590" y="3084897"/>
                  <a:pt x="3560068" y="3079158"/>
                  <a:pt x="3571547" y="3073418"/>
                </a:cubicBezTo>
                <a:close/>
                <a:moveTo>
                  <a:pt x="3709009" y="3067679"/>
                </a:moveTo>
                <a:cubicBezTo>
                  <a:pt x="3702984" y="3073897"/>
                  <a:pt x="3709009" y="3073897"/>
                  <a:pt x="3715035" y="3067679"/>
                </a:cubicBezTo>
                <a:cubicBezTo>
                  <a:pt x="3715035" y="3073897"/>
                  <a:pt x="3702984" y="3086333"/>
                  <a:pt x="3696957" y="3086333"/>
                </a:cubicBezTo>
                <a:cubicBezTo>
                  <a:pt x="3690931" y="3092551"/>
                  <a:pt x="3666824" y="3086333"/>
                  <a:pt x="3666824" y="3104986"/>
                </a:cubicBezTo>
                <a:cubicBezTo>
                  <a:pt x="3654771" y="3104986"/>
                  <a:pt x="3660798" y="3092551"/>
                  <a:pt x="3654771" y="3092551"/>
                </a:cubicBezTo>
                <a:cubicBezTo>
                  <a:pt x="3660798" y="3086333"/>
                  <a:pt x="3669838" y="3080114"/>
                  <a:pt x="3678877" y="3077005"/>
                </a:cubicBezTo>
                <a:lnTo>
                  <a:pt x="3683273" y="3077572"/>
                </a:lnTo>
                <a:lnTo>
                  <a:pt x="3689207" y="3073418"/>
                </a:lnTo>
                <a:lnTo>
                  <a:pt x="3685641" y="3077878"/>
                </a:lnTo>
                <a:lnTo>
                  <a:pt x="3702984" y="3080114"/>
                </a:lnTo>
                <a:cubicBezTo>
                  <a:pt x="3702984" y="3073897"/>
                  <a:pt x="3696957" y="3067679"/>
                  <a:pt x="3709009" y="3067679"/>
                </a:cubicBezTo>
                <a:close/>
                <a:moveTo>
                  <a:pt x="3972721" y="3061551"/>
                </a:moveTo>
                <a:cubicBezTo>
                  <a:pt x="3972721" y="3067514"/>
                  <a:pt x="3978699" y="3067514"/>
                  <a:pt x="3978699" y="3073478"/>
                </a:cubicBezTo>
                <a:cubicBezTo>
                  <a:pt x="3924896" y="3091370"/>
                  <a:pt x="3877072" y="3115227"/>
                  <a:pt x="3841205" y="3139083"/>
                </a:cubicBezTo>
                <a:cubicBezTo>
                  <a:pt x="3835227" y="3139083"/>
                  <a:pt x="3835227" y="3133120"/>
                  <a:pt x="3835227" y="3133120"/>
                </a:cubicBezTo>
                <a:cubicBezTo>
                  <a:pt x="3829250" y="3133120"/>
                  <a:pt x="3829250" y="3145047"/>
                  <a:pt x="3823270" y="3133120"/>
                </a:cubicBezTo>
                <a:cubicBezTo>
                  <a:pt x="3823270" y="3139083"/>
                  <a:pt x="3823270" y="3139083"/>
                  <a:pt x="3823270" y="3145047"/>
                </a:cubicBezTo>
                <a:cubicBezTo>
                  <a:pt x="3817292" y="3145047"/>
                  <a:pt x="3811314" y="3151010"/>
                  <a:pt x="3805336" y="3151010"/>
                </a:cubicBezTo>
                <a:cubicBezTo>
                  <a:pt x="3805336" y="3151010"/>
                  <a:pt x="3805336" y="3145047"/>
                  <a:pt x="3799359" y="3145047"/>
                </a:cubicBezTo>
                <a:cubicBezTo>
                  <a:pt x="3799359" y="3133120"/>
                  <a:pt x="3799359" y="3133120"/>
                  <a:pt x="3799359" y="3121191"/>
                </a:cubicBezTo>
                <a:cubicBezTo>
                  <a:pt x="3811314" y="3121191"/>
                  <a:pt x="3805336" y="3133120"/>
                  <a:pt x="3805336" y="3139083"/>
                </a:cubicBezTo>
                <a:cubicBezTo>
                  <a:pt x="3817292" y="3133120"/>
                  <a:pt x="3823270" y="3145047"/>
                  <a:pt x="3817292" y="3127154"/>
                </a:cubicBezTo>
                <a:cubicBezTo>
                  <a:pt x="3829250" y="3127154"/>
                  <a:pt x="3847183" y="3133120"/>
                  <a:pt x="3853161" y="3115227"/>
                </a:cubicBezTo>
                <a:cubicBezTo>
                  <a:pt x="3856149" y="3118209"/>
                  <a:pt x="3857644" y="3118209"/>
                  <a:pt x="3859885" y="3116718"/>
                </a:cubicBezTo>
                <a:lnTo>
                  <a:pt x="3869661" y="3110217"/>
                </a:lnTo>
                <a:lnTo>
                  <a:pt x="3871094" y="3115227"/>
                </a:lnTo>
                <a:cubicBezTo>
                  <a:pt x="3877072" y="3103299"/>
                  <a:pt x="3871094" y="3103299"/>
                  <a:pt x="3871094" y="3091370"/>
                </a:cubicBezTo>
                <a:cubicBezTo>
                  <a:pt x="3877072" y="3097334"/>
                  <a:pt x="3883050" y="3103299"/>
                  <a:pt x="3889028" y="3103299"/>
                </a:cubicBezTo>
                <a:cubicBezTo>
                  <a:pt x="3912941" y="3085407"/>
                  <a:pt x="3960765" y="3079443"/>
                  <a:pt x="3972721" y="3061551"/>
                </a:cubicBezTo>
                <a:close/>
                <a:moveTo>
                  <a:pt x="3617463" y="3050460"/>
                </a:moveTo>
                <a:cubicBezTo>
                  <a:pt x="3617463" y="3061939"/>
                  <a:pt x="3605984" y="3061939"/>
                  <a:pt x="3588766" y="3073418"/>
                </a:cubicBezTo>
                <a:cubicBezTo>
                  <a:pt x="3600245" y="3056200"/>
                  <a:pt x="3605984" y="3061939"/>
                  <a:pt x="3617463" y="3050460"/>
                </a:cubicBezTo>
                <a:close/>
                <a:moveTo>
                  <a:pt x="3536326" y="3043658"/>
                </a:moveTo>
                <a:lnTo>
                  <a:pt x="3536326" y="3049623"/>
                </a:lnTo>
                <a:cubicBezTo>
                  <a:pt x="3536326" y="3061551"/>
                  <a:pt x="3530348" y="3043658"/>
                  <a:pt x="3524370" y="3055587"/>
                </a:cubicBezTo>
                <a:cubicBezTo>
                  <a:pt x="3522875" y="3054096"/>
                  <a:pt x="3522502" y="3052605"/>
                  <a:pt x="3522875" y="3051207"/>
                </a:cubicBezTo>
                <a:lnTo>
                  <a:pt x="3523854" y="3049956"/>
                </a:lnTo>
                <a:lnTo>
                  <a:pt x="3524370" y="3049623"/>
                </a:lnTo>
                <a:lnTo>
                  <a:pt x="3524262" y="3049435"/>
                </a:lnTo>
                <a:lnTo>
                  <a:pt x="3525864" y="3047386"/>
                </a:lnTo>
                <a:cubicBezTo>
                  <a:pt x="3528853" y="3045149"/>
                  <a:pt x="3533337" y="3043658"/>
                  <a:pt x="3536326" y="3043658"/>
                </a:cubicBezTo>
                <a:close/>
                <a:moveTo>
                  <a:pt x="3654771" y="3038981"/>
                </a:moveTo>
                <a:cubicBezTo>
                  <a:pt x="3654771" y="3050460"/>
                  <a:pt x="3637552" y="3050460"/>
                  <a:pt x="3626073" y="3056200"/>
                </a:cubicBezTo>
                <a:cubicBezTo>
                  <a:pt x="3631813" y="3044721"/>
                  <a:pt x="3643292" y="3050460"/>
                  <a:pt x="3654771" y="3038981"/>
                </a:cubicBezTo>
                <a:close/>
                <a:moveTo>
                  <a:pt x="3677728" y="3027503"/>
                </a:moveTo>
                <a:cubicBezTo>
                  <a:pt x="3689207" y="3033242"/>
                  <a:pt x="3666250" y="3038981"/>
                  <a:pt x="3660510" y="3044721"/>
                </a:cubicBezTo>
                <a:cubicBezTo>
                  <a:pt x="3660510" y="3033242"/>
                  <a:pt x="3677728" y="3038981"/>
                  <a:pt x="3677728" y="3027503"/>
                </a:cubicBezTo>
                <a:close/>
                <a:moveTo>
                  <a:pt x="3702600" y="3019610"/>
                </a:moveTo>
                <a:cubicBezTo>
                  <a:pt x="3705710" y="3018892"/>
                  <a:pt x="3708819" y="3018892"/>
                  <a:pt x="3708819" y="3021763"/>
                </a:cubicBezTo>
                <a:cubicBezTo>
                  <a:pt x="3715035" y="3021763"/>
                  <a:pt x="3690166" y="3027503"/>
                  <a:pt x="3683948" y="3033242"/>
                </a:cubicBezTo>
                <a:cubicBezTo>
                  <a:pt x="3677728" y="3021763"/>
                  <a:pt x="3702600" y="3033242"/>
                  <a:pt x="3696382" y="3021763"/>
                </a:cubicBezTo>
                <a:cubicBezTo>
                  <a:pt x="3696382" y="3021763"/>
                  <a:pt x="3699491" y="3020327"/>
                  <a:pt x="3702600" y="3019610"/>
                </a:cubicBezTo>
                <a:close/>
                <a:moveTo>
                  <a:pt x="3590129" y="2984018"/>
                </a:moveTo>
                <a:cubicBezTo>
                  <a:pt x="3590129" y="2984018"/>
                  <a:pt x="3584151" y="2995947"/>
                  <a:pt x="3584151" y="2989982"/>
                </a:cubicBezTo>
                <a:lnTo>
                  <a:pt x="3584453" y="2987868"/>
                </a:lnTo>
                <a:close/>
                <a:moveTo>
                  <a:pt x="3683774" y="2980670"/>
                </a:moveTo>
                <a:lnTo>
                  <a:pt x="3674816" y="2991728"/>
                </a:lnTo>
                <a:cubicBezTo>
                  <a:pt x="3669642" y="2993210"/>
                  <a:pt x="3663730" y="2994693"/>
                  <a:pt x="3660773" y="3003590"/>
                </a:cubicBezTo>
                <a:cubicBezTo>
                  <a:pt x="3657815" y="2997659"/>
                  <a:pt x="3657815" y="2996175"/>
                  <a:pt x="3658554" y="2994693"/>
                </a:cubicBezTo>
                <a:lnTo>
                  <a:pt x="3659928" y="2989184"/>
                </a:lnTo>
                <a:lnTo>
                  <a:pt x="3671416" y="2983425"/>
                </a:lnTo>
                <a:close/>
                <a:moveTo>
                  <a:pt x="3684426" y="2979865"/>
                </a:moveTo>
                <a:lnTo>
                  <a:pt x="3686208" y="2980128"/>
                </a:lnTo>
                <a:lnTo>
                  <a:pt x="3683774" y="2980670"/>
                </a:lnTo>
                <a:close/>
                <a:moveTo>
                  <a:pt x="4005405" y="2975075"/>
                </a:moveTo>
                <a:lnTo>
                  <a:pt x="4003577" y="2976031"/>
                </a:lnTo>
                <a:cubicBezTo>
                  <a:pt x="3985637" y="2982696"/>
                  <a:pt x="3969190" y="2987140"/>
                  <a:pt x="3960221" y="2990103"/>
                </a:cubicBezTo>
                <a:close/>
                <a:moveTo>
                  <a:pt x="3749019" y="2955686"/>
                </a:moveTo>
                <a:lnTo>
                  <a:pt x="3749473" y="2956143"/>
                </a:lnTo>
                <a:lnTo>
                  <a:pt x="3749066" y="2956347"/>
                </a:lnTo>
                <a:close/>
                <a:moveTo>
                  <a:pt x="3746979" y="2948729"/>
                </a:moveTo>
                <a:cubicBezTo>
                  <a:pt x="3747811" y="2949100"/>
                  <a:pt x="3748365" y="2950212"/>
                  <a:pt x="3748734" y="2951694"/>
                </a:cubicBezTo>
                <a:lnTo>
                  <a:pt x="3749019" y="2955686"/>
                </a:lnTo>
                <a:lnTo>
                  <a:pt x="3746517" y="2953177"/>
                </a:lnTo>
                <a:cubicBezTo>
                  <a:pt x="3745039" y="2953177"/>
                  <a:pt x="3743560" y="2953177"/>
                  <a:pt x="3743560" y="2950212"/>
                </a:cubicBezTo>
                <a:cubicBezTo>
                  <a:pt x="3745039" y="2948729"/>
                  <a:pt x="3746148" y="2948358"/>
                  <a:pt x="3746979" y="2948729"/>
                </a:cubicBezTo>
                <a:close/>
                <a:moveTo>
                  <a:pt x="4271765" y="2938541"/>
                </a:moveTo>
                <a:cubicBezTo>
                  <a:pt x="4265733" y="2950281"/>
                  <a:pt x="4253668" y="2944411"/>
                  <a:pt x="4247636" y="2956150"/>
                </a:cubicBezTo>
                <a:cubicBezTo>
                  <a:pt x="4139054" y="2997241"/>
                  <a:pt x="4054601" y="3044200"/>
                  <a:pt x="3976181" y="3067680"/>
                </a:cubicBezTo>
                <a:cubicBezTo>
                  <a:pt x="3976181" y="3050069"/>
                  <a:pt x="4012376" y="3061811"/>
                  <a:pt x="4012376" y="3044200"/>
                </a:cubicBezTo>
                <a:cubicBezTo>
                  <a:pt x="4054601" y="3032461"/>
                  <a:pt x="4090795" y="3014851"/>
                  <a:pt x="4139054" y="2997241"/>
                </a:cubicBezTo>
                <a:cubicBezTo>
                  <a:pt x="4157151" y="2991372"/>
                  <a:pt x="4181280" y="2973761"/>
                  <a:pt x="4205409" y="2967891"/>
                </a:cubicBezTo>
                <a:cubicBezTo>
                  <a:pt x="4217474" y="2962021"/>
                  <a:pt x="4235571" y="2962021"/>
                  <a:pt x="4241603" y="2956150"/>
                </a:cubicBezTo>
                <a:cubicBezTo>
                  <a:pt x="4247636" y="2956150"/>
                  <a:pt x="4241603" y="2950281"/>
                  <a:pt x="4247636" y="2944411"/>
                </a:cubicBezTo>
                <a:cubicBezTo>
                  <a:pt x="4253668" y="2938541"/>
                  <a:pt x="4265733" y="2944411"/>
                  <a:pt x="4271765" y="2938541"/>
                </a:cubicBezTo>
                <a:close/>
                <a:moveTo>
                  <a:pt x="4280821" y="2928063"/>
                </a:moveTo>
                <a:cubicBezTo>
                  <a:pt x="4281629" y="2927749"/>
                  <a:pt x="4282166" y="2927958"/>
                  <a:pt x="4282525" y="2928377"/>
                </a:cubicBezTo>
                <a:cubicBezTo>
                  <a:pt x="4283242" y="2929213"/>
                  <a:pt x="4283242" y="2930888"/>
                  <a:pt x="4283242" y="2930888"/>
                </a:cubicBezTo>
                <a:cubicBezTo>
                  <a:pt x="4283242" y="2930888"/>
                  <a:pt x="4288982" y="2937585"/>
                  <a:pt x="4300460" y="2930888"/>
                </a:cubicBezTo>
                <a:cubicBezTo>
                  <a:pt x="4300460" y="2937585"/>
                  <a:pt x="4294721" y="2937585"/>
                  <a:pt x="4288982" y="2944281"/>
                </a:cubicBezTo>
                <a:cubicBezTo>
                  <a:pt x="4288982" y="2930888"/>
                  <a:pt x="4277502" y="2937585"/>
                  <a:pt x="4277502" y="2930888"/>
                </a:cubicBezTo>
                <a:cubicBezTo>
                  <a:pt x="4278938" y="2929213"/>
                  <a:pt x="4280014" y="2928377"/>
                  <a:pt x="4280821" y="2928063"/>
                </a:cubicBezTo>
                <a:close/>
                <a:moveTo>
                  <a:pt x="3803997" y="2924192"/>
                </a:moveTo>
                <a:cubicBezTo>
                  <a:pt x="3803997" y="2930411"/>
                  <a:pt x="3791801" y="2930411"/>
                  <a:pt x="3797899" y="2936627"/>
                </a:cubicBezTo>
                <a:cubicBezTo>
                  <a:pt x="3785703" y="2942846"/>
                  <a:pt x="3773507" y="2955281"/>
                  <a:pt x="3755211" y="2961499"/>
                </a:cubicBezTo>
                <a:cubicBezTo>
                  <a:pt x="3755211" y="2955281"/>
                  <a:pt x="3755211" y="2949064"/>
                  <a:pt x="3755211" y="2942846"/>
                </a:cubicBezTo>
                <a:cubicBezTo>
                  <a:pt x="3755211" y="2955281"/>
                  <a:pt x="3791801" y="2936627"/>
                  <a:pt x="3803997" y="2924192"/>
                </a:cubicBezTo>
                <a:close/>
                <a:moveTo>
                  <a:pt x="3924527" y="2884015"/>
                </a:moveTo>
                <a:cubicBezTo>
                  <a:pt x="3924527" y="2889755"/>
                  <a:pt x="3917830" y="2889755"/>
                  <a:pt x="3911135" y="2895495"/>
                </a:cubicBezTo>
                <a:cubicBezTo>
                  <a:pt x="3904437" y="2884015"/>
                  <a:pt x="3917830" y="2884015"/>
                  <a:pt x="3924527" y="2884015"/>
                </a:cubicBezTo>
                <a:close/>
                <a:moveTo>
                  <a:pt x="4389423" y="2878276"/>
                </a:moveTo>
                <a:cubicBezTo>
                  <a:pt x="4389423" y="2889755"/>
                  <a:pt x="4389423" y="2895495"/>
                  <a:pt x="4383505" y="2901234"/>
                </a:cubicBezTo>
                <a:cubicBezTo>
                  <a:pt x="4389423" y="2884015"/>
                  <a:pt x="4365747" y="2901234"/>
                  <a:pt x="4371666" y="2906973"/>
                </a:cubicBezTo>
                <a:cubicBezTo>
                  <a:pt x="4365747" y="2901234"/>
                  <a:pt x="4353910" y="2906973"/>
                  <a:pt x="4353910" y="2901234"/>
                </a:cubicBezTo>
                <a:cubicBezTo>
                  <a:pt x="4342072" y="2901234"/>
                  <a:pt x="4336154" y="2906973"/>
                  <a:pt x="4330235" y="2906973"/>
                </a:cubicBezTo>
                <a:cubicBezTo>
                  <a:pt x="4324315" y="2906973"/>
                  <a:pt x="4324315" y="2912713"/>
                  <a:pt x="4330235" y="2918452"/>
                </a:cubicBezTo>
                <a:cubicBezTo>
                  <a:pt x="4324315" y="2918452"/>
                  <a:pt x="4318396" y="2918452"/>
                  <a:pt x="4318396" y="2912713"/>
                </a:cubicBezTo>
                <a:cubicBezTo>
                  <a:pt x="4312478" y="2912713"/>
                  <a:pt x="4318396" y="2918452"/>
                  <a:pt x="4312478" y="2924192"/>
                </a:cubicBezTo>
                <a:cubicBezTo>
                  <a:pt x="4306560" y="2929931"/>
                  <a:pt x="4300639" y="2924192"/>
                  <a:pt x="4294721" y="2918452"/>
                </a:cubicBezTo>
                <a:cubicBezTo>
                  <a:pt x="4306560" y="2924192"/>
                  <a:pt x="4324315" y="2912713"/>
                  <a:pt x="4324315" y="2901234"/>
                </a:cubicBezTo>
                <a:cubicBezTo>
                  <a:pt x="4336154" y="2895495"/>
                  <a:pt x="4342072" y="2901234"/>
                  <a:pt x="4353910" y="2895495"/>
                </a:cubicBezTo>
                <a:cubicBezTo>
                  <a:pt x="4353910" y="2901234"/>
                  <a:pt x="4359829" y="2895495"/>
                  <a:pt x="4359829" y="2901234"/>
                </a:cubicBezTo>
                <a:cubicBezTo>
                  <a:pt x="4365747" y="2895495"/>
                  <a:pt x="4371666" y="2895495"/>
                  <a:pt x="4371666" y="2889755"/>
                </a:cubicBezTo>
                <a:cubicBezTo>
                  <a:pt x="4377586" y="2889755"/>
                  <a:pt x="4377586" y="2895495"/>
                  <a:pt x="4383505" y="2889755"/>
                </a:cubicBezTo>
                <a:cubicBezTo>
                  <a:pt x="4377586" y="2884015"/>
                  <a:pt x="4383505" y="2889755"/>
                  <a:pt x="4389423" y="2878276"/>
                </a:cubicBezTo>
                <a:close/>
                <a:moveTo>
                  <a:pt x="4422784" y="2876841"/>
                </a:moveTo>
                <a:cubicBezTo>
                  <a:pt x="4425152" y="2876841"/>
                  <a:pt x="4426731" y="2878276"/>
                  <a:pt x="4426731" y="2884015"/>
                </a:cubicBezTo>
                <a:cubicBezTo>
                  <a:pt x="4420418" y="2878276"/>
                  <a:pt x="4401477" y="2901234"/>
                  <a:pt x="4395163" y="2884015"/>
                </a:cubicBezTo>
                <a:cubicBezTo>
                  <a:pt x="4401477" y="2884015"/>
                  <a:pt x="4401477" y="2884015"/>
                  <a:pt x="4401477" y="2878276"/>
                </a:cubicBezTo>
                <a:cubicBezTo>
                  <a:pt x="4407789" y="2878276"/>
                  <a:pt x="4407789" y="2878276"/>
                  <a:pt x="4401477" y="2884015"/>
                </a:cubicBezTo>
                <a:cubicBezTo>
                  <a:pt x="4401477" y="2889755"/>
                  <a:pt x="4420418" y="2884015"/>
                  <a:pt x="4414103" y="2878276"/>
                </a:cubicBezTo>
                <a:cubicBezTo>
                  <a:pt x="4417262" y="2878276"/>
                  <a:pt x="4420418" y="2876841"/>
                  <a:pt x="4422784" y="2876841"/>
                </a:cubicBezTo>
                <a:close/>
                <a:moveTo>
                  <a:pt x="4276205" y="2861099"/>
                </a:moveTo>
                <a:lnTo>
                  <a:pt x="4273432" y="2864945"/>
                </a:lnTo>
                <a:lnTo>
                  <a:pt x="4270083" y="2865247"/>
                </a:lnTo>
                <a:lnTo>
                  <a:pt x="4274549" y="2861790"/>
                </a:lnTo>
                <a:close/>
                <a:moveTo>
                  <a:pt x="4476515" y="2855940"/>
                </a:moveTo>
                <a:cubicBezTo>
                  <a:pt x="4482608" y="2855259"/>
                  <a:pt x="4488234" y="2856036"/>
                  <a:pt x="4492734" y="2859145"/>
                </a:cubicBezTo>
                <a:cubicBezTo>
                  <a:pt x="4486734" y="2859145"/>
                  <a:pt x="4486734" y="2859145"/>
                  <a:pt x="4480734" y="2865364"/>
                </a:cubicBezTo>
                <a:cubicBezTo>
                  <a:pt x="4492734" y="2846710"/>
                  <a:pt x="4462731" y="2871582"/>
                  <a:pt x="4450731" y="2871582"/>
                </a:cubicBezTo>
                <a:cubicBezTo>
                  <a:pt x="4462731" y="2871582"/>
                  <a:pt x="4444730" y="2877799"/>
                  <a:pt x="4432731" y="2884017"/>
                </a:cubicBezTo>
                <a:cubicBezTo>
                  <a:pt x="4432731" y="2877799"/>
                  <a:pt x="4432731" y="2871582"/>
                  <a:pt x="4426728" y="2877799"/>
                </a:cubicBezTo>
                <a:cubicBezTo>
                  <a:pt x="4435729" y="2873137"/>
                  <a:pt x="4458231" y="2857979"/>
                  <a:pt x="4476515" y="2855940"/>
                </a:cubicBezTo>
                <a:close/>
                <a:moveTo>
                  <a:pt x="4432207" y="2853972"/>
                </a:moveTo>
                <a:lnTo>
                  <a:pt x="4432279" y="2855047"/>
                </a:lnTo>
                <a:cubicBezTo>
                  <a:pt x="4431906" y="2855420"/>
                  <a:pt x="4431345" y="2855606"/>
                  <a:pt x="4431252" y="2855327"/>
                </a:cubicBezTo>
                <a:close/>
                <a:moveTo>
                  <a:pt x="4515691" y="2835231"/>
                </a:moveTo>
                <a:cubicBezTo>
                  <a:pt x="4527170" y="2835231"/>
                  <a:pt x="4509952" y="2840970"/>
                  <a:pt x="4515691" y="2846710"/>
                </a:cubicBezTo>
                <a:cubicBezTo>
                  <a:pt x="4504213" y="2846710"/>
                  <a:pt x="4504213" y="2852449"/>
                  <a:pt x="4498473" y="2852449"/>
                </a:cubicBezTo>
                <a:cubicBezTo>
                  <a:pt x="4492734" y="2852449"/>
                  <a:pt x="4492734" y="2852449"/>
                  <a:pt x="4492734" y="2852449"/>
                </a:cubicBezTo>
                <a:cubicBezTo>
                  <a:pt x="4492734" y="2840970"/>
                  <a:pt x="4498473" y="2852449"/>
                  <a:pt x="4504213" y="2846710"/>
                </a:cubicBezTo>
                <a:cubicBezTo>
                  <a:pt x="4504213" y="2846710"/>
                  <a:pt x="4504213" y="2846710"/>
                  <a:pt x="4509952" y="2846710"/>
                </a:cubicBezTo>
                <a:cubicBezTo>
                  <a:pt x="4504213" y="2840970"/>
                  <a:pt x="4504213" y="2840970"/>
                  <a:pt x="4504213" y="2840970"/>
                </a:cubicBezTo>
                <a:cubicBezTo>
                  <a:pt x="4498473" y="2835231"/>
                  <a:pt x="4509952" y="2835231"/>
                  <a:pt x="4509952" y="2840970"/>
                </a:cubicBezTo>
                <a:cubicBezTo>
                  <a:pt x="4515691" y="2840970"/>
                  <a:pt x="4515691" y="2835231"/>
                  <a:pt x="4515691" y="2835231"/>
                </a:cubicBezTo>
                <a:close/>
                <a:moveTo>
                  <a:pt x="4545734" y="2825456"/>
                </a:moveTo>
                <a:cubicBezTo>
                  <a:pt x="4547259" y="2825546"/>
                  <a:pt x="4548694" y="2826622"/>
                  <a:pt x="4550128" y="2829491"/>
                </a:cubicBezTo>
                <a:cubicBezTo>
                  <a:pt x="4538650" y="2835231"/>
                  <a:pt x="4532910" y="2829491"/>
                  <a:pt x="4527170" y="2840970"/>
                </a:cubicBezTo>
                <a:cubicBezTo>
                  <a:pt x="4527170" y="2835231"/>
                  <a:pt x="4521431" y="2835231"/>
                  <a:pt x="4521431" y="2835231"/>
                </a:cubicBezTo>
                <a:cubicBezTo>
                  <a:pt x="4527170" y="2835231"/>
                  <a:pt x="4527170" y="2829491"/>
                  <a:pt x="4527170" y="2829491"/>
                </a:cubicBezTo>
                <a:cubicBezTo>
                  <a:pt x="4532910" y="2832360"/>
                  <a:pt x="4537214" y="2829491"/>
                  <a:pt x="4540802" y="2827339"/>
                </a:cubicBezTo>
                <a:cubicBezTo>
                  <a:pt x="4542596" y="2826263"/>
                  <a:pt x="4544210" y="2825366"/>
                  <a:pt x="4545734" y="2825456"/>
                </a:cubicBezTo>
                <a:close/>
                <a:moveTo>
                  <a:pt x="4531751" y="2807774"/>
                </a:moveTo>
                <a:lnTo>
                  <a:pt x="4528674" y="2811062"/>
                </a:lnTo>
                <a:lnTo>
                  <a:pt x="4492276" y="2823255"/>
                </a:lnTo>
                <a:lnTo>
                  <a:pt x="4497291" y="2820753"/>
                </a:lnTo>
                <a:close/>
                <a:moveTo>
                  <a:pt x="4582190" y="2800166"/>
                </a:moveTo>
                <a:cubicBezTo>
                  <a:pt x="4583939" y="2802588"/>
                  <a:pt x="4587436" y="2812273"/>
                  <a:pt x="4587436" y="2812273"/>
                </a:cubicBezTo>
                <a:cubicBezTo>
                  <a:pt x="4575000" y="2818013"/>
                  <a:pt x="4562565" y="2835231"/>
                  <a:pt x="4550128" y="2823752"/>
                </a:cubicBezTo>
                <a:cubicBezTo>
                  <a:pt x="4562565" y="2812273"/>
                  <a:pt x="4575000" y="2823752"/>
                  <a:pt x="4581219" y="2800794"/>
                </a:cubicBezTo>
                <a:cubicBezTo>
                  <a:pt x="4581219" y="2799359"/>
                  <a:pt x="4581608" y="2799359"/>
                  <a:pt x="4582190" y="2800166"/>
                </a:cubicBezTo>
                <a:close/>
                <a:moveTo>
                  <a:pt x="4601155" y="2791019"/>
                </a:moveTo>
                <a:cubicBezTo>
                  <a:pt x="4602142" y="2791109"/>
                  <a:pt x="4603218" y="2792185"/>
                  <a:pt x="4604652" y="2795055"/>
                </a:cubicBezTo>
                <a:cubicBezTo>
                  <a:pt x="4598913" y="2800794"/>
                  <a:pt x="4593173" y="2800794"/>
                  <a:pt x="4587434" y="2806533"/>
                </a:cubicBezTo>
                <a:cubicBezTo>
                  <a:pt x="4587434" y="2800794"/>
                  <a:pt x="4587434" y="2800794"/>
                  <a:pt x="4587434" y="2795055"/>
                </a:cubicBezTo>
                <a:cubicBezTo>
                  <a:pt x="4593173" y="2797924"/>
                  <a:pt x="4596044" y="2795055"/>
                  <a:pt x="4598195" y="2792901"/>
                </a:cubicBezTo>
                <a:cubicBezTo>
                  <a:pt x="4599272" y="2791826"/>
                  <a:pt x="4600169" y="2790930"/>
                  <a:pt x="4601155" y="2791019"/>
                </a:cubicBezTo>
                <a:close/>
                <a:moveTo>
                  <a:pt x="4483550" y="2780540"/>
                </a:moveTo>
                <a:lnTo>
                  <a:pt x="4480495" y="2782740"/>
                </a:lnTo>
                <a:lnTo>
                  <a:pt x="4481200" y="2781114"/>
                </a:lnTo>
                <a:close/>
                <a:moveTo>
                  <a:pt x="4628961" y="2776974"/>
                </a:moveTo>
                <a:cubicBezTo>
                  <a:pt x="4628961" y="2776974"/>
                  <a:pt x="4628961" y="2783001"/>
                  <a:pt x="4628961" y="2789028"/>
                </a:cubicBezTo>
                <a:cubicBezTo>
                  <a:pt x="4616807" y="2789028"/>
                  <a:pt x="4622885" y="2789028"/>
                  <a:pt x="4610730" y="2795055"/>
                </a:cubicBezTo>
                <a:cubicBezTo>
                  <a:pt x="4604652" y="2783001"/>
                  <a:pt x="4622885" y="2783001"/>
                  <a:pt x="4628961" y="2776974"/>
                </a:cubicBezTo>
                <a:close/>
                <a:moveTo>
                  <a:pt x="4483019" y="2775243"/>
                </a:moveTo>
                <a:cubicBezTo>
                  <a:pt x="4483299" y="2775521"/>
                  <a:pt x="4483112" y="2776447"/>
                  <a:pt x="4482739" y="2777558"/>
                </a:cubicBezTo>
                <a:lnTo>
                  <a:pt x="4481200" y="2781114"/>
                </a:lnTo>
                <a:lnTo>
                  <a:pt x="4474515" y="2782740"/>
                </a:lnTo>
                <a:cubicBezTo>
                  <a:pt x="4462556" y="2794590"/>
                  <a:pt x="4432654" y="2818289"/>
                  <a:pt x="4402753" y="2818289"/>
                </a:cubicBezTo>
                <a:cubicBezTo>
                  <a:pt x="4402753" y="2818289"/>
                  <a:pt x="4402753" y="2812365"/>
                  <a:pt x="4402753" y="2812365"/>
                </a:cubicBezTo>
                <a:cubicBezTo>
                  <a:pt x="4372854" y="2841988"/>
                  <a:pt x="4330993" y="2836062"/>
                  <a:pt x="4295111" y="2865685"/>
                </a:cubicBezTo>
                <a:cubicBezTo>
                  <a:pt x="4289129" y="2865685"/>
                  <a:pt x="4295111" y="2853837"/>
                  <a:pt x="4289129" y="2853837"/>
                </a:cubicBezTo>
                <a:cubicBezTo>
                  <a:pt x="4286140" y="2856799"/>
                  <a:pt x="4283150" y="2858280"/>
                  <a:pt x="4279412" y="2859761"/>
                </a:cubicBezTo>
                <a:lnTo>
                  <a:pt x="4276205" y="2861099"/>
                </a:lnTo>
                <a:lnTo>
                  <a:pt x="4277170" y="2859761"/>
                </a:lnTo>
                <a:lnTo>
                  <a:pt x="4274549" y="2861790"/>
                </a:lnTo>
                <a:lnTo>
                  <a:pt x="4265210" y="2865685"/>
                </a:lnTo>
                <a:lnTo>
                  <a:pt x="4270083" y="2865247"/>
                </a:lnTo>
                <a:lnTo>
                  <a:pt x="4259229" y="2873648"/>
                </a:lnTo>
                <a:cubicBezTo>
                  <a:pt x="4241289" y="2884201"/>
                  <a:pt x="4223348" y="2886422"/>
                  <a:pt x="4205407" y="2895308"/>
                </a:cubicBezTo>
                <a:cubicBezTo>
                  <a:pt x="4205407" y="2889384"/>
                  <a:pt x="4217369" y="2889384"/>
                  <a:pt x="4223349" y="2883460"/>
                </a:cubicBezTo>
                <a:cubicBezTo>
                  <a:pt x="4193448" y="2883460"/>
                  <a:pt x="4169528" y="2907158"/>
                  <a:pt x="4139627" y="2913084"/>
                </a:cubicBezTo>
                <a:cubicBezTo>
                  <a:pt x="4157566" y="2919008"/>
                  <a:pt x="4175508" y="2895308"/>
                  <a:pt x="4193448" y="2895308"/>
                </a:cubicBezTo>
                <a:cubicBezTo>
                  <a:pt x="4193448" y="2901234"/>
                  <a:pt x="4175508" y="2907158"/>
                  <a:pt x="4169528" y="2907158"/>
                </a:cubicBezTo>
                <a:cubicBezTo>
                  <a:pt x="4136637" y="2921970"/>
                  <a:pt x="4100756" y="2939744"/>
                  <a:pt x="4064874" y="2955295"/>
                </a:cubicBezTo>
                <a:lnTo>
                  <a:pt x="4005405" y="2975075"/>
                </a:lnTo>
                <a:lnTo>
                  <a:pt x="4055905" y="2948630"/>
                </a:lnTo>
                <a:cubicBezTo>
                  <a:pt x="4020023" y="2960480"/>
                  <a:pt x="3984142" y="2978253"/>
                  <a:pt x="3936301" y="2996028"/>
                </a:cubicBezTo>
                <a:cubicBezTo>
                  <a:pt x="3942281" y="3007876"/>
                  <a:pt x="3954241" y="2990103"/>
                  <a:pt x="3960221" y="2996028"/>
                </a:cubicBezTo>
                <a:cubicBezTo>
                  <a:pt x="3948262" y="3013802"/>
                  <a:pt x="3936301" y="2996028"/>
                  <a:pt x="3924340" y="3013802"/>
                </a:cubicBezTo>
                <a:cubicBezTo>
                  <a:pt x="3924340" y="3007876"/>
                  <a:pt x="3924340" y="3001952"/>
                  <a:pt x="3930322" y="3001952"/>
                </a:cubicBezTo>
                <a:cubicBezTo>
                  <a:pt x="3918360" y="3001952"/>
                  <a:pt x="3906400" y="3013802"/>
                  <a:pt x="3906400" y="3013802"/>
                </a:cubicBezTo>
                <a:cubicBezTo>
                  <a:pt x="3906400" y="3013802"/>
                  <a:pt x="3912379" y="3013802"/>
                  <a:pt x="3924340" y="3007876"/>
                </a:cubicBezTo>
                <a:cubicBezTo>
                  <a:pt x="3918360" y="3019726"/>
                  <a:pt x="3894440" y="3019726"/>
                  <a:pt x="3882478" y="3031575"/>
                </a:cubicBezTo>
                <a:cubicBezTo>
                  <a:pt x="3882478" y="3025651"/>
                  <a:pt x="3882478" y="3025651"/>
                  <a:pt x="3882478" y="3019726"/>
                </a:cubicBezTo>
                <a:cubicBezTo>
                  <a:pt x="3852579" y="3061198"/>
                  <a:pt x="3780817" y="3055274"/>
                  <a:pt x="3756896" y="3084897"/>
                </a:cubicBezTo>
                <a:cubicBezTo>
                  <a:pt x="3756896" y="3078971"/>
                  <a:pt x="3762875" y="3078971"/>
                  <a:pt x="3762875" y="3073047"/>
                </a:cubicBezTo>
                <a:cubicBezTo>
                  <a:pt x="3750915" y="3078971"/>
                  <a:pt x="3738956" y="3078971"/>
                  <a:pt x="3738956" y="3084897"/>
                </a:cubicBezTo>
                <a:cubicBezTo>
                  <a:pt x="3738956" y="3084897"/>
                  <a:pt x="3726996" y="3073047"/>
                  <a:pt x="3726996" y="3084897"/>
                </a:cubicBezTo>
                <a:cubicBezTo>
                  <a:pt x="3715034" y="3084897"/>
                  <a:pt x="3726996" y="3061198"/>
                  <a:pt x="3715034" y="3067123"/>
                </a:cubicBezTo>
                <a:cubicBezTo>
                  <a:pt x="3721014" y="3067123"/>
                  <a:pt x="3732976" y="3043425"/>
                  <a:pt x="3744935" y="3061198"/>
                </a:cubicBezTo>
                <a:cubicBezTo>
                  <a:pt x="3738956" y="3061198"/>
                  <a:pt x="3732976" y="3067123"/>
                  <a:pt x="3726996" y="3061198"/>
                </a:cubicBezTo>
                <a:cubicBezTo>
                  <a:pt x="3726996" y="3067123"/>
                  <a:pt x="3732976" y="3073047"/>
                  <a:pt x="3726996" y="3073047"/>
                </a:cubicBezTo>
                <a:cubicBezTo>
                  <a:pt x="3756896" y="3067123"/>
                  <a:pt x="3774837" y="3061198"/>
                  <a:pt x="3786797" y="3049348"/>
                </a:cubicBezTo>
                <a:cubicBezTo>
                  <a:pt x="3786797" y="3049348"/>
                  <a:pt x="3792776" y="3049348"/>
                  <a:pt x="3792776" y="3055274"/>
                </a:cubicBezTo>
                <a:cubicBezTo>
                  <a:pt x="3894440" y="3007876"/>
                  <a:pt x="3972182" y="2984179"/>
                  <a:pt x="4079824" y="2930857"/>
                </a:cubicBezTo>
                <a:cubicBezTo>
                  <a:pt x="4085804" y="2942706"/>
                  <a:pt x="4061884" y="2936781"/>
                  <a:pt x="4061884" y="2948630"/>
                </a:cubicBezTo>
                <a:cubicBezTo>
                  <a:pt x="4085804" y="2942706"/>
                  <a:pt x="4097766" y="2936781"/>
                  <a:pt x="4115705" y="2924933"/>
                </a:cubicBezTo>
                <a:cubicBezTo>
                  <a:pt x="4103745" y="2919008"/>
                  <a:pt x="4091785" y="2936781"/>
                  <a:pt x="4085804" y="2930857"/>
                </a:cubicBezTo>
                <a:cubicBezTo>
                  <a:pt x="4169528" y="2889384"/>
                  <a:pt x="4241288" y="2877535"/>
                  <a:pt x="4330993" y="2836062"/>
                </a:cubicBezTo>
                <a:cubicBezTo>
                  <a:pt x="4330993" y="2841988"/>
                  <a:pt x="4325011" y="2841988"/>
                  <a:pt x="4319031" y="2841988"/>
                </a:cubicBezTo>
                <a:cubicBezTo>
                  <a:pt x="4325011" y="2841988"/>
                  <a:pt x="4325011" y="2841988"/>
                  <a:pt x="4330993" y="2841988"/>
                </a:cubicBezTo>
                <a:cubicBezTo>
                  <a:pt x="4336972" y="2841988"/>
                  <a:pt x="4330993" y="2836062"/>
                  <a:pt x="4336972" y="2830139"/>
                </a:cubicBezTo>
                <a:cubicBezTo>
                  <a:pt x="4390793" y="2812365"/>
                  <a:pt x="4432654" y="2794590"/>
                  <a:pt x="4480495" y="2776816"/>
                </a:cubicBezTo>
                <a:cubicBezTo>
                  <a:pt x="4481990" y="2775336"/>
                  <a:pt x="4482738" y="2774965"/>
                  <a:pt x="4483019" y="2775243"/>
                </a:cubicBezTo>
                <a:close/>
                <a:moveTo>
                  <a:pt x="4604802" y="2772203"/>
                </a:moveTo>
                <a:cubicBezTo>
                  <a:pt x="4609379" y="2771550"/>
                  <a:pt x="4613863" y="2772296"/>
                  <a:pt x="4618346" y="2775278"/>
                </a:cubicBezTo>
                <a:cubicBezTo>
                  <a:pt x="4600412" y="2775278"/>
                  <a:pt x="4588455" y="2787205"/>
                  <a:pt x="4570521" y="2793169"/>
                </a:cubicBezTo>
                <a:lnTo>
                  <a:pt x="4531751" y="2807774"/>
                </a:lnTo>
                <a:lnTo>
                  <a:pt x="4539135" y="2799879"/>
                </a:lnTo>
                <a:cubicBezTo>
                  <a:pt x="4545114" y="2797643"/>
                  <a:pt x="4552587" y="2796152"/>
                  <a:pt x="4558565" y="2793169"/>
                </a:cubicBezTo>
                <a:cubicBezTo>
                  <a:pt x="4576499" y="2788697"/>
                  <a:pt x="4591071" y="2774159"/>
                  <a:pt x="4604802" y="2772203"/>
                </a:cubicBezTo>
                <a:close/>
                <a:moveTo>
                  <a:pt x="4707411" y="2741011"/>
                </a:moveTo>
                <a:lnTo>
                  <a:pt x="4697328" y="2744581"/>
                </a:lnTo>
                <a:lnTo>
                  <a:pt x="4696260" y="2750415"/>
                </a:lnTo>
                <a:lnTo>
                  <a:pt x="4704915" y="2745193"/>
                </a:lnTo>
                <a:close/>
                <a:moveTo>
                  <a:pt x="4614552" y="2726024"/>
                </a:moveTo>
                <a:lnTo>
                  <a:pt x="4587393" y="2745713"/>
                </a:lnTo>
                <a:cubicBezTo>
                  <a:pt x="4576179" y="2753117"/>
                  <a:pt x="4564220" y="2759043"/>
                  <a:pt x="4552257" y="2759043"/>
                </a:cubicBezTo>
                <a:cubicBezTo>
                  <a:pt x="4552257" y="2759043"/>
                  <a:pt x="4552257" y="2747194"/>
                  <a:pt x="4552257" y="2747194"/>
                </a:cubicBezTo>
                <a:cubicBezTo>
                  <a:pt x="4543288" y="2753117"/>
                  <a:pt x="4532823" y="2763487"/>
                  <a:pt x="4520115" y="2771632"/>
                </a:cubicBezTo>
                <a:lnTo>
                  <a:pt x="4483550" y="2780540"/>
                </a:lnTo>
                <a:lnTo>
                  <a:pt x="4488718" y="2776816"/>
                </a:lnTo>
                <a:cubicBezTo>
                  <a:pt x="4489465" y="2773854"/>
                  <a:pt x="4489465" y="2770893"/>
                  <a:pt x="4492457" y="2770893"/>
                </a:cubicBezTo>
                <a:cubicBezTo>
                  <a:pt x="4516377" y="2762006"/>
                  <a:pt x="4538803" y="2751637"/>
                  <a:pt x="4562723" y="2742009"/>
                </a:cubicBezTo>
                <a:close/>
                <a:moveTo>
                  <a:pt x="4618040" y="2723495"/>
                </a:moveTo>
                <a:lnTo>
                  <a:pt x="4621192" y="2723975"/>
                </a:lnTo>
                <a:lnTo>
                  <a:pt x="4614552" y="2726024"/>
                </a:lnTo>
                <a:close/>
                <a:moveTo>
                  <a:pt x="4641960" y="2717571"/>
                </a:moveTo>
                <a:cubicBezTo>
                  <a:pt x="4638970" y="2720533"/>
                  <a:pt x="4632990" y="2723495"/>
                  <a:pt x="4627757" y="2724977"/>
                </a:cubicBezTo>
                <a:lnTo>
                  <a:pt x="4621192" y="2723975"/>
                </a:lnTo>
                <a:close/>
                <a:moveTo>
                  <a:pt x="4814144" y="2697484"/>
                </a:moveTo>
                <a:cubicBezTo>
                  <a:pt x="4802092" y="2715658"/>
                  <a:pt x="4759905" y="2727775"/>
                  <a:pt x="4759905" y="2727775"/>
                </a:cubicBezTo>
                <a:cubicBezTo>
                  <a:pt x="4750867" y="2736863"/>
                  <a:pt x="4738813" y="2739892"/>
                  <a:pt x="4726761" y="2742165"/>
                </a:cubicBezTo>
                <a:lnTo>
                  <a:pt x="4696103" y="2751270"/>
                </a:lnTo>
                <a:lnTo>
                  <a:pt x="4695810" y="2752868"/>
                </a:lnTo>
                <a:lnTo>
                  <a:pt x="4683862" y="2754602"/>
                </a:lnTo>
                <a:lnTo>
                  <a:pt x="4683655" y="2752868"/>
                </a:lnTo>
                <a:lnTo>
                  <a:pt x="4679586" y="2755224"/>
                </a:lnTo>
                <a:lnTo>
                  <a:pt x="4664665" y="2757389"/>
                </a:lnTo>
                <a:cubicBezTo>
                  <a:pt x="4651750" y="2761908"/>
                  <a:pt x="4638077" y="2767936"/>
                  <a:pt x="4628961" y="2770949"/>
                </a:cubicBezTo>
                <a:cubicBezTo>
                  <a:pt x="4638077" y="2773960"/>
                  <a:pt x="4647193" y="2772454"/>
                  <a:pt x="4656307" y="2768687"/>
                </a:cubicBezTo>
                <a:lnTo>
                  <a:pt x="4679586" y="2755224"/>
                </a:lnTo>
                <a:lnTo>
                  <a:pt x="4683862" y="2754602"/>
                </a:lnTo>
                <a:lnTo>
                  <a:pt x="4684509" y="2760025"/>
                </a:lnTo>
                <a:cubicBezTo>
                  <a:pt x="4674538" y="2769065"/>
                  <a:pt x="4638077" y="2781495"/>
                  <a:pt x="4628961" y="2776974"/>
                </a:cubicBezTo>
                <a:cubicBezTo>
                  <a:pt x="4628961" y="2770949"/>
                  <a:pt x="4616807" y="2776974"/>
                  <a:pt x="4616807" y="2764922"/>
                </a:cubicBezTo>
                <a:cubicBezTo>
                  <a:pt x="4635038" y="2769441"/>
                  <a:pt x="4660106" y="2750232"/>
                  <a:pt x="4684320" y="2742888"/>
                </a:cubicBezTo>
                <a:lnTo>
                  <a:pt x="4707504" y="2740856"/>
                </a:lnTo>
                <a:lnTo>
                  <a:pt x="4711694" y="2733835"/>
                </a:lnTo>
                <a:cubicBezTo>
                  <a:pt x="4741826" y="2733835"/>
                  <a:pt x="4784011" y="2709601"/>
                  <a:pt x="4814144" y="2697484"/>
                </a:cubicBezTo>
                <a:close/>
                <a:moveTo>
                  <a:pt x="4394734" y="2686005"/>
                </a:moveTo>
                <a:cubicBezTo>
                  <a:pt x="4394734" y="2686005"/>
                  <a:pt x="4394734" y="2691956"/>
                  <a:pt x="4406642" y="2686005"/>
                </a:cubicBezTo>
                <a:cubicBezTo>
                  <a:pt x="4305429" y="2727669"/>
                  <a:pt x="4210171" y="2763382"/>
                  <a:pt x="4097052" y="2810997"/>
                </a:cubicBezTo>
                <a:cubicBezTo>
                  <a:pt x="4091099" y="2816950"/>
                  <a:pt x="4067284" y="2834806"/>
                  <a:pt x="4061331" y="2816950"/>
                </a:cubicBezTo>
                <a:cubicBezTo>
                  <a:pt x="4049423" y="2834806"/>
                  <a:pt x="4037516" y="2834806"/>
                  <a:pt x="4013702" y="2846710"/>
                </a:cubicBezTo>
                <a:cubicBezTo>
                  <a:pt x="4019655" y="2840757"/>
                  <a:pt x="4025609" y="2840757"/>
                  <a:pt x="4007748" y="2840757"/>
                </a:cubicBezTo>
                <a:cubicBezTo>
                  <a:pt x="4049423" y="2816950"/>
                  <a:pt x="4108959" y="2799093"/>
                  <a:pt x="4150636" y="2781236"/>
                </a:cubicBezTo>
                <a:cubicBezTo>
                  <a:pt x="4150636" y="2775285"/>
                  <a:pt x="4156588" y="2775285"/>
                  <a:pt x="4156588" y="2769333"/>
                </a:cubicBezTo>
                <a:cubicBezTo>
                  <a:pt x="4168495" y="2775285"/>
                  <a:pt x="4174450" y="2769333"/>
                  <a:pt x="4186357" y="2757429"/>
                </a:cubicBezTo>
                <a:cubicBezTo>
                  <a:pt x="4186357" y="2757429"/>
                  <a:pt x="4186357" y="2763382"/>
                  <a:pt x="4186357" y="2763382"/>
                </a:cubicBezTo>
                <a:cubicBezTo>
                  <a:pt x="4186357" y="2757429"/>
                  <a:pt x="4192311" y="2757429"/>
                  <a:pt x="4198265" y="2751476"/>
                </a:cubicBezTo>
                <a:cubicBezTo>
                  <a:pt x="4204218" y="2751476"/>
                  <a:pt x="4198265" y="2763382"/>
                  <a:pt x="4198265" y="2763382"/>
                </a:cubicBezTo>
                <a:cubicBezTo>
                  <a:pt x="4204218" y="2751476"/>
                  <a:pt x="4216125" y="2745525"/>
                  <a:pt x="4228033" y="2739573"/>
                </a:cubicBezTo>
                <a:cubicBezTo>
                  <a:pt x="4233986" y="2739573"/>
                  <a:pt x="4233986" y="2745525"/>
                  <a:pt x="4233986" y="2751476"/>
                </a:cubicBezTo>
                <a:cubicBezTo>
                  <a:pt x="4287570" y="2715765"/>
                  <a:pt x="4317337" y="2709812"/>
                  <a:pt x="4382826" y="2691956"/>
                </a:cubicBezTo>
                <a:cubicBezTo>
                  <a:pt x="4382826" y="2686005"/>
                  <a:pt x="4388781" y="2691956"/>
                  <a:pt x="4394734" y="2686005"/>
                </a:cubicBezTo>
                <a:close/>
                <a:moveTo>
                  <a:pt x="4311791" y="2668786"/>
                </a:moveTo>
                <a:cubicBezTo>
                  <a:pt x="4311791" y="2674844"/>
                  <a:pt x="4305899" y="2686961"/>
                  <a:pt x="4317681" y="2680903"/>
                </a:cubicBezTo>
                <a:cubicBezTo>
                  <a:pt x="4294119" y="2693020"/>
                  <a:pt x="4264666" y="2711195"/>
                  <a:pt x="4241104" y="2705137"/>
                </a:cubicBezTo>
                <a:cubicBezTo>
                  <a:pt x="4235213" y="2717253"/>
                  <a:pt x="4223432" y="2723312"/>
                  <a:pt x="4205760" y="2723312"/>
                </a:cubicBezTo>
                <a:cubicBezTo>
                  <a:pt x="4217541" y="2699078"/>
                  <a:pt x="4264666" y="2705137"/>
                  <a:pt x="4282338" y="2686961"/>
                </a:cubicBezTo>
                <a:cubicBezTo>
                  <a:pt x="4282338" y="2686961"/>
                  <a:pt x="4282338" y="2693020"/>
                  <a:pt x="4282338" y="2693020"/>
                </a:cubicBezTo>
                <a:cubicBezTo>
                  <a:pt x="4294119" y="2680903"/>
                  <a:pt x="4300010" y="2686961"/>
                  <a:pt x="4311791" y="2668786"/>
                </a:cubicBezTo>
                <a:close/>
                <a:moveTo>
                  <a:pt x="4377944" y="2645829"/>
                </a:moveTo>
                <a:cubicBezTo>
                  <a:pt x="4377944" y="2651568"/>
                  <a:pt x="4383683" y="2651568"/>
                  <a:pt x="4389423" y="2657307"/>
                </a:cubicBezTo>
                <a:cubicBezTo>
                  <a:pt x="4383683" y="2657307"/>
                  <a:pt x="4366465" y="2645829"/>
                  <a:pt x="4366465" y="2663047"/>
                </a:cubicBezTo>
                <a:cubicBezTo>
                  <a:pt x="4366465" y="2663047"/>
                  <a:pt x="4366465" y="2663047"/>
                  <a:pt x="4360726" y="2663047"/>
                </a:cubicBezTo>
                <a:cubicBezTo>
                  <a:pt x="4360726" y="2657307"/>
                  <a:pt x="4360726" y="2657307"/>
                  <a:pt x="4360726" y="2657307"/>
                </a:cubicBezTo>
                <a:cubicBezTo>
                  <a:pt x="4360726" y="2651568"/>
                  <a:pt x="4372205" y="2651568"/>
                  <a:pt x="4377944" y="2645829"/>
                </a:cubicBezTo>
                <a:close/>
                <a:moveTo>
                  <a:pt x="4438029" y="2622107"/>
                </a:moveTo>
                <a:cubicBezTo>
                  <a:pt x="4440361" y="2622630"/>
                  <a:pt x="4442513" y="2624305"/>
                  <a:pt x="4443947" y="2627654"/>
                </a:cubicBezTo>
                <a:cubicBezTo>
                  <a:pt x="4432468" y="2627654"/>
                  <a:pt x="4432468" y="2634349"/>
                  <a:pt x="4426728" y="2634349"/>
                </a:cubicBezTo>
                <a:cubicBezTo>
                  <a:pt x="4423860" y="2631001"/>
                  <a:pt x="4426728" y="2625978"/>
                  <a:pt x="4431033" y="2623467"/>
                </a:cubicBezTo>
                <a:cubicBezTo>
                  <a:pt x="4433186" y="2622212"/>
                  <a:pt x="4435697" y="2621584"/>
                  <a:pt x="4438029" y="2622107"/>
                </a:cubicBezTo>
                <a:close/>
                <a:moveTo>
                  <a:pt x="4480681" y="2602781"/>
                </a:moveTo>
                <a:cubicBezTo>
                  <a:pt x="4486994" y="2614260"/>
                  <a:pt x="4461741" y="2614260"/>
                  <a:pt x="4455426" y="2620000"/>
                </a:cubicBezTo>
                <a:cubicBezTo>
                  <a:pt x="4461741" y="2614260"/>
                  <a:pt x="4468052" y="2608521"/>
                  <a:pt x="4480681" y="2602781"/>
                </a:cubicBezTo>
                <a:close/>
                <a:moveTo>
                  <a:pt x="4504213" y="2597042"/>
                </a:moveTo>
                <a:cubicBezTo>
                  <a:pt x="4504213" y="2597042"/>
                  <a:pt x="4504213" y="2602781"/>
                  <a:pt x="4504213" y="2602781"/>
                </a:cubicBezTo>
                <a:cubicBezTo>
                  <a:pt x="4498473" y="2608521"/>
                  <a:pt x="4498473" y="2602781"/>
                  <a:pt x="4492734" y="2602781"/>
                </a:cubicBezTo>
                <a:cubicBezTo>
                  <a:pt x="4492734" y="2597042"/>
                  <a:pt x="4498473" y="2597042"/>
                  <a:pt x="4504213" y="2597042"/>
                </a:cubicBezTo>
                <a:close/>
                <a:moveTo>
                  <a:pt x="4527170" y="2585563"/>
                </a:moveTo>
                <a:cubicBezTo>
                  <a:pt x="4527170" y="2585563"/>
                  <a:pt x="4527170" y="2591303"/>
                  <a:pt x="4527170" y="2591303"/>
                </a:cubicBezTo>
                <a:cubicBezTo>
                  <a:pt x="4515691" y="2597042"/>
                  <a:pt x="4521431" y="2591303"/>
                  <a:pt x="4509952" y="2597042"/>
                </a:cubicBezTo>
                <a:cubicBezTo>
                  <a:pt x="4504213" y="2585563"/>
                  <a:pt x="4521431" y="2591303"/>
                  <a:pt x="4527170" y="2585563"/>
                </a:cubicBezTo>
                <a:close/>
                <a:moveTo>
                  <a:pt x="4366823" y="2584176"/>
                </a:moveTo>
                <a:lnTo>
                  <a:pt x="4367270" y="2584429"/>
                </a:lnTo>
                <a:lnTo>
                  <a:pt x="4366858" y="2584636"/>
                </a:lnTo>
                <a:close/>
                <a:moveTo>
                  <a:pt x="4364747" y="2576974"/>
                </a:moveTo>
                <a:cubicBezTo>
                  <a:pt x="4365588" y="2577348"/>
                  <a:pt x="4366148" y="2578466"/>
                  <a:pt x="4366521" y="2579957"/>
                </a:cubicBezTo>
                <a:lnTo>
                  <a:pt x="4366823" y="2584176"/>
                </a:lnTo>
                <a:lnTo>
                  <a:pt x="4362039" y="2581447"/>
                </a:lnTo>
                <a:cubicBezTo>
                  <a:pt x="4359796" y="2581447"/>
                  <a:pt x="4358302" y="2581447"/>
                  <a:pt x="4361292" y="2578466"/>
                </a:cubicBezTo>
                <a:cubicBezTo>
                  <a:pt x="4362785" y="2576974"/>
                  <a:pt x="4363907" y="2576602"/>
                  <a:pt x="4364747" y="2576974"/>
                </a:cubicBezTo>
                <a:close/>
                <a:moveTo>
                  <a:pt x="4246961" y="2576230"/>
                </a:moveTo>
                <a:lnTo>
                  <a:pt x="4247238" y="2577052"/>
                </a:lnTo>
                <a:lnTo>
                  <a:pt x="4241732" y="2578466"/>
                </a:lnTo>
                <a:cubicBezTo>
                  <a:pt x="4244720" y="2578466"/>
                  <a:pt x="4246215" y="2576974"/>
                  <a:pt x="4246961" y="2576230"/>
                </a:cubicBezTo>
                <a:close/>
                <a:moveTo>
                  <a:pt x="4558739" y="2574084"/>
                </a:moveTo>
                <a:cubicBezTo>
                  <a:pt x="4558739" y="2574084"/>
                  <a:pt x="4558739" y="2579823"/>
                  <a:pt x="4558739" y="2579823"/>
                </a:cubicBezTo>
                <a:cubicBezTo>
                  <a:pt x="4558739" y="2591303"/>
                  <a:pt x="4539367" y="2579823"/>
                  <a:pt x="4539367" y="2591303"/>
                </a:cubicBezTo>
                <a:cubicBezTo>
                  <a:pt x="4532910" y="2585563"/>
                  <a:pt x="4545824" y="2574084"/>
                  <a:pt x="4558739" y="2574084"/>
                </a:cubicBezTo>
                <a:close/>
                <a:moveTo>
                  <a:pt x="4024248" y="2572649"/>
                </a:moveTo>
                <a:cubicBezTo>
                  <a:pt x="4024966" y="2574084"/>
                  <a:pt x="4024966" y="2576953"/>
                  <a:pt x="4024966" y="2579823"/>
                </a:cubicBezTo>
                <a:cubicBezTo>
                  <a:pt x="4024966" y="2574084"/>
                  <a:pt x="4030705" y="2574084"/>
                  <a:pt x="4030705" y="2574084"/>
                </a:cubicBezTo>
                <a:cubicBezTo>
                  <a:pt x="4030705" y="2585563"/>
                  <a:pt x="4019226" y="2585563"/>
                  <a:pt x="4019226" y="2574084"/>
                </a:cubicBezTo>
                <a:cubicBezTo>
                  <a:pt x="4022096" y="2571214"/>
                  <a:pt x="4023530" y="2571214"/>
                  <a:pt x="4024248" y="2572649"/>
                </a:cubicBezTo>
                <a:close/>
                <a:moveTo>
                  <a:pt x="4593173" y="2556865"/>
                </a:moveTo>
                <a:cubicBezTo>
                  <a:pt x="4593173" y="2562605"/>
                  <a:pt x="4587434" y="2562605"/>
                  <a:pt x="4593173" y="2568345"/>
                </a:cubicBezTo>
                <a:cubicBezTo>
                  <a:pt x="4587434" y="2568345"/>
                  <a:pt x="4581695" y="2574084"/>
                  <a:pt x="4581695" y="2562605"/>
                </a:cubicBezTo>
                <a:cubicBezTo>
                  <a:pt x="4587434" y="2562605"/>
                  <a:pt x="4581695" y="2562605"/>
                  <a:pt x="4593173" y="2556865"/>
                </a:cubicBezTo>
                <a:close/>
                <a:moveTo>
                  <a:pt x="4623306" y="2542518"/>
                </a:moveTo>
                <a:cubicBezTo>
                  <a:pt x="4630480" y="2556867"/>
                  <a:pt x="4623306" y="2556867"/>
                  <a:pt x="4616132" y="2556867"/>
                </a:cubicBezTo>
                <a:cubicBezTo>
                  <a:pt x="4616132" y="2556867"/>
                  <a:pt x="4616132" y="2556867"/>
                  <a:pt x="4616132" y="2549693"/>
                </a:cubicBezTo>
                <a:cubicBezTo>
                  <a:pt x="4616132" y="2549693"/>
                  <a:pt x="4623306" y="2542518"/>
                  <a:pt x="4623306" y="2542518"/>
                </a:cubicBezTo>
                <a:close/>
                <a:moveTo>
                  <a:pt x="4480852" y="2530753"/>
                </a:moveTo>
                <a:cubicBezTo>
                  <a:pt x="4480852" y="2533735"/>
                  <a:pt x="4480852" y="2535226"/>
                  <a:pt x="4480104" y="2535971"/>
                </a:cubicBezTo>
                <a:lnTo>
                  <a:pt x="4474874" y="2536717"/>
                </a:lnTo>
                <a:close/>
                <a:moveTo>
                  <a:pt x="4336501" y="2528474"/>
                </a:moveTo>
                <a:lnTo>
                  <a:pt x="4336633" y="2528517"/>
                </a:lnTo>
                <a:lnTo>
                  <a:pt x="4337792" y="2529931"/>
                </a:lnTo>
                <a:lnTo>
                  <a:pt x="4337379" y="2530753"/>
                </a:lnTo>
                <a:close/>
                <a:moveTo>
                  <a:pt x="4675858" y="2522340"/>
                </a:moveTo>
                <a:cubicBezTo>
                  <a:pt x="4679625" y="2521712"/>
                  <a:pt x="4682136" y="2522430"/>
                  <a:pt x="4682136" y="2525299"/>
                </a:cubicBezTo>
                <a:cubicBezTo>
                  <a:pt x="4664918" y="2531039"/>
                  <a:pt x="4653439" y="2542518"/>
                  <a:pt x="4641960" y="2542518"/>
                </a:cubicBezTo>
                <a:cubicBezTo>
                  <a:pt x="4641960" y="2538213"/>
                  <a:pt x="4664559" y="2524223"/>
                  <a:pt x="4675858" y="2522340"/>
                </a:cubicBezTo>
                <a:close/>
                <a:moveTo>
                  <a:pt x="4432279" y="2521808"/>
                </a:moveTo>
                <a:lnTo>
                  <a:pt x="4432279" y="2521808"/>
                </a:lnTo>
                <a:cubicBezTo>
                  <a:pt x="4433027" y="2523298"/>
                  <a:pt x="4433027" y="2524789"/>
                  <a:pt x="4433027" y="2524789"/>
                </a:cubicBezTo>
                <a:close/>
                <a:moveTo>
                  <a:pt x="4333643" y="2521062"/>
                </a:moveTo>
                <a:lnTo>
                  <a:pt x="4336501" y="2528474"/>
                </a:lnTo>
                <a:lnTo>
                  <a:pt x="4325423" y="2524789"/>
                </a:lnTo>
                <a:cubicBezTo>
                  <a:pt x="4328413" y="2521807"/>
                  <a:pt x="4331401" y="2520316"/>
                  <a:pt x="4333643" y="2521062"/>
                </a:cubicBezTo>
                <a:close/>
                <a:moveTo>
                  <a:pt x="4498473" y="2519560"/>
                </a:moveTo>
                <a:cubicBezTo>
                  <a:pt x="4504213" y="2519560"/>
                  <a:pt x="4504213" y="2525299"/>
                  <a:pt x="4509952" y="2519560"/>
                </a:cubicBezTo>
                <a:cubicBezTo>
                  <a:pt x="4515691" y="2531039"/>
                  <a:pt x="4498473" y="2525299"/>
                  <a:pt x="4504213" y="2531039"/>
                </a:cubicBezTo>
                <a:cubicBezTo>
                  <a:pt x="4498473" y="2531039"/>
                  <a:pt x="4498473" y="2531039"/>
                  <a:pt x="4498473" y="2519560"/>
                </a:cubicBezTo>
                <a:close/>
                <a:moveTo>
                  <a:pt x="4294723" y="2519560"/>
                </a:moveTo>
                <a:cubicBezTo>
                  <a:pt x="4291673" y="2519560"/>
                  <a:pt x="4290149" y="2522429"/>
                  <a:pt x="4288625" y="2524582"/>
                </a:cubicBezTo>
                <a:lnTo>
                  <a:pt x="4288213" y="2524631"/>
                </a:lnTo>
                <a:close/>
                <a:moveTo>
                  <a:pt x="4528674" y="2518826"/>
                </a:moveTo>
                <a:lnTo>
                  <a:pt x="4525315" y="2520218"/>
                </a:lnTo>
                <a:lnTo>
                  <a:pt x="4525685" y="2519571"/>
                </a:lnTo>
                <a:cubicBezTo>
                  <a:pt x="4527180" y="2518826"/>
                  <a:pt x="4528674" y="2518826"/>
                  <a:pt x="4528674" y="2518826"/>
                </a:cubicBezTo>
                <a:close/>
                <a:moveTo>
                  <a:pt x="4516719" y="2518826"/>
                </a:moveTo>
                <a:cubicBezTo>
                  <a:pt x="4521202" y="2518826"/>
                  <a:pt x="4518960" y="2522181"/>
                  <a:pt x="4522603" y="2521342"/>
                </a:cubicBezTo>
                <a:lnTo>
                  <a:pt x="4525315" y="2520218"/>
                </a:lnTo>
                <a:lnTo>
                  <a:pt x="4522697" y="2524789"/>
                </a:lnTo>
                <a:cubicBezTo>
                  <a:pt x="4516719" y="2524789"/>
                  <a:pt x="4510742" y="2524789"/>
                  <a:pt x="4516719" y="2518826"/>
                </a:cubicBezTo>
                <a:close/>
                <a:moveTo>
                  <a:pt x="4122172" y="2512861"/>
                </a:moveTo>
                <a:cubicBezTo>
                  <a:pt x="4120676" y="2515843"/>
                  <a:pt x="4119182" y="2518826"/>
                  <a:pt x="4116193" y="2518826"/>
                </a:cubicBezTo>
                <a:lnTo>
                  <a:pt x="4114750" y="2513786"/>
                </a:lnTo>
                <a:lnTo>
                  <a:pt x="4115113" y="2513741"/>
                </a:lnTo>
                <a:lnTo>
                  <a:pt x="4117874" y="2514632"/>
                </a:lnTo>
                <a:cubicBezTo>
                  <a:pt x="4119182" y="2514725"/>
                  <a:pt x="4120677" y="2514352"/>
                  <a:pt x="4122172" y="2512861"/>
                </a:cubicBezTo>
                <a:close/>
                <a:moveTo>
                  <a:pt x="4276428" y="2508081"/>
                </a:moveTo>
                <a:cubicBezTo>
                  <a:pt x="4288625" y="2508081"/>
                  <a:pt x="4288625" y="2519560"/>
                  <a:pt x="4282526" y="2525299"/>
                </a:cubicBezTo>
                <a:lnTo>
                  <a:pt x="4288213" y="2524631"/>
                </a:lnTo>
                <a:lnTo>
                  <a:pt x="4272616" y="2536778"/>
                </a:lnTo>
                <a:cubicBezTo>
                  <a:pt x="4264232" y="2539647"/>
                  <a:pt x="4255083" y="2539647"/>
                  <a:pt x="4245936" y="2536778"/>
                </a:cubicBezTo>
                <a:cubicBezTo>
                  <a:pt x="4252035" y="2536778"/>
                  <a:pt x="4258132" y="2525299"/>
                  <a:pt x="4264232" y="2531039"/>
                </a:cubicBezTo>
                <a:cubicBezTo>
                  <a:pt x="4258132" y="2525299"/>
                  <a:pt x="4245936" y="2525299"/>
                  <a:pt x="4245936" y="2519560"/>
                </a:cubicBezTo>
                <a:cubicBezTo>
                  <a:pt x="4245936" y="2513821"/>
                  <a:pt x="4245936" y="2519560"/>
                  <a:pt x="4252035" y="2519560"/>
                </a:cubicBezTo>
                <a:cubicBezTo>
                  <a:pt x="4258132" y="2508081"/>
                  <a:pt x="4276428" y="2525299"/>
                  <a:pt x="4276428" y="2508081"/>
                </a:cubicBezTo>
                <a:close/>
                <a:moveTo>
                  <a:pt x="4219032" y="2507274"/>
                </a:moveTo>
                <a:cubicBezTo>
                  <a:pt x="4222261" y="2509157"/>
                  <a:pt x="4228718" y="2516690"/>
                  <a:pt x="4228718" y="2508081"/>
                </a:cubicBezTo>
                <a:cubicBezTo>
                  <a:pt x="4234457" y="2508081"/>
                  <a:pt x="4228718" y="2513821"/>
                  <a:pt x="4228718" y="2513821"/>
                </a:cubicBezTo>
                <a:cubicBezTo>
                  <a:pt x="4222978" y="2508081"/>
                  <a:pt x="4217239" y="2519560"/>
                  <a:pt x="4217239" y="2508081"/>
                </a:cubicBezTo>
                <a:cubicBezTo>
                  <a:pt x="4217239" y="2506646"/>
                  <a:pt x="4217956" y="2506646"/>
                  <a:pt x="4219032" y="2507274"/>
                </a:cubicBezTo>
                <a:close/>
                <a:moveTo>
                  <a:pt x="4038607" y="2500926"/>
                </a:moveTo>
                <a:lnTo>
                  <a:pt x="4038520" y="2500962"/>
                </a:lnTo>
                <a:lnTo>
                  <a:pt x="4038479" y="2500934"/>
                </a:lnTo>
                <a:close/>
                <a:moveTo>
                  <a:pt x="4363309" y="2497564"/>
                </a:moveTo>
                <a:lnTo>
                  <a:pt x="4362230" y="2498755"/>
                </a:lnTo>
                <a:lnTo>
                  <a:pt x="4361622" y="2498594"/>
                </a:lnTo>
                <a:close/>
                <a:moveTo>
                  <a:pt x="4365928" y="2495964"/>
                </a:moveTo>
                <a:lnTo>
                  <a:pt x="4365928" y="2496602"/>
                </a:lnTo>
                <a:lnTo>
                  <a:pt x="4365474" y="2496241"/>
                </a:lnTo>
                <a:close/>
                <a:moveTo>
                  <a:pt x="4583979" y="2495939"/>
                </a:moveTo>
                <a:lnTo>
                  <a:pt x="4584065" y="2495995"/>
                </a:lnTo>
                <a:lnTo>
                  <a:pt x="4583907" y="2496177"/>
                </a:lnTo>
                <a:close/>
                <a:moveTo>
                  <a:pt x="4364911" y="2495794"/>
                </a:moveTo>
                <a:lnTo>
                  <a:pt x="4365474" y="2496241"/>
                </a:lnTo>
                <a:lnTo>
                  <a:pt x="4363309" y="2497564"/>
                </a:lnTo>
                <a:close/>
                <a:moveTo>
                  <a:pt x="4552587" y="2494970"/>
                </a:moveTo>
                <a:lnTo>
                  <a:pt x="4555640" y="2507152"/>
                </a:lnTo>
                <a:lnTo>
                  <a:pt x="4554081" y="2506152"/>
                </a:lnTo>
                <a:cubicBezTo>
                  <a:pt x="4552587" y="2503916"/>
                  <a:pt x="4552587" y="2500934"/>
                  <a:pt x="4552587" y="2494970"/>
                </a:cubicBezTo>
                <a:close/>
                <a:moveTo>
                  <a:pt x="4584719" y="2493478"/>
                </a:moveTo>
                <a:lnTo>
                  <a:pt x="4583979" y="2495939"/>
                </a:lnTo>
                <a:lnTo>
                  <a:pt x="4582477" y="2494970"/>
                </a:lnTo>
                <a:cubicBezTo>
                  <a:pt x="4582477" y="2491988"/>
                  <a:pt x="4583972" y="2491988"/>
                  <a:pt x="4584719" y="2493478"/>
                </a:cubicBezTo>
                <a:close/>
                <a:moveTo>
                  <a:pt x="4255470" y="2493343"/>
                </a:moveTo>
                <a:lnTo>
                  <a:pt x="4255980" y="2494449"/>
                </a:lnTo>
                <a:cubicBezTo>
                  <a:pt x="4254546" y="2499471"/>
                  <a:pt x="4251675" y="2505210"/>
                  <a:pt x="4251675" y="2508081"/>
                </a:cubicBezTo>
                <a:cubicBezTo>
                  <a:pt x="4251675" y="2513821"/>
                  <a:pt x="4245936" y="2513821"/>
                  <a:pt x="4240197" y="2513821"/>
                </a:cubicBezTo>
                <a:cubicBezTo>
                  <a:pt x="4244501" y="2492298"/>
                  <a:pt x="4242350" y="2506288"/>
                  <a:pt x="4248268" y="2502521"/>
                </a:cubicBezTo>
                <a:close/>
                <a:moveTo>
                  <a:pt x="4670657" y="2490863"/>
                </a:moveTo>
                <a:cubicBezTo>
                  <a:pt x="4670657" y="2502341"/>
                  <a:pt x="4670657" y="2496602"/>
                  <a:pt x="4676397" y="2490863"/>
                </a:cubicBezTo>
                <a:cubicBezTo>
                  <a:pt x="4682136" y="2496602"/>
                  <a:pt x="4670657" y="2502341"/>
                  <a:pt x="4682136" y="2502341"/>
                </a:cubicBezTo>
                <a:cubicBezTo>
                  <a:pt x="4682136" y="2508081"/>
                  <a:pt x="4676397" y="2502341"/>
                  <a:pt x="4676397" y="2502341"/>
                </a:cubicBezTo>
                <a:cubicBezTo>
                  <a:pt x="4664918" y="2502341"/>
                  <a:pt x="4670657" y="2508081"/>
                  <a:pt x="4664918" y="2508081"/>
                </a:cubicBezTo>
                <a:cubicBezTo>
                  <a:pt x="4653439" y="2496602"/>
                  <a:pt x="4676397" y="2502341"/>
                  <a:pt x="4659178" y="2496602"/>
                </a:cubicBezTo>
                <a:cubicBezTo>
                  <a:pt x="4664918" y="2496602"/>
                  <a:pt x="4664918" y="2490863"/>
                  <a:pt x="4670657" y="2490863"/>
                </a:cubicBezTo>
                <a:close/>
                <a:moveTo>
                  <a:pt x="4254107" y="2490390"/>
                </a:moveTo>
                <a:lnTo>
                  <a:pt x="4257416" y="2490863"/>
                </a:lnTo>
                <a:lnTo>
                  <a:pt x="4255470" y="2493343"/>
                </a:lnTo>
                <a:close/>
                <a:moveTo>
                  <a:pt x="4707008" y="2485123"/>
                </a:moveTo>
                <a:cubicBezTo>
                  <a:pt x="4712030" y="2489428"/>
                  <a:pt x="4701985" y="2496961"/>
                  <a:pt x="4696649" y="2495616"/>
                </a:cubicBezTo>
                <a:lnTo>
                  <a:pt x="4694312" y="2491954"/>
                </a:lnTo>
                <a:lnTo>
                  <a:pt x="4695312" y="2491242"/>
                </a:lnTo>
                <a:lnTo>
                  <a:pt x="4695473" y="2489469"/>
                </a:lnTo>
                <a:lnTo>
                  <a:pt x="4700312" y="2485840"/>
                </a:lnTo>
                <a:cubicBezTo>
                  <a:pt x="4701986" y="2485123"/>
                  <a:pt x="4703660" y="2485123"/>
                  <a:pt x="4707008" y="2485123"/>
                </a:cubicBezTo>
                <a:close/>
                <a:moveTo>
                  <a:pt x="4383686" y="2485123"/>
                </a:moveTo>
                <a:lnTo>
                  <a:pt x="4365928" y="2495964"/>
                </a:lnTo>
                <a:lnTo>
                  <a:pt x="4365928" y="2490863"/>
                </a:lnTo>
                <a:cubicBezTo>
                  <a:pt x="4371848" y="2487992"/>
                  <a:pt x="4374807" y="2487992"/>
                  <a:pt x="4377028" y="2487992"/>
                </a:cubicBezTo>
                <a:close/>
                <a:moveTo>
                  <a:pt x="4383686" y="2485123"/>
                </a:moveTo>
                <a:lnTo>
                  <a:pt x="4395163" y="2485123"/>
                </a:lnTo>
                <a:lnTo>
                  <a:pt x="4400902" y="2485123"/>
                </a:lnTo>
                <a:cubicBezTo>
                  <a:pt x="4406642" y="2490863"/>
                  <a:pt x="4389423" y="2490863"/>
                  <a:pt x="4383683" y="2496602"/>
                </a:cubicBezTo>
                <a:cubicBezTo>
                  <a:pt x="4383683" y="2490863"/>
                  <a:pt x="4389423" y="2490863"/>
                  <a:pt x="4389423" y="2490863"/>
                </a:cubicBezTo>
                <a:close/>
                <a:moveTo>
                  <a:pt x="4251675" y="2485123"/>
                </a:moveTo>
                <a:lnTo>
                  <a:pt x="4254107" y="2490390"/>
                </a:lnTo>
                <a:lnTo>
                  <a:pt x="4252393" y="2490145"/>
                </a:lnTo>
                <a:cubicBezTo>
                  <a:pt x="4251675" y="2489428"/>
                  <a:pt x="4251675" y="2487993"/>
                  <a:pt x="4251675" y="2485123"/>
                </a:cubicBezTo>
                <a:close/>
                <a:moveTo>
                  <a:pt x="4223282" y="2483782"/>
                </a:moveTo>
                <a:lnTo>
                  <a:pt x="4223553" y="2484022"/>
                </a:lnTo>
                <a:lnTo>
                  <a:pt x="4222978" y="2484644"/>
                </a:lnTo>
                <a:close/>
                <a:moveTo>
                  <a:pt x="4686097" y="2483041"/>
                </a:moveTo>
                <a:lnTo>
                  <a:pt x="4696059" y="2483041"/>
                </a:lnTo>
                <a:lnTo>
                  <a:pt x="4695473" y="2489469"/>
                </a:lnTo>
                <a:lnTo>
                  <a:pt x="4693615" y="2490863"/>
                </a:lnTo>
                <a:lnTo>
                  <a:pt x="4694312" y="2491954"/>
                </a:lnTo>
                <a:lnTo>
                  <a:pt x="4690081" y="2494970"/>
                </a:lnTo>
                <a:lnTo>
                  <a:pt x="4690081" y="2500934"/>
                </a:lnTo>
                <a:cubicBezTo>
                  <a:pt x="4684103" y="2494970"/>
                  <a:pt x="4684103" y="2490495"/>
                  <a:pt x="4685598" y="2485278"/>
                </a:cubicBezTo>
                <a:close/>
                <a:moveTo>
                  <a:pt x="4372205" y="2479383"/>
                </a:moveTo>
                <a:cubicBezTo>
                  <a:pt x="4372205" y="2485123"/>
                  <a:pt x="4360726" y="2485123"/>
                  <a:pt x="4354986" y="2496602"/>
                </a:cubicBezTo>
                <a:cubicBezTo>
                  <a:pt x="4354986" y="2479383"/>
                  <a:pt x="4366465" y="2479383"/>
                  <a:pt x="4372205" y="2479383"/>
                </a:cubicBezTo>
                <a:close/>
                <a:moveTo>
                  <a:pt x="4228718" y="2478427"/>
                </a:moveTo>
                <a:cubicBezTo>
                  <a:pt x="4228718" y="2484644"/>
                  <a:pt x="4227285" y="2486199"/>
                  <a:pt x="4225132" y="2485421"/>
                </a:cubicBezTo>
                <a:lnTo>
                  <a:pt x="4223553" y="2484022"/>
                </a:lnTo>
                <a:close/>
                <a:moveTo>
                  <a:pt x="4102928" y="2477661"/>
                </a:moveTo>
                <a:cubicBezTo>
                  <a:pt x="4109147" y="2477661"/>
                  <a:pt x="4102928" y="2490288"/>
                  <a:pt x="4102928" y="2490288"/>
                </a:cubicBezTo>
                <a:close/>
                <a:moveTo>
                  <a:pt x="4098259" y="2477077"/>
                </a:moveTo>
                <a:cubicBezTo>
                  <a:pt x="4092281" y="2494970"/>
                  <a:pt x="4074347" y="2483041"/>
                  <a:pt x="4074347" y="2500934"/>
                </a:cubicBezTo>
                <a:cubicBezTo>
                  <a:pt x="4074347" y="2500934"/>
                  <a:pt x="4086303" y="2494970"/>
                  <a:pt x="4086303" y="2489006"/>
                </a:cubicBezTo>
                <a:cubicBezTo>
                  <a:pt x="4098259" y="2489006"/>
                  <a:pt x="4080325" y="2494970"/>
                  <a:pt x="4092281" y="2500934"/>
                </a:cubicBezTo>
                <a:cubicBezTo>
                  <a:pt x="4086303" y="2494970"/>
                  <a:pt x="4086303" y="2506897"/>
                  <a:pt x="4080325" y="2500934"/>
                </a:cubicBezTo>
                <a:cubicBezTo>
                  <a:pt x="4074347" y="2506897"/>
                  <a:pt x="4074347" y="2506897"/>
                  <a:pt x="4062390" y="2506897"/>
                </a:cubicBezTo>
                <a:cubicBezTo>
                  <a:pt x="4068368" y="2506897"/>
                  <a:pt x="4062390" y="2494970"/>
                  <a:pt x="4068368" y="2494970"/>
                </a:cubicBezTo>
                <a:cubicBezTo>
                  <a:pt x="4062390" y="2494970"/>
                  <a:pt x="4057907" y="2497950"/>
                  <a:pt x="4053425" y="2500189"/>
                </a:cubicBezTo>
                <a:lnTo>
                  <a:pt x="4038607" y="2500926"/>
                </a:lnTo>
                <a:lnTo>
                  <a:pt x="4042215" y="2499442"/>
                </a:lnTo>
                <a:cubicBezTo>
                  <a:pt x="4060895" y="2490495"/>
                  <a:pt x="4080325" y="2480060"/>
                  <a:pt x="4098259" y="2477077"/>
                </a:cubicBezTo>
                <a:close/>
                <a:moveTo>
                  <a:pt x="4312543" y="2475957"/>
                </a:moveTo>
                <a:cubicBezTo>
                  <a:pt x="4312827" y="2477093"/>
                  <a:pt x="4313967" y="2485045"/>
                  <a:pt x="4318524" y="2489588"/>
                </a:cubicBezTo>
                <a:cubicBezTo>
                  <a:pt x="4312448" y="2489588"/>
                  <a:pt x="4312448" y="2483530"/>
                  <a:pt x="4312448" y="2483530"/>
                </a:cubicBezTo>
                <a:cubicBezTo>
                  <a:pt x="4312448" y="2489588"/>
                  <a:pt x="4312448" y="2489588"/>
                  <a:pt x="4300293" y="2489588"/>
                </a:cubicBezTo>
                <a:cubicBezTo>
                  <a:pt x="4306370" y="2483530"/>
                  <a:pt x="4312448" y="2483530"/>
                  <a:pt x="4312448" y="2477471"/>
                </a:cubicBezTo>
                <a:cubicBezTo>
                  <a:pt x="4312448" y="2475956"/>
                  <a:pt x="4312448" y="2475578"/>
                  <a:pt x="4312543" y="2475957"/>
                </a:cubicBezTo>
                <a:close/>
                <a:moveTo>
                  <a:pt x="4518307" y="2472884"/>
                </a:moveTo>
                <a:lnTo>
                  <a:pt x="4518655" y="2473217"/>
                </a:lnTo>
                <a:lnTo>
                  <a:pt x="4515225" y="2475213"/>
                </a:lnTo>
                <a:lnTo>
                  <a:pt x="4514696" y="2474729"/>
                </a:lnTo>
                <a:close/>
                <a:moveTo>
                  <a:pt x="4730921" y="2470774"/>
                </a:moveTo>
                <a:cubicBezTo>
                  <a:pt x="4730921" y="2477231"/>
                  <a:pt x="4725181" y="2477231"/>
                  <a:pt x="4730921" y="2483688"/>
                </a:cubicBezTo>
                <a:cubicBezTo>
                  <a:pt x="4725181" y="2483688"/>
                  <a:pt x="4713703" y="2496602"/>
                  <a:pt x="4707962" y="2483688"/>
                </a:cubicBezTo>
                <a:cubicBezTo>
                  <a:pt x="4725181" y="2477231"/>
                  <a:pt x="4719442" y="2490145"/>
                  <a:pt x="4730921" y="2470774"/>
                </a:cubicBezTo>
                <a:close/>
                <a:moveTo>
                  <a:pt x="4389423" y="2470774"/>
                </a:moveTo>
                <a:lnTo>
                  <a:pt x="4389663" y="2471485"/>
                </a:lnTo>
                <a:lnTo>
                  <a:pt x="4389423" y="2471730"/>
                </a:lnTo>
                <a:lnTo>
                  <a:pt x="4389871" y="2472103"/>
                </a:lnTo>
                <a:lnTo>
                  <a:pt x="4390858" y="2475033"/>
                </a:lnTo>
                <a:cubicBezTo>
                  <a:pt x="4389782" y="2478397"/>
                  <a:pt x="4382248" y="2479742"/>
                  <a:pt x="4377944" y="2485123"/>
                </a:cubicBezTo>
                <a:cubicBezTo>
                  <a:pt x="4377944" y="2477948"/>
                  <a:pt x="4377944" y="2477948"/>
                  <a:pt x="4377944" y="2477948"/>
                </a:cubicBezTo>
                <a:cubicBezTo>
                  <a:pt x="4383683" y="2470774"/>
                  <a:pt x="4383683" y="2477948"/>
                  <a:pt x="4389423" y="2470774"/>
                </a:cubicBezTo>
                <a:close/>
                <a:moveTo>
                  <a:pt x="4199303" y="2468980"/>
                </a:moveTo>
                <a:cubicBezTo>
                  <a:pt x="4202531" y="2469768"/>
                  <a:pt x="4205760" y="2471346"/>
                  <a:pt x="4205760" y="2471346"/>
                </a:cubicBezTo>
                <a:cubicBezTo>
                  <a:pt x="4205760" y="2483975"/>
                  <a:pt x="4192845" y="2477661"/>
                  <a:pt x="4192845" y="2490288"/>
                </a:cubicBezTo>
                <a:cubicBezTo>
                  <a:pt x="4192845" y="2496602"/>
                  <a:pt x="4186388" y="2483975"/>
                  <a:pt x="4179931" y="2477661"/>
                </a:cubicBezTo>
                <a:cubicBezTo>
                  <a:pt x="4186388" y="2483975"/>
                  <a:pt x="4199303" y="2471346"/>
                  <a:pt x="4192845" y="2471346"/>
                </a:cubicBezTo>
                <a:cubicBezTo>
                  <a:pt x="4192845" y="2468190"/>
                  <a:pt x="4196074" y="2468190"/>
                  <a:pt x="4199303" y="2468980"/>
                </a:cubicBezTo>
                <a:close/>
                <a:moveTo>
                  <a:pt x="4773295" y="2465845"/>
                </a:moveTo>
                <a:lnTo>
                  <a:pt x="4773107" y="2466673"/>
                </a:lnTo>
                <a:lnTo>
                  <a:pt x="4772208" y="2466215"/>
                </a:lnTo>
                <a:lnTo>
                  <a:pt x="4772447" y="2466097"/>
                </a:lnTo>
                <a:close/>
                <a:moveTo>
                  <a:pt x="4330678" y="2465354"/>
                </a:moveTo>
                <a:cubicBezTo>
                  <a:pt x="4336756" y="2465354"/>
                  <a:pt x="4330678" y="2483530"/>
                  <a:pt x="4342833" y="2471413"/>
                </a:cubicBezTo>
                <a:cubicBezTo>
                  <a:pt x="4348909" y="2483530"/>
                  <a:pt x="4348909" y="2483530"/>
                  <a:pt x="4354986" y="2489588"/>
                </a:cubicBezTo>
                <a:cubicBezTo>
                  <a:pt x="4354986" y="2489588"/>
                  <a:pt x="4348909" y="2495647"/>
                  <a:pt x="4348909" y="2495647"/>
                </a:cubicBezTo>
                <a:cubicBezTo>
                  <a:pt x="4345870" y="2492618"/>
                  <a:pt x="4341312" y="2494133"/>
                  <a:pt x="4336756" y="2497160"/>
                </a:cubicBezTo>
                <a:lnTo>
                  <a:pt x="4330768" y="2502383"/>
                </a:lnTo>
                <a:lnTo>
                  <a:pt x="4342254" y="2503777"/>
                </a:lnTo>
                <a:cubicBezTo>
                  <a:pt x="4348173" y="2502341"/>
                  <a:pt x="4354092" y="2499471"/>
                  <a:pt x="4354092" y="2496602"/>
                </a:cubicBezTo>
                <a:lnTo>
                  <a:pt x="4361622" y="2498594"/>
                </a:lnTo>
                <a:lnTo>
                  <a:pt x="4343734" y="2509516"/>
                </a:lnTo>
                <a:cubicBezTo>
                  <a:pt x="4328937" y="2513821"/>
                  <a:pt x="4312658" y="2516690"/>
                  <a:pt x="4294902" y="2525299"/>
                </a:cubicBezTo>
                <a:cubicBezTo>
                  <a:pt x="4288983" y="2519560"/>
                  <a:pt x="4306741" y="2519560"/>
                  <a:pt x="4300822" y="2513821"/>
                </a:cubicBezTo>
                <a:cubicBezTo>
                  <a:pt x="4306741" y="2516690"/>
                  <a:pt x="4312658" y="2515255"/>
                  <a:pt x="4317838" y="2512385"/>
                </a:cubicBezTo>
                <a:lnTo>
                  <a:pt x="4324167" y="2507331"/>
                </a:lnTo>
                <a:lnTo>
                  <a:pt x="4321564" y="2504735"/>
                </a:lnTo>
                <a:cubicBezTo>
                  <a:pt x="4320043" y="2506250"/>
                  <a:pt x="4318524" y="2507762"/>
                  <a:pt x="4318524" y="2501705"/>
                </a:cubicBezTo>
                <a:cubicBezTo>
                  <a:pt x="4318524" y="2501705"/>
                  <a:pt x="4318524" y="2507762"/>
                  <a:pt x="4318524" y="2507762"/>
                </a:cubicBezTo>
                <a:cubicBezTo>
                  <a:pt x="4312448" y="2513822"/>
                  <a:pt x="4300293" y="2507762"/>
                  <a:pt x="4294216" y="2513822"/>
                </a:cubicBezTo>
                <a:cubicBezTo>
                  <a:pt x="4288139" y="2513822"/>
                  <a:pt x="4288139" y="2507762"/>
                  <a:pt x="4282062" y="2501705"/>
                </a:cubicBezTo>
                <a:cubicBezTo>
                  <a:pt x="4288139" y="2507762"/>
                  <a:pt x="4294216" y="2507762"/>
                  <a:pt x="4300293" y="2501705"/>
                </a:cubicBezTo>
                <a:cubicBezTo>
                  <a:pt x="4288139" y="2489588"/>
                  <a:pt x="4269908" y="2495647"/>
                  <a:pt x="4263830" y="2507762"/>
                </a:cubicBezTo>
                <a:cubicBezTo>
                  <a:pt x="4251675" y="2495647"/>
                  <a:pt x="4269908" y="2495647"/>
                  <a:pt x="4263830" y="2489588"/>
                </a:cubicBezTo>
                <a:cubicBezTo>
                  <a:pt x="4275984" y="2495647"/>
                  <a:pt x="4282062" y="2483530"/>
                  <a:pt x="4294216" y="2483530"/>
                </a:cubicBezTo>
                <a:cubicBezTo>
                  <a:pt x="4294216" y="2489588"/>
                  <a:pt x="4294216" y="2489588"/>
                  <a:pt x="4288139" y="2489588"/>
                </a:cubicBezTo>
                <a:cubicBezTo>
                  <a:pt x="4294216" y="2495647"/>
                  <a:pt x="4306370" y="2483530"/>
                  <a:pt x="4300293" y="2477471"/>
                </a:cubicBezTo>
                <a:cubicBezTo>
                  <a:pt x="4312448" y="2471413"/>
                  <a:pt x="4300293" y="2483530"/>
                  <a:pt x="4300293" y="2489588"/>
                </a:cubicBezTo>
                <a:cubicBezTo>
                  <a:pt x="4300293" y="2495647"/>
                  <a:pt x="4300293" y="2495647"/>
                  <a:pt x="4300293" y="2495647"/>
                </a:cubicBezTo>
                <a:cubicBezTo>
                  <a:pt x="4324600" y="2501705"/>
                  <a:pt x="4330678" y="2483530"/>
                  <a:pt x="4342833" y="2489588"/>
                </a:cubicBezTo>
                <a:cubicBezTo>
                  <a:pt x="4348909" y="2477471"/>
                  <a:pt x="4330678" y="2483530"/>
                  <a:pt x="4324600" y="2483530"/>
                </a:cubicBezTo>
                <a:cubicBezTo>
                  <a:pt x="4318524" y="2465354"/>
                  <a:pt x="4324600" y="2459296"/>
                  <a:pt x="4330678" y="2477471"/>
                </a:cubicBezTo>
                <a:cubicBezTo>
                  <a:pt x="4336756" y="2477471"/>
                  <a:pt x="4330678" y="2471413"/>
                  <a:pt x="4330678" y="2465354"/>
                </a:cubicBezTo>
                <a:close/>
                <a:moveTo>
                  <a:pt x="4400902" y="2465034"/>
                </a:moveTo>
                <a:cubicBezTo>
                  <a:pt x="4395163" y="2471730"/>
                  <a:pt x="4400902" y="2485123"/>
                  <a:pt x="4395163" y="2485123"/>
                </a:cubicBezTo>
                <a:cubicBezTo>
                  <a:pt x="4395163" y="2481775"/>
                  <a:pt x="4395163" y="2478427"/>
                  <a:pt x="4394445" y="2475915"/>
                </a:cubicBezTo>
                <a:lnTo>
                  <a:pt x="4389871" y="2472103"/>
                </a:lnTo>
                <a:lnTo>
                  <a:pt x="4389663" y="2471485"/>
                </a:lnTo>
                <a:lnTo>
                  <a:pt x="4395163" y="2465871"/>
                </a:lnTo>
                <a:cubicBezTo>
                  <a:pt x="4396597" y="2465034"/>
                  <a:pt x="4398032" y="2465034"/>
                  <a:pt x="4400902" y="2465034"/>
                </a:cubicBezTo>
                <a:close/>
                <a:moveTo>
                  <a:pt x="4764067" y="2462062"/>
                </a:moveTo>
                <a:lnTo>
                  <a:pt x="4772208" y="2466215"/>
                </a:lnTo>
                <a:lnTo>
                  <a:pt x="4758793" y="2472824"/>
                </a:lnTo>
                <a:cubicBezTo>
                  <a:pt x="4750507" y="2477435"/>
                  <a:pt x="4742974" y="2482048"/>
                  <a:pt x="4730921" y="2485123"/>
                </a:cubicBezTo>
                <a:cubicBezTo>
                  <a:pt x="4736948" y="2472824"/>
                  <a:pt x="4730921" y="2478973"/>
                  <a:pt x="4736948" y="2472824"/>
                </a:cubicBezTo>
                <a:cubicBezTo>
                  <a:pt x="4736948" y="2472824"/>
                  <a:pt x="4736948" y="2472824"/>
                  <a:pt x="4736948" y="2466673"/>
                </a:cubicBezTo>
                <a:cubicBezTo>
                  <a:pt x="4742975" y="2466673"/>
                  <a:pt x="4736948" y="2478973"/>
                  <a:pt x="4742975" y="2478973"/>
                </a:cubicBezTo>
                <a:cubicBezTo>
                  <a:pt x="4749001" y="2478973"/>
                  <a:pt x="4749001" y="2466673"/>
                  <a:pt x="4755027" y="2466673"/>
                </a:cubicBezTo>
                <a:cubicBezTo>
                  <a:pt x="4758040" y="2463598"/>
                  <a:pt x="4761054" y="2462061"/>
                  <a:pt x="4764067" y="2462062"/>
                </a:cubicBezTo>
                <a:close/>
                <a:moveTo>
                  <a:pt x="4414624" y="2457501"/>
                </a:moveTo>
                <a:cubicBezTo>
                  <a:pt x="4418659" y="2458290"/>
                  <a:pt x="4423502" y="2459868"/>
                  <a:pt x="4426731" y="2459868"/>
                </a:cubicBezTo>
                <a:cubicBezTo>
                  <a:pt x="4420273" y="2466182"/>
                  <a:pt x="4413816" y="2478809"/>
                  <a:pt x="4407359" y="2485123"/>
                </a:cubicBezTo>
                <a:cubicBezTo>
                  <a:pt x="4400902" y="2472496"/>
                  <a:pt x="4413816" y="2472496"/>
                  <a:pt x="4407359" y="2466182"/>
                </a:cubicBezTo>
                <a:cubicBezTo>
                  <a:pt x="4413816" y="2466182"/>
                  <a:pt x="4413816" y="2466182"/>
                  <a:pt x="4413816" y="2472496"/>
                </a:cubicBezTo>
                <a:cubicBezTo>
                  <a:pt x="4413816" y="2466182"/>
                  <a:pt x="4420273" y="2466182"/>
                  <a:pt x="4420273" y="2459868"/>
                </a:cubicBezTo>
                <a:cubicBezTo>
                  <a:pt x="4413816" y="2459868"/>
                  <a:pt x="4413816" y="2459868"/>
                  <a:pt x="4407359" y="2459868"/>
                </a:cubicBezTo>
                <a:cubicBezTo>
                  <a:pt x="4407359" y="2456711"/>
                  <a:pt x="4410588" y="2456711"/>
                  <a:pt x="4414624" y="2457501"/>
                </a:cubicBezTo>
                <a:close/>
                <a:moveTo>
                  <a:pt x="4749000" y="2456680"/>
                </a:moveTo>
                <a:cubicBezTo>
                  <a:pt x="4752013" y="2457451"/>
                  <a:pt x="4755027" y="2460525"/>
                  <a:pt x="4755027" y="2466673"/>
                </a:cubicBezTo>
                <a:cubicBezTo>
                  <a:pt x="4749001" y="2460524"/>
                  <a:pt x="4742975" y="2460524"/>
                  <a:pt x="4742975" y="2460524"/>
                </a:cubicBezTo>
                <a:cubicBezTo>
                  <a:pt x="4742975" y="2457451"/>
                  <a:pt x="4745988" y="2455912"/>
                  <a:pt x="4749000" y="2456680"/>
                </a:cubicBezTo>
                <a:close/>
                <a:moveTo>
                  <a:pt x="4354986" y="2453555"/>
                </a:moveTo>
                <a:cubicBezTo>
                  <a:pt x="4360726" y="2453555"/>
                  <a:pt x="4360726" y="2460012"/>
                  <a:pt x="4360726" y="2472926"/>
                </a:cubicBezTo>
                <a:cubicBezTo>
                  <a:pt x="4354986" y="2466469"/>
                  <a:pt x="4349246" y="2479383"/>
                  <a:pt x="4343507" y="2466469"/>
                </a:cubicBezTo>
                <a:cubicBezTo>
                  <a:pt x="4349246" y="2460012"/>
                  <a:pt x="4360726" y="2479383"/>
                  <a:pt x="4354986" y="2453555"/>
                </a:cubicBezTo>
                <a:close/>
                <a:moveTo>
                  <a:pt x="4228718" y="2453555"/>
                </a:moveTo>
                <a:cubicBezTo>
                  <a:pt x="4234457" y="2453555"/>
                  <a:pt x="4240197" y="2453555"/>
                  <a:pt x="4240197" y="2459773"/>
                </a:cubicBezTo>
                <a:cubicBezTo>
                  <a:pt x="4234457" y="2459773"/>
                  <a:pt x="4228718" y="2465990"/>
                  <a:pt x="4234457" y="2465990"/>
                </a:cubicBezTo>
                <a:cubicBezTo>
                  <a:pt x="4234457" y="2465990"/>
                  <a:pt x="4231589" y="2465990"/>
                  <a:pt x="4228718" y="2468322"/>
                </a:cubicBezTo>
                <a:lnTo>
                  <a:pt x="4223282" y="2483782"/>
                </a:lnTo>
                <a:lnTo>
                  <a:pt x="4217239" y="2478427"/>
                </a:lnTo>
                <a:cubicBezTo>
                  <a:pt x="4217239" y="2472209"/>
                  <a:pt x="4222978" y="2484644"/>
                  <a:pt x="4222978" y="2472209"/>
                </a:cubicBezTo>
                <a:cubicBezTo>
                  <a:pt x="4222978" y="2472209"/>
                  <a:pt x="4211500" y="2472209"/>
                  <a:pt x="4211500" y="2478427"/>
                </a:cubicBezTo>
                <a:lnTo>
                  <a:pt x="4211500" y="2472209"/>
                </a:lnTo>
                <a:cubicBezTo>
                  <a:pt x="4222978" y="2472209"/>
                  <a:pt x="4211500" y="2459773"/>
                  <a:pt x="4222978" y="2459773"/>
                </a:cubicBezTo>
                <a:cubicBezTo>
                  <a:pt x="4211500" y="2465990"/>
                  <a:pt x="4234457" y="2465990"/>
                  <a:pt x="4228718" y="2453555"/>
                </a:cubicBezTo>
                <a:close/>
                <a:moveTo>
                  <a:pt x="4179931" y="2452120"/>
                </a:moveTo>
                <a:cubicBezTo>
                  <a:pt x="4182802" y="2452120"/>
                  <a:pt x="4185671" y="2453555"/>
                  <a:pt x="4185671" y="2459295"/>
                </a:cubicBezTo>
                <a:cubicBezTo>
                  <a:pt x="4185671" y="2459295"/>
                  <a:pt x="4185671" y="2453555"/>
                  <a:pt x="4185671" y="2453555"/>
                </a:cubicBezTo>
                <a:cubicBezTo>
                  <a:pt x="4191410" y="2453555"/>
                  <a:pt x="4191410" y="2453555"/>
                  <a:pt x="4191410" y="2459295"/>
                </a:cubicBezTo>
                <a:cubicBezTo>
                  <a:pt x="4185671" y="2465034"/>
                  <a:pt x="4179931" y="2459295"/>
                  <a:pt x="4174192" y="2465034"/>
                </a:cubicBezTo>
                <a:cubicBezTo>
                  <a:pt x="4174192" y="2459295"/>
                  <a:pt x="4174192" y="2459295"/>
                  <a:pt x="4174192" y="2453555"/>
                </a:cubicBezTo>
                <a:cubicBezTo>
                  <a:pt x="4174192" y="2453555"/>
                  <a:pt x="4177063" y="2452120"/>
                  <a:pt x="4179931" y="2452120"/>
                </a:cubicBezTo>
                <a:close/>
                <a:moveTo>
                  <a:pt x="4785819" y="2451973"/>
                </a:moveTo>
                <a:cubicBezTo>
                  <a:pt x="4787796" y="2453222"/>
                  <a:pt x="4789679" y="2455912"/>
                  <a:pt x="4791186" y="2460524"/>
                </a:cubicBezTo>
                <a:lnTo>
                  <a:pt x="4773295" y="2465845"/>
                </a:lnTo>
                <a:lnTo>
                  <a:pt x="4775084" y="2457931"/>
                </a:lnTo>
                <a:cubicBezTo>
                  <a:pt x="4776309" y="2455337"/>
                  <a:pt x="4778003" y="2453222"/>
                  <a:pt x="4779886" y="2452069"/>
                </a:cubicBezTo>
                <a:cubicBezTo>
                  <a:pt x="4781770" y="2450916"/>
                  <a:pt x="4783841" y="2450724"/>
                  <a:pt x="4785819" y="2451973"/>
                </a:cubicBezTo>
                <a:close/>
                <a:moveTo>
                  <a:pt x="4300460" y="2449250"/>
                </a:moveTo>
                <a:cubicBezTo>
                  <a:pt x="4303330" y="2449250"/>
                  <a:pt x="4306200" y="2450685"/>
                  <a:pt x="4306200" y="2453555"/>
                </a:cubicBezTo>
                <a:cubicBezTo>
                  <a:pt x="4300460" y="2459295"/>
                  <a:pt x="4300460" y="2453555"/>
                  <a:pt x="4294721" y="2453555"/>
                </a:cubicBezTo>
                <a:cubicBezTo>
                  <a:pt x="4294721" y="2450685"/>
                  <a:pt x="4297591" y="2449250"/>
                  <a:pt x="4300460" y="2449250"/>
                </a:cubicBezTo>
                <a:close/>
                <a:moveTo>
                  <a:pt x="4201615" y="2448361"/>
                </a:moveTo>
                <a:lnTo>
                  <a:pt x="4199065" y="2459295"/>
                </a:lnTo>
                <a:cubicBezTo>
                  <a:pt x="4192367" y="2453555"/>
                  <a:pt x="4192367" y="2450684"/>
                  <a:pt x="4194879" y="2449251"/>
                </a:cubicBezTo>
                <a:close/>
                <a:moveTo>
                  <a:pt x="4251675" y="2447815"/>
                </a:moveTo>
                <a:cubicBezTo>
                  <a:pt x="4257416" y="2447815"/>
                  <a:pt x="4257416" y="2459295"/>
                  <a:pt x="4251675" y="2459295"/>
                </a:cubicBezTo>
                <a:cubicBezTo>
                  <a:pt x="4251675" y="2453555"/>
                  <a:pt x="4245936" y="2459295"/>
                  <a:pt x="4245936" y="2459295"/>
                </a:cubicBezTo>
                <a:cubicBezTo>
                  <a:pt x="4240197" y="2459295"/>
                  <a:pt x="4245936" y="2459295"/>
                  <a:pt x="4240197" y="2453555"/>
                </a:cubicBezTo>
                <a:cubicBezTo>
                  <a:pt x="4245936" y="2453555"/>
                  <a:pt x="4251675" y="2453555"/>
                  <a:pt x="4251675" y="2447815"/>
                </a:cubicBezTo>
                <a:close/>
                <a:moveTo>
                  <a:pt x="4162713" y="2447815"/>
                </a:moveTo>
                <a:cubicBezTo>
                  <a:pt x="4174192" y="2453555"/>
                  <a:pt x="4151234" y="2470774"/>
                  <a:pt x="4151234" y="2459295"/>
                </a:cubicBezTo>
                <a:cubicBezTo>
                  <a:pt x="4145494" y="2465034"/>
                  <a:pt x="4151234" y="2465034"/>
                  <a:pt x="4151234" y="2470774"/>
                </a:cubicBezTo>
                <a:cubicBezTo>
                  <a:pt x="4148365" y="2470774"/>
                  <a:pt x="4146930" y="2467903"/>
                  <a:pt x="4144777" y="2465752"/>
                </a:cubicBezTo>
                <a:lnTo>
                  <a:pt x="4140104" y="2465439"/>
                </a:lnTo>
                <a:lnTo>
                  <a:pt x="4151234" y="2478427"/>
                </a:lnTo>
                <a:cubicBezTo>
                  <a:pt x="4145494" y="2478427"/>
                  <a:pt x="4145494" y="2478427"/>
                  <a:pt x="4145494" y="2478427"/>
                </a:cubicBezTo>
                <a:cubicBezTo>
                  <a:pt x="4139755" y="2478427"/>
                  <a:pt x="4139755" y="2471730"/>
                  <a:pt x="4139755" y="2485123"/>
                </a:cubicBezTo>
                <a:cubicBezTo>
                  <a:pt x="4139755" y="2485123"/>
                  <a:pt x="4139755" y="2485123"/>
                  <a:pt x="4134016" y="2485123"/>
                </a:cubicBezTo>
                <a:lnTo>
                  <a:pt x="4134016" y="2483975"/>
                </a:lnTo>
                <a:lnTo>
                  <a:pt x="4118473" y="2492656"/>
                </a:lnTo>
                <a:cubicBezTo>
                  <a:pt x="4113809" y="2493446"/>
                  <a:pt x="4109147" y="2493446"/>
                  <a:pt x="4102928" y="2496602"/>
                </a:cubicBezTo>
                <a:lnTo>
                  <a:pt x="4102928" y="2490288"/>
                </a:lnTo>
                <a:cubicBezTo>
                  <a:pt x="4102928" y="2496602"/>
                  <a:pt x="4115363" y="2477661"/>
                  <a:pt x="4109147" y="2490288"/>
                </a:cubicBezTo>
                <a:cubicBezTo>
                  <a:pt x="4109147" y="2490288"/>
                  <a:pt x="4115363" y="2490288"/>
                  <a:pt x="4115363" y="2490288"/>
                </a:cubicBezTo>
                <a:cubicBezTo>
                  <a:pt x="4115363" y="2477661"/>
                  <a:pt x="4115363" y="2477661"/>
                  <a:pt x="4109147" y="2477661"/>
                </a:cubicBezTo>
                <a:cubicBezTo>
                  <a:pt x="4115363" y="2471346"/>
                  <a:pt x="4115363" y="2471346"/>
                  <a:pt x="4121583" y="2465034"/>
                </a:cubicBezTo>
                <a:cubicBezTo>
                  <a:pt x="4121583" y="2471346"/>
                  <a:pt x="4115363" y="2471346"/>
                  <a:pt x="4121583" y="2483975"/>
                </a:cubicBezTo>
                <a:cubicBezTo>
                  <a:pt x="4121583" y="2480817"/>
                  <a:pt x="4121583" y="2480817"/>
                  <a:pt x="4123137" y="2481607"/>
                </a:cubicBezTo>
                <a:lnTo>
                  <a:pt x="4134016" y="2483973"/>
                </a:lnTo>
                <a:lnTo>
                  <a:pt x="4134016" y="2478427"/>
                </a:lnTo>
                <a:lnTo>
                  <a:pt x="4139596" y="2465406"/>
                </a:lnTo>
                <a:lnTo>
                  <a:pt x="4134016" y="2465034"/>
                </a:lnTo>
                <a:cubicBezTo>
                  <a:pt x="4139755" y="2453555"/>
                  <a:pt x="4145494" y="2465034"/>
                  <a:pt x="4151234" y="2453555"/>
                </a:cubicBezTo>
                <a:cubicBezTo>
                  <a:pt x="4151234" y="2453555"/>
                  <a:pt x="4156974" y="2459295"/>
                  <a:pt x="4156974" y="2459295"/>
                </a:cubicBezTo>
                <a:cubicBezTo>
                  <a:pt x="4156974" y="2459295"/>
                  <a:pt x="4162713" y="2453555"/>
                  <a:pt x="4162713" y="2447815"/>
                </a:cubicBezTo>
                <a:close/>
                <a:moveTo>
                  <a:pt x="4202023" y="2446613"/>
                </a:moveTo>
                <a:lnTo>
                  <a:pt x="4205760" y="2447815"/>
                </a:lnTo>
                <a:lnTo>
                  <a:pt x="4201615" y="2448361"/>
                </a:lnTo>
                <a:close/>
                <a:moveTo>
                  <a:pt x="4796926" y="2442076"/>
                </a:moveTo>
                <a:cubicBezTo>
                  <a:pt x="4802665" y="2447815"/>
                  <a:pt x="4802665" y="2447815"/>
                  <a:pt x="4802665" y="2453555"/>
                </a:cubicBezTo>
                <a:cubicBezTo>
                  <a:pt x="4802665" y="2453555"/>
                  <a:pt x="4796926" y="2453555"/>
                  <a:pt x="4791186" y="2459295"/>
                </a:cubicBezTo>
                <a:cubicBezTo>
                  <a:pt x="4791186" y="2453555"/>
                  <a:pt x="4796926" y="2447815"/>
                  <a:pt x="4791186" y="2447815"/>
                </a:cubicBezTo>
                <a:cubicBezTo>
                  <a:pt x="4791186" y="2442076"/>
                  <a:pt x="4796926" y="2447815"/>
                  <a:pt x="4796926" y="2442076"/>
                </a:cubicBezTo>
                <a:close/>
                <a:moveTo>
                  <a:pt x="4641960" y="2442076"/>
                </a:moveTo>
                <a:cubicBezTo>
                  <a:pt x="4641960" y="2442076"/>
                  <a:pt x="4647699" y="2442076"/>
                  <a:pt x="4647699" y="2442076"/>
                </a:cubicBezTo>
                <a:cubicBezTo>
                  <a:pt x="4647699" y="2442076"/>
                  <a:pt x="4647699" y="2442076"/>
                  <a:pt x="4653439" y="2447815"/>
                </a:cubicBezTo>
                <a:cubicBezTo>
                  <a:pt x="4647699" y="2447815"/>
                  <a:pt x="4647699" y="2447815"/>
                  <a:pt x="4647699" y="2447815"/>
                </a:cubicBezTo>
                <a:cubicBezTo>
                  <a:pt x="4636221" y="2453555"/>
                  <a:pt x="4647699" y="2453555"/>
                  <a:pt x="4641960" y="2459295"/>
                </a:cubicBezTo>
                <a:cubicBezTo>
                  <a:pt x="4636221" y="2453555"/>
                  <a:pt x="4641960" y="2453555"/>
                  <a:pt x="4636221" y="2447815"/>
                </a:cubicBezTo>
                <a:cubicBezTo>
                  <a:pt x="4636221" y="2442076"/>
                  <a:pt x="4647699" y="2453555"/>
                  <a:pt x="4641960" y="2442076"/>
                </a:cubicBezTo>
                <a:close/>
                <a:moveTo>
                  <a:pt x="4389423" y="2442076"/>
                </a:moveTo>
                <a:cubicBezTo>
                  <a:pt x="4395163" y="2442076"/>
                  <a:pt x="4395163" y="2447815"/>
                  <a:pt x="4400902" y="2442076"/>
                </a:cubicBezTo>
                <a:cubicBezTo>
                  <a:pt x="4400902" y="2442076"/>
                  <a:pt x="4400902" y="2442076"/>
                  <a:pt x="4395163" y="2447815"/>
                </a:cubicBezTo>
                <a:cubicBezTo>
                  <a:pt x="4389423" y="2447815"/>
                  <a:pt x="4389423" y="2447815"/>
                  <a:pt x="4389423" y="2442076"/>
                </a:cubicBezTo>
                <a:close/>
                <a:moveTo>
                  <a:pt x="4277502" y="2442076"/>
                </a:moveTo>
                <a:cubicBezTo>
                  <a:pt x="4283242" y="2436337"/>
                  <a:pt x="4277502" y="2459295"/>
                  <a:pt x="4288982" y="2459295"/>
                </a:cubicBezTo>
                <a:cubicBezTo>
                  <a:pt x="4283242" y="2459295"/>
                  <a:pt x="4283242" y="2459295"/>
                  <a:pt x="4277502" y="2459295"/>
                </a:cubicBezTo>
                <a:cubicBezTo>
                  <a:pt x="4277502" y="2447815"/>
                  <a:pt x="4277502" y="2447815"/>
                  <a:pt x="4277502" y="2442076"/>
                </a:cubicBezTo>
                <a:close/>
                <a:moveTo>
                  <a:pt x="4287474" y="2439562"/>
                </a:moveTo>
                <a:lnTo>
                  <a:pt x="4288982" y="2442076"/>
                </a:lnTo>
                <a:cubicBezTo>
                  <a:pt x="4287547" y="2440641"/>
                  <a:pt x="4287188" y="2439924"/>
                  <a:pt x="4287457" y="2439565"/>
                </a:cubicBezTo>
                <a:close/>
                <a:moveTo>
                  <a:pt x="4407121" y="2436337"/>
                </a:moveTo>
                <a:cubicBezTo>
                  <a:pt x="4413337" y="2436337"/>
                  <a:pt x="4413337" y="2439206"/>
                  <a:pt x="4411784" y="2442076"/>
                </a:cubicBezTo>
                <a:lnTo>
                  <a:pt x="4407121" y="2447815"/>
                </a:lnTo>
                <a:lnTo>
                  <a:pt x="4407121" y="2444945"/>
                </a:lnTo>
                <a:cubicBezTo>
                  <a:pt x="4408675" y="2442076"/>
                  <a:pt x="4410229" y="2439206"/>
                  <a:pt x="4407121" y="2436337"/>
                </a:cubicBezTo>
                <a:close/>
                <a:moveTo>
                  <a:pt x="4438209" y="2430597"/>
                </a:moveTo>
                <a:cubicBezTo>
                  <a:pt x="4438209" y="2442076"/>
                  <a:pt x="4419556" y="2436337"/>
                  <a:pt x="4431993" y="2447815"/>
                </a:cubicBezTo>
                <a:cubicBezTo>
                  <a:pt x="4413339" y="2453555"/>
                  <a:pt x="4419556" y="2447815"/>
                  <a:pt x="4407121" y="2453555"/>
                </a:cubicBezTo>
                <a:lnTo>
                  <a:pt x="4407121" y="2447815"/>
                </a:lnTo>
                <a:lnTo>
                  <a:pt x="4419556" y="2436337"/>
                </a:lnTo>
                <a:cubicBezTo>
                  <a:pt x="4425774" y="2436337"/>
                  <a:pt x="4419556" y="2447815"/>
                  <a:pt x="4413339" y="2447815"/>
                </a:cubicBezTo>
                <a:cubicBezTo>
                  <a:pt x="4419556" y="2453555"/>
                  <a:pt x="4425774" y="2442076"/>
                  <a:pt x="4425774" y="2436337"/>
                </a:cubicBezTo>
                <a:cubicBezTo>
                  <a:pt x="4425774" y="2436337"/>
                  <a:pt x="4431993" y="2436337"/>
                  <a:pt x="4438209" y="2430597"/>
                </a:cubicBezTo>
                <a:close/>
                <a:moveTo>
                  <a:pt x="4311939" y="2430597"/>
                </a:moveTo>
                <a:cubicBezTo>
                  <a:pt x="4306200" y="2447815"/>
                  <a:pt x="4311939" y="2436337"/>
                  <a:pt x="4317679" y="2447815"/>
                </a:cubicBezTo>
                <a:cubicBezTo>
                  <a:pt x="4311939" y="2453555"/>
                  <a:pt x="4311939" y="2442076"/>
                  <a:pt x="4306200" y="2442076"/>
                </a:cubicBezTo>
                <a:cubicBezTo>
                  <a:pt x="4300460" y="2436337"/>
                  <a:pt x="4306200" y="2430597"/>
                  <a:pt x="4311939" y="2430597"/>
                </a:cubicBezTo>
                <a:close/>
                <a:moveTo>
                  <a:pt x="4240197" y="2430597"/>
                </a:moveTo>
                <a:cubicBezTo>
                  <a:pt x="4234457" y="2436337"/>
                  <a:pt x="4234457" y="2436337"/>
                  <a:pt x="4234457" y="2442076"/>
                </a:cubicBezTo>
                <a:cubicBezTo>
                  <a:pt x="4228718" y="2447815"/>
                  <a:pt x="4217239" y="2447815"/>
                  <a:pt x="4205760" y="2453555"/>
                </a:cubicBezTo>
                <a:cubicBezTo>
                  <a:pt x="4211500" y="2442076"/>
                  <a:pt x="4211500" y="2442076"/>
                  <a:pt x="4222978" y="2436337"/>
                </a:cubicBezTo>
                <a:cubicBezTo>
                  <a:pt x="4222978" y="2442076"/>
                  <a:pt x="4222978" y="2442076"/>
                  <a:pt x="4222978" y="2442076"/>
                </a:cubicBezTo>
                <a:cubicBezTo>
                  <a:pt x="4228718" y="2442076"/>
                  <a:pt x="4228718" y="2430597"/>
                  <a:pt x="4240197" y="2430597"/>
                </a:cubicBezTo>
                <a:close/>
                <a:moveTo>
                  <a:pt x="4205760" y="2430597"/>
                </a:moveTo>
                <a:lnTo>
                  <a:pt x="4202023" y="2446613"/>
                </a:lnTo>
                <a:lnTo>
                  <a:pt x="4199065" y="2445663"/>
                </a:lnTo>
                <a:cubicBezTo>
                  <a:pt x="4197390" y="2446380"/>
                  <a:pt x="4195716" y="2447815"/>
                  <a:pt x="4192369" y="2447815"/>
                </a:cubicBezTo>
                <a:cubicBezTo>
                  <a:pt x="4192369" y="2436337"/>
                  <a:pt x="4199065" y="2436337"/>
                  <a:pt x="4205760" y="2430597"/>
                </a:cubicBezTo>
                <a:close/>
                <a:moveTo>
                  <a:pt x="4306738" y="2426562"/>
                </a:moveTo>
                <a:cubicBezTo>
                  <a:pt x="4308711" y="2426651"/>
                  <a:pt x="4310505" y="2427728"/>
                  <a:pt x="4311939" y="2430597"/>
                </a:cubicBezTo>
                <a:cubicBezTo>
                  <a:pt x="4306200" y="2430597"/>
                  <a:pt x="4294721" y="2424857"/>
                  <a:pt x="4300460" y="2436337"/>
                </a:cubicBezTo>
                <a:cubicBezTo>
                  <a:pt x="4306200" y="2430597"/>
                  <a:pt x="4300460" y="2436337"/>
                  <a:pt x="4300460" y="2442076"/>
                </a:cubicBezTo>
                <a:cubicBezTo>
                  <a:pt x="4300460" y="2447815"/>
                  <a:pt x="4294721" y="2442076"/>
                  <a:pt x="4294721" y="2436337"/>
                </a:cubicBezTo>
                <a:cubicBezTo>
                  <a:pt x="4294721" y="2439206"/>
                  <a:pt x="4291851" y="2439206"/>
                  <a:pt x="4289699" y="2439206"/>
                </a:cubicBezTo>
                <a:lnTo>
                  <a:pt x="4287474" y="2439562"/>
                </a:lnTo>
                <a:lnTo>
                  <a:pt x="4286829" y="2438489"/>
                </a:lnTo>
                <a:cubicBezTo>
                  <a:pt x="4287547" y="2436337"/>
                  <a:pt x="4288982" y="2433467"/>
                  <a:pt x="4288982" y="2430597"/>
                </a:cubicBezTo>
                <a:cubicBezTo>
                  <a:pt x="4291852" y="2433466"/>
                  <a:pt x="4296157" y="2430597"/>
                  <a:pt x="4300460" y="2428444"/>
                </a:cubicBezTo>
                <a:cubicBezTo>
                  <a:pt x="4302612" y="2427369"/>
                  <a:pt x="4304765" y="2426472"/>
                  <a:pt x="4306738" y="2426562"/>
                </a:cubicBezTo>
                <a:close/>
                <a:moveTo>
                  <a:pt x="4455426" y="2426293"/>
                </a:moveTo>
                <a:cubicBezTo>
                  <a:pt x="4456862" y="2424857"/>
                  <a:pt x="4458297" y="2430597"/>
                  <a:pt x="4455426" y="2447815"/>
                </a:cubicBezTo>
                <a:cubicBezTo>
                  <a:pt x="4452557" y="2436337"/>
                  <a:pt x="4453993" y="2427726"/>
                  <a:pt x="4455426" y="2426293"/>
                </a:cubicBezTo>
                <a:close/>
                <a:moveTo>
                  <a:pt x="4270330" y="2424857"/>
                </a:moveTo>
                <a:cubicBezTo>
                  <a:pt x="4283244" y="2430597"/>
                  <a:pt x="4263873" y="2436337"/>
                  <a:pt x="4257416" y="2430597"/>
                </a:cubicBezTo>
                <a:cubicBezTo>
                  <a:pt x="4257416" y="2419118"/>
                  <a:pt x="4270330" y="2430597"/>
                  <a:pt x="4270330" y="2424857"/>
                </a:cubicBezTo>
                <a:close/>
                <a:moveTo>
                  <a:pt x="4249075" y="2423333"/>
                </a:moveTo>
                <a:cubicBezTo>
                  <a:pt x="4249523" y="2423064"/>
                  <a:pt x="4250241" y="2423423"/>
                  <a:pt x="4251675" y="2424857"/>
                </a:cubicBezTo>
                <a:cubicBezTo>
                  <a:pt x="4251675" y="2436337"/>
                  <a:pt x="4245936" y="2430597"/>
                  <a:pt x="4245936" y="2442076"/>
                </a:cubicBezTo>
                <a:cubicBezTo>
                  <a:pt x="4234457" y="2442076"/>
                  <a:pt x="4245936" y="2436337"/>
                  <a:pt x="4240197" y="2430597"/>
                </a:cubicBezTo>
                <a:cubicBezTo>
                  <a:pt x="4248806" y="2430597"/>
                  <a:pt x="4247729" y="2424140"/>
                  <a:pt x="4249075" y="2423333"/>
                </a:cubicBezTo>
                <a:close/>
                <a:moveTo>
                  <a:pt x="4666168" y="2417437"/>
                </a:moveTo>
                <a:cubicBezTo>
                  <a:pt x="4672147" y="2417437"/>
                  <a:pt x="4672147" y="2423401"/>
                  <a:pt x="4678125" y="2423401"/>
                </a:cubicBezTo>
                <a:cubicBezTo>
                  <a:pt x="4678125" y="2429364"/>
                  <a:pt x="4666168" y="2429364"/>
                  <a:pt x="4666168" y="2417437"/>
                </a:cubicBezTo>
                <a:close/>
                <a:moveTo>
                  <a:pt x="4332070" y="2413993"/>
                </a:moveTo>
                <a:cubicBezTo>
                  <a:pt x="4338781" y="2413241"/>
                  <a:pt x="4344746" y="2414745"/>
                  <a:pt x="4347727" y="2417752"/>
                </a:cubicBezTo>
                <a:lnTo>
                  <a:pt x="4352427" y="2414290"/>
                </a:lnTo>
                <a:lnTo>
                  <a:pt x="4347727" y="2423764"/>
                </a:lnTo>
                <a:cubicBezTo>
                  <a:pt x="4341763" y="2423764"/>
                  <a:pt x="4347727" y="2423764"/>
                  <a:pt x="4341763" y="2429776"/>
                </a:cubicBezTo>
                <a:cubicBezTo>
                  <a:pt x="4341763" y="2423764"/>
                  <a:pt x="4347727" y="2423764"/>
                  <a:pt x="4341763" y="2423764"/>
                </a:cubicBezTo>
                <a:cubicBezTo>
                  <a:pt x="4335797" y="2417752"/>
                  <a:pt x="4329834" y="2435789"/>
                  <a:pt x="4317905" y="2429776"/>
                </a:cubicBezTo>
                <a:cubicBezTo>
                  <a:pt x="4317905" y="2435789"/>
                  <a:pt x="4323868" y="2435789"/>
                  <a:pt x="4323868" y="2435789"/>
                </a:cubicBezTo>
                <a:cubicBezTo>
                  <a:pt x="4317905" y="2447815"/>
                  <a:pt x="4317905" y="2429776"/>
                  <a:pt x="4311939" y="2423764"/>
                </a:cubicBezTo>
                <a:cubicBezTo>
                  <a:pt x="4317905" y="2417752"/>
                  <a:pt x="4325360" y="2414745"/>
                  <a:pt x="4332070" y="2413993"/>
                </a:cubicBezTo>
                <a:close/>
                <a:moveTo>
                  <a:pt x="4353692" y="2411739"/>
                </a:moveTo>
                <a:lnTo>
                  <a:pt x="4354939" y="2412437"/>
                </a:lnTo>
                <a:lnTo>
                  <a:pt x="4352427" y="2414290"/>
                </a:lnTo>
                <a:close/>
                <a:moveTo>
                  <a:pt x="4897366" y="2406206"/>
                </a:moveTo>
                <a:cubicBezTo>
                  <a:pt x="4897366" y="2407372"/>
                  <a:pt x="4897366" y="2407445"/>
                  <a:pt x="4897328" y="2406875"/>
                </a:cubicBezTo>
                <a:lnTo>
                  <a:pt x="4897290" y="2406424"/>
                </a:lnTo>
                <a:close/>
                <a:moveTo>
                  <a:pt x="4874408" y="2406206"/>
                </a:moveTo>
                <a:cubicBezTo>
                  <a:pt x="4880147" y="2406206"/>
                  <a:pt x="4883017" y="2407760"/>
                  <a:pt x="4885886" y="2408538"/>
                </a:cubicBezTo>
                <a:lnTo>
                  <a:pt x="4897274" y="2406224"/>
                </a:lnTo>
                <a:lnTo>
                  <a:pt x="4897290" y="2406424"/>
                </a:lnTo>
                <a:lnTo>
                  <a:pt x="4894585" y="2414270"/>
                </a:lnTo>
                <a:cubicBezTo>
                  <a:pt x="4889474" y="2420973"/>
                  <a:pt x="4878712" y="2423305"/>
                  <a:pt x="4874408" y="2418641"/>
                </a:cubicBezTo>
                <a:cubicBezTo>
                  <a:pt x="4871539" y="2415532"/>
                  <a:pt x="4872972" y="2413979"/>
                  <a:pt x="4874408" y="2412425"/>
                </a:cubicBezTo>
                <a:lnTo>
                  <a:pt x="4874408" y="2407643"/>
                </a:lnTo>
                <a:lnTo>
                  <a:pt x="4868432" y="2417683"/>
                </a:lnTo>
                <a:cubicBezTo>
                  <a:pt x="4866936" y="2420554"/>
                  <a:pt x="4865441" y="2421987"/>
                  <a:pt x="4862453" y="2419118"/>
                </a:cubicBezTo>
                <a:cubicBezTo>
                  <a:pt x="4862453" y="2424857"/>
                  <a:pt x="4868432" y="2424857"/>
                  <a:pt x="4868432" y="2424857"/>
                </a:cubicBezTo>
                <a:cubicBezTo>
                  <a:pt x="4856473" y="2436337"/>
                  <a:pt x="4838537" y="2436337"/>
                  <a:pt x="4826581" y="2430597"/>
                </a:cubicBezTo>
                <a:cubicBezTo>
                  <a:pt x="4820601" y="2436337"/>
                  <a:pt x="4826581" y="2436337"/>
                  <a:pt x="4826581" y="2442076"/>
                </a:cubicBezTo>
                <a:cubicBezTo>
                  <a:pt x="4820601" y="2447815"/>
                  <a:pt x="4820601" y="2447815"/>
                  <a:pt x="4814623" y="2447815"/>
                </a:cubicBezTo>
                <a:cubicBezTo>
                  <a:pt x="4814623" y="2436337"/>
                  <a:pt x="4802665" y="2442076"/>
                  <a:pt x="4802665" y="2436337"/>
                </a:cubicBezTo>
                <a:cubicBezTo>
                  <a:pt x="4808645" y="2436337"/>
                  <a:pt x="4814623" y="2430597"/>
                  <a:pt x="4814623" y="2442076"/>
                </a:cubicBezTo>
                <a:cubicBezTo>
                  <a:pt x="4820601" y="2424857"/>
                  <a:pt x="4832559" y="2430597"/>
                  <a:pt x="4838537" y="2419118"/>
                </a:cubicBezTo>
                <a:cubicBezTo>
                  <a:pt x="4844517" y="2424857"/>
                  <a:pt x="4838537" y="2424857"/>
                  <a:pt x="4850495" y="2419118"/>
                </a:cubicBezTo>
                <a:cubicBezTo>
                  <a:pt x="4850495" y="2424857"/>
                  <a:pt x="4844517" y="2424857"/>
                  <a:pt x="4844517" y="2430597"/>
                </a:cubicBezTo>
                <a:cubicBezTo>
                  <a:pt x="4856473" y="2436337"/>
                  <a:pt x="4862453" y="2419118"/>
                  <a:pt x="4862453" y="2413379"/>
                </a:cubicBezTo>
                <a:lnTo>
                  <a:pt x="4874408" y="2407639"/>
                </a:lnTo>
                <a:close/>
                <a:moveTo>
                  <a:pt x="4311939" y="2406206"/>
                </a:moveTo>
                <a:cubicBezTo>
                  <a:pt x="4317679" y="2406206"/>
                  <a:pt x="4323418" y="2406206"/>
                  <a:pt x="4329157" y="2406206"/>
                </a:cubicBezTo>
                <a:cubicBezTo>
                  <a:pt x="4323418" y="2413381"/>
                  <a:pt x="4311939" y="2413381"/>
                  <a:pt x="4311939" y="2413381"/>
                </a:cubicBezTo>
                <a:close/>
                <a:moveTo>
                  <a:pt x="4897254" y="2405995"/>
                </a:moveTo>
                <a:lnTo>
                  <a:pt x="4897366" y="2406206"/>
                </a:lnTo>
                <a:lnTo>
                  <a:pt x="4897274" y="2406224"/>
                </a:lnTo>
                <a:close/>
                <a:moveTo>
                  <a:pt x="4395443" y="2405727"/>
                </a:moveTo>
                <a:lnTo>
                  <a:pt x="4395443" y="2406477"/>
                </a:lnTo>
                <a:cubicBezTo>
                  <a:pt x="4393951" y="2408733"/>
                  <a:pt x="4392460" y="2411739"/>
                  <a:pt x="4395443" y="2417752"/>
                </a:cubicBezTo>
                <a:cubicBezTo>
                  <a:pt x="4389479" y="2417752"/>
                  <a:pt x="4389479" y="2405727"/>
                  <a:pt x="4389479" y="2411739"/>
                </a:cubicBezTo>
                <a:cubicBezTo>
                  <a:pt x="4383514" y="2405727"/>
                  <a:pt x="4389479" y="2411739"/>
                  <a:pt x="4395443" y="2405727"/>
                </a:cubicBezTo>
                <a:close/>
                <a:moveTo>
                  <a:pt x="4910280" y="2399569"/>
                </a:moveTo>
                <a:cubicBezTo>
                  <a:pt x="4913868" y="2398673"/>
                  <a:pt x="4917455" y="2400467"/>
                  <a:pt x="4917455" y="2407641"/>
                </a:cubicBezTo>
                <a:cubicBezTo>
                  <a:pt x="4917455" y="2407641"/>
                  <a:pt x="4910280" y="2407641"/>
                  <a:pt x="4903105" y="2407641"/>
                </a:cubicBezTo>
                <a:cubicBezTo>
                  <a:pt x="4903105" y="2404053"/>
                  <a:pt x="4906693" y="2400467"/>
                  <a:pt x="4910280" y="2399569"/>
                </a:cubicBezTo>
                <a:close/>
                <a:moveTo>
                  <a:pt x="4894945" y="2396587"/>
                </a:moveTo>
                <a:cubicBezTo>
                  <a:pt x="4896155" y="2397315"/>
                  <a:pt x="4896761" y="2400886"/>
                  <a:pt x="4897063" y="2403692"/>
                </a:cubicBezTo>
                <a:lnTo>
                  <a:pt x="4897254" y="2405995"/>
                </a:lnTo>
                <a:lnTo>
                  <a:pt x="4894495" y="2400765"/>
                </a:lnTo>
                <a:cubicBezTo>
                  <a:pt x="4893061" y="2399987"/>
                  <a:pt x="4891626" y="2399987"/>
                  <a:pt x="4891626" y="2399987"/>
                </a:cubicBezTo>
                <a:cubicBezTo>
                  <a:pt x="4893061" y="2396878"/>
                  <a:pt x="4894136" y="2396101"/>
                  <a:pt x="4894945" y="2396587"/>
                </a:cubicBezTo>
                <a:close/>
                <a:moveTo>
                  <a:pt x="4539880" y="2394439"/>
                </a:moveTo>
                <a:cubicBezTo>
                  <a:pt x="4539880" y="2400754"/>
                  <a:pt x="4533730" y="2400754"/>
                  <a:pt x="4533730" y="2407066"/>
                </a:cubicBezTo>
                <a:cubicBezTo>
                  <a:pt x="4546030" y="2413381"/>
                  <a:pt x="4558328" y="2400754"/>
                  <a:pt x="4564478" y="2400754"/>
                </a:cubicBezTo>
                <a:cubicBezTo>
                  <a:pt x="4558328" y="2413381"/>
                  <a:pt x="4552180" y="2407066"/>
                  <a:pt x="4539880" y="2413381"/>
                </a:cubicBezTo>
                <a:cubicBezTo>
                  <a:pt x="4533730" y="2413381"/>
                  <a:pt x="4533730" y="2400754"/>
                  <a:pt x="4527581" y="2407066"/>
                </a:cubicBezTo>
                <a:lnTo>
                  <a:pt x="4533730" y="2400754"/>
                </a:lnTo>
                <a:cubicBezTo>
                  <a:pt x="4535268" y="2399175"/>
                  <a:pt x="4536805" y="2397596"/>
                  <a:pt x="4539880" y="2394439"/>
                </a:cubicBezTo>
                <a:close/>
                <a:moveTo>
                  <a:pt x="4630480" y="2393292"/>
                </a:moveTo>
                <a:cubicBezTo>
                  <a:pt x="4582598" y="2417889"/>
                  <a:pt x="4498800" y="2442486"/>
                  <a:pt x="4420989" y="2479383"/>
                </a:cubicBezTo>
                <a:cubicBezTo>
                  <a:pt x="4420989" y="2473234"/>
                  <a:pt x="4432959" y="2460936"/>
                  <a:pt x="4426974" y="2460936"/>
                </a:cubicBezTo>
                <a:cubicBezTo>
                  <a:pt x="4438947" y="2460936"/>
                  <a:pt x="4444932" y="2460936"/>
                  <a:pt x="4450918" y="2460936"/>
                </a:cubicBezTo>
                <a:cubicBezTo>
                  <a:pt x="4456903" y="2460936"/>
                  <a:pt x="4450918" y="2448636"/>
                  <a:pt x="4456903" y="2454786"/>
                </a:cubicBezTo>
                <a:cubicBezTo>
                  <a:pt x="4462888" y="2454786"/>
                  <a:pt x="4456903" y="2442486"/>
                  <a:pt x="4462888" y="2442486"/>
                </a:cubicBezTo>
                <a:cubicBezTo>
                  <a:pt x="4468873" y="2442486"/>
                  <a:pt x="4474859" y="2436337"/>
                  <a:pt x="4480845" y="2442486"/>
                </a:cubicBezTo>
                <a:cubicBezTo>
                  <a:pt x="4480845" y="2442486"/>
                  <a:pt x="4474859" y="2436337"/>
                  <a:pt x="4480845" y="2424039"/>
                </a:cubicBezTo>
                <a:cubicBezTo>
                  <a:pt x="4480845" y="2424039"/>
                  <a:pt x="4486830" y="2436337"/>
                  <a:pt x="4492815" y="2430189"/>
                </a:cubicBezTo>
                <a:cubicBezTo>
                  <a:pt x="4492815" y="2436337"/>
                  <a:pt x="4486830" y="2436337"/>
                  <a:pt x="4486830" y="2442486"/>
                </a:cubicBezTo>
                <a:cubicBezTo>
                  <a:pt x="4489823" y="2436337"/>
                  <a:pt x="4492815" y="2433264"/>
                  <a:pt x="4496557" y="2430957"/>
                </a:cubicBezTo>
                <a:lnTo>
                  <a:pt x="4509668" y="2424576"/>
                </a:lnTo>
                <a:lnTo>
                  <a:pt x="4502061" y="2416967"/>
                </a:lnTo>
                <a:cubicBezTo>
                  <a:pt x="4499909" y="2412233"/>
                  <a:pt x="4498473" y="2405919"/>
                  <a:pt x="4498473" y="2399604"/>
                </a:cubicBezTo>
                <a:cubicBezTo>
                  <a:pt x="4504213" y="2405919"/>
                  <a:pt x="4509952" y="2412233"/>
                  <a:pt x="4509952" y="2399604"/>
                </a:cubicBezTo>
                <a:cubicBezTo>
                  <a:pt x="4515691" y="2393292"/>
                  <a:pt x="4509952" y="2418545"/>
                  <a:pt x="4504213" y="2412233"/>
                </a:cubicBezTo>
                <a:cubicBezTo>
                  <a:pt x="4504213" y="2418545"/>
                  <a:pt x="4507083" y="2418545"/>
                  <a:pt x="4509234" y="2418545"/>
                </a:cubicBezTo>
                <a:lnTo>
                  <a:pt x="4509907" y="2424460"/>
                </a:lnTo>
                <a:lnTo>
                  <a:pt x="4510773" y="2424039"/>
                </a:lnTo>
                <a:cubicBezTo>
                  <a:pt x="4510773" y="2430189"/>
                  <a:pt x="4510773" y="2430189"/>
                  <a:pt x="4510773" y="2436337"/>
                </a:cubicBezTo>
                <a:cubicBezTo>
                  <a:pt x="4522743" y="2436337"/>
                  <a:pt x="4510773" y="2417889"/>
                  <a:pt x="4522743" y="2430189"/>
                </a:cubicBezTo>
                <a:cubicBezTo>
                  <a:pt x="4528728" y="2424039"/>
                  <a:pt x="4522743" y="2424039"/>
                  <a:pt x="4516758" y="2417889"/>
                </a:cubicBezTo>
                <a:cubicBezTo>
                  <a:pt x="4546685" y="2430189"/>
                  <a:pt x="4588584" y="2399442"/>
                  <a:pt x="4630480" y="2393292"/>
                </a:cubicBezTo>
                <a:close/>
                <a:moveTo>
                  <a:pt x="4533730" y="2381813"/>
                </a:moveTo>
                <a:cubicBezTo>
                  <a:pt x="4539880" y="2388125"/>
                  <a:pt x="4539880" y="2394439"/>
                  <a:pt x="4539880" y="2394439"/>
                </a:cubicBezTo>
                <a:cubicBezTo>
                  <a:pt x="4539880" y="2394439"/>
                  <a:pt x="4532962" y="2394439"/>
                  <a:pt x="4532097" y="2397103"/>
                </a:cubicBezTo>
                <a:lnTo>
                  <a:pt x="4533730" y="2400754"/>
                </a:lnTo>
                <a:lnTo>
                  <a:pt x="4528542" y="2398682"/>
                </a:lnTo>
                <a:cubicBezTo>
                  <a:pt x="4526812" y="2394834"/>
                  <a:pt x="4533730" y="2386547"/>
                  <a:pt x="4533730" y="2381813"/>
                </a:cubicBezTo>
                <a:close/>
                <a:moveTo>
                  <a:pt x="4994938" y="2370334"/>
                </a:moveTo>
                <a:cubicBezTo>
                  <a:pt x="4988978" y="2381813"/>
                  <a:pt x="4959176" y="2393292"/>
                  <a:pt x="4953216" y="2381813"/>
                </a:cubicBezTo>
                <a:cubicBezTo>
                  <a:pt x="4953216" y="2399031"/>
                  <a:pt x="4929376" y="2393292"/>
                  <a:pt x="4923415" y="2399031"/>
                </a:cubicBezTo>
                <a:cubicBezTo>
                  <a:pt x="4917455" y="2399031"/>
                  <a:pt x="4923415" y="2393292"/>
                  <a:pt x="4923415" y="2387552"/>
                </a:cubicBezTo>
                <a:cubicBezTo>
                  <a:pt x="4929376" y="2393292"/>
                  <a:pt x="4935336" y="2393292"/>
                  <a:pt x="4941296" y="2381813"/>
                </a:cubicBezTo>
                <a:cubicBezTo>
                  <a:pt x="4941296" y="2381813"/>
                  <a:pt x="4941296" y="2387552"/>
                  <a:pt x="4941296" y="2387552"/>
                </a:cubicBezTo>
                <a:cubicBezTo>
                  <a:pt x="4953216" y="2387552"/>
                  <a:pt x="4953216" y="2376073"/>
                  <a:pt x="4959176" y="2376073"/>
                </a:cubicBezTo>
                <a:cubicBezTo>
                  <a:pt x="4977058" y="2387552"/>
                  <a:pt x="4977058" y="2364594"/>
                  <a:pt x="4994938" y="2370334"/>
                </a:cubicBezTo>
                <a:close/>
                <a:moveTo>
                  <a:pt x="4951563" y="2361120"/>
                </a:moveTo>
                <a:lnTo>
                  <a:pt x="4945617" y="2363732"/>
                </a:lnTo>
                <a:cubicBezTo>
                  <a:pt x="4931407" y="2369759"/>
                  <a:pt x="4917943" y="2375786"/>
                  <a:pt x="4908967" y="2381811"/>
                </a:cubicBezTo>
                <a:cubicBezTo>
                  <a:pt x="4902984" y="2381811"/>
                  <a:pt x="4897000" y="2387838"/>
                  <a:pt x="4891015" y="2387838"/>
                </a:cubicBezTo>
                <a:cubicBezTo>
                  <a:pt x="4885031" y="2393865"/>
                  <a:pt x="4867081" y="2387838"/>
                  <a:pt x="4861097" y="2399891"/>
                </a:cubicBezTo>
                <a:cubicBezTo>
                  <a:pt x="4861097" y="2399891"/>
                  <a:pt x="4867081" y="2399891"/>
                  <a:pt x="4867081" y="2399891"/>
                </a:cubicBezTo>
                <a:cubicBezTo>
                  <a:pt x="4843147" y="2411944"/>
                  <a:pt x="4789293" y="2417970"/>
                  <a:pt x="4771341" y="2442076"/>
                </a:cubicBezTo>
                <a:cubicBezTo>
                  <a:pt x="4765358" y="2442076"/>
                  <a:pt x="4777325" y="2436049"/>
                  <a:pt x="4771341" y="2430022"/>
                </a:cubicBezTo>
                <a:cubicBezTo>
                  <a:pt x="4804252" y="2414957"/>
                  <a:pt x="4843147" y="2398384"/>
                  <a:pt x="4880545" y="2384072"/>
                </a:cubicBezTo>
                <a:close/>
                <a:moveTo>
                  <a:pt x="5012155" y="2359157"/>
                </a:moveTo>
                <a:lnTo>
                  <a:pt x="5012155" y="2370334"/>
                </a:lnTo>
                <a:cubicBezTo>
                  <a:pt x="5000676" y="2370334"/>
                  <a:pt x="5000676" y="2358855"/>
                  <a:pt x="4994937" y="2364594"/>
                </a:cubicBezTo>
                <a:cubicBezTo>
                  <a:pt x="4994937" y="2364594"/>
                  <a:pt x="4999242" y="2361724"/>
                  <a:pt x="5004265" y="2359572"/>
                </a:cubicBezTo>
                <a:close/>
                <a:moveTo>
                  <a:pt x="5012155" y="2358855"/>
                </a:moveTo>
                <a:cubicBezTo>
                  <a:pt x="5012155" y="2358855"/>
                  <a:pt x="5012155" y="2358855"/>
                  <a:pt x="5017894" y="2358855"/>
                </a:cubicBezTo>
                <a:lnTo>
                  <a:pt x="5012155" y="2359157"/>
                </a:lnTo>
                <a:close/>
                <a:moveTo>
                  <a:pt x="4623666" y="2358855"/>
                </a:moveTo>
                <a:cubicBezTo>
                  <a:pt x="4641960" y="2364594"/>
                  <a:pt x="4587076" y="2381813"/>
                  <a:pt x="4574879" y="2387552"/>
                </a:cubicBezTo>
                <a:cubicBezTo>
                  <a:pt x="4556585" y="2393292"/>
                  <a:pt x="4556585" y="2393292"/>
                  <a:pt x="4544389" y="2393292"/>
                </a:cubicBezTo>
                <a:cubicBezTo>
                  <a:pt x="4556585" y="2387552"/>
                  <a:pt x="4587076" y="2364594"/>
                  <a:pt x="4593176" y="2376073"/>
                </a:cubicBezTo>
                <a:cubicBezTo>
                  <a:pt x="4599273" y="2370334"/>
                  <a:pt x="4605372" y="2376073"/>
                  <a:pt x="4605372" y="2364594"/>
                </a:cubicBezTo>
                <a:cubicBezTo>
                  <a:pt x="4611469" y="2364594"/>
                  <a:pt x="4623666" y="2364594"/>
                  <a:pt x="4623666" y="2358855"/>
                </a:cubicBezTo>
                <a:close/>
                <a:moveTo>
                  <a:pt x="5059803" y="2346687"/>
                </a:moveTo>
                <a:lnTo>
                  <a:pt x="5059803" y="2352656"/>
                </a:lnTo>
                <a:cubicBezTo>
                  <a:pt x="5053816" y="2346687"/>
                  <a:pt x="5035856" y="2358625"/>
                  <a:pt x="5029869" y="2364594"/>
                </a:cubicBezTo>
                <a:cubicBezTo>
                  <a:pt x="5023881" y="2364594"/>
                  <a:pt x="5017894" y="2346687"/>
                  <a:pt x="5029869" y="2352656"/>
                </a:cubicBezTo>
                <a:cubicBezTo>
                  <a:pt x="5023881" y="2364594"/>
                  <a:pt x="5047830" y="2340718"/>
                  <a:pt x="5059803" y="2346687"/>
                </a:cubicBezTo>
                <a:close/>
                <a:moveTo>
                  <a:pt x="4985538" y="2346188"/>
                </a:moveTo>
                <a:lnTo>
                  <a:pt x="4980772" y="2351680"/>
                </a:lnTo>
                <a:lnTo>
                  <a:pt x="4951563" y="2361120"/>
                </a:lnTo>
                <a:close/>
                <a:moveTo>
                  <a:pt x="4676397" y="2330157"/>
                </a:moveTo>
                <a:cubicBezTo>
                  <a:pt x="4676397" y="2330157"/>
                  <a:pt x="4676397" y="2335897"/>
                  <a:pt x="4682136" y="2335897"/>
                </a:cubicBezTo>
                <a:cubicBezTo>
                  <a:pt x="4687876" y="2341636"/>
                  <a:pt x="4670657" y="2347376"/>
                  <a:pt x="4664918" y="2341636"/>
                </a:cubicBezTo>
                <a:cubicBezTo>
                  <a:pt x="4664918" y="2347376"/>
                  <a:pt x="4647699" y="2364594"/>
                  <a:pt x="4641960" y="2353115"/>
                </a:cubicBezTo>
                <a:cubicBezTo>
                  <a:pt x="4641960" y="2341636"/>
                  <a:pt x="4641960" y="2353115"/>
                  <a:pt x="4647699" y="2353115"/>
                </a:cubicBezTo>
                <a:cubicBezTo>
                  <a:pt x="4653439" y="2341636"/>
                  <a:pt x="4641960" y="2347376"/>
                  <a:pt x="4641960" y="2341636"/>
                </a:cubicBezTo>
                <a:cubicBezTo>
                  <a:pt x="4653439" y="2341636"/>
                  <a:pt x="4664918" y="2341636"/>
                  <a:pt x="4676397" y="2330157"/>
                </a:cubicBezTo>
                <a:close/>
                <a:moveTo>
                  <a:pt x="4635743" y="2330157"/>
                </a:moveTo>
                <a:cubicBezTo>
                  <a:pt x="4641960" y="2335897"/>
                  <a:pt x="4635743" y="2335897"/>
                  <a:pt x="4635743" y="2341636"/>
                </a:cubicBezTo>
                <a:cubicBezTo>
                  <a:pt x="4629525" y="2347376"/>
                  <a:pt x="4635743" y="2335897"/>
                  <a:pt x="4629525" y="2335897"/>
                </a:cubicBezTo>
                <a:cubicBezTo>
                  <a:pt x="4629525" y="2341636"/>
                  <a:pt x="4617090" y="2347376"/>
                  <a:pt x="4604652" y="2341636"/>
                </a:cubicBezTo>
                <a:cubicBezTo>
                  <a:pt x="4617090" y="2341636"/>
                  <a:pt x="4623306" y="2330157"/>
                  <a:pt x="4635743" y="2330157"/>
                </a:cubicBezTo>
                <a:close/>
                <a:moveTo>
                  <a:pt x="4427048" y="2327977"/>
                </a:moveTo>
                <a:lnTo>
                  <a:pt x="4427048" y="2333941"/>
                </a:lnTo>
                <a:cubicBezTo>
                  <a:pt x="4427048" y="2327977"/>
                  <a:pt x="4409114" y="2333941"/>
                  <a:pt x="4409114" y="2339905"/>
                </a:cubicBezTo>
                <a:cubicBezTo>
                  <a:pt x="4403137" y="2333941"/>
                  <a:pt x="4415092" y="2327977"/>
                  <a:pt x="4427048" y="2327977"/>
                </a:cubicBezTo>
                <a:close/>
                <a:moveTo>
                  <a:pt x="4594697" y="2325963"/>
                </a:moveTo>
                <a:cubicBezTo>
                  <a:pt x="4595256" y="2326808"/>
                  <a:pt x="4590782" y="2333572"/>
                  <a:pt x="4586309" y="2333572"/>
                </a:cubicBezTo>
                <a:cubicBezTo>
                  <a:pt x="4592273" y="2333572"/>
                  <a:pt x="4604202" y="2333572"/>
                  <a:pt x="4610168" y="2327560"/>
                </a:cubicBezTo>
                <a:cubicBezTo>
                  <a:pt x="4616132" y="2339585"/>
                  <a:pt x="4604202" y="2327560"/>
                  <a:pt x="4604202" y="2339585"/>
                </a:cubicBezTo>
                <a:cubicBezTo>
                  <a:pt x="4598239" y="2333572"/>
                  <a:pt x="4586309" y="2339585"/>
                  <a:pt x="4580344" y="2351611"/>
                </a:cubicBezTo>
                <a:cubicBezTo>
                  <a:pt x="4562451" y="2339585"/>
                  <a:pt x="4508770" y="2369648"/>
                  <a:pt x="4478948" y="2375663"/>
                </a:cubicBezTo>
                <a:cubicBezTo>
                  <a:pt x="4478948" y="2375663"/>
                  <a:pt x="4478948" y="2375663"/>
                  <a:pt x="4478948" y="2369648"/>
                </a:cubicBezTo>
                <a:cubicBezTo>
                  <a:pt x="4478948" y="2375663"/>
                  <a:pt x="4467018" y="2375663"/>
                  <a:pt x="4472982" y="2381675"/>
                </a:cubicBezTo>
                <a:cubicBezTo>
                  <a:pt x="4472982" y="2381675"/>
                  <a:pt x="4467018" y="2381675"/>
                  <a:pt x="4467018" y="2387687"/>
                </a:cubicBezTo>
                <a:cubicBezTo>
                  <a:pt x="4467018" y="2387687"/>
                  <a:pt x="4467018" y="2381675"/>
                  <a:pt x="4467018" y="2381675"/>
                </a:cubicBezTo>
                <a:cubicBezTo>
                  <a:pt x="4461053" y="2381675"/>
                  <a:pt x="4467018" y="2399713"/>
                  <a:pt x="4461053" y="2381675"/>
                </a:cubicBezTo>
                <a:cubicBezTo>
                  <a:pt x="4455088" y="2381675"/>
                  <a:pt x="4455088" y="2387687"/>
                  <a:pt x="4455088" y="2387687"/>
                </a:cubicBezTo>
                <a:cubicBezTo>
                  <a:pt x="4449124" y="2387687"/>
                  <a:pt x="4443159" y="2387687"/>
                  <a:pt x="4437196" y="2387687"/>
                </a:cubicBezTo>
                <a:cubicBezTo>
                  <a:pt x="4431230" y="2387687"/>
                  <a:pt x="4437196" y="2399713"/>
                  <a:pt x="4425267" y="2405727"/>
                </a:cubicBezTo>
                <a:cubicBezTo>
                  <a:pt x="4431230" y="2393700"/>
                  <a:pt x="4425267" y="2399713"/>
                  <a:pt x="4419301" y="2393700"/>
                </a:cubicBezTo>
                <a:cubicBezTo>
                  <a:pt x="4419301" y="2405727"/>
                  <a:pt x="4425267" y="2405727"/>
                  <a:pt x="4413337" y="2399713"/>
                </a:cubicBezTo>
                <a:cubicBezTo>
                  <a:pt x="4413337" y="2405727"/>
                  <a:pt x="4413337" y="2405727"/>
                  <a:pt x="4413337" y="2405727"/>
                </a:cubicBezTo>
                <a:cubicBezTo>
                  <a:pt x="4413337" y="2411739"/>
                  <a:pt x="4401408" y="2399713"/>
                  <a:pt x="4401408" y="2411739"/>
                </a:cubicBezTo>
                <a:cubicBezTo>
                  <a:pt x="4395443" y="2405727"/>
                  <a:pt x="4401408" y="2405727"/>
                  <a:pt x="4401408" y="2399713"/>
                </a:cubicBezTo>
                <a:cubicBezTo>
                  <a:pt x="4395443" y="2399713"/>
                  <a:pt x="4395443" y="2405727"/>
                  <a:pt x="4395443" y="2399713"/>
                </a:cubicBezTo>
                <a:lnTo>
                  <a:pt x="4395443" y="2405727"/>
                </a:lnTo>
                <a:cubicBezTo>
                  <a:pt x="4389479" y="2399713"/>
                  <a:pt x="4377550" y="2423764"/>
                  <a:pt x="4371585" y="2405727"/>
                </a:cubicBezTo>
                <a:cubicBezTo>
                  <a:pt x="4368602" y="2414745"/>
                  <a:pt x="4364130" y="2416248"/>
                  <a:pt x="4360402" y="2415498"/>
                </a:cubicBezTo>
                <a:lnTo>
                  <a:pt x="4354939" y="2412437"/>
                </a:lnTo>
                <a:lnTo>
                  <a:pt x="4367112" y="2403471"/>
                </a:lnTo>
                <a:cubicBezTo>
                  <a:pt x="4377550" y="2401217"/>
                  <a:pt x="4389479" y="2399713"/>
                  <a:pt x="4395443" y="2393700"/>
                </a:cubicBezTo>
                <a:cubicBezTo>
                  <a:pt x="4401408" y="2393700"/>
                  <a:pt x="4407371" y="2399713"/>
                  <a:pt x="4407371" y="2399713"/>
                </a:cubicBezTo>
                <a:cubicBezTo>
                  <a:pt x="4413337" y="2399713"/>
                  <a:pt x="4401408" y="2393700"/>
                  <a:pt x="4401408" y="2393700"/>
                </a:cubicBezTo>
                <a:cubicBezTo>
                  <a:pt x="4449124" y="2369648"/>
                  <a:pt x="4520699" y="2363636"/>
                  <a:pt x="4562451" y="2333572"/>
                </a:cubicBezTo>
                <a:cubicBezTo>
                  <a:pt x="4568415" y="2339585"/>
                  <a:pt x="4574380" y="2339585"/>
                  <a:pt x="4580344" y="2345599"/>
                </a:cubicBezTo>
                <a:cubicBezTo>
                  <a:pt x="4580344" y="2339585"/>
                  <a:pt x="4580344" y="2339585"/>
                  <a:pt x="4580344" y="2339585"/>
                </a:cubicBezTo>
                <a:cubicBezTo>
                  <a:pt x="4580344" y="2333572"/>
                  <a:pt x="4586309" y="2333572"/>
                  <a:pt x="4592273" y="2327560"/>
                </a:cubicBezTo>
                <a:cubicBezTo>
                  <a:pt x="4593764" y="2326056"/>
                  <a:pt x="4594510" y="2325681"/>
                  <a:pt x="4594697" y="2325963"/>
                </a:cubicBezTo>
                <a:close/>
                <a:moveTo>
                  <a:pt x="5046592" y="2321547"/>
                </a:moveTo>
                <a:cubicBezTo>
                  <a:pt x="5034624" y="2339626"/>
                  <a:pt x="5010691" y="2333599"/>
                  <a:pt x="4986755" y="2345653"/>
                </a:cubicBezTo>
                <a:lnTo>
                  <a:pt x="4985538" y="2346188"/>
                </a:lnTo>
                <a:lnTo>
                  <a:pt x="4994422" y="2335955"/>
                </a:lnTo>
                <a:cubicBezTo>
                  <a:pt x="5011811" y="2326067"/>
                  <a:pt x="5037617" y="2330587"/>
                  <a:pt x="5046592" y="2321547"/>
                </a:cubicBezTo>
                <a:close/>
                <a:moveTo>
                  <a:pt x="4456678" y="2316057"/>
                </a:moveTo>
                <a:lnTo>
                  <a:pt x="4454697" y="2316795"/>
                </a:lnTo>
                <a:cubicBezTo>
                  <a:pt x="4450961" y="2319032"/>
                  <a:pt x="4447972" y="2322014"/>
                  <a:pt x="4444983" y="2322014"/>
                </a:cubicBezTo>
                <a:cubicBezTo>
                  <a:pt x="4440499" y="2317540"/>
                  <a:pt x="4449467" y="2316421"/>
                  <a:pt x="4454230" y="2316141"/>
                </a:cubicBezTo>
                <a:close/>
                <a:moveTo>
                  <a:pt x="4456878" y="2315983"/>
                </a:moveTo>
                <a:lnTo>
                  <a:pt x="4456939" y="2316048"/>
                </a:lnTo>
                <a:lnTo>
                  <a:pt x="4456678" y="2316057"/>
                </a:lnTo>
                <a:close/>
                <a:moveTo>
                  <a:pt x="5018872" y="2274301"/>
                </a:moveTo>
                <a:cubicBezTo>
                  <a:pt x="4971047" y="2304121"/>
                  <a:pt x="4923223" y="2310085"/>
                  <a:pt x="4863444" y="2339905"/>
                </a:cubicBezTo>
                <a:cubicBezTo>
                  <a:pt x="4905288" y="2339905"/>
                  <a:pt x="4941157" y="2310085"/>
                  <a:pt x="4977026" y="2304121"/>
                </a:cubicBezTo>
                <a:cubicBezTo>
                  <a:pt x="4905288" y="2333941"/>
                  <a:pt x="4797685" y="2369725"/>
                  <a:pt x="4743884" y="2399545"/>
                </a:cubicBezTo>
                <a:cubicBezTo>
                  <a:pt x="4755840" y="2375688"/>
                  <a:pt x="4773772" y="2387617"/>
                  <a:pt x="4791707" y="2369725"/>
                </a:cubicBezTo>
                <a:cubicBezTo>
                  <a:pt x="4767796" y="2375688"/>
                  <a:pt x="4761818" y="2381654"/>
                  <a:pt x="4737906" y="2387617"/>
                </a:cubicBezTo>
                <a:cubicBezTo>
                  <a:pt x="4737906" y="2393581"/>
                  <a:pt x="4743884" y="2393581"/>
                  <a:pt x="4743884" y="2399545"/>
                </a:cubicBezTo>
                <a:cubicBezTo>
                  <a:pt x="4731927" y="2399545"/>
                  <a:pt x="4725950" y="2405510"/>
                  <a:pt x="4719972" y="2405510"/>
                </a:cubicBezTo>
                <a:cubicBezTo>
                  <a:pt x="4719972" y="2399545"/>
                  <a:pt x="4713993" y="2393581"/>
                  <a:pt x="4708015" y="2399545"/>
                </a:cubicBezTo>
                <a:lnTo>
                  <a:pt x="4707268" y="2399545"/>
                </a:lnTo>
                <a:lnTo>
                  <a:pt x="4707174" y="2399545"/>
                </a:lnTo>
                <a:lnTo>
                  <a:pt x="4706241" y="2399545"/>
                </a:lnTo>
                <a:lnTo>
                  <a:pt x="4702037" y="2399545"/>
                </a:lnTo>
                <a:cubicBezTo>
                  <a:pt x="4702037" y="2411473"/>
                  <a:pt x="4713993" y="2399545"/>
                  <a:pt x="4713993" y="2399545"/>
                </a:cubicBezTo>
                <a:cubicBezTo>
                  <a:pt x="4719972" y="2417437"/>
                  <a:pt x="4702037" y="2405510"/>
                  <a:pt x="4702037" y="2417437"/>
                </a:cubicBezTo>
                <a:cubicBezTo>
                  <a:pt x="4696059" y="2411473"/>
                  <a:pt x="4690081" y="2417437"/>
                  <a:pt x="4690081" y="2405510"/>
                </a:cubicBezTo>
                <a:cubicBezTo>
                  <a:pt x="4684103" y="2411473"/>
                  <a:pt x="4672147" y="2411473"/>
                  <a:pt x="4666168" y="2417437"/>
                </a:cubicBezTo>
                <a:cubicBezTo>
                  <a:pt x="4660190" y="2429364"/>
                  <a:pt x="4654212" y="2429364"/>
                  <a:pt x="4642257" y="2435330"/>
                </a:cubicBezTo>
                <a:lnTo>
                  <a:pt x="4645084" y="2429690"/>
                </a:lnTo>
                <a:lnTo>
                  <a:pt x="4654212" y="2429364"/>
                </a:lnTo>
                <a:cubicBezTo>
                  <a:pt x="4651225" y="2426383"/>
                  <a:pt x="4648234" y="2426383"/>
                  <a:pt x="4645993" y="2427875"/>
                </a:cubicBezTo>
                <a:lnTo>
                  <a:pt x="4645084" y="2429690"/>
                </a:lnTo>
                <a:lnTo>
                  <a:pt x="4633290" y="2430111"/>
                </a:lnTo>
                <a:cubicBezTo>
                  <a:pt x="4627312" y="2432347"/>
                  <a:pt x="4621334" y="2435330"/>
                  <a:pt x="4612368" y="2435330"/>
                </a:cubicBezTo>
                <a:cubicBezTo>
                  <a:pt x="4612368" y="2441294"/>
                  <a:pt x="4618346" y="2441294"/>
                  <a:pt x="4618346" y="2447257"/>
                </a:cubicBezTo>
                <a:cubicBezTo>
                  <a:pt x="4606390" y="2447257"/>
                  <a:pt x="4606390" y="2441294"/>
                  <a:pt x="4606390" y="2453221"/>
                </a:cubicBezTo>
                <a:cubicBezTo>
                  <a:pt x="4606390" y="2453221"/>
                  <a:pt x="4600412" y="2447257"/>
                  <a:pt x="4600412" y="2441294"/>
                </a:cubicBezTo>
                <a:cubicBezTo>
                  <a:pt x="4600412" y="2447257"/>
                  <a:pt x="4588455" y="2447257"/>
                  <a:pt x="4594433" y="2459184"/>
                </a:cubicBezTo>
                <a:cubicBezTo>
                  <a:pt x="4582477" y="2459184"/>
                  <a:pt x="4594433" y="2453221"/>
                  <a:pt x="4582477" y="2447257"/>
                </a:cubicBezTo>
                <a:cubicBezTo>
                  <a:pt x="4582477" y="2453221"/>
                  <a:pt x="4582477" y="2453221"/>
                  <a:pt x="4582477" y="2459184"/>
                </a:cubicBezTo>
                <a:cubicBezTo>
                  <a:pt x="4576499" y="2459184"/>
                  <a:pt x="4570521" y="2459184"/>
                  <a:pt x="4564543" y="2465149"/>
                </a:cubicBezTo>
                <a:cubicBezTo>
                  <a:pt x="4558565" y="2465149"/>
                  <a:pt x="4564543" y="2465149"/>
                  <a:pt x="4564543" y="2459184"/>
                </a:cubicBezTo>
                <a:cubicBezTo>
                  <a:pt x="4558565" y="2465149"/>
                  <a:pt x="4558565" y="2465149"/>
                  <a:pt x="4552587" y="2465149"/>
                </a:cubicBezTo>
                <a:cubicBezTo>
                  <a:pt x="4552587" y="2465149"/>
                  <a:pt x="4546608" y="2465149"/>
                  <a:pt x="4552587" y="2471113"/>
                </a:cubicBezTo>
                <a:cubicBezTo>
                  <a:pt x="4540630" y="2465149"/>
                  <a:pt x="4528674" y="2471113"/>
                  <a:pt x="4528674" y="2483041"/>
                </a:cubicBezTo>
                <a:lnTo>
                  <a:pt x="4528674" y="2479314"/>
                </a:lnTo>
                <a:cubicBezTo>
                  <a:pt x="4528674" y="2475586"/>
                  <a:pt x="4528674" y="2471113"/>
                  <a:pt x="4528674" y="2471113"/>
                </a:cubicBezTo>
                <a:cubicBezTo>
                  <a:pt x="4522697" y="2477077"/>
                  <a:pt x="4528674" y="2489006"/>
                  <a:pt x="4516719" y="2489006"/>
                </a:cubicBezTo>
                <a:cubicBezTo>
                  <a:pt x="4510742" y="2477077"/>
                  <a:pt x="4516719" y="2483041"/>
                  <a:pt x="4522697" y="2477077"/>
                </a:cubicBezTo>
                <a:lnTo>
                  <a:pt x="4518655" y="2473217"/>
                </a:lnTo>
                <a:lnTo>
                  <a:pt x="4519708" y="2472605"/>
                </a:lnTo>
                <a:cubicBezTo>
                  <a:pt x="4522697" y="2469623"/>
                  <a:pt x="4525685" y="2465149"/>
                  <a:pt x="4528674" y="2465149"/>
                </a:cubicBezTo>
                <a:cubicBezTo>
                  <a:pt x="4540630" y="2459184"/>
                  <a:pt x="4540630" y="2459184"/>
                  <a:pt x="4552587" y="2453221"/>
                </a:cubicBezTo>
                <a:cubicBezTo>
                  <a:pt x="4564543" y="2453221"/>
                  <a:pt x="4564543" y="2447257"/>
                  <a:pt x="4576499" y="2441294"/>
                </a:cubicBezTo>
                <a:cubicBezTo>
                  <a:pt x="4576499" y="2447257"/>
                  <a:pt x="4588455" y="2447257"/>
                  <a:pt x="4588455" y="2435330"/>
                </a:cubicBezTo>
                <a:cubicBezTo>
                  <a:pt x="4725950" y="2393581"/>
                  <a:pt x="4869422" y="2322014"/>
                  <a:pt x="5018872" y="2274301"/>
                </a:cubicBezTo>
                <a:close/>
                <a:moveTo>
                  <a:pt x="5043411" y="2268575"/>
                </a:moveTo>
                <a:lnTo>
                  <a:pt x="5036969" y="2270699"/>
                </a:lnTo>
                <a:cubicBezTo>
                  <a:pt x="5034897" y="2271326"/>
                  <a:pt x="5034109" y="2271326"/>
                  <a:pt x="5035688" y="2269892"/>
                </a:cubicBezTo>
                <a:close/>
                <a:moveTo>
                  <a:pt x="4564543" y="2268337"/>
                </a:moveTo>
                <a:lnTo>
                  <a:pt x="4565250" y="2268466"/>
                </a:lnTo>
                <a:lnTo>
                  <a:pt x="4561450" y="2269702"/>
                </a:lnTo>
                <a:close/>
                <a:moveTo>
                  <a:pt x="5048314" y="2267739"/>
                </a:moveTo>
                <a:cubicBezTo>
                  <a:pt x="5053049" y="2267021"/>
                  <a:pt x="5057785" y="2267021"/>
                  <a:pt x="5060941" y="2269892"/>
                </a:cubicBezTo>
                <a:lnTo>
                  <a:pt x="5047231" y="2267923"/>
                </a:lnTo>
                <a:close/>
                <a:moveTo>
                  <a:pt x="5045946" y="2267739"/>
                </a:moveTo>
                <a:lnTo>
                  <a:pt x="5047231" y="2267923"/>
                </a:lnTo>
                <a:lnTo>
                  <a:pt x="5043411" y="2268575"/>
                </a:lnTo>
                <a:close/>
                <a:moveTo>
                  <a:pt x="4544389" y="2252673"/>
                </a:moveTo>
                <a:cubicBezTo>
                  <a:pt x="4550128" y="2252673"/>
                  <a:pt x="4521431" y="2269892"/>
                  <a:pt x="4521431" y="2258413"/>
                </a:cubicBezTo>
                <a:cubicBezTo>
                  <a:pt x="4527170" y="2252673"/>
                  <a:pt x="4532910" y="2264153"/>
                  <a:pt x="4544389" y="2252673"/>
                </a:cubicBezTo>
                <a:close/>
                <a:moveTo>
                  <a:pt x="5288965" y="2246517"/>
                </a:moveTo>
                <a:lnTo>
                  <a:pt x="5268596" y="2260882"/>
                </a:lnTo>
                <a:cubicBezTo>
                  <a:pt x="5255873" y="2264612"/>
                  <a:pt x="5242403" y="2266105"/>
                  <a:pt x="5233422" y="2269089"/>
                </a:cubicBezTo>
                <a:cubicBezTo>
                  <a:pt x="5242403" y="2260136"/>
                  <a:pt x="5251383" y="2257151"/>
                  <a:pt x="5261110" y="2254913"/>
                </a:cubicBezTo>
                <a:close/>
                <a:moveTo>
                  <a:pt x="5293291" y="2245213"/>
                </a:moveTo>
                <a:lnTo>
                  <a:pt x="5288965" y="2246517"/>
                </a:lnTo>
                <a:lnTo>
                  <a:pt x="5289773" y="2245947"/>
                </a:lnTo>
                <a:close/>
                <a:moveTo>
                  <a:pt x="4618346" y="2244481"/>
                </a:moveTo>
                <a:cubicBezTo>
                  <a:pt x="4624324" y="2250445"/>
                  <a:pt x="4624324" y="2250445"/>
                  <a:pt x="4624324" y="2256409"/>
                </a:cubicBezTo>
                <a:cubicBezTo>
                  <a:pt x="4615356" y="2251936"/>
                  <a:pt x="4592939" y="2267591"/>
                  <a:pt x="4577247" y="2270665"/>
                </a:cubicBezTo>
                <a:lnTo>
                  <a:pt x="4565250" y="2268466"/>
                </a:lnTo>
                <a:lnTo>
                  <a:pt x="4570521" y="2266752"/>
                </a:lnTo>
                <a:cubicBezTo>
                  <a:pt x="4576499" y="2265355"/>
                  <a:pt x="4580982" y="2265355"/>
                  <a:pt x="4582477" y="2268337"/>
                </a:cubicBezTo>
                <a:cubicBezTo>
                  <a:pt x="4588455" y="2256409"/>
                  <a:pt x="4606390" y="2262372"/>
                  <a:pt x="4618346" y="2244481"/>
                </a:cubicBezTo>
                <a:close/>
                <a:moveTo>
                  <a:pt x="5118336" y="2238326"/>
                </a:moveTo>
                <a:cubicBezTo>
                  <a:pt x="5112597" y="2245022"/>
                  <a:pt x="5095378" y="2251719"/>
                  <a:pt x="5083899" y="2258415"/>
                </a:cubicBezTo>
                <a:cubicBezTo>
                  <a:pt x="5089638" y="2245022"/>
                  <a:pt x="5106857" y="2245022"/>
                  <a:pt x="5118336" y="2238326"/>
                </a:cubicBezTo>
                <a:close/>
                <a:moveTo>
                  <a:pt x="5365133" y="2215368"/>
                </a:moveTo>
                <a:cubicBezTo>
                  <a:pt x="5347174" y="2239244"/>
                  <a:pt x="5323225" y="2227306"/>
                  <a:pt x="5305265" y="2245213"/>
                </a:cubicBezTo>
                <a:cubicBezTo>
                  <a:pt x="5299278" y="2245213"/>
                  <a:pt x="5299278" y="2245213"/>
                  <a:pt x="5299278" y="2239244"/>
                </a:cubicBezTo>
                <a:lnTo>
                  <a:pt x="5289773" y="2245947"/>
                </a:lnTo>
                <a:lnTo>
                  <a:pt x="5261110" y="2251929"/>
                </a:lnTo>
                <a:cubicBezTo>
                  <a:pt x="5251383" y="2255659"/>
                  <a:pt x="5242403" y="2260136"/>
                  <a:pt x="5233422" y="2263120"/>
                </a:cubicBezTo>
                <a:cubicBezTo>
                  <a:pt x="5233422" y="2275058"/>
                  <a:pt x="5221450" y="2281027"/>
                  <a:pt x="5203488" y="2286996"/>
                </a:cubicBezTo>
                <a:cubicBezTo>
                  <a:pt x="5203488" y="2286996"/>
                  <a:pt x="5203488" y="2281027"/>
                  <a:pt x="5203488" y="2281027"/>
                </a:cubicBezTo>
                <a:cubicBezTo>
                  <a:pt x="5167567" y="2304904"/>
                  <a:pt x="5119672" y="2328780"/>
                  <a:pt x="5059803" y="2340718"/>
                </a:cubicBezTo>
                <a:lnTo>
                  <a:pt x="5059803" y="2346687"/>
                </a:lnTo>
                <a:cubicBezTo>
                  <a:pt x="5059803" y="2340718"/>
                  <a:pt x="5053816" y="2340718"/>
                  <a:pt x="5053816" y="2340718"/>
                </a:cubicBezTo>
                <a:cubicBezTo>
                  <a:pt x="5077763" y="2334749"/>
                  <a:pt x="5119672" y="2316842"/>
                  <a:pt x="5143618" y="2310873"/>
                </a:cubicBezTo>
                <a:cubicBezTo>
                  <a:pt x="5143618" y="2304904"/>
                  <a:pt x="5143618" y="2304904"/>
                  <a:pt x="5143618" y="2298935"/>
                </a:cubicBezTo>
                <a:cubicBezTo>
                  <a:pt x="5143618" y="2298935"/>
                  <a:pt x="5149606" y="2304904"/>
                  <a:pt x="5149606" y="2304904"/>
                </a:cubicBezTo>
                <a:cubicBezTo>
                  <a:pt x="5167567" y="2281027"/>
                  <a:pt x="5203488" y="2286996"/>
                  <a:pt x="5221450" y="2269089"/>
                </a:cubicBezTo>
                <a:cubicBezTo>
                  <a:pt x="5203488" y="2257151"/>
                  <a:pt x="5173554" y="2286996"/>
                  <a:pt x="5155593" y="2286996"/>
                </a:cubicBezTo>
                <a:cubicBezTo>
                  <a:pt x="5149606" y="2286996"/>
                  <a:pt x="5155593" y="2292965"/>
                  <a:pt x="5155593" y="2292965"/>
                </a:cubicBezTo>
                <a:cubicBezTo>
                  <a:pt x="5119672" y="2292965"/>
                  <a:pt x="5089738" y="2316842"/>
                  <a:pt x="5047830" y="2322811"/>
                </a:cubicBezTo>
                <a:cubicBezTo>
                  <a:pt x="5149606" y="2275058"/>
                  <a:pt x="5257370" y="2251182"/>
                  <a:pt x="5365133" y="2215368"/>
                </a:cubicBezTo>
                <a:close/>
                <a:moveTo>
                  <a:pt x="4450961" y="2213452"/>
                </a:moveTo>
                <a:lnTo>
                  <a:pt x="4450961" y="2214661"/>
                </a:lnTo>
                <a:lnTo>
                  <a:pt x="4450399" y="2213540"/>
                </a:lnTo>
                <a:close/>
                <a:moveTo>
                  <a:pt x="4450961" y="2202732"/>
                </a:moveTo>
                <a:cubicBezTo>
                  <a:pt x="4453951" y="2208697"/>
                  <a:pt x="4454323" y="2211678"/>
                  <a:pt x="4453390" y="2213076"/>
                </a:cubicBezTo>
                <a:lnTo>
                  <a:pt x="4450961" y="2213452"/>
                </a:lnTo>
                <a:close/>
                <a:moveTo>
                  <a:pt x="4624324" y="2196769"/>
                </a:moveTo>
                <a:cubicBezTo>
                  <a:pt x="4630302" y="2202732"/>
                  <a:pt x="4612368" y="2202732"/>
                  <a:pt x="4624324" y="2208695"/>
                </a:cubicBezTo>
                <a:lnTo>
                  <a:pt x="4618346" y="2208695"/>
                </a:lnTo>
                <a:cubicBezTo>
                  <a:pt x="4618346" y="2202732"/>
                  <a:pt x="4618346" y="2196769"/>
                  <a:pt x="4624324" y="2196769"/>
                </a:cubicBezTo>
                <a:close/>
                <a:moveTo>
                  <a:pt x="4647699" y="2186671"/>
                </a:moveTo>
                <a:cubicBezTo>
                  <a:pt x="4647699" y="2192411"/>
                  <a:pt x="4659178" y="2186671"/>
                  <a:pt x="4659178" y="2198149"/>
                </a:cubicBezTo>
                <a:cubicBezTo>
                  <a:pt x="4647699" y="2186671"/>
                  <a:pt x="4636221" y="2215368"/>
                  <a:pt x="4630480" y="2198149"/>
                </a:cubicBezTo>
                <a:cubicBezTo>
                  <a:pt x="4636221" y="2192411"/>
                  <a:pt x="4647699" y="2192411"/>
                  <a:pt x="4647699" y="2186671"/>
                </a:cubicBezTo>
                <a:close/>
                <a:moveTo>
                  <a:pt x="4696055" y="2169327"/>
                </a:moveTo>
                <a:cubicBezTo>
                  <a:pt x="4700724" y="2169129"/>
                  <a:pt x="4704916" y="2170313"/>
                  <a:pt x="4707965" y="2173469"/>
                </a:cubicBezTo>
                <a:cubicBezTo>
                  <a:pt x="4689670" y="2173469"/>
                  <a:pt x="4671375" y="2186096"/>
                  <a:pt x="4659178" y="2192411"/>
                </a:cubicBezTo>
                <a:cubicBezTo>
                  <a:pt x="4662227" y="2186096"/>
                  <a:pt x="4671375" y="2178205"/>
                  <a:pt x="4681285" y="2173469"/>
                </a:cubicBezTo>
                <a:cubicBezTo>
                  <a:pt x="4686239" y="2171102"/>
                  <a:pt x="4691386" y="2169524"/>
                  <a:pt x="4696055" y="2169327"/>
                </a:cubicBezTo>
                <a:close/>
                <a:moveTo>
                  <a:pt x="4725181" y="2155103"/>
                </a:moveTo>
                <a:cubicBezTo>
                  <a:pt x="4725181" y="2166582"/>
                  <a:pt x="4707962" y="2166582"/>
                  <a:pt x="4707962" y="2166582"/>
                </a:cubicBezTo>
                <a:cubicBezTo>
                  <a:pt x="4707962" y="2160842"/>
                  <a:pt x="4719442" y="2160842"/>
                  <a:pt x="4725181" y="2155103"/>
                </a:cubicBezTo>
                <a:close/>
                <a:moveTo>
                  <a:pt x="4755224" y="2147120"/>
                </a:moveTo>
                <a:cubicBezTo>
                  <a:pt x="4757824" y="2147210"/>
                  <a:pt x="4759618" y="2147928"/>
                  <a:pt x="4759618" y="2149363"/>
                </a:cubicBezTo>
                <a:cubicBezTo>
                  <a:pt x="4748139" y="2149363"/>
                  <a:pt x="4748139" y="2155103"/>
                  <a:pt x="4736660" y="2160842"/>
                </a:cubicBezTo>
                <a:cubicBezTo>
                  <a:pt x="4733791" y="2155103"/>
                  <a:pt x="4739531" y="2150798"/>
                  <a:pt x="4745988" y="2148646"/>
                </a:cubicBezTo>
                <a:cubicBezTo>
                  <a:pt x="4749216" y="2147569"/>
                  <a:pt x="4752624" y="2147030"/>
                  <a:pt x="4755224" y="2147120"/>
                </a:cubicBezTo>
                <a:close/>
                <a:moveTo>
                  <a:pt x="4810108" y="2119948"/>
                </a:moveTo>
                <a:cubicBezTo>
                  <a:pt x="4809840" y="2122101"/>
                  <a:pt x="4805535" y="2130710"/>
                  <a:pt x="4814144" y="2126405"/>
                </a:cubicBezTo>
                <a:cubicBezTo>
                  <a:pt x="4808404" y="2132145"/>
                  <a:pt x="4791186" y="2149363"/>
                  <a:pt x="4785447" y="2132145"/>
                </a:cubicBezTo>
                <a:cubicBezTo>
                  <a:pt x="4791186" y="2137884"/>
                  <a:pt x="4808404" y="2132145"/>
                  <a:pt x="4808404" y="2120665"/>
                </a:cubicBezTo>
                <a:cubicBezTo>
                  <a:pt x="4809839" y="2119231"/>
                  <a:pt x="4810198" y="2119231"/>
                  <a:pt x="4810108" y="2119948"/>
                </a:cubicBezTo>
                <a:close/>
                <a:moveTo>
                  <a:pt x="4844366" y="2113491"/>
                </a:moveTo>
                <a:cubicBezTo>
                  <a:pt x="4848253" y="2113133"/>
                  <a:pt x="4852528" y="2113491"/>
                  <a:pt x="4857191" y="2114926"/>
                </a:cubicBezTo>
                <a:cubicBezTo>
                  <a:pt x="4850974" y="2114926"/>
                  <a:pt x="4826102" y="2132145"/>
                  <a:pt x="4819884" y="2126405"/>
                </a:cubicBezTo>
                <a:cubicBezTo>
                  <a:pt x="4824547" y="2122101"/>
                  <a:pt x="4832708" y="2114567"/>
                  <a:pt x="4844366" y="2113491"/>
                </a:cubicBezTo>
                <a:close/>
                <a:moveTo>
                  <a:pt x="4871539" y="2106316"/>
                </a:moveTo>
                <a:lnTo>
                  <a:pt x="4868668" y="2109187"/>
                </a:lnTo>
                <a:lnTo>
                  <a:pt x="4867061" y="2107809"/>
                </a:lnTo>
                <a:close/>
                <a:moveTo>
                  <a:pt x="4863646" y="2104882"/>
                </a:moveTo>
                <a:lnTo>
                  <a:pt x="4867061" y="2107809"/>
                </a:lnTo>
                <a:lnTo>
                  <a:pt x="4862929" y="2109187"/>
                </a:lnTo>
                <a:cubicBezTo>
                  <a:pt x="4862929" y="2106317"/>
                  <a:pt x="4862929" y="2104882"/>
                  <a:pt x="4863646" y="2104882"/>
                </a:cubicBezTo>
                <a:close/>
                <a:moveTo>
                  <a:pt x="4897366" y="2097708"/>
                </a:moveTo>
                <a:cubicBezTo>
                  <a:pt x="4903105" y="2103447"/>
                  <a:pt x="4885886" y="2103447"/>
                  <a:pt x="4885886" y="2103447"/>
                </a:cubicBezTo>
                <a:cubicBezTo>
                  <a:pt x="4885886" y="2097708"/>
                  <a:pt x="4891626" y="2103447"/>
                  <a:pt x="4897366" y="2097708"/>
                </a:cubicBezTo>
                <a:close/>
                <a:moveTo>
                  <a:pt x="4880147" y="2097708"/>
                </a:moveTo>
                <a:cubicBezTo>
                  <a:pt x="4885886" y="2097708"/>
                  <a:pt x="4880147" y="2103447"/>
                  <a:pt x="4880147" y="2103447"/>
                </a:cubicBezTo>
                <a:lnTo>
                  <a:pt x="4871539" y="2106316"/>
                </a:lnTo>
                <a:close/>
                <a:moveTo>
                  <a:pt x="4773013" y="2066142"/>
                </a:moveTo>
                <a:cubicBezTo>
                  <a:pt x="4779709" y="2066142"/>
                  <a:pt x="4773013" y="2071881"/>
                  <a:pt x="4779709" y="2066142"/>
                </a:cubicBezTo>
                <a:cubicBezTo>
                  <a:pt x="4779709" y="2077621"/>
                  <a:pt x="4766317" y="2071881"/>
                  <a:pt x="4766317" y="2077621"/>
                </a:cubicBezTo>
                <a:cubicBezTo>
                  <a:pt x="4759620" y="2071881"/>
                  <a:pt x="4773013" y="2071881"/>
                  <a:pt x="4773013" y="2066142"/>
                </a:cubicBezTo>
                <a:close/>
                <a:moveTo>
                  <a:pt x="5000676" y="2054663"/>
                </a:moveTo>
                <a:cubicBezTo>
                  <a:pt x="4994578" y="2066962"/>
                  <a:pt x="4976282" y="2066962"/>
                  <a:pt x="4976282" y="2079260"/>
                </a:cubicBezTo>
                <a:cubicBezTo>
                  <a:pt x="4964088" y="2066962"/>
                  <a:pt x="4921401" y="2097709"/>
                  <a:pt x="4903105" y="2097709"/>
                </a:cubicBezTo>
                <a:cubicBezTo>
                  <a:pt x="4903105" y="2097709"/>
                  <a:pt x="4903105" y="2091560"/>
                  <a:pt x="4903105" y="2085410"/>
                </a:cubicBezTo>
                <a:cubicBezTo>
                  <a:pt x="4927498" y="2085410"/>
                  <a:pt x="4964088" y="2066962"/>
                  <a:pt x="5000676" y="2054663"/>
                </a:cubicBezTo>
                <a:close/>
                <a:moveTo>
                  <a:pt x="5017894" y="2043183"/>
                </a:moveTo>
                <a:cubicBezTo>
                  <a:pt x="5023634" y="2043183"/>
                  <a:pt x="5017894" y="2043183"/>
                  <a:pt x="5017894" y="2048923"/>
                </a:cubicBezTo>
                <a:cubicBezTo>
                  <a:pt x="5017894" y="2048923"/>
                  <a:pt x="5017894" y="2048923"/>
                  <a:pt x="5023634" y="2048923"/>
                </a:cubicBezTo>
                <a:cubicBezTo>
                  <a:pt x="5023634" y="2054663"/>
                  <a:pt x="5012155" y="2054663"/>
                  <a:pt x="5006415" y="2054663"/>
                </a:cubicBezTo>
                <a:cubicBezTo>
                  <a:pt x="5000676" y="2054663"/>
                  <a:pt x="5017894" y="2048923"/>
                  <a:pt x="5017894" y="2043183"/>
                </a:cubicBezTo>
                <a:close/>
                <a:moveTo>
                  <a:pt x="4616132" y="2043183"/>
                </a:moveTo>
                <a:cubicBezTo>
                  <a:pt x="4616132" y="2060402"/>
                  <a:pt x="4598913" y="2054663"/>
                  <a:pt x="4593173" y="2054663"/>
                </a:cubicBezTo>
                <a:cubicBezTo>
                  <a:pt x="4598913" y="2048923"/>
                  <a:pt x="4610392" y="2048923"/>
                  <a:pt x="4616132" y="2043183"/>
                </a:cubicBezTo>
                <a:close/>
                <a:moveTo>
                  <a:pt x="4928935" y="2037444"/>
                </a:moveTo>
                <a:cubicBezTo>
                  <a:pt x="4922838" y="2043183"/>
                  <a:pt x="4922838" y="2048923"/>
                  <a:pt x="4922838" y="2048923"/>
                </a:cubicBezTo>
                <a:cubicBezTo>
                  <a:pt x="4916739" y="2043183"/>
                  <a:pt x="4880149" y="2054663"/>
                  <a:pt x="4904542" y="2043183"/>
                </a:cubicBezTo>
                <a:cubicBezTo>
                  <a:pt x="4910641" y="2037444"/>
                  <a:pt x="4910641" y="2043183"/>
                  <a:pt x="4916739" y="2043183"/>
                </a:cubicBezTo>
                <a:cubicBezTo>
                  <a:pt x="4922838" y="2043183"/>
                  <a:pt x="4922838" y="2037444"/>
                  <a:pt x="4928935" y="2037444"/>
                </a:cubicBezTo>
                <a:close/>
                <a:moveTo>
                  <a:pt x="4946152" y="2031705"/>
                </a:moveTo>
                <a:cubicBezTo>
                  <a:pt x="4946152" y="2031705"/>
                  <a:pt x="4946152" y="2037444"/>
                  <a:pt x="4946152" y="2037444"/>
                </a:cubicBezTo>
                <a:cubicBezTo>
                  <a:pt x="4940412" y="2031705"/>
                  <a:pt x="4934673" y="2037444"/>
                  <a:pt x="4934673" y="2037444"/>
                </a:cubicBezTo>
                <a:cubicBezTo>
                  <a:pt x="4923194" y="2037444"/>
                  <a:pt x="4940412" y="2031705"/>
                  <a:pt x="4946152" y="2031705"/>
                </a:cubicBezTo>
                <a:close/>
                <a:moveTo>
                  <a:pt x="4862357" y="2031705"/>
                </a:moveTo>
                <a:cubicBezTo>
                  <a:pt x="4862357" y="2031705"/>
                  <a:pt x="4868670" y="2037444"/>
                  <a:pt x="4868670" y="2037444"/>
                </a:cubicBezTo>
                <a:cubicBezTo>
                  <a:pt x="4862357" y="2048923"/>
                  <a:pt x="4837102" y="2037444"/>
                  <a:pt x="4843416" y="2054663"/>
                </a:cubicBezTo>
                <a:cubicBezTo>
                  <a:pt x="4837102" y="2054663"/>
                  <a:pt x="4837102" y="2048923"/>
                  <a:pt x="4837102" y="2048923"/>
                </a:cubicBezTo>
                <a:cubicBezTo>
                  <a:pt x="4843416" y="2043183"/>
                  <a:pt x="4862357" y="2043183"/>
                  <a:pt x="4862357" y="2031705"/>
                </a:cubicBezTo>
                <a:close/>
                <a:moveTo>
                  <a:pt x="4033528" y="2026515"/>
                </a:moveTo>
                <a:cubicBezTo>
                  <a:pt x="4031753" y="2026049"/>
                  <a:pt x="4029511" y="2026794"/>
                  <a:pt x="4026522" y="2029776"/>
                </a:cubicBezTo>
                <a:cubicBezTo>
                  <a:pt x="4026522" y="2034249"/>
                  <a:pt x="4026896" y="2036113"/>
                  <a:pt x="4027550" y="2036579"/>
                </a:cubicBezTo>
                <a:lnTo>
                  <a:pt x="4029119" y="2035662"/>
                </a:lnTo>
                <a:lnTo>
                  <a:pt x="4028691" y="2033174"/>
                </a:lnTo>
                <a:cubicBezTo>
                  <a:pt x="4032995" y="2033174"/>
                  <a:pt x="4030843" y="2033174"/>
                  <a:pt x="4034340" y="2030752"/>
                </a:cubicBezTo>
                <a:lnTo>
                  <a:pt x="4036615" y="2029458"/>
                </a:lnTo>
                <a:close/>
                <a:moveTo>
                  <a:pt x="5083899" y="2025965"/>
                </a:moveTo>
                <a:cubicBezTo>
                  <a:pt x="5083899" y="2037444"/>
                  <a:pt x="5064958" y="2037444"/>
                  <a:pt x="5052331" y="2043183"/>
                </a:cubicBezTo>
                <a:cubicBezTo>
                  <a:pt x="5052331" y="2037444"/>
                  <a:pt x="5077587" y="2031705"/>
                  <a:pt x="5083899" y="2025965"/>
                </a:cubicBezTo>
                <a:close/>
                <a:moveTo>
                  <a:pt x="4630480" y="2017355"/>
                </a:moveTo>
                <a:cubicBezTo>
                  <a:pt x="4636221" y="2017355"/>
                  <a:pt x="4641960" y="2017355"/>
                  <a:pt x="4641960" y="2031705"/>
                </a:cubicBezTo>
                <a:cubicBezTo>
                  <a:pt x="4636221" y="2031705"/>
                  <a:pt x="4630480" y="2024530"/>
                  <a:pt x="4630480" y="2017355"/>
                </a:cubicBezTo>
                <a:close/>
                <a:moveTo>
                  <a:pt x="4932410" y="2016023"/>
                </a:moveTo>
                <a:lnTo>
                  <a:pt x="4930520" y="2022432"/>
                </a:lnTo>
                <a:cubicBezTo>
                  <a:pt x="4930522" y="2023200"/>
                  <a:pt x="4930522" y="2021662"/>
                  <a:pt x="4927576" y="2018586"/>
                </a:cubicBezTo>
                <a:cubicBezTo>
                  <a:pt x="4915795" y="2037036"/>
                  <a:pt x="4904014" y="2024736"/>
                  <a:pt x="4892233" y="2037036"/>
                </a:cubicBezTo>
                <a:cubicBezTo>
                  <a:pt x="4892233" y="2037036"/>
                  <a:pt x="4892233" y="2030886"/>
                  <a:pt x="4892233" y="2030886"/>
                </a:cubicBezTo>
                <a:cubicBezTo>
                  <a:pt x="4886342" y="2043185"/>
                  <a:pt x="4880450" y="2030886"/>
                  <a:pt x="4868670" y="2037036"/>
                </a:cubicBezTo>
                <a:close/>
                <a:moveTo>
                  <a:pt x="4939526" y="2013677"/>
                </a:moveTo>
                <a:lnTo>
                  <a:pt x="4940094" y="2017818"/>
                </a:lnTo>
                <a:cubicBezTo>
                  <a:pt x="4940830" y="2020125"/>
                  <a:pt x="4942302" y="2021662"/>
                  <a:pt x="4945248" y="2018586"/>
                </a:cubicBezTo>
                <a:cubicBezTo>
                  <a:pt x="4945248" y="2021662"/>
                  <a:pt x="4942302" y="2023200"/>
                  <a:pt x="4939356" y="2022432"/>
                </a:cubicBezTo>
                <a:lnTo>
                  <a:pt x="4935064" y="2015148"/>
                </a:lnTo>
                <a:close/>
                <a:moveTo>
                  <a:pt x="4933467" y="2012438"/>
                </a:moveTo>
                <a:lnTo>
                  <a:pt x="4935064" y="2015148"/>
                </a:lnTo>
                <a:lnTo>
                  <a:pt x="4932410" y="2016023"/>
                </a:lnTo>
                <a:close/>
                <a:moveTo>
                  <a:pt x="4946705" y="2011310"/>
                </a:moveTo>
                <a:lnTo>
                  <a:pt x="4939526" y="2013677"/>
                </a:lnTo>
                <a:lnTo>
                  <a:pt x="4939356" y="2012438"/>
                </a:lnTo>
                <a:close/>
                <a:moveTo>
                  <a:pt x="4630302" y="2005920"/>
                </a:moveTo>
                <a:lnTo>
                  <a:pt x="4631184" y="2006800"/>
                </a:lnTo>
                <a:lnTo>
                  <a:pt x="4630302" y="2007134"/>
                </a:lnTo>
                <a:close/>
                <a:moveTo>
                  <a:pt x="4980590" y="2000139"/>
                </a:moveTo>
                <a:cubicBezTo>
                  <a:pt x="4977646" y="2003213"/>
                  <a:pt x="4971755" y="2006288"/>
                  <a:pt x="4964392" y="2008595"/>
                </a:cubicBezTo>
                <a:lnTo>
                  <a:pt x="4946705" y="2011310"/>
                </a:lnTo>
                <a:close/>
                <a:moveTo>
                  <a:pt x="4222978" y="2000139"/>
                </a:moveTo>
                <a:cubicBezTo>
                  <a:pt x="4222978" y="2006451"/>
                  <a:pt x="4228718" y="2006451"/>
                  <a:pt x="4228718" y="2006451"/>
                </a:cubicBezTo>
                <a:cubicBezTo>
                  <a:pt x="4228718" y="2012765"/>
                  <a:pt x="4228718" y="2006451"/>
                  <a:pt x="4222978" y="2006451"/>
                </a:cubicBezTo>
                <a:cubicBezTo>
                  <a:pt x="4222978" y="2019080"/>
                  <a:pt x="4234457" y="2006451"/>
                  <a:pt x="4234457" y="2012765"/>
                </a:cubicBezTo>
                <a:cubicBezTo>
                  <a:pt x="4240197" y="2012765"/>
                  <a:pt x="4234457" y="2006451"/>
                  <a:pt x="4240197" y="2006451"/>
                </a:cubicBezTo>
                <a:cubicBezTo>
                  <a:pt x="4240197" y="2012765"/>
                  <a:pt x="4234457" y="2012765"/>
                  <a:pt x="4234457" y="2019080"/>
                </a:cubicBezTo>
                <a:cubicBezTo>
                  <a:pt x="4228718" y="2012765"/>
                  <a:pt x="4217239" y="2031707"/>
                  <a:pt x="4217239" y="2012765"/>
                </a:cubicBezTo>
                <a:cubicBezTo>
                  <a:pt x="4222978" y="2019080"/>
                  <a:pt x="4222978" y="2000139"/>
                  <a:pt x="4211500" y="2012765"/>
                </a:cubicBezTo>
                <a:cubicBezTo>
                  <a:pt x="4205760" y="2012765"/>
                  <a:pt x="4222978" y="2006451"/>
                  <a:pt x="4222978" y="2000139"/>
                </a:cubicBezTo>
                <a:close/>
                <a:moveTo>
                  <a:pt x="5138423" y="2000137"/>
                </a:moveTo>
                <a:cubicBezTo>
                  <a:pt x="5138423" y="2000137"/>
                  <a:pt x="5138423" y="2000137"/>
                  <a:pt x="5144163" y="2000137"/>
                </a:cubicBezTo>
                <a:cubicBezTo>
                  <a:pt x="5144163" y="2011616"/>
                  <a:pt x="5144163" y="2005876"/>
                  <a:pt x="5155642" y="2000137"/>
                </a:cubicBezTo>
                <a:cubicBezTo>
                  <a:pt x="5161381" y="2011616"/>
                  <a:pt x="5144163" y="2017355"/>
                  <a:pt x="5138423" y="2011616"/>
                </a:cubicBezTo>
                <a:cubicBezTo>
                  <a:pt x="5138423" y="2011616"/>
                  <a:pt x="5144163" y="2000137"/>
                  <a:pt x="5138423" y="2000137"/>
                </a:cubicBezTo>
                <a:close/>
                <a:moveTo>
                  <a:pt x="4797685" y="1999956"/>
                </a:moveTo>
                <a:lnTo>
                  <a:pt x="4792237" y="2006071"/>
                </a:lnTo>
                <a:lnTo>
                  <a:pt x="4792455" y="2003683"/>
                </a:lnTo>
                <a:cubicBezTo>
                  <a:pt x="4794696" y="2002939"/>
                  <a:pt x="4797685" y="2002939"/>
                  <a:pt x="4797685" y="1999956"/>
                </a:cubicBezTo>
                <a:close/>
                <a:moveTo>
                  <a:pt x="4139757" y="1994397"/>
                </a:moveTo>
                <a:cubicBezTo>
                  <a:pt x="4126843" y="2000137"/>
                  <a:pt x="4120385" y="2005876"/>
                  <a:pt x="4113928" y="2005876"/>
                </a:cubicBezTo>
                <a:cubicBezTo>
                  <a:pt x="4113928" y="2005876"/>
                  <a:pt x="4126843" y="1994397"/>
                  <a:pt x="4139757" y="1994397"/>
                </a:cubicBezTo>
                <a:close/>
                <a:moveTo>
                  <a:pt x="4825140" y="1993993"/>
                </a:moveTo>
                <a:lnTo>
                  <a:pt x="4825729" y="1994186"/>
                </a:lnTo>
                <a:lnTo>
                  <a:pt x="4825623" y="1994399"/>
                </a:lnTo>
                <a:close/>
                <a:moveTo>
                  <a:pt x="4821677" y="1991081"/>
                </a:moveTo>
                <a:lnTo>
                  <a:pt x="4825140" y="1993993"/>
                </a:lnTo>
                <a:lnTo>
                  <a:pt x="4824189" y="1993681"/>
                </a:lnTo>
                <a:cubicBezTo>
                  <a:pt x="4822754" y="1992605"/>
                  <a:pt x="4821677" y="1991350"/>
                  <a:pt x="4821677" y="1991081"/>
                </a:cubicBezTo>
                <a:close/>
                <a:moveTo>
                  <a:pt x="5149185" y="1981483"/>
                </a:moveTo>
                <a:cubicBezTo>
                  <a:pt x="5152773" y="1981483"/>
                  <a:pt x="5155642" y="1982919"/>
                  <a:pt x="5155642" y="1988658"/>
                </a:cubicBezTo>
                <a:cubicBezTo>
                  <a:pt x="5149902" y="1988658"/>
                  <a:pt x="5138423" y="1994397"/>
                  <a:pt x="5138423" y="1982919"/>
                </a:cubicBezTo>
                <a:cubicBezTo>
                  <a:pt x="5141294" y="1982919"/>
                  <a:pt x="5145598" y="1981483"/>
                  <a:pt x="5149185" y="1981483"/>
                </a:cubicBezTo>
                <a:close/>
                <a:moveTo>
                  <a:pt x="4832977" y="1979781"/>
                </a:moveTo>
                <a:cubicBezTo>
                  <a:pt x="4832439" y="1981127"/>
                  <a:pt x="4827057" y="1992964"/>
                  <a:pt x="4831362" y="1988660"/>
                </a:cubicBezTo>
                <a:cubicBezTo>
                  <a:pt x="4831362" y="1992964"/>
                  <a:pt x="4830287" y="1994757"/>
                  <a:pt x="4828852" y="1995205"/>
                </a:cubicBezTo>
                <a:lnTo>
                  <a:pt x="4825729" y="1994186"/>
                </a:lnTo>
                <a:lnTo>
                  <a:pt x="4831362" y="1982921"/>
                </a:lnTo>
                <a:cubicBezTo>
                  <a:pt x="4832797" y="1980050"/>
                  <a:pt x="4833156" y="1979333"/>
                  <a:pt x="4832977" y="1979781"/>
                </a:cubicBezTo>
                <a:close/>
                <a:moveTo>
                  <a:pt x="4731927" y="1970543"/>
                </a:moveTo>
                <a:lnTo>
                  <a:pt x="4731927" y="1976100"/>
                </a:lnTo>
                <a:cubicBezTo>
                  <a:pt x="4743884" y="1982063"/>
                  <a:pt x="4725950" y="1993993"/>
                  <a:pt x="4743884" y="1988029"/>
                </a:cubicBezTo>
                <a:cubicBezTo>
                  <a:pt x="4743884" y="1993993"/>
                  <a:pt x="4737906" y="1993993"/>
                  <a:pt x="4737906" y="1993993"/>
                </a:cubicBezTo>
                <a:cubicBezTo>
                  <a:pt x="4731927" y="1988029"/>
                  <a:pt x="4731927" y="1982063"/>
                  <a:pt x="4725950" y="1982063"/>
                </a:cubicBezTo>
                <a:cubicBezTo>
                  <a:pt x="4719972" y="1982063"/>
                  <a:pt x="4719972" y="1993993"/>
                  <a:pt x="4725950" y="1988029"/>
                </a:cubicBezTo>
                <a:cubicBezTo>
                  <a:pt x="4725950" y="1999956"/>
                  <a:pt x="4719972" y="1988029"/>
                  <a:pt x="4713993" y="1993993"/>
                </a:cubicBezTo>
                <a:cubicBezTo>
                  <a:pt x="4713993" y="1988029"/>
                  <a:pt x="4719972" y="1988029"/>
                  <a:pt x="4719972" y="1988029"/>
                </a:cubicBezTo>
                <a:cubicBezTo>
                  <a:pt x="4711005" y="1988029"/>
                  <a:pt x="4700542" y="1988029"/>
                  <a:pt x="4692323" y="1989518"/>
                </a:cubicBezTo>
                <a:lnTo>
                  <a:pt x="4685025" y="1994883"/>
                </a:lnTo>
                <a:lnTo>
                  <a:pt x="4692970" y="1996552"/>
                </a:lnTo>
                <a:cubicBezTo>
                  <a:pt x="4696916" y="1995835"/>
                  <a:pt x="4701652" y="1994399"/>
                  <a:pt x="4707965" y="1994399"/>
                </a:cubicBezTo>
                <a:cubicBezTo>
                  <a:pt x="4698494" y="2003008"/>
                  <a:pt x="4696127" y="2005161"/>
                  <a:pt x="4687544" y="2005699"/>
                </a:cubicBezTo>
                <a:lnTo>
                  <a:pt x="4683529" y="2005764"/>
                </a:lnTo>
                <a:lnTo>
                  <a:pt x="4677380" y="2004091"/>
                </a:lnTo>
                <a:lnTo>
                  <a:pt x="4680692" y="1998071"/>
                </a:lnTo>
                <a:lnTo>
                  <a:pt x="4678125" y="1999956"/>
                </a:lnTo>
                <a:cubicBezTo>
                  <a:pt x="4678125" y="1999956"/>
                  <a:pt x="4672147" y="1999956"/>
                  <a:pt x="4672147" y="1993993"/>
                </a:cubicBezTo>
                <a:cubicBezTo>
                  <a:pt x="4666168" y="1999956"/>
                  <a:pt x="4654212" y="1999956"/>
                  <a:pt x="4660190" y="2005920"/>
                </a:cubicBezTo>
                <a:cubicBezTo>
                  <a:pt x="4660190" y="2002938"/>
                  <a:pt x="4663179" y="2001447"/>
                  <a:pt x="4667663" y="2001447"/>
                </a:cubicBezTo>
                <a:lnTo>
                  <a:pt x="4677380" y="2004091"/>
                </a:lnTo>
                <a:lnTo>
                  <a:pt x="4676397" y="2005878"/>
                </a:lnTo>
                <a:lnTo>
                  <a:pt x="4683529" y="2005764"/>
                </a:lnTo>
                <a:lnTo>
                  <a:pt x="4684103" y="2005920"/>
                </a:lnTo>
                <a:cubicBezTo>
                  <a:pt x="4678125" y="2017849"/>
                  <a:pt x="4660190" y="2005920"/>
                  <a:pt x="4660190" y="2017849"/>
                </a:cubicBezTo>
                <a:cubicBezTo>
                  <a:pt x="4654212" y="2017849"/>
                  <a:pt x="4654212" y="1999956"/>
                  <a:pt x="4642257" y="2005920"/>
                </a:cubicBezTo>
                <a:cubicBezTo>
                  <a:pt x="4642257" y="2011884"/>
                  <a:pt x="4648234" y="2017849"/>
                  <a:pt x="4654212" y="2011884"/>
                </a:cubicBezTo>
                <a:cubicBezTo>
                  <a:pt x="4660190" y="2023812"/>
                  <a:pt x="4642257" y="2005920"/>
                  <a:pt x="4648234" y="2023812"/>
                </a:cubicBezTo>
                <a:cubicBezTo>
                  <a:pt x="4636280" y="2017849"/>
                  <a:pt x="4636280" y="2017849"/>
                  <a:pt x="4636280" y="2011884"/>
                </a:cubicBezTo>
                <a:lnTo>
                  <a:pt x="4631184" y="2006800"/>
                </a:lnTo>
                <a:lnTo>
                  <a:pt x="4651225" y="1999212"/>
                </a:lnTo>
                <a:close/>
                <a:moveTo>
                  <a:pt x="4731927" y="1970136"/>
                </a:moveTo>
                <a:lnTo>
                  <a:pt x="4732538" y="1970326"/>
                </a:lnTo>
                <a:lnTo>
                  <a:pt x="4731927" y="1970543"/>
                </a:lnTo>
                <a:close/>
                <a:moveTo>
                  <a:pt x="4270809" y="1965702"/>
                </a:moveTo>
                <a:cubicBezTo>
                  <a:pt x="4277504" y="1977181"/>
                  <a:pt x="4264113" y="1977181"/>
                  <a:pt x="4264113" y="1988660"/>
                </a:cubicBezTo>
                <a:cubicBezTo>
                  <a:pt x="4257416" y="1994399"/>
                  <a:pt x="4270809" y="1971441"/>
                  <a:pt x="4257416" y="1977181"/>
                </a:cubicBezTo>
                <a:cubicBezTo>
                  <a:pt x="4257416" y="1971441"/>
                  <a:pt x="4270809" y="1977181"/>
                  <a:pt x="4270809" y="1965702"/>
                </a:cubicBezTo>
                <a:close/>
                <a:moveTo>
                  <a:pt x="4956334" y="1962743"/>
                </a:moveTo>
                <a:lnTo>
                  <a:pt x="4959515" y="1963329"/>
                </a:lnTo>
                <a:lnTo>
                  <a:pt x="4952576" y="1970364"/>
                </a:lnTo>
                <a:cubicBezTo>
                  <a:pt x="4952576" y="1964266"/>
                  <a:pt x="4954079" y="1962743"/>
                  <a:pt x="4956334" y="1962743"/>
                </a:cubicBezTo>
                <a:close/>
                <a:moveTo>
                  <a:pt x="4960594" y="1962233"/>
                </a:moveTo>
                <a:lnTo>
                  <a:pt x="4964601" y="1964266"/>
                </a:lnTo>
                <a:lnTo>
                  <a:pt x="4959515" y="1963329"/>
                </a:lnTo>
                <a:close/>
                <a:moveTo>
                  <a:pt x="5017896" y="1959962"/>
                </a:moveTo>
                <a:cubicBezTo>
                  <a:pt x="4993895" y="1965702"/>
                  <a:pt x="4975894" y="1971441"/>
                  <a:pt x="4951891" y="1988660"/>
                </a:cubicBezTo>
                <a:cubicBezTo>
                  <a:pt x="4951891" y="1982921"/>
                  <a:pt x="4951891" y="1982921"/>
                  <a:pt x="4951891" y="1982921"/>
                </a:cubicBezTo>
                <a:cubicBezTo>
                  <a:pt x="4957893" y="1971441"/>
                  <a:pt x="4993895" y="1959962"/>
                  <a:pt x="5017896" y="1959962"/>
                </a:cubicBezTo>
                <a:close/>
                <a:moveTo>
                  <a:pt x="4179931" y="1959961"/>
                </a:moveTo>
                <a:cubicBezTo>
                  <a:pt x="4185671" y="1965700"/>
                  <a:pt x="4174192" y="1977179"/>
                  <a:pt x="4174192" y="1977179"/>
                </a:cubicBezTo>
                <a:cubicBezTo>
                  <a:pt x="4168452" y="1977179"/>
                  <a:pt x="4168452" y="1977179"/>
                  <a:pt x="4168452" y="1971439"/>
                </a:cubicBezTo>
                <a:cubicBezTo>
                  <a:pt x="4168452" y="1971439"/>
                  <a:pt x="4168452" y="1971439"/>
                  <a:pt x="4162713" y="1971439"/>
                </a:cubicBezTo>
                <a:cubicBezTo>
                  <a:pt x="4162713" y="1965700"/>
                  <a:pt x="4174192" y="1971439"/>
                  <a:pt x="4174192" y="1965700"/>
                </a:cubicBezTo>
                <a:cubicBezTo>
                  <a:pt x="4179931" y="1965700"/>
                  <a:pt x="4179931" y="1965700"/>
                  <a:pt x="4179931" y="1959961"/>
                </a:cubicBezTo>
                <a:close/>
                <a:moveTo>
                  <a:pt x="4222978" y="1940949"/>
                </a:moveTo>
                <a:cubicBezTo>
                  <a:pt x="4222978" y="1940949"/>
                  <a:pt x="4222978" y="1947048"/>
                  <a:pt x="4228718" y="1947048"/>
                </a:cubicBezTo>
                <a:cubicBezTo>
                  <a:pt x="4231588" y="1947048"/>
                  <a:pt x="4233022" y="1945523"/>
                  <a:pt x="4233740" y="1943236"/>
                </a:cubicBezTo>
                <a:lnTo>
                  <a:pt x="4233896" y="1941413"/>
                </a:lnTo>
                <a:lnTo>
                  <a:pt x="4234457" y="1947048"/>
                </a:lnTo>
                <a:cubicBezTo>
                  <a:pt x="4228718" y="1947048"/>
                  <a:pt x="4228718" y="1947048"/>
                  <a:pt x="4222978" y="1953146"/>
                </a:cubicBezTo>
                <a:cubicBezTo>
                  <a:pt x="4222978" y="1959244"/>
                  <a:pt x="4222978" y="1959244"/>
                  <a:pt x="4228718" y="1959244"/>
                </a:cubicBezTo>
                <a:cubicBezTo>
                  <a:pt x="4228718" y="1959244"/>
                  <a:pt x="4222978" y="1959244"/>
                  <a:pt x="4222978" y="1965342"/>
                </a:cubicBezTo>
                <a:cubicBezTo>
                  <a:pt x="4217239" y="1971441"/>
                  <a:pt x="4222978" y="1953146"/>
                  <a:pt x="4217239" y="1953146"/>
                </a:cubicBezTo>
                <a:cubicBezTo>
                  <a:pt x="4217239" y="1947048"/>
                  <a:pt x="4222978" y="1947048"/>
                  <a:pt x="4222978" y="1940949"/>
                </a:cubicBezTo>
                <a:close/>
                <a:moveTo>
                  <a:pt x="4839531" y="1940316"/>
                </a:moveTo>
                <a:cubicBezTo>
                  <a:pt x="4839531" y="1946280"/>
                  <a:pt x="4845510" y="1940316"/>
                  <a:pt x="4845510" y="1940316"/>
                </a:cubicBezTo>
                <a:cubicBezTo>
                  <a:pt x="4851487" y="1952244"/>
                  <a:pt x="4833553" y="1940316"/>
                  <a:pt x="4839531" y="1946280"/>
                </a:cubicBezTo>
                <a:cubicBezTo>
                  <a:pt x="4836543" y="1946280"/>
                  <a:pt x="4838036" y="1944788"/>
                  <a:pt x="4839531" y="1942552"/>
                </a:cubicBezTo>
                <a:close/>
                <a:moveTo>
                  <a:pt x="4185450" y="1940316"/>
                </a:moveTo>
                <a:lnTo>
                  <a:pt x="4186852" y="1943178"/>
                </a:lnTo>
                <a:lnTo>
                  <a:pt x="4187928" y="1940316"/>
                </a:lnTo>
                <a:close/>
                <a:moveTo>
                  <a:pt x="4181950" y="1940316"/>
                </a:moveTo>
                <a:cubicBezTo>
                  <a:pt x="4178961" y="1940316"/>
                  <a:pt x="4178961" y="1943298"/>
                  <a:pt x="4179709" y="1946280"/>
                </a:cubicBezTo>
                <a:lnTo>
                  <a:pt x="4180661" y="1948815"/>
                </a:lnTo>
                <a:lnTo>
                  <a:pt x="4180930" y="1947236"/>
                </a:lnTo>
                <a:cubicBezTo>
                  <a:pt x="4180930" y="1946467"/>
                  <a:pt x="4180930" y="1946467"/>
                  <a:pt x="4183944" y="1943392"/>
                </a:cubicBezTo>
                <a:cubicBezTo>
                  <a:pt x="4183944" y="1943392"/>
                  <a:pt x="4183944" y="1943392"/>
                  <a:pt x="4183944" y="1942623"/>
                </a:cubicBezTo>
                <a:lnTo>
                  <a:pt x="4183944" y="1940316"/>
                </a:lnTo>
                <a:lnTo>
                  <a:pt x="4182698" y="1940316"/>
                </a:lnTo>
                <a:cubicBezTo>
                  <a:pt x="4181950" y="1940316"/>
                  <a:pt x="4181950" y="1940316"/>
                  <a:pt x="4181950" y="1940316"/>
                </a:cubicBezTo>
                <a:close/>
                <a:moveTo>
                  <a:pt x="4994666" y="1939873"/>
                </a:moveTo>
                <a:cubicBezTo>
                  <a:pt x="4994666" y="1939873"/>
                  <a:pt x="5000678" y="1945971"/>
                  <a:pt x="5000678" y="1945971"/>
                </a:cubicBezTo>
                <a:cubicBezTo>
                  <a:pt x="5000678" y="1952070"/>
                  <a:pt x="4982640" y="1958167"/>
                  <a:pt x="4976627" y="1952070"/>
                </a:cubicBezTo>
                <a:cubicBezTo>
                  <a:pt x="4976627" y="1958167"/>
                  <a:pt x="4976627" y="1964266"/>
                  <a:pt x="4970614" y="1952070"/>
                </a:cubicBezTo>
                <a:lnTo>
                  <a:pt x="4960594" y="1962233"/>
                </a:lnTo>
                <a:lnTo>
                  <a:pt x="4952576" y="1958167"/>
                </a:lnTo>
                <a:cubicBezTo>
                  <a:pt x="4934537" y="1982560"/>
                  <a:pt x="4898461" y="1982560"/>
                  <a:pt x="4880422" y="1988660"/>
                </a:cubicBezTo>
                <a:cubicBezTo>
                  <a:pt x="4874410" y="1988660"/>
                  <a:pt x="4880422" y="1982560"/>
                  <a:pt x="4874410" y="1982560"/>
                </a:cubicBezTo>
                <a:cubicBezTo>
                  <a:pt x="4898461" y="1976463"/>
                  <a:pt x="4958589" y="1958167"/>
                  <a:pt x="4994666" y="1939873"/>
                </a:cubicBezTo>
                <a:close/>
                <a:moveTo>
                  <a:pt x="4334899" y="1939873"/>
                </a:moveTo>
                <a:cubicBezTo>
                  <a:pt x="4329160" y="1952500"/>
                  <a:pt x="4311942" y="1958814"/>
                  <a:pt x="4300462" y="1965127"/>
                </a:cubicBezTo>
                <a:cubicBezTo>
                  <a:pt x="4300462" y="1965127"/>
                  <a:pt x="4300462" y="1958814"/>
                  <a:pt x="4300462" y="1958814"/>
                </a:cubicBezTo>
                <a:cubicBezTo>
                  <a:pt x="4288983" y="1971441"/>
                  <a:pt x="4288983" y="1965127"/>
                  <a:pt x="4277504" y="1971441"/>
                </a:cubicBezTo>
                <a:cubicBezTo>
                  <a:pt x="4283244" y="1958814"/>
                  <a:pt x="4317681" y="1952500"/>
                  <a:pt x="4334899" y="1939873"/>
                </a:cubicBezTo>
                <a:close/>
                <a:moveTo>
                  <a:pt x="4234210" y="1937741"/>
                </a:moveTo>
                <a:lnTo>
                  <a:pt x="4233896" y="1941413"/>
                </a:lnTo>
                <a:lnTo>
                  <a:pt x="4233650" y="1938949"/>
                </a:lnTo>
                <a:close/>
                <a:moveTo>
                  <a:pt x="4220291" y="1936414"/>
                </a:moveTo>
                <a:lnTo>
                  <a:pt x="4220103" y="1937242"/>
                </a:lnTo>
                <a:lnTo>
                  <a:pt x="4219204" y="1936784"/>
                </a:lnTo>
                <a:lnTo>
                  <a:pt x="4219443" y="1936665"/>
                </a:lnTo>
                <a:close/>
                <a:moveTo>
                  <a:pt x="4838013" y="1935204"/>
                </a:moveTo>
                <a:lnTo>
                  <a:pt x="4815619" y="1947771"/>
                </a:lnTo>
                <a:cubicBezTo>
                  <a:pt x="4806653" y="1949262"/>
                  <a:pt x="4797685" y="1949262"/>
                  <a:pt x="4791707" y="1952244"/>
                </a:cubicBezTo>
                <a:cubicBezTo>
                  <a:pt x="4797685" y="1964172"/>
                  <a:pt x="4803663" y="1946280"/>
                  <a:pt x="4809641" y="1952244"/>
                </a:cubicBezTo>
                <a:cubicBezTo>
                  <a:pt x="4809641" y="1952244"/>
                  <a:pt x="4809641" y="1958209"/>
                  <a:pt x="4803663" y="1964172"/>
                </a:cubicBezTo>
                <a:cubicBezTo>
                  <a:pt x="4797685" y="1952244"/>
                  <a:pt x="4785728" y="1970136"/>
                  <a:pt x="4791707" y="1958209"/>
                </a:cubicBezTo>
                <a:cubicBezTo>
                  <a:pt x="4779750" y="1964172"/>
                  <a:pt x="4767796" y="1976100"/>
                  <a:pt x="4755840" y="1964172"/>
                </a:cubicBezTo>
                <a:cubicBezTo>
                  <a:pt x="4752850" y="1967154"/>
                  <a:pt x="4748367" y="1971627"/>
                  <a:pt x="4743884" y="1973864"/>
                </a:cubicBezTo>
                <a:lnTo>
                  <a:pt x="4732538" y="1970326"/>
                </a:lnTo>
                <a:lnTo>
                  <a:pt x="4749862" y="1964172"/>
                </a:lnTo>
                <a:cubicBezTo>
                  <a:pt x="4770785" y="1958209"/>
                  <a:pt x="4793201" y="1949262"/>
                  <a:pt x="4813378" y="1941808"/>
                </a:cubicBezTo>
                <a:close/>
                <a:moveTo>
                  <a:pt x="4839531" y="1934353"/>
                </a:moveTo>
                <a:lnTo>
                  <a:pt x="4839531" y="1934797"/>
                </a:lnTo>
                <a:lnTo>
                  <a:pt x="4838013" y="1935204"/>
                </a:lnTo>
                <a:close/>
                <a:moveTo>
                  <a:pt x="4190014" y="1934214"/>
                </a:moveTo>
                <a:lnTo>
                  <a:pt x="4187980" y="1934962"/>
                </a:lnTo>
                <a:lnTo>
                  <a:pt x="4187928" y="1934353"/>
                </a:lnTo>
                <a:close/>
                <a:moveTo>
                  <a:pt x="5028655" y="1932698"/>
                </a:moveTo>
                <a:cubicBezTo>
                  <a:pt x="5032244" y="1932698"/>
                  <a:pt x="5035112" y="1934134"/>
                  <a:pt x="5035112" y="1934134"/>
                </a:cubicBezTo>
                <a:cubicBezTo>
                  <a:pt x="5040852" y="1939873"/>
                  <a:pt x="5023634" y="1939873"/>
                  <a:pt x="5017894" y="1939873"/>
                </a:cubicBezTo>
                <a:cubicBezTo>
                  <a:pt x="5020765" y="1934134"/>
                  <a:pt x="5025069" y="1932698"/>
                  <a:pt x="5028655" y="1932698"/>
                </a:cubicBezTo>
                <a:close/>
                <a:moveTo>
                  <a:pt x="4980589" y="1928395"/>
                </a:moveTo>
                <a:cubicBezTo>
                  <a:pt x="4956956" y="1946842"/>
                  <a:pt x="4909689" y="1965292"/>
                  <a:pt x="4880147" y="1971441"/>
                </a:cubicBezTo>
                <a:cubicBezTo>
                  <a:pt x="4903781" y="1952992"/>
                  <a:pt x="4933322" y="1952992"/>
                  <a:pt x="4945140" y="1940694"/>
                </a:cubicBezTo>
                <a:cubicBezTo>
                  <a:pt x="4951048" y="1946842"/>
                  <a:pt x="4968772" y="1934544"/>
                  <a:pt x="4980589" y="1928395"/>
                </a:cubicBezTo>
                <a:close/>
                <a:moveTo>
                  <a:pt x="4874408" y="1928395"/>
                </a:moveTo>
                <a:cubicBezTo>
                  <a:pt x="4880147" y="1928395"/>
                  <a:pt x="4880147" y="1928395"/>
                  <a:pt x="4885886" y="1928395"/>
                </a:cubicBezTo>
                <a:cubicBezTo>
                  <a:pt x="4891626" y="1934134"/>
                  <a:pt x="4874408" y="1939873"/>
                  <a:pt x="4874408" y="1928395"/>
                </a:cubicBezTo>
                <a:close/>
                <a:moveTo>
                  <a:pt x="4863444" y="1928389"/>
                </a:moveTo>
                <a:cubicBezTo>
                  <a:pt x="4863444" y="1934353"/>
                  <a:pt x="4863444" y="1934353"/>
                  <a:pt x="4857466" y="1940316"/>
                </a:cubicBezTo>
                <a:cubicBezTo>
                  <a:pt x="4857466" y="1934353"/>
                  <a:pt x="4857466" y="1934353"/>
                  <a:pt x="4857466" y="1934353"/>
                </a:cubicBezTo>
                <a:cubicBezTo>
                  <a:pt x="4851487" y="1934353"/>
                  <a:pt x="4851487" y="1934353"/>
                  <a:pt x="4839531" y="1940316"/>
                </a:cubicBezTo>
                <a:lnTo>
                  <a:pt x="4839531" y="1934797"/>
                </a:lnTo>
                <a:close/>
                <a:moveTo>
                  <a:pt x="4195996" y="1927249"/>
                </a:moveTo>
                <a:lnTo>
                  <a:pt x="4198349" y="1931151"/>
                </a:lnTo>
                <a:lnTo>
                  <a:pt x="4205863" y="1928389"/>
                </a:lnTo>
                <a:lnTo>
                  <a:pt x="4199610" y="1933241"/>
                </a:lnTo>
                <a:lnTo>
                  <a:pt x="4202023" y="1937242"/>
                </a:lnTo>
                <a:lnTo>
                  <a:pt x="4196677" y="1933771"/>
                </a:lnTo>
                <a:lnTo>
                  <a:pt x="4190014" y="1934214"/>
                </a:lnTo>
                <a:lnTo>
                  <a:pt x="4194705" y="1932490"/>
                </a:lnTo>
                <a:lnTo>
                  <a:pt x="4193737" y="1931861"/>
                </a:lnTo>
                <a:cubicBezTo>
                  <a:pt x="4191477" y="1931093"/>
                  <a:pt x="4189970" y="1931093"/>
                  <a:pt x="4189970" y="1931093"/>
                </a:cubicBezTo>
                <a:cubicBezTo>
                  <a:pt x="4189970" y="1928020"/>
                  <a:pt x="4192984" y="1926481"/>
                  <a:pt x="4195996" y="1927249"/>
                </a:cubicBezTo>
                <a:close/>
                <a:moveTo>
                  <a:pt x="4232815" y="1922541"/>
                </a:moveTo>
                <a:lnTo>
                  <a:pt x="4233632" y="1923842"/>
                </a:lnTo>
                <a:lnTo>
                  <a:pt x="4234457" y="1922655"/>
                </a:lnTo>
                <a:cubicBezTo>
                  <a:pt x="4237327" y="1924179"/>
                  <a:pt x="4238403" y="1925704"/>
                  <a:pt x="4238493" y="1927323"/>
                </a:cubicBezTo>
                <a:lnTo>
                  <a:pt x="4237519" y="1930035"/>
                </a:lnTo>
                <a:lnTo>
                  <a:pt x="4238182" y="1931093"/>
                </a:lnTo>
                <a:lnTo>
                  <a:pt x="4237014" y="1931440"/>
                </a:lnTo>
                <a:lnTo>
                  <a:pt x="4236610" y="1932564"/>
                </a:lnTo>
                <a:lnTo>
                  <a:pt x="4234210" y="1937741"/>
                </a:lnTo>
                <a:lnTo>
                  <a:pt x="4234457" y="1934852"/>
                </a:lnTo>
                <a:cubicBezTo>
                  <a:pt x="4228718" y="1928752"/>
                  <a:pt x="4228718" y="1940949"/>
                  <a:pt x="4222978" y="1940949"/>
                </a:cubicBezTo>
                <a:lnTo>
                  <a:pt x="4220504" y="1936350"/>
                </a:lnTo>
                <a:lnTo>
                  <a:pt x="4220291" y="1936414"/>
                </a:lnTo>
                <a:lnTo>
                  <a:pt x="4220364" y="1936089"/>
                </a:lnTo>
                <a:lnTo>
                  <a:pt x="4220108" y="1935614"/>
                </a:lnTo>
                <a:cubicBezTo>
                  <a:pt x="4218673" y="1934852"/>
                  <a:pt x="4217239" y="1934852"/>
                  <a:pt x="4217239" y="1934852"/>
                </a:cubicBezTo>
                <a:cubicBezTo>
                  <a:pt x="4214369" y="1933326"/>
                  <a:pt x="4214010" y="1932564"/>
                  <a:pt x="4215087" y="1932088"/>
                </a:cubicBezTo>
                <a:lnTo>
                  <a:pt x="4221504" y="1931046"/>
                </a:lnTo>
                <a:lnTo>
                  <a:pt x="4222080" y="1928499"/>
                </a:lnTo>
                <a:cubicBezTo>
                  <a:pt x="4223305" y="1925905"/>
                  <a:pt x="4224999" y="1923791"/>
                  <a:pt x="4226882" y="1922638"/>
                </a:cubicBezTo>
                <a:cubicBezTo>
                  <a:pt x="4228766" y="1921485"/>
                  <a:pt x="4230837" y="1921292"/>
                  <a:pt x="4232815" y="1922541"/>
                </a:cubicBezTo>
                <a:close/>
                <a:moveTo>
                  <a:pt x="5017896" y="1916915"/>
                </a:moveTo>
                <a:cubicBezTo>
                  <a:pt x="5017896" y="1928395"/>
                  <a:pt x="4986807" y="1934134"/>
                  <a:pt x="4980589" y="1928395"/>
                </a:cubicBezTo>
                <a:cubicBezTo>
                  <a:pt x="4999242" y="1922655"/>
                  <a:pt x="5005461" y="1928395"/>
                  <a:pt x="5017896" y="1916915"/>
                </a:cubicBezTo>
                <a:close/>
                <a:moveTo>
                  <a:pt x="4243922" y="1912644"/>
                </a:moveTo>
                <a:cubicBezTo>
                  <a:pt x="4249661" y="1918384"/>
                  <a:pt x="4249661" y="1918384"/>
                  <a:pt x="4249661" y="1924124"/>
                </a:cubicBezTo>
                <a:cubicBezTo>
                  <a:pt x="4249661" y="1924124"/>
                  <a:pt x="4243922" y="1924124"/>
                  <a:pt x="4238182" y="1929863"/>
                </a:cubicBezTo>
                <a:cubicBezTo>
                  <a:pt x="4238182" y="1924124"/>
                  <a:pt x="4243922" y="1918384"/>
                  <a:pt x="4238182" y="1918384"/>
                </a:cubicBezTo>
                <a:cubicBezTo>
                  <a:pt x="4238182" y="1912644"/>
                  <a:pt x="4243922" y="1918384"/>
                  <a:pt x="4243922" y="1912644"/>
                </a:cubicBezTo>
                <a:close/>
                <a:moveTo>
                  <a:pt x="5035112" y="1911176"/>
                </a:moveTo>
                <a:cubicBezTo>
                  <a:pt x="5046592" y="1911176"/>
                  <a:pt x="5023634" y="1928395"/>
                  <a:pt x="5023634" y="1922655"/>
                </a:cubicBezTo>
                <a:cubicBezTo>
                  <a:pt x="5017894" y="1911176"/>
                  <a:pt x="5035112" y="1916915"/>
                  <a:pt x="5035112" y="1911176"/>
                </a:cubicBezTo>
                <a:close/>
                <a:moveTo>
                  <a:pt x="4616132" y="1911176"/>
                </a:moveTo>
                <a:cubicBezTo>
                  <a:pt x="4621871" y="1922655"/>
                  <a:pt x="4604652" y="1916915"/>
                  <a:pt x="4610392" y="1922655"/>
                </a:cubicBezTo>
                <a:cubicBezTo>
                  <a:pt x="4604652" y="1922655"/>
                  <a:pt x="4604652" y="1922655"/>
                  <a:pt x="4598913" y="1916915"/>
                </a:cubicBezTo>
                <a:cubicBezTo>
                  <a:pt x="4604652" y="1916915"/>
                  <a:pt x="4610392" y="1916915"/>
                  <a:pt x="4616132" y="1911176"/>
                </a:cubicBezTo>
                <a:close/>
                <a:moveTo>
                  <a:pt x="4712509" y="1905437"/>
                </a:moveTo>
                <a:lnTo>
                  <a:pt x="4716044" y="1906285"/>
                </a:lnTo>
                <a:lnTo>
                  <a:pt x="4714097" y="1906961"/>
                </a:lnTo>
                <a:lnTo>
                  <a:pt x="4712364" y="1905947"/>
                </a:lnTo>
                <a:close/>
                <a:moveTo>
                  <a:pt x="4748500" y="1905078"/>
                </a:moveTo>
                <a:cubicBezTo>
                  <a:pt x="4760337" y="1905078"/>
                  <a:pt x="4742580" y="1911178"/>
                  <a:pt x="4736662" y="1911178"/>
                </a:cubicBezTo>
                <a:lnTo>
                  <a:pt x="4740001" y="1906017"/>
                </a:lnTo>
                <a:lnTo>
                  <a:pt x="4744800" y="1907367"/>
                </a:lnTo>
                <a:cubicBezTo>
                  <a:pt x="4747020" y="1906604"/>
                  <a:pt x="4748500" y="1905078"/>
                  <a:pt x="4748500" y="1905078"/>
                </a:cubicBezTo>
                <a:close/>
                <a:moveTo>
                  <a:pt x="4656309" y="1901132"/>
                </a:moveTo>
                <a:lnTo>
                  <a:pt x="4656992" y="1902157"/>
                </a:lnTo>
                <a:lnTo>
                  <a:pt x="4653439" y="1905437"/>
                </a:lnTo>
                <a:cubicBezTo>
                  <a:pt x="4653439" y="1902567"/>
                  <a:pt x="4654874" y="1901132"/>
                  <a:pt x="4656309" y="1901132"/>
                </a:cubicBezTo>
                <a:close/>
                <a:moveTo>
                  <a:pt x="4743897" y="1899997"/>
                </a:moveTo>
                <a:lnTo>
                  <a:pt x="4740001" y="1906017"/>
                </a:lnTo>
                <a:lnTo>
                  <a:pt x="4736662" y="1905078"/>
                </a:lnTo>
                <a:close/>
                <a:moveTo>
                  <a:pt x="4205863" y="1892604"/>
                </a:moveTo>
                <a:cubicBezTo>
                  <a:pt x="4205863" y="1895586"/>
                  <a:pt x="4204743" y="1898195"/>
                  <a:pt x="4203248" y="1900618"/>
                </a:cubicBezTo>
                <a:lnTo>
                  <a:pt x="4201208" y="1903514"/>
                </a:lnTo>
                <a:lnTo>
                  <a:pt x="4205863" y="1901322"/>
                </a:lnTo>
                <a:lnTo>
                  <a:pt x="4205863" y="1900804"/>
                </a:lnTo>
                <a:cubicBezTo>
                  <a:pt x="4205863" y="1898567"/>
                  <a:pt x="4205863" y="1895585"/>
                  <a:pt x="4205863" y="1892604"/>
                </a:cubicBezTo>
                <a:close/>
                <a:moveTo>
                  <a:pt x="4676397" y="1888218"/>
                </a:moveTo>
                <a:cubicBezTo>
                  <a:pt x="4670657" y="1893957"/>
                  <a:pt x="4664918" y="1899697"/>
                  <a:pt x="4659178" y="1905437"/>
                </a:cubicBezTo>
                <a:lnTo>
                  <a:pt x="4656992" y="1902157"/>
                </a:lnTo>
                <a:lnTo>
                  <a:pt x="4662766" y="1896827"/>
                </a:lnTo>
                <a:cubicBezTo>
                  <a:pt x="4666353" y="1893957"/>
                  <a:pt x="4670657" y="1891088"/>
                  <a:pt x="4676397" y="1888218"/>
                </a:cubicBezTo>
                <a:close/>
                <a:moveTo>
                  <a:pt x="4234445" y="1886081"/>
                </a:moveTo>
                <a:cubicBezTo>
                  <a:pt x="4230336" y="1885708"/>
                  <a:pt x="4226973" y="1892045"/>
                  <a:pt x="4219874" y="1897636"/>
                </a:cubicBezTo>
                <a:lnTo>
                  <a:pt x="4211533" y="1901742"/>
                </a:lnTo>
                <a:lnTo>
                  <a:pt x="4213017" y="1902729"/>
                </a:lnTo>
                <a:cubicBezTo>
                  <a:pt x="4214231" y="1904406"/>
                  <a:pt x="4215165" y="1906643"/>
                  <a:pt x="4215539" y="1908880"/>
                </a:cubicBezTo>
                <a:lnTo>
                  <a:pt x="4214834" y="1914034"/>
                </a:lnTo>
                <a:lnTo>
                  <a:pt x="4216521" y="1915481"/>
                </a:lnTo>
                <a:cubicBezTo>
                  <a:pt x="4217598" y="1916198"/>
                  <a:pt x="4218494" y="1916556"/>
                  <a:pt x="4218763" y="1916019"/>
                </a:cubicBezTo>
                <a:lnTo>
                  <a:pt x="4217548" y="1912160"/>
                </a:lnTo>
                <a:lnTo>
                  <a:pt x="4216654" y="1911609"/>
                </a:lnTo>
                <a:lnTo>
                  <a:pt x="4217334" y="1910505"/>
                </a:lnTo>
                <a:lnTo>
                  <a:pt x="4217956" y="1906154"/>
                </a:lnTo>
                <a:lnTo>
                  <a:pt x="4219628" y="1905915"/>
                </a:lnTo>
                <a:lnTo>
                  <a:pt x="4220020" y="1905017"/>
                </a:lnTo>
                <a:cubicBezTo>
                  <a:pt x="4220207" y="1903604"/>
                  <a:pt x="4219833" y="1902098"/>
                  <a:pt x="4218337" y="1900591"/>
                </a:cubicBezTo>
                <a:lnTo>
                  <a:pt x="4240013" y="1891065"/>
                </a:lnTo>
                <a:close/>
                <a:moveTo>
                  <a:pt x="4796926" y="1882479"/>
                </a:moveTo>
                <a:cubicBezTo>
                  <a:pt x="4796926" y="1888218"/>
                  <a:pt x="4779707" y="1893957"/>
                  <a:pt x="4773968" y="1893957"/>
                </a:cubicBezTo>
                <a:cubicBezTo>
                  <a:pt x="4773968" y="1888218"/>
                  <a:pt x="4791186" y="1888218"/>
                  <a:pt x="4796926" y="1882479"/>
                </a:cubicBezTo>
                <a:close/>
                <a:moveTo>
                  <a:pt x="4283244" y="1882479"/>
                </a:moveTo>
                <a:cubicBezTo>
                  <a:pt x="4283244" y="1888218"/>
                  <a:pt x="4270946" y="1882479"/>
                  <a:pt x="4277094" y="1893957"/>
                </a:cubicBezTo>
                <a:cubicBezTo>
                  <a:pt x="4270946" y="1888218"/>
                  <a:pt x="4258646" y="1893957"/>
                  <a:pt x="4258646" y="1905437"/>
                </a:cubicBezTo>
                <a:cubicBezTo>
                  <a:pt x="4252496" y="1899697"/>
                  <a:pt x="4252496" y="1899697"/>
                  <a:pt x="4246347" y="1899697"/>
                </a:cubicBezTo>
                <a:cubicBezTo>
                  <a:pt x="4252496" y="1888218"/>
                  <a:pt x="4270946" y="1888218"/>
                  <a:pt x="4283244" y="1882479"/>
                </a:cubicBezTo>
                <a:close/>
                <a:moveTo>
                  <a:pt x="5021264" y="1881869"/>
                </a:moveTo>
                <a:lnTo>
                  <a:pt x="5006916" y="1886640"/>
                </a:lnTo>
                <a:cubicBezTo>
                  <a:pt x="4959091" y="1898567"/>
                  <a:pt x="4911267" y="1922424"/>
                  <a:pt x="4863444" y="1928389"/>
                </a:cubicBezTo>
                <a:cubicBezTo>
                  <a:pt x="4890345" y="1916460"/>
                  <a:pt x="4926213" y="1903041"/>
                  <a:pt x="4962081" y="1892604"/>
                </a:cubicBezTo>
                <a:close/>
                <a:moveTo>
                  <a:pt x="4736662" y="1880686"/>
                </a:moveTo>
                <a:cubicBezTo>
                  <a:pt x="4739621" y="1880686"/>
                  <a:pt x="4744061" y="1882210"/>
                  <a:pt x="4747020" y="1882210"/>
                </a:cubicBezTo>
                <a:lnTo>
                  <a:pt x="4749152" y="1881113"/>
                </a:lnTo>
                <a:lnTo>
                  <a:pt x="4756638" y="1886022"/>
                </a:lnTo>
                <a:cubicBezTo>
                  <a:pt x="4758858" y="1886785"/>
                  <a:pt x="4760337" y="1886785"/>
                  <a:pt x="4760337" y="1886785"/>
                </a:cubicBezTo>
                <a:cubicBezTo>
                  <a:pt x="4760337" y="1886785"/>
                  <a:pt x="4757379" y="1889834"/>
                  <a:pt x="4752938" y="1893645"/>
                </a:cubicBezTo>
                <a:lnTo>
                  <a:pt x="4743897" y="1899997"/>
                </a:lnTo>
                <a:lnTo>
                  <a:pt x="4748500" y="1892882"/>
                </a:lnTo>
                <a:lnTo>
                  <a:pt x="4742370" y="1888289"/>
                </a:lnTo>
                <a:lnTo>
                  <a:pt x="4742402" y="1888218"/>
                </a:lnTo>
                <a:lnTo>
                  <a:pt x="4742296" y="1888234"/>
                </a:lnTo>
                <a:lnTo>
                  <a:pt x="4740361" y="1886784"/>
                </a:lnTo>
                <a:cubicBezTo>
                  <a:pt x="4738142" y="1885259"/>
                  <a:pt x="4736662" y="1883735"/>
                  <a:pt x="4736662" y="1880686"/>
                </a:cubicBezTo>
                <a:close/>
                <a:moveTo>
                  <a:pt x="4241732" y="1880676"/>
                </a:moveTo>
                <a:cubicBezTo>
                  <a:pt x="4238743" y="1880676"/>
                  <a:pt x="4238743" y="1882167"/>
                  <a:pt x="4239490" y="1884403"/>
                </a:cubicBezTo>
                <a:lnTo>
                  <a:pt x="4241172" y="1890555"/>
                </a:lnTo>
                <a:lnTo>
                  <a:pt x="4251121" y="1886182"/>
                </a:lnTo>
                <a:lnTo>
                  <a:pt x="4248457" y="1885708"/>
                </a:lnTo>
                <a:cubicBezTo>
                  <a:pt x="4246215" y="1884031"/>
                  <a:pt x="4250699" y="1880676"/>
                  <a:pt x="4241732" y="1880676"/>
                </a:cubicBezTo>
                <a:close/>
                <a:moveTo>
                  <a:pt x="4749906" y="1880379"/>
                </a:moveTo>
                <a:lnTo>
                  <a:pt x="4749980" y="1880686"/>
                </a:lnTo>
                <a:lnTo>
                  <a:pt x="4749152" y="1881113"/>
                </a:lnTo>
                <a:lnTo>
                  <a:pt x="4748500" y="1880686"/>
                </a:lnTo>
                <a:close/>
                <a:moveTo>
                  <a:pt x="5036058" y="1876949"/>
                </a:moveTo>
                <a:lnTo>
                  <a:pt x="5042783" y="1877964"/>
                </a:lnTo>
                <a:lnTo>
                  <a:pt x="5021264" y="1881869"/>
                </a:lnTo>
                <a:close/>
                <a:moveTo>
                  <a:pt x="4344362" y="1876775"/>
                </a:moveTo>
                <a:cubicBezTo>
                  <a:pt x="4344362" y="1877941"/>
                  <a:pt x="4344362" y="1878013"/>
                  <a:pt x="4344324" y="1877444"/>
                </a:cubicBezTo>
                <a:lnTo>
                  <a:pt x="4344286" y="1876993"/>
                </a:lnTo>
                <a:close/>
                <a:moveTo>
                  <a:pt x="4321404" y="1876775"/>
                </a:moveTo>
                <a:cubicBezTo>
                  <a:pt x="4327143" y="1876775"/>
                  <a:pt x="4330013" y="1878329"/>
                  <a:pt x="4332882" y="1879106"/>
                </a:cubicBezTo>
                <a:lnTo>
                  <a:pt x="4344270" y="1876794"/>
                </a:lnTo>
                <a:lnTo>
                  <a:pt x="4344286" y="1876993"/>
                </a:lnTo>
                <a:lnTo>
                  <a:pt x="4341581" y="1884838"/>
                </a:lnTo>
                <a:cubicBezTo>
                  <a:pt x="4336470" y="1891542"/>
                  <a:pt x="4325709" y="1893874"/>
                  <a:pt x="4321404" y="1889210"/>
                </a:cubicBezTo>
                <a:cubicBezTo>
                  <a:pt x="4318535" y="1886100"/>
                  <a:pt x="4319968" y="1884547"/>
                  <a:pt x="4321404" y="1882993"/>
                </a:cubicBezTo>
                <a:lnTo>
                  <a:pt x="4321404" y="1878212"/>
                </a:lnTo>
                <a:lnTo>
                  <a:pt x="4315428" y="1888252"/>
                </a:lnTo>
                <a:cubicBezTo>
                  <a:pt x="4313932" y="1891122"/>
                  <a:pt x="4312437" y="1892556"/>
                  <a:pt x="4309449" y="1889687"/>
                </a:cubicBezTo>
                <a:cubicBezTo>
                  <a:pt x="4309449" y="1895426"/>
                  <a:pt x="4315428" y="1895426"/>
                  <a:pt x="4315428" y="1895426"/>
                </a:cubicBezTo>
                <a:cubicBezTo>
                  <a:pt x="4303469" y="1906905"/>
                  <a:pt x="4285533" y="1906905"/>
                  <a:pt x="4273577" y="1901166"/>
                </a:cubicBezTo>
                <a:cubicBezTo>
                  <a:pt x="4267597" y="1906905"/>
                  <a:pt x="4273577" y="1906905"/>
                  <a:pt x="4273577" y="1912644"/>
                </a:cubicBezTo>
                <a:cubicBezTo>
                  <a:pt x="4267597" y="1918384"/>
                  <a:pt x="4267597" y="1918384"/>
                  <a:pt x="4261619" y="1918384"/>
                </a:cubicBezTo>
                <a:cubicBezTo>
                  <a:pt x="4261619" y="1912644"/>
                  <a:pt x="4258630" y="1911210"/>
                  <a:pt x="4255640" y="1910492"/>
                </a:cubicBezTo>
                <a:lnTo>
                  <a:pt x="4252215" y="1908437"/>
                </a:lnTo>
                <a:lnTo>
                  <a:pt x="4246347" y="1911176"/>
                </a:lnTo>
                <a:cubicBezTo>
                  <a:pt x="4246347" y="1905437"/>
                  <a:pt x="4240197" y="1905437"/>
                  <a:pt x="4240197" y="1899697"/>
                </a:cubicBezTo>
                <a:cubicBezTo>
                  <a:pt x="4246347" y="1899697"/>
                  <a:pt x="4246347" y="1905437"/>
                  <a:pt x="4258646" y="1905437"/>
                </a:cubicBezTo>
                <a:lnTo>
                  <a:pt x="4258206" y="1905642"/>
                </a:lnTo>
                <a:lnTo>
                  <a:pt x="4260592" y="1906905"/>
                </a:lnTo>
                <a:cubicBezTo>
                  <a:pt x="4261245" y="1907981"/>
                  <a:pt x="4261619" y="1909775"/>
                  <a:pt x="4261619" y="1912644"/>
                </a:cubicBezTo>
                <a:cubicBezTo>
                  <a:pt x="4267597" y="1895426"/>
                  <a:pt x="4279555" y="1901166"/>
                  <a:pt x="4285533" y="1889687"/>
                </a:cubicBezTo>
                <a:cubicBezTo>
                  <a:pt x="4291513" y="1895426"/>
                  <a:pt x="4285533" y="1895426"/>
                  <a:pt x="4297491" y="1889687"/>
                </a:cubicBezTo>
                <a:cubicBezTo>
                  <a:pt x="4297491" y="1895426"/>
                  <a:pt x="4291513" y="1895426"/>
                  <a:pt x="4291513" y="1901166"/>
                </a:cubicBezTo>
                <a:cubicBezTo>
                  <a:pt x="4303469" y="1906905"/>
                  <a:pt x="4309449" y="1889687"/>
                  <a:pt x="4309449" y="1883947"/>
                </a:cubicBezTo>
                <a:lnTo>
                  <a:pt x="4321404" y="1878208"/>
                </a:lnTo>
                <a:close/>
                <a:moveTo>
                  <a:pt x="4713704" y="1876739"/>
                </a:moveTo>
                <a:cubicBezTo>
                  <a:pt x="4713704" y="1882479"/>
                  <a:pt x="4701269" y="1882479"/>
                  <a:pt x="4701269" y="1882479"/>
                </a:cubicBezTo>
                <a:cubicBezTo>
                  <a:pt x="4676397" y="1899697"/>
                  <a:pt x="4701269" y="1870999"/>
                  <a:pt x="4713704" y="1876739"/>
                </a:cubicBezTo>
                <a:close/>
                <a:moveTo>
                  <a:pt x="4344251" y="1876564"/>
                </a:moveTo>
                <a:lnTo>
                  <a:pt x="4344362" y="1876775"/>
                </a:lnTo>
                <a:lnTo>
                  <a:pt x="4344270" y="1876794"/>
                </a:lnTo>
                <a:close/>
                <a:moveTo>
                  <a:pt x="4357276" y="1870139"/>
                </a:moveTo>
                <a:cubicBezTo>
                  <a:pt x="4360864" y="1869241"/>
                  <a:pt x="4364451" y="1871035"/>
                  <a:pt x="4364451" y="1878210"/>
                </a:cubicBezTo>
                <a:cubicBezTo>
                  <a:pt x="4364451" y="1878210"/>
                  <a:pt x="4357276" y="1878210"/>
                  <a:pt x="4350101" y="1878210"/>
                </a:cubicBezTo>
                <a:cubicBezTo>
                  <a:pt x="4350101" y="1874622"/>
                  <a:pt x="4353689" y="1871035"/>
                  <a:pt x="4357276" y="1870139"/>
                </a:cubicBezTo>
                <a:close/>
                <a:moveTo>
                  <a:pt x="4259666" y="1868747"/>
                </a:moveTo>
                <a:cubicBezTo>
                  <a:pt x="4253688" y="1874713"/>
                  <a:pt x="4253688" y="1874713"/>
                  <a:pt x="4247710" y="1874713"/>
                </a:cubicBezTo>
                <a:cubicBezTo>
                  <a:pt x="4253688" y="1880676"/>
                  <a:pt x="4253688" y="1874713"/>
                  <a:pt x="4259666" y="1874713"/>
                </a:cubicBezTo>
                <a:cubicBezTo>
                  <a:pt x="4259666" y="1877695"/>
                  <a:pt x="4258172" y="1879185"/>
                  <a:pt x="4256677" y="1880676"/>
                </a:cubicBezTo>
                <a:lnTo>
                  <a:pt x="4254707" y="1884606"/>
                </a:lnTo>
                <a:lnTo>
                  <a:pt x="4264882" y="1880134"/>
                </a:lnTo>
                <a:lnTo>
                  <a:pt x="4260413" y="1876949"/>
                </a:lnTo>
                <a:cubicBezTo>
                  <a:pt x="4259666" y="1874712"/>
                  <a:pt x="4259666" y="1871729"/>
                  <a:pt x="4259666" y="1868747"/>
                </a:cubicBezTo>
                <a:close/>
                <a:moveTo>
                  <a:pt x="4341941" y="1867155"/>
                </a:moveTo>
                <a:cubicBezTo>
                  <a:pt x="4343152" y="1867884"/>
                  <a:pt x="4343757" y="1871455"/>
                  <a:pt x="4344059" y="1874261"/>
                </a:cubicBezTo>
                <a:lnTo>
                  <a:pt x="4344251" y="1876564"/>
                </a:lnTo>
                <a:lnTo>
                  <a:pt x="4341492" y="1871333"/>
                </a:lnTo>
                <a:cubicBezTo>
                  <a:pt x="4340057" y="1870556"/>
                  <a:pt x="4338622" y="1870556"/>
                  <a:pt x="4338622" y="1870556"/>
                </a:cubicBezTo>
                <a:cubicBezTo>
                  <a:pt x="4340057" y="1867446"/>
                  <a:pt x="4341132" y="1866669"/>
                  <a:pt x="4341941" y="1867155"/>
                </a:cubicBezTo>
                <a:close/>
                <a:moveTo>
                  <a:pt x="4728321" y="1864497"/>
                </a:moveTo>
                <a:cubicBezTo>
                  <a:pt x="4729845" y="1865020"/>
                  <a:pt x="4730921" y="1866694"/>
                  <a:pt x="4730921" y="1870043"/>
                </a:cubicBezTo>
                <a:cubicBezTo>
                  <a:pt x="4725181" y="1870043"/>
                  <a:pt x="4725181" y="1870043"/>
                  <a:pt x="4719442" y="1876739"/>
                </a:cubicBezTo>
                <a:cubicBezTo>
                  <a:pt x="4716573" y="1873391"/>
                  <a:pt x="4719442" y="1868369"/>
                  <a:pt x="4723030" y="1865857"/>
                </a:cubicBezTo>
                <a:cubicBezTo>
                  <a:pt x="4724823" y="1864601"/>
                  <a:pt x="4726796" y="1863973"/>
                  <a:pt x="4728321" y="1864497"/>
                </a:cubicBezTo>
                <a:close/>
                <a:moveTo>
                  <a:pt x="4283577" y="1862784"/>
                </a:moveTo>
                <a:cubicBezTo>
                  <a:pt x="4277599" y="1862784"/>
                  <a:pt x="4271620" y="1868747"/>
                  <a:pt x="4277599" y="1874713"/>
                </a:cubicBezTo>
                <a:cubicBezTo>
                  <a:pt x="4271620" y="1874713"/>
                  <a:pt x="4271620" y="1868747"/>
                  <a:pt x="4271620" y="1868747"/>
                </a:cubicBezTo>
                <a:cubicBezTo>
                  <a:pt x="4265643" y="1871729"/>
                  <a:pt x="4264149" y="1873221"/>
                  <a:pt x="4264148" y="1874712"/>
                </a:cubicBezTo>
                <a:lnTo>
                  <a:pt x="4265444" y="1879888"/>
                </a:lnTo>
                <a:lnTo>
                  <a:pt x="4271257" y="1877333"/>
                </a:lnTo>
                <a:lnTo>
                  <a:pt x="4288624" y="1870331"/>
                </a:lnTo>
                <a:lnTo>
                  <a:pt x="4288621" y="1870332"/>
                </a:lnTo>
                <a:cubicBezTo>
                  <a:pt x="4283577" y="1869494"/>
                  <a:pt x="4283577" y="1862784"/>
                  <a:pt x="4283577" y="1862784"/>
                </a:cubicBezTo>
                <a:close/>
                <a:moveTo>
                  <a:pt x="4320849" y="1862728"/>
                </a:moveTo>
                <a:lnTo>
                  <a:pt x="4314451" y="1864339"/>
                </a:lnTo>
                <a:lnTo>
                  <a:pt x="4311969" y="1866728"/>
                </a:lnTo>
                <a:close/>
                <a:moveTo>
                  <a:pt x="4789932" y="1862391"/>
                </a:moveTo>
                <a:cubicBezTo>
                  <a:pt x="4789932" y="1862391"/>
                  <a:pt x="4789932" y="1868489"/>
                  <a:pt x="4795852" y="1868489"/>
                </a:cubicBezTo>
                <a:cubicBezTo>
                  <a:pt x="4831364" y="1862391"/>
                  <a:pt x="4784013" y="1874588"/>
                  <a:pt x="4772176" y="1880686"/>
                </a:cubicBezTo>
                <a:cubicBezTo>
                  <a:pt x="4767736" y="1885259"/>
                  <a:pt x="4763297" y="1879543"/>
                  <a:pt x="4756361" y="1878971"/>
                </a:cubicBezTo>
                <a:lnTo>
                  <a:pt x="4749906" y="1880379"/>
                </a:lnTo>
                <a:lnTo>
                  <a:pt x="4748500" y="1874588"/>
                </a:lnTo>
                <a:cubicBezTo>
                  <a:pt x="4754419" y="1874588"/>
                  <a:pt x="4758858" y="1874588"/>
                  <a:pt x="4764037" y="1873826"/>
                </a:cubicBezTo>
                <a:lnTo>
                  <a:pt x="4783397" y="1868653"/>
                </a:lnTo>
                <a:lnTo>
                  <a:pt x="4782534" y="1870013"/>
                </a:lnTo>
                <a:cubicBezTo>
                  <a:pt x="4781054" y="1873063"/>
                  <a:pt x="4781054" y="1874587"/>
                  <a:pt x="4784013" y="1868489"/>
                </a:cubicBezTo>
                <a:lnTo>
                  <a:pt x="4783397" y="1868653"/>
                </a:lnTo>
                <a:lnTo>
                  <a:pt x="4785678" y="1865059"/>
                </a:lnTo>
                <a:cubicBezTo>
                  <a:pt x="4786972" y="1863535"/>
                  <a:pt x="4788452" y="1862391"/>
                  <a:pt x="4789932" y="1862391"/>
                </a:cubicBezTo>
                <a:close/>
                <a:moveTo>
                  <a:pt x="5130592" y="1859557"/>
                </a:moveTo>
                <a:lnTo>
                  <a:pt x="5130960" y="1859802"/>
                </a:lnTo>
                <a:cubicBezTo>
                  <a:pt x="5130960" y="1861293"/>
                  <a:pt x="5129465" y="1862784"/>
                  <a:pt x="5126476" y="1862784"/>
                </a:cubicBezTo>
                <a:close/>
                <a:moveTo>
                  <a:pt x="5121432" y="1851881"/>
                </a:moveTo>
                <a:cubicBezTo>
                  <a:pt x="5124234" y="1851416"/>
                  <a:pt x="5127223" y="1851974"/>
                  <a:pt x="5129466" y="1853092"/>
                </a:cubicBezTo>
                <a:cubicBezTo>
                  <a:pt x="5131707" y="1854211"/>
                  <a:pt x="5133201" y="1855888"/>
                  <a:pt x="5133014" y="1857659"/>
                </a:cubicBezTo>
                <a:lnTo>
                  <a:pt x="5130592" y="1859557"/>
                </a:lnTo>
                <a:lnTo>
                  <a:pt x="5126476" y="1856820"/>
                </a:lnTo>
                <a:cubicBezTo>
                  <a:pt x="5114520" y="1868747"/>
                  <a:pt x="5108542" y="1856820"/>
                  <a:pt x="5096586" y="1868747"/>
                </a:cubicBezTo>
                <a:cubicBezTo>
                  <a:pt x="5096586" y="1856820"/>
                  <a:pt x="5060717" y="1868747"/>
                  <a:pt x="5060717" y="1880676"/>
                </a:cubicBezTo>
                <a:lnTo>
                  <a:pt x="5042783" y="1877964"/>
                </a:lnTo>
                <a:lnTo>
                  <a:pt x="5060717" y="1874713"/>
                </a:lnTo>
                <a:cubicBezTo>
                  <a:pt x="5078651" y="1856820"/>
                  <a:pt x="5096586" y="1856820"/>
                  <a:pt x="5114520" y="1856820"/>
                </a:cubicBezTo>
                <a:cubicBezTo>
                  <a:pt x="5116015" y="1853838"/>
                  <a:pt x="5118630" y="1852347"/>
                  <a:pt x="5121432" y="1851881"/>
                </a:cubicBezTo>
                <a:close/>
                <a:moveTo>
                  <a:pt x="5149806" y="1851151"/>
                </a:moveTo>
                <a:cubicBezTo>
                  <a:pt x="5161878" y="1863109"/>
                  <a:pt x="5192061" y="1845173"/>
                  <a:pt x="5210169" y="1857131"/>
                </a:cubicBezTo>
                <a:cubicBezTo>
                  <a:pt x="5204134" y="1857131"/>
                  <a:pt x="5186024" y="1875067"/>
                  <a:pt x="5173952" y="1863109"/>
                </a:cubicBezTo>
                <a:cubicBezTo>
                  <a:pt x="5161878" y="1881045"/>
                  <a:pt x="5137733" y="1887023"/>
                  <a:pt x="5119625" y="1887023"/>
                </a:cubicBezTo>
                <a:cubicBezTo>
                  <a:pt x="5101515" y="1904959"/>
                  <a:pt x="5077370" y="1898981"/>
                  <a:pt x="5041151" y="1916917"/>
                </a:cubicBezTo>
                <a:cubicBezTo>
                  <a:pt x="5035115" y="1910939"/>
                  <a:pt x="5053224" y="1910939"/>
                  <a:pt x="5041151" y="1910939"/>
                </a:cubicBezTo>
                <a:cubicBezTo>
                  <a:pt x="5041151" y="1898981"/>
                  <a:pt x="5065296" y="1916917"/>
                  <a:pt x="5059261" y="1904959"/>
                </a:cubicBezTo>
                <a:cubicBezTo>
                  <a:pt x="5089442" y="1893003"/>
                  <a:pt x="5137733" y="1887023"/>
                  <a:pt x="5167916" y="1863109"/>
                </a:cubicBezTo>
                <a:cubicBezTo>
                  <a:pt x="5161878" y="1863109"/>
                  <a:pt x="5149806" y="1857131"/>
                  <a:pt x="5137733" y="1863109"/>
                </a:cubicBezTo>
                <a:cubicBezTo>
                  <a:pt x="5137733" y="1851151"/>
                  <a:pt x="5149806" y="1857131"/>
                  <a:pt x="5149806" y="1851151"/>
                </a:cubicBezTo>
                <a:close/>
                <a:moveTo>
                  <a:pt x="4808404" y="1850912"/>
                </a:moveTo>
                <a:cubicBezTo>
                  <a:pt x="4814144" y="1850912"/>
                  <a:pt x="4814144" y="1850912"/>
                  <a:pt x="4819884" y="1850912"/>
                </a:cubicBezTo>
                <a:cubicBezTo>
                  <a:pt x="4808404" y="1864306"/>
                  <a:pt x="4791186" y="1871001"/>
                  <a:pt x="4808404" y="1850912"/>
                </a:cubicBezTo>
                <a:close/>
                <a:moveTo>
                  <a:pt x="4441934" y="1840902"/>
                </a:moveTo>
                <a:cubicBezTo>
                  <a:pt x="4435974" y="1852381"/>
                  <a:pt x="4406172" y="1863860"/>
                  <a:pt x="4400212" y="1852381"/>
                </a:cubicBezTo>
                <a:cubicBezTo>
                  <a:pt x="4400212" y="1869600"/>
                  <a:pt x="4376372" y="1863860"/>
                  <a:pt x="4370411" y="1869600"/>
                </a:cubicBezTo>
                <a:cubicBezTo>
                  <a:pt x="4364451" y="1869600"/>
                  <a:pt x="4370411" y="1863860"/>
                  <a:pt x="4370411" y="1858120"/>
                </a:cubicBezTo>
                <a:cubicBezTo>
                  <a:pt x="4376372" y="1863860"/>
                  <a:pt x="4382332" y="1863860"/>
                  <a:pt x="4388292" y="1852381"/>
                </a:cubicBezTo>
                <a:cubicBezTo>
                  <a:pt x="4388292" y="1852381"/>
                  <a:pt x="4388292" y="1858120"/>
                  <a:pt x="4388292" y="1858120"/>
                </a:cubicBezTo>
                <a:cubicBezTo>
                  <a:pt x="4400212" y="1858120"/>
                  <a:pt x="4400212" y="1846642"/>
                  <a:pt x="4406172" y="1846642"/>
                </a:cubicBezTo>
                <a:cubicBezTo>
                  <a:pt x="4424054" y="1858120"/>
                  <a:pt x="4424054" y="1835163"/>
                  <a:pt x="4441934" y="1840902"/>
                </a:cubicBezTo>
                <a:close/>
                <a:moveTo>
                  <a:pt x="4312439" y="1837344"/>
                </a:moveTo>
                <a:cubicBezTo>
                  <a:pt x="4310478" y="1838182"/>
                  <a:pt x="4305994" y="1844892"/>
                  <a:pt x="4301510" y="1844892"/>
                </a:cubicBezTo>
                <a:cubicBezTo>
                  <a:pt x="4301510" y="1850856"/>
                  <a:pt x="4307488" y="1850856"/>
                  <a:pt x="4307488" y="1844892"/>
                </a:cubicBezTo>
                <a:cubicBezTo>
                  <a:pt x="4319445" y="1844892"/>
                  <a:pt x="4301510" y="1850856"/>
                  <a:pt x="4301510" y="1856820"/>
                </a:cubicBezTo>
                <a:cubicBezTo>
                  <a:pt x="4301510" y="1850856"/>
                  <a:pt x="4295532" y="1844892"/>
                  <a:pt x="4289554" y="1850856"/>
                </a:cubicBezTo>
                <a:cubicBezTo>
                  <a:pt x="4289554" y="1850856"/>
                  <a:pt x="4295532" y="1850856"/>
                  <a:pt x="4295532" y="1856820"/>
                </a:cubicBezTo>
                <a:cubicBezTo>
                  <a:pt x="4291049" y="1861293"/>
                  <a:pt x="4289928" y="1859056"/>
                  <a:pt x="4292170" y="1862690"/>
                </a:cubicBezTo>
                <a:lnTo>
                  <a:pt x="4294988" y="1867766"/>
                </a:lnTo>
                <a:lnTo>
                  <a:pt x="4327541" y="1854641"/>
                </a:lnTo>
                <a:lnTo>
                  <a:pt x="4337199" y="1851520"/>
                </a:lnTo>
                <a:lnTo>
                  <a:pt x="4349335" y="1838927"/>
                </a:lnTo>
                <a:cubicBezTo>
                  <a:pt x="4337379" y="1838927"/>
                  <a:pt x="4325423" y="1850856"/>
                  <a:pt x="4313467" y="1856820"/>
                </a:cubicBezTo>
                <a:cubicBezTo>
                  <a:pt x="4307488" y="1856820"/>
                  <a:pt x="4319445" y="1844892"/>
                  <a:pt x="4313467" y="1838927"/>
                </a:cubicBezTo>
                <a:cubicBezTo>
                  <a:pt x="4313467" y="1837436"/>
                  <a:pt x="4313093" y="1837063"/>
                  <a:pt x="4312439" y="1837344"/>
                </a:cubicBezTo>
                <a:close/>
                <a:moveTo>
                  <a:pt x="4459151" y="1829725"/>
                </a:moveTo>
                <a:lnTo>
                  <a:pt x="4459151" y="1840902"/>
                </a:lnTo>
                <a:cubicBezTo>
                  <a:pt x="4447672" y="1840902"/>
                  <a:pt x="4447672" y="1829423"/>
                  <a:pt x="4441933" y="1835163"/>
                </a:cubicBezTo>
                <a:cubicBezTo>
                  <a:pt x="4441933" y="1835163"/>
                  <a:pt x="4446238" y="1832292"/>
                  <a:pt x="4451261" y="1830141"/>
                </a:cubicBezTo>
                <a:close/>
                <a:moveTo>
                  <a:pt x="4459151" y="1829423"/>
                </a:moveTo>
                <a:cubicBezTo>
                  <a:pt x="4459151" y="1829423"/>
                  <a:pt x="4459151" y="1829423"/>
                  <a:pt x="4464890" y="1829423"/>
                </a:cubicBezTo>
                <a:lnTo>
                  <a:pt x="4459151" y="1829725"/>
                </a:lnTo>
                <a:close/>
                <a:moveTo>
                  <a:pt x="4506799" y="1817256"/>
                </a:moveTo>
                <a:lnTo>
                  <a:pt x="4506799" y="1823225"/>
                </a:lnTo>
                <a:cubicBezTo>
                  <a:pt x="4500812" y="1817256"/>
                  <a:pt x="4482852" y="1829194"/>
                  <a:pt x="4476865" y="1835163"/>
                </a:cubicBezTo>
                <a:cubicBezTo>
                  <a:pt x="4470877" y="1835163"/>
                  <a:pt x="4464890" y="1817256"/>
                  <a:pt x="4476865" y="1823225"/>
                </a:cubicBezTo>
                <a:cubicBezTo>
                  <a:pt x="4470877" y="1835163"/>
                  <a:pt x="4494826" y="1811287"/>
                  <a:pt x="4506799" y="1817256"/>
                </a:cubicBezTo>
                <a:close/>
                <a:moveTo>
                  <a:pt x="4432534" y="1816757"/>
                </a:moveTo>
                <a:lnTo>
                  <a:pt x="4427768" y="1822248"/>
                </a:lnTo>
                <a:lnTo>
                  <a:pt x="4398559" y="1831689"/>
                </a:lnTo>
                <a:close/>
                <a:moveTo>
                  <a:pt x="4225938" y="1799854"/>
                </a:moveTo>
                <a:lnTo>
                  <a:pt x="4218546" y="1802615"/>
                </a:lnTo>
                <a:lnTo>
                  <a:pt x="4217719" y="1803044"/>
                </a:lnTo>
                <a:lnTo>
                  <a:pt x="4223797" y="1809107"/>
                </a:lnTo>
                <a:close/>
                <a:moveTo>
                  <a:pt x="4985851" y="1794976"/>
                </a:moveTo>
                <a:cubicBezTo>
                  <a:pt x="4987257" y="1795070"/>
                  <a:pt x="4983132" y="1797342"/>
                  <a:pt x="4969630" y="1803402"/>
                </a:cubicBezTo>
                <a:cubicBezTo>
                  <a:pt x="4939630" y="1815519"/>
                  <a:pt x="4915628" y="1821577"/>
                  <a:pt x="4891626" y="1833694"/>
                </a:cubicBezTo>
                <a:cubicBezTo>
                  <a:pt x="4891626" y="1815519"/>
                  <a:pt x="4927628" y="1815519"/>
                  <a:pt x="4927628" y="1809460"/>
                </a:cubicBezTo>
                <a:cubicBezTo>
                  <a:pt x="4927628" y="1814004"/>
                  <a:pt x="4981632" y="1794693"/>
                  <a:pt x="4985851" y="1794976"/>
                </a:cubicBezTo>
                <a:close/>
                <a:moveTo>
                  <a:pt x="4493588" y="1792116"/>
                </a:moveTo>
                <a:cubicBezTo>
                  <a:pt x="4481620" y="1810195"/>
                  <a:pt x="4457687" y="1804168"/>
                  <a:pt x="4433751" y="1816222"/>
                </a:cubicBezTo>
                <a:lnTo>
                  <a:pt x="4432534" y="1816757"/>
                </a:lnTo>
                <a:lnTo>
                  <a:pt x="4441418" y="1806523"/>
                </a:lnTo>
                <a:lnTo>
                  <a:pt x="4449926" y="1803442"/>
                </a:lnTo>
                <a:lnTo>
                  <a:pt x="4449058" y="1803291"/>
                </a:lnTo>
                <a:cubicBezTo>
                  <a:pt x="4447175" y="1803201"/>
                  <a:pt x="4445382" y="1803560"/>
                  <a:pt x="4443947" y="1804995"/>
                </a:cubicBezTo>
                <a:cubicBezTo>
                  <a:pt x="4443947" y="1802124"/>
                  <a:pt x="4446818" y="1799255"/>
                  <a:pt x="4450404" y="1797820"/>
                </a:cubicBezTo>
                <a:cubicBezTo>
                  <a:pt x="4453993" y="1796385"/>
                  <a:pt x="4458297" y="1796385"/>
                  <a:pt x="4461165" y="1799255"/>
                </a:cubicBezTo>
                <a:lnTo>
                  <a:pt x="4460659" y="1800580"/>
                </a:lnTo>
                <a:lnTo>
                  <a:pt x="4470658" y="1799001"/>
                </a:lnTo>
                <a:cubicBezTo>
                  <a:pt x="4480405" y="1797766"/>
                  <a:pt x="4489100" y="1796636"/>
                  <a:pt x="4493588" y="1792116"/>
                </a:cubicBezTo>
                <a:close/>
                <a:moveTo>
                  <a:pt x="4189937" y="1779853"/>
                </a:moveTo>
                <a:lnTo>
                  <a:pt x="4188676" y="1780033"/>
                </a:lnTo>
                <a:lnTo>
                  <a:pt x="4188639" y="1780288"/>
                </a:lnTo>
                <a:close/>
                <a:moveTo>
                  <a:pt x="4265642" y="1776468"/>
                </a:moveTo>
                <a:lnTo>
                  <a:pt x="4265642" y="1779287"/>
                </a:lnTo>
                <a:lnTo>
                  <a:pt x="4259114" y="1785801"/>
                </a:lnTo>
                <a:lnTo>
                  <a:pt x="4259506" y="1787847"/>
                </a:lnTo>
                <a:lnTo>
                  <a:pt x="4256172" y="1788736"/>
                </a:lnTo>
                <a:lnTo>
                  <a:pt x="4253898" y="1791005"/>
                </a:lnTo>
                <a:lnTo>
                  <a:pt x="4253758" y="1791271"/>
                </a:lnTo>
                <a:lnTo>
                  <a:pt x="4260412" y="1796434"/>
                </a:lnTo>
                <a:cubicBezTo>
                  <a:pt x="4264149" y="1795689"/>
                  <a:pt x="4268632" y="1794197"/>
                  <a:pt x="4271620" y="1797180"/>
                </a:cubicBezTo>
                <a:cubicBezTo>
                  <a:pt x="4277599" y="1791216"/>
                  <a:pt x="4277599" y="1786742"/>
                  <a:pt x="4276103" y="1783015"/>
                </a:cubicBezTo>
                <a:lnTo>
                  <a:pt x="4273897" y="1778244"/>
                </a:lnTo>
                <a:lnTo>
                  <a:pt x="4270984" y="1782108"/>
                </a:lnTo>
                <a:cubicBezTo>
                  <a:pt x="4270984" y="1779238"/>
                  <a:pt x="4269549" y="1777803"/>
                  <a:pt x="4268114" y="1777086"/>
                </a:cubicBezTo>
                <a:close/>
                <a:moveTo>
                  <a:pt x="4285934" y="1772736"/>
                </a:moveTo>
                <a:lnTo>
                  <a:pt x="4283946" y="1773259"/>
                </a:lnTo>
                <a:lnTo>
                  <a:pt x="4284324" y="1779288"/>
                </a:lnTo>
                <a:cubicBezTo>
                  <a:pt x="4285071" y="1782270"/>
                  <a:pt x="4286566" y="1785252"/>
                  <a:pt x="4289554" y="1791216"/>
                </a:cubicBezTo>
                <a:cubicBezTo>
                  <a:pt x="4289554" y="1785252"/>
                  <a:pt x="4289554" y="1782270"/>
                  <a:pt x="4288807" y="1779288"/>
                </a:cubicBezTo>
                <a:close/>
                <a:moveTo>
                  <a:pt x="4515785" y="1758041"/>
                </a:moveTo>
                <a:lnTo>
                  <a:pt x="4515899" y="1758453"/>
                </a:lnTo>
                <a:lnTo>
                  <a:pt x="4515351" y="1758749"/>
                </a:lnTo>
                <a:close/>
                <a:moveTo>
                  <a:pt x="4529702" y="1754873"/>
                </a:moveTo>
                <a:cubicBezTo>
                  <a:pt x="4533905" y="1755060"/>
                  <a:pt x="4537641" y="1756923"/>
                  <a:pt x="4540630" y="1761396"/>
                </a:cubicBezTo>
                <a:cubicBezTo>
                  <a:pt x="4528674" y="1767360"/>
                  <a:pt x="4516719" y="1761396"/>
                  <a:pt x="4516719" y="1767360"/>
                </a:cubicBezTo>
                <a:cubicBezTo>
                  <a:pt x="4516719" y="1767360"/>
                  <a:pt x="4516719" y="1761396"/>
                  <a:pt x="4516719" y="1761396"/>
                </a:cubicBezTo>
                <a:lnTo>
                  <a:pt x="4515899" y="1758453"/>
                </a:lnTo>
                <a:lnTo>
                  <a:pt x="4515972" y="1758414"/>
                </a:lnTo>
                <a:cubicBezTo>
                  <a:pt x="4520829" y="1756178"/>
                  <a:pt x="4525499" y="1754687"/>
                  <a:pt x="4529702" y="1754873"/>
                </a:cubicBezTo>
                <a:close/>
                <a:moveTo>
                  <a:pt x="4331191" y="1753449"/>
                </a:moveTo>
                <a:lnTo>
                  <a:pt x="4328159" y="1755431"/>
                </a:lnTo>
                <a:lnTo>
                  <a:pt x="4331401" y="1755431"/>
                </a:lnTo>
                <a:close/>
                <a:moveTo>
                  <a:pt x="4452893" y="1751577"/>
                </a:moveTo>
                <a:lnTo>
                  <a:pt x="4449825" y="1753163"/>
                </a:lnTo>
                <a:lnTo>
                  <a:pt x="4450961" y="1755431"/>
                </a:lnTo>
                <a:close/>
                <a:moveTo>
                  <a:pt x="4275565" y="1748911"/>
                </a:moveTo>
                <a:lnTo>
                  <a:pt x="4272488" y="1752199"/>
                </a:lnTo>
                <a:lnTo>
                  <a:pt x="4236090" y="1764392"/>
                </a:lnTo>
                <a:lnTo>
                  <a:pt x="4241105" y="1761890"/>
                </a:lnTo>
                <a:close/>
                <a:moveTo>
                  <a:pt x="4527647" y="1740149"/>
                </a:moveTo>
                <a:cubicBezTo>
                  <a:pt x="4528301" y="1739776"/>
                  <a:pt x="4528674" y="1740522"/>
                  <a:pt x="4528674" y="1743504"/>
                </a:cubicBezTo>
                <a:cubicBezTo>
                  <a:pt x="4522697" y="1749468"/>
                  <a:pt x="4516719" y="1749468"/>
                  <a:pt x="4510742" y="1749468"/>
                </a:cubicBezTo>
                <a:cubicBezTo>
                  <a:pt x="4516719" y="1749468"/>
                  <a:pt x="4516719" y="1749468"/>
                  <a:pt x="4516719" y="1743504"/>
                </a:cubicBezTo>
                <a:cubicBezTo>
                  <a:pt x="4519708" y="1749468"/>
                  <a:pt x="4522697" y="1746486"/>
                  <a:pt x="4524938" y="1743504"/>
                </a:cubicBezTo>
                <a:cubicBezTo>
                  <a:pt x="4526059" y="1742013"/>
                  <a:pt x="4526993" y="1740521"/>
                  <a:pt x="4527647" y="1740149"/>
                </a:cubicBezTo>
                <a:close/>
                <a:moveTo>
                  <a:pt x="4735961" y="1717085"/>
                </a:moveTo>
                <a:lnTo>
                  <a:pt x="4715592" y="1731451"/>
                </a:lnTo>
                <a:cubicBezTo>
                  <a:pt x="4702869" y="1735181"/>
                  <a:pt x="4689399" y="1736674"/>
                  <a:pt x="4680418" y="1739658"/>
                </a:cubicBezTo>
                <a:cubicBezTo>
                  <a:pt x="4689399" y="1730705"/>
                  <a:pt x="4698379" y="1727720"/>
                  <a:pt x="4708106" y="1725482"/>
                </a:cubicBezTo>
                <a:close/>
                <a:moveTo>
                  <a:pt x="4740287" y="1715782"/>
                </a:moveTo>
                <a:lnTo>
                  <a:pt x="4735961" y="1717085"/>
                </a:lnTo>
                <a:lnTo>
                  <a:pt x="4736769" y="1716516"/>
                </a:lnTo>
                <a:close/>
                <a:moveTo>
                  <a:pt x="4348615" y="1713340"/>
                </a:moveTo>
                <a:cubicBezTo>
                  <a:pt x="4353192" y="1712688"/>
                  <a:pt x="4357676" y="1713433"/>
                  <a:pt x="4362159" y="1716416"/>
                </a:cubicBezTo>
                <a:cubicBezTo>
                  <a:pt x="4344225" y="1716416"/>
                  <a:pt x="4332270" y="1728343"/>
                  <a:pt x="4314335" y="1734306"/>
                </a:cubicBezTo>
                <a:lnTo>
                  <a:pt x="4275565" y="1748911"/>
                </a:lnTo>
                <a:lnTo>
                  <a:pt x="4282950" y="1741016"/>
                </a:lnTo>
                <a:cubicBezTo>
                  <a:pt x="4288928" y="1738780"/>
                  <a:pt x="4296401" y="1737289"/>
                  <a:pt x="4302379" y="1734306"/>
                </a:cubicBezTo>
                <a:cubicBezTo>
                  <a:pt x="4320313" y="1729834"/>
                  <a:pt x="4334885" y="1715296"/>
                  <a:pt x="4348615" y="1713340"/>
                </a:cubicBezTo>
                <a:close/>
                <a:moveTo>
                  <a:pt x="4582477" y="1707720"/>
                </a:moveTo>
                <a:lnTo>
                  <a:pt x="4579363" y="1708684"/>
                </a:lnTo>
                <a:lnTo>
                  <a:pt x="4579488" y="1708465"/>
                </a:lnTo>
                <a:cubicBezTo>
                  <a:pt x="4580983" y="1707720"/>
                  <a:pt x="4582477" y="1707720"/>
                  <a:pt x="4582477" y="1707720"/>
                </a:cubicBezTo>
                <a:close/>
                <a:moveTo>
                  <a:pt x="4432468" y="1701684"/>
                </a:moveTo>
                <a:cubicBezTo>
                  <a:pt x="4432468" y="1708142"/>
                  <a:pt x="4432468" y="1714599"/>
                  <a:pt x="4432468" y="1714599"/>
                </a:cubicBezTo>
                <a:cubicBezTo>
                  <a:pt x="4426728" y="1714599"/>
                  <a:pt x="4426728" y="1721056"/>
                  <a:pt x="4415250" y="1727513"/>
                </a:cubicBezTo>
                <a:cubicBezTo>
                  <a:pt x="4415250" y="1714599"/>
                  <a:pt x="4420989" y="1708142"/>
                  <a:pt x="4432468" y="1701684"/>
                </a:cubicBezTo>
                <a:close/>
                <a:moveTo>
                  <a:pt x="4349128" y="1696638"/>
                </a:moveTo>
                <a:lnTo>
                  <a:pt x="4344775" y="1698790"/>
                </a:lnTo>
                <a:lnTo>
                  <a:pt x="4342204" y="1697094"/>
                </a:lnTo>
                <a:close/>
                <a:moveTo>
                  <a:pt x="4550128" y="1695945"/>
                </a:moveTo>
                <a:cubicBezTo>
                  <a:pt x="4544389" y="1702640"/>
                  <a:pt x="4532910" y="1709338"/>
                  <a:pt x="4521431" y="1716034"/>
                </a:cubicBezTo>
                <a:cubicBezTo>
                  <a:pt x="4521431" y="1709338"/>
                  <a:pt x="4532910" y="1716034"/>
                  <a:pt x="4527170" y="1702640"/>
                </a:cubicBezTo>
                <a:cubicBezTo>
                  <a:pt x="4532910" y="1702640"/>
                  <a:pt x="4544389" y="1695945"/>
                  <a:pt x="4550128" y="1695945"/>
                </a:cubicBezTo>
                <a:close/>
                <a:moveTo>
                  <a:pt x="4455426" y="1695945"/>
                </a:moveTo>
                <a:cubicBezTo>
                  <a:pt x="4455426" y="1702640"/>
                  <a:pt x="4438208" y="1709338"/>
                  <a:pt x="4443947" y="1716034"/>
                </a:cubicBezTo>
                <a:cubicBezTo>
                  <a:pt x="4438208" y="1716034"/>
                  <a:pt x="4443947" y="1709338"/>
                  <a:pt x="4438208" y="1702640"/>
                </a:cubicBezTo>
                <a:cubicBezTo>
                  <a:pt x="4443947" y="1695945"/>
                  <a:pt x="4449686" y="1702640"/>
                  <a:pt x="4455426" y="1695945"/>
                </a:cubicBezTo>
                <a:close/>
                <a:moveTo>
                  <a:pt x="4630302" y="1695791"/>
                </a:moveTo>
                <a:lnTo>
                  <a:pt x="4632294" y="1696288"/>
                </a:lnTo>
                <a:lnTo>
                  <a:pt x="4630302" y="1696749"/>
                </a:lnTo>
                <a:close/>
                <a:moveTo>
                  <a:pt x="4360205" y="1691164"/>
                </a:moveTo>
                <a:cubicBezTo>
                  <a:pt x="4360205" y="1694129"/>
                  <a:pt x="4357204" y="1695612"/>
                  <a:pt x="4353454" y="1696353"/>
                </a:cubicBezTo>
                <a:lnTo>
                  <a:pt x="4349128" y="1696638"/>
                </a:lnTo>
                <a:close/>
                <a:moveTo>
                  <a:pt x="4558739" y="1690207"/>
                </a:moveTo>
                <a:cubicBezTo>
                  <a:pt x="4564478" y="1695946"/>
                  <a:pt x="4598915" y="1684467"/>
                  <a:pt x="4564478" y="1695946"/>
                </a:cubicBezTo>
                <a:cubicBezTo>
                  <a:pt x="4564478" y="1695946"/>
                  <a:pt x="4558739" y="1695946"/>
                  <a:pt x="4558739" y="1690207"/>
                </a:cubicBezTo>
                <a:close/>
                <a:moveTo>
                  <a:pt x="4812129" y="1685936"/>
                </a:moveTo>
                <a:cubicBezTo>
                  <a:pt x="4794170" y="1709813"/>
                  <a:pt x="4770221" y="1697875"/>
                  <a:pt x="4752261" y="1715782"/>
                </a:cubicBezTo>
                <a:cubicBezTo>
                  <a:pt x="4746274" y="1715782"/>
                  <a:pt x="4746274" y="1715782"/>
                  <a:pt x="4746274" y="1709813"/>
                </a:cubicBezTo>
                <a:lnTo>
                  <a:pt x="4736769" y="1716516"/>
                </a:lnTo>
                <a:lnTo>
                  <a:pt x="4708106" y="1722498"/>
                </a:lnTo>
                <a:cubicBezTo>
                  <a:pt x="4698379" y="1726227"/>
                  <a:pt x="4689399" y="1730705"/>
                  <a:pt x="4680418" y="1733689"/>
                </a:cubicBezTo>
                <a:cubicBezTo>
                  <a:pt x="4680418" y="1745627"/>
                  <a:pt x="4668446" y="1751596"/>
                  <a:pt x="4650484" y="1757565"/>
                </a:cubicBezTo>
                <a:cubicBezTo>
                  <a:pt x="4650484" y="1757565"/>
                  <a:pt x="4650484" y="1751596"/>
                  <a:pt x="4650484" y="1751596"/>
                </a:cubicBezTo>
                <a:cubicBezTo>
                  <a:pt x="4614563" y="1775472"/>
                  <a:pt x="4566668" y="1799348"/>
                  <a:pt x="4506799" y="1811287"/>
                </a:cubicBezTo>
                <a:lnTo>
                  <a:pt x="4506799" y="1817256"/>
                </a:lnTo>
                <a:cubicBezTo>
                  <a:pt x="4506799" y="1811287"/>
                  <a:pt x="4500812" y="1811287"/>
                  <a:pt x="4500812" y="1811287"/>
                </a:cubicBezTo>
                <a:cubicBezTo>
                  <a:pt x="4524759" y="1805318"/>
                  <a:pt x="4566668" y="1787410"/>
                  <a:pt x="4590614" y="1781441"/>
                </a:cubicBezTo>
                <a:cubicBezTo>
                  <a:pt x="4590614" y="1775472"/>
                  <a:pt x="4590614" y="1775472"/>
                  <a:pt x="4590614" y="1769503"/>
                </a:cubicBezTo>
                <a:cubicBezTo>
                  <a:pt x="4590614" y="1769503"/>
                  <a:pt x="4596602" y="1775472"/>
                  <a:pt x="4596602" y="1775472"/>
                </a:cubicBezTo>
                <a:cubicBezTo>
                  <a:pt x="4614563" y="1751596"/>
                  <a:pt x="4650484" y="1757565"/>
                  <a:pt x="4668446" y="1739658"/>
                </a:cubicBezTo>
                <a:cubicBezTo>
                  <a:pt x="4650484" y="1727720"/>
                  <a:pt x="4620550" y="1757565"/>
                  <a:pt x="4602589" y="1757565"/>
                </a:cubicBezTo>
                <a:cubicBezTo>
                  <a:pt x="4596602" y="1757565"/>
                  <a:pt x="4602589" y="1763534"/>
                  <a:pt x="4602589" y="1763534"/>
                </a:cubicBezTo>
                <a:cubicBezTo>
                  <a:pt x="4566668" y="1763534"/>
                  <a:pt x="4536735" y="1787410"/>
                  <a:pt x="4494826" y="1793379"/>
                </a:cubicBezTo>
                <a:cubicBezTo>
                  <a:pt x="4596602" y="1745627"/>
                  <a:pt x="4704367" y="1721751"/>
                  <a:pt x="4812129" y="1685936"/>
                </a:cubicBezTo>
                <a:close/>
                <a:moveTo>
                  <a:pt x="4527170" y="1684467"/>
                </a:moveTo>
                <a:cubicBezTo>
                  <a:pt x="4538650" y="1684467"/>
                  <a:pt x="4504213" y="1707426"/>
                  <a:pt x="4504213" y="1695946"/>
                </a:cubicBezTo>
                <a:cubicBezTo>
                  <a:pt x="4515691" y="1690207"/>
                  <a:pt x="4521431" y="1690207"/>
                  <a:pt x="4527170" y="1684467"/>
                </a:cubicBezTo>
                <a:close/>
                <a:moveTo>
                  <a:pt x="4451225" y="1682148"/>
                </a:moveTo>
                <a:lnTo>
                  <a:pt x="4450498" y="1682406"/>
                </a:lnTo>
                <a:lnTo>
                  <a:pt x="4449688" y="1684467"/>
                </a:lnTo>
                <a:cubicBezTo>
                  <a:pt x="4446819" y="1684467"/>
                  <a:pt x="4446819" y="1684467"/>
                  <a:pt x="4446819" y="1683750"/>
                </a:cubicBezTo>
                <a:lnTo>
                  <a:pt x="4446799" y="1683715"/>
                </a:lnTo>
                <a:lnTo>
                  <a:pt x="4441142" y="1685719"/>
                </a:lnTo>
                <a:lnTo>
                  <a:pt x="4440073" y="1691552"/>
                </a:lnTo>
                <a:lnTo>
                  <a:pt x="4448729" y="1686330"/>
                </a:lnTo>
                <a:close/>
                <a:moveTo>
                  <a:pt x="4451360" y="1681921"/>
                </a:moveTo>
                <a:lnTo>
                  <a:pt x="4450675" y="1681956"/>
                </a:lnTo>
                <a:lnTo>
                  <a:pt x="4450638" y="1682053"/>
                </a:lnTo>
                <a:lnTo>
                  <a:pt x="4451317" y="1681993"/>
                </a:lnTo>
                <a:close/>
                <a:moveTo>
                  <a:pt x="4673528" y="1680879"/>
                </a:moveTo>
                <a:cubicBezTo>
                  <a:pt x="4679267" y="1680162"/>
                  <a:pt x="4685006" y="1681595"/>
                  <a:pt x="4687876" y="1684466"/>
                </a:cubicBezTo>
                <a:cubicBezTo>
                  <a:pt x="4687876" y="1690205"/>
                  <a:pt x="4670657" y="1690205"/>
                  <a:pt x="4664918" y="1695945"/>
                </a:cubicBezTo>
                <a:lnTo>
                  <a:pt x="4659646" y="1690673"/>
                </a:lnTo>
                <a:lnTo>
                  <a:pt x="4653466" y="1700265"/>
                </a:lnTo>
                <a:cubicBezTo>
                  <a:pt x="4649730" y="1701755"/>
                  <a:pt x="4645246" y="1701755"/>
                  <a:pt x="4642257" y="1701755"/>
                </a:cubicBezTo>
                <a:cubicBezTo>
                  <a:pt x="4642257" y="1701755"/>
                  <a:pt x="4642257" y="1701755"/>
                  <a:pt x="4648234" y="1695791"/>
                </a:cubicBezTo>
                <a:cubicBezTo>
                  <a:pt x="4645246" y="1692810"/>
                  <a:pt x="4642257" y="1695791"/>
                  <a:pt x="4639268" y="1698027"/>
                </a:cubicBezTo>
                <a:lnTo>
                  <a:pt x="4632294" y="1696288"/>
                </a:lnTo>
                <a:lnTo>
                  <a:pt x="4659522" y="1689983"/>
                </a:lnTo>
                <a:close/>
                <a:moveTo>
                  <a:pt x="4492323" y="1678727"/>
                </a:moveTo>
                <a:cubicBezTo>
                  <a:pt x="4492323" y="1690844"/>
                  <a:pt x="4498473" y="1696901"/>
                  <a:pt x="4498473" y="1709018"/>
                </a:cubicBezTo>
                <a:cubicBezTo>
                  <a:pt x="4480025" y="1702961"/>
                  <a:pt x="4461576" y="1733252"/>
                  <a:pt x="4455426" y="1715078"/>
                </a:cubicBezTo>
                <a:cubicBezTo>
                  <a:pt x="4473876" y="1715078"/>
                  <a:pt x="4473876" y="1702961"/>
                  <a:pt x="4486175" y="1702961"/>
                </a:cubicBezTo>
                <a:cubicBezTo>
                  <a:pt x="4486175" y="1696901"/>
                  <a:pt x="4492323" y="1696901"/>
                  <a:pt x="4486175" y="1684784"/>
                </a:cubicBezTo>
                <a:cubicBezTo>
                  <a:pt x="4486175" y="1684784"/>
                  <a:pt x="4492323" y="1684784"/>
                  <a:pt x="4492323" y="1678727"/>
                </a:cubicBezTo>
                <a:close/>
                <a:moveTo>
                  <a:pt x="4602769" y="1673973"/>
                </a:moveTo>
                <a:cubicBezTo>
                  <a:pt x="4603935" y="1674422"/>
                  <a:pt x="4604652" y="1675856"/>
                  <a:pt x="4604652" y="1678727"/>
                </a:cubicBezTo>
                <a:cubicBezTo>
                  <a:pt x="4598913" y="1678727"/>
                  <a:pt x="4593173" y="1684466"/>
                  <a:pt x="4587434" y="1684466"/>
                </a:cubicBezTo>
                <a:cubicBezTo>
                  <a:pt x="4590305" y="1681595"/>
                  <a:pt x="4594609" y="1677291"/>
                  <a:pt x="4598195" y="1675140"/>
                </a:cubicBezTo>
                <a:cubicBezTo>
                  <a:pt x="4599990" y="1674063"/>
                  <a:pt x="4601604" y="1673525"/>
                  <a:pt x="4602769" y="1673973"/>
                </a:cubicBezTo>
                <a:close/>
                <a:moveTo>
                  <a:pt x="4504213" y="1672987"/>
                </a:moveTo>
                <a:cubicBezTo>
                  <a:pt x="4509952" y="1678727"/>
                  <a:pt x="4504213" y="1684466"/>
                  <a:pt x="4504213" y="1690205"/>
                </a:cubicBezTo>
                <a:cubicBezTo>
                  <a:pt x="4498473" y="1690205"/>
                  <a:pt x="4498473" y="1684466"/>
                  <a:pt x="4498473" y="1678727"/>
                </a:cubicBezTo>
                <a:cubicBezTo>
                  <a:pt x="4504213" y="1678727"/>
                  <a:pt x="4504213" y="1678727"/>
                  <a:pt x="4504213" y="1672987"/>
                </a:cubicBezTo>
                <a:close/>
                <a:moveTo>
                  <a:pt x="4713131" y="1667247"/>
                </a:moveTo>
                <a:cubicBezTo>
                  <a:pt x="4719444" y="1667247"/>
                  <a:pt x="4694190" y="1678727"/>
                  <a:pt x="4700502" y="1678727"/>
                </a:cubicBezTo>
                <a:cubicBezTo>
                  <a:pt x="4694190" y="1678727"/>
                  <a:pt x="4694190" y="1678727"/>
                  <a:pt x="4687876" y="1678727"/>
                </a:cubicBezTo>
                <a:cubicBezTo>
                  <a:pt x="4694190" y="1672987"/>
                  <a:pt x="4706817" y="1667247"/>
                  <a:pt x="4713131" y="1667247"/>
                </a:cubicBezTo>
                <a:close/>
                <a:moveTo>
                  <a:pt x="4461168" y="1650031"/>
                </a:moveTo>
                <a:cubicBezTo>
                  <a:pt x="4461168" y="1655770"/>
                  <a:pt x="4466907" y="1661509"/>
                  <a:pt x="4461168" y="1661509"/>
                </a:cubicBezTo>
                <a:cubicBezTo>
                  <a:pt x="4461168" y="1655770"/>
                  <a:pt x="4455427" y="1667249"/>
                  <a:pt x="4449688" y="1667249"/>
                </a:cubicBezTo>
                <a:cubicBezTo>
                  <a:pt x="4443949" y="1667249"/>
                  <a:pt x="4449688" y="1661509"/>
                  <a:pt x="4455427" y="1661509"/>
                </a:cubicBezTo>
                <a:cubicBezTo>
                  <a:pt x="4449688" y="1661509"/>
                  <a:pt x="4449688" y="1661509"/>
                  <a:pt x="4443949" y="1661509"/>
                </a:cubicBezTo>
                <a:cubicBezTo>
                  <a:pt x="4449688" y="1650031"/>
                  <a:pt x="4455427" y="1655770"/>
                  <a:pt x="4461168" y="1650031"/>
                </a:cubicBezTo>
                <a:close/>
                <a:moveTo>
                  <a:pt x="4466905" y="1650029"/>
                </a:moveTo>
                <a:cubicBezTo>
                  <a:pt x="4472644" y="1650029"/>
                  <a:pt x="4472644" y="1655769"/>
                  <a:pt x="4472644" y="1655769"/>
                </a:cubicBezTo>
                <a:lnTo>
                  <a:pt x="4466905" y="1661508"/>
                </a:lnTo>
                <a:cubicBezTo>
                  <a:pt x="4466905" y="1655769"/>
                  <a:pt x="4466905" y="1655769"/>
                  <a:pt x="4466905" y="1655769"/>
                </a:cubicBezTo>
                <a:cubicBezTo>
                  <a:pt x="4466905" y="1655769"/>
                  <a:pt x="4466905" y="1655769"/>
                  <a:pt x="4466905" y="1650029"/>
                </a:cubicBezTo>
                <a:close/>
                <a:moveTo>
                  <a:pt x="4472644" y="1644290"/>
                </a:moveTo>
                <a:cubicBezTo>
                  <a:pt x="4478383" y="1644290"/>
                  <a:pt x="4472644" y="1655769"/>
                  <a:pt x="4478383" y="1650029"/>
                </a:cubicBezTo>
                <a:lnTo>
                  <a:pt x="4472644" y="1655769"/>
                </a:lnTo>
                <a:cubicBezTo>
                  <a:pt x="4472644" y="1655769"/>
                  <a:pt x="4472644" y="1650029"/>
                  <a:pt x="4472644" y="1644290"/>
                </a:cubicBezTo>
                <a:close/>
                <a:moveTo>
                  <a:pt x="4557958" y="1638621"/>
                </a:moveTo>
                <a:cubicBezTo>
                  <a:pt x="4545906" y="1656795"/>
                  <a:pt x="4503720" y="1668913"/>
                  <a:pt x="4503720" y="1668913"/>
                </a:cubicBezTo>
                <a:cubicBezTo>
                  <a:pt x="4494681" y="1678000"/>
                  <a:pt x="4482627" y="1681030"/>
                  <a:pt x="4470575" y="1683302"/>
                </a:cubicBezTo>
                <a:lnTo>
                  <a:pt x="4439916" y="1692407"/>
                </a:lnTo>
                <a:lnTo>
                  <a:pt x="4439623" y="1694005"/>
                </a:lnTo>
                <a:lnTo>
                  <a:pt x="4427676" y="1695739"/>
                </a:lnTo>
                <a:lnTo>
                  <a:pt x="4427468" y="1694005"/>
                </a:lnTo>
                <a:lnTo>
                  <a:pt x="4423399" y="1696361"/>
                </a:lnTo>
                <a:lnTo>
                  <a:pt x="4408479" y="1698527"/>
                </a:lnTo>
                <a:lnTo>
                  <a:pt x="4398930" y="1702165"/>
                </a:lnTo>
                <a:lnTo>
                  <a:pt x="4400902" y="1707424"/>
                </a:lnTo>
                <a:cubicBezTo>
                  <a:pt x="4395163" y="1707424"/>
                  <a:pt x="4395163" y="1707424"/>
                  <a:pt x="4389423" y="1707424"/>
                </a:cubicBezTo>
                <a:lnTo>
                  <a:pt x="4391070" y="1705159"/>
                </a:lnTo>
                <a:lnTo>
                  <a:pt x="4389203" y="1705871"/>
                </a:lnTo>
                <a:lnTo>
                  <a:pt x="4373563" y="1711788"/>
                </a:lnTo>
                <a:lnTo>
                  <a:pt x="4374448" y="1712259"/>
                </a:lnTo>
                <a:lnTo>
                  <a:pt x="4386449" y="1713497"/>
                </a:lnTo>
                <a:cubicBezTo>
                  <a:pt x="4391007" y="1713027"/>
                  <a:pt x="4395565" y="1711709"/>
                  <a:pt x="4400122" y="1709825"/>
                </a:cubicBezTo>
                <a:lnTo>
                  <a:pt x="4423399" y="1696361"/>
                </a:lnTo>
                <a:lnTo>
                  <a:pt x="4427676" y="1695739"/>
                </a:lnTo>
                <a:lnTo>
                  <a:pt x="4428324" y="1701162"/>
                </a:lnTo>
                <a:cubicBezTo>
                  <a:pt x="4418352" y="1710203"/>
                  <a:pt x="4381891" y="1722632"/>
                  <a:pt x="4372774" y="1718111"/>
                </a:cubicBezTo>
                <a:lnTo>
                  <a:pt x="4372625" y="1718019"/>
                </a:lnTo>
                <a:lnTo>
                  <a:pt x="4371487" y="1718305"/>
                </a:lnTo>
                <a:cubicBezTo>
                  <a:pt x="4369693" y="1718724"/>
                  <a:pt x="4367720" y="1719351"/>
                  <a:pt x="4365837" y="1720712"/>
                </a:cubicBezTo>
                <a:lnTo>
                  <a:pt x="4364832" y="1722050"/>
                </a:lnTo>
                <a:lnTo>
                  <a:pt x="4372774" y="1718111"/>
                </a:lnTo>
                <a:cubicBezTo>
                  <a:pt x="4372774" y="1718111"/>
                  <a:pt x="4372774" y="1724138"/>
                  <a:pt x="4372774" y="1730165"/>
                </a:cubicBezTo>
                <a:cubicBezTo>
                  <a:pt x="4369736" y="1730165"/>
                  <a:pt x="4367837" y="1730165"/>
                  <a:pt x="4366508" y="1730259"/>
                </a:cubicBezTo>
                <a:lnTo>
                  <a:pt x="4366465" y="1730269"/>
                </a:lnTo>
                <a:lnTo>
                  <a:pt x="4366465" y="1738274"/>
                </a:lnTo>
                <a:cubicBezTo>
                  <a:pt x="4366465" y="1740426"/>
                  <a:pt x="4366465" y="1741862"/>
                  <a:pt x="4366465" y="1744731"/>
                </a:cubicBezTo>
                <a:cubicBezTo>
                  <a:pt x="4366465" y="1744731"/>
                  <a:pt x="4360726" y="1744731"/>
                  <a:pt x="4354986" y="1744731"/>
                </a:cubicBezTo>
                <a:cubicBezTo>
                  <a:pt x="4354986" y="1738991"/>
                  <a:pt x="4360726" y="1738991"/>
                  <a:pt x="4360726" y="1733252"/>
                </a:cubicBezTo>
                <a:cubicBezTo>
                  <a:pt x="4360726" y="1733252"/>
                  <a:pt x="4362161" y="1733252"/>
                  <a:pt x="4363595" y="1732535"/>
                </a:cubicBezTo>
                <a:lnTo>
                  <a:pt x="4364650" y="1730689"/>
                </a:lnTo>
                <a:lnTo>
                  <a:pt x="4363660" y="1730919"/>
                </a:lnTo>
                <a:cubicBezTo>
                  <a:pt x="4362141" y="1731672"/>
                  <a:pt x="4360621" y="1733179"/>
                  <a:pt x="4354544" y="1736192"/>
                </a:cubicBezTo>
                <a:cubicBezTo>
                  <a:pt x="4351505" y="1730165"/>
                  <a:pt x="4354544" y="1727152"/>
                  <a:pt x="4359102" y="1724892"/>
                </a:cubicBezTo>
                <a:lnTo>
                  <a:pt x="4360726" y="1724086"/>
                </a:lnTo>
                <a:lnTo>
                  <a:pt x="4360726" y="1721654"/>
                </a:lnTo>
                <a:cubicBezTo>
                  <a:pt x="4360726" y="1720817"/>
                  <a:pt x="4360726" y="1720817"/>
                  <a:pt x="4360726" y="1720817"/>
                </a:cubicBezTo>
                <a:lnTo>
                  <a:pt x="4365997" y="1713982"/>
                </a:lnTo>
                <a:lnTo>
                  <a:pt x="4362520" y="1712179"/>
                </a:lnTo>
                <a:cubicBezTo>
                  <a:pt x="4361381" y="1710955"/>
                  <a:pt x="4360621" y="1709072"/>
                  <a:pt x="4360621" y="1706059"/>
                </a:cubicBezTo>
                <a:cubicBezTo>
                  <a:pt x="4378852" y="1710578"/>
                  <a:pt x="4403919" y="1691370"/>
                  <a:pt x="4428134" y="1684025"/>
                </a:cubicBezTo>
                <a:lnTo>
                  <a:pt x="4446077" y="1682452"/>
                </a:lnTo>
                <a:lnTo>
                  <a:pt x="4443949" y="1678728"/>
                </a:lnTo>
                <a:cubicBezTo>
                  <a:pt x="4449688" y="1678728"/>
                  <a:pt x="4455427" y="1672989"/>
                  <a:pt x="4455427" y="1672989"/>
                </a:cubicBezTo>
                <a:lnTo>
                  <a:pt x="4455427" y="1675106"/>
                </a:lnTo>
                <a:lnTo>
                  <a:pt x="4455508" y="1674972"/>
                </a:lnTo>
                <a:cubicBezTo>
                  <a:pt x="4463041" y="1674972"/>
                  <a:pt x="4471327" y="1673458"/>
                  <a:pt x="4479990" y="1670996"/>
                </a:cubicBezTo>
                <a:lnTo>
                  <a:pt x="4490366" y="1667250"/>
                </a:lnTo>
                <a:lnTo>
                  <a:pt x="4483700" y="1668684"/>
                </a:lnTo>
                <a:cubicBezTo>
                  <a:pt x="4479507" y="1669043"/>
                  <a:pt x="4475696" y="1668684"/>
                  <a:pt x="4472646" y="1667249"/>
                </a:cubicBezTo>
                <a:cubicBezTo>
                  <a:pt x="4478744" y="1664380"/>
                  <a:pt x="4487892" y="1662944"/>
                  <a:pt x="4497040" y="1661509"/>
                </a:cubicBezTo>
                <a:lnTo>
                  <a:pt x="4516873" y="1656843"/>
                </a:lnTo>
                <a:close/>
                <a:moveTo>
                  <a:pt x="4515694" y="1636399"/>
                </a:moveTo>
                <a:cubicBezTo>
                  <a:pt x="4515694" y="1636399"/>
                  <a:pt x="4509477" y="1636399"/>
                  <a:pt x="4509477" y="1642856"/>
                </a:cubicBezTo>
                <a:lnTo>
                  <a:pt x="4504442" y="1637628"/>
                </a:lnTo>
                <a:close/>
                <a:moveTo>
                  <a:pt x="4503258" y="1636399"/>
                </a:moveTo>
                <a:lnTo>
                  <a:pt x="4504442" y="1637628"/>
                </a:lnTo>
                <a:lnTo>
                  <a:pt x="4502419" y="1637850"/>
                </a:lnTo>
                <a:close/>
                <a:moveTo>
                  <a:pt x="4490822" y="1636399"/>
                </a:moveTo>
                <a:cubicBezTo>
                  <a:pt x="4490822" y="1642856"/>
                  <a:pt x="4490822" y="1642856"/>
                  <a:pt x="4490822" y="1649314"/>
                </a:cubicBezTo>
                <a:cubicBezTo>
                  <a:pt x="4493932" y="1646085"/>
                  <a:pt x="4497039" y="1641242"/>
                  <a:pt x="4500926" y="1638013"/>
                </a:cubicBezTo>
                <a:lnTo>
                  <a:pt x="4502419" y="1637850"/>
                </a:lnTo>
                <a:lnTo>
                  <a:pt x="4496262" y="1648505"/>
                </a:lnTo>
                <a:cubicBezTo>
                  <a:pt x="4492375" y="1650927"/>
                  <a:pt x="4487714" y="1652542"/>
                  <a:pt x="4484604" y="1655770"/>
                </a:cubicBezTo>
                <a:cubicBezTo>
                  <a:pt x="4478386" y="1649314"/>
                  <a:pt x="4484604" y="1649314"/>
                  <a:pt x="4484604" y="1649314"/>
                </a:cubicBezTo>
                <a:cubicBezTo>
                  <a:pt x="4490822" y="1649314"/>
                  <a:pt x="4478386" y="1649314"/>
                  <a:pt x="4484604" y="1642856"/>
                </a:cubicBezTo>
                <a:cubicBezTo>
                  <a:pt x="4484604" y="1636399"/>
                  <a:pt x="4490822" y="1636399"/>
                  <a:pt x="4490822" y="1636399"/>
                </a:cubicBezTo>
                <a:close/>
                <a:moveTo>
                  <a:pt x="4862930" y="1618463"/>
                </a:moveTo>
                <a:cubicBezTo>
                  <a:pt x="4856618" y="1629942"/>
                  <a:pt x="4843989" y="1629942"/>
                  <a:pt x="4831362" y="1635681"/>
                </a:cubicBezTo>
                <a:cubicBezTo>
                  <a:pt x="4837677" y="1624202"/>
                  <a:pt x="4856618" y="1624202"/>
                  <a:pt x="4862930" y="1618463"/>
                </a:cubicBezTo>
                <a:close/>
                <a:moveTo>
                  <a:pt x="4891626" y="1606984"/>
                </a:moveTo>
                <a:cubicBezTo>
                  <a:pt x="4891626" y="1618463"/>
                  <a:pt x="4880147" y="1618463"/>
                  <a:pt x="4874408" y="1618463"/>
                </a:cubicBezTo>
                <a:cubicBezTo>
                  <a:pt x="4880147" y="1612723"/>
                  <a:pt x="4885886" y="1618463"/>
                  <a:pt x="4891626" y="1606984"/>
                </a:cubicBezTo>
                <a:close/>
                <a:moveTo>
                  <a:pt x="5215907" y="1601244"/>
                </a:moveTo>
                <a:cubicBezTo>
                  <a:pt x="5221646" y="1601244"/>
                  <a:pt x="5221646" y="1601244"/>
                  <a:pt x="5227386" y="1606984"/>
                </a:cubicBezTo>
                <a:cubicBezTo>
                  <a:pt x="5221646" y="1606984"/>
                  <a:pt x="5215907" y="1612723"/>
                  <a:pt x="5215907" y="1601244"/>
                </a:cubicBezTo>
                <a:close/>
                <a:moveTo>
                  <a:pt x="4616133" y="1595505"/>
                </a:moveTo>
                <a:cubicBezTo>
                  <a:pt x="4598408" y="1607702"/>
                  <a:pt x="4551142" y="1619898"/>
                  <a:pt x="4539325" y="1632094"/>
                </a:cubicBezTo>
                <a:cubicBezTo>
                  <a:pt x="4539325" y="1625996"/>
                  <a:pt x="4539325" y="1625996"/>
                  <a:pt x="4539325" y="1625996"/>
                </a:cubicBezTo>
                <a:cubicBezTo>
                  <a:pt x="4539325" y="1632094"/>
                  <a:pt x="4521601" y="1644291"/>
                  <a:pt x="4515691" y="1632094"/>
                </a:cubicBezTo>
                <a:cubicBezTo>
                  <a:pt x="4557050" y="1613799"/>
                  <a:pt x="4580684" y="1601602"/>
                  <a:pt x="4616133" y="1595505"/>
                </a:cubicBezTo>
                <a:close/>
                <a:moveTo>
                  <a:pt x="4639808" y="1582591"/>
                </a:moveTo>
                <a:cubicBezTo>
                  <a:pt x="4644831" y="1581156"/>
                  <a:pt x="4650570" y="1581156"/>
                  <a:pt x="4653439" y="1584026"/>
                </a:cubicBezTo>
                <a:cubicBezTo>
                  <a:pt x="4647699" y="1584026"/>
                  <a:pt x="4636221" y="1589765"/>
                  <a:pt x="4630480" y="1589765"/>
                </a:cubicBezTo>
                <a:cubicBezTo>
                  <a:pt x="4630480" y="1586894"/>
                  <a:pt x="4634785" y="1584026"/>
                  <a:pt x="4639808" y="1582591"/>
                </a:cubicBezTo>
                <a:close/>
                <a:moveTo>
                  <a:pt x="4525901" y="1567778"/>
                </a:moveTo>
                <a:lnTo>
                  <a:pt x="4522697" y="1569056"/>
                </a:lnTo>
                <a:cubicBezTo>
                  <a:pt x="4518213" y="1572038"/>
                  <a:pt x="4513730" y="1576511"/>
                  <a:pt x="4510742" y="1576511"/>
                </a:cubicBezTo>
                <a:cubicBezTo>
                  <a:pt x="4513730" y="1570547"/>
                  <a:pt x="4518213" y="1569056"/>
                  <a:pt x="4523444" y="1568310"/>
                </a:cubicBezTo>
                <a:close/>
                <a:moveTo>
                  <a:pt x="4529235" y="1566447"/>
                </a:moveTo>
                <a:lnTo>
                  <a:pt x="4529859" y="1566919"/>
                </a:lnTo>
                <a:lnTo>
                  <a:pt x="4525901" y="1567778"/>
                </a:lnTo>
                <a:close/>
                <a:moveTo>
                  <a:pt x="3857859" y="1536750"/>
                </a:moveTo>
                <a:cubicBezTo>
                  <a:pt x="3850293" y="1535631"/>
                  <a:pt x="3843567" y="1547933"/>
                  <a:pt x="3830117" y="1543459"/>
                </a:cubicBezTo>
                <a:cubicBezTo>
                  <a:pt x="3827128" y="1546441"/>
                  <a:pt x="3827128" y="1547933"/>
                  <a:pt x="3827875" y="1549423"/>
                </a:cubicBezTo>
                <a:lnTo>
                  <a:pt x="3828077" y="1549961"/>
                </a:lnTo>
                <a:lnTo>
                  <a:pt x="3835255" y="1548099"/>
                </a:lnTo>
                <a:lnTo>
                  <a:pt x="3844712" y="1543132"/>
                </a:lnTo>
                <a:lnTo>
                  <a:pt x="3848285" y="1544719"/>
                </a:lnTo>
                <a:lnTo>
                  <a:pt x="3862915" y="1540924"/>
                </a:lnTo>
                <a:close/>
                <a:moveTo>
                  <a:pt x="4610394" y="1535241"/>
                </a:moveTo>
                <a:lnTo>
                  <a:pt x="4611110" y="1540169"/>
                </a:lnTo>
                <a:lnTo>
                  <a:pt x="4611095" y="1540174"/>
                </a:lnTo>
                <a:lnTo>
                  <a:pt x="4607524" y="1540264"/>
                </a:lnTo>
                <a:cubicBezTo>
                  <a:pt x="4604654" y="1539546"/>
                  <a:pt x="4601785" y="1538111"/>
                  <a:pt x="4604654" y="1540981"/>
                </a:cubicBezTo>
                <a:cubicBezTo>
                  <a:pt x="4598915" y="1540981"/>
                  <a:pt x="4598915" y="1535241"/>
                  <a:pt x="4593176" y="1540981"/>
                </a:cubicBezTo>
                <a:cubicBezTo>
                  <a:pt x="4598915" y="1529502"/>
                  <a:pt x="4604654" y="1540981"/>
                  <a:pt x="4610394" y="1535241"/>
                </a:cubicBezTo>
                <a:close/>
                <a:moveTo>
                  <a:pt x="3876363" y="1528672"/>
                </a:moveTo>
                <a:lnTo>
                  <a:pt x="3865985" y="1531530"/>
                </a:lnTo>
                <a:lnTo>
                  <a:pt x="3865985" y="1534974"/>
                </a:lnTo>
                <a:lnTo>
                  <a:pt x="3869320" y="1535787"/>
                </a:lnTo>
                <a:cubicBezTo>
                  <a:pt x="3869413" y="1536440"/>
                  <a:pt x="3868479" y="1537372"/>
                  <a:pt x="3867358" y="1538490"/>
                </a:cubicBezTo>
                <a:lnTo>
                  <a:pt x="3866052" y="1540110"/>
                </a:lnTo>
                <a:lnTo>
                  <a:pt x="3878528" y="1536874"/>
                </a:lnTo>
                <a:lnTo>
                  <a:pt x="3880930" y="1536117"/>
                </a:lnTo>
                <a:lnTo>
                  <a:pt x="3881481" y="1529502"/>
                </a:lnTo>
                <a:cubicBezTo>
                  <a:pt x="3881481" y="1529502"/>
                  <a:pt x="3875741" y="1529502"/>
                  <a:pt x="3875741" y="1529502"/>
                </a:cubicBezTo>
                <a:close/>
                <a:moveTo>
                  <a:pt x="1205065" y="1528134"/>
                </a:moveTo>
                <a:lnTo>
                  <a:pt x="1199794" y="1531530"/>
                </a:lnTo>
                <a:lnTo>
                  <a:pt x="1203852" y="1531530"/>
                </a:lnTo>
                <a:close/>
                <a:moveTo>
                  <a:pt x="4074806" y="1510679"/>
                </a:moveTo>
                <a:lnTo>
                  <a:pt x="4074347" y="1510908"/>
                </a:lnTo>
                <a:lnTo>
                  <a:pt x="4074873" y="1511170"/>
                </a:lnTo>
                <a:close/>
                <a:moveTo>
                  <a:pt x="4055943" y="1510674"/>
                </a:moveTo>
                <a:lnTo>
                  <a:pt x="4055638" y="1510822"/>
                </a:lnTo>
                <a:lnTo>
                  <a:pt x="4056412" y="1510908"/>
                </a:lnTo>
                <a:close/>
                <a:moveTo>
                  <a:pt x="4642257" y="1498979"/>
                </a:moveTo>
                <a:cubicBezTo>
                  <a:pt x="4639268" y="1501961"/>
                  <a:pt x="4637774" y="1503451"/>
                  <a:pt x="4637027" y="1503451"/>
                </a:cubicBezTo>
                <a:lnTo>
                  <a:pt x="4636991" y="1503236"/>
                </a:lnTo>
                <a:close/>
                <a:moveTo>
                  <a:pt x="1265551" y="1495747"/>
                </a:moveTo>
                <a:cubicBezTo>
                  <a:pt x="1265551" y="1501710"/>
                  <a:pt x="1271530" y="1501710"/>
                  <a:pt x="1271530" y="1501710"/>
                </a:cubicBezTo>
                <a:lnTo>
                  <a:pt x="1269032" y="1502692"/>
                </a:lnTo>
                <a:close/>
                <a:moveTo>
                  <a:pt x="4087170" y="1489785"/>
                </a:moveTo>
                <a:lnTo>
                  <a:pt x="4086132" y="1490968"/>
                </a:lnTo>
                <a:lnTo>
                  <a:pt x="4086430" y="1491457"/>
                </a:lnTo>
                <a:lnTo>
                  <a:pt x="4087838" y="1490723"/>
                </a:lnTo>
                <a:lnTo>
                  <a:pt x="4087174" y="1489788"/>
                </a:lnTo>
                <a:close/>
                <a:moveTo>
                  <a:pt x="4682136" y="1489325"/>
                </a:moveTo>
                <a:cubicBezTo>
                  <a:pt x="4676397" y="1495065"/>
                  <a:pt x="4653439" y="1506544"/>
                  <a:pt x="4647699" y="1500805"/>
                </a:cubicBezTo>
                <a:cubicBezTo>
                  <a:pt x="4653439" y="1495065"/>
                  <a:pt x="4664918" y="1495065"/>
                  <a:pt x="4682136" y="1489325"/>
                </a:cubicBezTo>
                <a:close/>
                <a:moveTo>
                  <a:pt x="4077298" y="1476488"/>
                </a:moveTo>
                <a:lnTo>
                  <a:pt x="4078180" y="1477369"/>
                </a:lnTo>
                <a:lnTo>
                  <a:pt x="4077298" y="1477703"/>
                </a:lnTo>
                <a:close/>
                <a:moveTo>
                  <a:pt x="4144218" y="1473084"/>
                </a:moveTo>
                <a:lnTo>
                  <a:pt x="4143871" y="1473270"/>
                </a:lnTo>
                <a:lnTo>
                  <a:pt x="4141544" y="1475012"/>
                </a:lnTo>
                <a:lnTo>
                  <a:pt x="4140141" y="1475263"/>
                </a:lnTo>
                <a:lnTo>
                  <a:pt x="4138442" y="1476172"/>
                </a:lnTo>
                <a:lnTo>
                  <a:pt x="4140972" y="1477854"/>
                </a:lnTo>
                <a:cubicBezTo>
                  <a:pt x="4137983" y="1480836"/>
                  <a:pt x="4136488" y="1480836"/>
                  <a:pt x="4134994" y="1480091"/>
                </a:cubicBezTo>
                <a:lnTo>
                  <a:pt x="4132709" y="1479236"/>
                </a:lnTo>
                <a:lnTo>
                  <a:pt x="4125473" y="1483103"/>
                </a:lnTo>
                <a:lnTo>
                  <a:pt x="4123039" y="1489783"/>
                </a:lnTo>
                <a:cubicBezTo>
                  <a:pt x="4121918" y="1488664"/>
                  <a:pt x="4119956" y="1488594"/>
                  <a:pt x="4117509" y="1489101"/>
                </a:cubicBezTo>
                <a:lnTo>
                  <a:pt x="4111473" y="1491086"/>
                </a:lnTo>
                <a:lnTo>
                  <a:pt x="4094523" y="1500842"/>
                </a:lnTo>
                <a:lnTo>
                  <a:pt x="4085761" y="1505214"/>
                </a:lnTo>
                <a:lnTo>
                  <a:pt x="4087171" y="1507674"/>
                </a:lnTo>
                <a:lnTo>
                  <a:pt x="4084000" y="1506092"/>
                </a:lnTo>
                <a:lnTo>
                  <a:pt x="4077323" y="1509423"/>
                </a:lnTo>
                <a:lnTo>
                  <a:pt x="4077456" y="1509911"/>
                </a:lnTo>
                <a:lnTo>
                  <a:pt x="4076278" y="1511871"/>
                </a:lnTo>
                <a:lnTo>
                  <a:pt x="4080325" y="1513889"/>
                </a:lnTo>
                <a:cubicBezTo>
                  <a:pt x="4081819" y="1513889"/>
                  <a:pt x="4083314" y="1513889"/>
                  <a:pt x="4086303" y="1516871"/>
                </a:cubicBezTo>
                <a:cubicBezTo>
                  <a:pt x="4092281" y="1510908"/>
                  <a:pt x="4110215" y="1493015"/>
                  <a:pt x="4122172" y="1504943"/>
                </a:cubicBezTo>
                <a:cubicBezTo>
                  <a:pt x="4116193" y="1493015"/>
                  <a:pt x="4134125" y="1481086"/>
                  <a:pt x="4140104" y="1487051"/>
                </a:cubicBezTo>
                <a:cubicBezTo>
                  <a:pt x="4140104" y="1484069"/>
                  <a:pt x="4140104" y="1481087"/>
                  <a:pt x="4140852" y="1478850"/>
                </a:cubicBezTo>
                <a:lnTo>
                  <a:pt x="4145587" y="1475475"/>
                </a:lnTo>
                <a:close/>
                <a:moveTo>
                  <a:pt x="4586120" y="1472575"/>
                </a:moveTo>
                <a:lnTo>
                  <a:pt x="4581731" y="1474378"/>
                </a:lnTo>
                <a:lnTo>
                  <a:pt x="4582162" y="1474809"/>
                </a:lnTo>
                <a:lnTo>
                  <a:pt x="4565291" y="1482577"/>
                </a:lnTo>
                <a:cubicBezTo>
                  <a:pt x="4559686" y="1486305"/>
                  <a:pt x="4553521" y="1490405"/>
                  <a:pt x="4546515" y="1494319"/>
                </a:cubicBezTo>
                <a:lnTo>
                  <a:pt x="4528075" y="1502544"/>
                </a:lnTo>
                <a:lnTo>
                  <a:pt x="4527739" y="1503260"/>
                </a:lnTo>
                <a:lnTo>
                  <a:pt x="4525216" y="1504550"/>
                </a:lnTo>
                <a:lnTo>
                  <a:pt x="4547823" y="1501028"/>
                </a:lnTo>
                <a:cubicBezTo>
                  <a:pt x="4555763" y="1498606"/>
                  <a:pt x="4563422" y="1495251"/>
                  <a:pt x="4571268" y="1491523"/>
                </a:cubicBezTo>
                <a:lnTo>
                  <a:pt x="4590246" y="1482453"/>
                </a:lnTo>
                <a:lnTo>
                  <a:pt x="4585419" y="1482184"/>
                </a:lnTo>
                <a:cubicBezTo>
                  <a:pt x="4585419" y="1482184"/>
                  <a:pt x="4586854" y="1479315"/>
                  <a:pt x="4587571" y="1476445"/>
                </a:cubicBezTo>
                <a:lnTo>
                  <a:pt x="4586700" y="1474120"/>
                </a:lnTo>
                <a:lnTo>
                  <a:pt x="4582477" y="1475122"/>
                </a:lnTo>
                <a:lnTo>
                  <a:pt x="4582162" y="1474809"/>
                </a:lnTo>
                <a:lnTo>
                  <a:pt x="4586252" y="1472926"/>
                </a:lnTo>
                <a:close/>
                <a:moveTo>
                  <a:pt x="3976463" y="1471883"/>
                </a:moveTo>
                <a:lnTo>
                  <a:pt x="3971187" y="1476488"/>
                </a:lnTo>
                <a:lnTo>
                  <a:pt x="3955414" y="1486174"/>
                </a:lnTo>
                <a:lnTo>
                  <a:pt x="3955654" y="1489783"/>
                </a:lnTo>
                <a:cubicBezTo>
                  <a:pt x="3961632" y="1489783"/>
                  <a:pt x="3966116" y="1488292"/>
                  <a:pt x="3969853" y="1484564"/>
                </a:cubicBezTo>
                <a:close/>
                <a:moveTo>
                  <a:pt x="4080314" y="1469611"/>
                </a:moveTo>
                <a:lnTo>
                  <a:pt x="4080446" y="1469654"/>
                </a:lnTo>
                <a:lnTo>
                  <a:pt x="4081605" y="1471068"/>
                </a:lnTo>
                <a:lnTo>
                  <a:pt x="4081193" y="1471890"/>
                </a:lnTo>
                <a:close/>
                <a:moveTo>
                  <a:pt x="4701269" y="1469236"/>
                </a:moveTo>
                <a:cubicBezTo>
                  <a:pt x="4701269" y="1475932"/>
                  <a:pt x="4701269" y="1475932"/>
                  <a:pt x="4707965" y="1475932"/>
                </a:cubicBezTo>
                <a:cubicBezTo>
                  <a:pt x="4707965" y="1482630"/>
                  <a:pt x="4701269" y="1489325"/>
                  <a:pt x="4687876" y="1489325"/>
                </a:cubicBezTo>
                <a:cubicBezTo>
                  <a:pt x="4694573" y="1475932"/>
                  <a:pt x="4694573" y="1475932"/>
                  <a:pt x="4701269" y="1469236"/>
                </a:cubicBezTo>
                <a:close/>
                <a:moveTo>
                  <a:pt x="4594433" y="1469158"/>
                </a:moveTo>
                <a:lnTo>
                  <a:pt x="4590668" y="1470706"/>
                </a:lnTo>
                <a:lnTo>
                  <a:pt x="4591074" y="1470706"/>
                </a:lnTo>
                <a:close/>
                <a:moveTo>
                  <a:pt x="4077456" y="1462200"/>
                </a:moveTo>
                <a:lnTo>
                  <a:pt x="4080314" y="1469611"/>
                </a:lnTo>
                <a:lnTo>
                  <a:pt x="4069236" y="1465927"/>
                </a:lnTo>
                <a:cubicBezTo>
                  <a:pt x="4072227" y="1462944"/>
                  <a:pt x="4075214" y="1461453"/>
                  <a:pt x="4077456" y="1462200"/>
                </a:cubicBezTo>
                <a:close/>
                <a:moveTo>
                  <a:pt x="4038536" y="1460698"/>
                </a:moveTo>
                <a:cubicBezTo>
                  <a:pt x="4035487" y="1460698"/>
                  <a:pt x="4033963" y="1463566"/>
                  <a:pt x="4032439" y="1465719"/>
                </a:cubicBezTo>
                <a:lnTo>
                  <a:pt x="4032027" y="1465768"/>
                </a:lnTo>
                <a:close/>
                <a:moveTo>
                  <a:pt x="1332097" y="1454532"/>
                </a:moveTo>
                <a:lnTo>
                  <a:pt x="1330173" y="1455103"/>
                </a:lnTo>
                <a:lnTo>
                  <a:pt x="1330421" y="1454772"/>
                </a:lnTo>
                <a:close/>
                <a:moveTo>
                  <a:pt x="4653439" y="1452018"/>
                </a:moveTo>
                <a:cubicBezTo>
                  <a:pt x="4647699" y="1452018"/>
                  <a:pt x="4641960" y="1463497"/>
                  <a:pt x="4636221" y="1457757"/>
                </a:cubicBezTo>
                <a:cubicBezTo>
                  <a:pt x="4636221" y="1452018"/>
                  <a:pt x="4641960" y="1452018"/>
                  <a:pt x="4653439" y="1452018"/>
                </a:cubicBezTo>
                <a:close/>
                <a:moveTo>
                  <a:pt x="4416419" y="1449320"/>
                </a:moveTo>
                <a:lnTo>
                  <a:pt x="4405833" y="1455303"/>
                </a:lnTo>
                <a:lnTo>
                  <a:pt x="4409114" y="1460213"/>
                </a:lnTo>
                <a:lnTo>
                  <a:pt x="4412957" y="1465963"/>
                </a:lnTo>
                <a:lnTo>
                  <a:pt x="4415365" y="1465071"/>
                </a:lnTo>
                <a:close/>
                <a:moveTo>
                  <a:pt x="4011539" y="1446669"/>
                </a:moveTo>
                <a:lnTo>
                  <a:pt x="4010546" y="1446697"/>
                </a:lnTo>
                <a:lnTo>
                  <a:pt x="4007645" y="1448900"/>
                </a:lnTo>
                <a:lnTo>
                  <a:pt x="4006391" y="1446815"/>
                </a:lnTo>
                <a:lnTo>
                  <a:pt x="4005001" y="1446855"/>
                </a:lnTo>
                <a:cubicBezTo>
                  <a:pt x="4002946" y="1447787"/>
                  <a:pt x="4001078" y="1449650"/>
                  <a:pt x="3999583" y="1452632"/>
                </a:cubicBezTo>
                <a:cubicBezTo>
                  <a:pt x="3999583" y="1464561"/>
                  <a:pt x="4005561" y="1446669"/>
                  <a:pt x="4005561" y="1452632"/>
                </a:cubicBezTo>
                <a:lnTo>
                  <a:pt x="4003375" y="1456571"/>
                </a:lnTo>
                <a:lnTo>
                  <a:pt x="4010332" y="1457110"/>
                </a:lnTo>
                <a:cubicBezTo>
                  <a:pt x="4013002" y="1457468"/>
                  <a:pt x="4015478" y="1457648"/>
                  <a:pt x="4017289" y="1456662"/>
                </a:cubicBezTo>
                <a:lnTo>
                  <a:pt x="4018499" y="1453612"/>
                </a:lnTo>
                <a:close/>
                <a:moveTo>
                  <a:pt x="3782420" y="1442063"/>
                </a:moveTo>
                <a:lnTo>
                  <a:pt x="3782334" y="1442100"/>
                </a:lnTo>
                <a:lnTo>
                  <a:pt x="3782292" y="1442071"/>
                </a:lnTo>
                <a:close/>
                <a:moveTo>
                  <a:pt x="4171343" y="1441673"/>
                </a:moveTo>
                <a:lnTo>
                  <a:pt x="4169181" y="1444493"/>
                </a:lnTo>
                <a:lnTo>
                  <a:pt x="4169213" y="1444561"/>
                </a:lnTo>
                <a:lnTo>
                  <a:pt x="4171671" y="1443688"/>
                </a:lnTo>
                <a:close/>
                <a:moveTo>
                  <a:pt x="4107121" y="1438702"/>
                </a:moveTo>
                <a:lnTo>
                  <a:pt x="4106043" y="1439892"/>
                </a:lnTo>
                <a:lnTo>
                  <a:pt x="4105436" y="1439731"/>
                </a:lnTo>
                <a:close/>
                <a:moveTo>
                  <a:pt x="4036764" y="1438521"/>
                </a:moveTo>
                <a:lnTo>
                  <a:pt x="4035451" y="1440705"/>
                </a:lnTo>
                <a:cubicBezTo>
                  <a:pt x="4036945" y="1442195"/>
                  <a:pt x="4038066" y="1442568"/>
                  <a:pt x="4039001" y="1442289"/>
                </a:cubicBezTo>
                <a:lnTo>
                  <a:pt x="4040584" y="1440770"/>
                </a:lnTo>
                <a:close/>
                <a:moveTo>
                  <a:pt x="4403137" y="1437318"/>
                </a:moveTo>
                <a:lnTo>
                  <a:pt x="4400022" y="1440476"/>
                </a:lnTo>
                <a:lnTo>
                  <a:pt x="4403137" y="1445303"/>
                </a:lnTo>
                <a:cubicBezTo>
                  <a:pt x="4403137" y="1445303"/>
                  <a:pt x="4403137" y="1443811"/>
                  <a:pt x="4403137" y="1441575"/>
                </a:cubicBezTo>
                <a:lnTo>
                  <a:pt x="4403137" y="1437793"/>
                </a:lnTo>
                <a:lnTo>
                  <a:pt x="4402992" y="1437740"/>
                </a:lnTo>
                <a:lnTo>
                  <a:pt x="4403137" y="1437667"/>
                </a:lnTo>
                <a:close/>
                <a:moveTo>
                  <a:pt x="4109742" y="1437101"/>
                </a:moveTo>
                <a:lnTo>
                  <a:pt x="4109742" y="1437740"/>
                </a:lnTo>
                <a:lnTo>
                  <a:pt x="4109288" y="1437379"/>
                </a:lnTo>
                <a:close/>
                <a:moveTo>
                  <a:pt x="4108725" y="1436932"/>
                </a:moveTo>
                <a:lnTo>
                  <a:pt x="4109288" y="1437379"/>
                </a:lnTo>
                <a:lnTo>
                  <a:pt x="4107121" y="1438702"/>
                </a:lnTo>
                <a:close/>
                <a:moveTo>
                  <a:pt x="4891707" y="1436907"/>
                </a:moveTo>
                <a:lnTo>
                  <a:pt x="4880507" y="1446279"/>
                </a:lnTo>
                <a:cubicBezTo>
                  <a:pt x="4880507" y="1446279"/>
                  <a:pt x="4880507" y="1440539"/>
                  <a:pt x="4880507" y="1440539"/>
                </a:cubicBezTo>
                <a:close/>
                <a:moveTo>
                  <a:pt x="3812183" y="1436107"/>
                </a:moveTo>
                <a:lnTo>
                  <a:pt x="3811641" y="1436296"/>
                </a:lnTo>
                <a:lnTo>
                  <a:pt x="3811884" y="1436703"/>
                </a:lnTo>
                <a:close/>
                <a:moveTo>
                  <a:pt x="4738467" y="1435239"/>
                </a:moveTo>
                <a:cubicBezTo>
                  <a:pt x="4740522" y="1435239"/>
                  <a:pt x="4742390" y="1436357"/>
                  <a:pt x="4743884" y="1439339"/>
                </a:cubicBezTo>
                <a:cubicBezTo>
                  <a:pt x="4731927" y="1451266"/>
                  <a:pt x="4696059" y="1475122"/>
                  <a:pt x="4678125" y="1463195"/>
                </a:cubicBezTo>
                <a:cubicBezTo>
                  <a:pt x="4690081" y="1451266"/>
                  <a:pt x="4708015" y="1451266"/>
                  <a:pt x="4719972" y="1445303"/>
                </a:cubicBezTo>
                <a:cubicBezTo>
                  <a:pt x="4722961" y="1445303"/>
                  <a:pt x="4727445" y="1440830"/>
                  <a:pt x="4731927" y="1437848"/>
                </a:cubicBezTo>
                <a:cubicBezTo>
                  <a:pt x="4734170" y="1436357"/>
                  <a:pt x="4736412" y="1435239"/>
                  <a:pt x="4738467" y="1435239"/>
                </a:cubicBezTo>
                <a:close/>
                <a:moveTo>
                  <a:pt x="4894228" y="1434799"/>
                </a:moveTo>
                <a:cubicBezTo>
                  <a:pt x="4897277" y="1434082"/>
                  <a:pt x="4899182" y="1434082"/>
                  <a:pt x="4897658" y="1434979"/>
                </a:cubicBezTo>
                <a:lnTo>
                  <a:pt x="4891707" y="1436907"/>
                </a:lnTo>
                <a:close/>
                <a:moveTo>
                  <a:pt x="4747247" y="1431791"/>
                </a:moveTo>
                <a:cubicBezTo>
                  <a:pt x="4747621" y="1431512"/>
                  <a:pt x="4748367" y="1431884"/>
                  <a:pt x="4749862" y="1433375"/>
                </a:cubicBezTo>
                <a:cubicBezTo>
                  <a:pt x="4755840" y="1439339"/>
                  <a:pt x="4749862" y="1439339"/>
                  <a:pt x="4749862" y="1445303"/>
                </a:cubicBezTo>
                <a:cubicBezTo>
                  <a:pt x="4743884" y="1451266"/>
                  <a:pt x="4737906" y="1445303"/>
                  <a:pt x="4743884" y="1439339"/>
                </a:cubicBezTo>
                <a:cubicBezTo>
                  <a:pt x="4748367" y="1439339"/>
                  <a:pt x="4746126" y="1432630"/>
                  <a:pt x="4747247" y="1431791"/>
                </a:cubicBezTo>
                <a:close/>
                <a:moveTo>
                  <a:pt x="4371162" y="1431351"/>
                </a:moveTo>
                <a:lnTo>
                  <a:pt x="4369011" y="1432469"/>
                </a:lnTo>
                <a:lnTo>
                  <a:pt x="4370076" y="1435301"/>
                </a:lnTo>
                <a:lnTo>
                  <a:pt x="4369668" y="1436725"/>
                </a:lnTo>
                <a:lnTo>
                  <a:pt x="4369982" y="1437163"/>
                </a:lnTo>
                <a:lnTo>
                  <a:pt x="4370379" y="1436107"/>
                </a:lnTo>
                <a:lnTo>
                  <a:pt x="4370076" y="1435301"/>
                </a:lnTo>
                <a:lnTo>
                  <a:pt x="4371126" y="1431634"/>
                </a:lnTo>
                <a:close/>
                <a:moveTo>
                  <a:pt x="4374043" y="1429852"/>
                </a:moveTo>
                <a:lnTo>
                  <a:pt x="4373814" y="1429971"/>
                </a:lnTo>
                <a:lnTo>
                  <a:pt x="4374116" y="1430143"/>
                </a:lnTo>
                <a:close/>
                <a:moveTo>
                  <a:pt x="4037392" y="1429123"/>
                </a:moveTo>
                <a:lnTo>
                  <a:pt x="4037270" y="1429968"/>
                </a:lnTo>
                <a:lnTo>
                  <a:pt x="4035648" y="1430199"/>
                </a:lnTo>
                <a:lnTo>
                  <a:pt x="4035877" y="1431843"/>
                </a:lnTo>
                <a:lnTo>
                  <a:pt x="4037270" y="1432241"/>
                </a:lnTo>
                <a:lnTo>
                  <a:pt x="4041468" y="1429849"/>
                </a:lnTo>
                <a:close/>
                <a:moveTo>
                  <a:pt x="4400143" y="1429026"/>
                </a:moveTo>
                <a:lnTo>
                  <a:pt x="4399745" y="1429667"/>
                </a:lnTo>
                <a:lnTo>
                  <a:pt x="4400465" y="1429188"/>
                </a:lnTo>
                <a:close/>
                <a:moveTo>
                  <a:pt x="3832198" y="1428417"/>
                </a:moveTo>
                <a:lnTo>
                  <a:pt x="3829192" y="1429617"/>
                </a:lnTo>
                <a:lnTo>
                  <a:pt x="3829775" y="1430611"/>
                </a:lnTo>
                <a:lnTo>
                  <a:pt x="3830117" y="1430143"/>
                </a:lnTo>
                <a:lnTo>
                  <a:pt x="3832198" y="1430640"/>
                </a:lnTo>
                <a:close/>
                <a:moveTo>
                  <a:pt x="4164016" y="1427412"/>
                </a:moveTo>
                <a:cubicBezTo>
                  <a:pt x="4167007" y="1433375"/>
                  <a:pt x="4165512" y="1433375"/>
                  <a:pt x="4163270" y="1433375"/>
                </a:cubicBezTo>
                <a:lnTo>
                  <a:pt x="4158038" y="1439339"/>
                </a:lnTo>
                <a:close/>
                <a:moveTo>
                  <a:pt x="4469252" y="1426777"/>
                </a:moveTo>
                <a:lnTo>
                  <a:pt x="4463256" y="1429668"/>
                </a:lnTo>
                <a:cubicBezTo>
                  <a:pt x="4461103" y="1430475"/>
                  <a:pt x="4458951" y="1430879"/>
                  <a:pt x="4456978" y="1430273"/>
                </a:cubicBezTo>
                <a:lnTo>
                  <a:pt x="4454831" y="1428024"/>
                </a:lnTo>
                <a:lnTo>
                  <a:pt x="4451239" y="1429067"/>
                </a:lnTo>
                <a:lnTo>
                  <a:pt x="4451555" y="1431193"/>
                </a:lnTo>
                <a:lnTo>
                  <a:pt x="4449107" y="1433380"/>
                </a:lnTo>
                <a:lnTo>
                  <a:pt x="4464892" y="1430531"/>
                </a:lnTo>
                <a:lnTo>
                  <a:pt x="4442121" y="1437462"/>
                </a:lnTo>
                <a:lnTo>
                  <a:pt x="4439285" y="1442507"/>
                </a:lnTo>
                <a:cubicBezTo>
                  <a:pt x="4437884" y="1444184"/>
                  <a:pt x="4436016" y="1445303"/>
                  <a:pt x="4433027" y="1445303"/>
                </a:cubicBezTo>
                <a:cubicBezTo>
                  <a:pt x="4439005" y="1457231"/>
                  <a:pt x="4444983" y="1433375"/>
                  <a:pt x="4450961" y="1451266"/>
                </a:cubicBezTo>
                <a:cubicBezTo>
                  <a:pt x="4450961" y="1445303"/>
                  <a:pt x="4462917" y="1439339"/>
                  <a:pt x="4468895" y="1451266"/>
                </a:cubicBezTo>
                <a:cubicBezTo>
                  <a:pt x="4474873" y="1451266"/>
                  <a:pt x="4462917" y="1433375"/>
                  <a:pt x="4474873" y="1439339"/>
                </a:cubicBezTo>
                <a:lnTo>
                  <a:pt x="4472724" y="1436580"/>
                </a:lnTo>
                <a:lnTo>
                  <a:pt x="4466905" y="1434799"/>
                </a:lnTo>
                <a:lnTo>
                  <a:pt x="4469595" y="1431918"/>
                </a:lnTo>
                <a:close/>
                <a:moveTo>
                  <a:pt x="4127499" y="1426260"/>
                </a:moveTo>
                <a:lnTo>
                  <a:pt x="4109742" y="1437101"/>
                </a:lnTo>
                <a:lnTo>
                  <a:pt x="4109742" y="1432000"/>
                </a:lnTo>
                <a:cubicBezTo>
                  <a:pt x="4115662" y="1429129"/>
                  <a:pt x="4118622" y="1429129"/>
                  <a:pt x="4120841" y="1429129"/>
                </a:cubicBezTo>
                <a:close/>
                <a:moveTo>
                  <a:pt x="4059364" y="1422812"/>
                </a:moveTo>
                <a:lnTo>
                  <a:pt x="4059805" y="1425675"/>
                </a:lnTo>
                <a:lnTo>
                  <a:pt x="4062339" y="1430725"/>
                </a:lnTo>
                <a:lnTo>
                  <a:pt x="4060415" y="1429630"/>
                </a:lnTo>
                <a:lnTo>
                  <a:pt x="4060672" y="1431293"/>
                </a:lnTo>
                <a:cubicBezTo>
                  <a:pt x="4060111" y="1432690"/>
                  <a:pt x="4058616" y="1432877"/>
                  <a:pt x="4056374" y="1432505"/>
                </a:cubicBezTo>
                <a:lnTo>
                  <a:pt x="4045736" y="1430609"/>
                </a:lnTo>
                <a:lnTo>
                  <a:pt x="4044106" y="1430725"/>
                </a:lnTo>
                <a:lnTo>
                  <a:pt x="4044556" y="1430399"/>
                </a:lnTo>
                <a:lnTo>
                  <a:pt x="4044268" y="1430348"/>
                </a:lnTo>
                <a:lnTo>
                  <a:pt x="4044106" y="1430725"/>
                </a:lnTo>
                <a:cubicBezTo>
                  <a:pt x="4044106" y="1436785"/>
                  <a:pt x="4044106" y="1436785"/>
                  <a:pt x="4044106" y="1436785"/>
                </a:cubicBezTo>
                <a:lnTo>
                  <a:pt x="4045014" y="1436830"/>
                </a:lnTo>
                <a:lnTo>
                  <a:pt x="4047408" y="1434741"/>
                </a:lnTo>
                <a:cubicBezTo>
                  <a:pt x="4048902" y="1433250"/>
                  <a:pt x="4049649" y="1433250"/>
                  <a:pt x="4050116" y="1433995"/>
                </a:cubicBezTo>
                <a:lnTo>
                  <a:pt x="4050980" y="1437127"/>
                </a:lnTo>
                <a:lnTo>
                  <a:pt x="4059299" y="1437542"/>
                </a:lnTo>
                <a:cubicBezTo>
                  <a:pt x="4071833" y="1435269"/>
                  <a:pt x="4077530" y="1426183"/>
                  <a:pt x="4086647" y="1430725"/>
                </a:cubicBezTo>
                <a:cubicBezTo>
                  <a:pt x="4088166" y="1427696"/>
                  <a:pt x="4088166" y="1425803"/>
                  <a:pt x="4087216" y="1424667"/>
                </a:cubicBezTo>
                <a:lnTo>
                  <a:pt x="4084263" y="1423795"/>
                </a:lnTo>
                <a:lnTo>
                  <a:pt x="4073748" y="1426540"/>
                </a:lnTo>
                <a:cubicBezTo>
                  <a:pt x="4067583" y="1426913"/>
                  <a:pt x="4062353" y="1425794"/>
                  <a:pt x="4059364" y="1422812"/>
                </a:cubicBezTo>
                <a:close/>
                <a:moveTo>
                  <a:pt x="4408021" y="1422781"/>
                </a:moveTo>
                <a:cubicBezTo>
                  <a:pt x="4405686" y="1423247"/>
                  <a:pt x="4403631" y="1424551"/>
                  <a:pt x="4401763" y="1426415"/>
                </a:cubicBezTo>
                <a:lnTo>
                  <a:pt x="4401014" y="1427622"/>
                </a:lnTo>
                <a:lnTo>
                  <a:pt x="4411034" y="1423972"/>
                </a:lnTo>
                <a:lnTo>
                  <a:pt x="4412105" y="1423499"/>
                </a:lnTo>
                <a:close/>
                <a:moveTo>
                  <a:pt x="4417610" y="1422639"/>
                </a:moveTo>
                <a:lnTo>
                  <a:pt x="4407590" y="1432801"/>
                </a:lnTo>
                <a:lnTo>
                  <a:pt x="4402126" y="1430031"/>
                </a:lnTo>
                <a:lnTo>
                  <a:pt x="4399400" y="1437102"/>
                </a:lnTo>
                <a:lnTo>
                  <a:pt x="4396068" y="1435592"/>
                </a:lnTo>
                <a:lnTo>
                  <a:pt x="4392048" y="1442071"/>
                </a:lnTo>
                <a:lnTo>
                  <a:pt x="4392452" y="1442542"/>
                </a:lnTo>
                <a:lnTo>
                  <a:pt x="4394917" y="1440084"/>
                </a:lnTo>
                <a:cubicBezTo>
                  <a:pt x="4396037" y="1438966"/>
                  <a:pt x="4397345" y="1438034"/>
                  <a:pt x="4398746" y="1438500"/>
                </a:cubicBezTo>
                <a:lnTo>
                  <a:pt x="4399727" y="1440019"/>
                </a:lnTo>
                <a:lnTo>
                  <a:pt x="4400605" y="1434835"/>
                </a:lnTo>
                <a:lnTo>
                  <a:pt x="4403137" y="1433420"/>
                </a:lnTo>
                <a:lnTo>
                  <a:pt x="4403137" y="1433375"/>
                </a:lnTo>
                <a:lnTo>
                  <a:pt x="4403178" y="1433396"/>
                </a:lnTo>
                <a:lnTo>
                  <a:pt x="4403330" y="1433311"/>
                </a:lnTo>
                <a:lnTo>
                  <a:pt x="4406511" y="1433897"/>
                </a:lnTo>
                <a:lnTo>
                  <a:pt x="4405743" y="1434675"/>
                </a:lnTo>
                <a:lnTo>
                  <a:pt x="4407434" y="1435519"/>
                </a:lnTo>
                <a:lnTo>
                  <a:pt x="4408732" y="1434869"/>
                </a:lnTo>
                <a:lnTo>
                  <a:pt x="4409554" y="1434458"/>
                </a:lnTo>
                <a:lnTo>
                  <a:pt x="4406511" y="1433897"/>
                </a:lnTo>
                <a:lnTo>
                  <a:pt x="4407590" y="1432801"/>
                </a:lnTo>
                <a:lnTo>
                  <a:pt x="4409270" y="1433654"/>
                </a:lnTo>
                <a:lnTo>
                  <a:pt x="4409114" y="1433375"/>
                </a:lnTo>
                <a:cubicBezTo>
                  <a:pt x="4409114" y="1430394"/>
                  <a:pt x="4412103" y="1428902"/>
                  <a:pt x="4415092" y="1428157"/>
                </a:cubicBezTo>
                <a:lnTo>
                  <a:pt x="4420421" y="1427493"/>
                </a:lnTo>
                <a:close/>
                <a:moveTo>
                  <a:pt x="4116018" y="1420521"/>
                </a:moveTo>
                <a:cubicBezTo>
                  <a:pt x="4116018" y="1426260"/>
                  <a:pt x="4104540" y="1426260"/>
                  <a:pt x="4098800" y="1437740"/>
                </a:cubicBezTo>
                <a:cubicBezTo>
                  <a:pt x="4098800" y="1420521"/>
                  <a:pt x="4110279" y="1420521"/>
                  <a:pt x="4116018" y="1420521"/>
                </a:cubicBezTo>
                <a:close/>
                <a:moveTo>
                  <a:pt x="4477482" y="1419364"/>
                </a:moveTo>
                <a:lnTo>
                  <a:pt x="4474873" y="1421446"/>
                </a:lnTo>
                <a:lnTo>
                  <a:pt x="4476642" y="1421740"/>
                </a:lnTo>
                <a:lnTo>
                  <a:pt x="4477371" y="1420014"/>
                </a:lnTo>
                <a:close/>
                <a:moveTo>
                  <a:pt x="4228864" y="1416982"/>
                </a:moveTo>
                <a:lnTo>
                  <a:pt x="4228401" y="1418214"/>
                </a:lnTo>
                <a:lnTo>
                  <a:pt x="4230201" y="1423000"/>
                </a:lnTo>
                <a:lnTo>
                  <a:pt x="4233952" y="1421680"/>
                </a:lnTo>
                <a:lnTo>
                  <a:pt x="4231708" y="1417702"/>
                </a:lnTo>
                <a:close/>
                <a:moveTo>
                  <a:pt x="4473679" y="1415077"/>
                </a:moveTo>
                <a:lnTo>
                  <a:pt x="4472582" y="1418368"/>
                </a:lnTo>
                <a:lnTo>
                  <a:pt x="4472817" y="1419072"/>
                </a:lnTo>
                <a:lnTo>
                  <a:pt x="4474873" y="1415482"/>
                </a:lnTo>
                <a:close/>
                <a:moveTo>
                  <a:pt x="4470483" y="1413992"/>
                </a:moveTo>
                <a:cubicBezTo>
                  <a:pt x="4469082" y="1414364"/>
                  <a:pt x="4467774" y="1415483"/>
                  <a:pt x="4466653" y="1416973"/>
                </a:cubicBezTo>
                <a:lnTo>
                  <a:pt x="4464452" y="1423123"/>
                </a:lnTo>
                <a:lnTo>
                  <a:pt x="4465408" y="1423211"/>
                </a:lnTo>
                <a:cubicBezTo>
                  <a:pt x="4466484" y="1423211"/>
                  <a:pt x="4467381" y="1422807"/>
                  <a:pt x="4468726" y="1421193"/>
                </a:cubicBezTo>
                <a:lnTo>
                  <a:pt x="4472864" y="1414800"/>
                </a:lnTo>
                <a:close/>
                <a:moveTo>
                  <a:pt x="4272488" y="1412799"/>
                </a:moveTo>
                <a:lnTo>
                  <a:pt x="4272263" y="1412925"/>
                </a:lnTo>
                <a:lnTo>
                  <a:pt x="4268752" y="1423433"/>
                </a:lnTo>
                <a:cubicBezTo>
                  <a:pt x="4268005" y="1427161"/>
                  <a:pt x="4266510" y="1430143"/>
                  <a:pt x="4260532" y="1430143"/>
                </a:cubicBezTo>
                <a:cubicBezTo>
                  <a:pt x="4254556" y="1418214"/>
                  <a:pt x="4260532" y="1424178"/>
                  <a:pt x="4266510" y="1418214"/>
                </a:cubicBezTo>
                <a:lnTo>
                  <a:pt x="4265151" y="1416916"/>
                </a:lnTo>
                <a:lnTo>
                  <a:pt x="4262615" y="1418340"/>
                </a:lnTo>
                <a:lnTo>
                  <a:pt x="4254556" y="1419847"/>
                </a:lnTo>
                <a:lnTo>
                  <a:pt x="4254556" y="1422423"/>
                </a:lnTo>
                <a:lnTo>
                  <a:pt x="4256637" y="1422812"/>
                </a:lnTo>
                <a:cubicBezTo>
                  <a:pt x="4256637" y="1422812"/>
                  <a:pt x="4256637" y="1424303"/>
                  <a:pt x="4255890" y="1426540"/>
                </a:cubicBezTo>
                <a:lnTo>
                  <a:pt x="4255875" y="1426564"/>
                </a:lnTo>
                <a:lnTo>
                  <a:pt x="4257416" y="1429060"/>
                </a:lnTo>
                <a:lnTo>
                  <a:pt x="4254556" y="1429060"/>
                </a:lnTo>
                <a:lnTo>
                  <a:pt x="4254556" y="1430143"/>
                </a:lnTo>
                <a:lnTo>
                  <a:pt x="4253829" y="1429771"/>
                </a:lnTo>
                <a:lnTo>
                  <a:pt x="4250659" y="1434741"/>
                </a:lnTo>
                <a:cubicBezTo>
                  <a:pt x="4248417" y="1430268"/>
                  <a:pt x="4245335" y="1429988"/>
                  <a:pt x="4242673" y="1430757"/>
                </a:cubicBezTo>
                <a:lnTo>
                  <a:pt x="4240197" y="1431802"/>
                </a:lnTo>
                <a:lnTo>
                  <a:pt x="4240197" y="1434082"/>
                </a:lnTo>
                <a:cubicBezTo>
                  <a:pt x="4240197" y="1434799"/>
                  <a:pt x="4240197" y="1434799"/>
                  <a:pt x="4240197" y="1434799"/>
                </a:cubicBezTo>
                <a:cubicBezTo>
                  <a:pt x="4245936" y="1440539"/>
                  <a:pt x="4234457" y="1429060"/>
                  <a:pt x="4234457" y="1440539"/>
                </a:cubicBezTo>
                <a:lnTo>
                  <a:pt x="4231116" y="1433856"/>
                </a:lnTo>
                <a:lnTo>
                  <a:pt x="4229465" y="1433769"/>
                </a:lnTo>
                <a:lnTo>
                  <a:pt x="4220769" y="1438468"/>
                </a:lnTo>
                <a:lnTo>
                  <a:pt x="4215078" y="1439237"/>
                </a:lnTo>
                <a:lnTo>
                  <a:pt x="4213177" y="1444028"/>
                </a:lnTo>
                <a:cubicBezTo>
                  <a:pt x="4211028" y="1447475"/>
                  <a:pt x="4208599" y="1449898"/>
                  <a:pt x="4205984" y="1451761"/>
                </a:cubicBezTo>
                <a:lnTo>
                  <a:pt x="4190587" y="1459109"/>
                </a:lnTo>
                <a:lnTo>
                  <a:pt x="4187891" y="1463816"/>
                </a:lnTo>
                <a:lnTo>
                  <a:pt x="4185003" y="1464536"/>
                </a:lnTo>
                <a:lnTo>
                  <a:pt x="4184472" y="1464779"/>
                </a:lnTo>
                <a:cubicBezTo>
                  <a:pt x="4183632" y="1464500"/>
                  <a:pt x="4183071" y="1463568"/>
                  <a:pt x="4182698" y="1462450"/>
                </a:cubicBezTo>
                <a:lnTo>
                  <a:pt x="4182535" y="1461314"/>
                </a:lnTo>
                <a:lnTo>
                  <a:pt x="4180071" y="1457935"/>
                </a:lnTo>
                <a:lnTo>
                  <a:pt x="4175286" y="1459725"/>
                </a:lnTo>
                <a:lnTo>
                  <a:pt x="4176841" y="1465927"/>
                </a:lnTo>
                <a:cubicBezTo>
                  <a:pt x="4176841" y="1465927"/>
                  <a:pt x="4176841" y="1464436"/>
                  <a:pt x="4176093" y="1462945"/>
                </a:cubicBezTo>
                <a:lnTo>
                  <a:pt x="4172486" y="1460889"/>
                </a:lnTo>
                <a:lnTo>
                  <a:pt x="4171918" y="1463722"/>
                </a:lnTo>
                <a:lnTo>
                  <a:pt x="4170863" y="1463758"/>
                </a:lnTo>
                <a:lnTo>
                  <a:pt x="4170863" y="1465927"/>
                </a:lnTo>
                <a:cubicBezTo>
                  <a:pt x="4164885" y="1465927"/>
                  <a:pt x="4164885" y="1465927"/>
                  <a:pt x="4158906" y="1465927"/>
                </a:cubicBezTo>
                <a:cubicBezTo>
                  <a:pt x="4172357" y="1470400"/>
                  <a:pt x="4158906" y="1471518"/>
                  <a:pt x="4151340" y="1474313"/>
                </a:cubicBezTo>
                <a:lnTo>
                  <a:pt x="4147307" y="1477566"/>
                </a:lnTo>
                <a:lnTo>
                  <a:pt x="4149625" y="1482191"/>
                </a:lnTo>
                <a:lnTo>
                  <a:pt x="4146082" y="1487051"/>
                </a:lnTo>
                <a:lnTo>
                  <a:pt x="4150681" y="1484298"/>
                </a:lnTo>
                <a:lnTo>
                  <a:pt x="4152061" y="1487051"/>
                </a:lnTo>
                <a:cubicBezTo>
                  <a:pt x="4155050" y="1484069"/>
                  <a:pt x="4155050" y="1482577"/>
                  <a:pt x="4153555" y="1482577"/>
                </a:cubicBezTo>
                <a:lnTo>
                  <a:pt x="4150681" y="1484298"/>
                </a:lnTo>
                <a:lnTo>
                  <a:pt x="4149625" y="1482191"/>
                </a:lnTo>
                <a:lnTo>
                  <a:pt x="4152061" y="1478850"/>
                </a:lnTo>
                <a:cubicBezTo>
                  <a:pt x="4155050" y="1478105"/>
                  <a:pt x="4158038" y="1478105"/>
                  <a:pt x="4158038" y="1475122"/>
                </a:cubicBezTo>
                <a:cubicBezTo>
                  <a:pt x="4164016" y="1475122"/>
                  <a:pt x="4164016" y="1481086"/>
                  <a:pt x="4164016" y="1481086"/>
                </a:cubicBezTo>
                <a:cubicBezTo>
                  <a:pt x="4169994" y="1475122"/>
                  <a:pt x="4169994" y="1463195"/>
                  <a:pt x="4175972" y="1463195"/>
                </a:cubicBezTo>
                <a:cubicBezTo>
                  <a:pt x="4175972" y="1463195"/>
                  <a:pt x="4175972" y="1469158"/>
                  <a:pt x="4181950" y="1469158"/>
                </a:cubicBezTo>
                <a:cubicBezTo>
                  <a:pt x="4211841" y="1463195"/>
                  <a:pt x="4235753" y="1445303"/>
                  <a:pt x="4253688" y="1433375"/>
                </a:cubicBezTo>
                <a:cubicBezTo>
                  <a:pt x="4259666" y="1427412"/>
                  <a:pt x="4265642" y="1433375"/>
                  <a:pt x="4271620" y="1433375"/>
                </a:cubicBezTo>
                <a:cubicBezTo>
                  <a:pt x="4274610" y="1430394"/>
                  <a:pt x="4274610" y="1428902"/>
                  <a:pt x="4273862" y="1427411"/>
                </a:cubicBezTo>
                <a:lnTo>
                  <a:pt x="4272585" y="1424014"/>
                </a:lnTo>
                <a:lnTo>
                  <a:pt x="4272488" y="1424178"/>
                </a:lnTo>
                <a:lnTo>
                  <a:pt x="4272488" y="1423756"/>
                </a:lnTo>
                <a:lnTo>
                  <a:pt x="4271620" y="1421446"/>
                </a:lnTo>
                <a:lnTo>
                  <a:pt x="4272488" y="1421570"/>
                </a:lnTo>
                <a:lnTo>
                  <a:pt x="4272488" y="1420451"/>
                </a:lnTo>
                <a:cubicBezTo>
                  <a:pt x="4272488" y="1418587"/>
                  <a:pt x="4272488" y="1416537"/>
                  <a:pt x="4272488" y="1414953"/>
                </a:cubicBezTo>
                <a:close/>
                <a:moveTo>
                  <a:pt x="4421939" y="1412250"/>
                </a:moveTo>
                <a:lnTo>
                  <a:pt x="4420898" y="1413081"/>
                </a:lnTo>
                <a:lnTo>
                  <a:pt x="4421070" y="1415482"/>
                </a:lnTo>
                <a:lnTo>
                  <a:pt x="4419749" y="1413999"/>
                </a:lnTo>
                <a:lnTo>
                  <a:pt x="4414466" y="1418214"/>
                </a:lnTo>
                <a:lnTo>
                  <a:pt x="4415423" y="1422033"/>
                </a:lnTo>
                <a:lnTo>
                  <a:pt x="4424772" y="1417903"/>
                </a:lnTo>
                <a:close/>
                <a:moveTo>
                  <a:pt x="4133237" y="1411911"/>
                </a:moveTo>
                <a:lnTo>
                  <a:pt x="4133476" y="1412622"/>
                </a:lnTo>
                <a:lnTo>
                  <a:pt x="4133237" y="1412867"/>
                </a:lnTo>
                <a:lnTo>
                  <a:pt x="4133684" y="1413240"/>
                </a:lnTo>
                <a:lnTo>
                  <a:pt x="4134671" y="1416171"/>
                </a:lnTo>
                <a:cubicBezTo>
                  <a:pt x="4133596" y="1419534"/>
                  <a:pt x="4126063" y="1420879"/>
                  <a:pt x="4121758" y="1426260"/>
                </a:cubicBezTo>
                <a:cubicBezTo>
                  <a:pt x="4121758" y="1419086"/>
                  <a:pt x="4121758" y="1419086"/>
                  <a:pt x="4121758" y="1419086"/>
                </a:cubicBezTo>
                <a:cubicBezTo>
                  <a:pt x="4127498" y="1411911"/>
                  <a:pt x="4127498" y="1419086"/>
                  <a:pt x="4133237" y="1411911"/>
                </a:cubicBezTo>
                <a:close/>
                <a:moveTo>
                  <a:pt x="4508291" y="1411161"/>
                </a:moveTo>
                <a:lnTo>
                  <a:pt x="4502607" y="1413961"/>
                </a:lnTo>
                <a:lnTo>
                  <a:pt x="4496032" y="1417492"/>
                </a:lnTo>
                <a:lnTo>
                  <a:pt x="4498786" y="1419210"/>
                </a:lnTo>
                <a:cubicBezTo>
                  <a:pt x="4500281" y="1421447"/>
                  <a:pt x="4501775" y="1424429"/>
                  <a:pt x="4504764" y="1427412"/>
                </a:cubicBezTo>
                <a:cubicBezTo>
                  <a:pt x="4500281" y="1422937"/>
                  <a:pt x="4509247" y="1415110"/>
                  <a:pt x="4508967" y="1411476"/>
                </a:cubicBezTo>
                <a:close/>
                <a:moveTo>
                  <a:pt x="4391180" y="1409519"/>
                </a:moveTo>
                <a:cubicBezTo>
                  <a:pt x="4386697" y="1408028"/>
                  <a:pt x="4384082" y="1408773"/>
                  <a:pt x="4382401" y="1410730"/>
                </a:cubicBezTo>
                <a:lnTo>
                  <a:pt x="4379766" y="1417768"/>
                </a:lnTo>
                <a:lnTo>
                  <a:pt x="4387524" y="1413688"/>
                </a:lnTo>
                <a:close/>
                <a:moveTo>
                  <a:pt x="4480761" y="1408684"/>
                </a:moveTo>
                <a:lnTo>
                  <a:pt x="4479915" y="1408981"/>
                </a:lnTo>
                <a:lnTo>
                  <a:pt x="4480761" y="1409251"/>
                </a:lnTo>
                <a:close/>
                <a:moveTo>
                  <a:pt x="4414340" y="1407364"/>
                </a:moveTo>
                <a:lnTo>
                  <a:pt x="4413255" y="1408052"/>
                </a:lnTo>
                <a:lnTo>
                  <a:pt x="4415092" y="1409519"/>
                </a:lnTo>
                <a:lnTo>
                  <a:pt x="4412650" y="1411525"/>
                </a:lnTo>
                <a:lnTo>
                  <a:pt x="4416339" y="1410172"/>
                </a:lnTo>
                <a:lnTo>
                  <a:pt x="4415092" y="1408773"/>
                </a:lnTo>
                <a:close/>
                <a:moveTo>
                  <a:pt x="4517109" y="1406982"/>
                </a:moveTo>
                <a:lnTo>
                  <a:pt x="4516922" y="1407811"/>
                </a:lnTo>
                <a:lnTo>
                  <a:pt x="4516022" y="1407352"/>
                </a:lnTo>
                <a:lnTo>
                  <a:pt x="4516261" y="1407235"/>
                </a:lnTo>
                <a:close/>
                <a:moveTo>
                  <a:pt x="4144716" y="1406171"/>
                </a:moveTo>
                <a:cubicBezTo>
                  <a:pt x="4138976" y="1412867"/>
                  <a:pt x="4144716" y="1426260"/>
                  <a:pt x="4138976" y="1426260"/>
                </a:cubicBezTo>
                <a:cubicBezTo>
                  <a:pt x="4138976" y="1422912"/>
                  <a:pt x="4138976" y="1419564"/>
                  <a:pt x="4138259" y="1417053"/>
                </a:cubicBezTo>
                <a:lnTo>
                  <a:pt x="4133684" y="1413240"/>
                </a:lnTo>
                <a:lnTo>
                  <a:pt x="4133476" y="1412622"/>
                </a:lnTo>
                <a:lnTo>
                  <a:pt x="4138976" y="1407009"/>
                </a:lnTo>
                <a:cubicBezTo>
                  <a:pt x="4140411" y="1406171"/>
                  <a:pt x="4141846" y="1406171"/>
                  <a:pt x="4144716" y="1406171"/>
                </a:cubicBezTo>
                <a:close/>
                <a:moveTo>
                  <a:pt x="4246654" y="1404827"/>
                </a:moveTo>
                <a:lnTo>
                  <a:pt x="4248304" y="1408171"/>
                </a:lnTo>
                <a:lnTo>
                  <a:pt x="4251566" y="1407032"/>
                </a:lnTo>
                <a:lnTo>
                  <a:pt x="4254646" y="1405994"/>
                </a:lnTo>
                <a:lnTo>
                  <a:pt x="4252634" y="1404827"/>
                </a:lnTo>
                <a:cubicBezTo>
                  <a:pt x="4252634" y="1404827"/>
                  <a:pt x="4252634" y="1404827"/>
                  <a:pt x="4246654" y="1404827"/>
                </a:cubicBezTo>
                <a:close/>
                <a:moveTo>
                  <a:pt x="4322186" y="1400663"/>
                </a:moveTo>
                <a:lnTo>
                  <a:pt x="4317324" y="1401067"/>
                </a:lnTo>
                <a:lnTo>
                  <a:pt x="4308639" y="1406123"/>
                </a:lnTo>
                <a:lnTo>
                  <a:pt x="4304462" y="1410885"/>
                </a:lnTo>
                <a:cubicBezTo>
                  <a:pt x="4304462" y="1404921"/>
                  <a:pt x="4304462" y="1404921"/>
                  <a:pt x="4304462" y="1404921"/>
                </a:cubicBezTo>
                <a:lnTo>
                  <a:pt x="4302889" y="1405095"/>
                </a:lnTo>
                <a:lnTo>
                  <a:pt x="4302379" y="1405541"/>
                </a:lnTo>
                <a:lnTo>
                  <a:pt x="4298318" y="1406048"/>
                </a:lnTo>
                <a:lnTo>
                  <a:pt x="4300462" y="1411126"/>
                </a:lnTo>
                <a:cubicBezTo>
                  <a:pt x="4299027" y="1412740"/>
                  <a:pt x="4297593" y="1413547"/>
                  <a:pt x="4296247" y="1413951"/>
                </a:cubicBezTo>
                <a:lnTo>
                  <a:pt x="4293005" y="1414307"/>
                </a:lnTo>
                <a:lnTo>
                  <a:pt x="4293252" y="1416009"/>
                </a:lnTo>
                <a:lnTo>
                  <a:pt x="4289644" y="1415688"/>
                </a:lnTo>
                <a:lnTo>
                  <a:pt x="4288983" y="1417583"/>
                </a:lnTo>
                <a:lnTo>
                  <a:pt x="4287551" y="1415502"/>
                </a:lnTo>
                <a:lnTo>
                  <a:pt x="4287368" y="1415486"/>
                </a:lnTo>
                <a:cubicBezTo>
                  <a:pt x="4285406" y="1414891"/>
                  <a:pt x="4284285" y="1414612"/>
                  <a:pt x="4286527" y="1416848"/>
                </a:cubicBezTo>
                <a:cubicBezTo>
                  <a:pt x="4285033" y="1416848"/>
                  <a:pt x="4284659" y="1416476"/>
                  <a:pt x="4284846" y="1415823"/>
                </a:cubicBezTo>
                <a:lnTo>
                  <a:pt x="4286235" y="1413590"/>
                </a:lnTo>
                <a:lnTo>
                  <a:pt x="4285780" y="1412929"/>
                </a:lnTo>
                <a:lnTo>
                  <a:pt x="4286164" y="1411787"/>
                </a:lnTo>
                <a:lnTo>
                  <a:pt x="4279961" y="1411505"/>
                </a:lnTo>
                <a:lnTo>
                  <a:pt x="4273907" y="1421772"/>
                </a:lnTo>
                <a:lnTo>
                  <a:pt x="4276851" y="1422192"/>
                </a:lnTo>
                <a:cubicBezTo>
                  <a:pt x="4279093" y="1423310"/>
                  <a:pt x="4274609" y="1424429"/>
                  <a:pt x="4283577" y="1415482"/>
                </a:cubicBezTo>
                <a:cubicBezTo>
                  <a:pt x="4283577" y="1421446"/>
                  <a:pt x="4289554" y="1421446"/>
                  <a:pt x="4289554" y="1427412"/>
                </a:cubicBezTo>
                <a:cubicBezTo>
                  <a:pt x="4295532" y="1415482"/>
                  <a:pt x="4307488" y="1409519"/>
                  <a:pt x="4313467" y="1415482"/>
                </a:cubicBezTo>
                <a:cubicBezTo>
                  <a:pt x="4319445" y="1412500"/>
                  <a:pt x="4320939" y="1409519"/>
                  <a:pt x="4322434" y="1406536"/>
                </a:cubicBezTo>
                <a:lnTo>
                  <a:pt x="4323849" y="1404277"/>
                </a:lnTo>
                <a:close/>
                <a:moveTo>
                  <a:pt x="4158438" y="1398639"/>
                </a:moveTo>
                <a:cubicBezTo>
                  <a:pt x="4162472" y="1399427"/>
                  <a:pt x="4167316" y="1401005"/>
                  <a:pt x="4170544" y="1401005"/>
                </a:cubicBezTo>
                <a:cubicBezTo>
                  <a:pt x="4164087" y="1407319"/>
                  <a:pt x="4157630" y="1419946"/>
                  <a:pt x="4151173" y="1426260"/>
                </a:cubicBezTo>
                <a:cubicBezTo>
                  <a:pt x="4144716" y="1413634"/>
                  <a:pt x="4157630" y="1413634"/>
                  <a:pt x="4151173" y="1407319"/>
                </a:cubicBezTo>
                <a:cubicBezTo>
                  <a:pt x="4157630" y="1407319"/>
                  <a:pt x="4157630" y="1407319"/>
                  <a:pt x="4157630" y="1413634"/>
                </a:cubicBezTo>
                <a:cubicBezTo>
                  <a:pt x="4157630" y="1407319"/>
                  <a:pt x="4164087" y="1407319"/>
                  <a:pt x="4164087" y="1401005"/>
                </a:cubicBezTo>
                <a:cubicBezTo>
                  <a:pt x="4157630" y="1401005"/>
                  <a:pt x="4157630" y="1401005"/>
                  <a:pt x="4151173" y="1401005"/>
                </a:cubicBezTo>
                <a:cubicBezTo>
                  <a:pt x="4151173" y="1397848"/>
                  <a:pt x="4154402" y="1397848"/>
                  <a:pt x="4158438" y="1398639"/>
                </a:cubicBezTo>
                <a:close/>
                <a:moveTo>
                  <a:pt x="4409114" y="1397589"/>
                </a:moveTo>
                <a:cubicBezTo>
                  <a:pt x="4406125" y="1397589"/>
                  <a:pt x="4406125" y="1400572"/>
                  <a:pt x="4407620" y="1403555"/>
                </a:cubicBezTo>
                <a:lnTo>
                  <a:pt x="4412242" y="1407244"/>
                </a:lnTo>
                <a:lnTo>
                  <a:pt x="4413819" y="1406392"/>
                </a:lnTo>
                <a:close/>
                <a:moveTo>
                  <a:pt x="4326291" y="1397589"/>
                </a:moveTo>
                <a:lnTo>
                  <a:pt x="4326291" y="1398963"/>
                </a:lnTo>
                <a:lnTo>
                  <a:pt x="4327143" y="1398963"/>
                </a:lnTo>
                <a:lnTo>
                  <a:pt x="4329509" y="1398963"/>
                </a:lnTo>
                <a:lnTo>
                  <a:pt x="4331401" y="1397589"/>
                </a:lnTo>
                <a:close/>
                <a:moveTo>
                  <a:pt x="4479455" y="1392877"/>
                </a:moveTo>
                <a:lnTo>
                  <a:pt x="4475512" y="1394796"/>
                </a:lnTo>
                <a:lnTo>
                  <a:pt x="4476951" y="1395342"/>
                </a:lnTo>
                <a:close/>
                <a:moveTo>
                  <a:pt x="4621506" y="1391999"/>
                </a:moveTo>
                <a:lnTo>
                  <a:pt x="4621873" y="1397494"/>
                </a:lnTo>
                <a:cubicBezTo>
                  <a:pt x="4619002" y="1397494"/>
                  <a:pt x="4617568" y="1396059"/>
                  <a:pt x="4617568" y="1394624"/>
                </a:cubicBezTo>
                <a:close/>
                <a:moveTo>
                  <a:pt x="4621873" y="1391754"/>
                </a:moveTo>
                <a:lnTo>
                  <a:pt x="4621506" y="1391999"/>
                </a:lnTo>
                <a:lnTo>
                  <a:pt x="4621502" y="1391939"/>
                </a:lnTo>
                <a:close/>
                <a:moveTo>
                  <a:pt x="4240197" y="1391753"/>
                </a:moveTo>
                <a:cubicBezTo>
                  <a:pt x="4240197" y="1391753"/>
                  <a:pt x="4245936" y="1391753"/>
                  <a:pt x="4245936" y="1391753"/>
                </a:cubicBezTo>
                <a:cubicBezTo>
                  <a:pt x="4245936" y="1391753"/>
                  <a:pt x="4245936" y="1398448"/>
                  <a:pt x="4245936" y="1398448"/>
                </a:cubicBezTo>
                <a:cubicBezTo>
                  <a:pt x="4240197" y="1405146"/>
                  <a:pt x="4222978" y="1405146"/>
                  <a:pt x="4228718" y="1411841"/>
                </a:cubicBezTo>
                <a:cubicBezTo>
                  <a:pt x="4211500" y="1405146"/>
                  <a:pt x="4240197" y="1405146"/>
                  <a:pt x="4240197" y="1391753"/>
                </a:cubicBezTo>
                <a:close/>
                <a:moveTo>
                  <a:pt x="4021317" y="1388956"/>
                </a:moveTo>
                <a:lnTo>
                  <a:pt x="4013033" y="1392247"/>
                </a:lnTo>
                <a:lnTo>
                  <a:pt x="3996983" y="1398440"/>
                </a:lnTo>
                <a:lnTo>
                  <a:pt x="3995490" y="1400432"/>
                </a:lnTo>
                <a:lnTo>
                  <a:pt x="3994245" y="1399498"/>
                </a:lnTo>
                <a:lnTo>
                  <a:pt x="3977697" y="1405883"/>
                </a:lnTo>
                <a:lnTo>
                  <a:pt x="3978271" y="1407127"/>
                </a:lnTo>
                <a:cubicBezTo>
                  <a:pt x="3978271" y="1407127"/>
                  <a:pt x="3975402" y="1407127"/>
                  <a:pt x="3972533" y="1409459"/>
                </a:cubicBezTo>
                <a:lnTo>
                  <a:pt x="3967096" y="1424919"/>
                </a:lnTo>
                <a:lnTo>
                  <a:pt x="3961053" y="1419565"/>
                </a:lnTo>
                <a:cubicBezTo>
                  <a:pt x="3961053" y="1413346"/>
                  <a:pt x="3966792" y="1425781"/>
                  <a:pt x="3966792" y="1413346"/>
                </a:cubicBezTo>
                <a:cubicBezTo>
                  <a:pt x="3966792" y="1413346"/>
                  <a:pt x="3955313" y="1413346"/>
                  <a:pt x="3955313" y="1419565"/>
                </a:cubicBezTo>
                <a:lnTo>
                  <a:pt x="3955313" y="1414520"/>
                </a:lnTo>
                <a:lnTo>
                  <a:pt x="3948078" y="1417313"/>
                </a:lnTo>
                <a:lnTo>
                  <a:pt x="3947556" y="1418995"/>
                </a:lnTo>
                <a:cubicBezTo>
                  <a:pt x="3943924" y="1423139"/>
                  <a:pt x="3936660" y="1421955"/>
                  <a:pt x="3936660" y="1431425"/>
                </a:cubicBezTo>
                <a:cubicBezTo>
                  <a:pt x="3936660" y="1433004"/>
                  <a:pt x="3936256" y="1433398"/>
                  <a:pt x="3935550" y="1433004"/>
                </a:cubicBezTo>
                <a:lnTo>
                  <a:pt x="3934876" y="1432277"/>
                </a:lnTo>
                <a:lnTo>
                  <a:pt x="3939804" y="1440705"/>
                </a:lnTo>
                <a:cubicBezTo>
                  <a:pt x="3939804" y="1434741"/>
                  <a:pt x="3945782" y="1428777"/>
                  <a:pt x="3951760" y="1422812"/>
                </a:cubicBezTo>
                <a:cubicBezTo>
                  <a:pt x="3951760" y="1428777"/>
                  <a:pt x="3951760" y="1428777"/>
                  <a:pt x="3951760" y="1428777"/>
                </a:cubicBezTo>
                <a:cubicBezTo>
                  <a:pt x="3953255" y="1427286"/>
                  <a:pt x="3955870" y="1426540"/>
                  <a:pt x="3958859" y="1426075"/>
                </a:cubicBezTo>
                <a:lnTo>
                  <a:pt x="3967004" y="1425181"/>
                </a:lnTo>
                <a:lnTo>
                  <a:pt x="3967096" y="1424919"/>
                </a:lnTo>
                <a:lnTo>
                  <a:pt x="3967348" y="1425143"/>
                </a:lnTo>
                <a:lnTo>
                  <a:pt x="3967386" y="1425138"/>
                </a:lnTo>
                <a:lnTo>
                  <a:pt x="3972533" y="1419565"/>
                </a:lnTo>
                <a:lnTo>
                  <a:pt x="3971825" y="1423955"/>
                </a:lnTo>
                <a:lnTo>
                  <a:pt x="3975297" y="1422906"/>
                </a:lnTo>
                <a:cubicBezTo>
                  <a:pt x="3976791" y="1421695"/>
                  <a:pt x="3977165" y="1419831"/>
                  <a:pt x="3975671" y="1416848"/>
                </a:cubicBezTo>
                <a:cubicBezTo>
                  <a:pt x="3969693" y="1410885"/>
                  <a:pt x="3981648" y="1416848"/>
                  <a:pt x="3981648" y="1422812"/>
                </a:cubicBezTo>
                <a:cubicBezTo>
                  <a:pt x="3981648" y="1410885"/>
                  <a:pt x="4011540" y="1416848"/>
                  <a:pt x="3999583" y="1404921"/>
                </a:cubicBezTo>
                <a:cubicBezTo>
                  <a:pt x="4005561" y="1410884"/>
                  <a:pt x="4014528" y="1407902"/>
                  <a:pt x="4024242" y="1403429"/>
                </a:cubicBezTo>
                <a:lnTo>
                  <a:pt x="4030698" y="1400432"/>
                </a:lnTo>
                <a:lnTo>
                  <a:pt x="4027056" y="1400432"/>
                </a:lnTo>
                <a:cubicBezTo>
                  <a:pt x="4025621" y="1400432"/>
                  <a:pt x="4024186" y="1400432"/>
                  <a:pt x="4021317" y="1400432"/>
                </a:cubicBezTo>
                <a:cubicBezTo>
                  <a:pt x="4021317" y="1394692"/>
                  <a:pt x="4021317" y="1391823"/>
                  <a:pt x="4021317" y="1389670"/>
                </a:cubicBezTo>
                <a:close/>
                <a:moveTo>
                  <a:pt x="4326291" y="1388395"/>
                </a:moveTo>
                <a:lnTo>
                  <a:pt x="4326291" y="1392593"/>
                </a:lnTo>
                <a:lnTo>
                  <a:pt x="4329681" y="1391232"/>
                </a:lnTo>
                <a:close/>
                <a:moveTo>
                  <a:pt x="4272244" y="1387622"/>
                </a:moveTo>
                <a:lnTo>
                  <a:pt x="4275800" y="1389683"/>
                </a:lnTo>
                <a:cubicBezTo>
                  <a:pt x="4276548" y="1389683"/>
                  <a:pt x="4276548" y="1389683"/>
                  <a:pt x="4276548" y="1392710"/>
                </a:cubicBezTo>
                <a:lnTo>
                  <a:pt x="4270570" y="1392710"/>
                </a:lnTo>
                <a:close/>
                <a:moveTo>
                  <a:pt x="4273185" y="1384760"/>
                </a:moveTo>
                <a:lnTo>
                  <a:pt x="4272244" y="1387622"/>
                </a:lnTo>
                <a:lnTo>
                  <a:pt x="4270570" y="1386653"/>
                </a:lnTo>
                <a:close/>
                <a:moveTo>
                  <a:pt x="4344225" y="1382431"/>
                </a:moveTo>
                <a:lnTo>
                  <a:pt x="4341692" y="1385681"/>
                </a:lnTo>
                <a:lnTo>
                  <a:pt x="4344942" y="1384395"/>
                </a:lnTo>
                <a:close/>
                <a:moveTo>
                  <a:pt x="4616133" y="1380276"/>
                </a:moveTo>
                <a:cubicBezTo>
                  <a:pt x="4619004" y="1386015"/>
                  <a:pt x="4620437" y="1386015"/>
                  <a:pt x="4621155" y="1386732"/>
                </a:cubicBezTo>
                <a:lnTo>
                  <a:pt x="4621502" y="1391939"/>
                </a:lnTo>
                <a:lnTo>
                  <a:pt x="4610394" y="1397494"/>
                </a:lnTo>
                <a:cubicBezTo>
                  <a:pt x="4610394" y="1397494"/>
                  <a:pt x="4610394" y="1397494"/>
                  <a:pt x="4610394" y="1391754"/>
                </a:cubicBezTo>
                <a:lnTo>
                  <a:pt x="4610394" y="1385492"/>
                </a:lnTo>
                <a:lnTo>
                  <a:pt x="4612547" y="1385297"/>
                </a:lnTo>
                <a:cubicBezTo>
                  <a:pt x="4614698" y="1383144"/>
                  <a:pt x="4616133" y="1380276"/>
                  <a:pt x="4616133" y="1380276"/>
                </a:cubicBezTo>
                <a:close/>
                <a:moveTo>
                  <a:pt x="4610394" y="1380276"/>
                </a:moveTo>
                <a:lnTo>
                  <a:pt x="4610394" y="1385492"/>
                </a:lnTo>
                <a:lnTo>
                  <a:pt x="4604654" y="1386015"/>
                </a:lnTo>
                <a:cubicBezTo>
                  <a:pt x="4610394" y="1386015"/>
                  <a:pt x="4610394" y="1386015"/>
                  <a:pt x="4610394" y="1380276"/>
                </a:cubicBezTo>
                <a:close/>
                <a:moveTo>
                  <a:pt x="4421070" y="1379699"/>
                </a:moveTo>
                <a:cubicBezTo>
                  <a:pt x="4424061" y="1382680"/>
                  <a:pt x="4422565" y="1385662"/>
                  <a:pt x="4420324" y="1387154"/>
                </a:cubicBezTo>
                <a:lnTo>
                  <a:pt x="4419277" y="1386856"/>
                </a:lnTo>
                <a:close/>
                <a:moveTo>
                  <a:pt x="4559592" y="1378115"/>
                </a:moveTo>
                <a:lnTo>
                  <a:pt x="4557605" y="1378564"/>
                </a:lnTo>
                <a:lnTo>
                  <a:pt x="4558437" y="1383214"/>
                </a:lnTo>
                <a:lnTo>
                  <a:pt x="4560978" y="1378883"/>
                </a:lnTo>
                <a:close/>
                <a:moveTo>
                  <a:pt x="4505632" y="1376467"/>
                </a:moveTo>
                <a:lnTo>
                  <a:pt x="4502148" y="1379057"/>
                </a:lnTo>
                <a:lnTo>
                  <a:pt x="4505973" y="1379825"/>
                </a:lnTo>
                <a:lnTo>
                  <a:pt x="4506111" y="1377740"/>
                </a:lnTo>
                <a:close/>
                <a:moveTo>
                  <a:pt x="4159505" y="1376005"/>
                </a:moveTo>
                <a:lnTo>
                  <a:pt x="4163040" y="1376854"/>
                </a:lnTo>
                <a:lnTo>
                  <a:pt x="4161093" y="1377529"/>
                </a:lnTo>
                <a:lnTo>
                  <a:pt x="4159360" y="1376516"/>
                </a:lnTo>
                <a:close/>
                <a:moveTo>
                  <a:pt x="4300462" y="1374536"/>
                </a:moveTo>
                <a:cubicBezTo>
                  <a:pt x="4300462" y="1380593"/>
                  <a:pt x="4294484" y="1380593"/>
                  <a:pt x="4294484" y="1386653"/>
                </a:cubicBezTo>
                <a:cubicBezTo>
                  <a:pt x="4294484" y="1386653"/>
                  <a:pt x="4282526" y="1380593"/>
                  <a:pt x="4288506" y="1392710"/>
                </a:cubicBezTo>
                <a:lnTo>
                  <a:pt x="4276548" y="1392710"/>
                </a:lnTo>
                <a:cubicBezTo>
                  <a:pt x="4282526" y="1386653"/>
                  <a:pt x="4282526" y="1386653"/>
                  <a:pt x="4282526" y="1380593"/>
                </a:cubicBezTo>
                <a:cubicBezTo>
                  <a:pt x="4294484" y="1380593"/>
                  <a:pt x="4288506" y="1380593"/>
                  <a:pt x="4300462" y="1374536"/>
                </a:cubicBezTo>
                <a:close/>
                <a:moveTo>
                  <a:pt x="4400600" y="1374383"/>
                </a:moveTo>
                <a:lnTo>
                  <a:pt x="4391900" y="1377186"/>
                </a:lnTo>
                <a:lnTo>
                  <a:pt x="4391180" y="1379699"/>
                </a:lnTo>
                <a:close/>
                <a:moveTo>
                  <a:pt x="4509028" y="1372761"/>
                </a:moveTo>
                <a:lnTo>
                  <a:pt x="4509835" y="1373298"/>
                </a:lnTo>
                <a:lnTo>
                  <a:pt x="4510224" y="1374247"/>
                </a:lnTo>
                <a:lnTo>
                  <a:pt x="4513780" y="1373100"/>
                </a:lnTo>
                <a:close/>
                <a:moveTo>
                  <a:pt x="4103305" y="1371700"/>
                </a:moveTo>
                <a:lnTo>
                  <a:pt x="4103988" y="1372725"/>
                </a:lnTo>
                <a:lnTo>
                  <a:pt x="4100435" y="1376005"/>
                </a:lnTo>
                <a:cubicBezTo>
                  <a:pt x="4100435" y="1373135"/>
                  <a:pt x="4101870" y="1371700"/>
                  <a:pt x="4103305" y="1371700"/>
                </a:cubicBezTo>
                <a:close/>
                <a:moveTo>
                  <a:pt x="4380627" y="1371122"/>
                </a:moveTo>
                <a:lnTo>
                  <a:pt x="4377104" y="1371248"/>
                </a:lnTo>
                <a:cubicBezTo>
                  <a:pt x="4371126" y="1373484"/>
                  <a:pt x="4365148" y="1376467"/>
                  <a:pt x="4356181" y="1376467"/>
                </a:cubicBezTo>
                <a:lnTo>
                  <a:pt x="4357650" y="1379396"/>
                </a:lnTo>
                <a:close/>
                <a:moveTo>
                  <a:pt x="4588826" y="1370783"/>
                </a:moveTo>
                <a:lnTo>
                  <a:pt x="4588330" y="1371734"/>
                </a:lnTo>
                <a:lnTo>
                  <a:pt x="4589551" y="1371818"/>
                </a:lnTo>
                <a:close/>
                <a:moveTo>
                  <a:pt x="4190893" y="1370565"/>
                </a:moveTo>
                <a:lnTo>
                  <a:pt x="4186997" y="1376585"/>
                </a:lnTo>
                <a:lnTo>
                  <a:pt x="4183658" y="1375647"/>
                </a:lnTo>
                <a:close/>
                <a:moveTo>
                  <a:pt x="4199240" y="1367430"/>
                </a:moveTo>
                <a:cubicBezTo>
                  <a:pt x="4200675" y="1365995"/>
                  <a:pt x="4202110" y="1371734"/>
                  <a:pt x="4199240" y="1388953"/>
                </a:cubicBezTo>
                <a:lnTo>
                  <a:pt x="4197976" y="1377570"/>
                </a:lnTo>
                <a:lnTo>
                  <a:pt x="4196236" y="1378697"/>
                </a:lnTo>
                <a:cubicBezTo>
                  <a:pt x="4192536" y="1380221"/>
                  <a:pt x="4186617" y="1381746"/>
                  <a:pt x="4183658" y="1381746"/>
                </a:cubicBezTo>
                <a:lnTo>
                  <a:pt x="4186997" y="1376585"/>
                </a:lnTo>
                <a:lnTo>
                  <a:pt x="4191796" y="1377936"/>
                </a:lnTo>
                <a:cubicBezTo>
                  <a:pt x="4194016" y="1377173"/>
                  <a:pt x="4195496" y="1375647"/>
                  <a:pt x="4195496" y="1375647"/>
                </a:cubicBezTo>
                <a:lnTo>
                  <a:pt x="4197825" y="1376205"/>
                </a:lnTo>
                <a:lnTo>
                  <a:pt x="4197627" y="1374425"/>
                </a:lnTo>
                <a:cubicBezTo>
                  <a:pt x="4197806" y="1370658"/>
                  <a:pt x="4198523" y="1368147"/>
                  <a:pt x="4199240" y="1367430"/>
                </a:cubicBezTo>
                <a:close/>
                <a:moveTo>
                  <a:pt x="4155011" y="1366900"/>
                </a:moveTo>
                <a:cubicBezTo>
                  <a:pt x="4153516" y="1367646"/>
                  <a:pt x="4152023" y="1369136"/>
                  <a:pt x="4149033" y="1369136"/>
                </a:cubicBezTo>
                <a:cubicBezTo>
                  <a:pt x="4149033" y="1369136"/>
                  <a:pt x="4149033" y="1375101"/>
                  <a:pt x="4149033" y="1375101"/>
                </a:cubicBezTo>
                <a:cubicBezTo>
                  <a:pt x="4137077" y="1375101"/>
                  <a:pt x="4134089" y="1378082"/>
                  <a:pt x="4132594" y="1383301"/>
                </a:cubicBezTo>
                <a:lnTo>
                  <a:pt x="4131390" y="1386786"/>
                </a:lnTo>
                <a:lnTo>
                  <a:pt x="4133622" y="1385909"/>
                </a:lnTo>
                <a:lnTo>
                  <a:pt x="4133237" y="1383214"/>
                </a:lnTo>
                <a:lnTo>
                  <a:pt x="4136945" y="1384604"/>
                </a:lnTo>
                <a:lnTo>
                  <a:pt x="4146052" y="1381027"/>
                </a:lnTo>
                <a:cubicBezTo>
                  <a:pt x="4150537" y="1378874"/>
                  <a:pt x="4153525" y="1376005"/>
                  <a:pt x="4153525" y="1370266"/>
                </a:cubicBezTo>
                <a:cubicBezTo>
                  <a:pt x="4153525" y="1370266"/>
                  <a:pt x="4155020" y="1373135"/>
                  <a:pt x="4157262" y="1375288"/>
                </a:cubicBezTo>
                <a:lnTo>
                  <a:pt x="4159360" y="1376516"/>
                </a:lnTo>
                <a:lnTo>
                  <a:pt x="4157565" y="1382832"/>
                </a:lnTo>
                <a:lnTo>
                  <a:pt x="4163369" y="1377474"/>
                </a:lnTo>
                <a:cubicBezTo>
                  <a:pt x="4166479" y="1377474"/>
                  <a:pt x="4166479" y="1380343"/>
                  <a:pt x="4164925" y="1383214"/>
                </a:cubicBezTo>
                <a:lnTo>
                  <a:pt x="4159390" y="1387300"/>
                </a:lnTo>
                <a:lnTo>
                  <a:pt x="4159505" y="1387484"/>
                </a:lnTo>
                <a:lnTo>
                  <a:pt x="4158938" y="1387634"/>
                </a:lnTo>
                <a:lnTo>
                  <a:pt x="4157153" y="1388953"/>
                </a:lnTo>
                <a:cubicBezTo>
                  <a:pt x="4160261" y="1391823"/>
                  <a:pt x="4163370" y="1390387"/>
                  <a:pt x="4165702" y="1387518"/>
                </a:cubicBezTo>
                <a:lnTo>
                  <a:pt x="4169411" y="1377932"/>
                </a:lnTo>
                <a:lnTo>
                  <a:pt x="4168472" y="1378157"/>
                </a:lnTo>
                <a:lnTo>
                  <a:pt x="4163040" y="1376854"/>
                </a:lnTo>
                <a:lnTo>
                  <a:pt x="4165483" y="1376005"/>
                </a:lnTo>
                <a:lnTo>
                  <a:pt x="4160989" y="1367377"/>
                </a:lnTo>
                <a:lnTo>
                  <a:pt x="4160989" y="1369136"/>
                </a:lnTo>
                <a:cubicBezTo>
                  <a:pt x="4158001" y="1366155"/>
                  <a:pt x="4156506" y="1366155"/>
                  <a:pt x="4155011" y="1366900"/>
                </a:cubicBezTo>
                <a:close/>
                <a:moveTo>
                  <a:pt x="4446384" y="1361061"/>
                </a:moveTo>
                <a:cubicBezTo>
                  <a:pt x="4441621" y="1363298"/>
                  <a:pt x="4436016" y="1372244"/>
                  <a:pt x="4427048" y="1367770"/>
                </a:cubicBezTo>
                <a:cubicBezTo>
                  <a:pt x="4433027" y="1367770"/>
                  <a:pt x="4427048" y="1397589"/>
                  <a:pt x="4433027" y="1391626"/>
                </a:cubicBezTo>
                <a:cubicBezTo>
                  <a:pt x="4439005" y="1391626"/>
                  <a:pt x="4433027" y="1397589"/>
                  <a:pt x="4427048" y="1397589"/>
                </a:cubicBezTo>
                <a:cubicBezTo>
                  <a:pt x="4421070" y="1391626"/>
                  <a:pt x="4427048" y="1385662"/>
                  <a:pt x="4427048" y="1379699"/>
                </a:cubicBezTo>
                <a:cubicBezTo>
                  <a:pt x="4427048" y="1376717"/>
                  <a:pt x="4425554" y="1375226"/>
                  <a:pt x="4424059" y="1373735"/>
                </a:cubicBezTo>
                <a:lnTo>
                  <a:pt x="4421079" y="1367786"/>
                </a:lnTo>
                <a:lnTo>
                  <a:pt x="4421068" y="1367789"/>
                </a:lnTo>
                <a:lnTo>
                  <a:pt x="4420323" y="1372989"/>
                </a:lnTo>
                <a:cubicBezTo>
                  <a:pt x="4419576" y="1373735"/>
                  <a:pt x="4418081" y="1373735"/>
                  <a:pt x="4415092" y="1373735"/>
                </a:cubicBezTo>
                <a:cubicBezTo>
                  <a:pt x="4415092" y="1379699"/>
                  <a:pt x="4415092" y="1379699"/>
                  <a:pt x="4415092" y="1385662"/>
                </a:cubicBezTo>
                <a:lnTo>
                  <a:pt x="4419277" y="1386856"/>
                </a:lnTo>
                <a:lnTo>
                  <a:pt x="4415092" y="1403555"/>
                </a:lnTo>
                <a:lnTo>
                  <a:pt x="4417699" y="1404298"/>
                </a:lnTo>
                <a:lnTo>
                  <a:pt x="4427585" y="1398963"/>
                </a:lnTo>
                <a:lnTo>
                  <a:pt x="4418717" y="1404588"/>
                </a:lnTo>
                <a:lnTo>
                  <a:pt x="4420323" y="1405046"/>
                </a:lnTo>
                <a:lnTo>
                  <a:pt x="4420579" y="1408617"/>
                </a:lnTo>
                <a:lnTo>
                  <a:pt x="4437575" y="1402382"/>
                </a:lnTo>
                <a:lnTo>
                  <a:pt x="4437307" y="1401050"/>
                </a:lnTo>
                <a:lnTo>
                  <a:pt x="4436038" y="1401205"/>
                </a:lnTo>
                <a:cubicBezTo>
                  <a:pt x="4432248" y="1401115"/>
                  <a:pt x="4429139" y="1400398"/>
                  <a:pt x="4427585" y="1398963"/>
                </a:cubicBezTo>
                <a:lnTo>
                  <a:pt x="4437654" y="1397241"/>
                </a:lnTo>
                <a:lnTo>
                  <a:pt x="4438258" y="1392372"/>
                </a:lnTo>
                <a:cubicBezTo>
                  <a:pt x="4439005" y="1387153"/>
                  <a:pt x="4439005" y="1382681"/>
                  <a:pt x="4433027" y="1379699"/>
                </a:cubicBezTo>
                <a:cubicBezTo>
                  <a:pt x="4433027" y="1373735"/>
                  <a:pt x="4439005" y="1373735"/>
                  <a:pt x="4444983" y="1379699"/>
                </a:cubicBezTo>
                <a:cubicBezTo>
                  <a:pt x="4450961" y="1373735"/>
                  <a:pt x="4444983" y="1367770"/>
                  <a:pt x="4439005" y="1373735"/>
                </a:cubicBezTo>
                <a:cubicBezTo>
                  <a:pt x="4439005" y="1361806"/>
                  <a:pt x="4444983" y="1367770"/>
                  <a:pt x="4450961" y="1361806"/>
                </a:cubicBezTo>
                <a:cubicBezTo>
                  <a:pt x="4449467" y="1360315"/>
                  <a:pt x="4447972" y="1360315"/>
                  <a:pt x="4446384" y="1361061"/>
                </a:cubicBezTo>
                <a:close/>
                <a:moveTo>
                  <a:pt x="4835331" y="1359228"/>
                </a:moveTo>
                <a:lnTo>
                  <a:pt x="4833553" y="1361806"/>
                </a:lnTo>
                <a:lnTo>
                  <a:pt x="4833553" y="1359820"/>
                </a:lnTo>
                <a:close/>
                <a:moveTo>
                  <a:pt x="4123392" y="1358787"/>
                </a:moveTo>
                <a:cubicBezTo>
                  <a:pt x="4117653" y="1364526"/>
                  <a:pt x="4111914" y="1370266"/>
                  <a:pt x="4106174" y="1376005"/>
                </a:cubicBezTo>
                <a:lnTo>
                  <a:pt x="4103988" y="1372725"/>
                </a:lnTo>
                <a:lnTo>
                  <a:pt x="4109762" y="1367396"/>
                </a:lnTo>
                <a:cubicBezTo>
                  <a:pt x="4113348" y="1364526"/>
                  <a:pt x="4117653" y="1361656"/>
                  <a:pt x="4123392" y="1358787"/>
                </a:cubicBezTo>
                <a:close/>
                <a:moveTo>
                  <a:pt x="4243922" y="1353047"/>
                </a:moveTo>
                <a:cubicBezTo>
                  <a:pt x="4243922" y="1358787"/>
                  <a:pt x="4226703" y="1364526"/>
                  <a:pt x="4220964" y="1364526"/>
                </a:cubicBezTo>
                <a:cubicBezTo>
                  <a:pt x="4220964" y="1358787"/>
                  <a:pt x="4238182" y="1358787"/>
                  <a:pt x="4243922" y="1353047"/>
                </a:cubicBezTo>
                <a:close/>
                <a:moveTo>
                  <a:pt x="4670657" y="1351578"/>
                </a:moveTo>
                <a:cubicBezTo>
                  <a:pt x="4670657" y="1357317"/>
                  <a:pt x="4670657" y="1363057"/>
                  <a:pt x="4670657" y="1363057"/>
                </a:cubicBezTo>
                <a:cubicBezTo>
                  <a:pt x="4664918" y="1374536"/>
                  <a:pt x="4670657" y="1351578"/>
                  <a:pt x="4664918" y="1357317"/>
                </a:cubicBezTo>
                <a:cubicBezTo>
                  <a:pt x="4659178" y="1363057"/>
                  <a:pt x="4664918" y="1363057"/>
                  <a:pt x="4664918" y="1368797"/>
                </a:cubicBezTo>
                <a:cubicBezTo>
                  <a:pt x="4653439" y="1368797"/>
                  <a:pt x="4653439" y="1357317"/>
                  <a:pt x="4647699" y="1363057"/>
                </a:cubicBezTo>
                <a:cubicBezTo>
                  <a:pt x="4653439" y="1351578"/>
                  <a:pt x="4659178" y="1363057"/>
                  <a:pt x="4670657" y="1351578"/>
                </a:cubicBezTo>
                <a:close/>
                <a:moveTo>
                  <a:pt x="4183658" y="1351254"/>
                </a:moveTo>
                <a:cubicBezTo>
                  <a:pt x="4186617" y="1351254"/>
                  <a:pt x="4191056" y="1352779"/>
                  <a:pt x="4194016" y="1352779"/>
                </a:cubicBezTo>
                <a:lnTo>
                  <a:pt x="4196148" y="1351681"/>
                </a:lnTo>
                <a:lnTo>
                  <a:pt x="4203634" y="1356590"/>
                </a:lnTo>
                <a:cubicBezTo>
                  <a:pt x="4205854" y="1357353"/>
                  <a:pt x="4207333" y="1357353"/>
                  <a:pt x="4207333" y="1357353"/>
                </a:cubicBezTo>
                <a:cubicBezTo>
                  <a:pt x="4207333" y="1357353"/>
                  <a:pt x="4204375" y="1360403"/>
                  <a:pt x="4199934" y="1364213"/>
                </a:cubicBezTo>
                <a:lnTo>
                  <a:pt x="4190893" y="1370565"/>
                </a:lnTo>
                <a:lnTo>
                  <a:pt x="4195496" y="1363451"/>
                </a:lnTo>
                <a:lnTo>
                  <a:pt x="4189365" y="1358857"/>
                </a:lnTo>
                <a:lnTo>
                  <a:pt x="4189398" y="1358787"/>
                </a:lnTo>
                <a:lnTo>
                  <a:pt x="4189292" y="1358802"/>
                </a:lnTo>
                <a:lnTo>
                  <a:pt x="4187357" y="1357353"/>
                </a:lnTo>
                <a:cubicBezTo>
                  <a:pt x="4185138" y="1355828"/>
                  <a:pt x="4183658" y="1354303"/>
                  <a:pt x="4183658" y="1351254"/>
                </a:cubicBezTo>
                <a:close/>
                <a:moveTo>
                  <a:pt x="4196902" y="1350947"/>
                </a:moveTo>
                <a:lnTo>
                  <a:pt x="4196976" y="1351255"/>
                </a:lnTo>
                <a:lnTo>
                  <a:pt x="4196148" y="1351681"/>
                </a:lnTo>
                <a:lnTo>
                  <a:pt x="4195496" y="1351254"/>
                </a:lnTo>
                <a:close/>
                <a:moveTo>
                  <a:pt x="4583561" y="1350758"/>
                </a:moveTo>
                <a:lnTo>
                  <a:pt x="4560782" y="1357601"/>
                </a:lnTo>
                <a:lnTo>
                  <a:pt x="4548214" y="1362610"/>
                </a:lnTo>
                <a:lnTo>
                  <a:pt x="4560583" y="1359087"/>
                </a:lnTo>
                <a:close/>
                <a:moveTo>
                  <a:pt x="4496246" y="1349511"/>
                </a:moveTo>
                <a:lnTo>
                  <a:pt x="4496544" y="1349879"/>
                </a:lnTo>
                <a:lnTo>
                  <a:pt x="4498786" y="1351641"/>
                </a:lnTo>
                <a:lnTo>
                  <a:pt x="4498786" y="1355842"/>
                </a:lnTo>
                <a:cubicBezTo>
                  <a:pt x="4492807" y="1355842"/>
                  <a:pt x="4489819" y="1355842"/>
                  <a:pt x="4486830" y="1354352"/>
                </a:cubicBezTo>
                <a:lnTo>
                  <a:pt x="4481819" y="1349978"/>
                </a:lnTo>
                <a:lnTo>
                  <a:pt x="4475578" y="1351110"/>
                </a:lnTo>
                <a:lnTo>
                  <a:pt x="4477862" y="1355097"/>
                </a:lnTo>
                <a:cubicBezTo>
                  <a:pt x="4479357" y="1355842"/>
                  <a:pt x="4480852" y="1355842"/>
                  <a:pt x="4480852" y="1355842"/>
                </a:cubicBezTo>
                <a:cubicBezTo>
                  <a:pt x="4474873" y="1355842"/>
                  <a:pt x="4462917" y="1379699"/>
                  <a:pt x="4456939" y="1379699"/>
                </a:cubicBezTo>
                <a:cubicBezTo>
                  <a:pt x="4456939" y="1382681"/>
                  <a:pt x="4456939" y="1385662"/>
                  <a:pt x="4456192" y="1388644"/>
                </a:cubicBezTo>
                <a:lnTo>
                  <a:pt x="4452923" y="1394235"/>
                </a:lnTo>
                <a:lnTo>
                  <a:pt x="4456440" y="1393313"/>
                </a:lnTo>
                <a:cubicBezTo>
                  <a:pt x="4459063" y="1392147"/>
                  <a:pt x="4461784" y="1390353"/>
                  <a:pt x="4464892" y="1387484"/>
                </a:cubicBezTo>
                <a:lnTo>
                  <a:pt x="4462760" y="1390686"/>
                </a:lnTo>
                <a:lnTo>
                  <a:pt x="4501911" y="1372253"/>
                </a:lnTo>
                <a:lnTo>
                  <a:pt x="4501775" y="1372244"/>
                </a:lnTo>
                <a:cubicBezTo>
                  <a:pt x="4495797" y="1373735"/>
                  <a:pt x="4489819" y="1376717"/>
                  <a:pt x="4480852" y="1379699"/>
                </a:cubicBezTo>
                <a:cubicBezTo>
                  <a:pt x="4474873" y="1373735"/>
                  <a:pt x="4474873" y="1367770"/>
                  <a:pt x="4474873" y="1361806"/>
                </a:cubicBezTo>
                <a:cubicBezTo>
                  <a:pt x="4480852" y="1361806"/>
                  <a:pt x="4480852" y="1367770"/>
                  <a:pt x="4480852" y="1373735"/>
                </a:cubicBezTo>
                <a:cubicBezTo>
                  <a:pt x="4486830" y="1373735"/>
                  <a:pt x="4486830" y="1367770"/>
                  <a:pt x="4486830" y="1361806"/>
                </a:cubicBezTo>
                <a:cubicBezTo>
                  <a:pt x="4486830" y="1367770"/>
                  <a:pt x="4492808" y="1367770"/>
                  <a:pt x="4498786" y="1367770"/>
                </a:cubicBezTo>
                <a:lnTo>
                  <a:pt x="4498786" y="1355842"/>
                </a:lnTo>
                <a:cubicBezTo>
                  <a:pt x="4500281" y="1354352"/>
                  <a:pt x="4500281" y="1353233"/>
                  <a:pt x="4499627" y="1352302"/>
                </a:cubicBezTo>
                <a:lnTo>
                  <a:pt x="4498786" y="1351641"/>
                </a:lnTo>
                <a:lnTo>
                  <a:pt x="4498786" y="1349895"/>
                </a:lnTo>
                <a:close/>
                <a:moveTo>
                  <a:pt x="4618221" y="1348780"/>
                </a:moveTo>
                <a:lnTo>
                  <a:pt x="4616137" y="1352282"/>
                </a:lnTo>
                <a:lnTo>
                  <a:pt x="4618221" y="1352537"/>
                </a:lnTo>
                <a:close/>
                <a:moveTo>
                  <a:pt x="4151186" y="1347615"/>
                </a:moveTo>
                <a:cubicBezTo>
                  <a:pt x="4149695" y="1347239"/>
                  <a:pt x="4148204" y="1347051"/>
                  <a:pt x="4147086" y="1347709"/>
                </a:cubicBezTo>
                <a:lnTo>
                  <a:pt x="4145938" y="1350891"/>
                </a:lnTo>
                <a:lnTo>
                  <a:pt x="4150013" y="1348205"/>
                </a:lnTo>
                <a:lnTo>
                  <a:pt x="4152648" y="1347983"/>
                </a:lnTo>
                <a:close/>
                <a:moveTo>
                  <a:pt x="4433895" y="1346647"/>
                </a:moveTo>
                <a:cubicBezTo>
                  <a:pt x="4427917" y="1352610"/>
                  <a:pt x="4415961" y="1352610"/>
                  <a:pt x="4409983" y="1358574"/>
                </a:cubicBezTo>
                <a:lnTo>
                  <a:pt x="4405158" y="1364128"/>
                </a:lnTo>
                <a:lnTo>
                  <a:pt x="4405384" y="1364387"/>
                </a:lnTo>
                <a:lnTo>
                  <a:pt x="4409077" y="1363172"/>
                </a:lnTo>
                <a:lnTo>
                  <a:pt x="4412443" y="1362562"/>
                </a:lnTo>
                <a:lnTo>
                  <a:pt x="4409983" y="1358574"/>
                </a:lnTo>
                <a:cubicBezTo>
                  <a:pt x="4412972" y="1358574"/>
                  <a:pt x="4414466" y="1360065"/>
                  <a:pt x="4415961" y="1361556"/>
                </a:cubicBezTo>
                <a:lnTo>
                  <a:pt x="4416501" y="1361825"/>
                </a:lnTo>
                <a:lnTo>
                  <a:pt x="4433863" y="1358676"/>
                </a:lnTo>
                <a:lnTo>
                  <a:pt x="4435268" y="1358079"/>
                </a:lnTo>
                <a:lnTo>
                  <a:pt x="4439797" y="1355829"/>
                </a:lnTo>
                <a:lnTo>
                  <a:pt x="4437631" y="1354847"/>
                </a:lnTo>
                <a:cubicBezTo>
                  <a:pt x="4435389" y="1354102"/>
                  <a:pt x="4433895" y="1352610"/>
                  <a:pt x="4433895" y="1346647"/>
                </a:cubicBezTo>
                <a:close/>
                <a:moveTo>
                  <a:pt x="4377944" y="1345839"/>
                </a:moveTo>
                <a:cubicBezTo>
                  <a:pt x="4372205" y="1357317"/>
                  <a:pt x="4354986" y="1357317"/>
                  <a:pt x="4343507" y="1363057"/>
                </a:cubicBezTo>
                <a:cubicBezTo>
                  <a:pt x="4343507" y="1363057"/>
                  <a:pt x="4343507" y="1363057"/>
                  <a:pt x="4343507" y="1357317"/>
                </a:cubicBezTo>
                <a:cubicBezTo>
                  <a:pt x="4354986" y="1363057"/>
                  <a:pt x="4372205" y="1345839"/>
                  <a:pt x="4377944" y="1345839"/>
                </a:cubicBezTo>
                <a:close/>
                <a:moveTo>
                  <a:pt x="4693615" y="1345837"/>
                </a:moveTo>
                <a:cubicBezTo>
                  <a:pt x="4693615" y="1351576"/>
                  <a:pt x="4682136" y="1351576"/>
                  <a:pt x="4687876" y="1357315"/>
                </a:cubicBezTo>
                <a:cubicBezTo>
                  <a:pt x="4676397" y="1351576"/>
                  <a:pt x="4687876" y="1345837"/>
                  <a:pt x="4693615" y="1345837"/>
                </a:cubicBezTo>
                <a:close/>
                <a:moveTo>
                  <a:pt x="4099714" y="1345281"/>
                </a:moveTo>
                <a:cubicBezTo>
                  <a:pt x="4096725" y="1345281"/>
                  <a:pt x="4092241" y="1348263"/>
                  <a:pt x="4089252" y="1351245"/>
                </a:cubicBezTo>
                <a:cubicBezTo>
                  <a:pt x="4089252" y="1355718"/>
                  <a:pt x="4095977" y="1350127"/>
                  <a:pt x="4099340" y="1352083"/>
                </a:cubicBezTo>
                <a:lnTo>
                  <a:pt x="4099644" y="1352917"/>
                </a:lnTo>
                <a:lnTo>
                  <a:pt x="4102198" y="1351036"/>
                </a:lnTo>
                <a:lnTo>
                  <a:pt x="4102703" y="1347889"/>
                </a:lnTo>
                <a:cubicBezTo>
                  <a:pt x="4102329" y="1346026"/>
                  <a:pt x="4101208" y="1345281"/>
                  <a:pt x="4099714" y="1345281"/>
                </a:cubicBezTo>
                <a:close/>
                <a:moveTo>
                  <a:pt x="4452912" y="1344344"/>
                </a:moveTo>
                <a:lnTo>
                  <a:pt x="4447543" y="1345239"/>
                </a:lnTo>
                <a:lnTo>
                  <a:pt x="4447719" y="1345714"/>
                </a:lnTo>
                <a:cubicBezTo>
                  <a:pt x="4448840" y="1346273"/>
                  <a:pt x="4450334" y="1345900"/>
                  <a:pt x="4451829" y="1345155"/>
                </a:cubicBezTo>
                <a:close/>
                <a:moveTo>
                  <a:pt x="4498786" y="1343915"/>
                </a:moveTo>
                <a:cubicBezTo>
                  <a:pt x="4495797" y="1345406"/>
                  <a:pt x="4494676" y="1346525"/>
                  <a:pt x="4494583" y="1347456"/>
                </a:cubicBezTo>
                <a:lnTo>
                  <a:pt x="4494728" y="1347636"/>
                </a:lnTo>
                <a:lnTo>
                  <a:pt x="4498786" y="1346900"/>
                </a:lnTo>
                <a:close/>
                <a:moveTo>
                  <a:pt x="4476659" y="1343001"/>
                </a:moveTo>
                <a:lnTo>
                  <a:pt x="4474873" y="1343376"/>
                </a:lnTo>
                <a:lnTo>
                  <a:pt x="4474873" y="1343915"/>
                </a:lnTo>
                <a:cubicBezTo>
                  <a:pt x="4468895" y="1349879"/>
                  <a:pt x="4474873" y="1349879"/>
                  <a:pt x="4474873" y="1349879"/>
                </a:cubicBezTo>
                <a:lnTo>
                  <a:pt x="4475046" y="1350181"/>
                </a:lnTo>
                <a:lnTo>
                  <a:pt x="4480118" y="1348494"/>
                </a:lnTo>
                <a:lnTo>
                  <a:pt x="4474873" y="1343915"/>
                </a:lnTo>
                <a:close/>
                <a:moveTo>
                  <a:pt x="4454483" y="1340201"/>
                </a:moveTo>
                <a:lnTo>
                  <a:pt x="4451830" y="1340682"/>
                </a:lnTo>
                <a:lnTo>
                  <a:pt x="4451082" y="1340682"/>
                </a:lnTo>
                <a:cubicBezTo>
                  <a:pt x="4451456" y="1340682"/>
                  <a:pt x="4451643" y="1340682"/>
                  <a:pt x="4450988" y="1340682"/>
                </a:cubicBezTo>
                <a:lnTo>
                  <a:pt x="4450054" y="1340682"/>
                </a:lnTo>
                <a:lnTo>
                  <a:pt x="4445851" y="1340682"/>
                </a:lnTo>
                <a:lnTo>
                  <a:pt x="4446929" y="1343586"/>
                </a:lnTo>
                <a:lnTo>
                  <a:pt x="4448252" y="1342588"/>
                </a:lnTo>
                <a:cubicBezTo>
                  <a:pt x="4449686" y="1342027"/>
                  <a:pt x="4451121" y="1341803"/>
                  <a:pt x="4452556" y="1341355"/>
                </a:cubicBezTo>
                <a:close/>
                <a:moveTo>
                  <a:pt x="4460049" y="1339191"/>
                </a:moveTo>
                <a:lnTo>
                  <a:pt x="4459389" y="1339310"/>
                </a:lnTo>
                <a:lnTo>
                  <a:pt x="4459282" y="1339785"/>
                </a:lnTo>
                <a:lnTo>
                  <a:pt x="4457872" y="1341098"/>
                </a:lnTo>
                <a:lnTo>
                  <a:pt x="4458637" y="1346083"/>
                </a:lnTo>
                <a:lnTo>
                  <a:pt x="4462028" y="1343139"/>
                </a:lnTo>
                <a:close/>
                <a:moveTo>
                  <a:pt x="4151147" y="1338470"/>
                </a:moveTo>
                <a:lnTo>
                  <a:pt x="4149248" y="1339287"/>
                </a:lnTo>
                <a:lnTo>
                  <a:pt x="4151186" y="1340850"/>
                </a:lnTo>
                <a:cubicBezTo>
                  <a:pt x="4152677" y="1340850"/>
                  <a:pt x="4153050" y="1340474"/>
                  <a:pt x="4152770" y="1339910"/>
                </a:cubicBezTo>
                <a:close/>
                <a:moveTo>
                  <a:pt x="4516719" y="1337949"/>
                </a:moveTo>
                <a:lnTo>
                  <a:pt x="4516284" y="1338689"/>
                </a:lnTo>
                <a:lnTo>
                  <a:pt x="4517228" y="1337964"/>
                </a:lnTo>
                <a:close/>
                <a:moveTo>
                  <a:pt x="4510742" y="1337949"/>
                </a:moveTo>
                <a:cubicBezTo>
                  <a:pt x="4510742" y="1343915"/>
                  <a:pt x="4510742" y="1343915"/>
                  <a:pt x="4504764" y="1343915"/>
                </a:cubicBezTo>
                <a:lnTo>
                  <a:pt x="4505110" y="1345753"/>
                </a:lnTo>
                <a:lnTo>
                  <a:pt x="4507713" y="1345281"/>
                </a:lnTo>
                <a:lnTo>
                  <a:pt x="4510742" y="1342952"/>
                </a:lnTo>
                <a:close/>
                <a:moveTo>
                  <a:pt x="4283695" y="1335576"/>
                </a:moveTo>
                <a:cubicBezTo>
                  <a:pt x="4283695" y="1341891"/>
                  <a:pt x="4277545" y="1341891"/>
                  <a:pt x="4277545" y="1348203"/>
                </a:cubicBezTo>
                <a:cubicBezTo>
                  <a:pt x="4289844" y="1354518"/>
                  <a:pt x="4302142" y="1341891"/>
                  <a:pt x="4308292" y="1341891"/>
                </a:cubicBezTo>
                <a:cubicBezTo>
                  <a:pt x="4302142" y="1354518"/>
                  <a:pt x="4295994" y="1348203"/>
                  <a:pt x="4283695" y="1354518"/>
                </a:cubicBezTo>
                <a:cubicBezTo>
                  <a:pt x="4277545" y="1354518"/>
                  <a:pt x="4277545" y="1341891"/>
                  <a:pt x="4271395" y="1348203"/>
                </a:cubicBezTo>
                <a:lnTo>
                  <a:pt x="4277545" y="1341891"/>
                </a:lnTo>
                <a:cubicBezTo>
                  <a:pt x="4279082" y="1340312"/>
                  <a:pt x="4280620" y="1338734"/>
                  <a:pt x="4283695" y="1335576"/>
                </a:cubicBezTo>
                <a:close/>
                <a:moveTo>
                  <a:pt x="4613979" y="1334225"/>
                </a:moveTo>
                <a:lnTo>
                  <a:pt x="4611269" y="1334908"/>
                </a:lnTo>
                <a:lnTo>
                  <a:pt x="4608853" y="1337234"/>
                </a:lnTo>
                <a:close/>
                <a:moveTo>
                  <a:pt x="4236928" y="1332960"/>
                </a:moveTo>
                <a:cubicBezTo>
                  <a:pt x="4236928" y="1332960"/>
                  <a:pt x="4236928" y="1339057"/>
                  <a:pt x="4242848" y="1339057"/>
                </a:cubicBezTo>
                <a:cubicBezTo>
                  <a:pt x="4260604" y="1336009"/>
                  <a:pt x="4257644" y="1337533"/>
                  <a:pt x="4248766" y="1340583"/>
                </a:cubicBezTo>
                <a:lnTo>
                  <a:pt x="4243918" y="1342209"/>
                </a:lnTo>
                <a:lnTo>
                  <a:pt x="4250178" y="1347845"/>
                </a:lnTo>
                <a:cubicBezTo>
                  <a:pt x="4252331" y="1348634"/>
                  <a:pt x="4253766" y="1347056"/>
                  <a:pt x="4253766" y="1340741"/>
                </a:cubicBezTo>
                <a:cubicBezTo>
                  <a:pt x="4259506" y="1334429"/>
                  <a:pt x="4253766" y="1359683"/>
                  <a:pt x="4248026" y="1353370"/>
                </a:cubicBezTo>
                <a:cubicBezTo>
                  <a:pt x="4248026" y="1359683"/>
                  <a:pt x="4250897" y="1359683"/>
                  <a:pt x="4253048" y="1359683"/>
                </a:cubicBezTo>
                <a:lnTo>
                  <a:pt x="4253720" y="1365597"/>
                </a:lnTo>
                <a:lnTo>
                  <a:pt x="4254587" y="1365176"/>
                </a:lnTo>
                <a:cubicBezTo>
                  <a:pt x="4254587" y="1371326"/>
                  <a:pt x="4254587" y="1371326"/>
                  <a:pt x="4254587" y="1377474"/>
                </a:cubicBezTo>
                <a:cubicBezTo>
                  <a:pt x="4266557" y="1377474"/>
                  <a:pt x="4254587" y="1359026"/>
                  <a:pt x="4266557" y="1371326"/>
                </a:cubicBezTo>
                <a:cubicBezTo>
                  <a:pt x="4272543" y="1365176"/>
                  <a:pt x="4266557" y="1365176"/>
                  <a:pt x="4260572" y="1359026"/>
                </a:cubicBezTo>
                <a:cubicBezTo>
                  <a:pt x="4290499" y="1371326"/>
                  <a:pt x="4332397" y="1340579"/>
                  <a:pt x="4374295" y="1334429"/>
                </a:cubicBezTo>
                <a:cubicBezTo>
                  <a:pt x="4350354" y="1346728"/>
                  <a:pt x="4317433" y="1359026"/>
                  <a:pt x="4280772" y="1372863"/>
                </a:cubicBezTo>
                <a:lnTo>
                  <a:pt x="4276542" y="1374601"/>
                </a:lnTo>
                <a:lnTo>
                  <a:pt x="4275801" y="1382866"/>
                </a:lnTo>
                <a:lnTo>
                  <a:pt x="4273185" y="1384760"/>
                </a:lnTo>
                <a:lnTo>
                  <a:pt x="4276524" y="1374608"/>
                </a:lnTo>
                <a:lnTo>
                  <a:pt x="4164803" y="1420521"/>
                </a:lnTo>
                <a:cubicBezTo>
                  <a:pt x="4164803" y="1414371"/>
                  <a:pt x="4176774" y="1402074"/>
                  <a:pt x="4170788" y="1402074"/>
                </a:cubicBezTo>
                <a:cubicBezTo>
                  <a:pt x="4182761" y="1402074"/>
                  <a:pt x="4188746" y="1402074"/>
                  <a:pt x="4194732" y="1402074"/>
                </a:cubicBezTo>
                <a:cubicBezTo>
                  <a:pt x="4200716" y="1402074"/>
                  <a:pt x="4194732" y="1389773"/>
                  <a:pt x="4200716" y="1395924"/>
                </a:cubicBezTo>
                <a:cubicBezTo>
                  <a:pt x="4206702" y="1395924"/>
                  <a:pt x="4200716" y="1383624"/>
                  <a:pt x="4206702" y="1383624"/>
                </a:cubicBezTo>
                <a:cubicBezTo>
                  <a:pt x="4212688" y="1383624"/>
                  <a:pt x="4218673" y="1377474"/>
                  <a:pt x="4224658" y="1383624"/>
                </a:cubicBezTo>
                <a:cubicBezTo>
                  <a:pt x="4224658" y="1383624"/>
                  <a:pt x="4218673" y="1377474"/>
                  <a:pt x="4224658" y="1365176"/>
                </a:cubicBezTo>
                <a:cubicBezTo>
                  <a:pt x="4224658" y="1365176"/>
                  <a:pt x="4230643" y="1377474"/>
                  <a:pt x="4236629" y="1371326"/>
                </a:cubicBezTo>
                <a:cubicBezTo>
                  <a:pt x="4236629" y="1377474"/>
                  <a:pt x="4230643" y="1377474"/>
                  <a:pt x="4230643" y="1383624"/>
                </a:cubicBezTo>
                <a:cubicBezTo>
                  <a:pt x="4233637" y="1377474"/>
                  <a:pt x="4236629" y="1374401"/>
                  <a:pt x="4240371" y="1372094"/>
                </a:cubicBezTo>
                <a:lnTo>
                  <a:pt x="4253482" y="1365713"/>
                </a:lnTo>
                <a:lnTo>
                  <a:pt x="4245875" y="1358104"/>
                </a:lnTo>
                <a:lnTo>
                  <a:pt x="4242676" y="1342625"/>
                </a:lnTo>
                <a:lnTo>
                  <a:pt x="4232859" y="1345918"/>
                </a:lnTo>
                <a:cubicBezTo>
                  <a:pt x="4227310" y="1347824"/>
                  <a:pt x="4222131" y="1349729"/>
                  <a:pt x="4219172" y="1351254"/>
                </a:cubicBezTo>
                <a:cubicBezTo>
                  <a:pt x="4214732" y="1355828"/>
                  <a:pt x="4210293" y="1350111"/>
                  <a:pt x="4203357" y="1349539"/>
                </a:cubicBezTo>
                <a:lnTo>
                  <a:pt x="4196902" y="1350947"/>
                </a:lnTo>
                <a:lnTo>
                  <a:pt x="4195496" y="1345157"/>
                </a:lnTo>
                <a:cubicBezTo>
                  <a:pt x="4201415" y="1345157"/>
                  <a:pt x="4205854" y="1345157"/>
                  <a:pt x="4211033" y="1344394"/>
                </a:cubicBezTo>
                <a:lnTo>
                  <a:pt x="4230393" y="1339222"/>
                </a:lnTo>
                <a:lnTo>
                  <a:pt x="4229530" y="1340582"/>
                </a:lnTo>
                <a:cubicBezTo>
                  <a:pt x="4228050" y="1343631"/>
                  <a:pt x="4228050" y="1345155"/>
                  <a:pt x="4231010" y="1339057"/>
                </a:cubicBezTo>
                <a:lnTo>
                  <a:pt x="4230393" y="1339222"/>
                </a:lnTo>
                <a:lnTo>
                  <a:pt x="4232674" y="1335628"/>
                </a:lnTo>
                <a:cubicBezTo>
                  <a:pt x="4233968" y="1334103"/>
                  <a:pt x="4235448" y="1332960"/>
                  <a:pt x="4236928" y="1332960"/>
                </a:cubicBezTo>
                <a:close/>
                <a:moveTo>
                  <a:pt x="4562784" y="1332893"/>
                </a:moveTo>
                <a:lnTo>
                  <a:pt x="4558527" y="1333352"/>
                </a:lnTo>
                <a:cubicBezTo>
                  <a:pt x="4556285" y="1333352"/>
                  <a:pt x="4554043" y="1333352"/>
                  <a:pt x="4551615" y="1334097"/>
                </a:cubicBezTo>
                <a:lnTo>
                  <a:pt x="4548193" y="1336320"/>
                </a:lnTo>
                <a:lnTo>
                  <a:pt x="4550128" y="1339143"/>
                </a:lnTo>
                <a:cubicBezTo>
                  <a:pt x="4550128" y="1345839"/>
                  <a:pt x="4544389" y="1345839"/>
                  <a:pt x="4538650" y="1345839"/>
                </a:cubicBezTo>
                <a:cubicBezTo>
                  <a:pt x="4538650" y="1342491"/>
                  <a:pt x="4538650" y="1339142"/>
                  <a:pt x="4539367" y="1336631"/>
                </a:cubicBezTo>
                <a:lnTo>
                  <a:pt x="4539932" y="1336160"/>
                </a:lnTo>
                <a:lnTo>
                  <a:pt x="4537977" y="1334470"/>
                </a:lnTo>
                <a:cubicBezTo>
                  <a:pt x="4534614" y="1334097"/>
                  <a:pt x="4530131" y="1334843"/>
                  <a:pt x="4525648" y="1336334"/>
                </a:cubicBezTo>
                <a:lnTo>
                  <a:pt x="4523413" y="1337483"/>
                </a:lnTo>
                <a:lnTo>
                  <a:pt x="4522697" y="1343915"/>
                </a:lnTo>
                <a:cubicBezTo>
                  <a:pt x="4522697" y="1349879"/>
                  <a:pt x="4522697" y="1346896"/>
                  <a:pt x="4521949" y="1343169"/>
                </a:cubicBezTo>
                <a:lnTo>
                  <a:pt x="4520499" y="1338980"/>
                </a:lnTo>
                <a:lnTo>
                  <a:pt x="4516271" y="1341153"/>
                </a:lnTo>
                <a:lnTo>
                  <a:pt x="4517466" y="1341678"/>
                </a:lnTo>
                <a:cubicBezTo>
                  <a:pt x="4519708" y="1342423"/>
                  <a:pt x="4522697" y="1343915"/>
                  <a:pt x="4522697" y="1349879"/>
                </a:cubicBezTo>
                <a:cubicBezTo>
                  <a:pt x="4516719" y="1343915"/>
                  <a:pt x="4516719" y="1349879"/>
                  <a:pt x="4510742" y="1349879"/>
                </a:cubicBezTo>
                <a:lnTo>
                  <a:pt x="4510742" y="1346611"/>
                </a:lnTo>
                <a:lnTo>
                  <a:pt x="4507713" y="1351245"/>
                </a:lnTo>
                <a:lnTo>
                  <a:pt x="4506095" y="1351000"/>
                </a:lnTo>
                <a:lnTo>
                  <a:pt x="4507005" y="1355842"/>
                </a:lnTo>
                <a:lnTo>
                  <a:pt x="4505803" y="1362238"/>
                </a:lnTo>
                <a:lnTo>
                  <a:pt x="4504764" y="1361806"/>
                </a:lnTo>
                <a:cubicBezTo>
                  <a:pt x="4504764" y="1361806"/>
                  <a:pt x="4504764" y="1367770"/>
                  <a:pt x="4504764" y="1367770"/>
                </a:cubicBezTo>
                <a:lnTo>
                  <a:pt x="4505803" y="1362238"/>
                </a:lnTo>
                <a:lnTo>
                  <a:pt x="4513730" y="1365534"/>
                </a:lnTo>
                <a:cubicBezTo>
                  <a:pt x="4514477" y="1366652"/>
                  <a:pt x="4515225" y="1367957"/>
                  <a:pt x="4516532" y="1369354"/>
                </a:cubicBezTo>
                <a:lnTo>
                  <a:pt x="4517576" y="1370096"/>
                </a:lnTo>
                <a:lnTo>
                  <a:pt x="4522805" y="1367798"/>
                </a:lnTo>
                <a:lnTo>
                  <a:pt x="4515691" y="1363055"/>
                </a:lnTo>
                <a:cubicBezTo>
                  <a:pt x="4521431" y="1357315"/>
                  <a:pt x="4521431" y="1363055"/>
                  <a:pt x="4527170" y="1363055"/>
                </a:cubicBezTo>
                <a:cubicBezTo>
                  <a:pt x="4532910" y="1363055"/>
                  <a:pt x="4527170" y="1357315"/>
                  <a:pt x="4538650" y="1357315"/>
                </a:cubicBezTo>
                <a:lnTo>
                  <a:pt x="4537490" y="1361344"/>
                </a:lnTo>
                <a:lnTo>
                  <a:pt x="4544389" y="1358312"/>
                </a:lnTo>
                <a:lnTo>
                  <a:pt x="4544389" y="1357532"/>
                </a:lnTo>
                <a:cubicBezTo>
                  <a:pt x="4544389" y="1356743"/>
                  <a:pt x="4544389" y="1356743"/>
                  <a:pt x="4544389" y="1356743"/>
                </a:cubicBezTo>
                <a:cubicBezTo>
                  <a:pt x="4554434" y="1352008"/>
                  <a:pt x="4553178" y="1343722"/>
                  <a:pt x="4557573" y="1337211"/>
                </a:cubicBezTo>
                <a:close/>
                <a:moveTo>
                  <a:pt x="4565127" y="1332640"/>
                </a:moveTo>
                <a:lnTo>
                  <a:pt x="4564478" y="1332710"/>
                </a:lnTo>
                <a:lnTo>
                  <a:pt x="4564478" y="1337014"/>
                </a:lnTo>
                <a:cubicBezTo>
                  <a:pt x="4564478" y="1337804"/>
                  <a:pt x="4564478" y="1337804"/>
                  <a:pt x="4564478" y="1337804"/>
                </a:cubicBezTo>
                <a:cubicBezTo>
                  <a:pt x="4564478" y="1340960"/>
                  <a:pt x="4561130" y="1345694"/>
                  <a:pt x="4557782" y="1349640"/>
                </a:cubicBezTo>
                <a:lnTo>
                  <a:pt x="4553298" y="1354396"/>
                </a:lnTo>
                <a:lnTo>
                  <a:pt x="4568074" y="1347902"/>
                </a:lnTo>
                <a:lnTo>
                  <a:pt x="4582477" y="1342095"/>
                </a:lnTo>
                <a:lnTo>
                  <a:pt x="4582477" y="1338696"/>
                </a:lnTo>
                <a:cubicBezTo>
                  <a:pt x="4582477" y="1337949"/>
                  <a:pt x="4582477" y="1337949"/>
                  <a:pt x="4582477" y="1337949"/>
                </a:cubicBezTo>
                <a:cubicBezTo>
                  <a:pt x="4582477" y="1337949"/>
                  <a:pt x="4575752" y="1341305"/>
                  <a:pt x="4569867" y="1337951"/>
                </a:cubicBezTo>
                <a:close/>
                <a:moveTo>
                  <a:pt x="4602084" y="1331436"/>
                </a:moveTo>
                <a:lnTo>
                  <a:pt x="4585950" y="1333520"/>
                </a:lnTo>
                <a:lnTo>
                  <a:pt x="4583180" y="1341812"/>
                </a:lnTo>
                <a:lnTo>
                  <a:pt x="4606850" y="1332269"/>
                </a:lnTo>
                <a:close/>
                <a:moveTo>
                  <a:pt x="4577588" y="1330126"/>
                </a:moveTo>
                <a:lnTo>
                  <a:pt x="4577956" y="1330370"/>
                </a:lnTo>
                <a:cubicBezTo>
                  <a:pt x="4577956" y="1331861"/>
                  <a:pt x="4576461" y="1333352"/>
                  <a:pt x="4573472" y="1333352"/>
                </a:cubicBezTo>
                <a:close/>
                <a:moveTo>
                  <a:pt x="4518123" y="1326227"/>
                </a:moveTo>
                <a:lnTo>
                  <a:pt x="4513619" y="1328367"/>
                </a:lnTo>
                <a:lnTo>
                  <a:pt x="4516719" y="1331986"/>
                </a:lnTo>
                <a:cubicBezTo>
                  <a:pt x="4518213" y="1330495"/>
                  <a:pt x="4518587" y="1329004"/>
                  <a:pt x="4518494" y="1327607"/>
                </a:cubicBezTo>
                <a:close/>
                <a:moveTo>
                  <a:pt x="4534652" y="1326022"/>
                </a:moveTo>
                <a:lnTo>
                  <a:pt x="4533580" y="1326482"/>
                </a:lnTo>
                <a:lnTo>
                  <a:pt x="4533925" y="1326095"/>
                </a:lnTo>
                <a:close/>
                <a:moveTo>
                  <a:pt x="4277545" y="1322950"/>
                </a:moveTo>
                <a:cubicBezTo>
                  <a:pt x="4283695" y="1329263"/>
                  <a:pt x="4283695" y="1335576"/>
                  <a:pt x="4283695" y="1335576"/>
                </a:cubicBezTo>
                <a:cubicBezTo>
                  <a:pt x="4283695" y="1335576"/>
                  <a:pt x="4276776" y="1335576"/>
                  <a:pt x="4275911" y="1338240"/>
                </a:cubicBezTo>
                <a:lnTo>
                  <a:pt x="4277545" y="1341891"/>
                </a:lnTo>
                <a:lnTo>
                  <a:pt x="4272355" y="1339819"/>
                </a:lnTo>
                <a:cubicBezTo>
                  <a:pt x="4270626" y="1335972"/>
                  <a:pt x="4277545" y="1327684"/>
                  <a:pt x="4277545" y="1322950"/>
                </a:cubicBezTo>
                <a:close/>
                <a:moveTo>
                  <a:pt x="4502590" y="1322100"/>
                </a:moveTo>
                <a:lnTo>
                  <a:pt x="4496852" y="1324281"/>
                </a:lnTo>
                <a:cubicBezTo>
                  <a:pt x="4492555" y="1325773"/>
                  <a:pt x="4487697" y="1327263"/>
                  <a:pt x="4481719" y="1328755"/>
                </a:cubicBezTo>
                <a:cubicBezTo>
                  <a:pt x="4481719" y="1331737"/>
                  <a:pt x="4483214" y="1333227"/>
                  <a:pt x="4484708" y="1334718"/>
                </a:cubicBezTo>
                <a:lnTo>
                  <a:pt x="4486219" y="1337732"/>
                </a:lnTo>
                <a:lnTo>
                  <a:pt x="4492061" y="1331986"/>
                </a:lnTo>
                <a:close/>
                <a:moveTo>
                  <a:pt x="4550909" y="1321580"/>
                </a:moveTo>
                <a:cubicBezTo>
                  <a:pt x="4549236" y="1321008"/>
                  <a:pt x="4547590" y="1320921"/>
                  <a:pt x="4546048" y="1321829"/>
                </a:cubicBezTo>
                <a:lnTo>
                  <a:pt x="4542228" y="1328992"/>
                </a:lnTo>
                <a:lnTo>
                  <a:pt x="4561516" y="1327389"/>
                </a:lnTo>
                <a:lnTo>
                  <a:pt x="4563041" y="1326299"/>
                </a:lnTo>
                <a:lnTo>
                  <a:pt x="4560629" y="1326743"/>
                </a:lnTo>
                <a:cubicBezTo>
                  <a:pt x="4557704" y="1325808"/>
                  <a:pt x="4554254" y="1322725"/>
                  <a:pt x="4550909" y="1321580"/>
                </a:cubicBezTo>
                <a:close/>
                <a:moveTo>
                  <a:pt x="4255400" y="1321481"/>
                </a:moveTo>
                <a:cubicBezTo>
                  <a:pt x="4261140" y="1321481"/>
                  <a:pt x="4261140" y="1321481"/>
                  <a:pt x="4266880" y="1321481"/>
                </a:cubicBezTo>
                <a:cubicBezTo>
                  <a:pt x="4255400" y="1334874"/>
                  <a:pt x="4238182" y="1341570"/>
                  <a:pt x="4255400" y="1321481"/>
                </a:cubicBezTo>
                <a:close/>
                <a:moveTo>
                  <a:pt x="4431687" y="1320010"/>
                </a:moveTo>
                <a:lnTo>
                  <a:pt x="4437689" y="1320010"/>
                </a:lnTo>
                <a:cubicBezTo>
                  <a:pt x="4425687" y="1326467"/>
                  <a:pt x="4407686" y="1332925"/>
                  <a:pt x="4395685" y="1345839"/>
                </a:cubicBezTo>
                <a:cubicBezTo>
                  <a:pt x="4383683" y="1339382"/>
                  <a:pt x="4413686" y="1332925"/>
                  <a:pt x="4413686" y="1326467"/>
                </a:cubicBezTo>
                <a:cubicBezTo>
                  <a:pt x="4425687" y="1320010"/>
                  <a:pt x="4425687" y="1326467"/>
                  <a:pt x="4431687" y="1320010"/>
                </a:cubicBezTo>
                <a:close/>
                <a:moveTo>
                  <a:pt x="4181810" y="1319580"/>
                </a:moveTo>
                <a:lnTo>
                  <a:pt x="4180412" y="1320010"/>
                </a:lnTo>
                <a:cubicBezTo>
                  <a:pt x="4178858" y="1320010"/>
                  <a:pt x="4179246" y="1320010"/>
                  <a:pt x="4180607" y="1319831"/>
                </a:cubicBezTo>
                <a:close/>
                <a:moveTo>
                  <a:pt x="4186996" y="1317984"/>
                </a:moveTo>
                <a:lnTo>
                  <a:pt x="4186631" y="1318574"/>
                </a:lnTo>
                <a:lnTo>
                  <a:pt x="4181810" y="1319580"/>
                </a:lnTo>
                <a:close/>
                <a:moveTo>
                  <a:pt x="4519708" y="1317823"/>
                </a:moveTo>
                <a:lnTo>
                  <a:pt x="4520305" y="1318269"/>
                </a:lnTo>
                <a:lnTo>
                  <a:pt x="4516719" y="1320059"/>
                </a:lnTo>
                <a:cubicBezTo>
                  <a:pt x="4516719" y="1320059"/>
                  <a:pt x="4518213" y="1318568"/>
                  <a:pt x="4519708" y="1317823"/>
                </a:cubicBezTo>
                <a:close/>
                <a:moveTo>
                  <a:pt x="4961537" y="1317618"/>
                </a:moveTo>
                <a:lnTo>
                  <a:pt x="4959091" y="1320059"/>
                </a:lnTo>
                <a:lnTo>
                  <a:pt x="4957145" y="1319650"/>
                </a:lnTo>
                <a:close/>
                <a:moveTo>
                  <a:pt x="4540255" y="1315971"/>
                </a:moveTo>
                <a:lnTo>
                  <a:pt x="4539456" y="1316293"/>
                </a:lnTo>
                <a:lnTo>
                  <a:pt x="4534652" y="1325277"/>
                </a:lnTo>
                <a:lnTo>
                  <a:pt x="4533925" y="1326095"/>
                </a:lnTo>
                <a:lnTo>
                  <a:pt x="4527180" y="1326768"/>
                </a:lnTo>
                <a:lnTo>
                  <a:pt x="4527805" y="1328950"/>
                </a:lnTo>
                <a:lnTo>
                  <a:pt x="4524192" y="1330495"/>
                </a:lnTo>
                <a:lnTo>
                  <a:pt x="4523813" y="1333891"/>
                </a:lnTo>
                <a:lnTo>
                  <a:pt x="4528671" y="1331972"/>
                </a:lnTo>
                <a:lnTo>
                  <a:pt x="4527805" y="1328950"/>
                </a:lnTo>
                <a:lnTo>
                  <a:pt x="4533580" y="1326482"/>
                </a:lnTo>
                <a:lnTo>
                  <a:pt x="4528696" y="1331963"/>
                </a:lnTo>
                <a:lnTo>
                  <a:pt x="4534614" y="1329625"/>
                </a:lnTo>
                <a:lnTo>
                  <a:pt x="4539700" y="1329202"/>
                </a:lnTo>
                <a:lnTo>
                  <a:pt x="4538389" y="1325277"/>
                </a:lnTo>
                <a:close/>
                <a:moveTo>
                  <a:pt x="4917245" y="1314096"/>
                </a:moveTo>
                <a:lnTo>
                  <a:pt x="4917245" y="1320059"/>
                </a:lnTo>
                <a:cubicBezTo>
                  <a:pt x="4917245" y="1314096"/>
                  <a:pt x="4917245" y="1326022"/>
                  <a:pt x="4911267" y="1320059"/>
                </a:cubicBezTo>
                <a:cubicBezTo>
                  <a:pt x="4911267" y="1320059"/>
                  <a:pt x="4911267" y="1320059"/>
                  <a:pt x="4917245" y="1314096"/>
                </a:cubicBezTo>
                <a:close/>
                <a:moveTo>
                  <a:pt x="4881378" y="1314096"/>
                </a:moveTo>
                <a:cubicBezTo>
                  <a:pt x="4881378" y="1326022"/>
                  <a:pt x="4839531" y="1337949"/>
                  <a:pt x="4833553" y="1337949"/>
                </a:cubicBezTo>
                <a:lnTo>
                  <a:pt x="4833553" y="1359820"/>
                </a:lnTo>
                <a:lnTo>
                  <a:pt x="4820281" y="1364232"/>
                </a:lnTo>
                <a:lnTo>
                  <a:pt x="4819884" y="1368795"/>
                </a:lnTo>
                <a:lnTo>
                  <a:pt x="4817289" y="1365228"/>
                </a:lnTo>
                <a:lnTo>
                  <a:pt x="4809641" y="1367770"/>
                </a:lnTo>
                <a:cubicBezTo>
                  <a:pt x="4797685" y="1373735"/>
                  <a:pt x="4785728" y="1391626"/>
                  <a:pt x="4779750" y="1379699"/>
                </a:cubicBezTo>
                <a:cubicBezTo>
                  <a:pt x="4785728" y="1379699"/>
                  <a:pt x="4785728" y="1373735"/>
                  <a:pt x="4791707" y="1373735"/>
                </a:cubicBezTo>
                <a:cubicBezTo>
                  <a:pt x="4779750" y="1367770"/>
                  <a:pt x="4779750" y="1373735"/>
                  <a:pt x="4779750" y="1361806"/>
                </a:cubicBezTo>
                <a:cubicBezTo>
                  <a:pt x="4773772" y="1355842"/>
                  <a:pt x="4761818" y="1361806"/>
                  <a:pt x="4755840" y="1361806"/>
                </a:cubicBezTo>
                <a:cubicBezTo>
                  <a:pt x="4785728" y="1349879"/>
                  <a:pt x="4845510" y="1326022"/>
                  <a:pt x="4881378" y="1314096"/>
                </a:cubicBezTo>
                <a:close/>
                <a:moveTo>
                  <a:pt x="4535521" y="1310862"/>
                </a:moveTo>
                <a:cubicBezTo>
                  <a:pt x="4523565" y="1313844"/>
                  <a:pt x="4516093" y="1316826"/>
                  <a:pt x="4508621" y="1319808"/>
                </a:cubicBezTo>
                <a:lnTo>
                  <a:pt x="4504764" y="1321274"/>
                </a:lnTo>
                <a:lnTo>
                  <a:pt x="4504764" y="1323041"/>
                </a:lnTo>
                <a:lnTo>
                  <a:pt x="4504764" y="1325482"/>
                </a:lnTo>
                <a:lnTo>
                  <a:pt x="4509367" y="1323535"/>
                </a:lnTo>
                <a:lnTo>
                  <a:pt x="4517559" y="1321089"/>
                </a:lnTo>
                <a:lnTo>
                  <a:pt x="4517560" y="1321084"/>
                </a:lnTo>
                <a:lnTo>
                  <a:pt x="4517613" y="1321073"/>
                </a:lnTo>
                <a:lnTo>
                  <a:pt x="4522163" y="1319714"/>
                </a:lnTo>
                <a:lnTo>
                  <a:pt x="4522202" y="1319690"/>
                </a:lnTo>
                <a:lnTo>
                  <a:pt x="4520305" y="1318269"/>
                </a:lnTo>
                <a:lnTo>
                  <a:pt x="4527179" y="1314840"/>
                </a:lnTo>
                <a:lnTo>
                  <a:pt x="4529662" y="1314745"/>
                </a:lnTo>
                <a:close/>
                <a:moveTo>
                  <a:pt x="4192848" y="1308531"/>
                </a:moveTo>
                <a:cubicBezTo>
                  <a:pt x="4199066" y="1308531"/>
                  <a:pt x="4199066" y="1314271"/>
                  <a:pt x="4199066" y="1308531"/>
                </a:cubicBezTo>
                <a:cubicBezTo>
                  <a:pt x="4205283" y="1308531"/>
                  <a:pt x="4203730" y="1311400"/>
                  <a:pt x="4199066" y="1314271"/>
                </a:cubicBezTo>
                <a:lnTo>
                  <a:pt x="4186996" y="1317984"/>
                </a:lnTo>
                <a:close/>
                <a:moveTo>
                  <a:pt x="4572185" y="1303151"/>
                </a:moveTo>
                <a:lnTo>
                  <a:pt x="4567767" y="1304925"/>
                </a:lnTo>
                <a:lnTo>
                  <a:pt x="4570521" y="1308130"/>
                </a:lnTo>
                <a:close/>
                <a:moveTo>
                  <a:pt x="4994960" y="1302166"/>
                </a:moveTo>
                <a:lnTo>
                  <a:pt x="4961537" y="1317618"/>
                </a:lnTo>
                <a:lnTo>
                  <a:pt x="4970301" y="1308877"/>
                </a:lnTo>
                <a:cubicBezTo>
                  <a:pt x="4978521" y="1306640"/>
                  <a:pt x="4988982" y="1305149"/>
                  <a:pt x="4994960" y="1302166"/>
                </a:cubicBezTo>
                <a:close/>
                <a:moveTo>
                  <a:pt x="4911267" y="1302166"/>
                </a:moveTo>
                <a:lnTo>
                  <a:pt x="4912355" y="1302432"/>
                </a:lnTo>
                <a:lnTo>
                  <a:pt x="4908927" y="1303723"/>
                </a:lnTo>
                <a:close/>
                <a:moveTo>
                  <a:pt x="4755968" y="1300294"/>
                </a:moveTo>
                <a:lnTo>
                  <a:pt x="4755968" y="1311471"/>
                </a:lnTo>
                <a:cubicBezTo>
                  <a:pt x="4744490" y="1311471"/>
                  <a:pt x="4744490" y="1299992"/>
                  <a:pt x="4738750" y="1305732"/>
                </a:cubicBezTo>
                <a:cubicBezTo>
                  <a:pt x="4738750" y="1305732"/>
                  <a:pt x="4743056" y="1302861"/>
                  <a:pt x="4748078" y="1300709"/>
                </a:cubicBezTo>
                <a:close/>
                <a:moveTo>
                  <a:pt x="4755968" y="1299992"/>
                </a:moveTo>
                <a:cubicBezTo>
                  <a:pt x="4755968" y="1299992"/>
                  <a:pt x="4755968" y="1299992"/>
                  <a:pt x="4761709" y="1299992"/>
                </a:cubicBezTo>
                <a:lnTo>
                  <a:pt x="4755968" y="1300294"/>
                </a:lnTo>
                <a:close/>
                <a:moveTo>
                  <a:pt x="4367480" y="1299992"/>
                </a:moveTo>
                <a:cubicBezTo>
                  <a:pt x="4385774" y="1305732"/>
                  <a:pt x="4330890" y="1322950"/>
                  <a:pt x="4318693" y="1328689"/>
                </a:cubicBezTo>
                <a:cubicBezTo>
                  <a:pt x="4300399" y="1334429"/>
                  <a:pt x="4300399" y="1334429"/>
                  <a:pt x="4288203" y="1334429"/>
                </a:cubicBezTo>
                <a:cubicBezTo>
                  <a:pt x="4300399" y="1328689"/>
                  <a:pt x="4330890" y="1305732"/>
                  <a:pt x="4336989" y="1317210"/>
                </a:cubicBezTo>
                <a:cubicBezTo>
                  <a:pt x="4343086" y="1311471"/>
                  <a:pt x="4349186" y="1317210"/>
                  <a:pt x="4349186" y="1305732"/>
                </a:cubicBezTo>
                <a:cubicBezTo>
                  <a:pt x="4355284" y="1305732"/>
                  <a:pt x="4367480" y="1305732"/>
                  <a:pt x="4367480" y="1299992"/>
                </a:cubicBezTo>
                <a:close/>
                <a:moveTo>
                  <a:pt x="4228718" y="1297052"/>
                </a:moveTo>
                <a:cubicBezTo>
                  <a:pt x="4228718" y="1302792"/>
                  <a:pt x="4205760" y="1314271"/>
                  <a:pt x="4205760" y="1302792"/>
                </a:cubicBezTo>
                <a:cubicBezTo>
                  <a:pt x="4211500" y="1297052"/>
                  <a:pt x="4217239" y="1302792"/>
                  <a:pt x="4228718" y="1297052"/>
                </a:cubicBezTo>
                <a:close/>
                <a:moveTo>
                  <a:pt x="4803616" y="1287824"/>
                </a:moveTo>
                <a:lnTo>
                  <a:pt x="4803616" y="1293793"/>
                </a:lnTo>
                <a:cubicBezTo>
                  <a:pt x="4797629" y="1287824"/>
                  <a:pt x="4779669" y="1299762"/>
                  <a:pt x="4773682" y="1305732"/>
                </a:cubicBezTo>
                <a:cubicBezTo>
                  <a:pt x="4767696" y="1305732"/>
                  <a:pt x="4761709" y="1287824"/>
                  <a:pt x="4773682" y="1293793"/>
                </a:cubicBezTo>
                <a:cubicBezTo>
                  <a:pt x="4767696" y="1305732"/>
                  <a:pt x="4791644" y="1281855"/>
                  <a:pt x="4803616" y="1287824"/>
                </a:cubicBezTo>
                <a:close/>
                <a:moveTo>
                  <a:pt x="4729352" y="1287325"/>
                </a:moveTo>
                <a:lnTo>
                  <a:pt x="4724585" y="1292817"/>
                </a:lnTo>
                <a:lnTo>
                  <a:pt x="4695376" y="1302257"/>
                </a:lnTo>
                <a:close/>
                <a:moveTo>
                  <a:pt x="1630209" y="1287005"/>
                </a:moveTo>
                <a:lnTo>
                  <a:pt x="1626054" y="1291722"/>
                </a:lnTo>
                <a:lnTo>
                  <a:pt x="1632047" y="1289297"/>
                </a:lnTo>
                <a:close/>
                <a:moveTo>
                  <a:pt x="4880724" y="1284731"/>
                </a:moveTo>
                <a:cubicBezTo>
                  <a:pt x="4880724" y="1296884"/>
                  <a:pt x="4862643" y="1284731"/>
                  <a:pt x="4856618" y="1296884"/>
                </a:cubicBezTo>
                <a:cubicBezTo>
                  <a:pt x="4814431" y="1309039"/>
                  <a:pt x="4784301" y="1333347"/>
                  <a:pt x="4754167" y="1327270"/>
                </a:cubicBezTo>
                <a:cubicBezTo>
                  <a:pt x="4784301" y="1321192"/>
                  <a:pt x="4838537" y="1296884"/>
                  <a:pt x="4880724" y="1284731"/>
                </a:cubicBezTo>
                <a:close/>
                <a:moveTo>
                  <a:pt x="4965070" y="1284273"/>
                </a:moveTo>
                <a:lnTo>
                  <a:pt x="4958495" y="1290836"/>
                </a:lnTo>
                <a:lnTo>
                  <a:pt x="4950490" y="1295561"/>
                </a:lnTo>
                <a:lnTo>
                  <a:pt x="4943212" y="1293780"/>
                </a:lnTo>
                <a:cubicBezTo>
                  <a:pt x="4936114" y="1295644"/>
                  <a:pt x="4928268" y="1302725"/>
                  <a:pt x="4921168" y="1304588"/>
                </a:cubicBezTo>
                <a:lnTo>
                  <a:pt x="4912355" y="1302432"/>
                </a:lnTo>
                <a:lnTo>
                  <a:pt x="4920981" y="1299183"/>
                </a:lnTo>
                <a:cubicBezTo>
                  <a:pt x="4932191" y="1294712"/>
                  <a:pt x="4944147" y="1290239"/>
                  <a:pt x="4965070" y="1284273"/>
                </a:cubicBezTo>
                <a:close/>
                <a:moveTo>
                  <a:pt x="4921610" y="1279796"/>
                </a:moveTo>
                <a:lnTo>
                  <a:pt x="4921214" y="1280173"/>
                </a:lnTo>
                <a:lnTo>
                  <a:pt x="4920979" y="1280090"/>
                </a:lnTo>
                <a:close/>
                <a:moveTo>
                  <a:pt x="4413918" y="1274965"/>
                </a:moveTo>
                <a:lnTo>
                  <a:pt x="4394670" y="1282032"/>
                </a:lnTo>
                <a:lnTo>
                  <a:pt x="4402992" y="1281339"/>
                </a:lnTo>
                <a:close/>
                <a:moveTo>
                  <a:pt x="4684103" y="1272346"/>
                </a:moveTo>
                <a:cubicBezTo>
                  <a:pt x="4654212" y="1278310"/>
                  <a:pt x="4588455" y="1308130"/>
                  <a:pt x="4558565" y="1320059"/>
                </a:cubicBezTo>
                <a:cubicBezTo>
                  <a:pt x="4564543" y="1314096"/>
                  <a:pt x="4552587" y="1314096"/>
                  <a:pt x="4552587" y="1314096"/>
                </a:cubicBezTo>
                <a:lnTo>
                  <a:pt x="4554104" y="1310411"/>
                </a:lnTo>
                <a:lnTo>
                  <a:pt x="4544752" y="1314166"/>
                </a:lnTo>
                <a:lnTo>
                  <a:pt x="4546608" y="1314096"/>
                </a:lnTo>
                <a:cubicBezTo>
                  <a:pt x="4546608" y="1314096"/>
                  <a:pt x="4546608" y="1314096"/>
                  <a:pt x="4540630" y="1320059"/>
                </a:cubicBezTo>
                <a:cubicBezTo>
                  <a:pt x="4540630" y="1326022"/>
                  <a:pt x="4552587" y="1308130"/>
                  <a:pt x="4558565" y="1320059"/>
                </a:cubicBezTo>
                <a:cubicBezTo>
                  <a:pt x="4558565" y="1323041"/>
                  <a:pt x="4558565" y="1324532"/>
                  <a:pt x="4559312" y="1325277"/>
                </a:cubicBezTo>
                <a:lnTo>
                  <a:pt x="4563613" y="1325890"/>
                </a:lnTo>
                <a:lnTo>
                  <a:pt x="4568428" y="1322450"/>
                </a:lnTo>
                <a:cubicBezTo>
                  <a:pt x="4571231" y="1321984"/>
                  <a:pt x="4574220" y="1322543"/>
                  <a:pt x="4576462" y="1323661"/>
                </a:cubicBezTo>
                <a:cubicBezTo>
                  <a:pt x="4578703" y="1324779"/>
                  <a:pt x="4580197" y="1326457"/>
                  <a:pt x="4580010" y="1328227"/>
                </a:cubicBezTo>
                <a:lnTo>
                  <a:pt x="4577588" y="1330126"/>
                </a:lnTo>
                <a:lnTo>
                  <a:pt x="4573472" y="1327389"/>
                </a:lnTo>
                <a:lnTo>
                  <a:pt x="4566096" y="1332180"/>
                </a:lnTo>
                <a:lnTo>
                  <a:pt x="4570521" y="1332732"/>
                </a:lnTo>
                <a:cubicBezTo>
                  <a:pt x="4572016" y="1333477"/>
                  <a:pt x="4573510" y="1334968"/>
                  <a:pt x="4576499" y="1337949"/>
                </a:cubicBezTo>
                <a:cubicBezTo>
                  <a:pt x="4582477" y="1326022"/>
                  <a:pt x="4582477" y="1320059"/>
                  <a:pt x="4594433" y="1320059"/>
                </a:cubicBezTo>
                <a:cubicBezTo>
                  <a:pt x="4594433" y="1320059"/>
                  <a:pt x="4588455" y="1320059"/>
                  <a:pt x="4588455" y="1320059"/>
                </a:cubicBezTo>
                <a:cubicBezTo>
                  <a:pt x="4576499" y="1314096"/>
                  <a:pt x="4612368" y="1308130"/>
                  <a:pt x="4606390" y="1320059"/>
                </a:cubicBezTo>
                <a:cubicBezTo>
                  <a:pt x="4618346" y="1302166"/>
                  <a:pt x="4624324" y="1314096"/>
                  <a:pt x="4630302" y="1296203"/>
                </a:cubicBezTo>
                <a:cubicBezTo>
                  <a:pt x="4636280" y="1296203"/>
                  <a:pt x="4624324" y="1302166"/>
                  <a:pt x="4630302" y="1308130"/>
                </a:cubicBezTo>
                <a:cubicBezTo>
                  <a:pt x="4636280" y="1302166"/>
                  <a:pt x="4642257" y="1302166"/>
                  <a:pt x="4648234" y="1290239"/>
                </a:cubicBezTo>
                <a:cubicBezTo>
                  <a:pt x="4648234" y="1296203"/>
                  <a:pt x="4648234" y="1296203"/>
                  <a:pt x="4648234" y="1296203"/>
                </a:cubicBezTo>
                <a:cubicBezTo>
                  <a:pt x="4666168" y="1284273"/>
                  <a:pt x="4678125" y="1290239"/>
                  <a:pt x="4684103" y="1272346"/>
                </a:cubicBezTo>
                <a:close/>
                <a:moveTo>
                  <a:pt x="4170863" y="1269115"/>
                </a:moveTo>
                <a:lnTo>
                  <a:pt x="4170863" y="1275078"/>
                </a:lnTo>
                <a:cubicBezTo>
                  <a:pt x="4170863" y="1269115"/>
                  <a:pt x="4152928" y="1275078"/>
                  <a:pt x="4152928" y="1281042"/>
                </a:cubicBezTo>
                <a:cubicBezTo>
                  <a:pt x="4146950" y="1275078"/>
                  <a:pt x="4158906" y="1269115"/>
                  <a:pt x="4170863" y="1269115"/>
                </a:cubicBezTo>
                <a:close/>
                <a:moveTo>
                  <a:pt x="4736660" y="1268355"/>
                </a:moveTo>
                <a:lnTo>
                  <a:pt x="4742400" y="1268355"/>
                </a:lnTo>
                <a:cubicBezTo>
                  <a:pt x="4736660" y="1268355"/>
                  <a:pt x="4736660" y="1274094"/>
                  <a:pt x="4730921" y="1274094"/>
                </a:cubicBezTo>
                <a:cubicBezTo>
                  <a:pt x="4730921" y="1268355"/>
                  <a:pt x="4730921" y="1268355"/>
                  <a:pt x="4736660" y="1268355"/>
                </a:cubicBezTo>
                <a:close/>
                <a:moveTo>
                  <a:pt x="4947081" y="1267914"/>
                </a:moveTo>
                <a:lnTo>
                  <a:pt x="4940988" y="1272576"/>
                </a:lnTo>
                <a:lnTo>
                  <a:pt x="4940255" y="1271099"/>
                </a:lnTo>
                <a:close/>
                <a:moveTo>
                  <a:pt x="4922909" y="1266498"/>
                </a:moveTo>
                <a:cubicBezTo>
                  <a:pt x="4922909" y="1272576"/>
                  <a:pt x="4916882" y="1272576"/>
                  <a:pt x="4916882" y="1278653"/>
                </a:cubicBezTo>
                <a:lnTo>
                  <a:pt x="4920979" y="1280090"/>
                </a:lnTo>
                <a:lnTo>
                  <a:pt x="4878464" y="1299923"/>
                </a:lnTo>
                <a:cubicBezTo>
                  <a:pt x="4840045" y="1315115"/>
                  <a:pt x="4799365" y="1330309"/>
                  <a:pt x="4754167" y="1351578"/>
                </a:cubicBezTo>
                <a:cubicBezTo>
                  <a:pt x="4748141" y="1345500"/>
                  <a:pt x="4760195" y="1345500"/>
                  <a:pt x="4760195" y="1339423"/>
                </a:cubicBezTo>
                <a:cubicBezTo>
                  <a:pt x="4784301" y="1333347"/>
                  <a:pt x="4832512" y="1315115"/>
                  <a:pt x="4856618" y="1296884"/>
                </a:cubicBezTo>
                <a:cubicBezTo>
                  <a:pt x="4874697" y="1302962"/>
                  <a:pt x="4886749" y="1284731"/>
                  <a:pt x="4886749" y="1278653"/>
                </a:cubicBezTo>
                <a:cubicBezTo>
                  <a:pt x="4904830" y="1272576"/>
                  <a:pt x="4904830" y="1278653"/>
                  <a:pt x="4922909" y="1266498"/>
                </a:cubicBezTo>
                <a:close/>
                <a:moveTo>
                  <a:pt x="1679239" y="1266358"/>
                </a:moveTo>
                <a:lnTo>
                  <a:pt x="1672056" y="1269115"/>
                </a:lnTo>
                <a:cubicBezTo>
                  <a:pt x="1672056" y="1275078"/>
                  <a:pt x="1672056" y="1269115"/>
                  <a:pt x="1666078" y="1269115"/>
                </a:cubicBezTo>
                <a:cubicBezTo>
                  <a:pt x="1667572" y="1269115"/>
                  <a:pt x="1666452" y="1271351"/>
                  <a:pt x="1663836" y="1274426"/>
                </a:cubicBezTo>
                <a:lnTo>
                  <a:pt x="1656385" y="1281302"/>
                </a:lnTo>
                <a:lnTo>
                  <a:pt x="1679239" y="1274334"/>
                </a:lnTo>
                <a:cubicBezTo>
                  <a:pt x="1679239" y="1271362"/>
                  <a:pt x="1679239" y="1269876"/>
                  <a:pt x="1679239" y="1268390"/>
                </a:cubicBezTo>
                <a:close/>
                <a:moveTo>
                  <a:pt x="4432847" y="1265545"/>
                </a:moveTo>
                <a:cubicBezTo>
                  <a:pt x="4433550" y="1265592"/>
                  <a:pt x="4432870" y="1266183"/>
                  <a:pt x="4430327" y="1267521"/>
                </a:cubicBezTo>
                <a:lnTo>
                  <a:pt x="4420431" y="1272179"/>
                </a:lnTo>
                <a:lnTo>
                  <a:pt x="4420928" y="1274165"/>
                </a:lnTo>
                <a:cubicBezTo>
                  <a:pt x="4421645" y="1275599"/>
                  <a:pt x="4423080" y="1277034"/>
                  <a:pt x="4425950" y="1277034"/>
                </a:cubicBezTo>
                <a:cubicBezTo>
                  <a:pt x="4431689" y="1282774"/>
                  <a:pt x="4414471" y="1288513"/>
                  <a:pt x="4408732" y="1282774"/>
                </a:cubicBezTo>
                <a:cubicBezTo>
                  <a:pt x="4408732" y="1288513"/>
                  <a:pt x="4391513" y="1305732"/>
                  <a:pt x="4385774" y="1294252"/>
                </a:cubicBezTo>
                <a:cubicBezTo>
                  <a:pt x="4385774" y="1282774"/>
                  <a:pt x="4385774" y="1294252"/>
                  <a:pt x="4391513" y="1294252"/>
                </a:cubicBezTo>
                <a:cubicBezTo>
                  <a:pt x="4394383" y="1288513"/>
                  <a:pt x="4392948" y="1287078"/>
                  <a:pt x="4390795" y="1286361"/>
                </a:cubicBezTo>
                <a:lnTo>
                  <a:pt x="4388109" y="1284442"/>
                </a:lnTo>
                <a:lnTo>
                  <a:pt x="4375375" y="1289117"/>
                </a:lnTo>
                <a:cubicBezTo>
                  <a:pt x="4362624" y="1293660"/>
                  <a:pt x="4350623" y="1298204"/>
                  <a:pt x="4338622" y="1304262"/>
                </a:cubicBezTo>
                <a:cubicBezTo>
                  <a:pt x="4338622" y="1295175"/>
                  <a:pt x="4347622" y="1290631"/>
                  <a:pt x="4356623" y="1287602"/>
                </a:cubicBezTo>
                <a:lnTo>
                  <a:pt x="4364835" y="1284147"/>
                </a:lnTo>
                <a:lnTo>
                  <a:pt x="4365566" y="1284208"/>
                </a:lnTo>
                <a:lnTo>
                  <a:pt x="4366301" y="1283530"/>
                </a:lnTo>
                <a:lnTo>
                  <a:pt x="4374624" y="1280028"/>
                </a:lnTo>
                <a:lnTo>
                  <a:pt x="4375177" y="1280003"/>
                </a:lnTo>
                <a:lnTo>
                  <a:pt x="4373338" y="1277034"/>
                </a:lnTo>
                <a:lnTo>
                  <a:pt x="4366301" y="1283530"/>
                </a:lnTo>
                <a:lnTo>
                  <a:pt x="4364835" y="1284147"/>
                </a:lnTo>
                <a:lnTo>
                  <a:pt x="4348466" y="1282774"/>
                </a:lnTo>
                <a:cubicBezTo>
                  <a:pt x="4360903" y="1282774"/>
                  <a:pt x="4367120" y="1271294"/>
                  <a:pt x="4379557" y="1271294"/>
                </a:cubicBezTo>
                <a:cubicBezTo>
                  <a:pt x="4382665" y="1274165"/>
                  <a:pt x="4382665" y="1275599"/>
                  <a:pt x="4381888" y="1277034"/>
                </a:cubicBezTo>
                <a:lnTo>
                  <a:pt x="4380785" y="1279749"/>
                </a:lnTo>
                <a:lnTo>
                  <a:pt x="4383128" y="1279643"/>
                </a:lnTo>
                <a:cubicBezTo>
                  <a:pt x="4398514" y="1276142"/>
                  <a:pt x="4429683" y="1265332"/>
                  <a:pt x="4432847" y="1265545"/>
                </a:cubicBezTo>
                <a:close/>
                <a:moveTo>
                  <a:pt x="4790406" y="1262684"/>
                </a:moveTo>
                <a:cubicBezTo>
                  <a:pt x="4778439" y="1280763"/>
                  <a:pt x="4754504" y="1274737"/>
                  <a:pt x="4730568" y="1286790"/>
                </a:cubicBezTo>
                <a:lnTo>
                  <a:pt x="4729352" y="1287325"/>
                </a:lnTo>
                <a:lnTo>
                  <a:pt x="4738235" y="1277092"/>
                </a:lnTo>
                <a:cubicBezTo>
                  <a:pt x="4755625" y="1267204"/>
                  <a:pt x="4781430" y="1271725"/>
                  <a:pt x="4790406" y="1262684"/>
                </a:cubicBezTo>
                <a:close/>
                <a:moveTo>
                  <a:pt x="1742746" y="1262684"/>
                </a:moveTo>
                <a:cubicBezTo>
                  <a:pt x="1754225" y="1262684"/>
                  <a:pt x="1754225" y="1262684"/>
                  <a:pt x="1759964" y="1262684"/>
                </a:cubicBezTo>
                <a:cubicBezTo>
                  <a:pt x="1759964" y="1262684"/>
                  <a:pt x="1742746" y="1277034"/>
                  <a:pt x="1742746" y="1262684"/>
                </a:cubicBezTo>
                <a:close/>
                <a:moveTo>
                  <a:pt x="4934960" y="1260421"/>
                </a:moveTo>
                <a:lnTo>
                  <a:pt x="4940255" y="1271099"/>
                </a:lnTo>
                <a:lnTo>
                  <a:pt x="4921610" y="1279796"/>
                </a:lnTo>
                <a:lnTo>
                  <a:pt x="4924415" y="1277134"/>
                </a:lnTo>
                <a:cubicBezTo>
                  <a:pt x="4925922" y="1274095"/>
                  <a:pt x="4925922" y="1269537"/>
                  <a:pt x="4922909" y="1266498"/>
                </a:cubicBezTo>
                <a:cubicBezTo>
                  <a:pt x="4934960" y="1260421"/>
                  <a:pt x="4922909" y="1278653"/>
                  <a:pt x="4928935" y="1272576"/>
                </a:cubicBezTo>
                <a:cubicBezTo>
                  <a:pt x="4940988" y="1272576"/>
                  <a:pt x="4922909" y="1266498"/>
                  <a:pt x="4934960" y="1260421"/>
                </a:cubicBezTo>
                <a:close/>
                <a:moveTo>
                  <a:pt x="5006916" y="1260419"/>
                </a:moveTo>
                <a:cubicBezTo>
                  <a:pt x="5012894" y="1266382"/>
                  <a:pt x="5012894" y="1272346"/>
                  <a:pt x="5018872" y="1266382"/>
                </a:cubicBezTo>
                <a:cubicBezTo>
                  <a:pt x="5006916" y="1284273"/>
                  <a:pt x="4959091" y="1302166"/>
                  <a:pt x="4935179" y="1314096"/>
                </a:cubicBezTo>
                <a:cubicBezTo>
                  <a:pt x="4935179" y="1320059"/>
                  <a:pt x="4939662" y="1318568"/>
                  <a:pt x="4944894" y="1317076"/>
                </a:cubicBezTo>
                <a:lnTo>
                  <a:pt x="4957145" y="1319650"/>
                </a:lnTo>
                <a:lnTo>
                  <a:pt x="4933686" y="1330495"/>
                </a:lnTo>
                <a:cubicBezTo>
                  <a:pt x="4909774" y="1336460"/>
                  <a:pt x="4884366" y="1340933"/>
                  <a:pt x="4863444" y="1349879"/>
                </a:cubicBezTo>
                <a:lnTo>
                  <a:pt x="4835331" y="1359228"/>
                </a:lnTo>
                <a:lnTo>
                  <a:pt x="4841773" y="1349879"/>
                </a:lnTo>
                <a:cubicBezTo>
                  <a:pt x="4844014" y="1346896"/>
                  <a:pt x="4845510" y="1343915"/>
                  <a:pt x="4845510" y="1337949"/>
                </a:cubicBezTo>
                <a:cubicBezTo>
                  <a:pt x="4857466" y="1337949"/>
                  <a:pt x="4851487" y="1349879"/>
                  <a:pt x="4851487" y="1349879"/>
                </a:cubicBezTo>
                <a:cubicBezTo>
                  <a:pt x="4857466" y="1355842"/>
                  <a:pt x="4857466" y="1337949"/>
                  <a:pt x="4863444" y="1343915"/>
                </a:cubicBezTo>
                <a:cubicBezTo>
                  <a:pt x="4863444" y="1331986"/>
                  <a:pt x="4851487" y="1349879"/>
                  <a:pt x="4851487" y="1337949"/>
                </a:cubicBezTo>
                <a:cubicBezTo>
                  <a:pt x="4857466" y="1337949"/>
                  <a:pt x="4857466" y="1331986"/>
                  <a:pt x="4869422" y="1331986"/>
                </a:cubicBezTo>
                <a:cubicBezTo>
                  <a:pt x="4869422" y="1331986"/>
                  <a:pt x="4869422" y="1337949"/>
                  <a:pt x="4869422" y="1343915"/>
                </a:cubicBezTo>
                <a:cubicBezTo>
                  <a:pt x="4881378" y="1337949"/>
                  <a:pt x="4887356" y="1337949"/>
                  <a:pt x="4893334" y="1337949"/>
                </a:cubicBezTo>
                <a:cubicBezTo>
                  <a:pt x="4893334" y="1337949"/>
                  <a:pt x="4893334" y="1331986"/>
                  <a:pt x="4899312" y="1331986"/>
                </a:cubicBezTo>
                <a:cubicBezTo>
                  <a:pt x="4893334" y="1326022"/>
                  <a:pt x="4887356" y="1331986"/>
                  <a:pt x="4893334" y="1337949"/>
                </a:cubicBezTo>
                <a:cubicBezTo>
                  <a:pt x="4887356" y="1331986"/>
                  <a:pt x="4881378" y="1331986"/>
                  <a:pt x="4869422" y="1331986"/>
                </a:cubicBezTo>
                <a:cubicBezTo>
                  <a:pt x="4869422" y="1326022"/>
                  <a:pt x="4881378" y="1326022"/>
                  <a:pt x="4881378" y="1320059"/>
                </a:cubicBezTo>
                <a:cubicBezTo>
                  <a:pt x="4881378" y="1320059"/>
                  <a:pt x="4887356" y="1326022"/>
                  <a:pt x="4887356" y="1326022"/>
                </a:cubicBezTo>
                <a:cubicBezTo>
                  <a:pt x="4887356" y="1326022"/>
                  <a:pt x="4887356" y="1314096"/>
                  <a:pt x="4893334" y="1326022"/>
                </a:cubicBezTo>
                <a:cubicBezTo>
                  <a:pt x="4899312" y="1314096"/>
                  <a:pt x="4881378" y="1320059"/>
                  <a:pt x="4881378" y="1314096"/>
                </a:cubicBezTo>
                <a:lnTo>
                  <a:pt x="4908927" y="1303723"/>
                </a:lnTo>
                <a:lnTo>
                  <a:pt x="4893334" y="1314096"/>
                </a:lnTo>
                <a:cubicBezTo>
                  <a:pt x="4896323" y="1320059"/>
                  <a:pt x="4897818" y="1323040"/>
                  <a:pt x="4899312" y="1325277"/>
                </a:cubicBezTo>
                <a:lnTo>
                  <a:pt x="4899940" y="1325981"/>
                </a:lnTo>
                <a:lnTo>
                  <a:pt x="4899312" y="1326022"/>
                </a:lnTo>
                <a:lnTo>
                  <a:pt x="4900343" y="1326434"/>
                </a:lnTo>
                <a:lnTo>
                  <a:pt x="4905288" y="1331986"/>
                </a:lnTo>
                <a:cubicBezTo>
                  <a:pt x="4908278" y="1331986"/>
                  <a:pt x="4908278" y="1330495"/>
                  <a:pt x="4906783" y="1329004"/>
                </a:cubicBezTo>
                <a:lnTo>
                  <a:pt x="4900343" y="1326434"/>
                </a:lnTo>
                <a:lnTo>
                  <a:pt x="4899940" y="1325981"/>
                </a:lnTo>
                <a:lnTo>
                  <a:pt x="4910520" y="1325277"/>
                </a:lnTo>
                <a:cubicBezTo>
                  <a:pt x="4914256" y="1327514"/>
                  <a:pt x="4917245" y="1329005"/>
                  <a:pt x="4917245" y="1320059"/>
                </a:cubicBezTo>
                <a:lnTo>
                  <a:pt x="4917245" y="1326022"/>
                </a:lnTo>
                <a:cubicBezTo>
                  <a:pt x="4923223" y="1326022"/>
                  <a:pt x="4923223" y="1320059"/>
                  <a:pt x="4929201" y="1320059"/>
                </a:cubicBezTo>
                <a:cubicBezTo>
                  <a:pt x="4929201" y="1320059"/>
                  <a:pt x="4923223" y="1320059"/>
                  <a:pt x="4923223" y="1314096"/>
                </a:cubicBezTo>
                <a:cubicBezTo>
                  <a:pt x="4929201" y="1314096"/>
                  <a:pt x="4935179" y="1308130"/>
                  <a:pt x="4929201" y="1308130"/>
                </a:cubicBezTo>
                <a:lnTo>
                  <a:pt x="4950490" y="1295561"/>
                </a:lnTo>
                <a:lnTo>
                  <a:pt x="4953113" y="1296203"/>
                </a:lnTo>
                <a:lnTo>
                  <a:pt x="4958495" y="1290836"/>
                </a:lnTo>
                <a:lnTo>
                  <a:pt x="4965818" y="1286511"/>
                </a:lnTo>
                <a:cubicBezTo>
                  <a:pt x="4977026" y="1276819"/>
                  <a:pt x="4988982" y="1266382"/>
                  <a:pt x="5006916" y="1260419"/>
                </a:cubicBezTo>
                <a:close/>
                <a:moveTo>
                  <a:pt x="4200492" y="1257195"/>
                </a:moveTo>
                <a:lnTo>
                  <a:pt x="4198511" y="1257932"/>
                </a:lnTo>
                <a:cubicBezTo>
                  <a:pt x="4194775" y="1260169"/>
                  <a:pt x="4191785" y="1263151"/>
                  <a:pt x="4188796" y="1263151"/>
                </a:cubicBezTo>
                <a:cubicBezTo>
                  <a:pt x="4184313" y="1258677"/>
                  <a:pt x="4193281" y="1257558"/>
                  <a:pt x="4198044" y="1257279"/>
                </a:cubicBezTo>
                <a:close/>
                <a:moveTo>
                  <a:pt x="4200691" y="1257120"/>
                </a:moveTo>
                <a:lnTo>
                  <a:pt x="4200753" y="1257186"/>
                </a:lnTo>
                <a:lnTo>
                  <a:pt x="4200492" y="1257195"/>
                </a:lnTo>
                <a:close/>
                <a:moveTo>
                  <a:pt x="4989199" y="1248268"/>
                </a:moveTo>
                <a:lnTo>
                  <a:pt x="4947081" y="1267914"/>
                </a:lnTo>
                <a:lnTo>
                  <a:pt x="4962833" y="1255863"/>
                </a:lnTo>
                <a:cubicBezTo>
                  <a:pt x="4971120" y="1251307"/>
                  <a:pt x="4980160" y="1248268"/>
                  <a:pt x="4989199" y="1248268"/>
                </a:cubicBezTo>
                <a:close/>
                <a:moveTo>
                  <a:pt x="4766140" y="1243101"/>
                </a:moveTo>
                <a:cubicBezTo>
                  <a:pt x="4766140" y="1243101"/>
                  <a:pt x="4766140" y="1249413"/>
                  <a:pt x="4772142" y="1255728"/>
                </a:cubicBezTo>
                <a:cubicBezTo>
                  <a:pt x="4814144" y="1236787"/>
                  <a:pt x="4760140" y="1268355"/>
                  <a:pt x="4748139" y="1268355"/>
                </a:cubicBezTo>
                <a:cubicBezTo>
                  <a:pt x="4748139" y="1255728"/>
                  <a:pt x="4760140" y="1262040"/>
                  <a:pt x="4766140" y="1243101"/>
                </a:cubicBezTo>
                <a:close/>
                <a:moveTo>
                  <a:pt x="4753519" y="1242830"/>
                </a:moveTo>
                <a:lnTo>
                  <a:pt x="4736662" y="1254007"/>
                </a:lnTo>
                <a:cubicBezTo>
                  <a:pt x="4739629" y="1251136"/>
                  <a:pt x="4745560" y="1246832"/>
                  <a:pt x="4752232" y="1243246"/>
                </a:cubicBezTo>
                <a:close/>
                <a:moveTo>
                  <a:pt x="4770765" y="1241093"/>
                </a:moveTo>
                <a:lnTo>
                  <a:pt x="4776726" y="1242247"/>
                </a:lnTo>
                <a:lnTo>
                  <a:pt x="4772246" y="1248268"/>
                </a:lnTo>
                <a:cubicBezTo>
                  <a:pt x="4769282" y="1242528"/>
                  <a:pt x="4769282" y="1241093"/>
                  <a:pt x="4770765" y="1241093"/>
                </a:cubicBezTo>
                <a:close/>
                <a:moveTo>
                  <a:pt x="4777903" y="1240665"/>
                </a:moveTo>
                <a:lnTo>
                  <a:pt x="4778178" y="1242528"/>
                </a:lnTo>
                <a:lnTo>
                  <a:pt x="4776726" y="1242247"/>
                </a:lnTo>
                <a:close/>
                <a:moveTo>
                  <a:pt x="5029373" y="1236787"/>
                </a:moveTo>
                <a:cubicBezTo>
                  <a:pt x="5029373" y="1242527"/>
                  <a:pt x="5012155" y="1242527"/>
                  <a:pt x="5006415" y="1242527"/>
                </a:cubicBezTo>
                <a:cubicBezTo>
                  <a:pt x="5006415" y="1236787"/>
                  <a:pt x="5023634" y="1236787"/>
                  <a:pt x="5029373" y="1236787"/>
                </a:cubicBezTo>
                <a:close/>
                <a:moveTo>
                  <a:pt x="4825625" y="1213831"/>
                </a:moveTo>
                <a:cubicBezTo>
                  <a:pt x="4821176" y="1222440"/>
                  <a:pt x="4796712" y="1224592"/>
                  <a:pt x="4782255" y="1234816"/>
                </a:cubicBezTo>
                <a:lnTo>
                  <a:pt x="4777903" y="1240665"/>
                </a:lnTo>
                <a:lnTo>
                  <a:pt x="4777437" y="1237506"/>
                </a:lnTo>
                <a:cubicBezTo>
                  <a:pt x="4776695" y="1236789"/>
                  <a:pt x="4775212" y="1236789"/>
                  <a:pt x="4772246" y="1236789"/>
                </a:cubicBezTo>
                <a:lnTo>
                  <a:pt x="4753519" y="1242830"/>
                </a:lnTo>
                <a:lnTo>
                  <a:pt x="4776696" y="1227463"/>
                </a:lnTo>
                <a:cubicBezTo>
                  <a:pt x="4794488" y="1221005"/>
                  <a:pt x="4813764" y="1216700"/>
                  <a:pt x="4825625" y="1213831"/>
                </a:cubicBezTo>
                <a:close/>
                <a:moveTo>
                  <a:pt x="4787224" y="1209712"/>
                </a:moveTo>
                <a:lnTo>
                  <a:pt x="4780783" y="1211836"/>
                </a:lnTo>
                <a:cubicBezTo>
                  <a:pt x="4778711" y="1212464"/>
                  <a:pt x="4777922" y="1212464"/>
                  <a:pt x="4779501" y="1211030"/>
                </a:cubicBezTo>
                <a:close/>
                <a:moveTo>
                  <a:pt x="4308357" y="1209475"/>
                </a:moveTo>
                <a:lnTo>
                  <a:pt x="4309064" y="1209603"/>
                </a:lnTo>
                <a:lnTo>
                  <a:pt x="4305264" y="1210839"/>
                </a:lnTo>
                <a:close/>
                <a:moveTo>
                  <a:pt x="4792129" y="1208876"/>
                </a:moveTo>
                <a:cubicBezTo>
                  <a:pt x="4796863" y="1208159"/>
                  <a:pt x="4801599" y="1208159"/>
                  <a:pt x="4804755" y="1211030"/>
                </a:cubicBezTo>
                <a:lnTo>
                  <a:pt x="4791046" y="1209060"/>
                </a:lnTo>
                <a:close/>
                <a:moveTo>
                  <a:pt x="4789760" y="1208876"/>
                </a:moveTo>
                <a:lnTo>
                  <a:pt x="4791046" y="1209060"/>
                </a:lnTo>
                <a:lnTo>
                  <a:pt x="4787224" y="1209712"/>
                </a:lnTo>
                <a:close/>
                <a:moveTo>
                  <a:pt x="2017653" y="1193828"/>
                </a:moveTo>
                <a:lnTo>
                  <a:pt x="2004325" y="1199852"/>
                </a:lnTo>
                <a:lnTo>
                  <a:pt x="2002524" y="1201695"/>
                </a:lnTo>
                <a:lnTo>
                  <a:pt x="2003275" y="1203417"/>
                </a:lnTo>
                <a:cubicBezTo>
                  <a:pt x="2003088" y="1204628"/>
                  <a:pt x="2002341" y="1206492"/>
                  <a:pt x="2000847" y="1209475"/>
                </a:cubicBezTo>
                <a:cubicBezTo>
                  <a:pt x="2006823" y="1203509"/>
                  <a:pt x="2006823" y="1197546"/>
                  <a:pt x="2012801" y="1203509"/>
                </a:cubicBezTo>
                <a:close/>
                <a:moveTo>
                  <a:pt x="4288203" y="1193811"/>
                </a:moveTo>
                <a:cubicBezTo>
                  <a:pt x="4293942" y="1193811"/>
                  <a:pt x="4265245" y="1211030"/>
                  <a:pt x="4265245" y="1199550"/>
                </a:cubicBezTo>
                <a:cubicBezTo>
                  <a:pt x="4270984" y="1193811"/>
                  <a:pt x="4276724" y="1205290"/>
                  <a:pt x="4288203" y="1193811"/>
                </a:cubicBezTo>
                <a:close/>
                <a:moveTo>
                  <a:pt x="1899634" y="1193030"/>
                </a:moveTo>
                <a:lnTo>
                  <a:pt x="1899634" y="1196908"/>
                </a:lnTo>
                <a:lnTo>
                  <a:pt x="1900714" y="1196800"/>
                </a:lnTo>
                <a:close/>
                <a:moveTo>
                  <a:pt x="5032780" y="1187654"/>
                </a:moveTo>
                <a:lnTo>
                  <a:pt x="5012410" y="1202019"/>
                </a:lnTo>
                <a:cubicBezTo>
                  <a:pt x="4999687" y="1205749"/>
                  <a:pt x="4986216" y="1207242"/>
                  <a:pt x="4977235" y="1210227"/>
                </a:cubicBezTo>
                <a:cubicBezTo>
                  <a:pt x="4986216" y="1201273"/>
                  <a:pt x="4995197" y="1198289"/>
                  <a:pt x="5004925" y="1196051"/>
                </a:cubicBezTo>
                <a:close/>
                <a:moveTo>
                  <a:pt x="1852285" y="1186603"/>
                </a:moveTo>
                <a:cubicBezTo>
                  <a:pt x="1858597" y="1186603"/>
                  <a:pt x="1858597" y="1192342"/>
                  <a:pt x="1864912" y="1198081"/>
                </a:cubicBezTo>
                <a:cubicBezTo>
                  <a:pt x="1852285" y="1198081"/>
                  <a:pt x="1845971" y="1209560"/>
                  <a:pt x="1839656" y="1203821"/>
                </a:cubicBezTo>
                <a:cubicBezTo>
                  <a:pt x="1833344" y="1192342"/>
                  <a:pt x="1845971" y="1192342"/>
                  <a:pt x="1852285" y="1186603"/>
                </a:cubicBezTo>
                <a:close/>
                <a:moveTo>
                  <a:pt x="5037105" y="1186350"/>
                </a:moveTo>
                <a:lnTo>
                  <a:pt x="5032780" y="1187654"/>
                </a:lnTo>
                <a:lnTo>
                  <a:pt x="5033588" y="1187084"/>
                </a:lnTo>
                <a:close/>
                <a:moveTo>
                  <a:pt x="4862150" y="1179463"/>
                </a:moveTo>
                <a:cubicBezTo>
                  <a:pt x="4856410" y="1186159"/>
                  <a:pt x="4839192" y="1192856"/>
                  <a:pt x="4827713" y="1199552"/>
                </a:cubicBezTo>
                <a:cubicBezTo>
                  <a:pt x="4833453" y="1186159"/>
                  <a:pt x="4850671" y="1186159"/>
                  <a:pt x="4862150" y="1179463"/>
                </a:cubicBezTo>
                <a:close/>
                <a:moveTo>
                  <a:pt x="1829726" y="1172944"/>
                </a:moveTo>
                <a:lnTo>
                  <a:pt x="1815714" y="1173680"/>
                </a:lnTo>
                <a:lnTo>
                  <a:pt x="1815593" y="1173821"/>
                </a:lnTo>
                <a:lnTo>
                  <a:pt x="1819202" y="1181021"/>
                </a:lnTo>
                <a:lnTo>
                  <a:pt x="1821547" y="1177992"/>
                </a:lnTo>
                <a:cubicBezTo>
                  <a:pt x="1833346" y="1183970"/>
                  <a:pt x="1821547" y="1189951"/>
                  <a:pt x="1815648" y="1195929"/>
                </a:cubicBezTo>
                <a:cubicBezTo>
                  <a:pt x="1797951" y="1195929"/>
                  <a:pt x="1786891" y="1212744"/>
                  <a:pt x="1775000" y="1216107"/>
                </a:cubicBezTo>
                <a:lnTo>
                  <a:pt x="1774602" y="1216035"/>
                </a:lnTo>
                <a:lnTo>
                  <a:pt x="1761727" y="1224384"/>
                </a:lnTo>
                <a:lnTo>
                  <a:pt x="1756331" y="1226818"/>
                </a:lnTo>
                <a:lnTo>
                  <a:pt x="1756659" y="1231801"/>
                </a:lnTo>
                <a:cubicBezTo>
                  <a:pt x="1780254" y="1219843"/>
                  <a:pt x="1797951" y="1207886"/>
                  <a:pt x="1815648" y="1195929"/>
                </a:cubicBezTo>
                <a:cubicBezTo>
                  <a:pt x="1821547" y="1201906"/>
                  <a:pt x="1821547" y="1201906"/>
                  <a:pt x="1827447" y="1195929"/>
                </a:cubicBezTo>
                <a:cubicBezTo>
                  <a:pt x="1821547" y="1207886"/>
                  <a:pt x="1797951" y="1207886"/>
                  <a:pt x="1803851" y="1225822"/>
                </a:cubicBezTo>
                <a:cubicBezTo>
                  <a:pt x="1774356" y="1225822"/>
                  <a:pt x="1750761" y="1249736"/>
                  <a:pt x="1733063" y="1243758"/>
                </a:cubicBezTo>
                <a:cubicBezTo>
                  <a:pt x="1733063" y="1239274"/>
                  <a:pt x="1743018" y="1238152"/>
                  <a:pt x="1747995" y="1232828"/>
                </a:cubicBezTo>
                <a:lnTo>
                  <a:pt x="1749075" y="1230092"/>
                </a:lnTo>
                <a:lnTo>
                  <a:pt x="1732397" y="1237617"/>
                </a:lnTo>
                <a:lnTo>
                  <a:pt x="1713607" y="1242332"/>
                </a:lnTo>
                <a:lnTo>
                  <a:pt x="1709369" y="1244612"/>
                </a:lnTo>
                <a:cubicBezTo>
                  <a:pt x="1715396" y="1250557"/>
                  <a:pt x="1721423" y="1250557"/>
                  <a:pt x="1715396" y="1262447"/>
                </a:cubicBezTo>
                <a:cubicBezTo>
                  <a:pt x="1703344" y="1256501"/>
                  <a:pt x="1685263" y="1274334"/>
                  <a:pt x="1685263" y="1280280"/>
                </a:cubicBezTo>
                <a:cubicBezTo>
                  <a:pt x="1673211" y="1274334"/>
                  <a:pt x="1637052" y="1286223"/>
                  <a:pt x="1631026" y="1304058"/>
                </a:cubicBezTo>
                <a:cubicBezTo>
                  <a:pt x="1625000" y="1307030"/>
                  <a:pt x="1620480" y="1305544"/>
                  <a:pt x="1615960" y="1304057"/>
                </a:cubicBezTo>
                <a:lnTo>
                  <a:pt x="1611660" y="1303026"/>
                </a:lnTo>
                <a:lnTo>
                  <a:pt x="1602561" y="1307880"/>
                </a:lnTo>
                <a:cubicBezTo>
                  <a:pt x="1596210" y="1310862"/>
                  <a:pt x="1589672" y="1313844"/>
                  <a:pt x="1583974" y="1317199"/>
                </a:cubicBezTo>
                <a:lnTo>
                  <a:pt x="1574445" y="1325329"/>
                </a:lnTo>
                <a:lnTo>
                  <a:pt x="1574937" y="1326023"/>
                </a:lnTo>
                <a:cubicBezTo>
                  <a:pt x="1576438" y="1327578"/>
                  <a:pt x="1577938" y="1329132"/>
                  <a:pt x="1577938" y="1335350"/>
                </a:cubicBezTo>
                <a:lnTo>
                  <a:pt x="1567522" y="1329636"/>
                </a:lnTo>
                <a:lnTo>
                  <a:pt x="1542781" y="1337141"/>
                </a:lnTo>
                <a:cubicBezTo>
                  <a:pt x="1533441" y="1341055"/>
                  <a:pt x="1524100" y="1345900"/>
                  <a:pt x="1515133" y="1351119"/>
                </a:cubicBezTo>
                <a:lnTo>
                  <a:pt x="1493899" y="1364671"/>
                </a:lnTo>
                <a:lnTo>
                  <a:pt x="1494716" y="1364526"/>
                </a:lnTo>
                <a:cubicBezTo>
                  <a:pt x="1491688" y="1368831"/>
                  <a:pt x="1487901" y="1371700"/>
                  <a:pt x="1483641" y="1373763"/>
                </a:cubicBezTo>
                <a:lnTo>
                  <a:pt x="1478619" y="1375349"/>
                </a:lnTo>
                <a:lnTo>
                  <a:pt x="1468805" y="1382431"/>
                </a:lnTo>
                <a:lnTo>
                  <a:pt x="1463146" y="1379607"/>
                </a:lnTo>
                <a:lnTo>
                  <a:pt x="1460903" y="1380102"/>
                </a:lnTo>
                <a:lnTo>
                  <a:pt x="1453859" y="1383921"/>
                </a:lnTo>
                <a:cubicBezTo>
                  <a:pt x="1447881" y="1388394"/>
                  <a:pt x="1441903" y="1394358"/>
                  <a:pt x="1438914" y="1394358"/>
                </a:cubicBezTo>
                <a:cubicBezTo>
                  <a:pt x="1438914" y="1394358"/>
                  <a:pt x="1444892" y="1394358"/>
                  <a:pt x="1444892" y="1400322"/>
                </a:cubicBezTo>
                <a:cubicBezTo>
                  <a:pt x="1438914" y="1400322"/>
                  <a:pt x="1438914" y="1400322"/>
                  <a:pt x="1438914" y="1406287"/>
                </a:cubicBezTo>
                <a:cubicBezTo>
                  <a:pt x="1435925" y="1403304"/>
                  <a:pt x="1431441" y="1401813"/>
                  <a:pt x="1426211" y="1401813"/>
                </a:cubicBezTo>
                <a:lnTo>
                  <a:pt x="1420564" y="1403283"/>
                </a:lnTo>
                <a:lnTo>
                  <a:pt x="1421775" y="1406528"/>
                </a:lnTo>
                <a:lnTo>
                  <a:pt x="1408737" y="1409644"/>
                </a:lnTo>
                <a:lnTo>
                  <a:pt x="1408276" y="1415046"/>
                </a:lnTo>
                <a:lnTo>
                  <a:pt x="1400889" y="1421350"/>
                </a:lnTo>
                <a:lnTo>
                  <a:pt x="1404677" y="1419320"/>
                </a:lnTo>
                <a:cubicBezTo>
                  <a:pt x="1407188" y="1416899"/>
                  <a:pt x="1410536" y="1413670"/>
                  <a:pt x="1417233" y="1410442"/>
                </a:cubicBezTo>
                <a:cubicBezTo>
                  <a:pt x="1417233" y="1415285"/>
                  <a:pt x="1409699" y="1427392"/>
                  <a:pt x="1403108" y="1427694"/>
                </a:cubicBezTo>
                <a:lnTo>
                  <a:pt x="1397896" y="1423903"/>
                </a:lnTo>
                <a:lnTo>
                  <a:pt x="1394078" y="1427161"/>
                </a:lnTo>
                <a:cubicBezTo>
                  <a:pt x="1385111" y="1432752"/>
                  <a:pt x="1374463" y="1436666"/>
                  <a:pt x="1367177" y="1434499"/>
                </a:cubicBezTo>
                <a:lnTo>
                  <a:pt x="1363883" y="1432099"/>
                </a:lnTo>
                <a:lnTo>
                  <a:pt x="1361242" y="1434280"/>
                </a:lnTo>
                <a:lnTo>
                  <a:pt x="1353995" y="1437596"/>
                </a:lnTo>
                <a:lnTo>
                  <a:pt x="1348590" y="1443189"/>
                </a:lnTo>
                <a:cubicBezTo>
                  <a:pt x="1343453" y="1447289"/>
                  <a:pt x="1337662" y="1451017"/>
                  <a:pt x="1332057" y="1453998"/>
                </a:cubicBezTo>
                <a:lnTo>
                  <a:pt x="1330529" y="1454626"/>
                </a:lnTo>
                <a:lnTo>
                  <a:pt x="1330421" y="1454772"/>
                </a:lnTo>
                <a:lnTo>
                  <a:pt x="1330045" y="1454826"/>
                </a:lnTo>
                <a:lnTo>
                  <a:pt x="1327274" y="1455965"/>
                </a:lnTo>
                <a:lnTo>
                  <a:pt x="1330173" y="1455103"/>
                </a:lnTo>
                <a:lnTo>
                  <a:pt x="1326117" y="1460532"/>
                </a:lnTo>
                <a:lnTo>
                  <a:pt x="1326736" y="1456186"/>
                </a:lnTo>
                <a:lnTo>
                  <a:pt x="1316645" y="1460335"/>
                </a:lnTo>
                <a:lnTo>
                  <a:pt x="1313064" y="1460192"/>
                </a:lnTo>
                <a:lnTo>
                  <a:pt x="1311919" y="1460532"/>
                </a:lnTo>
                <a:lnTo>
                  <a:pt x="1303873" y="1465589"/>
                </a:lnTo>
                <a:lnTo>
                  <a:pt x="1300859" y="1470399"/>
                </a:lnTo>
                <a:cubicBezTo>
                  <a:pt x="1298057" y="1473009"/>
                  <a:pt x="1294694" y="1474872"/>
                  <a:pt x="1290959" y="1476363"/>
                </a:cubicBezTo>
                <a:lnTo>
                  <a:pt x="1270914" y="1482245"/>
                </a:lnTo>
                <a:lnTo>
                  <a:pt x="1271656" y="1482846"/>
                </a:lnTo>
                <a:cubicBezTo>
                  <a:pt x="1277542" y="1483408"/>
                  <a:pt x="1284267" y="1475533"/>
                  <a:pt x="1284267" y="1484533"/>
                </a:cubicBezTo>
                <a:cubicBezTo>
                  <a:pt x="1278289" y="1496534"/>
                  <a:pt x="1266331" y="1490534"/>
                  <a:pt x="1260353" y="1496534"/>
                </a:cubicBezTo>
                <a:lnTo>
                  <a:pt x="1260139" y="1495701"/>
                </a:lnTo>
                <a:lnTo>
                  <a:pt x="1235661" y="1508420"/>
                </a:lnTo>
                <a:lnTo>
                  <a:pt x="1229417" y="1512443"/>
                </a:lnTo>
                <a:lnTo>
                  <a:pt x="1225787" y="1518237"/>
                </a:lnTo>
                <a:lnTo>
                  <a:pt x="1225043" y="1515263"/>
                </a:lnTo>
                <a:lnTo>
                  <a:pt x="1208033" y="1526222"/>
                </a:lnTo>
                <a:lnTo>
                  <a:pt x="1213480" y="1525231"/>
                </a:lnTo>
                <a:cubicBezTo>
                  <a:pt x="1213480" y="1528101"/>
                  <a:pt x="1212046" y="1529536"/>
                  <a:pt x="1209894" y="1530971"/>
                </a:cubicBezTo>
                <a:lnTo>
                  <a:pt x="1209124" y="1531530"/>
                </a:lnTo>
                <a:lnTo>
                  <a:pt x="1212497" y="1531530"/>
                </a:lnTo>
                <a:cubicBezTo>
                  <a:pt x="1217728" y="1531530"/>
                  <a:pt x="1223705" y="1531530"/>
                  <a:pt x="1229683" y="1531530"/>
                </a:cubicBezTo>
                <a:cubicBezTo>
                  <a:pt x="1223705" y="1525567"/>
                  <a:pt x="1223705" y="1525567"/>
                  <a:pt x="1217728" y="1525567"/>
                </a:cubicBezTo>
                <a:cubicBezTo>
                  <a:pt x="1226694" y="1522584"/>
                  <a:pt x="1237156" y="1516620"/>
                  <a:pt x="1246870" y="1511401"/>
                </a:cubicBezTo>
                <a:lnTo>
                  <a:pt x="1269032" y="1502692"/>
                </a:lnTo>
                <a:lnTo>
                  <a:pt x="1271530" y="1507674"/>
                </a:lnTo>
                <a:lnTo>
                  <a:pt x="1285886" y="1504440"/>
                </a:lnTo>
                <a:lnTo>
                  <a:pt x="1287242" y="1503708"/>
                </a:lnTo>
                <a:lnTo>
                  <a:pt x="1300442" y="1499060"/>
                </a:lnTo>
                <a:lnTo>
                  <a:pt x="1304316" y="1496771"/>
                </a:lnTo>
                <a:cubicBezTo>
                  <a:pt x="1307398" y="1493882"/>
                  <a:pt x="1310387" y="1489782"/>
                  <a:pt x="1313376" y="1483818"/>
                </a:cubicBezTo>
                <a:cubicBezTo>
                  <a:pt x="1320849" y="1485309"/>
                  <a:pt x="1327574" y="1484936"/>
                  <a:pt x="1333925" y="1483166"/>
                </a:cubicBezTo>
                <a:lnTo>
                  <a:pt x="1337352" y="1481475"/>
                </a:lnTo>
                <a:lnTo>
                  <a:pt x="1331141" y="1482184"/>
                </a:lnTo>
                <a:cubicBezTo>
                  <a:pt x="1331141" y="1476445"/>
                  <a:pt x="1344532" y="1470706"/>
                  <a:pt x="1351230" y="1470706"/>
                </a:cubicBezTo>
                <a:lnTo>
                  <a:pt x="1346564" y="1476926"/>
                </a:lnTo>
                <a:lnTo>
                  <a:pt x="1352232" y="1474127"/>
                </a:lnTo>
                <a:lnTo>
                  <a:pt x="1386039" y="1446237"/>
                </a:lnTo>
                <a:lnTo>
                  <a:pt x="1386045" y="1446264"/>
                </a:lnTo>
                <a:lnTo>
                  <a:pt x="1386293" y="1446028"/>
                </a:lnTo>
                <a:lnTo>
                  <a:pt x="1391090" y="1442071"/>
                </a:lnTo>
                <a:cubicBezTo>
                  <a:pt x="1391090" y="1439089"/>
                  <a:pt x="1389595" y="1442071"/>
                  <a:pt x="1388100" y="1444307"/>
                </a:cubicBezTo>
                <a:lnTo>
                  <a:pt x="1386293" y="1446028"/>
                </a:lnTo>
                <a:lnTo>
                  <a:pt x="1386039" y="1446237"/>
                </a:lnTo>
                <a:lnTo>
                  <a:pt x="1385111" y="1442071"/>
                </a:lnTo>
                <a:cubicBezTo>
                  <a:pt x="1385111" y="1430143"/>
                  <a:pt x="1391090" y="1442071"/>
                  <a:pt x="1397067" y="1436107"/>
                </a:cubicBezTo>
                <a:cubicBezTo>
                  <a:pt x="1403045" y="1442071"/>
                  <a:pt x="1397067" y="1442071"/>
                  <a:pt x="1397067" y="1448034"/>
                </a:cubicBezTo>
                <a:lnTo>
                  <a:pt x="1403354" y="1447437"/>
                </a:lnTo>
                <a:lnTo>
                  <a:pt x="1402883" y="1447747"/>
                </a:lnTo>
                <a:lnTo>
                  <a:pt x="1404345" y="1447343"/>
                </a:lnTo>
                <a:lnTo>
                  <a:pt x="1412760" y="1446543"/>
                </a:lnTo>
                <a:lnTo>
                  <a:pt x="1419129" y="1443249"/>
                </a:lnTo>
                <a:lnTo>
                  <a:pt x="1404345" y="1447343"/>
                </a:lnTo>
                <a:lnTo>
                  <a:pt x="1403354" y="1447437"/>
                </a:lnTo>
                <a:lnTo>
                  <a:pt x="1419205" y="1436986"/>
                </a:lnTo>
                <a:lnTo>
                  <a:pt x="1429543" y="1434545"/>
                </a:lnTo>
                <a:lnTo>
                  <a:pt x="1423222" y="1431634"/>
                </a:lnTo>
                <a:cubicBezTo>
                  <a:pt x="1419485" y="1431634"/>
                  <a:pt x="1415002" y="1433125"/>
                  <a:pt x="1409023" y="1436107"/>
                </a:cubicBezTo>
                <a:cubicBezTo>
                  <a:pt x="1423969" y="1427161"/>
                  <a:pt x="1444892" y="1421196"/>
                  <a:pt x="1464320" y="1413742"/>
                </a:cubicBezTo>
                <a:lnTo>
                  <a:pt x="1481336" y="1405663"/>
                </a:lnTo>
                <a:lnTo>
                  <a:pt x="1485119" y="1403267"/>
                </a:lnTo>
                <a:lnTo>
                  <a:pt x="1488415" y="1402302"/>
                </a:lnTo>
                <a:lnTo>
                  <a:pt x="1491408" y="1400882"/>
                </a:lnTo>
                <a:cubicBezTo>
                  <a:pt x="1499440" y="1395850"/>
                  <a:pt x="1506165" y="1389886"/>
                  <a:pt x="1510649" y="1382431"/>
                </a:cubicBezTo>
                <a:cubicBezTo>
                  <a:pt x="1522605" y="1394358"/>
                  <a:pt x="1546518" y="1364538"/>
                  <a:pt x="1558474" y="1364538"/>
                </a:cubicBezTo>
                <a:cubicBezTo>
                  <a:pt x="1606298" y="1340682"/>
                  <a:pt x="1672056" y="1316825"/>
                  <a:pt x="1719881" y="1281042"/>
                </a:cubicBezTo>
                <a:cubicBezTo>
                  <a:pt x="1719881" y="1281042"/>
                  <a:pt x="1725858" y="1287005"/>
                  <a:pt x="1725858" y="1287005"/>
                </a:cubicBezTo>
                <a:cubicBezTo>
                  <a:pt x="1743793" y="1281042"/>
                  <a:pt x="1773681" y="1263151"/>
                  <a:pt x="1791616" y="1239294"/>
                </a:cubicBezTo>
                <a:cubicBezTo>
                  <a:pt x="1797594" y="1233329"/>
                  <a:pt x="1797594" y="1251222"/>
                  <a:pt x="1803572" y="1245258"/>
                </a:cubicBezTo>
                <a:cubicBezTo>
                  <a:pt x="1821506" y="1221402"/>
                  <a:pt x="1845418" y="1227365"/>
                  <a:pt x="1857375" y="1209475"/>
                </a:cubicBezTo>
                <a:lnTo>
                  <a:pt x="1864686" y="1207755"/>
                </a:lnTo>
                <a:lnTo>
                  <a:pt x="1866489" y="1196510"/>
                </a:lnTo>
                <a:cubicBezTo>
                  <a:pt x="1866489" y="1189746"/>
                  <a:pt x="1866489" y="1182230"/>
                  <a:pt x="1869502" y="1173211"/>
                </a:cubicBezTo>
                <a:lnTo>
                  <a:pt x="1861004" y="1173969"/>
                </a:lnTo>
                <a:lnTo>
                  <a:pt x="1854386" y="1180866"/>
                </a:lnTo>
                <a:lnTo>
                  <a:pt x="1846989" y="1183218"/>
                </a:lnTo>
                <a:lnTo>
                  <a:pt x="1841535" y="1187584"/>
                </a:lnTo>
                <a:cubicBezTo>
                  <a:pt x="1838994" y="1188618"/>
                  <a:pt x="1836357" y="1188242"/>
                  <a:pt x="1833344" y="1185236"/>
                </a:cubicBezTo>
                <a:lnTo>
                  <a:pt x="1837891" y="1182433"/>
                </a:lnTo>
                <a:lnTo>
                  <a:pt x="1834863" y="1176205"/>
                </a:lnTo>
                <a:cubicBezTo>
                  <a:pt x="1833276" y="1174249"/>
                  <a:pt x="1831594" y="1173317"/>
                  <a:pt x="1829726" y="1172944"/>
                </a:cubicBezTo>
                <a:close/>
                <a:moveTo>
                  <a:pt x="1958855" y="1172095"/>
                </a:moveTo>
                <a:lnTo>
                  <a:pt x="1953017" y="1175306"/>
                </a:lnTo>
                <a:lnTo>
                  <a:pt x="1959000" y="1173689"/>
                </a:lnTo>
                <a:close/>
                <a:moveTo>
                  <a:pt x="1958044" y="1165340"/>
                </a:moveTo>
                <a:lnTo>
                  <a:pt x="1958254" y="1165489"/>
                </a:lnTo>
                <a:lnTo>
                  <a:pt x="1958297" y="1165972"/>
                </a:lnTo>
                <a:close/>
                <a:moveTo>
                  <a:pt x="2036714" y="1161762"/>
                </a:moveTo>
                <a:cubicBezTo>
                  <a:pt x="2027747" y="1170707"/>
                  <a:pt x="2012055" y="1179654"/>
                  <a:pt x="2002247" y="1188600"/>
                </a:cubicBezTo>
                <a:lnTo>
                  <a:pt x="1999674" y="1191719"/>
                </a:lnTo>
                <a:lnTo>
                  <a:pt x="2010591" y="1187893"/>
                </a:lnTo>
                <a:cubicBezTo>
                  <a:pt x="2018188" y="1185633"/>
                  <a:pt x="2025784" y="1183374"/>
                  <a:pt x="2032621" y="1180172"/>
                </a:cubicBezTo>
                <a:lnTo>
                  <a:pt x="2048020" y="1168387"/>
                </a:lnTo>
                <a:lnTo>
                  <a:pt x="2042132" y="1167632"/>
                </a:lnTo>
                <a:cubicBezTo>
                  <a:pt x="2040076" y="1166607"/>
                  <a:pt x="2038208" y="1164743"/>
                  <a:pt x="2036714" y="1161762"/>
                </a:cubicBezTo>
                <a:close/>
                <a:moveTo>
                  <a:pt x="5108947" y="1156505"/>
                </a:moveTo>
                <a:cubicBezTo>
                  <a:pt x="5090988" y="1180381"/>
                  <a:pt x="5067039" y="1168443"/>
                  <a:pt x="5049080" y="1186350"/>
                </a:cubicBezTo>
                <a:cubicBezTo>
                  <a:pt x="5043092" y="1186350"/>
                  <a:pt x="5043092" y="1186350"/>
                  <a:pt x="5043092" y="1180381"/>
                </a:cubicBezTo>
                <a:lnTo>
                  <a:pt x="5033588" y="1187084"/>
                </a:lnTo>
                <a:lnTo>
                  <a:pt x="5004925" y="1193066"/>
                </a:lnTo>
                <a:cubicBezTo>
                  <a:pt x="4995197" y="1196796"/>
                  <a:pt x="4986216" y="1201273"/>
                  <a:pt x="4977235" y="1204258"/>
                </a:cubicBezTo>
                <a:cubicBezTo>
                  <a:pt x="4977235" y="1216196"/>
                  <a:pt x="4965263" y="1222165"/>
                  <a:pt x="4947302" y="1228133"/>
                </a:cubicBezTo>
                <a:cubicBezTo>
                  <a:pt x="4947302" y="1228133"/>
                  <a:pt x="4947302" y="1222165"/>
                  <a:pt x="4947302" y="1222165"/>
                </a:cubicBezTo>
                <a:cubicBezTo>
                  <a:pt x="4911380" y="1246041"/>
                  <a:pt x="4863486" y="1269917"/>
                  <a:pt x="4803616" y="1281855"/>
                </a:cubicBezTo>
                <a:lnTo>
                  <a:pt x="4803616" y="1287824"/>
                </a:lnTo>
                <a:cubicBezTo>
                  <a:pt x="4803616" y="1281855"/>
                  <a:pt x="4797629" y="1281855"/>
                  <a:pt x="4797629" y="1281855"/>
                </a:cubicBezTo>
                <a:cubicBezTo>
                  <a:pt x="4821578" y="1275886"/>
                  <a:pt x="4863486" y="1257979"/>
                  <a:pt x="4887433" y="1252010"/>
                </a:cubicBezTo>
                <a:cubicBezTo>
                  <a:pt x="4887433" y="1246041"/>
                  <a:pt x="4887433" y="1246041"/>
                  <a:pt x="4887433" y="1240072"/>
                </a:cubicBezTo>
                <a:cubicBezTo>
                  <a:pt x="4887433" y="1240072"/>
                  <a:pt x="4893420" y="1246041"/>
                  <a:pt x="4893420" y="1246041"/>
                </a:cubicBezTo>
                <a:cubicBezTo>
                  <a:pt x="4911380" y="1222165"/>
                  <a:pt x="4947302" y="1228133"/>
                  <a:pt x="4965263" y="1210227"/>
                </a:cubicBezTo>
                <a:cubicBezTo>
                  <a:pt x="4947302" y="1198289"/>
                  <a:pt x="4917368" y="1228133"/>
                  <a:pt x="4899407" y="1228133"/>
                </a:cubicBezTo>
                <a:cubicBezTo>
                  <a:pt x="4893420" y="1228133"/>
                  <a:pt x="4899407" y="1234102"/>
                  <a:pt x="4899407" y="1234102"/>
                </a:cubicBezTo>
                <a:cubicBezTo>
                  <a:pt x="4863486" y="1234102"/>
                  <a:pt x="4833552" y="1257979"/>
                  <a:pt x="4791644" y="1263948"/>
                </a:cubicBezTo>
                <a:cubicBezTo>
                  <a:pt x="4893420" y="1216196"/>
                  <a:pt x="5001184" y="1192319"/>
                  <a:pt x="5108947" y="1156505"/>
                </a:cubicBezTo>
                <a:close/>
                <a:moveTo>
                  <a:pt x="4194775" y="1154589"/>
                </a:moveTo>
                <a:lnTo>
                  <a:pt x="4194775" y="1155798"/>
                </a:lnTo>
                <a:lnTo>
                  <a:pt x="4194212" y="1154678"/>
                </a:lnTo>
                <a:close/>
                <a:moveTo>
                  <a:pt x="4194775" y="1143869"/>
                </a:moveTo>
                <a:cubicBezTo>
                  <a:pt x="4197765" y="1149835"/>
                  <a:pt x="4198137" y="1152815"/>
                  <a:pt x="4197205" y="1154213"/>
                </a:cubicBezTo>
                <a:lnTo>
                  <a:pt x="4194775" y="1154589"/>
                </a:lnTo>
                <a:close/>
                <a:moveTo>
                  <a:pt x="4472646" y="1142087"/>
                </a:moveTo>
                <a:cubicBezTo>
                  <a:pt x="4461168" y="1153565"/>
                  <a:pt x="4455427" y="1147826"/>
                  <a:pt x="4443949" y="1153565"/>
                </a:cubicBezTo>
                <a:cubicBezTo>
                  <a:pt x="4443949" y="1147826"/>
                  <a:pt x="4461168" y="1147826"/>
                  <a:pt x="4472646" y="1142087"/>
                </a:cubicBezTo>
                <a:close/>
                <a:moveTo>
                  <a:pt x="4368137" y="1137906"/>
                </a:moveTo>
                <a:cubicBezTo>
                  <a:pt x="4374116" y="1143869"/>
                  <a:pt x="4356181" y="1143869"/>
                  <a:pt x="4368137" y="1149833"/>
                </a:cubicBezTo>
                <a:lnTo>
                  <a:pt x="4362159" y="1149833"/>
                </a:lnTo>
                <a:cubicBezTo>
                  <a:pt x="4362159" y="1143869"/>
                  <a:pt x="4362159" y="1137906"/>
                  <a:pt x="4368137" y="1137906"/>
                </a:cubicBezTo>
                <a:close/>
                <a:moveTo>
                  <a:pt x="4391513" y="1127808"/>
                </a:moveTo>
                <a:cubicBezTo>
                  <a:pt x="4391513" y="1133547"/>
                  <a:pt x="4402992" y="1127808"/>
                  <a:pt x="4402992" y="1139286"/>
                </a:cubicBezTo>
                <a:cubicBezTo>
                  <a:pt x="4391513" y="1127808"/>
                  <a:pt x="4380034" y="1156505"/>
                  <a:pt x="4374295" y="1139286"/>
                </a:cubicBezTo>
                <a:cubicBezTo>
                  <a:pt x="4380034" y="1133547"/>
                  <a:pt x="4391513" y="1133547"/>
                  <a:pt x="4391513" y="1127808"/>
                </a:cubicBezTo>
                <a:close/>
                <a:moveTo>
                  <a:pt x="2184686" y="1120817"/>
                </a:moveTo>
                <a:lnTo>
                  <a:pt x="2179863" y="1121424"/>
                </a:lnTo>
                <a:lnTo>
                  <a:pt x="2176448" y="1124775"/>
                </a:lnTo>
                <a:lnTo>
                  <a:pt x="2184686" y="1121409"/>
                </a:lnTo>
                <a:close/>
                <a:moveTo>
                  <a:pt x="2155332" y="1113153"/>
                </a:moveTo>
                <a:lnTo>
                  <a:pt x="2152537" y="1114795"/>
                </a:lnTo>
                <a:cubicBezTo>
                  <a:pt x="2147307" y="1118523"/>
                  <a:pt x="2141329" y="1122996"/>
                  <a:pt x="2138339" y="1120013"/>
                </a:cubicBezTo>
                <a:cubicBezTo>
                  <a:pt x="2132363" y="1120013"/>
                  <a:pt x="2138339" y="1120013"/>
                  <a:pt x="2138339" y="1125978"/>
                </a:cubicBezTo>
                <a:cubicBezTo>
                  <a:pt x="2135352" y="1122996"/>
                  <a:pt x="2132362" y="1121504"/>
                  <a:pt x="2128627" y="1120759"/>
                </a:cubicBezTo>
                <a:lnTo>
                  <a:pt x="2116522" y="1120123"/>
                </a:lnTo>
                <a:lnTo>
                  <a:pt x="2115397" y="1120395"/>
                </a:lnTo>
                <a:lnTo>
                  <a:pt x="2115611" y="1120075"/>
                </a:lnTo>
                <a:lnTo>
                  <a:pt x="2114429" y="1120013"/>
                </a:lnTo>
                <a:cubicBezTo>
                  <a:pt x="2132363" y="1131942"/>
                  <a:pt x="2096495" y="1131942"/>
                  <a:pt x="2084538" y="1131942"/>
                </a:cubicBezTo>
                <a:cubicBezTo>
                  <a:pt x="2090516" y="1149833"/>
                  <a:pt x="2054648" y="1143869"/>
                  <a:pt x="2060626" y="1161762"/>
                </a:cubicBezTo>
                <a:lnTo>
                  <a:pt x="2052522" y="1166309"/>
                </a:lnTo>
                <a:lnTo>
                  <a:pt x="2052372" y="1167554"/>
                </a:lnTo>
                <a:cubicBezTo>
                  <a:pt x="2051612" y="1169814"/>
                  <a:pt x="2050093" y="1172827"/>
                  <a:pt x="2050093" y="1172827"/>
                </a:cubicBezTo>
                <a:cubicBezTo>
                  <a:pt x="2056169" y="1178853"/>
                  <a:pt x="2062246" y="1160774"/>
                  <a:pt x="2074401" y="1166801"/>
                </a:cubicBezTo>
                <a:cubicBezTo>
                  <a:pt x="2068325" y="1171321"/>
                  <a:pt x="2060349" y="1175464"/>
                  <a:pt x="2051802" y="1179324"/>
                </a:cubicBezTo>
                <a:lnTo>
                  <a:pt x="2039191" y="1184574"/>
                </a:lnTo>
                <a:lnTo>
                  <a:pt x="2042785" y="1184314"/>
                </a:lnTo>
                <a:cubicBezTo>
                  <a:pt x="2054928" y="1180213"/>
                  <a:pt x="2067445" y="1170894"/>
                  <a:pt x="2081083" y="1163812"/>
                </a:cubicBezTo>
                <a:lnTo>
                  <a:pt x="2091620" y="1159864"/>
                </a:lnTo>
                <a:lnTo>
                  <a:pt x="2091620" y="1155034"/>
                </a:lnTo>
                <a:cubicBezTo>
                  <a:pt x="2091620" y="1153599"/>
                  <a:pt x="2091620" y="1152165"/>
                  <a:pt x="2091620" y="1149295"/>
                </a:cubicBezTo>
                <a:cubicBezTo>
                  <a:pt x="2103098" y="1155034"/>
                  <a:pt x="2091620" y="1143555"/>
                  <a:pt x="2108838" y="1143555"/>
                </a:cubicBezTo>
                <a:cubicBezTo>
                  <a:pt x="2110274" y="1142120"/>
                  <a:pt x="2111707" y="1140685"/>
                  <a:pt x="2114578" y="1143555"/>
                </a:cubicBezTo>
                <a:cubicBezTo>
                  <a:pt x="2114578" y="1152165"/>
                  <a:pt x="2104893" y="1151088"/>
                  <a:pt x="2097628" y="1154855"/>
                </a:cubicBezTo>
                <a:lnTo>
                  <a:pt x="2093110" y="1159306"/>
                </a:lnTo>
                <a:lnTo>
                  <a:pt x="2102473" y="1155798"/>
                </a:lnTo>
                <a:cubicBezTo>
                  <a:pt x="2108451" y="1155798"/>
                  <a:pt x="2090516" y="1167725"/>
                  <a:pt x="2090516" y="1167725"/>
                </a:cubicBezTo>
                <a:cubicBezTo>
                  <a:pt x="2102473" y="1167725"/>
                  <a:pt x="2126385" y="1131942"/>
                  <a:pt x="2144318" y="1143869"/>
                </a:cubicBezTo>
                <a:cubicBezTo>
                  <a:pt x="2144318" y="1143869"/>
                  <a:pt x="2144318" y="1143869"/>
                  <a:pt x="2144318" y="1143124"/>
                </a:cubicBezTo>
                <a:lnTo>
                  <a:pt x="2144318" y="1139719"/>
                </a:lnTo>
                <a:lnTo>
                  <a:pt x="2144171" y="1139785"/>
                </a:lnTo>
                <a:cubicBezTo>
                  <a:pt x="2140763" y="1140633"/>
                  <a:pt x="2137535" y="1140256"/>
                  <a:pt x="2134665" y="1137243"/>
                </a:cubicBezTo>
                <a:cubicBezTo>
                  <a:pt x="2134665" y="1125191"/>
                  <a:pt x="2140405" y="1131218"/>
                  <a:pt x="2146143" y="1125191"/>
                </a:cubicBezTo>
                <a:cubicBezTo>
                  <a:pt x="2146143" y="1131218"/>
                  <a:pt x="2151883" y="1131218"/>
                  <a:pt x="2151883" y="1131218"/>
                </a:cubicBezTo>
                <a:cubicBezTo>
                  <a:pt x="2154754" y="1128204"/>
                  <a:pt x="2156188" y="1122177"/>
                  <a:pt x="2156188" y="1116151"/>
                </a:cubicBezTo>
                <a:close/>
                <a:moveTo>
                  <a:pt x="4439868" y="1110464"/>
                </a:moveTo>
                <a:cubicBezTo>
                  <a:pt x="4444537" y="1110266"/>
                  <a:pt x="4448730" y="1111450"/>
                  <a:pt x="4451778" y="1114606"/>
                </a:cubicBezTo>
                <a:cubicBezTo>
                  <a:pt x="4433485" y="1114606"/>
                  <a:pt x="4415189" y="1127233"/>
                  <a:pt x="4402992" y="1133547"/>
                </a:cubicBezTo>
                <a:cubicBezTo>
                  <a:pt x="4406042" y="1127233"/>
                  <a:pt x="4415189" y="1119342"/>
                  <a:pt x="4425098" y="1114606"/>
                </a:cubicBezTo>
                <a:cubicBezTo>
                  <a:pt x="4430053" y="1112239"/>
                  <a:pt x="4435199" y="1110661"/>
                  <a:pt x="4439868" y="1110464"/>
                </a:cubicBezTo>
                <a:close/>
                <a:moveTo>
                  <a:pt x="1748488" y="1107719"/>
                </a:moveTo>
                <a:cubicBezTo>
                  <a:pt x="1754227" y="1122068"/>
                  <a:pt x="1737008" y="1114894"/>
                  <a:pt x="1737008" y="1122068"/>
                </a:cubicBezTo>
                <a:cubicBezTo>
                  <a:pt x="1731269" y="1114894"/>
                  <a:pt x="1742748" y="1107719"/>
                  <a:pt x="1748488" y="1107719"/>
                </a:cubicBezTo>
                <a:close/>
                <a:moveTo>
                  <a:pt x="2152292" y="1102517"/>
                </a:moveTo>
                <a:lnTo>
                  <a:pt x="2144318" y="1108085"/>
                </a:lnTo>
                <a:lnTo>
                  <a:pt x="2154215" y="1109247"/>
                </a:lnTo>
                <a:close/>
                <a:moveTo>
                  <a:pt x="2014136" y="1101056"/>
                </a:moveTo>
                <a:cubicBezTo>
                  <a:pt x="2008111" y="1107071"/>
                  <a:pt x="2014136" y="1113083"/>
                  <a:pt x="2008111" y="1119095"/>
                </a:cubicBezTo>
                <a:cubicBezTo>
                  <a:pt x="2008111" y="1107071"/>
                  <a:pt x="2002084" y="1113083"/>
                  <a:pt x="1996057" y="1113083"/>
                </a:cubicBezTo>
                <a:cubicBezTo>
                  <a:pt x="1996057" y="1107071"/>
                  <a:pt x="2008111" y="1107071"/>
                  <a:pt x="2014136" y="1101056"/>
                </a:cubicBezTo>
                <a:close/>
                <a:moveTo>
                  <a:pt x="4468995" y="1096240"/>
                </a:moveTo>
                <a:cubicBezTo>
                  <a:pt x="4468995" y="1107719"/>
                  <a:pt x="4451777" y="1107719"/>
                  <a:pt x="4451777" y="1107719"/>
                </a:cubicBezTo>
                <a:cubicBezTo>
                  <a:pt x="4451777" y="1101979"/>
                  <a:pt x="4463256" y="1101979"/>
                  <a:pt x="4468995" y="1096240"/>
                </a:cubicBezTo>
                <a:close/>
                <a:moveTo>
                  <a:pt x="2037096" y="1089031"/>
                </a:moveTo>
                <a:cubicBezTo>
                  <a:pt x="2037096" y="1100510"/>
                  <a:pt x="2025616" y="1094771"/>
                  <a:pt x="2025616" y="1106250"/>
                </a:cubicBezTo>
                <a:cubicBezTo>
                  <a:pt x="2019877" y="1106250"/>
                  <a:pt x="2019877" y="1100510"/>
                  <a:pt x="2014138" y="1100510"/>
                </a:cubicBezTo>
                <a:cubicBezTo>
                  <a:pt x="2014138" y="1094771"/>
                  <a:pt x="2031356" y="1094771"/>
                  <a:pt x="2037096" y="1089031"/>
                </a:cubicBezTo>
                <a:close/>
                <a:moveTo>
                  <a:pt x="4499038" y="1088258"/>
                </a:moveTo>
                <a:cubicBezTo>
                  <a:pt x="4501638" y="1088348"/>
                  <a:pt x="4503432" y="1089065"/>
                  <a:pt x="4503432" y="1090500"/>
                </a:cubicBezTo>
                <a:cubicBezTo>
                  <a:pt x="4491953" y="1090500"/>
                  <a:pt x="4491953" y="1096240"/>
                  <a:pt x="4480474" y="1101979"/>
                </a:cubicBezTo>
                <a:cubicBezTo>
                  <a:pt x="4477605" y="1096240"/>
                  <a:pt x="4483345" y="1091936"/>
                  <a:pt x="4489802" y="1089782"/>
                </a:cubicBezTo>
                <a:cubicBezTo>
                  <a:pt x="4493030" y="1088706"/>
                  <a:pt x="4496437" y="1088168"/>
                  <a:pt x="4499038" y="1088258"/>
                </a:cubicBezTo>
                <a:close/>
                <a:moveTo>
                  <a:pt x="1408960" y="1083886"/>
                </a:moveTo>
                <a:cubicBezTo>
                  <a:pt x="1412368" y="1082371"/>
                  <a:pt x="1415597" y="1082371"/>
                  <a:pt x="1418467" y="1085401"/>
                </a:cubicBezTo>
                <a:cubicBezTo>
                  <a:pt x="1406988" y="1085401"/>
                  <a:pt x="1401248" y="1097518"/>
                  <a:pt x="1384030" y="1103576"/>
                </a:cubicBezTo>
                <a:cubicBezTo>
                  <a:pt x="1384030" y="1109635"/>
                  <a:pt x="1401248" y="1103576"/>
                  <a:pt x="1406988" y="1097518"/>
                </a:cubicBezTo>
                <a:cubicBezTo>
                  <a:pt x="1406988" y="1109635"/>
                  <a:pt x="1366812" y="1115693"/>
                  <a:pt x="1361072" y="1127810"/>
                </a:cubicBezTo>
                <a:cubicBezTo>
                  <a:pt x="1355333" y="1121750"/>
                  <a:pt x="1372551" y="1109635"/>
                  <a:pt x="1378290" y="1097518"/>
                </a:cubicBezTo>
                <a:cubicBezTo>
                  <a:pt x="1386899" y="1106605"/>
                  <a:pt x="1398738" y="1088430"/>
                  <a:pt x="1408960" y="1083886"/>
                </a:cubicBezTo>
                <a:close/>
                <a:moveTo>
                  <a:pt x="2080141" y="1083292"/>
                </a:moveTo>
                <a:cubicBezTo>
                  <a:pt x="2077270" y="1086161"/>
                  <a:pt x="2077270" y="1089031"/>
                  <a:pt x="2076552" y="1091184"/>
                </a:cubicBezTo>
                <a:lnTo>
                  <a:pt x="2068664" y="1094771"/>
                </a:lnTo>
                <a:lnTo>
                  <a:pt x="2068662" y="1094771"/>
                </a:lnTo>
                <a:lnTo>
                  <a:pt x="2056995" y="1090234"/>
                </a:lnTo>
                <a:lnTo>
                  <a:pt x="2060372" y="1096266"/>
                </a:lnTo>
                <a:cubicBezTo>
                  <a:pt x="2056698" y="1102184"/>
                  <a:pt x="2035230" y="1105566"/>
                  <a:pt x="2044268" y="1119095"/>
                </a:cubicBezTo>
                <a:cubicBezTo>
                  <a:pt x="2026189" y="1119095"/>
                  <a:pt x="1991160" y="1125859"/>
                  <a:pt x="1969691" y="1144461"/>
                </a:cubicBezTo>
                <a:lnTo>
                  <a:pt x="1956991" y="1162714"/>
                </a:lnTo>
                <a:lnTo>
                  <a:pt x="1958044" y="1165340"/>
                </a:lnTo>
                <a:lnTo>
                  <a:pt x="1956119" y="1163968"/>
                </a:lnTo>
                <a:lnTo>
                  <a:pt x="1953872" y="1167197"/>
                </a:lnTo>
                <a:cubicBezTo>
                  <a:pt x="1947845" y="1167197"/>
                  <a:pt x="1953872" y="1155172"/>
                  <a:pt x="1953872" y="1155172"/>
                </a:cubicBezTo>
                <a:cubicBezTo>
                  <a:pt x="1923740" y="1155172"/>
                  <a:pt x="1893607" y="1185236"/>
                  <a:pt x="1875528" y="1191249"/>
                </a:cubicBezTo>
                <a:cubicBezTo>
                  <a:pt x="1878542" y="1194254"/>
                  <a:pt x="1881555" y="1195758"/>
                  <a:pt x="1885322" y="1195758"/>
                </a:cubicBezTo>
                <a:lnTo>
                  <a:pt x="1899260" y="1191366"/>
                </a:lnTo>
                <a:lnTo>
                  <a:pt x="1900154" y="1186643"/>
                </a:lnTo>
                <a:cubicBezTo>
                  <a:pt x="1901835" y="1185246"/>
                  <a:pt x="1905198" y="1193072"/>
                  <a:pt x="1905198" y="1197546"/>
                </a:cubicBezTo>
                <a:cubicBezTo>
                  <a:pt x="1908187" y="1191582"/>
                  <a:pt x="1914165" y="1187109"/>
                  <a:pt x="1923132" y="1183382"/>
                </a:cubicBezTo>
                <a:lnTo>
                  <a:pt x="1949172" y="1176345"/>
                </a:lnTo>
                <a:lnTo>
                  <a:pt x="1951810" y="1172163"/>
                </a:lnTo>
                <a:lnTo>
                  <a:pt x="1958412" y="1167229"/>
                </a:lnTo>
                <a:lnTo>
                  <a:pt x="1958297" y="1165972"/>
                </a:lnTo>
                <a:lnTo>
                  <a:pt x="1958711" y="1167005"/>
                </a:lnTo>
                <a:lnTo>
                  <a:pt x="1959183" y="1166653"/>
                </a:lnTo>
                <a:lnTo>
                  <a:pt x="1960028" y="1161668"/>
                </a:lnTo>
                <a:cubicBezTo>
                  <a:pt x="1961989" y="1158035"/>
                  <a:pt x="1966473" y="1160271"/>
                  <a:pt x="1970956" y="1155798"/>
                </a:cubicBezTo>
                <a:cubicBezTo>
                  <a:pt x="1970956" y="1155798"/>
                  <a:pt x="1976935" y="1155798"/>
                  <a:pt x="1976935" y="1161762"/>
                </a:cubicBezTo>
                <a:cubicBezTo>
                  <a:pt x="1976935" y="1161762"/>
                  <a:pt x="1982913" y="1149833"/>
                  <a:pt x="1982913" y="1155798"/>
                </a:cubicBezTo>
                <a:lnTo>
                  <a:pt x="1982983" y="1155659"/>
                </a:lnTo>
                <a:lnTo>
                  <a:pt x="1982570" y="1155034"/>
                </a:lnTo>
                <a:lnTo>
                  <a:pt x="1983538" y="1154550"/>
                </a:lnTo>
                <a:lnTo>
                  <a:pt x="1985902" y="1149834"/>
                </a:lnTo>
                <a:cubicBezTo>
                  <a:pt x="1985902" y="1146852"/>
                  <a:pt x="1985902" y="1143869"/>
                  <a:pt x="1988891" y="1143869"/>
                </a:cubicBezTo>
                <a:cubicBezTo>
                  <a:pt x="1991880" y="1140888"/>
                  <a:pt x="1994869" y="1142378"/>
                  <a:pt x="1997111" y="1144614"/>
                </a:cubicBezTo>
                <a:lnTo>
                  <a:pt x="2000569" y="1149444"/>
                </a:lnTo>
                <a:lnTo>
                  <a:pt x="2001802" y="1149356"/>
                </a:lnTo>
                <a:lnTo>
                  <a:pt x="2006823" y="1146852"/>
                </a:lnTo>
                <a:cubicBezTo>
                  <a:pt x="2008318" y="1145360"/>
                  <a:pt x="2009812" y="1143869"/>
                  <a:pt x="2012801" y="1143869"/>
                </a:cubicBezTo>
                <a:cubicBezTo>
                  <a:pt x="2018779" y="1143869"/>
                  <a:pt x="2012801" y="1137906"/>
                  <a:pt x="2012801" y="1137906"/>
                </a:cubicBezTo>
                <a:cubicBezTo>
                  <a:pt x="2054648" y="1125978"/>
                  <a:pt x="2054648" y="1120013"/>
                  <a:pt x="2090516" y="1108085"/>
                </a:cubicBezTo>
                <a:cubicBezTo>
                  <a:pt x="2081549" y="1099140"/>
                  <a:pt x="2089396" y="1106967"/>
                  <a:pt x="2091357" y="1103892"/>
                </a:cubicBezTo>
                <a:lnTo>
                  <a:pt x="2090963" y="1100264"/>
                </a:lnTo>
                <a:lnTo>
                  <a:pt x="2086598" y="1098627"/>
                </a:lnTo>
                <a:cubicBezTo>
                  <a:pt x="2084445" y="1095130"/>
                  <a:pt x="2088750" y="1087597"/>
                  <a:pt x="2080141" y="1083292"/>
                </a:cubicBezTo>
                <a:close/>
                <a:moveTo>
                  <a:pt x="2011572" y="1079732"/>
                </a:moveTo>
                <a:lnTo>
                  <a:pt x="2008676" y="1081208"/>
                </a:lnTo>
                <a:lnTo>
                  <a:pt x="2009275" y="1080142"/>
                </a:lnTo>
                <a:close/>
                <a:moveTo>
                  <a:pt x="2012263" y="1079379"/>
                </a:moveTo>
                <a:cubicBezTo>
                  <a:pt x="2013758" y="1079379"/>
                  <a:pt x="2013758" y="1079379"/>
                  <a:pt x="2013011" y="1079474"/>
                </a:cubicBezTo>
                <a:lnTo>
                  <a:pt x="2011572" y="1079732"/>
                </a:lnTo>
                <a:close/>
                <a:moveTo>
                  <a:pt x="1355334" y="1073282"/>
                </a:moveTo>
                <a:cubicBezTo>
                  <a:pt x="1343217" y="1090500"/>
                  <a:pt x="1318983" y="1096240"/>
                  <a:pt x="1300808" y="1107719"/>
                </a:cubicBezTo>
                <a:cubicBezTo>
                  <a:pt x="1312925" y="1084761"/>
                  <a:pt x="1331100" y="1084761"/>
                  <a:pt x="1355334" y="1073282"/>
                </a:cubicBezTo>
                <a:close/>
                <a:moveTo>
                  <a:pt x="4662903" y="1071813"/>
                </a:moveTo>
                <a:cubicBezTo>
                  <a:pt x="4668642" y="1071813"/>
                  <a:pt x="4668642" y="1071813"/>
                  <a:pt x="4674382" y="1077552"/>
                </a:cubicBezTo>
                <a:cubicBezTo>
                  <a:pt x="4668642" y="1077552"/>
                  <a:pt x="4662903" y="1083292"/>
                  <a:pt x="4662903" y="1071813"/>
                </a:cubicBezTo>
                <a:close/>
                <a:moveTo>
                  <a:pt x="2036244" y="1066661"/>
                </a:moveTo>
                <a:cubicBezTo>
                  <a:pt x="2042243" y="1066661"/>
                  <a:pt x="2036244" y="1078582"/>
                  <a:pt x="2048243" y="1072620"/>
                </a:cubicBezTo>
                <a:cubicBezTo>
                  <a:pt x="2054245" y="1072620"/>
                  <a:pt x="2054245" y="1078582"/>
                  <a:pt x="2054245" y="1078582"/>
                </a:cubicBezTo>
                <a:cubicBezTo>
                  <a:pt x="2042243" y="1084542"/>
                  <a:pt x="2030242" y="1078582"/>
                  <a:pt x="2030242" y="1090502"/>
                </a:cubicBezTo>
                <a:cubicBezTo>
                  <a:pt x="2024242" y="1090502"/>
                  <a:pt x="2024242" y="1084542"/>
                  <a:pt x="2018242" y="1078582"/>
                </a:cubicBezTo>
                <a:cubicBezTo>
                  <a:pt x="2018242" y="1078582"/>
                  <a:pt x="2024242" y="1078582"/>
                  <a:pt x="2024242" y="1078582"/>
                </a:cubicBezTo>
                <a:cubicBezTo>
                  <a:pt x="2024242" y="1081562"/>
                  <a:pt x="2027243" y="1081562"/>
                  <a:pt x="2030243" y="1080072"/>
                </a:cubicBezTo>
                <a:lnTo>
                  <a:pt x="2032454" y="1077327"/>
                </a:lnTo>
                <a:lnTo>
                  <a:pt x="2035493" y="1075601"/>
                </a:lnTo>
                <a:cubicBezTo>
                  <a:pt x="2036244" y="1074110"/>
                  <a:pt x="2036244" y="1072620"/>
                  <a:pt x="2036244" y="1072620"/>
                </a:cubicBezTo>
                <a:lnTo>
                  <a:pt x="2032454" y="1077327"/>
                </a:lnTo>
                <a:lnTo>
                  <a:pt x="2030242" y="1078582"/>
                </a:lnTo>
                <a:cubicBezTo>
                  <a:pt x="2018242" y="1078582"/>
                  <a:pt x="2036244" y="1072620"/>
                  <a:pt x="2036244" y="1066661"/>
                </a:cubicBezTo>
                <a:close/>
                <a:moveTo>
                  <a:pt x="2301111" y="1066073"/>
                </a:moveTo>
                <a:cubicBezTo>
                  <a:pt x="2301111" y="1071813"/>
                  <a:pt x="2295372" y="1071813"/>
                  <a:pt x="2289632" y="1077552"/>
                </a:cubicBezTo>
                <a:cubicBezTo>
                  <a:pt x="2283893" y="1071813"/>
                  <a:pt x="2295372" y="1066073"/>
                  <a:pt x="2301111" y="1066073"/>
                </a:cubicBezTo>
                <a:close/>
                <a:moveTo>
                  <a:pt x="1412728" y="1061803"/>
                </a:moveTo>
                <a:cubicBezTo>
                  <a:pt x="1389131" y="1085804"/>
                  <a:pt x="1365536" y="1085804"/>
                  <a:pt x="1353738" y="1103805"/>
                </a:cubicBezTo>
                <a:cubicBezTo>
                  <a:pt x="1341939" y="1109807"/>
                  <a:pt x="1353738" y="1097805"/>
                  <a:pt x="1341939" y="1103805"/>
                </a:cubicBezTo>
                <a:cubicBezTo>
                  <a:pt x="1336041" y="1115806"/>
                  <a:pt x="1330143" y="1127808"/>
                  <a:pt x="1312445" y="1127808"/>
                </a:cubicBezTo>
                <a:cubicBezTo>
                  <a:pt x="1306546" y="1121808"/>
                  <a:pt x="1312445" y="1121808"/>
                  <a:pt x="1312445" y="1115806"/>
                </a:cubicBezTo>
                <a:cubicBezTo>
                  <a:pt x="1347838" y="1097805"/>
                  <a:pt x="1377333" y="1073804"/>
                  <a:pt x="1412728" y="1061803"/>
                </a:cubicBezTo>
                <a:close/>
                <a:moveTo>
                  <a:pt x="4553923" y="1061085"/>
                </a:moveTo>
                <a:cubicBezTo>
                  <a:pt x="4553653" y="1063238"/>
                  <a:pt x="4549349" y="1071847"/>
                  <a:pt x="4557958" y="1067542"/>
                </a:cubicBezTo>
                <a:cubicBezTo>
                  <a:pt x="4552219" y="1073282"/>
                  <a:pt x="4535000" y="1090500"/>
                  <a:pt x="4529260" y="1073282"/>
                </a:cubicBezTo>
                <a:cubicBezTo>
                  <a:pt x="4535000" y="1079021"/>
                  <a:pt x="4552219" y="1073282"/>
                  <a:pt x="4552219" y="1061803"/>
                </a:cubicBezTo>
                <a:cubicBezTo>
                  <a:pt x="4553654" y="1060368"/>
                  <a:pt x="4554012" y="1060368"/>
                  <a:pt x="4553923" y="1061085"/>
                </a:cubicBezTo>
                <a:close/>
                <a:moveTo>
                  <a:pt x="2114578" y="1058809"/>
                </a:moveTo>
                <a:cubicBezTo>
                  <a:pt x="2115654" y="1058541"/>
                  <a:pt x="2116013" y="1058899"/>
                  <a:pt x="2114578" y="1060334"/>
                </a:cubicBezTo>
                <a:lnTo>
                  <a:pt x="2108896" y="1063175"/>
                </a:lnTo>
                <a:lnTo>
                  <a:pt x="2110273" y="1061051"/>
                </a:lnTo>
                <a:cubicBezTo>
                  <a:pt x="2111708" y="1059975"/>
                  <a:pt x="2113501" y="1059078"/>
                  <a:pt x="2114578" y="1058809"/>
                </a:cubicBezTo>
                <a:close/>
                <a:moveTo>
                  <a:pt x="1868326" y="1056295"/>
                </a:moveTo>
                <a:lnTo>
                  <a:pt x="1862004" y="1061085"/>
                </a:lnTo>
                <a:cubicBezTo>
                  <a:pt x="1856754" y="1066107"/>
                  <a:pt x="1850754" y="1073282"/>
                  <a:pt x="1844753" y="1079021"/>
                </a:cubicBezTo>
                <a:cubicBezTo>
                  <a:pt x="1832752" y="1084761"/>
                  <a:pt x="1808751" y="1090500"/>
                  <a:pt x="1832752" y="1079021"/>
                </a:cubicBezTo>
                <a:cubicBezTo>
                  <a:pt x="1841753" y="1074717"/>
                  <a:pt x="1854129" y="1060727"/>
                  <a:pt x="1864817" y="1056422"/>
                </a:cubicBezTo>
                <a:close/>
                <a:moveTo>
                  <a:pt x="1550475" y="1056064"/>
                </a:moveTo>
                <a:cubicBezTo>
                  <a:pt x="1533256" y="1073282"/>
                  <a:pt x="1516038" y="1084761"/>
                  <a:pt x="1498820" y="1073282"/>
                </a:cubicBezTo>
                <a:cubicBezTo>
                  <a:pt x="1516038" y="1079021"/>
                  <a:pt x="1533256" y="1061803"/>
                  <a:pt x="1550475" y="1056064"/>
                </a:cubicBezTo>
                <a:close/>
                <a:moveTo>
                  <a:pt x="1869224" y="1055615"/>
                </a:moveTo>
                <a:cubicBezTo>
                  <a:pt x="1871380" y="1054629"/>
                  <a:pt x="1873256" y="1054629"/>
                  <a:pt x="1874756" y="1056064"/>
                </a:cubicBezTo>
                <a:lnTo>
                  <a:pt x="1868326" y="1056295"/>
                </a:lnTo>
                <a:close/>
                <a:moveTo>
                  <a:pt x="4588180" y="1054629"/>
                </a:moveTo>
                <a:cubicBezTo>
                  <a:pt x="4592066" y="1054270"/>
                  <a:pt x="4596341" y="1054629"/>
                  <a:pt x="4601004" y="1056064"/>
                </a:cubicBezTo>
                <a:cubicBezTo>
                  <a:pt x="4594788" y="1056064"/>
                  <a:pt x="4569916" y="1073282"/>
                  <a:pt x="4563697" y="1067542"/>
                </a:cubicBezTo>
                <a:cubicBezTo>
                  <a:pt x="4568361" y="1063238"/>
                  <a:pt x="4576522" y="1055705"/>
                  <a:pt x="4588180" y="1054629"/>
                </a:cubicBezTo>
                <a:close/>
                <a:moveTo>
                  <a:pt x="1430419" y="1054283"/>
                </a:moveTo>
                <a:lnTo>
                  <a:pt x="1418467" y="1060943"/>
                </a:lnTo>
                <a:cubicBezTo>
                  <a:pt x="1420012" y="1059436"/>
                  <a:pt x="1423102" y="1057553"/>
                  <a:pt x="1426966" y="1055670"/>
                </a:cubicBezTo>
                <a:close/>
                <a:moveTo>
                  <a:pt x="1391205" y="1048888"/>
                </a:moveTo>
                <a:cubicBezTo>
                  <a:pt x="1394074" y="1047453"/>
                  <a:pt x="1398378" y="1047453"/>
                  <a:pt x="1401248" y="1050324"/>
                </a:cubicBezTo>
                <a:cubicBezTo>
                  <a:pt x="1401248" y="1056064"/>
                  <a:pt x="1395509" y="1056064"/>
                  <a:pt x="1389770" y="1056064"/>
                </a:cubicBezTo>
                <a:cubicBezTo>
                  <a:pt x="1386899" y="1053193"/>
                  <a:pt x="1388334" y="1050324"/>
                  <a:pt x="1391205" y="1048888"/>
                </a:cubicBezTo>
                <a:close/>
                <a:moveTo>
                  <a:pt x="4615353" y="1047453"/>
                </a:moveTo>
                <a:lnTo>
                  <a:pt x="4612482" y="1050324"/>
                </a:lnTo>
                <a:lnTo>
                  <a:pt x="4610874" y="1048946"/>
                </a:lnTo>
                <a:close/>
                <a:moveTo>
                  <a:pt x="4607460" y="1046020"/>
                </a:moveTo>
                <a:lnTo>
                  <a:pt x="4610874" y="1048946"/>
                </a:lnTo>
                <a:lnTo>
                  <a:pt x="4606742" y="1050324"/>
                </a:lnTo>
                <a:cubicBezTo>
                  <a:pt x="4606742" y="1047454"/>
                  <a:pt x="4606742" y="1046020"/>
                  <a:pt x="4607460" y="1046020"/>
                </a:cubicBezTo>
                <a:close/>
                <a:moveTo>
                  <a:pt x="2285329" y="1042246"/>
                </a:moveTo>
                <a:lnTo>
                  <a:pt x="2274901" y="1048259"/>
                </a:lnTo>
                <a:lnTo>
                  <a:pt x="2273198" y="1048875"/>
                </a:lnTo>
                <a:lnTo>
                  <a:pt x="2265194" y="1058182"/>
                </a:lnTo>
                <a:lnTo>
                  <a:pt x="2260907" y="1059950"/>
                </a:lnTo>
                <a:lnTo>
                  <a:pt x="2263880" y="1060373"/>
                </a:lnTo>
                <a:lnTo>
                  <a:pt x="2259864" y="1062777"/>
                </a:lnTo>
                <a:lnTo>
                  <a:pt x="2262190" y="1061933"/>
                </a:lnTo>
                <a:cubicBezTo>
                  <a:pt x="2268878" y="1059378"/>
                  <a:pt x="2268879" y="1059378"/>
                  <a:pt x="2282253" y="1059378"/>
                </a:cubicBezTo>
                <a:cubicBezTo>
                  <a:pt x="2286711" y="1054833"/>
                  <a:pt x="2291170" y="1046881"/>
                  <a:pt x="2288105" y="1043189"/>
                </a:cubicBezTo>
                <a:close/>
                <a:moveTo>
                  <a:pt x="4641179" y="1038845"/>
                </a:moveTo>
                <a:cubicBezTo>
                  <a:pt x="4646919" y="1044584"/>
                  <a:pt x="4629701" y="1044584"/>
                  <a:pt x="4629701" y="1044584"/>
                </a:cubicBezTo>
                <a:cubicBezTo>
                  <a:pt x="4629701" y="1038845"/>
                  <a:pt x="4635440" y="1044584"/>
                  <a:pt x="4641179" y="1038845"/>
                </a:cubicBezTo>
                <a:close/>
                <a:moveTo>
                  <a:pt x="4623960" y="1038845"/>
                </a:moveTo>
                <a:cubicBezTo>
                  <a:pt x="4629701" y="1038845"/>
                  <a:pt x="4623960" y="1044584"/>
                  <a:pt x="4623960" y="1044584"/>
                </a:cubicBezTo>
                <a:lnTo>
                  <a:pt x="4615353" y="1047453"/>
                </a:lnTo>
                <a:close/>
                <a:moveTo>
                  <a:pt x="2253772" y="1033012"/>
                </a:moveTo>
                <a:lnTo>
                  <a:pt x="2254018" y="1033731"/>
                </a:lnTo>
                <a:lnTo>
                  <a:pt x="2254165" y="1033535"/>
                </a:lnTo>
                <a:close/>
                <a:moveTo>
                  <a:pt x="1630209" y="1030553"/>
                </a:moveTo>
                <a:cubicBezTo>
                  <a:pt x="1636187" y="1030553"/>
                  <a:pt x="1636187" y="1030553"/>
                  <a:pt x="1636187" y="1030553"/>
                </a:cubicBezTo>
                <a:lnTo>
                  <a:pt x="1634435" y="1031397"/>
                </a:lnTo>
                <a:close/>
                <a:moveTo>
                  <a:pt x="2151723" y="1018942"/>
                </a:moveTo>
                <a:lnTo>
                  <a:pt x="2155990" y="1019475"/>
                </a:lnTo>
                <a:cubicBezTo>
                  <a:pt x="2158859" y="1018758"/>
                  <a:pt x="2161729" y="1018758"/>
                  <a:pt x="2161729" y="1024497"/>
                </a:cubicBezTo>
                <a:cubicBezTo>
                  <a:pt x="2155990" y="1024497"/>
                  <a:pt x="2155990" y="1030237"/>
                  <a:pt x="2150250" y="1030237"/>
                </a:cubicBezTo>
                <a:close/>
                <a:moveTo>
                  <a:pt x="1963716" y="1018758"/>
                </a:moveTo>
                <a:cubicBezTo>
                  <a:pt x="1957977" y="1024908"/>
                  <a:pt x="1957977" y="1031057"/>
                  <a:pt x="1952238" y="1037206"/>
                </a:cubicBezTo>
                <a:cubicBezTo>
                  <a:pt x="1952238" y="1043355"/>
                  <a:pt x="1963716" y="1037206"/>
                  <a:pt x="1957977" y="1043355"/>
                </a:cubicBezTo>
                <a:cubicBezTo>
                  <a:pt x="1957977" y="1055655"/>
                  <a:pt x="1957977" y="1037206"/>
                  <a:pt x="1946498" y="1043355"/>
                </a:cubicBezTo>
                <a:cubicBezTo>
                  <a:pt x="1952238" y="1043355"/>
                  <a:pt x="1957977" y="1049505"/>
                  <a:pt x="1957977" y="1061805"/>
                </a:cubicBezTo>
                <a:cubicBezTo>
                  <a:pt x="1952238" y="1055655"/>
                  <a:pt x="1946498" y="1049505"/>
                  <a:pt x="1940759" y="1049505"/>
                </a:cubicBezTo>
                <a:cubicBezTo>
                  <a:pt x="1946498" y="1037206"/>
                  <a:pt x="1952238" y="1024908"/>
                  <a:pt x="1963716" y="1018758"/>
                </a:cubicBezTo>
                <a:close/>
                <a:moveTo>
                  <a:pt x="1498820" y="1018758"/>
                </a:moveTo>
                <a:cubicBezTo>
                  <a:pt x="1498820" y="1018758"/>
                  <a:pt x="1492639" y="1024785"/>
                  <a:pt x="1492639" y="1024785"/>
                </a:cubicBezTo>
                <a:cubicBezTo>
                  <a:pt x="1492639" y="1030810"/>
                  <a:pt x="1492639" y="1036837"/>
                  <a:pt x="1498820" y="1048890"/>
                </a:cubicBezTo>
                <a:cubicBezTo>
                  <a:pt x="1486456" y="1060943"/>
                  <a:pt x="1455552" y="1079023"/>
                  <a:pt x="1437009" y="1072996"/>
                </a:cubicBezTo>
                <a:cubicBezTo>
                  <a:pt x="1443191" y="1054917"/>
                  <a:pt x="1467915" y="1054917"/>
                  <a:pt x="1486456" y="1048890"/>
                </a:cubicBezTo>
                <a:cubicBezTo>
                  <a:pt x="1486456" y="1042864"/>
                  <a:pt x="1486456" y="1036837"/>
                  <a:pt x="1486456" y="1030810"/>
                </a:cubicBezTo>
                <a:cubicBezTo>
                  <a:pt x="1474095" y="1030810"/>
                  <a:pt x="1449372" y="1042864"/>
                  <a:pt x="1461732" y="1048890"/>
                </a:cubicBezTo>
                <a:cubicBezTo>
                  <a:pt x="1458642" y="1045877"/>
                  <a:pt x="1449371" y="1047384"/>
                  <a:pt x="1440100" y="1050397"/>
                </a:cubicBezTo>
                <a:lnTo>
                  <a:pt x="1430419" y="1054283"/>
                </a:lnTo>
                <a:lnTo>
                  <a:pt x="1456326" y="1039850"/>
                </a:lnTo>
                <a:cubicBezTo>
                  <a:pt x="1469460" y="1033824"/>
                  <a:pt x="1483367" y="1027797"/>
                  <a:pt x="1498820" y="1018758"/>
                </a:cubicBezTo>
                <a:close/>
                <a:moveTo>
                  <a:pt x="2151800" y="1018362"/>
                </a:moveTo>
                <a:lnTo>
                  <a:pt x="2151723" y="1018942"/>
                </a:lnTo>
                <a:lnTo>
                  <a:pt x="2150250" y="1018758"/>
                </a:lnTo>
                <a:close/>
                <a:moveTo>
                  <a:pt x="2144249" y="1013018"/>
                </a:moveTo>
                <a:cubicBezTo>
                  <a:pt x="2150250" y="1024938"/>
                  <a:pt x="2138249" y="1024938"/>
                  <a:pt x="2144249" y="1030898"/>
                </a:cubicBezTo>
                <a:cubicBezTo>
                  <a:pt x="2138249" y="1036858"/>
                  <a:pt x="2126248" y="1036858"/>
                  <a:pt x="2120248" y="1042820"/>
                </a:cubicBezTo>
                <a:cubicBezTo>
                  <a:pt x="2138249" y="1048780"/>
                  <a:pt x="2090247" y="1048780"/>
                  <a:pt x="2078246" y="1060701"/>
                </a:cubicBezTo>
                <a:cubicBezTo>
                  <a:pt x="2096247" y="1066661"/>
                  <a:pt x="2072246" y="1066661"/>
                  <a:pt x="2066244" y="1072620"/>
                </a:cubicBezTo>
                <a:cubicBezTo>
                  <a:pt x="2066244" y="1066661"/>
                  <a:pt x="2066244" y="1066661"/>
                  <a:pt x="2060245" y="1066661"/>
                </a:cubicBezTo>
                <a:cubicBezTo>
                  <a:pt x="2054245" y="1066661"/>
                  <a:pt x="2054245" y="1072620"/>
                  <a:pt x="2048243" y="1072620"/>
                </a:cubicBezTo>
                <a:cubicBezTo>
                  <a:pt x="2036244" y="1072620"/>
                  <a:pt x="2060245" y="1054740"/>
                  <a:pt x="2066244" y="1060701"/>
                </a:cubicBezTo>
                <a:cubicBezTo>
                  <a:pt x="2066244" y="1048780"/>
                  <a:pt x="2072246" y="1060701"/>
                  <a:pt x="2084246" y="1048780"/>
                </a:cubicBezTo>
                <a:cubicBezTo>
                  <a:pt x="2072246" y="1036858"/>
                  <a:pt x="2102247" y="1042820"/>
                  <a:pt x="2108249" y="1042820"/>
                </a:cubicBezTo>
                <a:cubicBezTo>
                  <a:pt x="2114248" y="1036858"/>
                  <a:pt x="2108249" y="1036858"/>
                  <a:pt x="2108249" y="1030898"/>
                </a:cubicBezTo>
                <a:cubicBezTo>
                  <a:pt x="2126248" y="1030898"/>
                  <a:pt x="2126248" y="1030898"/>
                  <a:pt x="2144249" y="1013018"/>
                </a:cubicBezTo>
                <a:close/>
                <a:moveTo>
                  <a:pt x="1633698" y="1013018"/>
                </a:moveTo>
                <a:cubicBezTo>
                  <a:pt x="1622219" y="1025645"/>
                  <a:pt x="1605000" y="1031959"/>
                  <a:pt x="1587782" y="1044586"/>
                </a:cubicBezTo>
                <a:cubicBezTo>
                  <a:pt x="1587782" y="1025645"/>
                  <a:pt x="1622219" y="1019331"/>
                  <a:pt x="1633698" y="1013018"/>
                </a:cubicBezTo>
                <a:close/>
                <a:moveTo>
                  <a:pt x="2212150" y="1011548"/>
                </a:moveTo>
                <a:cubicBezTo>
                  <a:pt x="2212150" y="1017287"/>
                  <a:pt x="2212150" y="1023026"/>
                  <a:pt x="2212150" y="1028766"/>
                </a:cubicBezTo>
                <a:cubicBezTo>
                  <a:pt x="2204976" y="1028766"/>
                  <a:pt x="2204976" y="1023026"/>
                  <a:pt x="2197801" y="1028766"/>
                </a:cubicBezTo>
                <a:cubicBezTo>
                  <a:pt x="2197801" y="1017287"/>
                  <a:pt x="2197801" y="1011548"/>
                  <a:pt x="2212150" y="1011548"/>
                </a:cubicBezTo>
                <a:close/>
                <a:moveTo>
                  <a:pt x="2369529" y="1008428"/>
                </a:moveTo>
                <a:lnTo>
                  <a:pt x="2366158" y="1010113"/>
                </a:lnTo>
                <a:cubicBezTo>
                  <a:pt x="2364643" y="1011628"/>
                  <a:pt x="2363129" y="1013142"/>
                  <a:pt x="2360099" y="1013142"/>
                </a:cubicBezTo>
                <a:lnTo>
                  <a:pt x="2360188" y="1013857"/>
                </a:lnTo>
                <a:lnTo>
                  <a:pt x="2362643" y="1013108"/>
                </a:lnTo>
                <a:close/>
                <a:moveTo>
                  <a:pt x="4516827" y="1007279"/>
                </a:moveTo>
                <a:cubicBezTo>
                  <a:pt x="4523522" y="1007279"/>
                  <a:pt x="4516827" y="1013018"/>
                  <a:pt x="4523522" y="1007279"/>
                </a:cubicBezTo>
                <a:cubicBezTo>
                  <a:pt x="4523522" y="1018758"/>
                  <a:pt x="4510131" y="1013018"/>
                  <a:pt x="4510131" y="1018758"/>
                </a:cubicBezTo>
                <a:cubicBezTo>
                  <a:pt x="4503433" y="1013018"/>
                  <a:pt x="4516827" y="1013018"/>
                  <a:pt x="4516827" y="1007279"/>
                </a:cubicBezTo>
                <a:close/>
                <a:moveTo>
                  <a:pt x="1556214" y="1007279"/>
                </a:moveTo>
                <a:cubicBezTo>
                  <a:pt x="1544736" y="1018758"/>
                  <a:pt x="1527517" y="1018758"/>
                  <a:pt x="1533256" y="1030237"/>
                </a:cubicBezTo>
                <a:cubicBezTo>
                  <a:pt x="1527517" y="1024497"/>
                  <a:pt x="1521777" y="1007279"/>
                  <a:pt x="1538996" y="1013018"/>
                </a:cubicBezTo>
                <a:cubicBezTo>
                  <a:pt x="1533256" y="1018758"/>
                  <a:pt x="1544736" y="1007279"/>
                  <a:pt x="1556214" y="1007279"/>
                </a:cubicBezTo>
                <a:close/>
                <a:moveTo>
                  <a:pt x="1633698" y="1001540"/>
                </a:moveTo>
                <a:cubicBezTo>
                  <a:pt x="1627959" y="1013018"/>
                  <a:pt x="1605000" y="1018758"/>
                  <a:pt x="1587782" y="1024497"/>
                </a:cubicBezTo>
                <a:cubicBezTo>
                  <a:pt x="1599261" y="1013018"/>
                  <a:pt x="1627959" y="1007279"/>
                  <a:pt x="1633698" y="1001540"/>
                </a:cubicBezTo>
                <a:close/>
                <a:moveTo>
                  <a:pt x="2234866" y="1000965"/>
                </a:moveTo>
                <a:cubicBezTo>
                  <a:pt x="2234866" y="1018723"/>
                  <a:pt x="2252802" y="1018723"/>
                  <a:pt x="2252802" y="1006884"/>
                </a:cubicBezTo>
                <a:cubicBezTo>
                  <a:pt x="2258782" y="1000965"/>
                  <a:pt x="2258782" y="1006884"/>
                  <a:pt x="2258782" y="1012804"/>
                </a:cubicBezTo>
                <a:cubicBezTo>
                  <a:pt x="2258782" y="1012804"/>
                  <a:pt x="2258782" y="1018723"/>
                  <a:pt x="2258782" y="1024641"/>
                </a:cubicBezTo>
                <a:cubicBezTo>
                  <a:pt x="2252802" y="1018723"/>
                  <a:pt x="2240846" y="1036479"/>
                  <a:pt x="2234866" y="1024641"/>
                </a:cubicBezTo>
                <a:cubicBezTo>
                  <a:pt x="2228888" y="1030559"/>
                  <a:pt x="2216932" y="1042398"/>
                  <a:pt x="2210952" y="1042398"/>
                </a:cubicBezTo>
                <a:lnTo>
                  <a:pt x="2210952" y="1048316"/>
                </a:lnTo>
                <a:cubicBezTo>
                  <a:pt x="2204974" y="1042398"/>
                  <a:pt x="2204974" y="1042398"/>
                  <a:pt x="2198996" y="1042398"/>
                </a:cubicBezTo>
                <a:cubicBezTo>
                  <a:pt x="2198996" y="1054234"/>
                  <a:pt x="2193016" y="1048316"/>
                  <a:pt x="2187037" y="1054234"/>
                </a:cubicBezTo>
                <a:cubicBezTo>
                  <a:pt x="2187037" y="1048316"/>
                  <a:pt x="2175082" y="1054234"/>
                  <a:pt x="2181059" y="1060155"/>
                </a:cubicBezTo>
                <a:cubicBezTo>
                  <a:pt x="2175082" y="1054234"/>
                  <a:pt x="2169102" y="1048316"/>
                  <a:pt x="2175082" y="1042398"/>
                </a:cubicBezTo>
                <a:cubicBezTo>
                  <a:pt x="2187037" y="1054234"/>
                  <a:pt x="2187037" y="1018723"/>
                  <a:pt x="2204974" y="1036479"/>
                </a:cubicBezTo>
                <a:cubicBezTo>
                  <a:pt x="2204974" y="1030559"/>
                  <a:pt x="2222910" y="1036479"/>
                  <a:pt x="2228888" y="1024641"/>
                </a:cubicBezTo>
                <a:cubicBezTo>
                  <a:pt x="2228888" y="1012804"/>
                  <a:pt x="2222910" y="1018723"/>
                  <a:pt x="2222910" y="1012804"/>
                </a:cubicBezTo>
                <a:cubicBezTo>
                  <a:pt x="2216932" y="1012804"/>
                  <a:pt x="2216932" y="1018723"/>
                  <a:pt x="2216932" y="1024641"/>
                </a:cubicBezTo>
                <a:cubicBezTo>
                  <a:pt x="2210952" y="1024641"/>
                  <a:pt x="2210952" y="1006884"/>
                  <a:pt x="2222910" y="1006884"/>
                </a:cubicBezTo>
                <a:cubicBezTo>
                  <a:pt x="2222910" y="1012804"/>
                  <a:pt x="2228888" y="1012804"/>
                  <a:pt x="2228888" y="1018723"/>
                </a:cubicBezTo>
                <a:cubicBezTo>
                  <a:pt x="2228888" y="1018723"/>
                  <a:pt x="2234866" y="1018723"/>
                  <a:pt x="2234866" y="1018723"/>
                </a:cubicBezTo>
                <a:cubicBezTo>
                  <a:pt x="2240846" y="1012804"/>
                  <a:pt x="2222910" y="1006884"/>
                  <a:pt x="2234866" y="1000965"/>
                </a:cubicBezTo>
                <a:close/>
                <a:moveTo>
                  <a:pt x="2346850" y="998577"/>
                </a:moveTo>
                <a:lnTo>
                  <a:pt x="2347571" y="1000733"/>
                </a:lnTo>
                <a:lnTo>
                  <a:pt x="2348308" y="999806"/>
                </a:lnTo>
                <a:lnTo>
                  <a:pt x="2347600" y="1000070"/>
                </a:lnTo>
                <a:close/>
                <a:moveTo>
                  <a:pt x="4744490" y="995800"/>
                </a:moveTo>
                <a:cubicBezTo>
                  <a:pt x="4738392" y="1008099"/>
                  <a:pt x="4720097" y="1008099"/>
                  <a:pt x="4720097" y="1020398"/>
                </a:cubicBezTo>
                <a:cubicBezTo>
                  <a:pt x="4707902" y="1008099"/>
                  <a:pt x="4665215" y="1038846"/>
                  <a:pt x="4646919" y="1038846"/>
                </a:cubicBezTo>
                <a:cubicBezTo>
                  <a:pt x="4646919" y="1038846"/>
                  <a:pt x="4646919" y="1032697"/>
                  <a:pt x="4646919" y="1026547"/>
                </a:cubicBezTo>
                <a:cubicBezTo>
                  <a:pt x="4671312" y="1026547"/>
                  <a:pt x="4707902" y="1008099"/>
                  <a:pt x="4744490" y="995800"/>
                </a:cubicBezTo>
                <a:close/>
                <a:moveTo>
                  <a:pt x="1510298" y="995800"/>
                </a:moveTo>
                <a:cubicBezTo>
                  <a:pt x="1510298" y="1001540"/>
                  <a:pt x="1504559" y="1001540"/>
                  <a:pt x="1498820" y="1007279"/>
                </a:cubicBezTo>
                <a:cubicBezTo>
                  <a:pt x="1498820" y="995800"/>
                  <a:pt x="1504559" y="995800"/>
                  <a:pt x="1510298" y="995800"/>
                </a:cubicBezTo>
                <a:close/>
                <a:moveTo>
                  <a:pt x="2207646" y="990060"/>
                </a:moveTo>
                <a:cubicBezTo>
                  <a:pt x="2207646" y="995800"/>
                  <a:pt x="2201906" y="995800"/>
                  <a:pt x="2207646" y="1007279"/>
                </a:cubicBezTo>
                <a:cubicBezTo>
                  <a:pt x="2196166" y="1001540"/>
                  <a:pt x="2188991" y="1005843"/>
                  <a:pt x="2181099" y="1010865"/>
                </a:cubicBezTo>
                <a:lnTo>
                  <a:pt x="2151800" y="1018362"/>
                </a:lnTo>
                <a:lnTo>
                  <a:pt x="2152402" y="1013736"/>
                </a:lnTo>
                <a:cubicBezTo>
                  <a:pt x="2155990" y="1010148"/>
                  <a:pt x="2161729" y="1007279"/>
                  <a:pt x="2167469" y="1001540"/>
                </a:cubicBezTo>
                <a:cubicBezTo>
                  <a:pt x="2173208" y="1001540"/>
                  <a:pt x="2161729" y="1007279"/>
                  <a:pt x="2161729" y="1007279"/>
                </a:cubicBezTo>
                <a:cubicBezTo>
                  <a:pt x="2164598" y="1007279"/>
                  <a:pt x="2167469" y="1008714"/>
                  <a:pt x="2170338" y="1009431"/>
                </a:cubicBezTo>
                <a:lnTo>
                  <a:pt x="2175817" y="1008062"/>
                </a:lnTo>
                <a:lnTo>
                  <a:pt x="2176077" y="1008714"/>
                </a:lnTo>
                <a:lnTo>
                  <a:pt x="2176847" y="1007804"/>
                </a:lnTo>
                <a:lnTo>
                  <a:pt x="2178948" y="1007279"/>
                </a:lnTo>
                <a:cubicBezTo>
                  <a:pt x="2178948" y="1005843"/>
                  <a:pt x="2178589" y="1005843"/>
                  <a:pt x="2178051" y="1006381"/>
                </a:cubicBezTo>
                <a:lnTo>
                  <a:pt x="2176847" y="1007804"/>
                </a:lnTo>
                <a:lnTo>
                  <a:pt x="2175817" y="1008062"/>
                </a:lnTo>
                <a:lnTo>
                  <a:pt x="2173208" y="1001540"/>
                </a:lnTo>
                <a:cubicBezTo>
                  <a:pt x="2184687" y="995800"/>
                  <a:pt x="2201906" y="1001540"/>
                  <a:pt x="2201906" y="995800"/>
                </a:cubicBezTo>
                <a:cubicBezTo>
                  <a:pt x="2201906" y="995800"/>
                  <a:pt x="2207646" y="995800"/>
                  <a:pt x="2207646" y="990060"/>
                </a:cubicBezTo>
                <a:close/>
                <a:moveTo>
                  <a:pt x="1556214" y="990060"/>
                </a:moveTo>
                <a:cubicBezTo>
                  <a:pt x="1550475" y="1001540"/>
                  <a:pt x="1527517" y="1007279"/>
                  <a:pt x="1521777" y="1007279"/>
                </a:cubicBezTo>
                <a:cubicBezTo>
                  <a:pt x="1527517" y="995800"/>
                  <a:pt x="1544736" y="995800"/>
                  <a:pt x="1556214" y="990060"/>
                </a:cubicBezTo>
                <a:close/>
                <a:moveTo>
                  <a:pt x="4761709" y="984321"/>
                </a:moveTo>
                <a:cubicBezTo>
                  <a:pt x="4767448" y="984321"/>
                  <a:pt x="4761709" y="984321"/>
                  <a:pt x="4761709" y="990060"/>
                </a:cubicBezTo>
                <a:cubicBezTo>
                  <a:pt x="4761709" y="990060"/>
                  <a:pt x="4761709" y="990060"/>
                  <a:pt x="4767448" y="990060"/>
                </a:cubicBezTo>
                <a:cubicBezTo>
                  <a:pt x="4767448" y="995800"/>
                  <a:pt x="4755968" y="995800"/>
                  <a:pt x="4750229" y="995800"/>
                </a:cubicBezTo>
                <a:cubicBezTo>
                  <a:pt x="4744490" y="995800"/>
                  <a:pt x="4761709" y="990060"/>
                  <a:pt x="4761709" y="984321"/>
                </a:cubicBezTo>
                <a:close/>
                <a:moveTo>
                  <a:pt x="4359945" y="984321"/>
                </a:moveTo>
                <a:cubicBezTo>
                  <a:pt x="4359945" y="1001540"/>
                  <a:pt x="4342727" y="995800"/>
                  <a:pt x="4336987" y="995800"/>
                </a:cubicBezTo>
                <a:cubicBezTo>
                  <a:pt x="4342727" y="990060"/>
                  <a:pt x="4354206" y="990060"/>
                  <a:pt x="4359945" y="984321"/>
                </a:cubicBezTo>
                <a:close/>
                <a:moveTo>
                  <a:pt x="1671004" y="984321"/>
                </a:moveTo>
                <a:cubicBezTo>
                  <a:pt x="1671004" y="990060"/>
                  <a:pt x="1653785" y="995800"/>
                  <a:pt x="1648046" y="995800"/>
                </a:cubicBezTo>
                <a:cubicBezTo>
                  <a:pt x="1648046" y="990060"/>
                  <a:pt x="1659525" y="984321"/>
                  <a:pt x="1671004" y="984321"/>
                </a:cubicBezTo>
                <a:close/>
                <a:moveTo>
                  <a:pt x="1488530" y="983439"/>
                </a:moveTo>
                <a:lnTo>
                  <a:pt x="1486737" y="988806"/>
                </a:lnTo>
                <a:cubicBezTo>
                  <a:pt x="1486737" y="985824"/>
                  <a:pt x="1486737" y="984333"/>
                  <a:pt x="1487484" y="983588"/>
                </a:cubicBezTo>
                <a:close/>
                <a:moveTo>
                  <a:pt x="2426740" y="982850"/>
                </a:moveTo>
                <a:cubicBezTo>
                  <a:pt x="2426740" y="982850"/>
                  <a:pt x="2426740" y="988908"/>
                  <a:pt x="2426740" y="988908"/>
                </a:cubicBezTo>
                <a:lnTo>
                  <a:pt x="2422841" y="989188"/>
                </a:lnTo>
                <a:close/>
                <a:moveTo>
                  <a:pt x="2283443" y="980990"/>
                </a:moveTo>
                <a:cubicBezTo>
                  <a:pt x="2284191" y="981729"/>
                  <a:pt x="2285686" y="983208"/>
                  <a:pt x="2288675" y="983208"/>
                </a:cubicBezTo>
                <a:cubicBezTo>
                  <a:pt x="2288675" y="983208"/>
                  <a:pt x="2282696" y="983208"/>
                  <a:pt x="2282696" y="983208"/>
                </a:cubicBezTo>
                <a:cubicBezTo>
                  <a:pt x="2282696" y="980249"/>
                  <a:pt x="2282696" y="980249"/>
                  <a:pt x="2283443" y="980990"/>
                </a:cubicBezTo>
                <a:close/>
                <a:moveTo>
                  <a:pt x="4672749" y="978582"/>
                </a:moveTo>
                <a:cubicBezTo>
                  <a:pt x="4666651" y="984321"/>
                  <a:pt x="4666651" y="990060"/>
                  <a:pt x="4666651" y="990060"/>
                </a:cubicBezTo>
                <a:cubicBezTo>
                  <a:pt x="4660553" y="984321"/>
                  <a:pt x="4623963" y="995800"/>
                  <a:pt x="4648356" y="984321"/>
                </a:cubicBezTo>
                <a:cubicBezTo>
                  <a:pt x="4654455" y="978582"/>
                  <a:pt x="4654455" y="984321"/>
                  <a:pt x="4660553" y="984321"/>
                </a:cubicBezTo>
                <a:cubicBezTo>
                  <a:pt x="4666651" y="984321"/>
                  <a:pt x="4666651" y="978582"/>
                  <a:pt x="4672749" y="978582"/>
                </a:cubicBezTo>
                <a:close/>
                <a:moveTo>
                  <a:pt x="2256111" y="978582"/>
                </a:moveTo>
                <a:cubicBezTo>
                  <a:pt x="2256111" y="984321"/>
                  <a:pt x="2262171" y="978582"/>
                  <a:pt x="2262171" y="984321"/>
                </a:cubicBezTo>
                <a:cubicBezTo>
                  <a:pt x="2243995" y="990060"/>
                  <a:pt x="2231880" y="995800"/>
                  <a:pt x="2207646" y="1001540"/>
                </a:cubicBezTo>
                <a:cubicBezTo>
                  <a:pt x="2213703" y="995800"/>
                  <a:pt x="2225820" y="984321"/>
                  <a:pt x="2231880" y="984321"/>
                </a:cubicBezTo>
                <a:cubicBezTo>
                  <a:pt x="2231880" y="984321"/>
                  <a:pt x="2225820" y="990060"/>
                  <a:pt x="2225820" y="990060"/>
                </a:cubicBezTo>
                <a:cubicBezTo>
                  <a:pt x="2243995" y="978582"/>
                  <a:pt x="2243995" y="984321"/>
                  <a:pt x="2256111" y="978582"/>
                </a:cubicBezTo>
                <a:close/>
                <a:moveTo>
                  <a:pt x="4196625" y="976262"/>
                </a:moveTo>
                <a:lnTo>
                  <a:pt x="4192951" y="977484"/>
                </a:lnTo>
                <a:lnTo>
                  <a:pt x="4195363" y="977002"/>
                </a:lnTo>
                <a:close/>
                <a:moveTo>
                  <a:pt x="4689966" y="972842"/>
                </a:moveTo>
                <a:cubicBezTo>
                  <a:pt x="4689966" y="972842"/>
                  <a:pt x="4689966" y="978582"/>
                  <a:pt x="4689966" y="978582"/>
                </a:cubicBezTo>
                <a:cubicBezTo>
                  <a:pt x="4684227" y="972842"/>
                  <a:pt x="4678486" y="978582"/>
                  <a:pt x="4678486" y="978582"/>
                </a:cubicBezTo>
                <a:cubicBezTo>
                  <a:pt x="4667008" y="978582"/>
                  <a:pt x="4684227" y="972842"/>
                  <a:pt x="4689966" y="972842"/>
                </a:cubicBezTo>
                <a:close/>
                <a:moveTo>
                  <a:pt x="4606171" y="972842"/>
                </a:moveTo>
                <a:cubicBezTo>
                  <a:pt x="4606171" y="972842"/>
                  <a:pt x="4612484" y="978582"/>
                  <a:pt x="4612484" y="978582"/>
                </a:cubicBezTo>
                <a:cubicBezTo>
                  <a:pt x="4606171" y="990060"/>
                  <a:pt x="4580916" y="978582"/>
                  <a:pt x="4587230" y="995800"/>
                </a:cubicBezTo>
                <a:cubicBezTo>
                  <a:pt x="4580916" y="995800"/>
                  <a:pt x="4580916" y="990060"/>
                  <a:pt x="4580916" y="990060"/>
                </a:cubicBezTo>
                <a:cubicBezTo>
                  <a:pt x="4587230" y="984321"/>
                  <a:pt x="4606171" y="984321"/>
                  <a:pt x="4606171" y="972842"/>
                </a:cubicBezTo>
                <a:close/>
                <a:moveTo>
                  <a:pt x="2027569" y="972842"/>
                </a:moveTo>
                <a:cubicBezTo>
                  <a:pt x="2032590" y="971406"/>
                  <a:pt x="2038330" y="972842"/>
                  <a:pt x="2041200" y="978582"/>
                </a:cubicBezTo>
                <a:cubicBezTo>
                  <a:pt x="2029722" y="978582"/>
                  <a:pt x="2029722" y="984321"/>
                  <a:pt x="2018242" y="984321"/>
                </a:cubicBezTo>
                <a:cubicBezTo>
                  <a:pt x="2018242" y="978582"/>
                  <a:pt x="2022547" y="974277"/>
                  <a:pt x="2027569" y="972842"/>
                </a:cubicBezTo>
                <a:close/>
                <a:moveTo>
                  <a:pt x="2312588" y="971371"/>
                </a:moveTo>
                <a:cubicBezTo>
                  <a:pt x="2312588" y="977289"/>
                  <a:pt x="2306610" y="977289"/>
                  <a:pt x="2300632" y="983208"/>
                </a:cubicBezTo>
                <a:cubicBezTo>
                  <a:pt x="2300632" y="989128"/>
                  <a:pt x="2306610" y="989128"/>
                  <a:pt x="2306610" y="995047"/>
                </a:cubicBezTo>
                <a:cubicBezTo>
                  <a:pt x="2294652" y="1006884"/>
                  <a:pt x="2300632" y="1006884"/>
                  <a:pt x="2282696" y="1012804"/>
                </a:cubicBezTo>
                <a:cubicBezTo>
                  <a:pt x="2282696" y="1006884"/>
                  <a:pt x="2288675" y="1006884"/>
                  <a:pt x="2288675" y="1000965"/>
                </a:cubicBezTo>
                <a:cubicBezTo>
                  <a:pt x="2288675" y="995047"/>
                  <a:pt x="2276717" y="1006884"/>
                  <a:pt x="2276717" y="1012804"/>
                </a:cubicBezTo>
                <a:cubicBezTo>
                  <a:pt x="2270738" y="1018723"/>
                  <a:pt x="2264760" y="1012804"/>
                  <a:pt x="2258782" y="1012804"/>
                </a:cubicBezTo>
                <a:cubicBezTo>
                  <a:pt x="2270738" y="1006884"/>
                  <a:pt x="2264760" y="995047"/>
                  <a:pt x="2276717" y="1000965"/>
                </a:cubicBezTo>
                <a:cubicBezTo>
                  <a:pt x="2282696" y="983208"/>
                  <a:pt x="2252802" y="1000965"/>
                  <a:pt x="2246825" y="1006884"/>
                </a:cubicBezTo>
                <a:cubicBezTo>
                  <a:pt x="2246825" y="989128"/>
                  <a:pt x="2258782" y="995047"/>
                  <a:pt x="2270738" y="983208"/>
                </a:cubicBezTo>
                <a:cubicBezTo>
                  <a:pt x="2276717" y="989128"/>
                  <a:pt x="2282696" y="1000965"/>
                  <a:pt x="2288675" y="995047"/>
                </a:cubicBezTo>
                <a:cubicBezTo>
                  <a:pt x="2288675" y="989128"/>
                  <a:pt x="2282696" y="989128"/>
                  <a:pt x="2276717" y="989128"/>
                </a:cubicBezTo>
                <a:cubicBezTo>
                  <a:pt x="2276717" y="983208"/>
                  <a:pt x="2276717" y="983208"/>
                  <a:pt x="2282696" y="983208"/>
                </a:cubicBezTo>
                <a:cubicBezTo>
                  <a:pt x="2288675" y="989128"/>
                  <a:pt x="2288675" y="983208"/>
                  <a:pt x="2294652" y="983208"/>
                </a:cubicBezTo>
                <a:cubicBezTo>
                  <a:pt x="2294652" y="983208"/>
                  <a:pt x="2294652" y="977289"/>
                  <a:pt x="2294652" y="977289"/>
                </a:cubicBezTo>
                <a:cubicBezTo>
                  <a:pt x="2300632" y="977289"/>
                  <a:pt x="2300632" y="971371"/>
                  <a:pt x="2312588" y="971371"/>
                </a:cubicBezTo>
                <a:close/>
                <a:moveTo>
                  <a:pt x="2523105" y="969430"/>
                </a:moveTo>
                <a:lnTo>
                  <a:pt x="2515121" y="970268"/>
                </a:lnTo>
                <a:lnTo>
                  <a:pt x="2514187" y="973817"/>
                </a:lnTo>
                <a:lnTo>
                  <a:pt x="2515329" y="974455"/>
                </a:lnTo>
                <a:lnTo>
                  <a:pt x="2523511" y="972503"/>
                </a:lnTo>
                <a:close/>
                <a:moveTo>
                  <a:pt x="4827713" y="967102"/>
                </a:moveTo>
                <a:cubicBezTo>
                  <a:pt x="4827713" y="978582"/>
                  <a:pt x="4808772" y="978582"/>
                  <a:pt x="4796145" y="984321"/>
                </a:cubicBezTo>
                <a:cubicBezTo>
                  <a:pt x="4796145" y="978582"/>
                  <a:pt x="4821401" y="972842"/>
                  <a:pt x="4827713" y="967102"/>
                </a:cubicBezTo>
                <a:close/>
                <a:moveTo>
                  <a:pt x="1610740" y="967102"/>
                </a:moveTo>
                <a:cubicBezTo>
                  <a:pt x="1592444" y="978582"/>
                  <a:pt x="1580248" y="990060"/>
                  <a:pt x="1561954" y="990060"/>
                </a:cubicBezTo>
                <a:cubicBezTo>
                  <a:pt x="1568051" y="978582"/>
                  <a:pt x="1598543" y="967102"/>
                  <a:pt x="1610740" y="967102"/>
                </a:cubicBezTo>
                <a:close/>
                <a:moveTo>
                  <a:pt x="2329807" y="959893"/>
                </a:moveTo>
                <a:cubicBezTo>
                  <a:pt x="2335546" y="959893"/>
                  <a:pt x="2329807" y="965631"/>
                  <a:pt x="2329807" y="965631"/>
                </a:cubicBezTo>
                <a:cubicBezTo>
                  <a:pt x="2335546" y="971371"/>
                  <a:pt x="2335546" y="971371"/>
                  <a:pt x="2341286" y="988590"/>
                </a:cubicBezTo>
                <a:cubicBezTo>
                  <a:pt x="2329807" y="988590"/>
                  <a:pt x="2324068" y="971371"/>
                  <a:pt x="2329807" y="959893"/>
                </a:cubicBezTo>
                <a:close/>
                <a:moveTo>
                  <a:pt x="2124422" y="958494"/>
                </a:moveTo>
                <a:cubicBezTo>
                  <a:pt x="2124422" y="964951"/>
                  <a:pt x="2118682" y="971409"/>
                  <a:pt x="2124422" y="971409"/>
                </a:cubicBezTo>
                <a:cubicBezTo>
                  <a:pt x="2124422" y="984323"/>
                  <a:pt x="2112943" y="977865"/>
                  <a:pt x="2112943" y="984323"/>
                </a:cubicBezTo>
                <a:cubicBezTo>
                  <a:pt x="2112943" y="984323"/>
                  <a:pt x="2112943" y="964951"/>
                  <a:pt x="2124422" y="958494"/>
                </a:cubicBezTo>
                <a:close/>
                <a:moveTo>
                  <a:pt x="4374295" y="958492"/>
                </a:moveTo>
                <a:cubicBezTo>
                  <a:pt x="4380034" y="958492"/>
                  <a:pt x="4385774" y="958492"/>
                  <a:pt x="4385774" y="972842"/>
                </a:cubicBezTo>
                <a:cubicBezTo>
                  <a:pt x="4380034" y="972842"/>
                  <a:pt x="4374295" y="965668"/>
                  <a:pt x="4374295" y="958492"/>
                </a:cubicBezTo>
                <a:close/>
                <a:moveTo>
                  <a:pt x="1648048" y="958492"/>
                </a:moveTo>
                <a:cubicBezTo>
                  <a:pt x="1648048" y="971886"/>
                  <a:pt x="1640873" y="971886"/>
                  <a:pt x="1633698" y="978582"/>
                </a:cubicBezTo>
                <a:cubicBezTo>
                  <a:pt x="1633698" y="965188"/>
                  <a:pt x="1640873" y="965188"/>
                  <a:pt x="1648048" y="958492"/>
                </a:cubicBezTo>
                <a:close/>
                <a:moveTo>
                  <a:pt x="2540734" y="958255"/>
                </a:moveTo>
                <a:cubicBezTo>
                  <a:pt x="2546833" y="958255"/>
                  <a:pt x="2540734" y="970552"/>
                  <a:pt x="2540734" y="970552"/>
                </a:cubicBezTo>
                <a:cubicBezTo>
                  <a:pt x="2540734" y="976702"/>
                  <a:pt x="2534636" y="970552"/>
                  <a:pt x="2528537" y="970552"/>
                </a:cubicBezTo>
                <a:lnTo>
                  <a:pt x="2528537" y="972505"/>
                </a:lnTo>
                <a:lnTo>
                  <a:pt x="2532516" y="972591"/>
                </a:lnTo>
                <a:cubicBezTo>
                  <a:pt x="2535131" y="973896"/>
                  <a:pt x="2537373" y="976878"/>
                  <a:pt x="2538868" y="982842"/>
                </a:cubicBezTo>
                <a:cubicBezTo>
                  <a:pt x="2535879" y="982842"/>
                  <a:pt x="2534384" y="982842"/>
                  <a:pt x="2532889" y="982842"/>
                </a:cubicBezTo>
                <a:lnTo>
                  <a:pt x="2528537" y="982842"/>
                </a:lnTo>
                <a:lnTo>
                  <a:pt x="2528537" y="982852"/>
                </a:lnTo>
                <a:lnTo>
                  <a:pt x="2526926" y="982852"/>
                </a:lnTo>
                <a:lnTo>
                  <a:pt x="2531395" y="985824"/>
                </a:lnTo>
                <a:cubicBezTo>
                  <a:pt x="2531395" y="987315"/>
                  <a:pt x="2529900" y="988806"/>
                  <a:pt x="2526911" y="988806"/>
                </a:cubicBezTo>
                <a:cubicBezTo>
                  <a:pt x="2532889" y="994769"/>
                  <a:pt x="2538868" y="982842"/>
                  <a:pt x="2544846" y="982842"/>
                </a:cubicBezTo>
                <a:cubicBezTo>
                  <a:pt x="2543351" y="978369"/>
                  <a:pt x="2544099" y="974268"/>
                  <a:pt x="2546247" y="970448"/>
                </a:cubicBezTo>
                <a:lnTo>
                  <a:pt x="2555790" y="960020"/>
                </a:lnTo>
                <a:lnTo>
                  <a:pt x="2552930" y="960560"/>
                </a:lnTo>
                <a:cubicBezTo>
                  <a:pt x="2549881" y="961329"/>
                  <a:pt x="2546832" y="961329"/>
                  <a:pt x="2540734" y="958255"/>
                </a:cubicBezTo>
                <a:close/>
                <a:moveTo>
                  <a:pt x="4676223" y="957160"/>
                </a:moveTo>
                <a:lnTo>
                  <a:pt x="4674335" y="963569"/>
                </a:lnTo>
                <a:cubicBezTo>
                  <a:pt x="4674336" y="964337"/>
                  <a:pt x="4674336" y="962799"/>
                  <a:pt x="4671390" y="959724"/>
                </a:cubicBezTo>
                <a:cubicBezTo>
                  <a:pt x="4659608" y="978173"/>
                  <a:pt x="4647828" y="965873"/>
                  <a:pt x="4636047" y="978173"/>
                </a:cubicBezTo>
                <a:cubicBezTo>
                  <a:pt x="4636047" y="978173"/>
                  <a:pt x="4636047" y="972023"/>
                  <a:pt x="4636047" y="972023"/>
                </a:cubicBezTo>
                <a:cubicBezTo>
                  <a:pt x="4630155" y="984323"/>
                  <a:pt x="4624265" y="972023"/>
                  <a:pt x="4612484" y="978173"/>
                </a:cubicBezTo>
                <a:close/>
                <a:moveTo>
                  <a:pt x="4683340" y="954814"/>
                </a:moveTo>
                <a:lnTo>
                  <a:pt x="4683908" y="958955"/>
                </a:lnTo>
                <a:cubicBezTo>
                  <a:pt x="4684644" y="961262"/>
                  <a:pt x="4686115" y="962799"/>
                  <a:pt x="4689061" y="959724"/>
                </a:cubicBezTo>
                <a:cubicBezTo>
                  <a:pt x="4689061" y="962799"/>
                  <a:pt x="4686115" y="964337"/>
                  <a:pt x="4683171" y="963569"/>
                </a:cubicBezTo>
                <a:lnTo>
                  <a:pt x="4678877" y="956285"/>
                </a:lnTo>
                <a:close/>
                <a:moveTo>
                  <a:pt x="4677281" y="953575"/>
                </a:moveTo>
                <a:lnTo>
                  <a:pt x="4678877" y="956285"/>
                </a:lnTo>
                <a:lnTo>
                  <a:pt x="4676223" y="957160"/>
                </a:lnTo>
                <a:close/>
                <a:moveTo>
                  <a:pt x="2238404" y="952979"/>
                </a:moveTo>
                <a:cubicBezTo>
                  <a:pt x="2239929" y="952037"/>
                  <a:pt x="2242081" y="952037"/>
                  <a:pt x="2244950" y="953711"/>
                </a:cubicBezTo>
                <a:cubicBezTo>
                  <a:pt x="2244950" y="953711"/>
                  <a:pt x="2239211" y="960409"/>
                  <a:pt x="2239211" y="960409"/>
                </a:cubicBezTo>
                <a:cubicBezTo>
                  <a:pt x="2239211" y="960409"/>
                  <a:pt x="2239211" y="967104"/>
                  <a:pt x="2239211" y="967104"/>
                </a:cubicBezTo>
                <a:cubicBezTo>
                  <a:pt x="2234906" y="967104"/>
                  <a:pt x="2233831" y="955804"/>
                  <a:pt x="2238404" y="952979"/>
                </a:cubicBezTo>
                <a:close/>
                <a:moveTo>
                  <a:pt x="4690518" y="952448"/>
                </a:moveTo>
                <a:lnTo>
                  <a:pt x="4683340" y="954814"/>
                </a:lnTo>
                <a:lnTo>
                  <a:pt x="4683171" y="953575"/>
                </a:lnTo>
                <a:close/>
                <a:moveTo>
                  <a:pt x="2495072" y="950710"/>
                </a:moveTo>
                <a:lnTo>
                  <a:pt x="2494256" y="951438"/>
                </a:lnTo>
                <a:lnTo>
                  <a:pt x="2494605" y="951404"/>
                </a:lnTo>
                <a:close/>
                <a:moveTo>
                  <a:pt x="1563149" y="949102"/>
                </a:moveTo>
                <a:cubicBezTo>
                  <a:pt x="1569128" y="961102"/>
                  <a:pt x="1581085" y="943101"/>
                  <a:pt x="1581085" y="955101"/>
                </a:cubicBezTo>
                <a:cubicBezTo>
                  <a:pt x="1575107" y="967102"/>
                  <a:pt x="1563149" y="961102"/>
                  <a:pt x="1557171" y="967102"/>
                </a:cubicBezTo>
                <a:cubicBezTo>
                  <a:pt x="1551193" y="955101"/>
                  <a:pt x="1563149" y="961102"/>
                  <a:pt x="1563149" y="949102"/>
                </a:cubicBezTo>
                <a:close/>
                <a:moveTo>
                  <a:pt x="2318413" y="948153"/>
                </a:moveTo>
                <a:lnTo>
                  <a:pt x="2316979" y="949247"/>
                </a:lnTo>
                <a:lnTo>
                  <a:pt x="2316178" y="948448"/>
                </a:lnTo>
                <a:close/>
                <a:moveTo>
                  <a:pt x="4374116" y="947057"/>
                </a:moveTo>
                <a:lnTo>
                  <a:pt x="4374998" y="947937"/>
                </a:lnTo>
                <a:lnTo>
                  <a:pt x="4374116" y="948271"/>
                </a:lnTo>
                <a:close/>
                <a:moveTo>
                  <a:pt x="2089986" y="947014"/>
                </a:moveTo>
                <a:cubicBezTo>
                  <a:pt x="2089986" y="958492"/>
                  <a:pt x="2077072" y="958492"/>
                  <a:pt x="2070615" y="958492"/>
                </a:cubicBezTo>
                <a:cubicBezTo>
                  <a:pt x="2064158" y="952753"/>
                  <a:pt x="2083529" y="952753"/>
                  <a:pt x="2089986" y="947014"/>
                </a:cubicBezTo>
                <a:close/>
                <a:moveTo>
                  <a:pt x="1759966" y="947014"/>
                </a:moveTo>
                <a:cubicBezTo>
                  <a:pt x="1759966" y="952753"/>
                  <a:pt x="1754227" y="952753"/>
                  <a:pt x="1748488" y="958492"/>
                </a:cubicBezTo>
                <a:cubicBezTo>
                  <a:pt x="1742748" y="947014"/>
                  <a:pt x="1759966" y="947014"/>
                  <a:pt x="1759966" y="947014"/>
                </a:cubicBezTo>
                <a:close/>
                <a:moveTo>
                  <a:pt x="1737547" y="945578"/>
                </a:moveTo>
                <a:cubicBezTo>
                  <a:pt x="1739519" y="945220"/>
                  <a:pt x="1741313" y="945578"/>
                  <a:pt x="1742748" y="947014"/>
                </a:cubicBezTo>
                <a:cubicBezTo>
                  <a:pt x="1737008" y="952753"/>
                  <a:pt x="1731269" y="958492"/>
                  <a:pt x="1719790" y="958492"/>
                </a:cubicBezTo>
                <a:cubicBezTo>
                  <a:pt x="1724095" y="954187"/>
                  <a:pt x="1731628" y="946655"/>
                  <a:pt x="1737547" y="945578"/>
                </a:cubicBezTo>
                <a:close/>
                <a:moveTo>
                  <a:pt x="2304112" y="942422"/>
                </a:moveTo>
                <a:cubicBezTo>
                  <a:pt x="2310144" y="942422"/>
                  <a:pt x="2298078" y="954476"/>
                  <a:pt x="2310144" y="954476"/>
                </a:cubicBezTo>
                <a:lnTo>
                  <a:pt x="2316979" y="949247"/>
                </a:lnTo>
                <a:lnTo>
                  <a:pt x="2322212" y="954476"/>
                </a:lnTo>
                <a:cubicBezTo>
                  <a:pt x="2328247" y="966527"/>
                  <a:pt x="2310144" y="954476"/>
                  <a:pt x="2310144" y="966527"/>
                </a:cubicBezTo>
                <a:cubicBezTo>
                  <a:pt x="2310144" y="966527"/>
                  <a:pt x="2310144" y="960503"/>
                  <a:pt x="2304112" y="954476"/>
                </a:cubicBezTo>
                <a:cubicBezTo>
                  <a:pt x="2304112" y="960503"/>
                  <a:pt x="2298078" y="960503"/>
                  <a:pt x="2292043" y="960503"/>
                </a:cubicBezTo>
                <a:cubicBezTo>
                  <a:pt x="2304112" y="972555"/>
                  <a:pt x="2286009" y="972555"/>
                  <a:pt x="2279975" y="978582"/>
                </a:cubicBezTo>
                <a:cubicBezTo>
                  <a:pt x="2273943" y="972555"/>
                  <a:pt x="2273943" y="966527"/>
                  <a:pt x="2267909" y="966527"/>
                </a:cubicBezTo>
                <a:cubicBezTo>
                  <a:pt x="2267909" y="960503"/>
                  <a:pt x="2279975" y="966527"/>
                  <a:pt x="2279975" y="960503"/>
                </a:cubicBezTo>
                <a:cubicBezTo>
                  <a:pt x="2279975" y="960503"/>
                  <a:pt x="2279975" y="966527"/>
                  <a:pt x="2279975" y="966527"/>
                </a:cubicBezTo>
                <a:cubicBezTo>
                  <a:pt x="2292043" y="960503"/>
                  <a:pt x="2298078" y="954476"/>
                  <a:pt x="2304112" y="942422"/>
                </a:cubicBezTo>
                <a:close/>
                <a:moveTo>
                  <a:pt x="4724404" y="941276"/>
                </a:moveTo>
                <a:cubicBezTo>
                  <a:pt x="4721460" y="944351"/>
                  <a:pt x="4715569" y="947425"/>
                  <a:pt x="4708206" y="949732"/>
                </a:cubicBezTo>
                <a:lnTo>
                  <a:pt x="4690518" y="952448"/>
                </a:lnTo>
                <a:close/>
                <a:moveTo>
                  <a:pt x="4882237" y="941274"/>
                </a:moveTo>
                <a:cubicBezTo>
                  <a:pt x="4882237" y="941274"/>
                  <a:pt x="4882237" y="941274"/>
                  <a:pt x="4887976" y="941274"/>
                </a:cubicBezTo>
                <a:cubicBezTo>
                  <a:pt x="4887976" y="952753"/>
                  <a:pt x="4887976" y="947014"/>
                  <a:pt x="4899455" y="941274"/>
                </a:cubicBezTo>
                <a:cubicBezTo>
                  <a:pt x="4905195" y="952753"/>
                  <a:pt x="4887976" y="958492"/>
                  <a:pt x="4882237" y="952753"/>
                </a:cubicBezTo>
                <a:cubicBezTo>
                  <a:pt x="4882237" y="952753"/>
                  <a:pt x="4887976" y="941274"/>
                  <a:pt x="4882237" y="941274"/>
                </a:cubicBezTo>
                <a:close/>
                <a:moveTo>
                  <a:pt x="2178948" y="941274"/>
                </a:moveTo>
                <a:cubicBezTo>
                  <a:pt x="2173208" y="941274"/>
                  <a:pt x="2173208" y="947731"/>
                  <a:pt x="2178948" y="947731"/>
                </a:cubicBezTo>
                <a:cubicBezTo>
                  <a:pt x="2178948" y="960645"/>
                  <a:pt x="2161729" y="960645"/>
                  <a:pt x="2150250" y="967102"/>
                </a:cubicBezTo>
                <a:cubicBezTo>
                  <a:pt x="2150250" y="960645"/>
                  <a:pt x="2161729" y="960645"/>
                  <a:pt x="2167469" y="954188"/>
                </a:cubicBezTo>
                <a:cubicBezTo>
                  <a:pt x="2155990" y="947731"/>
                  <a:pt x="2167469" y="947731"/>
                  <a:pt x="2178948" y="941274"/>
                </a:cubicBezTo>
                <a:close/>
                <a:moveTo>
                  <a:pt x="1648048" y="941274"/>
                </a:moveTo>
                <a:cubicBezTo>
                  <a:pt x="1648048" y="952753"/>
                  <a:pt x="1634654" y="952753"/>
                  <a:pt x="1627959" y="952753"/>
                </a:cubicBezTo>
                <a:cubicBezTo>
                  <a:pt x="1627959" y="947014"/>
                  <a:pt x="1641350" y="941274"/>
                  <a:pt x="1648048" y="941274"/>
                </a:cubicBezTo>
                <a:close/>
                <a:moveTo>
                  <a:pt x="4541499" y="941093"/>
                </a:moveTo>
                <a:lnTo>
                  <a:pt x="4536050" y="947208"/>
                </a:lnTo>
                <a:lnTo>
                  <a:pt x="4536269" y="944820"/>
                </a:lnTo>
                <a:cubicBezTo>
                  <a:pt x="4538511" y="944076"/>
                  <a:pt x="4541499" y="944076"/>
                  <a:pt x="4541499" y="941093"/>
                </a:cubicBezTo>
                <a:close/>
                <a:moveTo>
                  <a:pt x="1690374" y="936969"/>
                </a:moveTo>
                <a:cubicBezTo>
                  <a:pt x="1692527" y="936969"/>
                  <a:pt x="1693962" y="938404"/>
                  <a:pt x="1693962" y="941274"/>
                </a:cubicBezTo>
                <a:cubicBezTo>
                  <a:pt x="1688222" y="947014"/>
                  <a:pt x="1688222" y="947014"/>
                  <a:pt x="1682482" y="947014"/>
                </a:cubicBezTo>
                <a:cubicBezTo>
                  <a:pt x="1682482" y="947014"/>
                  <a:pt x="1682482" y="941274"/>
                  <a:pt x="1682482" y="941274"/>
                </a:cubicBezTo>
                <a:cubicBezTo>
                  <a:pt x="1685353" y="938404"/>
                  <a:pt x="1688222" y="936969"/>
                  <a:pt x="1690374" y="936969"/>
                </a:cubicBezTo>
                <a:close/>
                <a:moveTo>
                  <a:pt x="4568954" y="935130"/>
                </a:moveTo>
                <a:lnTo>
                  <a:pt x="4569544" y="935323"/>
                </a:lnTo>
                <a:lnTo>
                  <a:pt x="4569437" y="935536"/>
                </a:lnTo>
                <a:close/>
                <a:moveTo>
                  <a:pt x="4278466" y="935130"/>
                </a:moveTo>
                <a:lnTo>
                  <a:pt x="4277979" y="936010"/>
                </a:lnTo>
                <a:lnTo>
                  <a:pt x="4279802" y="937211"/>
                </a:lnTo>
                <a:lnTo>
                  <a:pt x="4282138" y="936004"/>
                </a:lnTo>
                <a:close/>
                <a:moveTo>
                  <a:pt x="4565491" y="932218"/>
                </a:moveTo>
                <a:lnTo>
                  <a:pt x="4568954" y="935130"/>
                </a:lnTo>
                <a:lnTo>
                  <a:pt x="4568004" y="934818"/>
                </a:lnTo>
                <a:cubicBezTo>
                  <a:pt x="4566568" y="933742"/>
                  <a:pt x="4565492" y="932486"/>
                  <a:pt x="4565491" y="932218"/>
                </a:cubicBezTo>
                <a:close/>
                <a:moveTo>
                  <a:pt x="4296817" y="930461"/>
                </a:moveTo>
                <a:lnTo>
                  <a:pt x="4292664" y="933638"/>
                </a:lnTo>
                <a:lnTo>
                  <a:pt x="4287433" y="935603"/>
                </a:lnTo>
                <a:lnTo>
                  <a:pt x="4286527" y="939728"/>
                </a:lnTo>
                <a:cubicBezTo>
                  <a:pt x="4289517" y="936746"/>
                  <a:pt x="4292506" y="935255"/>
                  <a:pt x="4294747" y="933764"/>
                </a:cubicBezTo>
                <a:close/>
                <a:moveTo>
                  <a:pt x="1626991" y="925672"/>
                </a:moveTo>
                <a:lnTo>
                  <a:pt x="1622935" y="931101"/>
                </a:lnTo>
                <a:lnTo>
                  <a:pt x="1623563" y="926691"/>
                </a:lnTo>
                <a:close/>
                <a:moveTo>
                  <a:pt x="1628915" y="925101"/>
                </a:moveTo>
                <a:lnTo>
                  <a:pt x="1626991" y="925672"/>
                </a:lnTo>
                <a:lnTo>
                  <a:pt x="1627239" y="925341"/>
                </a:lnTo>
                <a:close/>
                <a:moveTo>
                  <a:pt x="2629491" y="923548"/>
                </a:moveTo>
                <a:lnTo>
                  <a:pt x="2624550" y="926935"/>
                </a:lnTo>
                <a:lnTo>
                  <a:pt x="2628538" y="929166"/>
                </a:lnTo>
                <a:close/>
                <a:moveTo>
                  <a:pt x="2411147" y="923483"/>
                </a:moveTo>
                <a:cubicBezTo>
                  <a:pt x="2412313" y="924022"/>
                  <a:pt x="2413030" y="925456"/>
                  <a:pt x="2413030" y="928326"/>
                </a:cubicBezTo>
                <a:cubicBezTo>
                  <a:pt x="2407291" y="928326"/>
                  <a:pt x="2395812" y="939805"/>
                  <a:pt x="2395812" y="928326"/>
                </a:cubicBezTo>
                <a:cubicBezTo>
                  <a:pt x="2398683" y="928326"/>
                  <a:pt x="2402987" y="925455"/>
                  <a:pt x="2406573" y="924022"/>
                </a:cubicBezTo>
                <a:cubicBezTo>
                  <a:pt x="2408367" y="923304"/>
                  <a:pt x="2409981" y="922945"/>
                  <a:pt x="2411147" y="923483"/>
                </a:cubicBezTo>
                <a:close/>
                <a:moveTo>
                  <a:pt x="4300828" y="923285"/>
                </a:moveTo>
                <a:lnTo>
                  <a:pt x="4296780" y="924901"/>
                </a:lnTo>
                <a:lnTo>
                  <a:pt x="4297335" y="927395"/>
                </a:lnTo>
                <a:cubicBezTo>
                  <a:pt x="4297895" y="927488"/>
                  <a:pt x="4298643" y="926556"/>
                  <a:pt x="4299390" y="925438"/>
                </a:cubicBezTo>
                <a:close/>
                <a:moveTo>
                  <a:pt x="4892998" y="922620"/>
                </a:moveTo>
                <a:cubicBezTo>
                  <a:pt x="4896587" y="922620"/>
                  <a:pt x="4899455" y="924056"/>
                  <a:pt x="4899455" y="929795"/>
                </a:cubicBezTo>
                <a:cubicBezTo>
                  <a:pt x="4893716" y="929795"/>
                  <a:pt x="4882237" y="935534"/>
                  <a:pt x="4882237" y="924056"/>
                </a:cubicBezTo>
                <a:cubicBezTo>
                  <a:pt x="4885108" y="924056"/>
                  <a:pt x="4889412" y="922620"/>
                  <a:pt x="4892998" y="922620"/>
                </a:cubicBezTo>
                <a:close/>
                <a:moveTo>
                  <a:pt x="2450338" y="922586"/>
                </a:moveTo>
                <a:cubicBezTo>
                  <a:pt x="2450338" y="928326"/>
                  <a:pt x="2444599" y="928326"/>
                  <a:pt x="2444599" y="934066"/>
                </a:cubicBezTo>
                <a:cubicBezTo>
                  <a:pt x="2438859" y="934066"/>
                  <a:pt x="2427379" y="939805"/>
                  <a:pt x="2433119" y="951284"/>
                </a:cubicBezTo>
                <a:cubicBezTo>
                  <a:pt x="2421640" y="951284"/>
                  <a:pt x="2433119" y="934066"/>
                  <a:pt x="2427379" y="934066"/>
                </a:cubicBezTo>
                <a:cubicBezTo>
                  <a:pt x="2433119" y="928326"/>
                  <a:pt x="2444599" y="922586"/>
                  <a:pt x="2450338" y="922586"/>
                </a:cubicBezTo>
                <a:close/>
                <a:moveTo>
                  <a:pt x="4576791" y="920918"/>
                </a:moveTo>
                <a:cubicBezTo>
                  <a:pt x="4576253" y="922264"/>
                  <a:pt x="4570872" y="934102"/>
                  <a:pt x="4575176" y="929797"/>
                </a:cubicBezTo>
                <a:cubicBezTo>
                  <a:pt x="4575176" y="934101"/>
                  <a:pt x="4574101" y="935894"/>
                  <a:pt x="4572665" y="936342"/>
                </a:cubicBezTo>
                <a:lnTo>
                  <a:pt x="4569544" y="935323"/>
                </a:lnTo>
                <a:lnTo>
                  <a:pt x="4575176" y="924057"/>
                </a:lnTo>
                <a:cubicBezTo>
                  <a:pt x="4576611" y="921187"/>
                  <a:pt x="4576970" y="920470"/>
                  <a:pt x="4576791" y="920918"/>
                </a:cubicBezTo>
                <a:close/>
                <a:moveTo>
                  <a:pt x="3863368" y="920595"/>
                </a:moveTo>
                <a:lnTo>
                  <a:pt x="3860754" y="923947"/>
                </a:lnTo>
                <a:lnTo>
                  <a:pt x="3860345" y="930066"/>
                </a:lnTo>
                <a:lnTo>
                  <a:pt x="3860008" y="929166"/>
                </a:lnTo>
                <a:cubicBezTo>
                  <a:pt x="3860008" y="929166"/>
                  <a:pt x="3860008" y="935130"/>
                  <a:pt x="3860008" y="935130"/>
                </a:cubicBezTo>
                <a:lnTo>
                  <a:pt x="3860345" y="930066"/>
                </a:lnTo>
                <a:lnTo>
                  <a:pt x="3862250" y="935130"/>
                </a:lnTo>
                <a:lnTo>
                  <a:pt x="3860129" y="936796"/>
                </a:lnTo>
                <a:lnTo>
                  <a:pt x="3862088" y="939728"/>
                </a:lnTo>
                <a:close/>
                <a:moveTo>
                  <a:pt x="2293737" y="918316"/>
                </a:moveTo>
                <a:cubicBezTo>
                  <a:pt x="2310956" y="918316"/>
                  <a:pt x="2310956" y="929795"/>
                  <a:pt x="2293737" y="935534"/>
                </a:cubicBezTo>
                <a:lnTo>
                  <a:pt x="2293737" y="924056"/>
                </a:lnTo>
                <a:close/>
                <a:moveTo>
                  <a:pt x="2269896" y="912577"/>
                </a:moveTo>
                <a:lnTo>
                  <a:pt x="2275111" y="917599"/>
                </a:lnTo>
                <a:cubicBezTo>
                  <a:pt x="2275856" y="918316"/>
                  <a:pt x="2275856" y="918316"/>
                  <a:pt x="2275856" y="918316"/>
                </a:cubicBezTo>
                <a:cubicBezTo>
                  <a:pt x="2275856" y="924056"/>
                  <a:pt x="2287777" y="906837"/>
                  <a:pt x="2293737" y="924056"/>
                </a:cubicBezTo>
                <a:cubicBezTo>
                  <a:pt x="2275856" y="918316"/>
                  <a:pt x="2275856" y="935534"/>
                  <a:pt x="2263936" y="941274"/>
                </a:cubicBezTo>
                <a:cubicBezTo>
                  <a:pt x="2263936" y="935534"/>
                  <a:pt x="2263936" y="935534"/>
                  <a:pt x="2263936" y="935534"/>
                </a:cubicBezTo>
                <a:cubicBezTo>
                  <a:pt x="2246055" y="935534"/>
                  <a:pt x="2240094" y="947014"/>
                  <a:pt x="2222213" y="952753"/>
                </a:cubicBezTo>
                <a:cubicBezTo>
                  <a:pt x="2216253" y="935534"/>
                  <a:pt x="2240094" y="941274"/>
                  <a:pt x="2234134" y="924056"/>
                </a:cubicBezTo>
                <a:cubicBezTo>
                  <a:pt x="2246054" y="921186"/>
                  <a:pt x="2253505" y="918316"/>
                  <a:pt x="2260955" y="915446"/>
                </a:cubicBezTo>
                <a:close/>
                <a:moveTo>
                  <a:pt x="2269900" y="912576"/>
                </a:moveTo>
                <a:lnTo>
                  <a:pt x="2269896" y="912577"/>
                </a:lnTo>
                <a:lnTo>
                  <a:pt x="2269896" y="912576"/>
                </a:lnTo>
                <a:close/>
                <a:moveTo>
                  <a:pt x="4475741" y="911680"/>
                </a:moveTo>
                <a:lnTo>
                  <a:pt x="4475741" y="917237"/>
                </a:lnTo>
                <a:cubicBezTo>
                  <a:pt x="4487697" y="923200"/>
                  <a:pt x="4469763" y="935130"/>
                  <a:pt x="4487697" y="929166"/>
                </a:cubicBezTo>
                <a:cubicBezTo>
                  <a:pt x="4487697" y="935130"/>
                  <a:pt x="4481719" y="935130"/>
                  <a:pt x="4481719" y="935130"/>
                </a:cubicBezTo>
                <a:cubicBezTo>
                  <a:pt x="4475741" y="929166"/>
                  <a:pt x="4475741" y="923200"/>
                  <a:pt x="4469763" y="923200"/>
                </a:cubicBezTo>
                <a:cubicBezTo>
                  <a:pt x="4463785" y="923200"/>
                  <a:pt x="4463785" y="935130"/>
                  <a:pt x="4469763" y="929166"/>
                </a:cubicBezTo>
                <a:cubicBezTo>
                  <a:pt x="4469763" y="941093"/>
                  <a:pt x="4463785" y="929166"/>
                  <a:pt x="4457808" y="935130"/>
                </a:cubicBezTo>
                <a:cubicBezTo>
                  <a:pt x="4457808" y="929166"/>
                  <a:pt x="4463785" y="929166"/>
                  <a:pt x="4463785" y="929166"/>
                </a:cubicBezTo>
                <a:cubicBezTo>
                  <a:pt x="4454819" y="929166"/>
                  <a:pt x="4444357" y="929166"/>
                  <a:pt x="4436137" y="930655"/>
                </a:cubicBezTo>
                <a:lnTo>
                  <a:pt x="4428839" y="936021"/>
                </a:lnTo>
                <a:lnTo>
                  <a:pt x="4436783" y="937689"/>
                </a:lnTo>
                <a:cubicBezTo>
                  <a:pt x="4440730" y="936972"/>
                  <a:pt x="4445466" y="935536"/>
                  <a:pt x="4451778" y="935536"/>
                </a:cubicBezTo>
                <a:cubicBezTo>
                  <a:pt x="4442308" y="944145"/>
                  <a:pt x="4439941" y="946298"/>
                  <a:pt x="4431358" y="946836"/>
                </a:cubicBezTo>
                <a:lnTo>
                  <a:pt x="4427342" y="946901"/>
                </a:lnTo>
                <a:lnTo>
                  <a:pt x="4421194" y="945228"/>
                </a:lnTo>
                <a:lnTo>
                  <a:pt x="4424506" y="939208"/>
                </a:lnTo>
                <a:lnTo>
                  <a:pt x="4421939" y="941093"/>
                </a:lnTo>
                <a:cubicBezTo>
                  <a:pt x="4421939" y="941093"/>
                  <a:pt x="4415961" y="941093"/>
                  <a:pt x="4415961" y="935130"/>
                </a:cubicBezTo>
                <a:cubicBezTo>
                  <a:pt x="4409983" y="941093"/>
                  <a:pt x="4398026" y="941093"/>
                  <a:pt x="4404005" y="947057"/>
                </a:cubicBezTo>
                <a:cubicBezTo>
                  <a:pt x="4404005" y="944075"/>
                  <a:pt x="4406994" y="942584"/>
                  <a:pt x="4411477" y="942584"/>
                </a:cubicBezTo>
                <a:lnTo>
                  <a:pt x="4421194" y="945228"/>
                </a:lnTo>
                <a:lnTo>
                  <a:pt x="4420210" y="947015"/>
                </a:lnTo>
                <a:lnTo>
                  <a:pt x="4427342" y="946901"/>
                </a:lnTo>
                <a:lnTo>
                  <a:pt x="4427917" y="947057"/>
                </a:lnTo>
                <a:cubicBezTo>
                  <a:pt x="4421939" y="958986"/>
                  <a:pt x="4404005" y="947057"/>
                  <a:pt x="4404005" y="958986"/>
                </a:cubicBezTo>
                <a:cubicBezTo>
                  <a:pt x="4398026" y="958986"/>
                  <a:pt x="4398026" y="941093"/>
                  <a:pt x="4386070" y="947057"/>
                </a:cubicBezTo>
                <a:cubicBezTo>
                  <a:pt x="4386070" y="953021"/>
                  <a:pt x="4392048" y="958986"/>
                  <a:pt x="4398026" y="953021"/>
                </a:cubicBezTo>
                <a:cubicBezTo>
                  <a:pt x="4404005" y="964949"/>
                  <a:pt x="4386070" y="947057"/>
                  <a:pt x="4392048" y="964949"/>
                </a:cubicBezTo>
                <a:cubicBezTo>
                  <a:pt x="4380094" y="958986"/>
                  <a:pt x="4380094" y="958986"/>
                  <a:pt x="4380094" y="953021"/>
                </a:cubicBezTo>
                <a:lnTo>
                  <a:pt x="4374998" y="947937"/>
                </a:lnTo>
                <a:lnTo>
                  <a:pt x="4395038" y="940349"/>
                </a:lnTo>
                <a:close/>
                <a:moveTo>
                  <a:pt x="4475741" y="911273"/>
                </a:moveTo>
                <a:lnTo>
                  <a:pt x="4476353" y="911463"/>
                </a:lnTo>
                <a:lnTo>
                  <a:pt x="4475741" y="911680"/>
                </a:lnTo>
                <a:close/>
                <a:moveTo>
                  <a:pt x="4096467" y="910617"/>
                </a:moveTo>
                <a:lnTo>
                  <a:pt x="4092055" y="912423"/>
                </a:lnTo>
                <a:lnTo>
                  <a:pt x="4074864" y="920640"/>
                </a:lnTo>
                <a:lnTo>
                  <a:pt x="4093150" y="917237"/>
                </a:lnTo>
                <a:cubicBezTo>
                  <a:pt x="4093150" y="914255"/>
                  <a:pt x="4094644" y="912764"/>
                  <a:pt x="4096138" y="911273"/>
                </a:cubicBezTo>
                <a:close/>
                <a:moveTo>
                  <a:pt x="2533792" y="910263"/>
                </a:moveTo>
                <a:lnTo>
                  <a:pt x="2527507" y="915849"/>
                </a:lnTo>
                <a:lnTo>
                  <a:pt x="2526911" y="917237"/>
                </a:lnTo>
                <a:cubicBezTo>
                  <a:pt x="2529900" y="917237"/>
                  <a:pt x="2532889" y="915746"/>
                  <a:pt x="2534384" y="913510"/>
                </a:cubicBezTo>
                <a:close/>
                <a:moveTo>
                  <a:pt x="2555938" y="907823"/>
                </a:moveTo>
                <a:lnTo>
                  <a:pt x="2553533" y="909266"/>
                </a:lnTo>
                <a:lnTo>
                  <a:pt x="2556802" y="911273"/>
                </a:lnTo>
                <a:close/>
                <a:moveTo>
                  <a:pt x="2287777" y="906837"/>
                </a:moveTo>
                <a:cubicBezTo>
                  <a:pt x="2290757" y="906837"/>
                  <a:pt x="2287777" y="908272"/>
                  <a:pt x="2283306" y="909707"/>
                </a:cubicBezTo>
                <a:lnTo>
                  <a:pt x="2269900" y="912576"/>
                </a:lnTo>
                <a:close/>
                <a:moveTo>
                  <a:pt x="1748488" y="906837"/>
                </a:moveTo>
                <a:cubicBezTo>
                  <a:pt x="1742748" y="918316"/>
                  <a:pt x="1731269" y="924056"/>
                  <a:pt x="1719790" y="924056"/>
                </a:cubicBezTo>
                <a:cubicBezTo>
                  <a:pt x="1719790" y="912576"/>
                  <a:pt x="1737008" y="912576"/>
                  <a:pt x="1748488" y="906837"/>
                </a:cubicBezTo>
                <a:close/>
                <a:moveTo>
                  <a:pt x="2450338" y="905368"/>
                </a:moveTo>
                <a:cubicBezTo>
                  <a:pt x="2456077" y="916847"/>
                  <a:pt x="2450338" y="911108"/>
                  <a:pt x="2438859" y="916847"/>
                </a:cubicBezTo>
                <a:cubicBezTo>
                  <a:pt x="2438859" y="911108"/>
                  <a:pt x="2444599" y="911108"/>
                  <a:pt x="2450338" y="905368"/>
                </a:cubicBezTo>
                <a:close/>
                <a:moveTo>
                  <a:pt x="4111083" y="904631"/>
                </a:moveTo>
                <a:lnTo>
                  <a:pt x="4107905" y="905933"/>
                </a:lnTo>
                <a:lnTo>
                  <a:pt x="4111083" y="911273"/>
                </a:lnTo>
                <a:cubicBezTo>
                  <a:pt x="4111083" y="908292"/>
                  <a:pt x="4111083" y="906801"/>
                  <a:pt x="4111083" y="905309"/>
                </a:cubicBezTo>
                <a:close/>
                <a:moveTo>
                  <a:pt x="3838176" y="903944"/>
                </a:moveTo>
                <a:lnTo>
                  <a:pt x="3839953" y="904750"/>
                </a:lnTo>
                <a:lnTo>
                  <a:pt x="3838176" y="905932"/>
                </a:lnTo>
                <a:close/>
                <a:moveTo>
                  <a:pt x="4700149" y="903880"/>
                </a:moveTo>
                <a:lnTo>
                  <a:pt x="4703328" y="904466"/>
                </a:lnTo>
                <a:lnTo>
                  <a:pt x="4696391" y="911501"/>
                </a:lnTo>
                <a:cubicBezTo>
                  <a:pt x="4696391" y="905403"/>
                  <a:pt x="4697892" y="903880"/>
                  <a:pt x="4700149" y="903880"/>
                </a:cubicBezTo>
                <a:close/>
                <a:moveTo>
                  <a:pt x="4704407" y="903370"/>
                </a:moveTo>
                <a:lnTo>
                  <a:pt x="4708415" y="905403"/>
                </a:lnTo>
                <a:lnTo>
                  <a:pt x="4703328" y="904466"/>
                </a:lnTo>
                <a:close/>
                <a:moveTo>
                  <a:pt x="4761710" y="901100"/>
                </a:moveTo>
                <a:cubicBezTo>
                  <a:pt x="4737710" y="906839"/>
                  <a:pt x="4719708" y="912578"/>
                  <a:pt x="4695705" y="929797"/>
                </a:cubicBezTo>
                <a:cubicBezTo>
                  <a:pt x="4695705" y="924057"/>
                  <a:pt x="4695705" y="924057"/>
                  <a:pt x="4695705" y="924057"/>
                </a:cubicBezTo>
                <a:cubicBezTo>
                  <a:pt x="4701707" y="912578"/>
                  <a:pt x="4737710" y="901100"/>
                  <a:pt x="4761710" y="901100"/>
                </a:cubicBezTo>
                <a:close/>
                <a:moveTo>
                  <a:pt x="1737008" y="901098"/>
                </a:moveTo>
                <a:cubicBezTo>
                  <a:pt x="1737008" y="912576"/>
                  <a:pt x="1712136" y="912576"/>
                  <a:pt x="1699701" y="918316"/>
                </a:cubicBezTo>
                <a:cubicBezTo>
                  <a:pt x="1699701" y="906837"/>
                  <a:pt x="1730790" y="906837"/>
                  <a:pt x="1737008" y="901098"/>
                </a:cubicBezTo>
                <a:close/>
                <a:moveTo>
                  <a:pt x="2550498" y="899867"/>
                </a:moveTo>
                <a:lnTo>
                  <a:pt x="2547088" y="905309"/>
                </a:lnTo>
                <a:lnTo>
                  <a:pt x="2548475" y="906161"/>
                </a:lnTo>
                <a:lnTo>
                  <a:pt x="2549981" y="901474"/>
                </a:lnTo>
                <a:close/>
                <a:moveTo>
                  <a:pt x="2492667" y="899629"/>
                </a:moveTo>
                <a:cubicBezTo>
                  <a:pt x="2495895" y="905368"/>
                  <a:pt x="2495895" y="908237"/>
                  <a:pt x="2495089" y="911108"/>
                </a:cubicBezTo>
                <a:lnTo>
                  <a:pt x="2493338" y="919407"/>
                </a:lnTo>
                <a:lnTo>
                  <a:pt x="2495657" y="922586"/>
                </a:lnTo>
                <a:cubicBezTo>
                  <a:pt x="2493146" y="926891"/>
                  <a:pt x="2488124" y="931195"/>
                  <a:pt x="2484774" y="928326"/>
                </a:cubicBezTo>
                <a:cubicBezTo>
                  <a:pt x="2484774" y="925455"/>
                  <a:pt x="2488122" y="924022"/>
                  <a:pt x="2490635" y="922586"/>
                </a:cubicBezTo>
                <a:lnTo>
                  <a:pt x="2490890" y="920831"/>
                </a:lnTo>
                <a:lnTo>
                  <a:pt x="2485404" y="915412"/>
                </a:lnTo>
                <a:cubicBezTo>
                  <a:pt x="2482981" y="912543"/>
                  <a:pt x="2479753" y="911108"/>
                  <a:pt x="2473295" y="916847"/>
                </a:cubicBezTo>
                <a:cubicBezTo>
                  <a:pt x="2473295" y="899629"/>
                  <a:pt x="2486210" y="911108"/>
                  <a:pt x="2492667" y="899629"/>
                </a:cubicBezTo>
                <a:close/>
                <a:moveTo>
                  <a:pt x="3883918" y="899346"/>
                </a:moveTo>
                <a:cubicBezTo>
                  <a:pt x="3880930" y="900837"/>
                  <a:pt x="3879061" y="903073"/>
                  <a:pt x="3877754" y="905496"/>
                </a:cubicBezTo>
                <a:lnTo>
                  <a:pt x="3876679" y="908283"/>
                </a:lnTo>
                <a:lnTo>
                  <a:pt x="3883918" y="904913"/>
                </a:lnTo>
                <a:close/>
                <a:moveTo>
                  <a:pt x="2603736" y="899238"/>
                </a:moveTo>
                <a:lnTo>
                  <a:pt x="2603839" y="899417"/>
                </a:lnTo>
                <a:lnTo>
                  <a:pt x="2604625" y="899346"/>
                </a:lnTo>
                <a:close/>
                <a:moveTo>
                  <a:pt x="3850133" y="897980"/>
                </a:moveTo>
                <a:cubicBezTo>
                  <a:pt x="3850133" y="903944"/>
                  <a:pt x="3848637" y="906925"/>
                  <a:pt x="3846396" y="907671"/>
                </a:cubicBezTo>
                <a:lnTo>
                  <a:pt x="3839953" y="904750"/>
                </a:lnTo>
                <a:close/>
                <a:moveTo>
                  <a:pt x="3916286" y="897920"/>
                </a:moveTo>
                <a:lnTo>
                  <a:pt x="3907083" y="902328"/>
                </a:lnTo>
                <a:lnTo>
                  <a:pt x="3888230" y="909608"/>
                </a:lnTo>
                <a:lnTo>
                  <a:pt x="3886282" y="913075"/>
                </a:lnTo>
                <a:cubicBezTo>
                  <a:pt x="3884880" y="914753"/>
                  <a:pt x="3883012" y="915871"/>
                  <a:pt x="3880023" y="915871"/>
                </a:cubicBezTo>
                <a:cubicBezTo>
                  <a:pt x="3886001" y="927800"/>
                  <a:pt x="3891980" y="903944"/>
                  <a:pt x="3897957" y="921835"/>
                </a:cubicBezTo>
                <a:cubicBezTo>
                  <a:pt x="3897957" y="915871"/>
                  <a:pt x="3909913" y="909907"/>
                  <a:pt x="3915891" y="921835"/>
                </a:cubicBezTo>
                <a:cubicBezTo>
                  <a:pt x="3917386" y="921835"/>
                  <a:pt x="3917759" y="920716"/>
                  <a:pt x="3917666" y="919132"/>
                </a:cubicBezTo>
                <a:lnTo>
                  <a:pt x="3917500" y="918244"/>
                </a:lnTo>
                <a:lnTo>
                  <a:pt x="3912984" y="917599"/>
                </a:lnTo>
                <a:cubicBezTo>
                  <a:pt x="3912267" y="916881"/>
                  <a:pt x="3912267" y="915447"/>
                  <a:pt x="3912267" y="912576"/>
                </a:cubicBezTo>
                <a:cubicBezTo>
                  <a:pt x="3912267" y="912576"/>
                  <a:pt x="3912267" y="912576"/>
                  <a:pt x="3906527" y="912576"/>
                </a:cubicBezTo>
                <a:cubicBezTo>
                  <a:pt x="3906527" y="906837"/>
                  <a:pt x="3918005" y="912576"/>
                  <a:pt x="3918005" y="906837"/>
                </a:cubicBezTo>
                <a:lnTo>
                  <a:pt x="3918480" y="906769"/>
                </a:lnTo>
                <a:lnTo>
                  <a:pt x="3913902" y="905368"/>
                </a:lnTo>
                <a:lnTo>
                  <a:pt x="3916591" y="902487"/>
                </a:lnTo>
                <a:close/>
                <a:moveTo>
                  <a:pt x="4129016" y="897287"/>
                </a:moveTo>
                <a:lnTo>
                  <a:pt x="4125221" y="898841"/>
                </a:lnTo>
                <a:lnTo>
                  <a:pt x="4129016" y="905309"/>
                </a:lnTo>
                <a:close/>
                <a:moveTo>
                  <a:pt x="2443643" y="892704"/>
                </a:moveTo>
                <a:lnTo>
                  <a:pt x="2444484" y="892817"/>
                </a:lnTo>
                <a:lnTo>
                  <a:pt x="2442890" y="894210"/>
                </a:lnTo>
                <a:lnTo>
                  <a:pt x="2442555" y="893912"/>
                </a:lnTo>
                <a:close/>
                <a:moveTo>
                  <a:pt x="4145298" y="890532"/>
                </a:moveTo>
                <a:lnTo>
                  <a:pt x="4140066" y="892761"/>
                </a:lnTo>
                <a:lnTo>
                  <a:pt x="4138939" y="893223"/>
                </a:lnTo>
                <a:lnTo>
                  <a:pt x="4140692" y="893195"/>
                </a:lnTo>
                <a:close/>
                <a:moveTo>
                  <a:pt x="1857198" y="890336"/>
                </a:moveTo>
                <a:cubicBezTo>
                  <a:pt x="1861713" y="889559"/>
                  <a:pt x="1865941" y="890336"/>
                  <a:pt x="1869016" y="893445"/>
                </a:cubicBezTo>
                <a:cubicBezTo>
                  <a:pt x="1862867" y="905882"/>
                  <a:pt x="1844417" y="887229"/>
                  <a:pt x="1850567" y="905882"/>
                </a:cubicBezTo>
                <a:cubicBezTo>
                  <a:pt x="1844417" y="905882"/>
                  <a:pt x="1838267" y="905882"/>
                  <a:pt x="1832119" y="918318"/>
                </a:cubicBezTo>
                <a:cubicBezTo>
                  <a:pt x="1827506" y="908990"/>
                  <a:pt x="1843649" y="892668"/>
                  <a:pt x="1857198" y="890336"/>
                </a:cubicBezTo>
                <a:close/>
                <a:moveTo>
                  <a:pt x="2316695" y="889620"/>
                </a:moveTo>
                <a:cubicBezTo>
                  <a:pt x="2328174" y="906839"/>
                  <a:pt x="2322435" y="906839"/>
                  <a:pt x="2328174" y="918318"/>
                </a:cubicBezTo>
                <a:cubicBezTo>
                  <a:pt x="2322435" y="918318"/>
                  <a:pt x="2322435" y="924057"/>
                  <a:pt x="2310956" y="924057"/>
                </a:cubicBezTo>
                <a:cubicBezTo>
                  <a:pt x="2316695" y="906839"/>
                  <a:pt x="2305216" y="918318"/>
                  <a:pt x="2293737" y="912578"/>
                </a:cubicBezTo>
                <a:cubicBezTo>
                  <a:pt x="2299477" y="901100"/>
                  <a:pt x="2316695" y="906839"/>
                  <a:pt x="2316695" y="901100"/>
                </a:cubicBezTo>
                <a:cubicBezTo>
                  <a:pt x="2316695" y="889620"/>
                  <a:pt x="2293737" y="901100"/>
                  <a:pt x="2293737" y="906839"/>
                </a:cubicBezTo>
                <a:cubicBezTo>
                  <a:pt x="2293737" y="906839"/>
                  <a:pt x="2293737" y="906839"/>
                  <a:pt x="2293737" y="901100"/>
                </a:cubicBezTo>
                <a:cubicBezTo>
                  <a:pt x="2293737" y="901100"/>
                  <a:pt x="2293737" y="901100"/>
                  <a:pt x="2287998" y="901100"/>
                </a:cubicBezTo>
                <a:cubicBezTo>
                  <a:pt x="2299477" y="889620"/>
                  <a:pt x="2305216" y="889620"/>
                  <a:pt x="2316695" y="889620"/>
                </a:cubicBezTo>
                <a:close/>
                <a:moveTo>
                  <a:pt x="2430821" y="888185"/>
                </a:moveTo>
                <a:lnTo>
                  <a:pt x="2431252" y="889045"/>
                </a:lnTo>
                <a:lnTo>
                  <a:pt x="2429312" y="889691"/>
                </a:lnTo>
                <a:close/>
                <a:moveTo>
                  <a:pt x="2499124" y="888150"/>
                </a:moveTo>
                <a:cubicBezTo>
                  <a:pt x="2499124" y="893889"/>
                  <a:pt x="2492428" y="893889"/>
                  <a:pt x="2479035" y="899629"/>
                </a:cubicBezTo>
                <a:cubicBezTo>
                  <a:pt x="2479035" y="888150"/>
                  <a:pt x="2492428" y="893889"/>
                  <a:pt x="2499124" y="888150"/>
                </a:cubicBezTo>
                <a:close/>
                <a:moveTo>
                  <a:pt x="3929661" y="887841"/>
                </a:moveTo>
                <a:lnTo>
                  <a:pt x="3927754" y="888660"/>
                </a:lnTo>
                <a:cubicBezTo>
                  <a:pt x="3926540" y="889033"/>
                  <a:pt x="3925979" y="889033"/>
                  <a:pt x="3925606" y="889033"/>
                </a:cubicBezTo>
                <a:lnTo>
                  <a:pt x="3924471" y="889938"/>
                </a:lnTo>
                <a:lnTo>
                  <a:pt x="3925477" y="892614"/>
                </a:lnTo>
                <a:lnTo>
                  <a:pt x="3930836" y="893506"/>
                </a:lnTo>
                <a:lnTo>
                  <a:pt x="3931564" y="892902"/>
                </a:lnTo>
                <a:close/>
                <a:moveTo>
                  <a:pt x="2435535" y="887619"/>
                </a:moveTo>
                <a:lnTo>
                  <a:pt x="2442555" y="893912"/>
                </a:lnTo>
                <a:lnTo>
                  <a:pt x="2436855" y="900237"/>
                </a:lnTo>
                <a:lnTo>
                  <a:pt x="2431252" y="889045"/>
                </a:lnTo>
                <a:close/>
                <a:moveTo>
                  <a:pt x="3955301" y="883648"/>
                </a:moveTo>
                <a:lnTo>
                  <a:pt x="3953161" y="885764"/>
                </a:lnTo>
                <a:cubicBezTo>
                  <a:pt x="3952085" y="886974"/>
                  <a:pt x="3951188" y="888387"/>
                  <a:pt x="3951278" y="889900"/>
                </a:cubicBezTo>
                <a:lnTo>
                  <a:pt x="3951955" y="890695"/>
                </a:lnTo>
                <a:lnTo>
                  <a:pt x="3954001" y="886797"/>
                </a:lnTo>
                <a:close/>
                <a:moveTo>
                  <a:pt x="3955328" y="881748"/>
                </a:moveTo>
                <a:lnTo>
                  <a:pt x="3955810" y="882412"/>
                </a:lnTo>
                <a:lnTo>
                  <a:pt x="3955963" y="882045"/>
                </a:lnTo>
                <a:close/>
                <a:moveTo>
                  <a:pt x="4583345" y="881453"/>
                </a:moveTo>
                <a:cubicBezTo>
                  <a:pt x="4583345" y="887417"/>
                  <a:pt x="4589323" y="881453"/>
                  <a:pt x="4589323" y="881453"/>
                </a:cubicBezTo>
                <a:cubicBezTo>
                  <a:pt x="4595301" y="893381"/>
                  <a:pt x="4577368" y="881453"/>
                  <a:pt x="4583345" y="887417"/>
                </a:cubicBezTo>
                <a:cubicBezTo>
                  <a:pt x="4580357" y="887417"/>
                  <a:pt x="4581850" y="885926"/>
                  <a:pt x="4583345" y="883689"/>
                </a:cubicBezTo>
                <a:close/>
                <a:moveTo>
                  <a:pt x="1917154" y="881453"/>
                </a:moveTo>
                <a:lnTo>
                  <a:pt x="1913355" y="886564"/>
                </a:lnTo>
                <a:lnTo>
                  <a:pt x="1911176" y="887417"/>
                </a:lnTo>
                <a:cubicBezTo>
                  <a:pt x="1911176" y="881453"/>
                  <a:pt x="1917154" y="881453"/>
                  <a:pt x="1917154" y="881453"/>
                </a:cubicBezTo>
                <a:close/>
                <a:moveTo>
                  <a:pt x="4738479" y="881010"/>
                </a:moveTo>
                <a:cubicBezTo>
                  <a:pt x="4738479" y="881010"/>
                  <a:pt x="4744492" y="887108"/>
                  <a:pt x="4744492" y="887108"/>
                </a:cubicBezTo>
                <a:cubicBezTo>
                  <a:pt x="4744492" y="893207"/>
                  <a:pt x="4726454" y="899305"/>
                  <a:pt x="4720440" y="893207"/>
                </a:cubicBezTo>
                <a:cubicBezTo>
                  <a:pt x="4720440" y="899305"/>
                  <a:pt x="4720440" y="905403"/>
                  <a:pt x="4714427" y="893207"/>
                </a:cubicBezTo>
                <a:lnTo>
                  <a:pt x="4704407" y="903370"/>
                </a:lnTo>
                <a:lnTo>
                  <a:pt x="4696391" y="899305"/>
                </a:lnTo>
                <a:cubicBezTo>
                  <a:pt x="4678351" y="923697"/>
                  <a:pt x="4642274" y="923697"/>
                  <a:pt x="4624235" y="929797"/>
                </a:cubicBezTo>
                <a:cubicBezTo>
                  <a:pt x="4618223" y="929797"/>
                  <a:pt x="4624235" y="923697"/>
                  <a:pt x="4618223" y="923697"/>
                </a:cubicBezTo>
                <a:cubicBezTo>
                  <a:pt x="4642274" y="917600"/>
                  <a:pt x="4702403" y="899305"/>
                  <a:pt x="4738479" y="881010"/>
                </a:cubicBezTo>
                <a:close/>
                <a:moveTo>
                  <a:pt x="2244950" y="881010"/>
                </a:moveTo>
                <a:cubicBezTo>
                  <a:pt x="2197121" y="905011"/>
                  <a:pt x="2143314" y="929014"/>
                  <a:pt x="2101464" y="947015"/>
                </a:cubicBezTo>
                <a:cubicBezTo>
                  <a:pt x="2143314" y="923013"/>
                  <a:pt x="2197121" y="893012"/>
                  <a:pt x="2244950" y="881010"/>
                </a:cubicBezTo>
                <a:close/>
                <a:moveTo>
                  <a:pt x="1714051" y="881010"/>
                </a:moveTo>
                <a:cubicBezTo>
                  <a:pt x="1714051" y="887468"/>
                  <a:pt x="1700657" y="906839"/>
                  <a:pt x="1693962" y="893925"/>
                </a:cubicBezTo>
                <a:cubicBezTo>
                  <a:pt x="1700657" y="893925"/>
                  <a:pt x="1700657" y="887468"/>
                  <a:pt x="1714051" y="881010"/>
                </a:cubicBezTo>
                <a:close/>
                <a:moveTo>
                  <a:pt x="4071320" y="880088"/>
                </a:moveTo>
                <a:lnTo>
                  <a:pt x="4069870" y="885874"/>
                </a:lnTo>
                <a:lnTo>
                  <a:pt x="4078524" y="881114"/>
                </a:lnTo>
                <a:close/>
                <a:moveTo>
                  <a:pt x="4178110" y="876553"/>
                </a:moveTo>
                <a:lnTo>
                  <a:pt x="4166301" y="881584"/>
                </a:lnTo>
                <a:lnTo>
                  <a:pt x="4176841" y="881453"/>
                </a:lnTo>
                <a:cubicBezTo>
                  <a:pt x="4178335" y="879962"/>
                  <a:pt x="4178709" y="878472"/>
                  <a:pt x="4178428" y="877074"/>
                </a:cubicBezTo>
                <a:close/>
                <a:moveTo>
                  <a:pt x="4581827" y="876341"/>
                </a:moveTo>
                <a:lnTo>
                  <a:pt x="4559433" y="888908"/>
                </a:lnTo>
                <a:cubicBezTo>
                  <a:pt x="4550467" y="890399"/>
                  <a:pt x="4541499" y="890399"/>
                  <a:pt x="4535521" y="893381"/>
                </a:cubicBezTo>
                <a:cubicBezTo>
                  <a:pt x="4541499" y="905309"/>
                  <a:pt x="4547477" y="887417"/>
                  <a:pt x="4553454" y="893381"/>
                </a:cubicBezTo>
                <a:cubicBezTo>
                  <a:pt x="4553454" y="893381"/>
                  <a:pt x="4553454" y="899346"/>
                  <a:pt x="4547477" y="905309"/>
                </a:cubicBezTo>
                <a:cubicBezTo>
                  <a:pt x="4541499" y="893381"/>
                  <a:pt x="4529543" y="911273"/>
                  <a:pt x="4535521" y="899346"/>
                </a:cubicBezTo>
                <a:cubicBezTo>
                  <a:pt x="4523565" y="905309"/>
                  <a:pt x="4511610" y="917237"/>
                  <a:pt x="4499654" y="905309"/>
                </a:cubicBezTo>
                <a:cubicBezTo>
                  <a:pt x="4496664" y="908291"/>
                  <a:pt x="4492181" y="912765"/>
                  <a:pt x="4487697" y="915001"/>
                </a:cubicBezTo>
                <a:lnTo>
                  <a:pt x="4476353" y="911463"/>
                </a:lnTo>
                <a:lnTo>
                  <a:pt x="4493676" y="905309"/>
                </a:lnTo>
                <a:cubicBezTo>
                  <a:pt x="4514598" y="899346"/>
                  <a:pt x="4537016" y="890399"/>
                  <a:pt x="4557191" y="882945"/>
                </a:cubicBezTo>
                <a:close/>
                <a:moveTo>
                  <a:pt x="3962202" y="876294"/>
                </a:moveTo>
                <a:lnTo>
                  <a:pt x="3956896" y="883908"/>
                </a:lnTo>
                <a:cubicBezTo>
                  <a:pt x="3956429" y="887357"/>
                  <a:pt x="3957363" y="890898"/>
                  <a:pt x="3958484" y="894253"/>
                </a:cubicBezTo>
                <a:lnTo>
                  <a:pt x="3958338" y="897320"/>
                </a:lnTo>
                <a:lnTo>
                  <a:pt x="3957738" y="897980"/>
                </a:lnTo>
                <a:lnTo>
                  <a:pt x="3958293" y="898256"/>
                </a:lnTo>
                <a:lnTo>
                  <a:pt x="3957738" y="909907"/>
                </a:lnTo>
                <a:cubicBezTo>
                  <a:pt x="3963714" y="915871"/>
                  <a:pt x="3963714" y="909907"/>
                  <a:pt x="3969693" y="903944"/>
                </a:cubicBezTo>
                <a:lnTo>
                  <a:pt x="3968482" y="903339"/>
                </a:lnTo>
                <a:lnTo>
                  <a:pt x="3966792" y="906479"/>
                </a:lnTo>
                <a:cubicBezTo>
                  <a:pt x="3963923" y="909529"/>
                  <a:pt x="3963923" y="906480"/>
                  <a:pt x="3963923" y="902668"/>
                </a:cubicBezTo>
                <a:lnTo>
                  <a:pt x="3963817" y="901012"/>
                </a:lnTo>
                <a:lnTo>
                  <a:pt x="3958293" y="898256"/>
                </a:lnTo>
                <a:lnTo>
                  <a:pt x="3958338" y="897320"/>
                </a:lnTo>
                <a:lnTo>
                  <a:pt x="3961080" y="894311"/>
                </a:lnTo>
                <a:lnTo>
                  <a:pt x="3961053" y="894282"/>
                </a:lnTo>
                <a:cubicBezTo>
                  <a:pt x="3961053" y="891234"/>
                  <a:pt x="3962488" y="889710"/>
                  <a:pt x="3963923" y="888185"/>
                </a:cubicBezTo>
                <a:lnTo>
                  <a:pt x="3964667" y="886603"/>
                </a:lnTo>
                <a:lnTo>
                  <a:pt x="3964461" y="885399"/>
                </a:lnTo>
                <a:cubicBezTo>
                  <a:pt x="3964088" y="884561"/>
                  <a:pt x="3963714" y="884561"/>
                  <a:pt x="3963714" y="886051"/>
                </a:cubicBezTo>
                <a:lnTo>
                  <a:pt x="3966551" y="881638"/>
                </a:lnTo>
                <a:lnTo>
                  <a:pt x="3963923" y="876751"/>
                </a:lnTo>
                <a:close/>
                <a:moveTo>
                  <a:pt x="4583345" y="875490"/>
                </a:moveTo>
                <a:lnTo>
                  <a:pt x="4583345" y="875934"/>
                </a:lnTo>
                <a:lnTo>
                  <a:pt x="4581827" y="876341"/>
                </a:lnTo>
                <a:close/>
                <a:moveTo>
                  <a:pt x="3933827" y="875351"/>
                </a:moveTo>
                <a:lnTo>
                  <a:pt x="3931794" y="876099"/>
                </a:lnTo>
                <a:lnTo>
                  <a:pt x="3931743" y="875490"/>
                </a:lnTo>
                <a:close/>
                <a:moveTo>
                  <a:pt x="2339653" y="875271"/>
                </a:moveTo>
                <a:cubicBezTo>
                  <a:pt x="2339653" y="881728"/>
                  <a:pt x="2322435" y="901100"/>
                  <a:pt x="2322435" y="888185"/>
                </a:cubicBezTo>
                <a:cubicBezTo>
                  <a:pt x="2328174" y="888185"/>
                  <a:pt x="2333914" y="881728"/>
                  <a:pt x="2339653" y="875271"/>
                </a:cubicBezTo>
                <a:close/>
                <a:moveTo>
                  <a:pt x="1843188" y="875271"/>
                </a:moveTo>
                <a:cubicBezTo>
                  <a:pt x="1848928" y="881967"/>
                  <a:pt x="1831709" y="888664"/>
                  <a:pt x="1825969" y="895360"/>
                </a:cubicBezTo>
                <a:cubicBezTo>
                  <a:pt x="1825969" y="888664"/>
                  <a:pt x="1837448" y="881967"/>
                  <a:pt x="1843188" y="875271"/>
                </a:cubicBezTo>
                <a:close/>
                <a:moveTo>
                  <a:pt x="3974864" y="874368"/>
                </a:moveTo>
                <a:lnTo>
                  <a:pt x="3972701" y="876577"/>
                </a:lnTo>
                <a:lnTo>
                  <a:pt x="3976418" y="875614"/>
                </a:lnTo>
                <a:lnTo>
                  <a:pt x="3977595" y="875667"/>
                </a:lnTo>
                <a:close/>
                <a:moveTo>
                  <a:pt x="4772470" y="873836"/>
                </a:moveTo>
                <a:cubicBezTo>
                  <a:pt x="4776057" y="873836"/>
                  <a:pt x="4778927" y="875271"/>
                  <a:pt x="4778927" y="875271"/>
                </a:cubicBezTo>
                <a:cubicBezTo>
                  <a:pt x="4784666" y="881010"/>
                  <a:pt x="4767448" y="881010"/>
                  <a:pt x="4761709" y="881010"/>
                </a:cubicBezTo>
                <a:cubicBezTo>
                  <a:pt x="4764579" y="875271"/>
                  <a:pt x="4768883" y="873836"/>
                  <a:pt x="4772470" y="873836"/>
                </a:cubicBezTo>
                <a:close/>
                <a:moveTo>
                  <a:pt x="2708136" y="873800"/>
                </a:moveTo>
                <a:cubicBezTo>
                  <a:pt x="2714353" y="886714"/>
                  <a:pt x="2677046" y="899629"/>
                  <a:pt x="2677046" y="893172"/>
                </a:cubicBezTo>
                <a:cubicBezTo>
                  <a:pt x="2689483" y="893172"/>
                  <a:pt x="2689483" y="880257"/>
                  <a:pt x="2708136" y="873800"/>
                </a:cubicBezTo>
                <a:close/>
                <a:moveTo>
                  <a:pt x="2654088" y="873800"/>
                </a:moveTo>
                <a:cubicBezTo>
                  <a:pt x="2659827" y="880975"/>
                  <a:pt x="2659827" y="880975"/>
                  <a:pt x="2659827" y="880975"/>
                </a:cubicBezTo>
                <a:cubicBezTo>
                  <a:pt x="2654088" y="888150"/>
                  <a:pt x="2654088" y="880975"/>
                  <a:pt x="2654088" y="873800"/>
                </a:cubicBezTo>
                <a:close/>
                <a:moveTo>
                  <a:pt x="1790514" y="871325"/>
                </a:moveTo>
                <a:cubicBezTo>
                  <a:pt x="1793239" y="871325"/>
                  <a:pt x="1795660" y="872401"/>
                  <a:pt x="1797274" y="875271"/>
                </a:cubicBezTo>
                <a:cubicBezTo>
                  <a:pt x="1790817" y="875271"/>
                  <a:pt x="1777903" y="881010"/>
                  <a:pt x="1771446" y="881010"/>
                </a:cubicBezTo>
                <a:cubicBezTo>
                  <a:pt x="1771446" y="881010"/>
                  <a:pt x="1776288" y="876706"/>
                  <a:pt x="1781937" y="873836"/>
                </a:cubicBezTo>
                <a:cubicBezTo>
                  <a:pt x="1784763" y="872401"/>
                  <a:pt x="1787790" y="871325"/>
                  <a:pt x="1790514" y="871325"/>
                </a:cubicBezTo>
                <a:close/>
                <a:moveTo>
                  <a:pt x="4724402" y="869532"/>
                </a:moveTo>
                <a:cubicBezTo>
                  <a:pt x="4700771" y="887979"/>
                  <a:pt x="4653502" y="906429"/>
                  <a:pt x="4623960" y="912578"/>
                </a:cubicBezTo>
                <a:cubicBezTo>
                  <a:pt x="4647595" y="894129"/>
                  <a:pt x="4677136" y="894129"/>
                  <a:pt x="4688954" y="881831"/>
                </a:cubicBezTo>
                <a:cubicBezTo>
                  <a:pt x="4694861" y="887979"/>
                  <a:pt x="4712585" y="875681"/>
                  <a:pt x="4724402" y="869532"/>
                </a:cubicBezTo>
                <a:close/>
                <a:moveTo>
                  <a:pt x="4618221" y="869532"/>
                </a:moveTo>
                <a:cubicBezTo>
                  <a:pt x="4623960" y="869532"/>
                  <a:pt x="4623960" y="869532"/>
                  <a:pt x="4629701" y="869532"/>
                </a:cubicBezTo>
                <a:cubicBezTo>
                  <a:pt x="4635440" y="875271"/>
                  <a:pt x="4618221" y="881010"/>
                  <a:pt x="4618221" y="869532"/>
                </a:cubicBezTo>
                <a:close/>
                <a:moveTo>
                  <a:pt x="1837448" y="869532"/>
                </a:moveTo>
                <a:cubicBezTo>
                  <a:pt x="1837448" y="875271"/>
                  <a:pt x="1820230" y="875271"/>
                  <a:pt x="1820230" y="881010"/>
                </a:cubicBezTo>
                <a:cubicBezTo>
                  <a:pt x="1820230" y="869532"/>
                  <a:pt x="1825969" y="869532"/>
                  <a:pt x="1837448" y="869532"/>
                </a:cubicBezTo>
                <a:close/>
                <a:moveTo>
                  <a:pt x="4607257" y="869526"/>
                </a:moveTo>
                <a:cubicBezTo>
                  <a:pt x="4607257" y="875490"/>
                  <a:pt x="4607257" y="875490"/>
                  <a:pt x="4601279" y="881453"/>
                </a:cubicBezTo>
                <a:cubicBezTo>
                  <a:pt x="4601279" y="875490"/>
                  <a:pt x="4601279" y="875490"/>
                  <a:pt x="4601279" y="875490"/>
                </a:cubicBezTo>
                <a:cubicBezTo>
                  <a:pt x="4595301" y="875490"/>
                  <a:pt x="4595301" y="875490"/>
                  <a:pt x="4583345" y="881453"/>
                </a:cubicBezTo>
                <a:lnTo>
                  <a:pt x="4583345" y="875934"/>
                </a:lnTo>
                <a:close/>
                <a:moveTo>
                  <a:pt x="3977612" y="864740"/>
                </a:moveTo>
                <a:lnTo>
                  <a:pt x="3971748" y="868439"/>
                </a:lnTo>
                <a:cubicBezTo>
                  <a:pt x="3968198" y="869837"/>
                  <a:pt x="3964462" y="870769"/>
                  <a:pt x="3960726" y="871887"/>
                </a:cubicBezTo>
                <a:lnTo>
                  <a:pt x="3956449" y="874782"/>
                </a:lnTo>
                <a:lnTo>
                  <a:pt x="3955496" y="874869"/>
                </a:lnTo>
                <a:lnTo>
                  <a:pt x="3954719" y="875953"/>
                </a:lnTo>
                <a:lnTo>
                  <a:pt x="3948001" y="880502"/>
                </a:lnTo>
                <a:lnTo>
                  <a:pt x="3949574" y="881728"/>
                </a:lnTo>
                <a:cubicBezTo>
                  <a:pt x="3950292" y="882535"/>
                  <a:pt x="3951008" y="883342"/>
                  <a:pt x="3951905" y="883544"/>
                </a:cubicBezTo>
                <a:lnTo>
                  <a:pt x="3955299" y="881736"/>
                </a:lnTo>
                <a:lnTo>
                  <a:pt x="3951760" y="880088"/>
                </a:lnTo>
                <a:lnTo>
                  <a:pt x="3954719" y="875953"/>
                </a:lnTo>
                <a:lnTo>
                  <a:pt x="3956449" y="874782"/>
                </a:lnTo>
                <a:lnTo>
                  <a:pt x="3959872" y="874472"/>
                </a:lnTo>
                <a:lnTo>
                  <a:pt x="3958900" y="873225"/>
                </a:lnTo>
                <a:cubicBezTo>
                  <a:pt x="3961053" y="872272"/>
                  <a:pt x="3968945" y="872463"/>
                  <a:pt x="3973967" y="869985"/>
                </a:cubicBezTo>
                <a:close/>
                <a:moveTo>
                  <a:pt x="2435310" y="864509"/>
                </a:moveTo>
                <a:cubicBezTo>
                  <a:pt x="2438419" y="863792"/>
                  <a:pt x="2441528" y="863792"/>
                  <a:pt x="2441528" y="869532"/>
                </a:cubicBezTo>
                <a:cubicBezTo>
                  <a:pt x="2438419" y="869532"/>
                  <a:pt x="2436865" y="868096"/>
                  <a:pt x="2435310" y="866662"/>
                </a:cubicBezTo>
                <a:lnTo>
                  <a:pt x="2432201" y="865227"/>
                </a:lnTo>
                <a:close/>
                <a:moveTo>
                  <a:pt x="2429091" y="863792"/>
                </a:moveTo>
                <a:lnTo>
                  <a:pt x="2432201" y="865227"/>
                </a:lnTo>
                <a:lnTo>
                  <a:pt x="2431035" y="865496"/>
                </a:lnTo>
                <a:cubicBezTo>
                  <a:pt x="2429868" y="865585"/>
                  <a:pt x="2429091" y="865227"/>
                  <a:pt x="2429091" y="863792"/>
                </a:cubicBezTo>
                <a:close/>
                <a:moveTo>
                  <a:pt x="3917745" y="863561"/>
                </a:moveTo>
                <a:lnTo>
                  <a:pt x="3923947" y="865910"/>
                </a:lnTo>
                <a:lnTo>
                  <a:pt x="3926334" y="863561"/>
                </a:lnTo>
                <a:close/>
                <a:moveTo>
                  <a:pt x="4068502" y="862567"/>
                </a:moveTo>
                <a:lnTo>
                  <a:pt x="4068868" y="868062"/>
                </a:lnTo>
                <a:cubicBezTo>
                  <a:pt x="4065999" y="868062"/>
                  <a:pt x="4064564" y="866628"/>
                  <a:pt x="4064564" y="865193"/>
                </a:cubicBezTo>
                <a:close/>
                <a:moveTo>
                  <a:pt x="2483712" y="862384"/>
                </a:moveTo>
                <a:cubicBezTo>
                  <a:pt x="2488520" y="862949"/>
                  <a:pt x="2494177" y="868598"/>
                  <a:pt x="2503227" y="864079"/>
                </a:cubicBezTo>
                <a:cubicBezTo>
                  <a:pt x="2485126" y="876131"/>
                  <a:pt x="2460990" y="882158"/>
                  <a:pt x="2454956" y="894210"/>
                </a:cubicBezTo>
                <a:lnTo>
                  <a:pt x="2444484" y="892817"/>
                </a:lnTo>
                <a:lnTo>
                  <a:pt x="2454956" y="883664"/>
                </a:lnTo>
                <a:cubicBezTo>
                  <a:pt x="2459482" y="880651"/>
                  <a:pt x="2464007" y="879145"/>
                  <a:pt x="2467024" y="882158"/>
                </a:cubicBezTo>
                <a:cubicBezTo>
                  <a:pt x="2467024" y="876131"/>
                  <a:pt x="2473058" y="870105"/>
                  <a:pt x="2479092" y="864079"/>
                </a:cubicBezTo>
                <a:cubicBezTo>
                  <a:pt x="2480601" y="862573"/>
                  <a:pt x="2482110" y="862195"/>
                  <a:pt x="2483712" y="862384"/>
                </a:cubicBezTo>
                <a:close/>
                <a:moveTo>
                  <a:pt x="4068868" y="862323"/>
                </a:moveTo>
                <a:lnTo>
                  <a:pt x="4068502" y="862567"/>
                </a:lnTo>
                <a:lnTo>
                  <a:pt x="4068498" y="862508"/>
                </a:lnTo>
                <a:close/>
                <a:moveTo>
                  <a:pt x="2323416" y="862055"/>
                </a:moveTo>
                <a:lnTo>
                  <a:pt x="2308141" y="876985"/>
                </a:lnTo>
                <a:cubicBezTo>
                  <a:pt x="2297711" y="882285"/>
                  <a:pt x="2285790" y="885315"/>
                  <a:pt x="2279829" y="882285"/>
                </a:cubicBezTo>
                <a:cubicBezTo>
                  <a:pt x="2273869" y="882285"/>
                  <a:pt x="2273869" y="888344"/>
                  <a:pt x="2273869" y="894402"/>
                </a:cubicBezTo>
                <a:cubicBezTo>
                  <a:pt x="2250029" y="894402"/>
                  <a:pt x="2250029" y="912576"/>
                  <a:pt x="2232147" y="906519"/>
                </a:cubicBezTo>
                <a:cubicBezTo>
                  <a:pt x="2226187" y="918636"/>
                  <a:pt x="2226187" y="930753"/>
                  <a:pt x="2208307" y="918636"/>
                </a:cubicBezTo>
                <a:cubicBezTo>
                  <a:pt x="2202347" y="924693"/>
                  <a:pt x="2184465" y="936810"/>
                  <a:pt x="2184465" y="924693"/>
                </a:cubicBezTo>
                <a:cubicBezTo>
                  <a:pt x="2178505" y="942868"/>
                  <a:pt x="2154665" y="936810"/>
                  <a:pt x="2160625" y="954985"/>
                </a:cubicBezTo>
                <a:cubicBezTo>
                  <a:pt x="2154665" y="954985"/>
                  <a:pt x="2148705" y="948928"/>
                  <a:pt x="2142743" y="954985"/>
                </a:cubicBezTo>
                <a:cubicBezTo>
                  <a:pt x="2148705" y="954985"/>
                  <a:pt x="2148705" y="954985"/>
                  <a:pt x="2154665" y="961043"/>
                </a:cubicBezTo>
                <a:cubicBezTo>
                  <a:pt x="2142743" y="967102"/>
                  <a:pt x="2142743" y="961043"/>
                  <a:pt x="2136783" y="967102"/>
                </a:cubicBezTo>
                <a:cubicBezTo>
                  <a:pt x="2142743" y="954985"/>
                  <a:pt x="2130823" y="954985"/>
                  <a:pt x="2136783" y="954985"/>
                </a:cubicBezTo>
                <a:cubicBezTo>
                  <a:pt x="2130823" y="948928"/>
                  <a:pt x="2124863" y="954985"/>
                  <a:pt x="2118903" y="954985"/>
                </a:cubicBezTo>
                <a:cubicBezTo>
                  <a:pt x="2112943" y="954985"/>
                  <a:pt x="2136783" y="942868"/>
                  <a:pt x="2142743" y="936810"/>
                </a:cubicBezTo>
                <a:cubicBezTo>
                  <a:pt x="2142743" y="948928"/>
                  <a:pt x="2148705" y="948928"/>
                  <a:pt x="2154665" y="942868"/>
                </a:cubicBezTo>
                <a:cubicBezTo>
                  <a:pt x="2160625" y="930753"/>
                  <a:pt x="2178505" y="924693"/>
                  <a:pt x="2184465" y="918636"/>
                </a:cubicBezTo>
                <a:cubicBezTo>
                  <a:pt x="2196387" y="924693"/>
                  <a:pt x="2214267" y="906519"/>
                  <a:pt x="2226187" y="912576"/>
                </a:cubicBezTo>
                <a:cubicBezTo>
                  <a:pt x="2220227" y="912576"/>
                  <a:pt x="2220227" y="912576"/>
                  <a:pt x="2214267" y="906519"/>
                </a:cubicBezTo>
                <a:cubicBezTo>
                  <a:pt x="2258968" y="897432"/>
                  <a:pt x="2283555" y="874712"/>
                  <a:pt x="2313170" y="863922"/>
                </a:cubicBezTo>
                <a:close/>
                <a:moveTo>
                  <a:pt x="4761710" y="858052"/>
                </a:moveTo>
                <a:cubicBezTo>
                  <a:pt x="4761710" y="869532"/>
                  <a:pt x="4730621" y="875271"/>
                  <a:pt x="4724402" y="869532"/>
                </a:cubicBezTo>
                <a:cubicBezTo>
                  <a:pt x="4743056" y="863792"/>
                  <a:pt x="4749275" y="869532"/>
                  <a:pt x="4761710" y="858052"/>
                </a:cubicBezTo>
                <a:close/>
                <a:moveTo>
                  <a:pt x="2345392" y="858052"/>
                </a:moveTo>
                <a:cubicBezTo>
                  <a:pt x="2345392" y="858052"/>
                  <a:pt x="2342412" y="859567"/>
                  <a:pt x="2338686" y="860325"/>
                </a:cubicBezTo>
                <a:lnTo>
                  <a:pt x="2335962" y="859770"/>
                </a:lnTo>
                <a:close/>
                <a:moveTo>
                  <a:pt x="2327511" y="858052"/>
                </a:moveTo>
                <a:lnTo>
                  <a:pt x="2335962" y="859770"/>
                </a:lnTo>
                <a:lnTo>
                  <a:pt x="2323416" y="862055"/>
                </a:lnTo>
                <a:close/>
                <a:moveTo>
                  <a:pt x="1923222" y="858052"/>
                </a:moveTo>
                <a:cubicBezTo>
                  <a:pt x="1929282" y="864367"/>
                  <a:pt x="1911105" y="864367"/>
                  <a:pt x="1923222" y="864367"/>
                </a:cubicBezTo>
                <a:cubicBezTo>
                  <a:pt x="1911105" y="870679"/>
                  <a:pt x="1886873" y="889620"/>
                  <a:pt x="1874756" y="883306"/>
                </a:cubicBezTo>
                <a:cubicBezTo>
                  <a:pt x="1892930" y="870679"/>
                  <a:pt x="1905048" y="870679"/>
                  <a:pt x="1923222" y="858052"/>
                </a:cubicBezTo>
                <a:close/>
                <a:moveTo>
                  <a:pt x="2363742" y="857147"/>
                </a:moveTo>
                <a:lnTo>
                  <a:pt x="2363430" y="858052"/>
                </a:lnTo>
                <a:lnTo>
                  <a:pt x="2362669" y="857611"/>
                </a:lnTo>
                <a:lnTo>
                  <a:pt x="2363432" y="857335"/>
                </a:lnTo>
                <a:close/>
                <a:moveTo>
                  <a:pt x="3974691" y="856753"/>
                </a:moveTo>
                <a:lnTo>
                  <a:pt x="3971096" y="858052"/>
                </a:lnTo>
                <a:cubicBezTo>
                  <a:pt x="3967510" y="858770"/>
                  <a:pt x="3963564" y="859487"/>
                  <a:pt x="3960514" y="861102"/>
                </a:cubicBezTo>
                <a:lnTo>
                  <a:pt x="3957963" y="865236"/>
                </a:lnTo>
                <a:close/>
                <a:moveTo>
                  <a:pt x="2558635" y="856665"/>
                </a:moveTo>
                <a:cubicBezTo>
                  <a:pt x="2562571" y="855206"/>
                  <a:pt x="2571046" y="866866"/>
                  <a:pt x="2575888" y="857538"/>
                </a:cubicBezTo>
                <a:cubicBezTo>
                  <a:pt x="2575888" y="863757"/>
                  <a:pt x="2582345" y="869975"/>
                  <a:pt x="2582345" y="869975"/>
                </a:cubicBezTo>
                <a:cubicBezTo>
                  <a:pt x="2575888" y="869975"/>
                  <a:pt x="2575888" y="869975"/>
                  <a:pt x="2575888" y="869975"/>
                </a:cubicBezTo>
                <a:cubicBezTo>
                  <a:pt x="2575888" y="869975"/>
                  <a:pt x="2569431" y="876192"/>
                  <a:pt x="2569431" y="882411"/>
                </a:cubicBezTo>
                <a:cubicBezTo>
                  <a:pt x="2562974" y="882411"/>
                  <a:pt x="2562974" y="882411"/>
                  <a:pt x="2556517" y="876192"/>
                </a:cubicBezTo>
                <a:cubicBezTo>
                  <a:pt x="2562974" y="869975"/>
                  <a:pt x="2569431" y="876192"/>
                  <a:pt x="2569431" y="863757"/>
                </a:cubicBezTo>
                <a:cubicBezTo>
                  <a:pt x="2569431" y="857538"/>
                  <a:pt x="2556517" y="869975"/>
                  <a:pt x="2556517" y="863757"/>
                </a:cubicBezTo>
                <a:cubicBezTo>
                  <a:pt x="2556517" y="859093"/>
                  <a:pt x="2557325" y="857150"/>
                  <a:pt x="2558635" y="856665"/>
                </a:cubicBezTo>
                <a:close/>
                <a:moveTo>
                  <a:pt x="4214792" y="856231"/>
                </a:moveTo>
                <a:lnTo>
                  <a:pt x="4212473" y="857568"/>
                </a:lnTo>
                <a:lnTo>
                  <a:pt x="4212710" y="857597"/>
                </a:lnTo>
                <a:lnTo>
                  <a:pt x="4214847" y="856453"/>
                </a:lnTo>
                <a:close/>
                <a:moveTo>
                  <a:pt x="2359715" y="855900"/>
                </a:moveTo>
                <a:lnTo>
                  <a:pt x="2362669" y="857611"/>
                </a:lnTo>
                <a:lnTo>
                  <a:pt x="2345597" y="863792"/>
                </a:lnTo>
                <a:cubicBezTo>
                  <a:pt x="2345597" y="858052"/>
                  <a:pt x="2351542" y="858052"/>
                  <a:pt x="2351542" y="858052"/>
                </a:cubicBezTo>
                <a:cubicBezTo>
                  <a:pt x="2354514" y="858052"/>
                  <a:pt x="2357486" y="856617"/>
                  <a:pt x="2359715" y="855900"/>
                </a:cubicBezTo>
                <a:close/>
                <a:moveTo>
                  <a:pt x="2701618" y="852488"/>
                </a:moveTo>
                <a:lnTo>
                  <a:pt x="2695791" y="854615"/>
                </a:lnTo>
                <a:cubicBezTo>
                  <a:pt x="2693549" y="855361"/>
                  <a:pt x="2691681" y="856106"/>
                  <a:pt x="2690373" y="857411"/>
                </a:cubicBezTo>
                <a:lnTo>
                  <a:pt x="2689094" y="861239"/>
                </a:lnTo>
                <a:lnTo>
                  <a:pt x="2692157" y="857927"/>
                </a:lnTo>
                <a:close/>
                <a:moveTo>
                  <a:pt x="4778927" y="852313"/>
                </a:moveTo>
                <a:cubicBezTo>
                  <a:pt x="4790406" y="852313"/>
                  <a:pt x="4767448" y="869532"/>
                  <a:pt x="4767448" y="863792"/>
                </a:cubicBezTo>
                <a:cubicBezTo>
                  <a:pt x="4761709" y="852313"/>
                  <a:pt x="4778927" y="858052"/>
                  <a:pt x="4778927" y="852313"/>
                </a:cubicBezTo>
                <a:close/>
                <a:moveTo>
                  <a:pt x="4359945" y="852313"/>
                </a:moveTo>
                <a:cubicBezTo>
                  <a:pt x="4365685" y="863792"/>
                  <a:pt x="4348466" y="858052"/>
                  <a:pt x="4354206" y="863792"/>
                </a:cubicBezTo>
                <a:cubicBezTo>
                  <a:pt x="4348466" y="863792"/>
                  <a:pt x="4348466" y="863792"/>
                  <a:pt x="4342727" y="858052"/>
                </a:cubicBezTo>
                <a:cubicBezTo>
                  <a:pt x="4348466" y="858052"/>
                  <a:pt x="4354206" y="858052"/>
                  <a:pt x="4359945" y="852313"/>
                </a:cubicBezTo>
                <a:close/>
                <a:moveTo>
                  <a:pt x="2425425" y="852313"/>
                </a:moveTo>
                <a:lnTo>
                  <a:pt x="2427186" y="857005"/>
                </a:lnTo>
                <a:lnTo>
                  <a:pt x="2426760" y="858052"/>
                </a:lnTo>
                <a:lnTo>
                  <a:pt x="2427310" y="859406"/>
                </a:lnTo>
                <a:lnTo>
                  <a:pt x="2425425" y="864430"/>
                </a:lnTo>
                <a:cubicBezTo>
                  <a:pt x="2413310" y="852313"/>
                  <a:pt x="2407251" y="876547"/>
                  <a:pt x="2395134" y="882604"/>
                </a:cubicBezTo>
                <a:cubicBezTo>
                  <a:pt x="2389076" y="882604"/>
                  <a:pt x="2395134" y="876547"/>
                  <a:pt x="2395134" y="876547"/>
                </a:cubicBezTo>
                <a:cubicBezTo>
                  <a:pt x="2389076" y="888664"/>
                  <a:pt x="2376959" y="900780"/>
                  <a:pt x="2352727" y="900780"/>
                </a:cubicBezTo>
                <a:cubicBezTo>
                  <a:pt x="2358784" y="894722"/>
                  <a:pt x="2352727" y="894722"/>
                  <a:pt x="2352727" y="888664"/>
                </a:cubicBezTo>
                <a:cubicBezTo>
                  <a:pt x="2352727" y="900780"/>
                  <a:pt x="2328493" y="900780"/>
                  <a:pt x="2334551" y="906839"/>
                </a:cubicBezTo>
                <a:cubicBezTo>
                  <a:pt x="2328493" y="906839"/>
                  <a:pt x="2328493" y="900780"/>
                  <a:pt x="2322435" y="894722"/>
                </a:cubicBezTo>
                <a:cubicBezTo>
                  <a:pt x="2358784" y="888664"/>
                  <a:pt x="2358784" y="876547"/>
                  <a:pt x="2376959" y="870487"/>
                </a:cubicBezTo>
                <a:cubicBezTo>
                  <a:pt x="2358784" y="876547"/>
                  <a:pt x="2364842" y="864430"/>
                  <a:pt x="2352727" y="876547"/>
                </a:cubicBezTo>
                <a:cubicBezTo>
                  <a:pt x="2352727" y="858370"/>
                  <a:pt x="2364842" y="864430"/>
                  <a:pt x="2376959" y="858370"/>
                </a:cubicBezTo>
                <a:cubicBezTo>
                  <a:pt x="2376959" y="870487"/>
                  <a:pt x="2376959" y="870487"/>
                  <a:pt x="2383018" y="876547"/>
                </a:cubicBezTo>
                <a:cubicBezTo>
                  <a:pt x="2383018" y="876547"/>
                  <a:pt x="2389076" y="876547"/>
                  <a:pt x="2389076" y="870487"/>
                </a:cubicBezTo>
                <a:cubicBezTo>
                  <a:pt x="2389076" y="870487"/>
                  <a:pt x="2383018" y="870487"/>
                  <a:pt x="2383018" y="864430"/>
                </a:cubicBezTo>
                <a:cubicBezTo>
                  <a:pt x="2407251" y="870487"/>
                  <a:pt x="2407251" y="864430"/>
                  <a:pt x="2425425" y="852313"/>
                </a:cubicBezTo>
                <a:close/>
                <a:moveTo>
                  <a:pt x="4063129" y="850844"/>
                </a:moveTo>
                <a:cubicBezTo>
                  <a:pt x="4066000" y="856584"/>
                  <a:pt x="4067433" y="856584"/>
                  <a:pt x="4068151" y="857301"/>
                </a:cubicBezTo>
                <a:lnTo>
                  <a:pt x="4068498" y="862508"/>
                </a:lnTo>
                <a:lnTo>
                  <a:pt x="4057390" y="868062"/>
                </a:lnTo>
                <a:cubicBezTo>
                  <a:pt x="4057390" y="868062"/>
                  <a:pt x="4057390" y="868062"/>
                  <a:pt x="4057390" y="862323"/>
                </a:cubicBezTo>
                <a:lnTo>
                  <a:pt x="4057390" y="856061"/>
                </a:lnTo>
                <a:lnTo>
                  <a:pt x="4059543" y="855866"/>
                </a:lnTo>
                <a:cubicBezTo>
                  <a:pt x="4061694" y="853713"/>
                  <a:pt x="4063129" y="850844"/>
                  <a:pt x="4063129" y="850844"/>
                </a:cubicBezTo>
                <a:close/>
                <a:moveTo>
                  <a:pt x="4057390" y="850844"/>
                </a:moveTo>
                <a:lnTo>
                  <a:pt x="4057390" y="856061"/>
                </a:lnTo>
                <a:lnTo>
                  <a:pt x="4051650" y="856584"/>
                </a:lnTo>
                <a:cubicBezTo>
                  <a:pt x="4057390" y="856584"/>
                  <a:pt x="4057390" y="856584"/>
                  <a:pt x="4057390" y="850844"/>
                </a:cubicBezTo>
                <a:close/>
                <a:moveTo>
                  <a:pt x="4456323" y="846574"/>
                </a:moveTo>
                <a:lnTo>
                  <a:pt x="4459858" y="847422"/>
                </a:lnTo>
                <a:lnTo>
                  <a:pt x="4457911" y="848098"/>
                </a:lnTo>
                <a:lnTo>
                  <a:pt x="4456178" y="847084"/>
                </a:lnTo>
                <a:close/>
                <a:moveTo>
                  <a:pt x="2453964" y="846574"/>
                </a:moveTo>
                <a:cubicBezTo>
                  <a:pt x="2453964" y="846574"/>
                  <a:pt x="2453964" y="852313"/>
                  <a:pt x="2460182" y="852313"/>
                </a:cubicBezTo>
                <a:cubicBezTo>
                  <a:pt x="2460182" y="852313"/>
                  <a:pt x="2453964" y="852313"/>
                  <a:pt x="2447745" y="858052"/>
                </a:cubicBezTo>
                <a:cubicBezTo>
                  <a:pt x="2447745" y="852313"/>
                  <a:pt x="2447745" y="852313"/>
                  <a:pt x="2453964" y="852313"/>
                </a:cubicBezTo>
                <a:cubicBezTo>
                  <a:pt x="2441528" y="846574"/>
                  <a:pt x="2441528" y="863792"/>
                  <a:pt x="2429091" y="863792"/>
                </a:cubicBezTo>
                <a:lnTo>
                  <a:pt x="2427310" y="859406"/>
                </a:lnTo>
                <a:lnTo>
                  <a:pt x="2427698" y="858371"/>
                </a:lnTo>
                <a:lnTo>
                  <a:pt x="2427186" y="857005"/>
                </a:lnTo>
                <a:lnTo>
                  <a:pt x="2429091" y="852313"/>
                </a:lnTo>
                <a:cubicBezTo>
                  <a:pt x="2441528" y="846574"/>
                  <a:pt x="2441528" y="852313"/>
                  <a:pt x="2453964" y="846574"/>
                </a:cubicBezTo>
                <a:close/>
                <a:moveTo>
                  <a:pt x="1843188" y="846574"/>
                </a:moveTo>
                <a:cubicBezTo>
                  <a:pt x="1843188" y="858052"/>
                  <a:pt x="1825969" y="858052"/>
                  <a:pt x="1820230" y="863792"/>
                </a:cubicBezTo>
                <a:cubicBezTo>
                  <a:pt x="1820230" y="852313"/>
                  <a:pt x="1837448" y="852313"/>
                  <a:pt x="1843188" y="846574"/>
                </a:cubicBezTo>
                <a:close/>
                <a:moveTo>
                  <a:pt x="4492315" y="846215"/>
                </a:moveTo>
                <a:cubicBezTo>
                  <a:pt x="4504151" y="846215"/>
                  <a:pt x="4486395" y="852315"/>
                  <a:pt x="4480476" y="852315"/>
                </a:cubicBezTo>
                <a:lnTo>
                  <a:pt x="4483814" y="847154"/>
                </a:lnTo>
                <a:lnTo>
                  <a:pt x="4488614" y="848504"/>
                </a:lnTo>
                <a:cubicBezTo>
                  <a:pt x="4490834" y="847741"/>
                  <a:pt x="4492315" y="846215"/>
                  <a:pt x="4492315" y="846215"/>
                </a:cubicBezTo>
                <a:close/>
                <a:moveTo>
                  <a:pt x="2712229" y="845669"/>
                </a:moveTo>
                <a:lnTo>
                  <a:pt x="2704461" y="851111"/>
                </a:lnTo>
                <a:lnTo>
                  <a:pt x="2715241" y="847172"/>
                </a:lnTo>
                <a:close/>
                <a:moveTo>
                  <a:pt x="2251923" y="845669"/>
                </a:moveTo>
                <a:lnTo>
                  <a:pt x="2239967" y="851633"/>
                </a:lnTo>
                <a:cubicBezTo>
                  <a:pt x="2233989" y="851633"/>
                  <a:pt x="2236977" y="850142"/>
                  <a:pt x="2241462" y="848651"/>
                </a:cubicBezTo>
                <a:close/>
                <a:moveTo>
                  <a:pt x="2372002" y="843054"/>
                </a:moveTo>
                <a:lnTo>
                  <a:pt x="2375319" y="845856"/>
                </a:lnTo>
                <a:cubicBezTo>
                  <a:pt x="2376805" y="845138"/>
                  <a:pt x="2378293" y="843703"/>
                  <a:pt x="2381264" y="846574"/>
                </a:cubicBezTo>
                <a:lnTo>
                  <a:pt x="2363742" y="857147"/>
                </a:lnTo>
                <a:lnTo>
                  <a:pt x="2367459" y="846384"/>
                </a:lnTo>
                <a:close/>
                <a:moveTo>
                  <a:pt x="4041894" y="842809"/>
                </a:moveTo>
                <a:lnTo>
                  <a:pt x="4051650" y="850844"/>
                </a:lnTo>
                <a:cubicBezTo>
                  <a:pt x="4045910" y="845104"/>
                  <a:pt x="4040171" y="862323"/>
                  <a:pt x="4045910" y="862323"/>
                </a:cubicBezTo>
                <a:cubicBezTo>
                  <a:pt x="4051650" y="868062"/>
                  <a:pt x="4040171" y="868062"/>
                  <a:pt x="4034432" y="862323"/>
                </a:cubicBezTo>
                <a:cubicBezTo>
                  <a:pt x="4034432" y="862323"/>
                  <a:pt x="4040171" y="862323"/>
                  <a:pt x="4040171" y="862323"/>
                </a:cubicBezTo>
                <a:cubicBezTo>
                  <a:pt x="4045910" y="862323"/>
                  <a:pt x="4034432" y="850844"/>
                  <a:pt x="4034432" y="856584"/>
                </a:cubicBezTo>
                <a:cubicBezTo>
                  <a:pt x="4034432" y="845104"/>
                  <a:pt x="4040171" y="856584"/>
                  <a:pt x="4045910" y="850844"/>
                </a:cubicBezTo>
                <a:close/>
                <a:moveTo>
                  <a:pt x="4400122" y="842269"/>
                </a:moveTo>
                <a:lnTo>
                  <a:pt x="4400805" y="843294"/>
                </a:lnTo>
                <a:lnTo>
                  <a:pt x="4397252" y="846574"/>
                </a:lnTo>
                <a:cubicBezTo>
                  <a:pt x="4397252" y="843704"/>
                  <a:pt x="4398687" y="842269"/>
                  <a:pt x="4400122" y="842269"/>
                </a:cubicBezTo>
                <a:close/>
                <a:moveTo>
                  <a:pt x="1955377" y="841820"/>
                </a:moveTo>
                <a:cubicBezTo>
                  <a:pt x="1956902" y="842269"/>
                  <a:pt x="1957977" y="843704"/>
                  <a:pt x="1957977" y="846574"/>
                </a:cubicBezTo>
                <a:cubicBezTo>
                  <a:pt x="1952238" y="846574"/>
                  <a:pt x="1952238" y="852313"/>
                  <a:pt x="1946498" y="852313"/>
                </a:cubicBezTo>
                <a:cubicBezTo>
                  <a:pt x="1943627" y="849443"/>
                  <a:pt x="1946498" y="845138"/>
                  <a:pt x="1950085" y="842987"/>
                </a:cubicBezTo>
                <a:cubicBezTo>
                  <a:pt x="1951879" y="841910"/>
                  <a:pt x="1953852" y="841372"/>
                  <a:pt x="1955377" y="841820"/>
                </a:cubicBezTo>
                <a:close/>
                <a:moveTo>
                  <a:pt x="4487710" y="841134"/>
                </a:moveTo>
                <a:lnTo>
                  <a:pt x="4483814" y="847154"/>
                </a:lnTo>
                <a:lnTo>
                  <a:pt x="4480476" y="846215"/>
                </a:lnTo>
                <a:close/>
                <a:moveTo>
                  <a:pt x="4035176" y="840428"/>
                </a:moveTo>
                <a:lnTo>
                  <a:pt x="4039453" y="840801"/>
                </a:lnTo>
                <a:lnTo>
                  <a:pt x="4040171" y="841392"/>
                </a:lnTo>
                <a:lnTo>
                  <a:pt x="4040171" y="845104"/>
                </a:lnTo>
                <a:cubicBezTo>
                  <a:pt x="4040171" y="847973"/>
                  <a:pt x="4040171" y="847973"/>
                  <a:pt x="4039453" y="846540"/>
                </a:cubicBezTo>
                <a:close/>
                <a:moveTo>
                  <a:pt x="2263254" y="840016"/>
                </a:moveTo>
                <a:lnTo>
                  <a:pt x="2263133" y="840451"/>
                </a:lnTo>
                <a:cubicBezTo>
                  <a:pt x="2262385" y="842687"/>
                  <a:pt x="2260891" y="845669"/>
                  <a:pt x="2257901" y="845669"/>
                </a:cubicBezTo>
                <a:lnTo>
                  <a:pt x="2256705" y="843284"/>
                </a:lnTo>
                <a:close/>
                <a:moveTo>
                  <a:pt x="4040171" y="839365"/>
                </a:moveTo>
                <a:lnTo>
                  <a:pt x="4041894" y="842809"/>
                </a:lnTo>
                <a:lnTo>
                  <a:pt x="4040171" y="841392"/>
                </a:lnTo>
                <a:close/>
                <a:moveTo>
                  <a:pt x="4034432" y="839365"/>
                </a:moveTo>
                <a:lnTo>
                  <a:pt x="4035176" y="840428"/>
                </a:lnTo>
                <a:lnTo>
                  <a:pt x="4034432" y="840363"/>
                </a:lnTo>
                <a:close/>
                <a:moveTo>
                  <a:pt x="4022953" y="839365"/>
                </a:moveTo>
                <a:lnTo>
                  <a:pt x="4034432" y="840363"/>
                </a:lnTo>
                <a:lnTo>
                  <a:pt x="4034432" y="845104"/>
                </a:lnTo>
                <a:cubicBezTo>
                  <a:pt x="4028692" y="845104"/>
                  <a:pt x="4028692" y="845104"/>
                  <a:pt x="4022953" y="839365"/>
                </a:cubicBezTo>
                <a:close/>
                <a:moveTo>
                  <a:pt x="2622522" y="839363"/>
                </a:moveTo>
                <a:cubicBezTo>
                  <a:pt x="2628261" y="845103"/>
                  <a:pt x="2628261" y="856582"/>
                  <a:pt x="2616782" y="862321"/>
                </a:cubicBezTo>
                <a:cubicBezTo>
                  <a:pt x="2616782" y="862321"/>
                  <a:pt x="2622522" y="856582"/>
                  <a:pt x="2616782" y="856582"/>
                </a:cubicBezTo>
                <a:cubicBezTo>
                  <a:pt x="2605303" y="856582"/>
                  <a:pt x="2616782" y="862321"/>
                  <a:pt x="2611043" y="868061"/>
                </a:cubicBezTo>
                <a:cubicBezTo>
                  <a:pt x="2599564" y="868061"/>
                  <a:pt x="2616782" y="856582"/>
                  <a:pt x="2605303" y="856582"/>
                </a:cubicBezTo>
                <a:cubicBezTo>
                  <a:pt x="2593825" y="856582"/>
                  <a:pt x="2599564" y="862321"/>
                  <a:pt x="2588085" y="868061"/>
                </a:cubicBezTo>
                <a:cubicBezTo>
                  <a:pt x="2582345" y="850842"/>
                  <a:pt x="2599564" y="856582"/>
                  <a:pt x="2605303" y="845103"/>
                </a:cubicBezTo>
                <a:cubicBezTo>
                  <a:pt x="2611043" y="850842"/>
                  <a:pt x="2611043" y="850842"/>
                  <a:pt x="2611043" y="856582"/>
                </a:cubicBezTo>
                <a:cubicBezTo>
                  <a:pt x="2611043" y="850842"/>
                  <a:pt x="2628261" y="850842"/>
                  <a:pt x="2622522" y="839363"/>
                </a:cubicBezTo>
                <a:close/>
                <a:moveTo>
                  <a:pt x="2263787" y="838121"/>
                </a:moveTo>
                <a:cubicBezTo>
                  <a:pt x="2263880" y="837841"/>
                  <a:pt x="2263880" y="838213"/>
                  <a:pt x="2263880" y="839704"/>
                </a:cubicBezTo>
                <a:lnTo>
                  <a:pt x="2263254" y="840016"/>
                </a:lnTo>
                <a:close/>
                <a:moveTo>
                  <a:pt x="2543403" y="835094"/>
                </a:moveTo>
                <a:cubicBezTo>
                  <a:pt x="2549143" y="835094"/>
                  <a:pt x="2554882" y="840834"/>
                  <a:pt x="2560622" y="835094"/>
                </a:cubicBezTo>
                <a:cubicBezTo>
                  <a:pt x="2560622" y="846574"/>
                  <a:pt x="2549143" y="840834"/>
                  <a:pt x="2560622" y="852313"/>
                </a:cubicBezTo>
                <a:cubicBezTo>
                  <a:pt x="2554882" y="852313"/>
                  <a:pt x="2549143" y="846574"/>
                  <a:pt x="2549143" y="840834"/>
                </a:cubicBezTo>
                <a:cubicBezTo>
                  <a:pt x="2537664" y="840834"/>
                  <a:pt x="2543403" y="852313"/>
                  <a:pt x="2531925" y="858052"/>
                </a:cubicBezTo>
                <a:cubicBezTo>
                  <a:pt x="2531925" y="846574"/>
                  <a:pt x="2543403" y="846574"/>
                  <a:pt x="2543403" y="835094"/>
                </a:cubicBezTo>
                <a:close/>
                <a:moveTo>
                  <a:pt x="1886234" y="835094"/>
                </a:moveTo>
                <a:cubicBezTo>
                  <a:pt x="1891974" y="840834"/>
                  <a:pt x="1886234" y="846574"/>
                  <a:pt x="1886234" y="852313"/>
                </a:cubicBezTo>
                <a:cubicBezTo>
                  <a:pt x="1891974" y="852313"/>
                  <a:pt x="1897714" y="846574"/>
                  <a:pt x="1903453" y="846574"/>
                </a:cubicBezTo>
                <a:cubicBezTo>
                  <a:pt x="1909192" y="846574"/>
                  <a:pt x="1891974" y="858052"/>
                  <a:pt x="1880495" y="858052"/>
                </a:cubicBezTo>
                <a:cubicBezTo>
                  <a:pt x="1883364" y="855182"/>
                  <a:pt x="1884800" y="853748"/>
                  <a:pt x="1884800" y="851595"/>
                </a:cubicBezTo>
                <a:lnTo>
                  <a:pt x="1880495" y="840834"/>
                </a:lnTo>
                <a:cubicBezTo>
                  <a:pt x="1883364" y="839399"/>
                  <a:pt x="1886234" y="837963"/>
                  <a:pt x="1886234" y="835094"/>
                </a:cubicBezTo>
                <a:close/>
                <a:moveTo>
                  <a:pt x="1748488" y="835094"/>
                </a:moveTo>
                <a:cubicBezTo>
                  <a:pt x="1736529" y="853096"/>
                  <a:pt x="1706637" y="853096"/>
                  <a:pt x="1700657" y="865097"/>
                </a:cubicBezTo>
                <a:cubicBezTo>
                  <a:pt x="1706637" y="871097"/>
                  <a:pt x="1718593" y="859095"/>
                  <a:pt x="1718593" y="859095"/>
                </a:cubicBezTo>
                <a:cubicBezTo>
                  <a:pt x="1724573" y="865097"/>
                  <a:pt x="1712616" y="871097"/>
                  <a:pt x="1718593" y="877097"/>
                </a:cubicBezTo>
                <a:cubicBezTo>
                  <a:pt x="1706637" y="877097"/>
                  <a:pt x="1700657" y="883096"/>
                  <a:pt x="1682721" y="889098"/>
                </a:cubicBezTo>
                <a:cubicBezTo>
                  <a:pt x="1682721" y="877097"/>
                  <a:pt x="1694679" y="877097"/>
                  <a:pt x="1688701" y="871097"/>
                </a:cubicBezTo>
                <a:cubicBezTo>
                  <a:pt x="1676743" y="871097"/>
                  <a:pt x="1652829" y="889098"/>
                  <a:pt x="1628915" y="901098"/>
                </a:cubicBezTo>
                <a:cubicBezTo>
                  <a:pt x="1640871" y="907099"/>
                  <a:pt x="1664785" y="889098"/>
                  <a:pt x="1670765" y="889098"/>
                </a:cubicBezTo>
                <a:cubicBezTo>
                  <a:pt x="1676743" y="895098"/>
                  <a:pt x="1640871" y="919099"/>
                  <a:pt x="1640871" y="907099"/>
                </a:cubicBezTo>
                <a:lnTo>
                  <a:pt x="1627239" y="925341"/>
                </a:lnTo>
                <a:lnTo>
                  <a:pt x="1623683" y="925850"/>
                </a:lnTo>
                <a:lnTo>
                  <a:pt x="1623563" y="926691"/>
                </a:lnTo>
                <a:lnTo>
                  <a:pt x="1608737" y="931101"/>
                </a:lnTo>
                <a:cubicBezTo>
                  <a:pt x="1602011" y="935601"/>
                  <a:pt x="1596033" y="940101"/>
                  <a:pt x="1593043" y="937100"/>
                </a:cubicBezTo>
                <a:cubicBezTo>
                  <a:pt x="1587065" y="919099"/>
                  <a:pt x="1616957" y="925101"/>
                  <a:pt x="1610979" y="907099"/>
                </a:cubicBezTo>
                <a:cubicBezTo>
                  <a:pt x="1610979" y="919099"/>
                  <a:pt x="1563149" y="919099"/>
                  <a:pt x="1569128" y="943101"/>
                </a:cubicBezTo>
                <a:cubicBezTo>
                  <a:pt x="1569128" y="943101"/>
                  <a:pt x="1575107" y="943101"/>
                  <a:pt x="1581085" y="937100"/>
                </a:cubicBezTo>
                <a:cubicBezTo>
                  <a:pt x="1575107" y="943101"/>
                  <a:pt x="1569128" y="949102"/>
                  <a:pt x="1563149" y="949102"/>
                </a:cubicBezTo>
                <a:cubicBezTo>
                  <a:pt x="1557171" y="949102"/>
                  <a:pt x="1557171" y="955101"/>
                  <a:pt x="1545213" y="955101"/>
                </a:cubicBezTo>
                <a:cubicBezTo>
                  <a:pt x="1545213" y="949102"/>
                  <a:pt x="1545213" y="949102"/>
                  <a:pt x="1551193" y="943101"/>
                </a:cubicBezTo>
                <a:cubicBezTo>
                  <a:pt x="1545213" y="943101"/>
                  <a:pt x="1539234" y="943101"/>
                  <a:pt x="1533256" y="949102"/>
                </a:cubicBezTo>
                <a:cubicBezTo>
                  <a:pt x="1545213" y="931101"/>
                  <a:pt x="1563149" y="925101"/>
                  <a:pt x="1593043" y="913099"/>
                </a:cubicBezTo>
                <a:cubicBezTo>
                  <a:pt x="1628915" y="895098"/>
                  <a:pt x="1670765" y="865097"/>
                  <a:pt x="1694679" y="865097"/>
                </a:cubicBezTo>
                <a:cubicBezTo>
                  <a:pt x="1706637" y="847096"/>
                  <a:pt x="1718593" y="847096"/>
                  <a:pt x="1748488" y="835094"/>
                </a:cubicBezTo>
                <a:close/>
                <a:moveTo>
                  <a:pt x="2473096" y="833660"/>
                </a:moveTo>
                <a:cubicBezTo>
                  <a:pt x="2474531" y="833301"/>
                  <a:pt x="2475965" y="833660"/>
                  <a:pt x="2477400" y="835094"/>
                </a:cubicBezTo>
                <a:cubicBezTo>
                  <a:pt x="2477400" y="840834"/>
                  <a:pt x="2465921" y="840834"/>
                  <a:pt x="2460182" y="846574"/>
                </a:cubicBezTo>
                <a:cubicBezTo>
                  <a:pt x="2464487" y="842269"/>
                  <a:pt x="2468791" y="834736"/>
                  <a:pt x="2473096" y="833660"/>
                </a:cubicBezTo>
                <a:close/>
                <a:moveTo>
                  <a:pt x="4420210" y="829355"/>
                </a:moveTo>
                <a:cubicBezTo>
                  <a:pt x="4414471" y="835094"/>
                  <a:pt x="4408732" y="840834"/>
                  <a:pt x="4402992" y="846574"/>
                </a:cubicBezTo>
                <a:lnTo>
                  <a:pt x="4400805" y="843294"/>
                </a:lnTo>
                <a:lnTo>
                  <a:pt x="4406579" y="837965"/>
                </a:lnTo>
                <a:cubicBezTo>
                  <a:pt x="4410166" y="835094"/>
                  <a:pt x="4414471" y="832225"/>
                  <a:pt x="4420210" y="829355"/>
                </a:cubicBezTo>
                <a:close/>
                <a:moveTo>
                  <a:pt x="4051648" y="827885"/>
                </a:moveTo>
                <a:cubicBezTo>
                  <a:pt x="4057388" y="827885"/>
                  <a:pt x="4057388" y="827885"/>
                  <a:pt x="4057388" y="833624"/>
                </a:cubicBezTo>
                <a:cubicBezTo>
                  <a:pt x="4057388" y="833624"/>
                  <a:pt x="4057388" y="839363"/>
                  <a:pt x="4051648" y="839363"/>
                </a:cubicBezTo>
                <a:cubicBezTo>
                  <a:pt x="4051648" y="839363"/>
                  <a:pt x="4051648" y="833624"/>
                  <a:pt x="4051648" y="827885"/>
                </a:cubicBezTo>
                <a:close/>
                <a:moveTo>
                  <a:pt x="2485337" y="827741"/>
                </a:moveTo>
                <a:cubicBezTo>
                  <a:pt x="2489418" y="828279"/>
                  <a:pt x="2498207" y="833660"/>
                  <a:pt x="2503229" y="829355"/>
                </a:cubicBezTo>
                <a:cubicBezTo>
                  <a:pt x="2496533" y="835094"/>
                  <a:pt x="2483140" y="835094"/>
                  <a:pt x="2483140" y="829355"/>
                </a:cubicBezTo>
                <a:cubicBezTo>
                  <a:pt x="2483140" y="827920"/>
                  <a:pt x="2483977" y="827562"/>
                  <a:pt x="2485337" y="827741"/>
                </a:cubicBezTo>
                <a:close/>
                <a:moveTo>
                  <a:pt x="3978260" y="827218"/>
                </a:moveTo>
                <a:cubicBezTo>
                  <a:pt x="3976205" y="827032"/>
                  <a:pt x="3974336" y="828522"/>
                  <a:pt x="3972095" y="830759"/>
                </a:cubicBezTo>
                <a:lnTo>
                  <a:pt x="3970523" y="832258"/>
                </a:lnTo>
                <a:lnTo>
                  <a:pt x="3974166" y="833624"/>
                </a:lnTo>
                <a:cubicBezTo>
                  <a:pt x="3978472" y="833624"/>
                  <a:pt x="3976318" y="830395"/>
                  <a:pt x="3979816" y="828781"/>
                </a:cubicBezTo>
                <a:lnTo>
                  <a:pt x="3979978" y="828756"/>
                </a:lnTo>
                <a:close/>
                <a:moveTo>
                  <a:pt x="1767300" y="827202"/>
                </a:moveTo>
                <a:cubicBezTo>
                  <a:pt x="1768815" y="827920"/>
                  <a:pt x="1770330" y="829355"/>
                  <a:pt x="1773358" y="829355"/>
                </a:cubicBezTo>
                <a:cubicBezTo>
                  <a:pt x="1773358" y="829355"/>
                  <a:pt x="1767300" y="829355"/>
                  <a:pt x="1767300" y="835094"/>
                </a:cubicBezTo>
                <a:cubicBezTo>
                  <a:pt x="1773358" y="840834"/>
                  <a:pt x="1785475" y="835094"/>
                  <a:pt x="1791534" y="835094"/>
                </a:cubicBezTo>
                <a:cubicBezTo>
                  <a:pt x="1779417" y="852313"/>
                  <a:pt x="1755183" y="846574"/>
                  <a:pt x="1737008" y="858052"/>
                </a:cubicBezTo>
                <a:cubicBezTo>
                  <a:pt x="1737008" y="840834"/>
                  <a:pt x="1767300" y="852313"/>
                  <a:pt x="1761242" y="829355"/>
                </a:cubicBezTo>
                <a:cubicBezTo>
                  <a:pt x="1764271" y="826484"/>
                  <a:pt x="1765786" y="826484"/>
                  <a:pt x="1767300" y="827202"/>
                </a:cubicBezTo>
                <a:close/>
                <a:moveTo>
                  <a:pt x="2853900" y="826494"/>
                </a:moveTo>
                <a:lnTo>
                  <a:pt x="2850252" y="827777"/>
                </a:lnTo>
                <a:lnTo>
                  <a:pt x="2855701" y="827777"/>
                </a:lnTo>
                <a:close/>
                <a:moveTo>
                  <a:pt x="4540740" y="823616"/>
                </a:moveTo>
                <a:cubicBezTo>
                  <a:pt x="4540740" y="829355"/>
                  <a:pt x="4523521" y="835094"/>
                  <a:pt x="4517781" y="835094"/>
                </a:cubicBezTo>
                <a:cubicBezTo>
                  <a:pt x="4517781" y="829355"/>
                  <a:pt x="4535000" y="829355"/>
                  <a:pt x="4540740" y="823616"/>
                </a:cubicBezTo>
                <a:close/>
                <a:moveTo>
                  <a:pt x="1897714" y="823616"/>
                </a:moveTo>
                <a:cubicBezTo>
                  <a:pt x="1891974" y="829355"/>
                  <a:pt x="1880495" y="835094"/>
                  <a:pt x="1863277" y="840834"/>
                </a:cubicBezTo>
                <a:cubicBezTo>
                  <a:pt x="1863277" y="829355"/>
                  <a:pt x="1886234" y="829355"/>
                  <a:pt x="1897714" y="823616"/>
                </a:cubicBezTo>
                <a:close/>
                <a:moveTo>
                  <a:pt x="4765078" y="823006"/>
                </a:moveTo>
                <a:lnTo>
                  <a:pt x="4750730" y="827777"/>
                </a:lnTo>
                <a:cubicBezTo>
                  <a:pt x="4702905" y="839704"/>
                  <a:pt x="4655081" y="863560"/>
                  <a:pt x="4607257" y="869526"/>
                </a:cubicBezTo>
                <a:cubicBezTo>
                  <a:pt x="4634158" y="857597"/>
                  <a:pt x="4670027" y="844178"/>
                  <a:pt x="4705895" y="833741"/>
                </a:cubicBezTo>
                <a:close/>
                <a:moveTo>
                  <a:pt x="4117653" y="822147"/>
                </a:moveTo>
                <a:cubicBezTo>
                  <a:pt x="4117653" y="827886"/>
                  <a:pt x="4117653" y="833626"/>
                  <a:pt x="4117653" y="833626"/>
                </a:cubicBezTo>
                <a:cubicBezTo>
                  <a:pt x="4111914" y="845104"/>
                  <a:pt x="4117653" y="822147"/>
                  <a:pt x="4111914" y="827886"/>
                </a:cubicBezTo>
                <a:cubicBezTo>
                  <a:pt x="4106174" y="833626"/>
                  <a:pt x="4111914" y="833626"/>
                  <a:pt x="4111914" y="839365"/>
                </a:cubicBezTo>
                <a:cubicBezTo>
                  <a:pt x="4100435" y="839365"/>
                  <a:pt x="4100435" y="827886"/>
                  <a:pt x="4094695" y="833626"/>
                </a:cubicBezTo>
                <a:cubicBezTo>
                  <a:pt x="4100435" y="822147"/>
                  <a:pt x="4106174" y="833626"/>
                  <a:pt x="4117653" y="822147"/>
                </a:cubicBezTo>
                <a:close/>
                <a:moveTo>
                  <a:pt x="4480476" y="821823"/>
                </a:moveTo>
                <a:cubicBezTo>
                  <a:pt x="4483435" y="821823"/>
                  <a:pt x="4487874" y="823347"/>
                  <a:pt x="4490835" y="823347"/>
                </a:cubicBezTo>
                <a:lnTo>
                  <a:pt x="4492966" y="822250"/>
                </a:lnTo>
                <a:lnTo>
                  <a:pt x="4500453" y="827159"/>
                </a:lnTo>
                <a:cubicBezTo>
                  <a:pt x="4502672" y="827921"/>
                  <a:pt x="4504151" y="827921"/>
                  <a:pt x="4504151" y="827921"/>
                </a:cubicBezTo>
                <a:cubicBezTo>
                  <a:pt x="4504151" y="827921"/>
                  <a:pt x="4501192" y="830971"/>
                  <a:pt x="4496753" y="834782"/>
                </a:cubicBezTo>
                <a:lnTo>
                  <a:pt x="4487710" y="841134"/>
                </a:lnTo>
                <a:lnTo>
                  <a:pt x="4492315" y="834019"/>
                </a:lnTo>
                <a:lnTo>
                  <a:pt x="4486183" y="829425"/>
                </a:lnTo>
                <a:lnTo>
                  <a:pt x="4486215" y="829355"/>
                </a:lnTo>
                <a:lnTo>
                  <a:pt x="4486110" y="829371"/>
                </a:lnTo>
                <a:lnTo>
                  <a:pt x="4484175" y="827921"/>
                </a:lnTo>
                <a:cubicBezTo>
                  <a:pt x="4481956" y="826397"/>
                  <a:pt x="4480476" y="824872"/>
                  <a:pt x="4480476" y="821823"/>
                </a:cubicBezTo>
                <a:close/>
                <a:moveTo>
                  <a:pt x="2760054" y="821814"/>
                </a:moveTo>
                <a:cubicBezTo>
                  <a:pt x="2757065" y="824795"/>
                  <a:pt x="2755570" y="827777"/>
                  <a:pt x="2754822" y="830759"/>
                </a:cubicBezTo>
                <a:lnTo>
                  <a:pt x="2754587" y="833586"/>
                </a:lnTo>
                <a:lnTo>
                  <a:pt x="2760363" y="829934"/>
                </a:lnTo>
                <a:lnTo>
                  <a:pt x="2761735" y="826286"/>
                </a:lnTo>
                <a:cubicBezTo>
                  <a:pt x="2761922" y="824795"/>
                  <a:pt x="2761548" y="823304"/>
                  <a:pt x="2760054" y="821814"/>
                </a:cubicBezTo>
                <a:close/>
                <a:moveTo>
                  <a:pt x="4493719" y="821516"/>
                </a:moveTo>
                <a:lnTo>
                  <a:pt x="4493794" y="821823"/>
                </a:lnTo>
                <a:lnTo>
                  <a:pt x="4492966" y="822250"/>
                </a:lnTo>
                <a:lnTo>
                  <a:pt x="4492315" y="821823"/>
                </a:lnTo>
                <a:close/>
                <a:moveTo>
                  <a:pt x="4779872" y="818086"/>
                </a:moveTo>
                <a:lnTo>
                  <a:pt x="4786597" y="819101"/>
                </a:lnTo>
                <a:lnTo>
                  <a:pt x="4765078" y="823006"/>
                </a:lnTo>
                <a:close/>
                <a:moveTo>
                  <a:pt x="4457518" y="817876"/>
                </a:moveTo>
                <a:cubicBezTo>
                  <a:pt x="4457518" y="823616"/>
                  <a:pt x="4445083" y="823616"/>
                  <a:pt x="4445083" y="823616"/>
                </a:cubicBezTo>
                <a:cubicBezTo>
                  <a:pt x="4420210" y="840834"/>
                  <a:pt x="4445083" y="812137"/>
                  <a:pt x="4457518" y="817876"/>
                </a:cubicBezTo>
                <a:close/>
                <a:moveTo>
                  <a:pt x="2782751" y="817060"/>
                </a:moveTo>
                <a:lnTo>
                  <a:pt x="2782081" y="817438"/>
                </a:lnTo>
                <a:lnTo>
                  <a:pt x="2778358" y="818557"/>
                </a:lnTo>
                <a:lnTo>
                  <a:pt x="2764251" y="827477"/>
                </a:lnTo>
                <a:lnTo>
                  <a:pt x="2763883" y="827684"/>
                </a:lnTo>
                <a:lnTo>
                  <a:pt x="2763873" y="827716"/>
                </a:lnTo>
                <a:lnTo>
                  <a:pt x="2764251" y="827477"/>
                </a:lnTo>
                <a:lnTo>
                  <a:pt x="2782081" y="817438"/>
                </a:lnTo>
                <a:lnTo>
                  <a:pt x="2782934" y="817181"/>
                </a:lnTo>
                <a:close/>
                <a:moveTo>
                  <a:pt x="2505112" y="816441"/>
                </a:moveTo>
                <a:cubicBezTo>
                  <a:pt x="2509147" y="815005"/>
                  <a:pt x="2513990" y="815005"/>
                  <a:pt x="2520447" y="817876"/>
                </a:cubicBezTo>
                <a:cubicBezTo>
                  <a:pt x="2520447" y="817876"/>
                  <a:pt x="2520447" y="817876"/>
                  <a:pt x="2520447" y="823616"/>
                </a:cubicBezTo>
                <a:cubicBezTo>
                  <a:pt x="2520447" y="823616"/>
                  <a:pt x="2520447" y="817876"/>
                  <a:pt x="2513990" y="817876"/>
                </a:cubicBezTo>
                <a:cubicBezTo>
                  <a:pt x="2507533" y="823616"/>
                  <a:pt x="2501076" y="829355"/>
                  <a:pt x="2494619" y="823616"/>
                </a:cubicBezTo>
                <a:cubicBezTo>
                  <a:pt x="2497848" y="820745"/>
                  <a:pt x="2501076" y="817876"/>
                  <a:pt x="2505112" y="816441"/>
                </a:cubicBezTo>
                <a:close/>
                <a:moveTo>
                  <a:pt x="4070783" y="816407"/>
                </a:moveTo>
                <a:cubicBezTo>
                  <a:pt x="4077479" y="816407"/>
                  <a:pt x="4077479" y="827886"/>
                  <a:pt x="4077479" y="827886"/>
                </a:cubicBezTo>
                <a:cubicBezTo>
                  <a:pt x="4057390" y="827886"/>
                  <a:pt x="4070783" y="839365"/>
                  <a:pt x="4057390" y="822147"/>
                </a:cubicBezTo>
                <a:cubicBezTo>
                  <a:pt x="4064087" y="822147"/>
                  <a:pt x="4077479" y="827886"/>
                  <a:pt x="4070783" y="816407"/>
                </a:cubicBezTo>
                <a:close/>
                <a:moveTo>
                  <a:pt x="4140611" y="816405"/>
                </a:moveTo>
                <a:cubicBezTo>
                  <a:pt x="4140611" y="822145"/>
                  <a:pt x="4129132" y="822145"/>
                  <a:pt x="4134872" y="827885"/>
                </a:cubicBezTo>
                <a:cubicBezTo>
                  <a:pt x="4123392" y="822145"/>
                  <a:pt x="4134872" y="816405"/>
                  <a:pt x="4140611" y="816405"/>
                </a:cubicBezTo>
                <a:close/>
                <a:moveTo>
                  <a:pt x="2422876" y="812137"/>
                </a:moveTo>
                <a:cubicBezTo>
                  <a:pt x="2422876" y="823616"/>
                  <a:pt x="2422876" y="823616"/>
                  <a:pt x="2422876" y="829355"/>
                </a:cubicBezTo>
                <a:cubicBezTo>
                  <a:pt x="2419905" y="820745"/>
                  <a:pt x="2406529" y="822180"/>
                  <a:pt x="2391666" y="828637"/>
                </a:cubicBezTo>
                <a:lnTo>
                  <a:pt x="2372002" y="843054"/>
                </a:lnTo>
                <a:lnTo>
                  <a:pt x="2369375" y="840834"/>
                </a:lnTo>
                <a:lnTo>
                  <a:pt x="2367459" y="846384"/>
                </a:lnTo>
                <a:lnTo>
                  <a:pt x="2351542" y="858052"/>
                </a:lnTo>
                <a:cubicBezTo>
                  <a:pt x="2351542" y="858052"/>
                  <a:pt x="2351542" y="852313"/>
                  <a:pt x="2351542" y="852313"/>
                </a:cubicBezTo>
                <a:cubicBezTo>
                  <a:pt x="2351542" y="846574"/>
                  <a:pt x="2339653" y="858052"/>
                  <a:pt x="2339653" y="846574"/>
                </a:cubicBezTo>
                <a:cubicBezTo>
                  <a:pt x="2345597" y="840834"/>
                  <a:pt x="2345597" y="852313"/>
                  <a:pt x="2357486" y="846574"/>
                </a:cubicBezTo>
                <a:cubicBezTo>
                  <a:pt x="2363430" y="846574"/>
                  <a:pt x="2363430" y="835094"/>
                  <a:pt x="2357486" y="835094"/>
                </a:cubicBezTo>
                <a:cubicBezTo>
                  <a:pt x="2351542" y="829355"/>
                  <a:pt x="2369375" y="829355"/>
                  <a:pt x="2369375" y="835094"/>
                </a:cubicBezTo>
                <a:cubicBezTo>
                  <a:pt x="2381264" y="817876"/>
                  <a:pt x="2399097" y="823616"/>
                  <a:pt x="2422876" y="812137"/>
                </a:cubicBezTo>
                <a:close/>
                <a:moveTo>
                  <a:pt x="1927046" y="810766"/>
                </a:moveTo>
                <a:lnTo>
                  <a:pt x="1924535" y="811456"/>
                </a:lnTo>
                <a:cubicBezTo>
                  <a:pt x="1918574" y="813716"/>
                  <a:pt x="1912614" y="816730"/>
                  <a:pt x="1909634" y="816730"/>
                </a:cubicBezTo>
                <a:cubicBezTo>
                  <a:pt x="1900694" y="816730"/>
                  <a:pt x="1911869" y="813340"/>
                  <a:pt x="1920530" y="811645"/>
                </a:cubicBezTo>
                <a:close/>
                <a:moveTo>
                  <a:pt x="4094695" y="810667"/>
                </a:moveTo>
                <a:cubicBezTo>
                  <a:pt x="4094695" y="816407"/>
                  <a:pt x="4094695" y="822147"/>
                  <a:pt x="4094695" y="822147"/>
                </a:cubicBezTo>
                <a:cubicBezTo>
                  <a:pt x="4088956" y="827886"/>
                  <a:pt x="4083217" y="816407"/>
                  <a:pt x="4083217" y="827886"/>
                </a:cubicBezTo>
                <a:cubicBezTo>
                  <a:pt x="4077476" y="827886"/>
                  <a:pt x="4083217" y="810667"/>
                  <a:pt x="4094695" y="810667"/>
                </a:cubicBezTo>
                <a:close/>
                <a:moveTo>
                  <a:pt x="1927661" y="810598"/>
                </a:moveTo>
                <a:lnTo>
                  <a:pt x="1927515" y="810703"/>
                </a:lnTo>
                <a:lnTo>
                  <a:pt x="1927046" y="810766"/>
                </a:lnTo>
                <a:close/>
                <a:moveTo>
                  <a:pt x="4003479" y="809884"/>
                </a:moveTo>
                <a:cubicBezTo>
                  <a:pt x="3997501" y="815850"/>
                  <a:pt x="3997501" y="815850"/>
                  <a:pt x="3991523" y="815850"/>
                </a:cubicBezTo>
                <a:cubicBezTo>
                  <a:pt x="3994512" y="818832"/>
                  <a:pt x="3996007" y="818832"/>
                  <a:pt x="3997501" y="818086"/>
                </a:cubicBezTo>
                <a:lnTo>
                  <a:pt x="4000372" y="817012"/>
                </a:lnTo>
                <a:lnTo>
                  <a:pt x="4001430" y="814685"/>
                </a:lnTo>
                <a:lnTo>
                  <a:pt x="4003502" y="810127"/>
                </a:lnTo>
                <a:close/>
                <a:moveTo>
                  <a:pt x="4472134" y="805634"/>
                </a:moveTo>
                <a:cubicBezTo>
                  <a:pt x="4473658" y="806157"/>
                  <a:pt x="4474734" y="807831"/>
                  <a:pt x="4474734" y="811180"/>
                </a:cubicBezTo>
                <a:cubicBezTo>
                  <a:pt x="4468995" y="811180"/>
                  <a:pt x="4468995" y="811180"/>
                  <a:pt x="4463256" y="817876"/>
                </a:cubicBezTo>
                <a:cubicBezTo>
                  <a:pt x="4460387" y="814528"/>
                  <a:pt x="4463256" y="809506"/>
                  <a:pt x="4466844" y="806994"/>
                </a:cubicBezTo>
                <a:cubicBezTo>
                  <a:pt x="4468637" y="805738"/>
                  <a:pt x="4470610" y="805110"/>
                  <a:pt x="4472134" y="805634"/>
                </a:cubicBezTo>
                <a:close/>
                <a:moveTo>
                  <a:pt x="4025270" y="804978"/>
                </a:moveTo>
                <a:lnTo>
                  <a:pt x="4021559" y="806829"/>
                </a:lnTo>
                <a:lnTo>
                  <a:pt x="4023495" y="808519"/>
                </a:lnTo>
                <a:close/>
                <a:moveTo>
                  <a:pt x="2460182" y="804964"/>
                </a:moveTo>
                <a:cubicBezTo>
                  <a:pt x="2465921" y="811061"/>
                  <a:pt x="2465921" y="811061"/>
                  <a:pt x="2465921" y="817160"/>
                </a:cubicBezTo>
                <a:cubicBezTo>
                  <a:pt x="2465921" y="811061"/>
                  <a:pt x="2448703" y="817160"/>
                  <a:pt x="2431485" y="829357"/>
                </a:cubicBezTo>
                <a:cubicBezTo>
                  <a:pt x="2437224" y="817160"/>
                  <a:pt x="2442963" y="811061"/>
                  <a:pt x="2460182" y="804964"/>
                </a:cubicBezTo>
                <a:close/>
                <a:moveTo>
                  <a:pt x="4533746" y="803528"/>
                </a:moveTo>
                <a:cubicBezTo>
                  <a:pt x="4533746" y="803528"/>
                  <a:pt x="4533746" y="809626"/>
                  <a:pt x="4539666" y="809626"/>
                </a:cubicBezTo>
                <a:cubicBezTo>
                  <a:pt x="4575178" y="803528"/>
                  <a:pt x="4527827" y="815725"/>
                  <a:pt x="4515990" y="821823"/>
                </a:cubicBezTo>
                <a:cubicBezTo>
                  <a:pt x="4511550" y="826397"/>
                  <a:pt x="4507111" y="820680"/>
                  <a:pt x="4500175" y="820108"/>
                </a:cubicBezTo>
                <a:lnTo>
                  <a:pt x="4493719" y="821516"/>
                </a:lnTo>
                <a:lnTo>
                  <a:pt x="4492315" y="815725"/>
                </a:lnTo>
                <a:cubicBezTo>
                  <a:pt x="4498233" y="815725"/>
                  <a:pt x="4502672" y="815725"/>
                  <a:pt x="4507851" y="814963"/>
                </a:cubicBezTo>
                <a:lnTo>
                  <a:pt x="4527211" y="809790"/>
                </a:lnTo>
                <a:lnTo>
                  <a:pt x="4526347" y="811150"/>
                </a:lnTo>
                <a:cubicBezTo>
                  <a:pt x="4524868" y="814200"/>
                  <a:pt x="4524868" y="815724"/>
                  <a:pt x="4527827" y="809626"/>
                </a:cubicBezTo>
                <a:lnTo>
                  <a:pt x="4527211" y="809790"/>
                </a:lnTo>
                <a:lnTo>
                  <a:pt x="4529491" y="806196"/>
                </a:lnTo>
                <a:cubicBezTo>
                  <a:pt x="4530786" y="804672"/>
                  <a:pt x="4532266" y="803528"/>
                  <a:pt x="4533746" y="803528"/>
                </a:cubicBezTo>
                <a:close/>
                <a:moveTo>
                  <a:pt x="1802534" y="803527"/>
                </a:moveTo>
                <a:cubicBezTo>
                  <a:pt x="1802534" y="803527"/>
                  <a:pt x="1802534" y="803527"/>
                  <a:pt x="1802534" y="809984"/>
                </a:cubicBezTo>
                <a:cubicBezTo>
                  <a:pt x="1802534" y="809984"/>
                  <a:pt x="1802534" y="809984"/>
                  <a:pt x="1808753" y="809984"/>
                </a:cubicBezTo>
                <a:cubicBezTo>
                  <a:pt x="1802534" y="822898"/>
                  <a:pt x="1777662" y="809984"/>
                  <a:pt x="1783881" y="822898"/>
                </a:cubicBezTo>
                <a:cubicBezTo>
                  <a:pt x="1777662" y="829355"/>
                  <a:pt x="1777662" y="822898"/>
                  <a:pt x="1771446" y="822898"/>
                </a:cubicBezTo>
                <a:cubicBezTo>
                  <a:pt x="1777662" y="816441"/>
                  <a:pt x="1790099" y="809984"/>
                  <a:pt x="1802534" y="803527"/>
                </a:cubicBezTo>
                <a:close/>
                <a:moveTo>
                  <a:pt x="4338836" y="801064"/>
                </a:moveTo>
                <a:lnTo>
                  <a:pt x="4339612" y="804935"/>
                </a:lnTo>
                <a:lnTo>
                  <a:pt x="4346012" y="802724"/>
                </a:lnTo>
                <a:lnTo>
                  <a:pt x="4346308" y="802555"/>
                </a:lnTo>
                <a:cubicBezTo>
                  <a:pt x="4343319" y="799573"/>
                  <a:pt x="4340330" y="799573"/>
                  <a:pt x="4338836" y="801064"/>
                </a:cubicBezTo>
                <a:close/>
                <a:moveTo>
                  <a:pt x="4874406" y="800694"/>
                </a:moveTo>
                <a:lnTo>
                  <a:pt x="4874774" y="800939"/>
                </a:lnTo>
                <a:cubicBezTo>
                  <a:pt x="4874774" y="802430"/>
                  <a:pt x="4873279" y="803921"/>
                  <a:pt x="4870290" y="803921"/>
                </a:cubicBezTo>
                <a:close/>
                <a:moveTo>
                  <a:pt x="2632315" y="799651"/>
                </a:moveTo>
                <a:lnTo>
                  <a:pt x="2627265" y="804676"/>
                </a:lnTo>
                <a:cubicBezTo>
                  <a:pt x="2627265" y="810703"/>
                  <a:pt x="2633322" y="822757"/>
                  <a:pt x="2627265" y="822757"/>
                </a:cubicBezTo>
                <a:cubicBezTo>
                  <a:pt x="2627265" y="798649"/>
                  <a:pt x="2603031" y="816730"/>
                  <a:pt x="2596973" y="822757"/>
                </a:cubicBezTo>
                <a:cubicBezTo>
                  <a:pt x="2596973" y="828782"/>
                  <a:pt x="2609088" y="822757"/>
                  <a:pt x="2603031" y="834809"/>
                </a:cubicBezTo>
                <a:cubicBezTo>
                  <a:pt x="2590914" y="816730"/>
                  <a:pt x="2566681" y="840836"/>
                  <a:pt x="2560622" y="828782"/>
                </a:cubicBezTo>
                <a:cubicBezTo>
                  <a:pt x="2583341" y="824262"/>
                  <a:pt x="2602653" y="806184"/>
                  <a:pt x="2626224" y="799969"/>
                </a:cubicBezTo>
                <a:close/>
                <a:moveTo>
                  <a:pt x="2646954" y="798886"/>
                </a:moveTo>
                <a:lnTo>
                  <a:pt x="2646197" y="800157"/>
                </a:lnTo>
                <a:cubicBezTo>
                  <a:pt x="2645439" y="803170"/>
                  <a:pt x="2645439" y="807690"/>
                  <a:pt x="2645439" y="810703"/>
                </a:cubicBezTo>
                <a:cubicBezTo>
                  <a:pt x="2639380" y="816730"/>
                  <a:pt x="2639380" y="804676"/>
                  <a:pt x="2645439" y="804676"/>
                </a:cubicBezTo>
                <a:cubicBezTo>
                  <a:pt x="2642410" y="801663"/>
                  <a:pt x="2639380" y="801663"/>
                  <a:pt x="2637107" y="801663"/>
                </a:cubicBezTo>
                <a:lnTo>
                  <a:pt x="2634440" y="799541"/>
                </a:lnTo>
                <a:close/>
                <a:moveTo>
                  <a:pt x="2840932" y="798658"/>
                </a:moveTo>
                <a:lnTo>
                  <a:pt x="2837767" y="803921"/>
                </a:lnTo>
                <a:cubicBezTo>
                  <a:pt x="2837767" y="800939"/>
                  <a:pt x="2839261" y="799448"/>
                  <a:pt x="2840756" y="798703"/>
                </a:cubicBezTo>
                <a:close/>
                <a:moveTo>
                  <a:pt x="2633322" y="798649"/>
                </a:moveTo>
                <a:lnTo>
                  <a:pt x="2634440" y="799541"/>
                </a:lnTo>
                <a:lnTo>
                  <a:pt x="2632315" y="799651"/>
                </a:lnTo>
                <a:close/>
                <a:moveTo>
                  <a:pt x="2795922" y="797957"/>
                </a:moveTo>
                <a:cubicBezTo>
                  <a:pt x="2783966" y="797957"/>
                  <a:pt x="2777988" y="809884"/>
                  <a:pt x="2772009" y="809884"/>
                </a:cubicBezTo>
                <a:cubicBezTo>
                  <a:pt x="2772009" y="809884"/>
                  <a:pt x="2783966" y="809884"/>
                  <a:pt x="2783966" y="803921"/>
                </a:cubicBezTo>
                <a:cubicBezTo>
                  <a:pt x="2788449" y="803921"/>
                  <a:pt x="2782845" y="810631"/>
                  <a:pt x="2784807" y="816502"/>
                </a:cubicBezTo>
                <a:lnTo>
                  <a:pt x="2784893" y="816592"/>
                </a:lnTo>
                <a:lnTo>
                  <a:pt x="2789779" y="815122"/>
                </a:lnTo>
                <a:lnTo>
                  <a:pt x="2788356" y="808860"/>
                </a:lnTo>
                <a:cubicBezTo>
                  <a:pt x="2789197" y="803548"/>
                  <a:pt x="2795922" y="802430"/>
                  <a:pt x="2795922" y="797957"/>
                </a:cubicBezTo>
                <a:close/>
                <a:moveTo>
                  <a:pt x="2549143" y="797789"/>
                </a:moveTo>
                <a:cubicBezTo>
                  <a:pt x="2549143" y="804964"/>
                  <a:pt x="2543403" y="804964"/>
                  <a:pt x="2543403" y="812138"/>
                </a:cubicBezTo>
                <a:cubicBezTo>
                  <a:pt x="2537664" y="812138"/>
                  <a:pt x="2543403" y="804964"/>
                  <a:pt x="2537664" y="804964"/>
                </a:cubicBezTo>
                <a:cubicBezTo>
                  <a:pt x="2537664" y="797789"/>
                  <a:pt x="2543403" y="797789"/>
                  <a:pt x="2549143" y="797789"/>
                </a:cubicBezTo>
                <a:close/>
                <a:moveTo>
                  <a:pt x="2496916" y="797789"/>
                </a:moveTo>
                <a:lnTo>
                  <a:pt x="2500933" y="797789"/>
                </a:lnTo>
                <a:lnTo>
                  <a:pt x="2503229" y="797789"/>
                </a:lnTo>
                <a:cubicBezTo>
                  <a:pt x="2496916" y="810703"/>
                  <a:pt x="2496916" y="823618"/>
                  <a:pt x="2484288" y="817160"/>
                </a:cubicBezTo>
                <a:cubicBezTo>
                  <a:pt x="2471661" y="817160"/>
                  <a:pt x="2503229" y="817160"/>
                  <a:pt x="2496916" y="797789"/>
                </a:cubicBezTo>
                <a:close/>
                <a:moveTo>
                  <a:pt x="2841782" y="797245"/>
                </a:moveTo>
                <a:lnTo>
                  <a:pt x="2843745" y="797957"/>
                </a:lnTo>
                <a:lnTo>
                  <a:pt x="2840932" y="798658"/>
                </a:lnTo>
                <a:close/>
                <a:moveTo>
                  <a:pt x="2647995" y="797143"/>
                </a:moveTo>
                <a:cubicBezTo>
                  <a:pt x="2648847" y="796766"/>
                  <a:pt x="2649983" y="797143"/>
                  <a:pt x="2651497" y="798649"/>
                </a:cubicBezTo>
                <a:lnTo>
                  <a:pt x="2646954" y="798886"/>
                </a:lnTo>
                <a:close/>
                <a:moveTo>
                  <a:pt x="4134872" y="796318"/>
                </a:moveTo>
                <a:cubicBezTo>
                  <a:pt x="4129132" y="803014"/>
                  <a:pt x="4111914" y="816407"/>
                  <a:pt x="4100435" y="816407"/>
                </a:cubicBezTo>
                <a:cubicBezTo>
                  <a:pt x="4106174" y="796318"/>
                  <a:pt x="4117653" y="796318"/>
                  <a:pt x="4134872" y="796318"/>
                </a:cubicBezTo>
                <a:close/>
                <a:moveTo>
                  <a:pt x="2485293" y="795395"/>
                </a:moveTo>
                <a:cubicBezTo>
                  <a:pt x="2488880" y="795395"/>
                  <a:pt x="2491750" y="798743"/>
                  <a:pt x="2488880" y="805441"/>
                </a:cubicBezTo>
                <a:cubicBezTo>
                  <a:pt x="2483140" y="812137"/>
                  <a:pt x="2483140" y="798743"/>
                  <a:pt x="2477400" y="805441"/>
                </a:cubicBezTo>
                <a:cubicBezTo>
                  <a:pt x="2477400" y="798743"/>
                  <a:pt x="2481706" y="795395"/>
                  <a:pt x="2485293" y="795395"/>
                </a:cubicBezTo>
                <a:close/>
                <a:moveTo>
                  <a:pt x="4865246" y="793018"/>
                </a:moveTo>
                <a:cubicBezTo>
                  <a:pt x="4868048" y="792553"/>
                  <a:pt x="4871038" y="793111"/>
                  <a:pt x="4873280" y="794230"/>
                </a:cubicBezTo>
                <a:cubicBezTo>
                  <a:pt x="4875521" y="795348"/>
                  <a:pt x="4877016" y="797025"/>
                  <a:pt x="4876828" y="798796"/>
                </a:cubicBezTo>
                <a:lnTo>
                  <a:pt x="4874406" y="800694"/>
                </a:lnTo>
                <a:lnTo>
                  <a:pt x="4870290" y="797957"/>
                </a:lnTo>
                <a:cubicBezTo>
                  <a:pt x="4858334" y="809884"/>
                  <a:pt x="4852356" y="797957"/>
                  <a:pt x="4840399" y="809884"/>
                </a:cubicBezTo>
                <a:cubicBezTo>
                  <a:pt x="4840399" y="797957"/>
                  <a:pt x="4804531" y="809884"/>
                  <a:pt x="4804531" y="821814"/>
                </a:cubicBezTo>
                <a:lnTo>
                  <a:pt x="4786597" y="819101"/>
                </a:lnTo>
                <a:lnTo>
                  <a:pt x="4804531" y="815850"/>
                </a:lnTo>
                <a:cubicBezTo>
                  <a:pt x="4822465" y="797957"/>
                  <a:pt x="4840399" y="797957"/>
                  <a:pt x="4858334" y="797957"/>
                </a:cubicBezTo>
                <a:cubicBezTo>
                  <a:pt x="4859829" y="794975"/>
                  <a:pt x="4862444" y="793485"/>
                  <a:pt x="4865246" y="793018"/>
                </a:cubicBezTo>
                <a:close/>
                <a:moveTo>
                  <a:pt x="4893620" y="792288"/>
                </a:moveTo>
                <a:cubicBezTo>
                  <a:pt x="4905692" y="804246"/>
                  <a:pt x="4935875" y="786310"/>
                  <a:pt x="4953983" y="798268"/>
                </a:cubicBezTo>
                <a:cubicBezTo>
                  <a:pt x="4947947" y="798268"/>
                  <a:pt x="4929838" y="816204"/>
                  <a:pt x="4917766" y="804246"/>
                </a:cubicBezTo>
                <a:cubicBezTo>
                  <a:pt x="4905692" y="822182"/>
                  <a:pt x="4881547" y="828160"/>
                  <a:pt x="4863439" y="828160"/>
                </a:cubicBezTo>
                <a:cubicBezTo>
                  <a:pt x="4845329" y="846097"/>
                  <a:pt x="4821184" y="840118"/>
                  <a:pt x="4784964" y="858054"/>
                </a:cubicBezTo>
                <a:cubicBezTo>
                  <a:pt x="4778928" y="852076"/>
                  <a:pt x="4797038" y="852076"/>
                  <a:pt x="4784964" y="852076"/>
                </a:cubicBezTo>
                <a:cubicBezTo>
                  <a:pt x="4784964" y="840118"/>
                  <a:pt x="4809109" y="858054"/>
                  <a:pt x="4803074" y="846097"/>
                </a:cubicBezTo>
                <a:cubicBezTo>
                  <a:pt x="4833255" y="834140"/>
                  <a:pt x="4881547" y="828160"/>
                  <a:pt x="4911730" y="804246"/>
                </a:cubicBezTo>
                <a:cubicBezTo>
                  <a:pt x="4905692" y="804246"/>
                  <a:pt x="4893620" y="798268"/>
                  <a:pt x="4881547" y="804246"/>
                </a:cubicBezTo>
                <a:cubicBezTo>
                  <a:pt x="4881547" y="792288"/>
                  <a:pt x="4893620" y="798268"/>
                  <a:pt x="4893620" y="792288"/>
                </a:cubicBezTo>
                <a:close/>
                <a:moveTo>
                  <a:pt x="4552219" y="792049"/>
                </a:moveTo>
                <a:cubicBezTo>
                  <a:pt x="4557958" y="792049"/>
                  <a:pt x="4557958" y="792049"/>
                  <a:pt x="4563697" y="792049"/>
                </a:cubicBezTo>
                <a:cubicBezTo>
                  <a:pt x="4552219" y="805443"/>
                  <a:pt x="4535000" y="812138"/>
                  <a:pt x="4552219" y="792049"/>
                </a:cubicBezTo>
                <a:close/>
                <a:moveTo>
                  <a:pt x="2537664" y="792049"/>
                </a:moveTo>
                <a:cubicBezTo>
                  <a:pt x="2526185" y="798364"/>
                  <a:pt x="2531925" y="817303"/>
                  <a:pt x="2531925" y="823618"/>
                </a:cubicBezTo>
                <a:cubicBezTo>
                  <a:pt x="2520445" y="823618"/>
                  <a:pt x="2526185" y="810991"/>
                  <a:pt x="2526185" y="798364"/>
                </a:cubicBezTo>
                <a:cubicBezTo>
                  <a:pt x="2531925" y="798364"/>
                  <a:pt x="2531925" y="792049"/>
                  <a:pt x="2537664" y="792049"/>
                </a:cubicBezTo>
                <a:close/>
                <a:moveTo>
                  <a:pt x="2058419" y="792048"/>
                </a:moveTo>
                <a:cubicBezTo>
                  <a:pt x="2058419" y="805441"/>
                  <a:pt x="2041200" y="805441"/>
                  <a:pt x="2029722" y="812137"/>
                </a:cubicBezTo>
                <a:cubicBezTo>
                  <a:pt x="2035461" y="798743"/>
                  <a:pt x="2052680" y="798743"/>
                  <a:pt x="2058419" y="792048"/>
                </a:cubicBezTo>
                <a:close/>
                <a:moveTo>
                  <a:pt x="2879613" y="791993"/>
                </a:moveTo>
                <a:cubicBezTo>
                  <a:pt x="2885591" y="791993"/>
                  <a:pt x="2885591" y="797957"/>
                  <a:pt x="2885591" y="803921"/>
                </a:cubicBezTo>
                <a:cubicBezTo>
                  <a:pt x="2879613" y="809884"/>
                  <a:pt x="2879613" y="803921"/>
                  <a:pt x="2873636" y="803921"/>
                </a:cubicBezTo>
                <a:cubicBezTo>
                  <a:pt x="2873636" y="803921"/>
                  <a:pt x="2891569" y="809884"/>
                  <a:pt x="2879613" y="791993"/>
                </a:cubicBezTo>
                <a:close/>
                <a:moveTo>
                  <a:pt x="2831791" y="791993"/>
                </a:moveTo>
                <a:lnTo>
                  <a:pt x="2831791" y="793398"/>
                </a:lnTo>
                <a:lnTo>
                  <a:pt x="2832722" y="792737"/>
                </a:lnTo>
                <a:close/>
                <a:moveTo>
                  <a:pt x="2513453" y="791077"/>
                </a:moveTo>
                <a:lnTo>
                  <a:pt x="2514243" y="791196"/>
                </a:lnTo>
                <a:lnTo>
                  <a:pt x="2513560" y="792049"/>
                </a:lnTo>
                <a:close/>
                <a:moveTo>
                  <a:pt x="4040899" y="790627"/>
                </a:moveTo>
                <a:lnTo>
                  <a:pt x="4033368" y="791993"/>
                </a:lnTo>
                <a:lnTo>
                  <a:pt x="4036222" y="792705"/>
                </a:lnTo>
                <a:lnTo>
                  <a:pt x="4041429" y="790627"/>
                </a:lnTo>
                <a:close/>
                <a:moveTo>
                  <a:pt x="2555600" y="789896"/>
                </a:moveTo>
                <a:cubicBezTo>
                  <a:pt x="2559188" y="790614"/>
                  <a:pt x="2563492" y="792049"/>
                  <a:pt x="2566361" y="792049"/>
                </a:cubicBezTo>
                <a:cubicBezTo>
                  <a:pt x="2566361" y="797789"/>
                  <a:pt x="2560622" y="797789"/>
                  <a:pt x="2560622" y="803528"/>
                </a:cubicBezTo>
                <a:cubicBezTo>
                  <a:pt x="2554882" y="803528"/>
                  <a:pt x="2554882" y="792049"/>
                  <a:pt x="2549143" y="792049"/>
                </a:cubicBezTo>
                <a:cubicBezTo>
                  <a:pt x="2549143" y="789179"/>
                  <a:pt x="2552013" y="789179"/>
                  <a:pt x="2555600" y="789896"/>
                </a:cubicBezTo>
                <a:close/>
                <a:moveTo>
                  <a:pt x="2012503" y="786308"/>
                </a:moveTo>
                <a:cubicBezTo>
                  <a:pt x="2006046" y="792048"/>
                  <a:pt x="1986674" y="797787"/>
                  <a:pt x="1986674" y="792048"/>
                </a:cubicBezTo>
                <a:cubicBezTo>
                  <a:pt x="1999589" y="780569"/>
                  <a:pt x="1999589" y="792048"/>
                  <a:pt x="2012503" y="786308"/>
                </a:cubicBezTo>
                <a:close/>
                <a:moveTo>
                  <a:pt x="2502262" y="785101"/>
                </a:moveTo>
                <a:lnTo>
                  <a:pt x="2502088" y="786760"/>
                </a:lnTo>
                <a:lnTo>
                  <a:pt x="2500933" y="786310"/>
                </a:lnTo>
                <a:close/>
                <a:moveTo>
                  <a:pt x="2512772" y="784875"/>
                </a:moveTo>
                <a:lnTo>
                  <a:pt x="2513453" y="791077"/>
                </a:lnTo>
                <a:lnTo>
                  <a:pt x="2510403" y="790614"/>
                </a:lnTo>
                <a:cubicBezTo>
                  <a:pt x="2507246" y="792049"/>
                  <a:pt x="2504090" y="794918"/>
                  <a:pt x="2500933" y="797789"/>
                </a:cubicBezTo>
                <a:lnTo>
                  <a:pt x="2502088" y="786760"/>
                </a:lnTo>
                <a:lnTo>
                  <a:pt x="2506458" y="788463"/>
                </a:lnTo>
                <a:cubicBezTo>
                  <a:pt x="2507246" y="789179"/>
                  <a:pt x="2507246" y="789179"/>
                  <a:pt x="2507246" y="786310"/>
                </a:cubicBezTo>
                <a:cubicBezTo>
                  <a:pt x="2510403" y="786310"/>
                  <a:pt x="2511982" y="784875"/>
                  <a:pt x="2512772" y="784875"/>
                </a:cubicBezTo>
                <a:close/>
                <a:moveTo>
                  <a:pt x="2714353" y="784839"/>
                </a:moveTo>
                <a:cubicBezTo>
                  <a:pt x="2714353" y="791296"/>
                  <a:pt x="2711125" y="794525"/>
                  <a:pt x="2706282" y="797753"/>
                </a:cubicBezTo>
                <a:lnTo>
                  <a:pt x="2691068" y="808819"/>
                </a:lnTo>
                <a:lnTo>
                  <a:pt x="2707255" y="806043"/>
                </a:lnTo>
                <a:cubicBezTo>
                  <a:pt x="2713146" y="803014"/>
                  <a:pt x="2719035" y="799986"/>
                  <a:pt x="2724927" y="803014"/>
                </a:cubicBezTo>
                <a:cubicBezTo>
                  <a:pt x="2730816" y="803014"/>
                  <a:pt x="2724927" y="803014"/>
                  <a:pt x="2724927" y="796956"/>
                </a:cubicBezTo>
                <a:cubicBezTo>
                  <a:pt x="2730816" y="790897"/>
                  <a:pt x="2730816" y="796956"/>
                  <a:pt x="2736707" y="796956"/>
                </a:cubicBezTo>
                <a:cubicBezTo>
                  <a:pt x="2730816" y="790897"/>
                  <a:pt x="2748488" y="784839"/>
                  <a:pt x="2754380" y="784839"/>
                </a:cubicBezTo>
                <a:cubicBezTo>
                  <a:pt x="2760269" y="790897"/>
                  <a:pt x="2748488" y="784839"/>
                  <a:pt x="2748488" y="790897"/>
                </a:cubicBezTo>
                <a:cubicBezTo>
                  <a:pt x="2748488" y="790897"/>
                  <a:pt x="2748488" y="796956"/>
                  <a:pt x="2754380" y="796956"/>
                </a:cubicBezTo>
                <a:cubicBezTo>
                  <a:pt x="2742599" y="803014"/>
                  <a:pt x="2730816" y="809074"/>
                  <a:pt x="2713146" y="815131"/>
                </a:cubicBezTo>
                <a:cubicBezTo>
                  <a:pt x="2713146" y="815131"/>
                  <a:pt x="2719035" y="809074"/>
                  <a:pt x="2719035" y="809074"/>
                </a:cubicBezTo>
                <a:cubicBezTo>
                  <a:pt x="2713146" y="803014"/>
                  <a:pt x="2713146" y="815131"/>
                  <a:pt x="2707255" y="815131"/>
                </a:cubicBezTo>
                <a:cubicBezTo>
                  <a:pt x="2707255" y="815131"/>
                  <a:pt x="2707255" y="815131"/>
                  <a:pt x="2713146" y="815131"/>
                </a:cubicBezTo>
                <a:cubicBezTo>
                  <a:pt x="2707255" y="815131"/>
                  <a:pt x="2689582" y="833306"/>
                  <a:pt x="2683693" y="833306"/>
                </a:cubicBezTo>
                <a:cubicBezTo>
                  <a:pt x="2677802" y="827248"/>
                  <a:pt x="2689582" y="827248"/>
                  <a:pt x="2689582" y="821191"/>
                </a:cubicBezTo>
                <a:cubicBezTo>
                  <a:pt x="2677802" y="815131"/>
                  <a:pt x="2677802" y="833306"/>
                  <a:pt x="2677802" y="839365"/>
                </a:cubicBezTo>
                <a:cubicBezTo>
                  <a:pt x="2671912" y="833306"/>
                  <a:pt x="2660129" y="821191"/>
                  <a:pt x="2654240" y="833306"/>
                </a:cubicBezTo>
                <a:cubicBezTo>
                  <a:pt x="2648348" y="827248"/>
                  <a:pt x="2660129" y="827248"/>
                  <a:pt x="2666020" y="821191"/>
                </a:cubicBezTo>
                <a:cubicBezTo>
                  <a:pt x="2671912" y="827248"/>
                  <a:pt x="2695474" y="809074"/>
                  <a:pt x="2689582" y="809074"/>
                </a:cubicBezTo>
                <a:lnTo>
                  <a:pt x="2689621" y="809066"/>
                </a:lnTo>
                <a:lnTo>
                  <a:pt x="2699019" y="795331"/>
                </a:lnTo>
                <a:cubicBezTo>
                  <a:pt x="2704668" y="791296"/>
                  <a:pt x="2711125" y="788068"/>
                  <a:pt x="2714353" y="784839"/>
                </a:cubicBezTo>
                <a:close/>
                <a:moveTo>
                  <a:pt x="4364241" y="784664"/>
                </a:moveTo>
                <a:lnTo>
                  <a:pt x="4364241" y="790627"/>
                </a:lnTo>
                <a:cubicBezTo>
                  <a:pt x="4364241" y="784664"/>
                  <a:pt x="4364241" y="796591"/>
                  <a:pt x="4358263" y="790627"/>
                </a:cubicBezTo>
                <a:cubicBezTo>
                  <a:pt x="4358263" y="790627"/>
                  <a:pt x="4358263" y="790627"/>
                  <a:pt x="4364241" y="784664"/>
                </a:cubicBezTo>
                <a:close/>
                <a:moveTo>
                  <a:pt x="2688037" y="781721"/>
                </a:moveTo>
                <a:lnTo>
                  <a:pt x="2686890" y="786310"/>
                </a:lnTo>
                <a:lnTo>
                  <a:pt x="2686157" y="786109"/>
                </a:lnTo>
                <a:close/>
                <a:moveTo>
                  <a:pt x="2663614" y="780570"/>
                </a:moveTo>
                <a:cubicBezTo>
                  <a:pt x="2651497" y="792624"/>
                  <a:pt x="2663614" y="798649"/>
                  <a:pt x="2669672" y="798649"/>
                </a:cubicBezTo>
                <a:cubicBezTo>
                  <a:pt x="2657555" y="792624"/>
                  <a:pt x="2645439" y="810703"/>
                  <a:pt x="2651497" y="798649"/>
                </a:cubicBezTo>
                <a:cubicBezTo>
                  <a:pt x="2657555" y="792624"/>
                  <a:pt x="2651497" y="780570"/>
                  <a:pt x="2663614" y="780570"/>
                </a:cubicBezTo>
                <a:close/>
                <a:moveTo>
                  <a:pt x="2526187" y="780570"/>
                </a:moveTo>
                <a:cubicBezTo>
                  <a:pt x="2526187" y="786310"/>
                  <a:pt x="2519874" y="786310"/>
                  <a:pt x="2519874" y="792049"/>
                </a:cubicBezTo>
                <a:lnTo>
                  <a:pt x="2514243" y="791196"/>
                </a:lnTo>
                <a:lnTo>
                  <a:pt x="2519874" y="784157"/>
                </a:lnTo>
                <a:cubicBezTo>
                  <a:pt x="2519874" y="782006"/>
                  <a:pt x="2519874" y="780570"/>
                  <a:pt x="2526187" y="780570"/>
                </a:cubicBezTo>
                <a:close/>
                <a:moveTo>
                  <a:pt x="2488880" y="780570"/>
                </a:moveTo>
                <a:cubicBezTo>
                  <a:pt x="2488880" y="786668"/>
                  <a:pt x="2488880" y="792767"/>
                  <a:pt x="2494619" y="786668"/>
                </a:cubicBezTo>
                <a:cubicBezTo>
                  <a:pt x="2483140" y="792767"/>
                  <a:pt x="2465921" y="798865"/>
                  <a:pt x="2460182" y="804964"/>
                </a:cubicBezTo>
                <a:cubicBezTo>
                  <a:pt x="2454443" y="798865"/>
                  <a:pt x="2454443" y="792767"/>
                  <a:pt x="2442963" y="798865"/>
                </a:cubicBezTo>
                <a:cubicBezTo>
                  <a:pt x="2454443" y="792767"/>
                  <a:pt x="2471661" y="798865"/>
                  <a:pt x="2488880" y="780570"/>
                </a:cubicBezTo>
                <a:close/>
                <a:moveTo>
                  <a:pt x="1975197" y="780570"/>
                </a:moveTo>
                <a:cubicBezTo>
                  <a:pt x="1969237" y="798649"/>
                  <a:pt x="1951356" y="792624"/>
                  <a:pt x="1945395" y="804676"/>
                </a:cubicBezTo>
                <a:cubicBezTo>
                  <a:pt x="1945395" y="810703"/>
                  <a:pt x="1951356" y="804676"/>
                  <a:pt x="1951356" y="804676"/>
                </a:cubicBezTo>
                <a:cubicBezTo>
                  <a:pt x="1945395" y="816730"/>
                  <a:pt x="1939435" y="816730"/>
                  <a:pt x="1927515" y="822757"/>
                </a:cubicBezTo>
                <a:cubicBezTo>
                  <a:pt x="1933475" y="828782"/>
                  <a:pt x="1939435" y="816730"/>
                  <a:pt x="1945395" y="828782"/>
                </a:cubicBezTo>
                <a:cubicBezTo>
                  <a:pt x="1927515" y="840836"/>
                  <a:pt x="1921554" y="840836"/>
                  <a:pt x="1903674" y="840836"/>
                </a:cubicBezTo>
                <a:cubicBezTo>
                  <a:pt x="1903674" y="840836"/>
                  <a:pt x="1921554" y="828782"/>
                  <a:pt x="1909634" y="828782"/>
                </a:cubicBezTo>
                <a:cubicBezTo>
                  <a:pt x="1915594" y="822757"/>
                  <a:pt x="1921554" y="822757"/>
                  <a:pt x="1939435" y="810703"/>
                </a:cubicBezTo>
                <a:cubicBezTo>
                  <a:pt x="1937945" y="809196"/>
                  <a:pt x="1935710" y="808820"/>
                  <a:pt x="1933103" y="809102"/>
                </a:cubicBezTo>
                <a:lnTo>
                  <a:pt x="1927661" y="810598"/>
                </a:lnTo>
                <a:lnTo>
                  <a:pt x="1951356" y="793377"/>
                </a:lnTo>
                <a:cubicBezTo>
                  <a:pt x="1960296" y="788104"/>
                  <a:pt x="1969236" y="783584"/>
                  <a:pt x="1975197" y="780570"/>
                </a:cubicBezTo>
                <a:close/>
                <a:moveTo>
                  <a:pt x="2603667" y="780569"/>
                </a:moveTo>
                <a:cubicBezTo>
                  <a:pt x="2609407" y="780569"/>
                  <a:pt x="2620885" y="792048"/>
                  <a:pt x="2609407" y="797787"/>
                </a:cubicBezTo>
                <a:cubicBezTo>
                  <a:pt x="2609407" y="792048"/>
                  <a:pt x="2603667" y="786308"/>
                  <a:pt x="2603667" y="780569"/>
                </a:cubicBezTo>
                <a:close/>
                <a:moveTo>
                  <a:pt x="4177917" y="779100"/>
                </a:moveTo>
                <a:cubicBezTo>
                  <a:pt x="4172177" y="784839"/>
                  <a:pt x="4160699" y="790578"/>
                  <a:pt x="4154958" y="790578"/>
                </a:cubicBezTo>
                <a:cubicBezTo>
                  <a:pt x="4160699" y="790578"/>
                  <a:pt x="4166438" y="779100"/>
                  <a:pt x="4177917" y="779100"/>
                </a:cubicBezTo>
                <a:close/>
                <a:moveTo>
                  <a:pt x="2786097" y="779100"/>
                </a:moveTo>
                <a:cubicBezTo>
                  <a:pt x="2786097" y="784839"/>
                  <a:pt x="2779402" y="784839"/>
                  <a:pt x="2766008" y="790578"/>
                </a:cubicBezTo>
                <a:cubicBezTo>
                  <a:pt x="2766008" y="779100"/>
                  <a:pt x="2779402" y="779100"/>
                  <a:pt x="2786097" y="779100"/>
                </a:cubicBezTo>
                <a:close/>
                <a:moveTo>
                  <a:pt x="4056253" y="778481"/>
                </a:moveTo>
                <a:cubicBezTo>
                  <a:pt x="4055599" y="778760"/>
                  <a:pt x="4054665" y="779692"/>
                  <a:pt x="4053545" y="780811"/>
                </a:cubicBezTo>
                <a:lnTo>
                  <a:pt x="4047842" y="784432"/>
                </a:lnTo>
                <a:lnTo>
                  <a:pt x="4051424" y="784757"/>
                </a:lnTo>
                <a:lnTo>
                  <a:pt x="4051899" y="786178"/>
                </a:lnTo>
                <a:lnTo>
                  <a:pt x="4055412" y="787054"/>
                </a:lnTo>
                <a:lnTo>
                  <a:pt x="4053018" y="789528"/>
                </a:lnTo>
                <a:lnTo>
                  <a:pt x="4053385" y="790627"/>
                </a:lnTo>
                <a:lnTo>
                  <a:pt x="4058751" y="784708"/>
                </a:lnTo>
                <a:lnTo>
                  <a:pt x="4057281" y="780064"/>
                </a:lnTo>
                <a:cubicBezTo>
                  <a:pt x="4057281" y="778573"/>
                  <a:pt x="4056907" y="778201"/>
                  <a:pt x="4056253" y="778481"/>
                </a:cubicBezTo>
                <a:close/>
                <a:moveTo>
                  <a:pt x="1874756" y="774829"/>
                </a:moveTo>
                <a:cubicBezTo>
                  <a:pt x="1868754" y="774829"/>
                  <a:pt x="1862754" y="787264"/>
                  <a:pt x="1856755" y="787264"/>
                </a:cubicBezTo>
                <a:cubicBezTo>
                  <a:pt x="1856755" y="793483"/>
                  <a:pt x="1862754" y="793483"/>
                  <a:pt x="1868754" y="787264"/>
                </a:cubicBezTo>
                <a:cubicBezTo>
                  <a:pt x="1868754" y="799701"/>
                  <a:pt x="1874756" y="793483"/>
                  <a:pt x="1874756" y="805918"/>
                </a:cubicBezTo>
                <a:cubicBezTo>
                  <a:pt x="1868754" y="799701"/>
                  <a:pt x="1856755" y="799701"/>
                  <a:pt x="1844753" y="787264"/>
                </a:cubicBezTo>
                <a:cubicBezTo>
                  <a:pt x="1844753" y="793483"/>
                  <a:pt x="1838753" y="799701"/>
                  <a:pt x="1832752" y="799701"/>
                </a:cubicBezTo>
                <a:cubicBezTo>
                  <a:pt x="1832752" y="799701"/>
                  <a:pt x="1838753" y="799701"/>
                  <a:pt x="1844753" y="799701"/>
                </a:cubicBezTo>
                <a:cubicBezTo>
                  <a:pt x="1832752" y="812137"/>
                  <a:pt x="1814751" y="812137"/>
                  <a:pt x="1808751" y="799701"/>
                </a:cubicBezTo>
                <a:cubicBezTo>
                  <a:pt x="1826752" y="793483"/>
                  <a:pt x="1844753" y="781048"/>
                  <a:pt x="1874756" y="774829"/>
                </a:cubicBezTo>
                <a:close/>
                <a:moveTo>
                  <a:pt x="2941530" y="773675"/>
                </a:moveTo>
                <a:lnTo>
                  <a:pt x="2945373" y="774101"/>
                </a:lnTo>
                <a:lnTo>
                  <a:pt x="2942444" y="775196"/>
                </a:lnTo>
                <a:close/>
                <a:moveTo>
                  <a:pt x="2677832" y="773396"/>
                </a:moveTo>
                <a:cubicBezTo>
                  <a:pt x="2678640" y="774472"/>
                  <a:pt x="2675411" y="782005"/>
                  <a:pt x="2675411" y="786310"/>
                </a:cubicBezTo>
                <a:cubicBezTo>
                  <a:pt x="2678282" y="780570"/>
                  <a:pt x="2678282" y="782006"/>
                  <a:pt x="2678999" y="784157"/>
                </a:cubicBezTo>
                <a:lnTo>
                  <a:pt x="2686157" y="786109"/>
                </a:lnTo>
                <a:lnTo>
                  <a:pt x="2681151" y="797789"/>
                </a:lnTo>
                <a:cubicBezTo>
                  <a:pt x="2675411" y="780570"/>
                  <a:pt x="2675411" y="803528"/>
                  <a:pt x="2669672" y="780570"/>
                </a:cubicBezTo>
                <a:cubicBezTo>
                  <a:pt x="2675411" y="780570"/>
                  <a:pt x="2675411" y="774831"/>
                  <a:pt x="2675411" y="774831"/>
                </a:cubicBezTo>
                <a:cubicBezTo>
                  <a:pt x="2676846" y="773396"/>
                  <a:pt x="2677563" y="773038"/>
                  <a:pt x="2677832" y="773396"/>
                </a:cubicBezTo>
                <a:close/>
                <a:moveTo>
                  <a:pt x="4358263" y="772734"/>
                </a:moveTo>
                <a:lnTo>
                  <a:pt x="4359351" y="773000"/>
                </a:lnTo>
                <a:lnTo>
                  <a:pt x="4355923" y="774291"/>
                </a:lnTo>
                <a:close/>
                <a:moveTo>
                  <a:pt x="2940889" y="772609"/>
                </a:moveTo>
                <a:lnTo>
                  <a:pt x="2941530" y="773675"/>
                </a:lnTo>
                <a:lnTo>
                  <a:pt x="2938647" y="773355"/>
                </a:lnTo>
                <a:cubicBezTo>
                  <a:pt x="2938273" y="772982"/>
                  <a:pt x="2939394" y="772609"/>
                  <a:pt x="2940889" y="772609"/>
                </a:cubicBezTo>
                <a:close/>
                <a:moveTo>
                  <a:pt x="2435501" y="769090"/>
                </a:moveTo>
                <a:cubicBezTo>
                  <a:pt x="2441816" y="769090"/>
                  <a:pt x="2448128" y="780569"/>
                  <a:pt x="2448128" y="769090"/>
                </a:cubicBezTo>
                <a:cubicBezTo>
                  <a:pt x="2448128" y="769090"/>
                  <a:pt x="2454443" y="769090"/>
                  <a:pt x="2454443" y="769090"/>
                </a:cubicBezTo>
                <a:cubicBezTo>
                  <a:pt x="2448128" y="780569"/>
                  <a:pt x="2441816" y="774829"/>
                  <a:pt x="2435501" y="792048"/>
                </a:cubicBezTo>
                <a:cubicBezTo>
                  <a:pt x="2435501" y="786308"/>
                  <a:pt x="2429187" y="780569"/>
                  <a:pt x="2441816" y="774829"/>
                </a:cubicBezTo>
                <a:cubicBezTo>
                  <a:pt x="2441816" y="774829"/>
                  <a:pt x="2435501" y="774829"/>
                  <a:pt x="2429187" y="780569"/>
                </a:cubicBezTo>
                <a:cubicBezTo>
                  <a:pt x="2422874" y="774829"/>
                  <a:pt x="2441816" y="774829"/>
                  <a:pt x="2435501" y="769090"/>
                </a:cubicBezTo>
                <a:close/>
                <a:moveTo>
                  <a:pt x="2935324" y="767621"/>
                </a:moveTo>
                <a:cubicBezTo>
                  <a:pt x="2935324" y="779100"/>
                  <a:pt x="2928628" y="773360"/>
                  <a:pt x="2915234" y="779100"/>
                </a:cubicBezTo>
                <a:cubicBezTo>
                  <a:pt x="2915234" y="773360"/>
                  <a:pt x="2928628" y="773360"/>
                  <a:pt x="2935324" y="767621"/>
                </a:cubicBezTo>
                <a:close/>
                <a:moveTo>
                  <a:pt x="2526187" y="763352"/>
                </a:moveTo>
                <a:lnTo>
                  <a:pt x="2502262" y="785101"/>
                </a:lnTo>
                <a:lnTo>
                  <a:pt x="2502512" y="782723"/>
                </a:lnTo>
                <a:cubicBezTo>
                  <a:pt x="2504090" y="779135"/>
                  <a:pt x="2504090" y="777700"/>
                  <a:pt x="2494619" y="780570"/>
                </a:cubicBezTo>
                <a:cubicBezTo>
                  <a:pt x="2500933" y="769092"/>
                  <a:pt x="2513560" y="780570"/>
                  <a:pt x="2526187" y="763352"/>
                </a:cubicBezTo>
                <a:close/>
                <a:moveTo>
                  <a:pt x="2124424" y="763350"/>
                </a:moveTo>
                <a:cubicBezTo>
                  <a:pt x="2124424" y="780569"/>
                  <a:pt x="2088909" y="774829"/>
                  <a:pt x="2100748" y="792048"/>
                </a:cubicBezTo>
                <a:cubicBezTo>
                  <a:pt x="2094830" y="797787"/>
                  <a:pt x="2088909" y="786308"/>
                  <a:pt x="2094830" y="786308"/>
                </a:cubicBezTo>
                <a:cubicBezTo>
                  <a:pt x="2029722" y="803527"/>
                  <a:pt x="2106667" y="769090"/>
                  <a:pt x="2124424" y="763350"/>
                </a:cubicBezTo>
                <a:close/>
                <a:moveTo>
                  <a:pt x="2674494" y="761883"/>
                </a:moveTo>
                <a:lnTo>
                  <a:pt x="2674953" y="762295"/>
                </a:lnTo>
                <a:cubicBezTo>
                  <a:pt x="2675608" y="762968"/>
                  <a:pt x="2675608" y="763352"/>
                  <a:pt x="2674108" y="763352"/>
                </a:cubicBezTo>
                <a:close/>
                <a:moveTo>
                  <a:pt x="2771746" y="761881"/>
                </a:moveTo>
                <a:cubicBezTo>
                  <a:pt x="2766007" y="773360"/>
                  <a:pt x="2743049" y="779100"/>
                  <a:pt x="2725831" y="790578"/>
                </a:cubicBezTo>
                <a:cubicBezTo>
                  <a:pt x="2725831" y="773360"/>
                  <a:pt x="2754528" y="779100"/>
                  <a:pt x="2771746" y="761881"/>
                </a:cubicBezTo>
                <a:close/>
                <a:moveTo>
                  <a:pt x="2698369" y="757612"/>
                </a:moveTo>
                <a:lnTo>
                  <a:pt x="2688037" y="781721"/>
                </a:lnTo>
                <a:lnTo>
                  <a:pt x="2690477" y="771961"/>
                </a:lnTo>
                <a:cubicBezTo>
                  <a:pt x="2692630" y="767656"/>
                  <a:pt x="2695499" y="763352"/>
                  <a:pt x="2698369" y="757612"/>
                </a:cubicBezTo>
                <a:close/>
                <a:moveTo>
                  <a:pt x="2632364" y="757610"/>
                </a:moveTo>
                <a:cubicBezTo>
                  <a:pt x="2638104" y="774829"/>
                  <a:pt x="2615145" y="763350"/>
                  <a:pt x="2603667" y="780569"/>
                </a:cubicBezTo>
                <a:cubicBezTo>
                  <a:pt x="2597927" y="780569"/>
                  <a:pt x="2597927" y="786308"/>
                  <a:pt x="2592188" y="780569"/>
                </a:cubicBezTo>
                <a:cubicBezTo>
                  <a:pt x="2592188" y="774829"/>
                  <a:pt x="2592188" y="780569"/>
                  <a:pt x="2597927" y="780569"/>
                </a:cubicBezTo>
                <a:cubicBezTo>
                  <a:pt x="2592188" y="763350"/>
                  <a:pt x="2620885" y="769090"/>
                  <a:pt x="2632364" y="757610"/>
                </a:cubicBezTo>
                <a:close/>
                <a:moveTo>
                  <a:pt x="2496446" y="757610"/>
                </a:moveTo>
                <a:cubicBezTo>
                  <a:pt x="2499447" y="763350"/>
                  <a:pt x="2503946" y="761915"/>
                  <a:pt x="2508448" y="760479"/>
                </a:cubicBezTo>
                <a:lnTo>
                  <a:pt x="2520447" y="763350"/>
                </a:lnTo>
                <a:lnTo>
                  <a:pt x="2491946" y="776982"/>
                </a:lnTo>
                <a:cubicBezTo>
                  <a:pt x="2479946" y="782004"/>
                  <a:pt x="2466443" y="786308"/>
                  <a:pt x="2454443" y="786308"/>
                </a:cubicBezTo>
                <a:cubicBezTo>
                  <a:pt x="2454443" y="780569"/>
                  <a:pt x="2460443" y="780569"/>
                  <a:pt x="2466443" y="780569"/>
                </a:cubicBezTo>
                <a:cubicBezTo>
                  <a:pt x="2460443" y="780569"/>
                  <a:pt x="2460443" y="774829"/>
                  <a:pt x="2460443" y="774829"/>
                </a:cubicBezTo>
                <a:cubicBezTo>
                  <a:pt x="2472443" y="780569"/>
                  <a:pt x="2496446" y="774829"/>
                  <a:pt x="2496446" y="757610"/>
                </a:cubicBezTo>
                <a:close/>
                <a:moveTo>
                  <a:pt x="4327720" y="755300"/>
                </a:moveTo>
                <a:cubicBezTo>
                  <a:pt x="4327720" y="767453"/>
                  <a:pt x="4309639" y="755300"/>
                  <a:pt x="4303614" y="767453"/>
                </a:cubicBezTo>
                <a:cubicBezTo>
                  <a:pt x="4261427" y="779608"/>
                  <a:pt x="4231297" y="803916"/>
                  <a:pt x="4201163" y="797838"/>
                </a:cubicBezTo>
                <a:cubicBezTo>
                  <a:pt x="4231297" y="791761"/>
                  <a:pt x="4285533" y="767453"/>
                  <a:pt x="4327720" y="755300"/>
                </a:cubicBezTo>
                <a:close/>
                <a:moveTo>
                  <a:pt x="4412066" y="754842"/>
                </a:moveTo>
                <a:lnTo>
                  <a:pt x="4405491" y="761404"/>
                </a:lnTo>
                <a:lnTo>
                  <a:pt x="4397486" y="766130"/>
                </a:lnTo>
                <a:lnTo>
                  <a:pt x="4390208" y="764349"/>
                </a:lnTo>
                <a:cubicBezTo>
                  <a:pt x="4383110" y="766213"/>
                  <a:pt x="4375264" y="773293"/>
                  <a:pt x="4368164" y="775157"/>
                </a:cubicBezTo>
                <a:lnTo>
                  <a:pt x="4359351" y="773000"/>
                </a:lnTo>
                <a:lnTo>
                  <a:pt x="4367977" y="769752"/>
                </a:lnTo>
                <a:cubicBezTo>
                  <a:pt x="4379187" y="765280"/>
                  <a:pt x="4391143" y="760808"/>
                  <a:pt x="4412066" y="754842"/>
                </a:cubicBezTo>
                <a:close/>
                <a:moveTo>
                  <a:pt x="2737530" y="751873"/>
                </a:moveTo>
                <a:lnTo>
                  <a:pt x="2740268" y="751873"/>
                </a:lnTo>
                <a:lnTo>
                  <a:pt x="2741704" y="754606"/>
                </a:lnTo>
                <a:close/>
                <a:moveTo>
                  <a:pt x="2837751" y="750402"/>
                </a:moveTo>
                <a:cubicBezTo>
                  <a:pt x="2837751" y="756142"/>
                  <a:pt x="2820533" y="756142"/>
                  <a:pt x="2820533" y="761881"/>
                </a:cubicBezTo>
                <a:cubicBezTo>
                  <a:pt x="2820533" y="761881"/>
                  <a:pt x="2820533" y="756142"/>
                  <a:pt x="2820533" y="756142"/>
                </a:cubicBezTo>
                <a:cubicBezTo>
                  <a:pt x="2820533" y="750402"/>
                  <a:pt x="2832012" y="750402"/>
                  <a:pt x="2837751" y="750402"/>
                </a:cubicBezTo>
                <a:close/>
                <a:moveTo>
                  <a:pt x="4368606" y="750365"/>
                </a:moveTo>
                <a:lnTo>
                  <a:pt x="4368210" y="750741"/>
                </a:lnTo>
                <a:lnTo>
                  <a:pt x="4367975" y="750659"/>
                </a:lnTo>
                <a:close/>
                <a:moveTo>
                  <a:pt x="2921460" y="750244"/>
                </a:moveTo>
                <a:cubicBezTo>
                  <a:pt x="2916977" y="754717"/>
                  <a:pt x="2909131" y="752481"/>
                  <a:pt x="2908009" y="756115"/>
                </a:cubicBezTo>
                <a:lnTo>
                  <a:pt x="2909342" y="761517"/>
                </a:lnTo>
                <a:lnTo>
                  <a:pt x="2913801" y="759011"/>
                </a:lnTo>
                <a:lnTo>
                  <a:pt x="2924271" y="757281"/>
                </a:lnTo>
                <a:lnTo>
                  <a:pt x="2922394" y="752853"/>
                </a:lnTo>
                <a:cubicBezTo>
                  <a:pt x="2921834" y="751363"/>
                  <a:pt x="2921460" y="750244"/>
                  <a:pt x="2921460" y="750244"/>
                </a:cubicBezTo>
                <a:close/>
                <a:moveTo>
                  <a:pt x="2746295" y="746134"/>
                </a:moveTo>
                <a:cubicBezTo>
                  <a:pt x="2752322" y="746134"/>
                  <a:pt x="2758347" y="746134"/>
                  <a:pt x="2758347" y="746134"/>
                </a:cubicBezTo>
                <a:cubicBezTo>
                  <a:pt x="2764374" y="757612"/>
                  <a:pt x="2752322" y="751873"/>
                  <a:pt x="2746295" y="763352"/>
                </a:cubicBezTo>
                <a:lnTo>
                  <a:pt x="2741704" y="754606"/>
                </a:lnTo>
                <a:lnTo>
                  <a:pt x="2746295" y="757612"/>
                </a:lnTo>
                <a:cubicBezTo>
                  <a:pt x="2746295" y="751873"/>
                  <a:pt x="2752322" y="751873"/>
                  <a:pt x="2746295" y="746134"/>
                </a:cubicBezTo>
                <a:close/>
                <a:moveTo>
                  <a:pt x="2722189" y="746134"/>
                </a:moveTo>
                <a:cubicBezTo>
                  <a:pt x="2725203" y="749003"/>
                  <a:pt x="2729722" y="749003"/>
                  <a:pt x="2734241" y="749720"/>
                </a:cubicBezTo>
                <a:lnTo>
                  <a:pt x="2737530" y="751873"/>
                </a:lnTo>
                <a:lnTo>
                  <a:pt x="2734241" y="751873"/>
                </a:lnTo>
                <a:cubicBezTo>
                  <a:pt x="2728214" y="763352"/>
                  <a:pt x="2728214" y="769092"/>
                  <a:pt x="2722189" y="769092"/>
                </a:cubicBezTo>
                <a:cubicBezTo>
                  <a:pt x="2722189" y="763352"/>
                  <a:pt x="2704108" y="763352"/>
                  <a:pt x="2710135" y="769092"/>
                </a:cubicBezTo>
                <a:cubicBezTo>
                  <a:pt x="2704108" y="774831"/>
                  <a:pt x="2704108" y="763352"/>
                  <a:pt x="2704108" y="757612"/>
                </a:cubicBezTo>
                <a:cubicBezTo>
                  <a:pt x="2716162" y="757612"/>
                  <a:pt x="2734241" y="757612"/>
                  <a:pt x="2722189" y="746134"/>
                </a:cubicBezTo>
                <a:close/>
                <a:moveTo>
                  <a:pt x="2503227" y="746132"/>
                </a:moveTo>
                <a:cubicBezTo>
                  <a:pt x="2503227" y="757610"/>
                  <a:pt x="2478356" y="763350"/>
                  <a:pt x="2465920" y="769090"/>
                </a:cubicBezTo>
                <a:cubicBezTo>
                  <a:pt x="2465920" y="763350"/>
                  <a:pt x="2472138" y="763350"/>
                  <a:pt x="2465920" y="757610"/>
                </a:cubicBezTo>
                <a:cubicBezTo>
                  <a:pt x="2472138" y="751871"/>
                  <a:pt x="2472138" y="763350"/>
                  <a:pt x="2478356" y="763350"/>
                </a:cubicBezTo>
                <a:cubicBezTo>
                  <a:pt x="2484573" y="763350"/>
                  <a:pt x="2484573" y="757610"/>
                  <a:pt x="2490792" y="757610"/>
                </a:cubicBezTo>
                <a:cubicBezTo>
                  <a:pt x="2472138" y="751871"/>
                  <a:pt x="2497010" y="746132"/>
                  <a:pt x="2503227" y="746132"/>
                </a:cubicBezTo>
                <a:close/>
                <a:moveTo>
                  <a:pt x="4131099" y="742915"/>
                </a:moveTo>
                <a:lnTo>
                  <a:pt x="4104527" y="750779"/>
                </a:lnTo>
                <a:lnTo>
                  <a:pt x="4101181" y="752482"/>
                </a:lnTo>
                <a:cubicBezTo>
                  <a:pt x="4092775" y="756209"/>
                  <a:pt x="4084929" y="759191"/>
                  <a:pt x="4076709" y="762174"/>
                </a:cubicBezTo>
                <a:lnTo>
                  <a:pt x="4055494" y="769870"/>
                </a:lnTo>
                <a:lnTo>
                  <a:pt x="4033583" y="778978"/>
                </a:lnTo>
                <a:lnTo>
                  <a:pt x="4016107" y="786243"/>
                </a:lnTo>
                <a:lnTo>
                  <a:pt x="4021319" y="787893"/>
                </a:lnTo>
                <a:lnTo>
                  <a:pt x="4021214" y="794113"/>
                </a:lnTo>
                <a:lnTo>
                  <a:pt x="4015434" y="797957"/>
                </a:lnTo>
                <a:cubicBezTo>
                  <a:pt x="4017676" y="797957"/>
                  <a:pt x="4019917" y="796280"/>
                  <a:pt x="4021213" y="794183"/>
                </a:cubicBezTo>
                <a:lnTo>
                  <a:pt x="4021214" y="794113"/>
                </a:lnTo>
                <a:lnTo>
                  <a:pt x="4040094" y="781556"/>
                </a:lnTo>
                <a:cubicBezTo>
                  <a:pt x="4049808" y="775592"/>
                  <a:pt x="4060270" y="771119"/>
                  <a:pt x="4069236" y="774101"/>
                </a:cubicBezTo>
                <a:cubicBezTo>
                  <a:pt x="4069236" y="774101"/>
                  <a:pt x="4069236" y="774101"/>
                  <a:pt x="4069236" y="768137"/>
                </a:cubicBezTo>
                <a:cubicBezTo>
                  <a:pt x="4079699" y="763664"/>
                  <a:pt x="4091281" y="759191"/>
                  <a:pt x="4103704" y="754718"/>
                </a:cubicBezTo>
                <a:lnTo>
                  <a:pt x="4129279" y="746032"/>
                </a:lnTo>
                <a:close/>
                <a:moveTo>
                  <a:pt x="4194218" y="738957"/>
                </a:moveTo>
                <a:cubicBezTo>
                  <a:pt x="4197807" y="737522"/>
                  <a:pt x="4202110" y="737522"/>
                  <a:pt x="4204980" y="740392"/>
                </a:cubicBezTo>
                <a:cubicBezTo>
                  <a:pt x="4204980" y="751871"/>
                  <a:pt x="4193500" y="740392"/>
                  <a:pt x="4187761" y="746132"/>
                </a:cubicBezTo>
                <a:cubicBezTo>
                  <a:pt x="4187761" y="743261"/>
                  <a:pt x="4190632" y="740392"/>
                  <a:pt x="4194218" y="738957"/>
                </a:cubicBezTo>
                <a:close/>
                <a:moveTo>
                  <a:pt x="2863579" y="738923"/>
                </a:moveTo>
                <a:cubicBezTo>
                  <a:pt x="2856883" y="744663"/>
                  <a:pt x="2856883" y="750402"/>
                  <a:pt x="2850188" y="756142"/>
                </a:cubicBezTo>
                <a:cubicBezTo>
                  <a:pt x="2850188" y="750402"/>
                  <a:pt x="2843490" y="744663"/>
                  <a:pt x="2843490" y="750402"/>
                </a:cubicBezTo>
                <a:cubicBezTo>
                  <a:pt x="2843490" y="738923"/>
                  <a:pt x="2850188" y="738923"/>
                  <a:pt x="2863579" y="738923"/>
                </a:cubicBezTo>
                <a:close/>
                <a:moveTo>
                  <a:pt x="2832012" y="738923"/>
                </a:moveTo>
                <a:cubicBezTo>
                  <a:pt x="2832012" y="750402"/>
                  <a:pt x="2820533" y="744663"/>
                  <a:pt x="2814793" y="750402"/>
                </a:cubicBezTo>
                <a:cubicBezTo>
                  <a:pt x="2814793" y="744663"/>
                  <a:pt x="2826272" y="744663"/>
                  <a:pt x="2832012" y="738923"/>
                </a:cubicBezTo>
                <a:close/>
                <a:moveTo>
                  <a:pt x="4394077" y="738482"/>
                </a:moveTo>
                <a:lnTo>
                  <a:pt x="4387984" y="743144"/>
                </a:lnTo>
                <a:lnTo>
                  <a:pt x="4387251" y="741668"/>
                </a:lnTo>
                <a:close/>
                <a:moveTo>
                  <a:pt x="2624721" y="737367"/>
                </a:moveTo>
                <a:lnTo>
                  <a:pt x="2624831" y="737381"/>
                </a:lnTo>
                <a:lnTo>
                  <a:pt x="2620887" y="740394"/>
                </a:lnTo>
                <a:cubicBezTo>
                  <a:pt x="2622501" y="738600"/>
                  <a:pt x="2623713" y="737704"/>
                  <a:pt x="2624721" y="737367"/>
                </a:cubicBezTo>
                <a:close/>
                <a:moveTo>
                  <a:pt x="4369905" y="737067"/>
                </a:moveTo>
                <a:cubicBezTo>
                  <a:pt x="4369905" y="743144"/>
                  <a:pt x="4363878" y="743144"/>
                  <a:pt x="4363878" y="749222"/>
                </a:cubicBezTo>
                <a:lnTo>
                  <a:pt x="4367975" y="750659"/>
                </a:lnTo>
                <a:lnTo>
                  <a:pt x="4325460" y="770491"/>
                </a:lnTo>
                <a:cubicBezTo>
                  <a:pt x="4287041" y="785683"/>
                  <a:pt x="4246362" y="800877"/>
                  <a:pt x="4201163" y="822147"/>
                </a:cubicBezTo>
                <a:cubicBezTo>
                  <a:pt x="4195137" y="816069"/>
                  <a:pt x="4207191" y="816069"/>
                  <a:pt x="4207191" y="809992"/>
                </a:cubicBezTo>
                <a:cubicBezTo>
                  <a:pt x="4231297" y="803916"/>
                  <a:pt x="4279508" y="785683"/>
                  <a:pt x="4303614" y="767453"/>
                </a:cubicBezTo>
                <a:cubicBezTo>
                  <a:pt x="4321693" y="773530"/>
                  <a:pt x="4333745" y="755300"/>
                  <a:pt x="4333745" y="749222"/>
                </a:cubicBezTo>
                <a:cubicBezTo>
                  <a:pt x="4351826" y="743144"/>
                  <a:pt x="4351826" y="749222"/>
                  <a:pt x="4369905" y="737067"/>
                </a:cubicBezTo>
                <a:close/>
                <a:moveTo>
                  <a:pt x="3023926" y="736733"/>
                </a:moveTo>
                <a:cubicBezTo>
                  <a:pt x="3028690" y="737571"/>
                  <a:pt x="3027569" y="744281"/>
                  <a:pt x="3023086" y="744281"/>
                </a:cubicBezTo>
                <a:cubicBezTo>
                  <a:pt x="3023086" y="738317"/>
                  <a:pt x="3017107" y="744281"/>
                  <a:pt x="3017107" y="738317"/>
                </a:cubicBezTo>
                <a:cubicBezTo>
                  <a:pt x="3020096" y="736826"/>
                  <a:pt x="3022338" y="736453"/>
                  <a:pt x="3023926" y="736733"/>
                </a:cubicBezTo>
                <a:close/>
                <a:moveTo>
                  <a:pt x="4729665" y="736114"/>
                </a:moveTo>
                <a:cubicBezTo>
                  <a:pt x="4731071" y="736207"/>
                  <a:pt x="4726946" y="738480"/>
                  <a:pt x="4713445" y="744539"/>
                </a:cubicBezTo>
                <a:cubicBezTo>
                  <a:pt x="4683443" y="756656"/>
                  <a:pt x="4659443" y="762714"/>
                  <a:pt x="4635440" y="774831"/>
                </a:cubicBezTo>
                <a:cubicBezTo>
                  <a:pt x="4635440" y="756656"/>
                  <a:pt x="4671442" y="756656"/>
                  <a:pt x="4671442" y="750597"/>
                </a:cubicBezTo>
                <a:cubicBezTo>
                  <a:pt x="4671442" y="755142"/>
                  <a:pt x="4725445" y="735830"/>
                  <a:pt x="4729665" y="736114"/>
                </a:cubicBezTo>
                <a:close/>
                <a:moveTo>
                  <a:pt x="2764374" y="734654"/>
                </a:moveTo>
                <a:lnTo>
                  <a:pt x="2770113" y="740394"/>
                </a:lnTo>
                <a:cubicBezTo>
                  <a:pt x="2770113" y="746134"/>
                  <a:pt x="2770113" y="751873"/>
                  <a:pt x="2764374" y="757612"/>
                </a:cubicBezTo>
                <a:cubicBezTo>
                  <a:pt x="2770113" y="746134"/>
                  <a:pt x="2764374" y="746134"/>
                  <a:pt x="2764374" y="734654"/>
                </a:cubicBezTo>
                <a:close/>
                <a:moveTo>
                  <a:pt x="2880796" y="733184"/>
                </a:moveTo>
                <a:cubicBezTo>
                  <a:pt x="2880796" y="738923"/>
                  <a:pt x="2880796" y="738923"/>
                  <a:pt x="2875057" y="744663"/>
                </a:cubicBezTo>
                <a:cubicBezTo>
                  <a:pt x="2875057" y="738923"/>
                  <a:pt x="2869317" y="738923"/>
                  <a:pt x="2869317" y="738923"/>
                </a:cubicBezTo>
                <a:cubicBezTo>
                  <a:pt x="2863578" y="738923"/>
                  <a:pt x="2880796" y="733184"/>
                  <a:pt x="2880796" y="733184"/>
                </a:cubicBezTo>
                <a:close/>
                <a:moveTo>
                  <a:pt x="4381956" y="730989"/>
                </a:moveTo>
                <a:lnTo>
                  <a:pt x="4387251" y="741668"/>
                </a:lnTo>
                <a:lnTo>
                  <a:pt x="4368606" y="750365"/>
                </a:lnTo>
                <a:lnTo>
                  <a:pt x="4371411" y="747703"/>
                </a:lnTo>
                <a:cubicBezTo>
                  <a:pt x="4372918" y="744664"/>
                  <a:pt x="4372918" y="740106"/>
                  <a:pt x="4369905" y="737067"/>
                </a:cubicBezTo>
                <a:cubicBezTo>
                  <a:pt x="4381956" y="730989"/>
                  <a:pt x="4369905" y="749222"/>
                  <a:pt x="4375931" y="743144"/>
                </a:cubicBezTo>
                <a:cubicBezTo>
                  <a:pt x="4387984" y="743144"/>
                  <a:pt x="4369905" y="737067"/>
                  <a:pt x="4381956" y="730989"/>
                </a:cubicBezTo>
                <a:close/>
                <a:moveTo>
                  <a:pt x="4149691" y="730646"/>
                </a:moveTo>
                <a:lnTo>
                  <a:pt x="4147323" y="731328"/>
                </a:lnTo>
                <a:cubicBezTo>
                  <a:pt x="4142466" y="733098"/>
                  <a:pt x="4137983" y="735335"/>
                  <a:pt x="4134994" y="738317"/>
                </a:cubicBezTo>
                <a:cubicBezTo>
                  <a:pt x="4134994" y="738317"/>
                  <a:pt x="4134994" y="732353"/>
                  <a:pt x="4134994" y="732353"/>
                </a:cubicBezTo>
                <a:cubicBezTo>
                  <a:pt x="4129016" y="732353"/>
                  <a:pt x="4129016" y="738317"/>
                  <a:pt x="4129016" y="732353"/>
                </a:cubicBezTo>
                <a:cubicBezTo>
                  <a:pt x="4123039" y="732353"/>
                  <a:pt x="4129016" y="738317"/>
                  <a:pt x="4129016" y="738317"/>
                </a:cubicBezTo>
                <a:lnTo>
                  <a:pt x="4125995" y="739854"/>
                </a:lnTo>
                <a:lnTo>
                  <a:pt x="4143055" y="736951"/>
                </a:lnTo>
                <a:close/>
                <a:moveTo>
                  <a:pt x="2992517" y="727767"/>
                </a:moveTo>
                <a:lnTo>
                  <a:pt x="2994551" y="729872"/>
                </a:lnTo>
                <a:lnTo>
                  <a:pt x="2992517" y="734080"/>
                </a:lnTo>
                <a:cubicBezTo>
                  <a:pt x="2992517" y="727767"/>
                  <a:pt x="2992517" y="727767"/>
                  <a:pt x="2992517" y="727767"/>
                </a:cubicBezTo>
                <a:close/>
                <a:moveTo>
                  <a:pt x="2788767" y="726045"/>
                </a:moveTo>
                <a:cubicBezTo>
                  <a:pt x="2795224" y="726045"/>
                  <a:pt x="2795224" y="726045"/>
                  <a:pt x="2801681" y="726045"/>
                </a:cubicBezTo>
                <a:cubicBezTo>
                  <a:pt x="2801681" y="726045"/>
                  <a:pt x="2801681" y="732741"/>
                  <a:pt x="2801681" y="732741"/>
                </a:cubicBezTo>
                <a:cubicBezTo>
                  <a:pt x="2801681" y="739438"/>
                  <a:pt x="2788767" y="739438"/>
                  <a:pt x="2795224" y="746134"/>
                </a:cubicBezTo>
                <a:cubicBezTo>
                  <a:pt x="2775853" y="739438"/>
                  <a:pt x="2801681" y="739438"/>
                  <a:pt x="2788767" y="726045"/>
                </a:cubicBezTo>
                <a:close/>
                <a:moveTo>
                  <a:pt x="2770113" y="726045"/>
                </a:moveTo>
                <a:cubicBezTo>
                  <a:pt x="2783507" y="726045"/>
                  <a:pt x="2790203" y="733220"/>
                  <a:pt x="2776810" y="740394"/>
                </a:cubicBezTo>
                <a:cubicBezTo>
                  <a:pt x="2776810" y="733220"/>
                  <a:pt x="2776810" y="726045"/>
                  <a:pt x="2770113" y="726045"/>
                </a:cubicBezTo>
                <a:close/>
                <a:moveTo>
                  <a:pt x="2646715" y="726045"/>
                </a:moveTo>
                <a:cubicBezTo>
                  <a:pt x="2646715" y="740394"/>
                  <a:pt x="2627344" y="726045"/>
                  <a:pt x="2633801" y="740394"/>
                </a:cubicBezTo>
                <a:cubicBezTo>
                  <a:pt x="2630573" y="740394"/>
                  <a:pt x="2628959" y="738600"/>
                  <a:pt x="2627344" y="737704"/>
                </a:cubicBezTo>
                <a:lnTo>
                  <a:pt x="2624831" y="737381"/>
                </a:lnTo>
                <a:lnTo>
                  <a:pt x="2633801" y="730529"/>
                </a:lnTo>
                <a:cubicBezTo>
                  <a:pt x="2638645" y="727838"/>
                  <a:pt x="2643487" y="726045"/>
                  <a:pt x="2646715" y="726045"/>
                </a:cubicBezTo>
                <a:close/>
                <a:moveTo>
                  <a:pt x="2150250" y="726045"/>
                </a:moveTo>
                <a:cubicBezTo>
                  <a:pt x="2143553" y="733220"/>
                  <a:pt x="2143553" y="740394"/>
                  <a:pt x="2130162" y="740394"/>
                </a:cubicBezTo>
                <a:cubicBezTo>
                  <a:pt x="2130162" y="740394"/>
                  <a:pt x="2136857" y="733220"/>
                  <a:pt x="2130162" y="733220"/>
                </a:cubicBezTo>
                <a:cubicBezTo>
                  <a:pt x="2130162" y="726045"/>
                  <a:pt x="2143553" y="726045"/>
                  <a:pt x="2150250" y="726045"/>
                </a:cubicBezTo>
                <a:close/>
                <a:moveTo>
                  <a:pt x="2101464" y="726045"/>
                </a:moveTo>
                <a:cubicBezTo>
                  <a:pt x="2083338" y="738162"/>
                  <a:pt x="2059173" y="744219"/>
                  <a:pt x="2059173" y="762396"/>
                </a:cubicBezTo>
                <a:cubicBezTo>
                  <a:pt x="2053131" y="762396"/>
                  <a:pt x="2053131" y="756336"/>
                  <a:pt x="2047090" y="756336"/>
                </a:cubicBezTo>
                <a:cubicBezTo>
                  <a:pt x="2035007" y="756336"/>
                  <a:pt x="2028964" y="762396"/>
                  <a:pt x="2028964" y="768453"/>
                </a:cubicBezTo>
                <a:cubicBezTo>
                  <a:pt x="2016881" y="762396"/>
                  <a:pt x="1998757" y="780570"/>
                  <a:pt x="1986674" y="780570"/>
                </a:cubicBezTo>
                <a:cubicBezTo>
                  <a:pt x="2010840" y="762396"/>
                  <a:pt x="2065214" y="744219"/>
                  <a:pt x="2101464" y="726045"/>
                </a:cubicBezTo>
                <a:close/>
                <a:moveTo>
                  <a:pt x="2851144" y="724574"/>
                </a:moveTo>
                <a:cubicBezTo>
                  <a:pt x="2857840" y="738923"/>
                  <a:pt x="2844448" y="738923"/>
                  <a:pt x="2837751" y="738923"/>
                </a:cubicBezTo>
                <a:cubicBezTo>
                  <a:pt x="2844448" y="731749"/>
                  <a:pt x="2844448" y="724574"/>
                  <a:pt x="2851144" y="724574"/>
                </a:cubicBezTo>
                <a:close/>
                <a:moveTo>
                  <a:pt x="4225073" y="723774"/>
                </a:moveTo>
                <a:lnTo>
                  <a:pt x="4218204" y="724753"/>
                </a:lnTo>
                <a:lnTo>
                  <a:pt x="4219138" y="726296"/>
                </a:lnTo>
                <a:close/>
                <a:moveTo>
                  <a:pt x="2813159" y="720305"/>
                </a:moveTo>
                <a:cubicBezTo>
                  <a:pt x="2813159" y="720305"/>
                  <a:pt x="2818898" y="734654"/>
                  <a:pt x="2818898" y="720305"/>
                </a:cubicBezTo>
                <a:cubicBezTo>
                  <a:pt x="2818898" y="720305"/>
                  <a:pt x="2818898" y="727480"/>
                  <a:pt x="2818898" y="727480"/>
                </a:cubicBezTo>
                <a:cubicBezTo>
                  <a:pt x="2818898" y="727480"/>
                  <a:pt x="2813159" y="734654"/>
                  <a:pt x="2807419" y="734654"/>
                </a:cubicBezTo>
                <a:cubicBezTo>
                  <a:pt x="2807419" y="734654"/>
                  <a:pt x="2807419" y="727480"/>
                  <a:pt x="2807419" y="727480"/>
                </a:cubicBezTo>
                <a:cubicBezTo>
                  <a:pt x="2813159" y="727480"/>
                  <a:pt x="2813159" y="727480"/>
                  <a:pt x="2813159" y="720305"/>
                </a:cubicBezTo>
                <a:close/>
                <a:moveTo>
                  <a:pt x="2698110" y="720305"/>
                </a:moveTo>
                <a:cubicBezTo>
                  <a:pt x="2704110" y="720305"/>
                  <a:pt x="2704110" y="732605"/>
                  <a:pt x="2698110" y="738754"/>
                </a:cubicBezTo>
                <a:cubicBezTo>
                  <a:pt x="2692111" y="738754"/>
                  <a:pt x="2704110" y="732605"/>
                  <a:pt x="2698110" y="732605"/>
                </a:cubicBezTo>
                <a:cubicBezTo>
                  <a:pt x="2689110" y="735679"/>
                  <a:pt x="2683109" y="738754"/>
                  <a:pt x="2679359" y="743366"/>
                </a:cubicBezTo>
                <a:lnTo>
                  <a:pt x="2674494" y="761883"/>
                </a:lnTo>
                <a:lnTo>
                  <a:pt x="2671859" y="759508"/>
                </a:lnTo>
                <a:cubicBezTo>
                  <a:pt x="2669608" y="757202"/>
                  <a:pt x="2668108" y="754127"/>
                  <a:pt x="2674108" y="751053"/>
                </a:cubicBezTo>
                <a:cubicBezTo>
                  <a:pt x="2662109" y="738754"/>
                  <a:pt x="2650107" y="763352"/>
                  <a:pt x="2638106" y="763352"/>
                </a:cubicBezTo>
                <a:cubicBezTo>
                  <a:pt x="2656107" y="738754"/>
                  <a:pt x="2692111" y="738754"/>
                  <a:pt x="2698110" y="720305"/>
                </a:cubicBezTo>
                <a:close/>
                <a:moveTo>
                  <a:pt x="2985549" y="719649"/>
                </a:moveTo>
                <a:lnTo>
                  <a:pt x="2984133" y="726977"/>
                </a:lnTo>
                <a:cubicBezTo>
                  <a:pt x="2983371" y="730924"/>
                  <a:pt x="2983371" y="734080"/>
                  <a:pt x="2986420" y="734080"/>
                </a:cubicBezTo>
                <a:cubicBezTo>
                  <a:pt x="2986420" y="734080"/>
                  <a:pt x="2980321" y="734080"/>
                  <a:pt x="2980321" y="740394"/>
                </a:cubicBezTo>
                <a:cubicBezTo>
                  <a:pt x="2968124" y="740394"/>
                  <a:pt x="2986420" y="721453"/>
                  <a:pt x="2980321" y="727767"/>
                </a:cubicBezTo>
                <a:close/>
                <a:moveTo>
                  <a:pt x="4436195" y="718836"/>
                </a:moveTo>
                <a:lnTo>
                  <a:pt x="4394077" y="738482"/>
                </a:lnTo>
                <a:lnTo>
                  <a:pt x="4409829" y="726432"/>
                </a:lnTo>
                <a:cubicBezTo>
                  <a:pt x="4418116" y="721875"/>
                  <a:pt x="4427156" y="718836"/>
                  <a:pt x="4436195" y="718836"/>
                </a:cubicBezTo>
                <a:close/>
                <a:moveTo>
                  <a:pt x="2986420" y="715141"/>
                </a:moveTo>
                <a:lnTo>
                  <a:pt x="2987944" y="715929"/>
                </a:lnTo>
                <a:lnTo>
                  <a:pt x="2985549" y="719649"/>
                </a:lnTo>
                <a:close/>
                <a:moveTo>
                  <a:pt x="2585835" y="714884"/>
                </a:moveTo>
                <a:cubicBezTo>
                  <a:pt x="2585835" y="727001"/>
                  <a:pt x="2603669" y="708826"/>
                  <a:pt x="2603669" y="720943"/>
                </a:cubicBezTo>
                <a:lnTo>
                  <a:pt x="2579892" y="733060"/>
                </a:lnTo>
                <a:lnTo>
                  <a:pt x="2582864" y="726244"/>
                </a:lnTo>
                <a:cubicBezTo>
                  <a:pt x="2584350" y="723973"/>
                  <a:pt x="2585835" y="720943"/>
                  <a:pt x="2585835" y="714884"/>
                </a:cubicBezTo>
                <a:close/>
                <a:moveTo>
                  <a:pt x="2550168" y="714884"/>
                </a:moveTo>
                <a:cubicBezTo>
                  <a:pt x="2544224" y="720943"/>
                  <a:pt x="2550168" y="733060"/>
                  <a:pt x="2556113" y="739118"/>
                </a:cubicBezTo>
                <a:cubicBezTo>
                  <a:pt x="2562057" y="736088"/>
                  <a:pt x="2566517" y="733060"/>
                  <a:pt x="2570232" y="731545"/>
                </a:cubicBezTo>
                <a:lnTo>
                  <a:pt x="2579892" y="733060"/>
                </a:lnTo>
                <a:lnTo>
                  <a:pt x="2520445" y="763352"/>
                </a:lnTo>
                <a:lnTo>
                  <a:pt x="2520447" y="763350"/>
                </a:lnTo>
                <a:lnTo>
                  <a:pt x="2530849" y="747448"/>
                </a:lnTo>
                <a:cubicBezTo>
                  <a:pt x="2535307" y="745177"/>
                  <a:pt x="2541253" y="745177"/>
                  <a:pt x="2550168" y="745177"/>
                </a:cubicBezTo>
                <a:cubicBezTo>
                  <a:pt x="2550168" y="720943"/>
                  <a:pt x="2538280" y="739118"/>
                  <a:pt x="2526391" y="733060"/>
                </a:cubicBezTo>
                <a:cubicBezTo>
                  <a:pt x="2532335" y="727001"/>
                  <a:pt x="2538280" y="720943"/>
                  <a:pt x="2550168" y="714884"/>
                </a:cubicBezTo>
                <a:close/>
                <a:moveTo>
                  <a:pt x="4200515" y="713398"/>
                </a:moveTo>
                <a:lnTo>
                  <a:pt x="4183658" y="724576"/>
                </a:lnTo>
                <a:cubicBezTo>
                  <a:pt x="4186624" y="721705"/>
                  <a:pt x="4192555" y="717401"/>
                  <a:pt x="4199228" y="713814"/>
                </a:cubicBezTo>
                <a:close/>
                <a:moveTo>
                  <a:pt x="4224899" y="711233"/>
                </a:moveTo>
                <a:lnTo>
                  <a:pt x="4225174" y="713096"/>
                </a:lnTo>
                <a:lnTo>
                  <a:pt x="4223722" y="712816"/>
                </a:lnTo>
                <a:close/>
                <a:moveTo>
                  <a:pt x="2128995" y="709095"/>
                </a:moveTo>
                <a:cubicBezTo>
                  <a:pt x="2131955" y="708826"/>
                  <a:pt x="2134465" y="710262"/>
                  <a:pt x="2135901" y="714566"/>
                </a:cubicBezTo>
                <a:cubicBezTo>
                  <a:pt x="2130162" y="714566"/>
                  <a:pt x="2124422" y="714566"/>
                  <a:pt x="2118682" y="720305"/>
                </a:cubicBezTo>
                <a:cubicBezTo>
                  <a:pt x="2124422" y="720305"/>
                  <a:pt x="2124422" y="726045"/>
                  <a:pt x="2130162" y="720305"/>
                </a:cubicBezTo>
                <a:cubicBezTo>
                  <a:pt x="2130162" y="726045"/>
                  <a:pt x="2124422" y="726045"/>
                  <a:pt x="2118682" y="726045"/>
                </a:cubicBezTo>
                <a:cubicBezTo>
                  <a:pt x="2124422" y="720305"/>
                  <a:pt x="2112943" y="720305"/>
                  <a:pt x="2107204" y="726045"/>
                </a:cubicBezTo>
                <a:cubicBezTo>
                  <a:pt x="2107204" y="726045"/>
                  <a:pt x="2120118" y="709902"/>
                  <a:pt x="2128995" y="709095"/>
                </a:cubicBezTo>
                <a:close/>
                <a:moveTo>
                  <a:pt x="4476369" y="707355"/>
                </a:moveTo>
                <a:cubicBezTo>
                  <a:pt x="4476369" y="713095"/>
                  <a:pt x="4459151" y="713095"/>
                  <a:pt x="4453411" y="713095"/>
                </a:cubicBezTo>
                <a:cubicBezTo>
                  <a:pt x="4453411" y="707355"/>
                  <a:pt x="4470630" y="707355"/>
                  <a:pt x="4476369" y="707355"/>
                </a:cubicBezTo>
                <a:close/>
                <a:moveTo>
                  <a:pt x="2929585" y="707355"/>
                </a:moveTo>
                <a:cubicBezTo>
                  <a:pt x="2929585" y="713813"/>
                  <a:pt x="2898495" y="733184"/>
                  <a:pt x="2892277" y="720270"/>
                </a:cubicBezTo>
                <a:cubicBezTo>
                  <a:pt x="2904714" y="713813"/>
                  <a:pt x="2917149" y="713813"/>
                  <a:pt x="2929585" y="707355"/>
                </a:cubicBezTo>
                <a:close/>
                <a:moveTo>
                  <a:pt x="2980648" y="703087"/>
                </a:moveTo>
                <a:lnTo>
                  <a:pt x="2980648" y="714566"/>
                </a:lnTo>
                <a:cubicBezTo>
                  <a:pt x="2971647" y="710261"/>
                  <a:pt x="2969397" y="715642"/>
                  <a:pt x="2963771" y="716180"/>
                </a:cubicBezTo>
                <a:lnTo>
                  <a:pt x="2957721" y="714809"/>
                </a:lnTo>
                <a:lnTo>
                  <a:pt x="2957505" y="714154"/>
                </a:lnTo>
                <a:close/>
                <a:moveTo>
                  <a:pt x="2830377" y="703087"/>
                </a:moveTo>
                <a:cubicBezTo>
                  <a:pt x="2836116" y="708826"/>
                  <a:pt x="2836116" y="720305"/>
                  <a:pt x="2830377" y="726045"/>
                </a:cubicBezTo>
                <a:cubicBezTo>
                  <a:pt x="2824637" y="720305"/>
                  <a:pt x="2824637" y="714566"/>
                  <a:pt x="2818898" y="714566"/>
                </a:cubicBezTo>
                <a:cubicBezTo>
                  <a:pt x="2818898" y="708826"/>
                  <a:pt x="2836116" y="714566"/>
                  <a:pt x="2830377" y="703087"/>
                </a:cubicBezTo>
                <a:close/>
                <a:moveTo>
                  <a:pt x="2538868" y="702534"/>
                </a:moveTo>
                <a:cubicBezTo>
                  <a:pt x="2538868" y="708497"/>
                  <a:pt x="2538868" y="714461"/>
                  <a:pt x="2538868" y="714461"/>
                </a:cubicBezTo>
                <a:lnTo>
                  <a:pt x="2534453" y="710791"/>
                </a:lnTo>
                <a:close/>
                <a:moveTo>
                  <a:pt x="2903754" y="701616"/>
                </a:moveTo>
                <a:cubicBezTo>
                  <a:pt x="2909494" y="713095"/>
                  <a:pt x="2886535" y="713095"/>
                  <a:pt x="2880796" y="718834"/>
                </a:cubicBezTo>
                <a:cubicBezTo>
                  <a:pt x="2880796" y="707355"/>
                  <a:pt x="2898015" y="713095"/>
                  <a:pt x="2903754" y="701616"/>
                </a:cubicBezTo>
                <a:close/>
                <a:moveTo>
                  <a:pt x="4259598" y="699178"/>
                </a:moveTo>
                <a:lnTo>
                  <a:pt x="4259713" y="699590"/>
                </a:lnTo>
                <a:lnTo>
                  <a:pt x="4259164" y="699886"/>
                </a:lnTo>
                <a:close/>
                <a:moveTo>
                  <a:pt x="2836754" y="698624"/>
                </a:moveTo>
                <a:lnTo>
                  <a:pt x="2839705" y="704522"/>
                </a:lnTo>
                <a:cubicBezTo>
                  <a:pt x="2841856" y="705955"/>
                  <a:pt x="2844727" y="705955"/>
                  <a:pt x="2847595" y="703087"/>
                </a:cubicBezTo>
                <a:cubicBezTo>
                  <a:pt x="2847595" y="708826"/>
                  <a:pt x="2847595" y="720305"/>
                  <a:pt x="2841856" y="720305"/>
                </a:cubicBezTo>
                <a:cubicBezTo>
                  <a:pt x="2847595" y="708826"/>
                  <a:pt x="2841856" y="708826"/>
                  <a:pt x="2830377" y="703087"/>
                </a:cubicBezTo>
                <a:close/>
                <a:moveTo>
                  <a:pt x="2836116" y="697347"/>
                </a:moveTo>
                <a:cubicBezTo>
                  <a:pt x="2841856" y="700216"/>
                  <a:pt x="2840422" y="698782"/>
                  <a:pt x="2837552" y="698065"/>
                </a:cubicBezTo>
                <a:lnTo>
                  <a:pt x="2836754" y="698624"/>
                </a:lnTo>
                <a:close/>
                <a:moveTo>
                  <a:pt x="2633409" y="697347"/>
                </a:moveTo>
                <a:cubicBezTo>
                  <a:pt x="2639409" y="703307"/>
                  <a:pt x="2633409" y="709267"/>
                  <a:pt x="2633409" y="715227"/>
                </a:cubicBezTo>
                <a:cubicBezTo>
                  <a:pt x="2639409" y="715227"/>
                  <a:pt x="2651410" y="715227"/>
                  <a:pt x="2663412" y="703307"/>
                </a:cubicBezTo>
                <a:cubicBezTo>
                  <a:pt x="2675411" y="715227"/>
                  <a:pt x="2663412" y="727149"/>
                  <a:pt x="2663412" y="739069"/>
                </a:cubicBezTo>
                <a:cubicBezTo>
                  <a:pt x="2651410" y="733109"/>
                  <a:pt x="2657410" y="721189"/>
                  <a:pt x="2663412" y="715227"/>
                </a:cubicBezTo>
                <a:cubicBezTo>
                  <a:pt x="2639409" y="709267"/>
                  <a:pt x="2609408" y="745029"/>
                  <a:pt x="2597407" y="745029"/>
                </a:cubicBezTo>
                <a:cubicBezTo>
                  <a:pt x="2585406" y="750989"/>
                  <a:pt x="2579406" y="745029"/>
                  <a:pt x="2579406" y="756949"/>
                </a:cubicBezTo>
                <a:cubicBezTo>
                  <a:pt x="2573406" y="762911"/>
                  <a:pt x="2573406" y="750989"/>
                  <a:pt x="2567406" y="756949"/>
                </a:cubicBezTo>
                <a:cubicBezTo>
                  <a:pt x="2555405" y="762911"/>
                  <a:pt x="2555405" y="774831"/>
                  <a:pt x="2543403" y="774831"/>
                </a:cubicBezTo>
                <a:cubicBezTo>
                  <a:pt x="2549405" y="762911"/>
                  <a:pt x="2573406" y="739069"/>
                  <a:pt x="2597407" y="739069"/>
                </a:cubicBezTo>
                <a:cubicBezTo>
                  <a:pt x="2609408" y="733109"/>
                  <a:pt x="2615408" y="727149"/>
                  <a:pt x="2627409" y="721189"/>
                </a:cubicBezTo>
                <a:cubicBezTo>
                  <a:pt x="2627409" y="721189"/>
                  <a:pt x="2633409" y="709267"/>
                  <a:pt x="2627409" y="709267"/>
                </a:cubicBezTo>
                <a:cubicBezTo>
                  <a:pt x="2627409" y="703307"/>
                  <a:pt x="2633409" y="697347"/>
                  <a:pt x="2633409" y="697347"/>
                </a:cubicBezTo>
                <a:close/>
                <a:moveTo>
                  <a:pt x="2018241" y="697347"/>
                </a:moveTo>
                <a:cubicBezTo>
                  <a:pt x="2018241" y="709237"/>
                  <a:pt x="2012214" y="715180"/>
                  <a:pt x="2006187" y="715180"/>
                </a:cubicBezTo>
                <a:cubicBezTo>
                  <a:pt x="2012214" y="721126"/>
                  <a:pt x="2018241" y="721126"/>
                  <a:pt x="2012214" y="733015"/>
                </a:cubicBezTo>
                <a:cubicBezTo>
                  <a:pt x="2000162" y="727070"/>
                  <a:pt x="1982081" y="744902"/>
                  <a:pt x="1982081" y="750848"/>
                </a:cubicBezTo>
                <a:cubicBezTo>
                  <a:pt x="1970029" y="744902"/>
                  <a:pt x="1933870" y="756792"/>
                  <a:pt x="1927844" y="774626"/>
                </a:cubicBezTo>
                <a:cubicBezTo>
                  <a:pt x="1915791" y="780570"/>
                  <a:pt x="1909763" y="768681"/>
                  <a:pt x="1897712" y="774626"/>
                </a:cubicBezTo>
                <a:cubicBezTo>
                  <a:pt x="1915791" y="762737"/>
                  <a:pt x="1951951" y="750848"/>
                  <a:pt x="1976056" y="744902"/>
                </a:cubicBezTo>
                <a:cubicBezTo>
                  <a:pt x="1976056" y="738959"/>
                  <a:pt x="1976056" y="738959"/>
                  <a:pt x="1976056" y="733015"/>
                </a:cubicBezTo>
                <a:cubicBezTo>
                  <a:pt x="1970029" y="727070"/>
                  <a:pt x="1951951" y="744902"/>
                  <a:pt x="1939897" y="744902"/>
                </a:cubicBezTo>
                <a:cubicBezTo>
                  <a:pt x="1933870" y="744902"/>
                  <a:pt x="1915791" y="756792"/>
                  <a:pt x="1921818" y="750848"/>
                </a:cubicBezTo>
                <a:cubicBezTo>
                  <a:pt x="1927844" y="744902"/>
                  <a:pt x="1933870" y="744902"/>
                  <a:pt x="1939897" y="738959"/>
                </a:cubicBezTo>
                <a:cubicBezTo>
                  <a:pt x="1957975" y="727070"/>
                  <a:pt x="1982081" y="715180"/>
                  <a:pt x="2000162" y="715180"/>
                </a:cubicBezTo>
                <a:cubicBezTo>
                  <a:pt x="2000162" y="703291"/>
                  <a:pt x="2012214" y="703291"/>
                  <a:pt x="2018241" y="697347"/>
                </a:cubicBezTo>
                <a:close/>
                <a:moveTo>
                  <a:pt x="4224665" y="696568"/>
                </a:moveTo>
                <a:lnTo>
                  <a:pt x="4225923" y="697349"/>
                </a:lnTo>
                <a:lnTo>
                  <a:pt x="4227068" y="696999"/>
                </a:lnTo>
                <a:close/>
                <a:moveTo>
                  <a:pt x="4273517" y="696010"/>
                </a:moveTo>
                <a:cubicBezTo>
                  <a:pt x="4277719" y="696197"/>
                  <a:pt x="4281456" y="698060"/>
                  <a:pt x="4284445" y="702534"/>
                </a:cubicBezTo>
                <a:cubicBezTo>
                  <a:pt x="4272488" y="708497"/>
                  <a:pt x="4260532" y="702534"/>
                  <a:pt x="4260532" y="708497"/>
                </a:cubicBezTo>
                <a:cubicBezTo>
                  <a:pt x="4260532" y="708497"/>
                  <a:pt x="4260532" y="702534"/>
                  <a:pt x="4260532" y="702534"/>
                </a:cubicBezTo>
                <a:lnTo>
                  <a:pt x="4259713" y="699590"/>
                </a:lnTo>
                <a:lnTo>
                  <a:pt x="4259786" y="699551"/>
                </a:lnTo>
                <a:cubicBezTo>
                  <a:pt x="4264643" y="697315"/>
                  <a:pt x="4269313" y="695823"/>
                  <a:pt x="4273517" y="696010"/>
                </a:cubicBezTo>
                <a:close/>
                <a:moveTo>
                  <a:pt x="2958100" y="695249"/>
                </a:moveTo>
                <a:cubicBezTo>
                  <a:pt x="2960791" y="697670"/>
                  <a:pt x="2955410" y="707355"/>
                  <a:pt x="2946801" y="707355"/>
                </a:cubicBezTo>
                <a:cubicBezTo>
                  <a:pt x="2946801" y="707355"/>
                  <a:pt x="2952541" y="701616"/>
                  <a:pt x="2952541" y="701616"/>
                </a:cubicBezTo>
                <a:cubicBezTo>
                  <a:pt x="2946801" y="701616"/>
                  <a:pt x="2952541" y="701616"/>
                  <a:pt x="2952541" y="695877"/>
                </a:cubicBezTo>
                <a:cubicBezTo>
                  <a:pt x="2955410" y="694441"/>
                  <a:pt x="2957204" y="694441"/>
                  <a:pt x="2958100" y="695249"/>
                </a:cubicBezTo>
                <a:close/>
                <a:moveTo>
                  <a:pt x="2648028" y="694818"/>
                </a:moveTo>
                <a:lnTo>
                  <a:pt x="2652453" y="697347"/>
                </a:lnTo>
                <a:cubicBezTo>
                  <a:pt x="2658193" y="703087"/>
                  <a:pt x="2652453" y="703087"/>
                  <a:pt x="2646714" y="708826"/>
                </a:cubicBezTo>
                <a:cubicBezTo>
                  <a:pt x="2646714" y="700217"/>
                  <a:pt x="2649943" y="701293"/>
                  <a:pt x="2649135" y="697527"/>
                </a:cubicBezTo>
                <a:close/>
                <a:moveTo>
                  <a:pt x="2619166" y="693904"/>
                </a:moveTo>
                <a:lnTo>
                  <a:pt x="2620170" y="694477"/>
                </a:lnTo>
                <a:cubicBezTo>
                  <a:pt x="2620887" y="695912"/>
                  <a:pt x="2620887" y="697347"/>
                  <a:pt x="2620887" y="697347"/>
                </a:cubicBezTo>
                <a:close/>
                <a:moveTo>
                  <a:pt x="2734448" y="691608"/>
                </a:moveTo>
                <a:lnTo>
                  <a:pt x="2734448" y="697347"/>
                </a:lnTo>
                <a:cubicBezTo>
                  <a:pt x="2731373" y="697347"/>
                  <a:pt x="2729835" y="697347"/>
                  <a:pt x="2729835" y="696629"/>
                </a:cubicBezTo>
                <a:close/>
                <a:moveTo>
                  <a:pt x="2686890" y="691608"/>
                </a:moveTo>
                <a:cubicBezTo>
                  <a:pt x="2692630" y="703087"/>
                  <a:pt x="2681151" y="703087"/>
                  <a:pt x="2681151" y="708826"/>
                </a:cubicBezTo>
                <a:cubicBezTo>
                  <a:pt x="2686890" y="708826"/>
                  <a:pt x="2686890" y="703087"/>
                  <a:pt x="2692630" y="703087"/>
                </a:cubicBezTo>
                <a:cubicBezTo>
                  <a:pt x="2698369" y="714566"/>
                  <a:pt x="2681151" y="708826"/>
                  <a:pt x="2686890" y="720305"/>
                </a:cubicBezTo>
                <a:cubicBezTo>
                  <a:pt x="2675411" y="720305"/>
                  <a:pt x="2675411" y="708826"/>
                  <a:pt x="2675411" y="703087"/>
                </a:cubicBezTo>
                <a:cubicBezTo>
                  <a:pt x="2675411" y="697347"/>
                  <a:pt x="2681151" y="697347"/>
                  <a:pt x="2686890" y="691608"/>
                </a:cubicBezTo>
                <a:close/>
                <a:moveTo>
                  <a:pt x="2646714" y="691608"/>
                </a:moveTo>
                <a:lnTo>
                  <a:pt x="2648028" y="694818"/>
                </a:lnTo>
                <a:lnTo>
                  <a:pt x="2647432" y="694477"/>
                </a:lnTo>
                <a:cubicBezTo>
                  <a:pt x="2646714" y="693043"/>
                  <a:pt x="2646714" y="691608"/>
                  <a:pt x="2646714" y="691608"/>
                </a:cubicBezTo>
                <a:close/>
                <a:moveTo>
                  <a:pt x="2617300" y="690172"/>
                </a:moveTo>
                <a:lnTo>
                  <a:pt x="2619166" y="693904"/>
                </a:lnTo>
                <a:lnTo>
                  <a:pt x="2615148" y="691608"/>
                </a:lnTo>
                <a:cubicBezTo>
                  <a:pt x="2615148" y="697347"/>
                  <a:pt x="2609408" y="703087"/>
                  <a:pt x="2603669" y="703087"/>
                </a:cubicBezTo>
                <a:cubicBezTo>
                  <a:pt x="2597929" y="697347"/>
                  <a:pt x="2615148" y="703087"/>
                  <a:pt x="2609408" y="691608"/>
                </a:cubicBezTo>
                <a:cubicBezTo>
                  <a:pt x="2612279" y="691608"/>
                  <a:pt x="2615148" y="690172"/>
                  <a:pt x="2617300" y="690172"/>
                </a:cubicBezTo>
                <a:close/>
                <a:moveTo>
                  <a:pt x="3016650" y="685868"/>
                </a:moveTo>
                <a:cubicBezTo>
                  <a:pt x="3022650" y="697347"/>
                  <a:pt x="2998649" y="691608"/>
                  <a:pt x="2992648" y="703087"/>
                </a:cubicBezTo>
                <a:cubicBezTo>
                  <a:pt x="2998649" y="708826"/>
                  <a:pt x="2998649" y="703087"/>
                  <a:pt x="3004649" y="703087"/>
                </a:cubicBezTo>
                <a:lnTo>
                  <a:pt x="2992873" y="709423"/>
                </a:lnTo>
                <a:lnTo>
                  <a:pt x="2998617" y="719085"/>
                </a:lnTo>
                <a:cubicBezTo>
                  <a:pt x="3001664" y="719875"/>
                  <a:pt x="3004714" y="718297"/>
                  <a:pt x="3004714" y="715141"/>
                </a:cubicBezTo>
                <a:cubicBezTo>
                  <a:pt x="3016911" y="721453"/>
                  <a:pt x="2998617" y="727767"/>
                  <a:pt x="3010813" y="727767"/>
                </a:cubicBezTo>
                <a:cubicBezTo>
                  <a:pt x="3010813" y="740394"/>
                  <a:pt x="2992517" y="715141"/>
                  <a:pt x="2998617" y="734080"/>
                </a:cubicBezTo>
                <a:lnTo>
                  <a:pt x="2994551" y="729872"/>
                </a:lnTo>
                <a:lnTo>
                  <a:pt x="2998617" y="721453"/>
                </a:lnTo>
                <a:lnTo>
                  <a:pt x="2987944" y="715929"/>
                </a:lnTo>
                <a:lnTo>
                  <a:pt x="2992208" y="709307"/>
                </a:lnTo>
                <a:lnTo>
                  <a:pt x="2980648" y="703087"/>
                </a:lnTo>
                <a:lnTo>
                  <a:pt x="2991149" y="698065"/>
                </a:lnTo>
                <a:cubicBezTo>
                  <a:pt x="3003149" y="694477"/>
                  <a:pt x="3013649" y="691608"/>
                  <a:pt x="3016650" y="685868"/>
                </a:cubicBezTo>
                <a:close/>
                <a:moveTo>
                  <a:pt x="2297682" y="685868"/>
                </a:moveTo>
                <a:cubicBezTo>
                  <a:pt x="2303781" y="691608"/>
                  <a:pt x="2315977" y="691608"/>
                  <a:pt x="2328174" y="697347"/>
                </a:cubicBezTo>
                <a:cubicBezTo>
                  <a:pt x="2309878" y="697347"/>
                  <a:pt x="2303781" y="703087"/>
                  <a:pt x="2285485" y="714566"/>
                </a:cubicBezTo>
                <a:cubicBezTo>
                  <a:pt x="2285485" y="708826"/>
                  <a:pt x="2291585" y="703087"/>
                  <a:pt x="2285485" y="703087"/>
                </a:cubicBezTo>
                <a:cubicBezTo>
                  <a:pt x="2279388" y="697347"/>
                  <a:pt x="2285485" y="697347"/>
                  <a:pt x="2285485" y="691608"/>
                </a:cubicBezTo>
                <a:cubicBezTo>
                  <a:pt x="2285485" y="691608"/>
                  <a:pt x="2291585" y="691608"/>
                  <a:pt x="2291585" y="691608"/>
                </a:cubicBezTo>
                <a:cubicBezTo>
                  <a:pt x="2297682" y="697347"/>
                  <a:pt x="2285485" y="697347"/>
                  <a:pt x="2291585" y="703087"/>
                </a:cubicBezTo>
                <a:cubicBezTo>
                  <a:pt x="2291585" y="708826"/>
                  <a:pt x="2297682" y="697347"/>
                  <a:pt x="2303781" y="697347"/>
                </a:cubicBezTo>
                <a:cubicBezTo>
                  <a:pt x="2303781" y="691608"/>
                  <a:pt x="2297682" y="691608"/>
                  <a:pt x="2297682" y="685868"/>
                </a:cubicBezTo>
                <a:close/>
                <a:moveTo>
                  <a:pt x="4242599" y="684641"/>
                </a:moveTo>
                <a:cubicBezTo>
                  <a:pt x="4236621" y="684641"/>
                  <a:pt x="4233632" y="689114"/>
                  <a:pt x="4231391" y="692842"/>
                </a:cubicBezTo>
                <a:lnTo>
                  <a:pt x="4228848" y="696455"/>
                </a:lnTo>
                <a:lnTo>
                  <a:pt x="4243339" y="692023"/>
                </a:lnTo>
                <a:close/>
                <a:moveTo>
                  <a:pt x="3051347" y="680128"/>
                </a:moveTo>
                <a:cubicBezTo>
                  <a:pt x="3051347" y="685868"/>
                  <a:pt x="3045608" y="680128"/>
                  <a:pt x="3045608" y="685868"/>
                </a:cubicBezTo>
                <a:cubicBezTo>
                  <a:pt x="3062827" y="691608"/>
                  <a:pt x="3034129" y="685868"/>
                  <a:pt x="3051347" y="703087"/>
                </a:cubicBezTo>
                <a:cubicBezTo>
                  <a:pt x="3051347" y="708826"/>
                  <a:pt x="3039868" y="703087"/>
                  <a:pt x="3039868" y="697347"/>
                </a:cubicBezTo>
                <a:cubicBezTo>
                  <a:pt x="3039868" y="697347"/>
                  <a:pt x="3039868" y="697347"/>
                  <a:pt x="3045608" y="697347"/>
                </a:cubicBezTo>
                <a:cubicBezTo>
                  <a:pt x="3045608" y="691608"/>
                  <a:pt x="3039868" y="691608"/>
                  <a:pt x="3039868" y="685868"/>
                </a:cubicBezTo>
                <a:cubicBezTo>
                  <a:pt x="3045608" y="680128"/>
                  <a:pt x="3045608" y="680128"/>
                  <a:pt x="3051347" y="680128"/>
                </a:cubicBezTo>
                <a:close/>
                <a:moveTo>
                  <a:pt x="2795942" y="680128"/>
                </a:moveTo>
                <a:cubicBezTo>
                  <a:pt x="2795942" y="680128"/>
                  <a:pt x="2795942" y="685868"/>
                  <a:pt x="2795942" y="691608"/>
                </a:cubicBezTo>
                <a:cubicBezTo>
                  <a:pt x="2789942" y="691608"/>
                  <a:pt x="2789942" y="691608"/>
                  <a:pt x="2789942" y="697347"/>
                </a:cubicBezTo>
                <a:cubicBezTo>
                  <a:pt x="2783942" y="697347"/>
                  <a:pt x="2783942" y="697347"/>
                  <a:pt x="2771941" y="697347"/>
                </a:cubicBezTo>
                <a:cubicBezTo>
                  <a:pt x="2771941" y="703087"/>
                  <a:pt x="2771941" y="708826"/>
                  <a:pt x="2759940" y="708826"/>
                </a:cubicBezTo>
                <a:cubicBezTo>
                  <a:pt x="2759940" y="714566"/>
                  <a:pt x="2765940" y="714566"/>
                  <a:pt x="2765940" y="714566"/>
                </a:cubicBezTo>
                <a:cubicBezTo>
                  <a:pt x="2771941" y="720305"/>
                  <a:pt x="2741939" y="703087"/>
                  <a:pt x="2735939" y="714566"/>
                </a:cubicBezTo>
                <a:cubicBezTo>
                  <a:pt x="2729937" y="703087"/>
                  <a:pt x="2771941" y="714566"/>
                  <a:pt x="2765940" y="697347"/>
                </a:cubicBezTo>
                <a:cubicBezTo>
                  <a:pt x="2771941" y="691608"/>
                  <a:pt x="2777941" y="691608"/>
                  <a:pt x="2783942" y="691608"/>
                </a:cubicBezTo>
                <a:cubicBezTo>
                  <a:pt x="2795942" y="691608"/>
                  <a:pt x="2783942" y="680128"/>
                  <a:pt x="2795942" y="680128"/>
                </a:cubicBezTo>
                <a:close/>
                <a:moveTo>
                  <a:pt x="2871630" y="678694"/>
                </a:moveTo>
                <a:cubicBezTo>
                  <a:pt x="2875060" y="679770"/>
                  <a:pt x="2871630" y="687303"/>
                  <a:pt x="2871630" y="691608"/>
                </a:cubicBezTo>
                <a:cubicBezTo>
                  <a:pt x="2883827" y="691608"/>
                  <a:pt x="2865532" y="680128"/>
                  <a:pt x="2877728" y="680128"/>
                </a:cubicBezTo>
                <a:cubicBezTo>
                  <a:pt x="2877728" y="685868"/>
                  <a:pt x="2883827" y="685868"/>
                  <a:pt x="2883827" y="697347"/>
                </a:cubicBezTo>
                <a:cubicBezTo>
                  <a:pt x="2883827" y="697347"/>
                  <a:pt x="2889925" y="691608"/>
                  <a:pt x="2889925" y="691608"/>
                </a:cubicBezTo>
                <a:cubicBezTo>
                  <a:pt x="2889925" y="674389"/>
                  <a:pt x="2889925" y="680128"/>
                  <a:pt x="2902121" y="691608"/>
                </a:cubicBezTo>
                <a:cubicBezTo>
                  <a:pt x="2883827" y="703087"/>
                  <a:pt x="2871630" y="697347"/>
                  <a:pt x="2853334" y="714566"/>
                </a:cubicBezTo>
                <a:cubicBezTo>
                  <a:pt x="2853334" y="708826"/>
                  <a:pt x="2859434" y="708826"/>
                  <a:pt x="2859434" y="697347"/>
                </a:cubicBezTo>
                <a:cubicBezTo>
                  <a:pt x="2859434" y="697347"/>
                  <a:pt x="2865532" y="703087"/>
                  <a:pt x="2865532" y="697347"/>
                </a:cubicBezTo>
                <a:cubicBezTo>
                  <a:pt x="2871630" y="691608"/>
                  <a:pt x="2865532" y="685868"/>
                  <a:pt x="2865532" y="680128"/>
                </a:cubicBezTo>
                <a:cubicBezTo>
                  <a:pt x="2868581" y="678694"/>
                  <a:pt x="2870487" y="678335"/>
                  <a:pt x="2871630" y="678694"/>
                </a:cubicBezTo>
                <a:close/>
                <a:moveTo>
                  <a:pt x="3039868" y="674389"/>
                </a:moveTo>
                <a:cubicBezTo>
                  <a:pt x="3039868" y="680128"/>
                  <a:pt x="3039868" y="680128"/>
                  <a:pt x="3039868" y="685868"/>
                </a:cubicBezTo>
                <a:cubicBezTo>
                  <a:pt x="3022650" y="685868"/>
                  <a:pt x="3028390" y="703087"/>
                  <a:pt x="3016911" y="703087"/>
                </a:cubicBezTo>
                <a:cubicBezTo>
                  <a:pt x="3016911" y="697347"/>
                  <a:pt x="3028390" y="691608"/>
                  <a:pt x="3022650" y="680128"/>
                </a:cubicBezTo>
                <a:cubicBezTo>
                  <a:pt x="3028390" y="680128"/>
                  <a:pt x="3034129" y="680128"/>
                  <a:pt x="3039868" y="674389"/>
                </a:cubicBezTo>
                <a:close/>
                <a:moveTo>
                  <a:pt x="2728297" y="674389"/>
                </a:moveTo>
                <a:lnTo>
                  <a:pt x="2728297" y="680128"/>
                </a:lnTo>
                <a:lnTo>
                  <a:pt x="2726158" y="678382"/>
                </a:lnTo>
                <a:close/>
                <a:moveTo>
                  <a:pt x="2715998" y="674389"/>
                </a:moveTo>
                <a:cubicBezTo>
                  <a:pt x="2715998" y="677258"/>
                  <a:pt x="2719072" y="675825"/>
                  <a:pt x="2722147" y="675107"/>
                </a:cubicBezTo>
                <a:lnTo>
                  <a:pt x="2726158" y="678382"/>
                </a:lnTo>
                <a:lnTo>
                  <a:pt x="2722147" y="685868"/>
                </a:lnTo>
                <a:cubicBezTo>
                  <a:pt x="2722147" y="685868"/>
                  <a:pt x="2715998" y="680128"/>
                  <a:pt x="2715998" y="680128"/>
                </a:cubicBezTo>
                <a:cubicBezTo>
                  <a:pt x="2715998" y="680128"/>
                  <a:pt x="2715998" y="674389"/>
                  <a:pt x="2715998" y="674389"/>
                </a:cubicBezTo>
                <a:close/>
                <a:moveTo>
                  <a:pt x="3007067" y="672919"/>
                </a:moveTo>
                <a:cubicBezTo>
                  <a:pt x="3000850" y="690137"/>
                  <a:pt x="2982196" y="690137"/>
                  <a:pt x="2969759" y="690137"/>
                </a:cubicBezTo>
                <a:cubicBezTo>
                  <a:pt x="2975977" y="678658"/>
                  <a:pt x="2994632" y="684397"/>
                  <a:pt x="3007067" y="672919"/>
                </a:cubicBezTo>
                <a:close/>
                <a:moveTo>
                  <a:pt x="4110279" y="668650"/>
                </a:moveTo>
                <a:cubicBezTo>
                  <a:pt x="4110279" y="680128"/>
                  <a:pt x="4110279" y="680128"/>
                  <a:pt x="4110279" y="685868"/>
                </a:cubicBezTo>
                <a:cubicBezTo>
                  <a:pt x="4110279" y="685868"/>
                  <a:pt x="4104540" y="685868"/>
                  <a:pt x="4098800" y="685868"/>
                </a:cubicBezTo>
                <a:cubicBezTo>
                  <a:pt x="4098800" y="680128"/>
                  <a:pt x="4104540" y="680128"/>
                  <a:pt x="4104540" y="674389"/>
                </a:cubicBezTo>
                <a:cubicBezTo>
                  <a:pt x="4104540" y="674389"/>
                  <a:pt x="4110279" y="674389"/>
                  <a:pt x="4110279" y="668650"/>
                </a:cubicBezTo>
                <a:close/>
                <a:moveTo>
                  <a:pt x="3045608" y="668650"/>
                </a:moveTo>
                <a:cubicBezTo>
                  <a:pt x="3051347" y="668650"/>
                  <a:pt x="3051347" y="680128"/>
                  <a:pt x="3051347" y="680128"/>
                </a:cubicBezTo>
                <a:cubicBezTo>
                  <a:pt x="3051347" y="680128"/>
                  <a:pt x="3039868" y="674389"/>
                  <a:pt x="3045608" y="668650"/>
                </a:cubicBezTo>
                <a:close/>
                <a:moveTo>
                  <a:pt x="2807419" y="668650"/>
                </a:moveTo>
                <a:cubicBezTo>
                  <a:pt x="2807419" y="674389"/>
                  <a:pt x="2813159" y="680128"/>
                  <a:pt x="2813159" y="685868"/>
                </a:cubicBezTo>
                <a:cubicBezTo>
                  <a:pt x="2807419" y="685868"/>
                  <a:pt x="2807419" y="668650"/>
                  <a:pt x="2807419" y="685868"/>
                </a:cubicBezTo>
                <a:cubicBezTo>
                  <a:pt x="2801679" y="685868"/>
                  <a:pt x="2801679" y="685868"/>
                  <a:pt x="2801679" y="685868"/>
                </a:cubicBezTo>
                <a:cubicBezTo>
                  <a:pt x="2807419" y="680128"/>
                  <a:pt x="2801679" y="674389"/>
                  <a:pt x="2807419" y="668650"/>
                </a:cubicBezTo>
                <a:close/>
                <a:moveTo>
                  <a:pt x="2698369" y="668650"/>
                </a:moveTo>
                <a:cubicBezTo>
                  <a:pt x="2711762" y="668650"/>
                  <a:pt x="2705067" y="680128"/>
                  <a:pt x="2718458" y="685868"/>
                </a:cubicBezTo>
                <a:cubicBezTo>
                  <a:pt x="2711762" y="685868"/>
                  <a:pt x="2711762" y="691608"/>
                  <a:pt x="2705067" y="691608"/>
                </a:cubicBezTo>
                <a:cubicBezTo>
                  <a:pt x="2711762" y="680128"/>
                  <a:pt x="2705067" y="680128"/>
                  <a:pt x="2698369" y="668650"/>
                </a:cubicBezTo>
                <a:close/>
                <a:moveTo>
                  <a:pt x="2669672" y="668650"/>
                </a:moveTo>
                <a:cubicBezTo>
                  <a:pt x="2669672" y="674389"/>
                  <a:pt x="2675411" y="674389"/>
                  <a:pt x="2681151" y="691608"/>
                </a:cubicBezTo>
                <a:cubicBezTo>
                  <a:pt x="2675411" y="680128"/>
                  <a:pt x="2669672" y="685868"/>
                  <a:pt x="2669672" y="668650"/>
                </a:cubicBezTo>
                <a:close/>
                <a:moveTo>
                  <a:pt x="2328174" y="668650"/>
                </a:moveTo>
                <a:cubicBezTo>
                  <a:pt x="2328174" y="674389"/>
                  <a:pt x="2328174" y="674389"/>
                  <a:pt x="2328174" y="674389"/>
                </a:cubicBezTo>
                <a:cubicBezTo>
                  <a:pt x="2328174" y="680128"/>
                  <a:pt x="2328174" y="674389"/>
                  <a:pt x="2333914" y="674389"/>
                </a:cubicBezTo>
                <a:cubicBezTo>
                  <a:pt x="2339653" y="680128"/>
                  <a:pt x="2328174" y="680128"/>
                  <a:pt x="2328174" y="685868"/>
                </a:cubicBezTo>
                <a:cubicBezTo>
                  <a:pt x="2322435" y="680128"/>
                  <a:pt x="2316695" y="674389"/>
                  <a:pt x="2328174" y="668650"/>
                </a:cubicBezTo>
                <a:close/>
                <a:moveTo>
                  <a:pt x="2741365" y="668291"/>
                </a:moveTo>
                <a:cubicBezTo>
                  <a:pt x="2742134" y="670444"/>
                  <a:pt x="2736753" y="676900"/>
                  <a:pt x="2734447" y="684792"/>
                </a:cubicBezTo>
                <a:lnTo>
                  <a:pt x="2734448" y="691608"/>
                </a:lnTo>
                <a:lnTo>
                  <a:pt x="2722917" y="700217"/>
                </a:lnTo>
                <a:cubicBezTo>
                  <a:pt x="2719073" y="703087"/>
                  <a:pt x="2715998" y="705957"/>
                  <a:pt x="2715998" y="708826"/>
                </a:cubicBezTo>
                <a:cubicBezTo>
                  <a:pt x="2715998" y="714566"/>
                  <a:pt x="2722147" y="714566"/>
                  <a:pt x="2722147" y="708826"/>
                </a:cubicBezTo>
                <a:cubicBezTo>
                  <a:pt x="2728297" y="708826"/>
                  <a:pt x="2722147" y="714566"/>
                  <a:pt x="2722147" y="720305"/>
                </a:cubicBezTo>
                <a:cubicBezTo>
                  <a:pt x="2722147" y="720305"/>
                  <a:pt x="2715998" y="714566"/>
                  <a:pt x="2715998" y="720305"/>
                </a:cubicBezTo>
                <a:cubicBezTo>
                  <a:pt x="2709848" y="708826"/>
                  <a:pt x="2715998" y="703087"/>
                  <a:pt x="2709848" y="697347"/>
                </a:cubicBezTo>
                <a:cubicBezTo>
                  <a:pt x="2709848" y="691608"/>
                  <a:pt x="2715998" y="691608"/>
                  <a:pt x="2722147" y="685868"/>
                </a:cubicBezTo>
                <a:cubicBezTo>
                  <a:pt x="2722147" y="691608"/>
                  <a:pt x="2722147" y="691608"/>
                  <a:pt x="2722147" y="697347"/>
                </a:cubicBezTo>
                <a:cubicBezTo>
                  <a:pt x="2734448" y="691608"/>
                  <a:pt x="2715998" y="680128"/>
                  <a:pt x="2728297" y="685868"/>
                </a:cubicBezTo>
                <a:lnTo>
                  <a:pt x="2728297" y="680128"/>
                </a:lnTo>
                <a:cubicBezTo>
                  <a:pt x="2734448" y="680128"/>
                  <a:pt x="2740597" y="668650"/>
                  <a:pt x="2734448" y="668650"/>
                </a:cubicBezTo>
                <a:cubicBezTo>
                  <a:pt x="2739059" y="667215"/>
                  <a:pt x="2740981" y="667215"/>
                  <a:pt x="2741365" y="668291"/>
                </a:cubicBezTo>
                <a:close/>
                <a:moveTo>
                  <a:pt x="2208505" y="667829"/>
                </a:moveTo>
                <a:cubicBezTo>
                  <a:pt x="2202479" y="667829"/>
                  <a:pt x="2202479" y="673844"/>
                  <a:pt x="2196452" y="673844"/>
                </a:cubicBezTo>
                <a:lnTo>
                  <a:pt x="2196452" y="671992"/>
                </a:lnTo>
                <a:close/>
                <a:moveTo>
                  <a:pt x="3268184" y="666748"/>
                </a:moveTo>
                <a:lnTo>
                  <a:pt x="3263745" y="672771"/>
                </a:lnTo>
                <a:lnTo>
                  <a:pt x="3263700" y="672712"/>
                </a:lnTo>
                <a:cubicBezTo>
                  <a:pt x="3263700" y="671221"/>
                  <a:pt x="3265195" y="669730"/>
                  <a:pt x="3268184" y="666748"/>
                </a:cubicBezTo>
                <a:close/>
                <a:moveTo>
                  <a:pt x="2112466" y="666497"/>
                </a:moveTo>
                <a:cubicBezTo>
                  <a:pt x="2118364" y="672475"/>
                  <a:pt x="2118364" y="672475"/>
                  <a:pt x="2124265" y="666497"/>
                </a:cubicBezTo>
                <a:cubicBezTo>
                  <a:pt x="2118364" y="678455"/>
                  <a:pt x="2094769" y="678455"/>
                  <a:pt x="2100669" y="696391"/>
                </a:cubicBezTo>
                <a:cubicBezTo>
                  <a:pt x="2071174" y="696391"/>
                  <a:pt x="2047578" y="720305"/>
                  <a:pt x="2029881" y="714327"/>
                </a:cubicBezTo>
                <a:cubicBezTo>
                  <a:pt x="2029881" y="708347"/>
                  <a:pt x="2047578" y="708347"/>
                  <a:pt x="2047578" y="696391"/>
                </a:cubicBezTo>
                <a:cubicBezTo>
                  <a:pt x="2041677" y="690411"/>
                  <a:pt x="2029881" y="702369"/>
                  <a:pt x="2023982" y="702369"/>
                </a:cubicBezTo>
                <a:cubicBezTo>
                  <a:pt x="2023982" y="690411"/>
                  <a:pt x="2041677" y="690411"/>
                  <a:pt x="2047578" y="684433"/>
                </a:cubicBezTo>
                <a:cubicBezTo>
                  <a:pt x="2053477" y="690411"/>
                  <a:pt x="2053477" y="690411"/>
                  <a:pt x="2053477" y="702369"/>
                </a:cubicBezTo>
                <a:cubicBezTo>
                  <a:pt x="2077072" y="690411"/>
                  <a:pt x="2094769" y="678455"/>
                  <a:pt x="2112466" y="666497"/>
                </a:cubicBezTo>
                <a:close/>
                <a:moveTo>
                  <a:pt x="2847595" y="662910"/>
                </a:moveTo>
                <a:cubicBezTo>
                  <a:pt x="2847595" y="662910"/>
                  <a:pt x="2847595" y="668650"/>
                  <a:pt x="2847595" y="674389"/>
                </a:cubicBezTo>
                <a:cubicBezTo>
                  <a:pt x="2841856" y="662910"/>
                  <a:pt x="2830377" y="685868"/>
                  <a:pt x="2824637" y="668650"/>
                </a:cubicBezTo>
                <a:cubicBezTo>
                  <a:pt x="2830377" y="668650"/>
                  <a:pt x="2847595" y="668650"/>
                  <a:pt x="2847595" y="662910"/>
                </a:cubicBezTo>
                <a:close/>
                <a:moveTo>
                  <a:pt x="2741416" y="662910"/>
                </a:moveTo>
                <a:cubicBezTo>
                  <a:pt x="2747155" y="662910"/>
                  <a:pt x="2752895" y="662910"/>
                  <a:pt x="2758634" y="662910"/>
                </a:cubicBezTo>
                <a:cubicBezTo>
                  <a:pt x="2758634" y="674389"/>
                  <a:pt x="2741416" y="674389"/>
                  <a:pt x="2741416" y="662910"/>
                </a:cubicBezTo>
                <a:close/>
                <a:moveTo>
                  <a:pt x="3088653" y="657171"/>
                </a:moveTo>
                <a:cubicBezTo>
                  <a:pt x="3088653" y="662910"/>
                  <a:pt x="3088653" y="662910"/>
                  <a:pt x="3088653" y="662910"/>
                </a:cubicBezTo>
                <a:cubicBezTo>
                  <a:pt x="3088653" y="668650"/>
                  <a:pt x="3094393" y="662910"/>
                  <a:pt x="3094393" y="662910"/>
                </a:cubicBezTo>
                <a:cubicBezTo>
                  <a:pt x="3094393" y="668650"/>
                  <a:pt x="3088653" y="680128"/>
                  <a:pt x="3100132" y="674389"/>
                </a:cubicBezTo>
                <a:cubicBezTo>
                  <a:pt x="3094393" y="685868"/>
                  <a:pt x="3082913" y="657171"/>
                  <a:pt x="3082913" y="680128"/>
                </a:cubicBezTo>
                <a:cubicBezTo>
                  <a:pt x="3077174" y="680128"/>
                  <a:pt x="3082913" y="674389"/>
                  <a:pt x="3077174" y="674389"/>
                </a:cubicBezTo>
                <a:cubicBezTo>
                  <a:pt x="3077174" y="662910"/>
                  <a:pt x="3082913" y="668650"/>
                  <a:pt x="3088653" y="657171"/>
                </a:cubicBezTo>
                <a:close/>
                <a:moveTo>
                  <a:pt x="3082916" y="657171"/>
                </a:moveTo>
                <a:lnTo>
                  <a:pt x="3080637" y="658184"/>
                </a:lnTo>
                <a:lnTo>
                  <a:pt x="3080494" y="657889"/>
                </a:lnTo>
                <a:cubicBezTo>
                  <a:pt x="3081301" y="657171"/>
                  <a:pt x="3082916" y="657171"/>
                  <a:pt x="3082916" y="657171"/>
                </a:cubicBezTo>
                <a:close/>
                <a:moveTo>
                  <a:pt x="3063544" y="657171"/>
                </a:moveTo>
                <a:cubicBezTo>
                  <a:pt x="3066773" y="660041"/>
                  <a:pt x="3070001" y="661475"/>
                  <a:pt x="3073230" y="661475"/>
                </a:cubicBezTo>
                <a:lnTo>
                  <a:pt x="3080637" y="658184"/>
                </a:lnTo>
                <a:lnTo>
                  <a:pt x="3082916" y="662910"/>
                </a:lnTo>
                <a:cubicBezTo>
                  <a:pt x="3070001" y="662910"/>
                  <a:pt x="3070001" y="674389"/>
                  <a:pt x="3070001" y="680128"/>
                </a:cubicBezTo>
                <a:cubicBezTo>
                  <a:pt x="3063544" y="680128"/>
                  <a:pt x="3063544" y="680128"/>
                  <a:pt x="3057087" y="680128"/>
                </a:cubicBezTo>
                <a:cubicBezTo>
                  <a:pt x="3063544" y="674389"/>
                  <a:pt x="3057087" y="674389"/>
                  <a:pt x="3057087" y="674389"/>
                </a:cubicBezTo>
                <a:cubicBezTo>
                  <a:pt x="3057087" y="668650"/>
                  <a:pt x="3057087" y="668650"/>
                  <a:pt x="3063544" y="674389"/>
                </a:cubicBezTo>
                <a:cubicBezTo>
                  <a:pt x="3070001" y="668650"/>
                  <a:pt x="3070001" y="668650"/>
                  <a:pt x="3070001" y="668650"/>
                </a:cubicBezTo>
                <a:cubicBezTo>
                  <a:pt x="3063544" y="662910"/>
                  <a:pt x="3063544" y="662910"/>
                  <a:pt x="3063544" y="657171"/>
                </a:cubicBezTo>
                <a:close/>
                <a:moveTo>
                  <a:pt x="2729937" y="657171"/>
                </a:moveTo>
                <a:cubicBezTo>
                  <a:pt x="2729937" y="662910"/>
                  <a:pt x="2723241" y="662910"/>
                  <a:pt x="2729937" y="668650"/>
                </a:cubicBezTo>
                <a:cubicBezTo>
                  <a:pt x="2729937" y="674389"/>
                  <a:pt x="2723241" y="668650"/>
                  <a:pt x="2723241" y="668650"/>
                </a:cubicBezTo>
                <a:cubicBezTo>
                  <a:pt x="2723241" y="674389"/>
                  <a:pt x="2709848" y="674389"/>
                  <a:pt x="2709848" y="668650"/>
                </a:cubicBezTo>
                <a:cubicBezTo>
                  <a:pt x="2716546" y="662910"/>
                  <a:pt x="2723241" y="657171"/>
                  <a:pt x="2729937" y="657171"/>
                </a:cubicBezTo>
                <a:close/>
                <a:moveTo>
                  <a:pt x="2149102" y="657171"/>
                </a:moveTo>
                <a:cubicBezTo>
                  <a:pt x="2155415" y="657171"/>
                  <a:pt x="2155415" y="662910"/>
                  <a:pt x="2161729" y="668650"/>
                </a:cubicBezTo>
                <a:cubicBezTo>
                  <a:pt x="2149102" y="668650"/>
                  <a:pt x="2142789" y="680128"/>
                  <a:pt x="2136474" y="674389"/>
                </a:cubicBezTo>
                <a:cubicBezTo>
                  <a:pt x="2130162" y="662910"/>
                  <a:pt x="2142789" y="662910"/>
                  <a:pt x="2149102" y="657171"/>
                </a:cubicBezTo>
                <a:close/>
                <a:moveTo>
                  <a:pt x="3041503" y="655700"/>
                </a:moveTo>
                <a:cubicBezTo>
                  <a:pt x="3047242" y="672919"/>
                  <a:pt x="3030024" y="661439"/>
                  <a:pt x="3030024" y="667179"/>
                </a:cubicBezTo>
                <a:cubicBezTo>
                  <a:pt x="3018545" y="667179"/>
                  <a:pt x="3041503" y="661439"/>
                  <a:pt x="3041503" y="655700"/>
                </a:cubicBezTo>
                <a:close/>
                <a:moveTo>
                  <a:pt x="4116647" y="652536"/>
                </a:moveTo>
                <a:cubicBezTo>
                  <a:pt x="4118530" y="652745"/>
                  <a:pt x="4120324" y="653582"/>
                  <a:pt x="4121758" y="655257"/>
                </a:cubicBezTo>
                <a:cubicBezTo>
                  <a:pt x="4121758" y="661954"/>
                  <a:pt x="4110279" y="655257"/>
                  <a:pt x="4104540" y="668650"/>
                </a:cubicBezTo>
                <a:cubicBezTo>
                  <a:pt x="4104540" y="661954"/>
                  <a:pt x="4104540" y="661954"/>
                  <a:pt x="4104540" y="661954"/>
                </a:cubicBezTo>
                <a:cubicBezTo>
                  <a:pt x="4104540" y="658605"/>
                  <a:pt x="4107410" y="655257"/>
                  <a:pt x="4110997" y="653582"/>
                </a:cubicBezTo>
                <a:cubicBezTo>
                  <a:pt x="4112790" y="652745"/>
                  <a:pt x="4114764" y="652327"/>
                  <a:pt x="4116647" y="652536"/>
                </a:cubicBezTo>
                <a:close/>
                <a:moveTo>
                  <a:pt x="2712719" y="652388"/>
                </a:moveTo>
                <a:lnTo>
                  <a:pt x="2718458" y="657171"/>
                </a:lnTo>
                <a:cubicBezTo>
                  <a:pt x="2718458" y="657171"/>
                  <a:pt x="2709848" y="657171"/>
                  <a:pt x="2709848" y="657171"/>
                </a:cubicBezTo>
                <a:close/>
                <a:moveTo>
                  <a:pt x="4326291" y="648857"/>
                </a:moveTo>
                <a:lnTo>
                  <a:pt x="4323177" y="649821"/>
                </a:lnTo>
                <a:lnTo>
                  <a:pt x="4323302" y="649603"/>
                </a:lnTo>
                <a:cubicBezTo>
                  <a:pt x="4324797" y="648857"/>
                  <a:pt x="4326291" y="648857"/>
                  <a:pt x="4326291" y="648857"/>
                </a:cubicBezTo>
                <a:close/>
                <a:moveTo>
                  <a:pt x="2801679" y="648561"/>
                </a:moveTo>
                <a:cubicBezTo>
                  <a:pt x="2807419" y="648561"/>
                  <a:pt x="2813159" y="655736"/>
                  <a:pt x="2813159" y="662910"/>
                </a:cubicBezTo>
                <a:cubicBezTo>
                  <a:pt x="2807419" y="662910"/>
                  <a:pt x="2801679" y="662910"/>
                  <a:pt x="2795940" y="655736"/>
                </a:cubicBezTo>
                <a:cubicBezTo>
                  <a:pt x="2801679" y="655736"/>
                  <a:pt x="2801679" y="648561"/>
                  <a:pt x="2801679" y="648561"/>
                </a:cubicBezTo>
                <a:close/>
                <a:moveTo>
                  <a:pt x="2764374" y="648561"/>
                </a:moveTo>
                <a:lnTo>
                  <a:pt x="2764374" y="649519"/>
                </a:lnTo>
                <a:lnTo>
                  <a:pt x="2764374" y="655736"/>
                </a:lnTo>
                <a:cubicBezTo>
                  <a:pt x="2758634" y="662910"/>
                  <a:pt x="2758634" y="662910"/>
                  <a:pt x="2758634" y="662910"/>
                </a:cubicBezTo>
                <a:cubicBezTo>
                  <a:pt x="2758634" y="655736"/>
                  <a:pt x="2758634" y="648561"/>
                  <a:pt x="2764374" y="648561"/>
                </a:cubicBezTo>
                <a:close/>
                <a:moveTo>
                  <a:pt x="2256430" y="648561"/>
                </a:moveTo>
                <a:cubicBezTo>
                  <a:pt x="2256430" y="667502"/>
                  <a:pt x="2227732" y="673815"/>
                  <a:pt x="2216253" y="680128"/>
                </a:cubicBezTo>
                <a:cubicBezTo>
                  <a:pt x="2221993" y="667502"/>
                  <a:pt x="2244950" y="661188"/>
                  <a:pt x="2256430" y="648561"/>
                </a:cubicBezTo>
                <a:close/>
                <a:moveTo>
                  <a:pt x="2118364" y="648561"/>
                </a:moveTo>
                <a:cubicBezTo>
                  <a:pt x="2130164" y="654539"/>
                  <a:pt x="2118364" y="660518"/>
                  <a:pt x="2112466" y="666497"/>
                </a:cubicBezTo>
                <a:cubicBezTo>
                  <a:pt x="2088870" y="666497"/>
                  <a:pt x="2077072" y="696391"/>
                  <a:pt x="2059375" y="684433"/>
                </a:cubicBezTo>
                <a:cubicBezTo>
                  <a:pt x="2077072" y="654539"/>
                  <a:pt x="2100669" y="678455"/>
                  <a:pt x="2118364" y="648561"/>
                </a:cubicBezTo>
                <a:close/>
                <a:moveTo>
                  <a:pt x="2715875" y="647126"/>
                </a:moveTo>
                <a:lnTo>
                  <a:pt x="2712719" y="652388"/>
                </a:lnTo>
                <a:lnTo>
                  <a:pt x="2709848" y="649996"/>
                </a:lnTo>
                <a:close/>
                <a:moveTo>
                  <a:pt x="2816234" y="645448"/>
                </a:moveTo>
                <a:lnTo>
                  <a:pt x="2812378" y="650859"/>
                </a:lnTo>
                <a:cubicBezTo>
                  <a:pt x="2809378" y="650859"/>
                  <a:pt x="2809378" y="649280"/>
                  <a:pt x="2810878" y="647702"/>
                </a:cubicBezTo>
                <a:close/>
                <a:moveTo>
                  <a:pt x="2817521" y="643644"/>
                </a:moveTo>
                <a:lnTo>
                  <a:pt x="2818379" y="644546"/>
                </a:lnTo>
                <a:lnTo>
                  <a:pt x="2816234" y="645448"/>
                </a:lnTo>
                <a:close/>
                <a:moveTo>
                  <a:pt x="2890642" y="642823"/>
                </a:moveTo>
                <a:cubicBezTo>
                  <a:pt x="2878207" y="662912"/>
                  <a:pt x="2871989" y="656216"/>
                  <a:pt x="2853334" y="662912"/>
                </a:cubicBezTo>
                <a:cubicBezTo>
                  <a:pt x="2859553" y="656216"/>
                  <a:pt x="2878207" y="642823"/>
                  <a:pt x="2890642" y="642823"/>
                </a:cubicBezTo>
                <a:close/>
                <a:moveTo>
                  <a:pt x="2775853" y="642823"/>
                </a:moveTo>
                <a:cubicBezTo>
                  <a:pt x="2781592" y="642823"/>
                  <a:pt x="2781592" y="649519"/>
                  <a:pt x="2781592" y="649519"/>
                </a:cubicBezTo>
                <a:cubicBezTo>
                  <a:pt x="2781592" y="649519"/>
                  <a:pt x="2775853" y="656216"/>
                  <a:pt x="2775853" y="656216"/>
                </a:cubicBezTo>
                <a:cubicBezTo>
                  <a:pt x="2775853" y="659564"/>
                  <a:pt x="2774418" y="659564"/>
                  <a:pt x="2772984" y="659564"/>
                </a:cubicBezTo>
                <a:lnTo>
                  <a:pt x="2770115" y="662910"/>
                </a:lnTo>
                <a:lnTo>
                  <a:pt x="2781592" y="674389"/>
                </a:lnTo>
                <a:cubicBezTo>
                  <a:pt x="2775853" y="674389"/>
                  <a:pt x="2775853" y="674389"/>
                  <a:pt x="2775853" y="680128"/>
                </a:cubicBezTo>
                <a:cubicBezTo>
                  <a:pt x="2770113" y="680128"/>
                  <a:pt x="2770113" y="668650"/>
                  <a:pt x="2764374" y="674389"/>
                </a:cubicBezTo>
                <a:cubicBezTo>
                  <a:pt x="2764374" y="680128"/>
                  <a:pt x="2764374" y="685868"/>
                  <a:pt x="2770113" y="691608"/>
                </a:cubicBezTo>
                <a:cubicBezTo>
                  <a:pt x="2764374" y="685868"/>
                  <a:pt x="2758634" y="680128"/>
                  <a:pt x="2752895" y="680128"/>
                </a:cubicBezTo>
                <a:cubicBezTo>
                  <a:pt x="2752895" y="691608"/>
                  <a:pt x="2741416" y="680128"/>
                  <a:pt x="2741416" y="685868"/>
                </a:cubicBezTo>
                <a:cubicBezTo>
                  <a:pt x="2735677" y="680128"/>
                  <a:pt x="2764374" y="674389"/>
                  <a:pt x="2758634" y="680128"/>
                </a:cubicBezTo>
                <a:cubicBezTo>
                  <a:pt x="2764374" y="674389"/>
                  <a:pt x="2770113" y="668650"/>
                  <a:pt x="2770113" y="662910"/>
                </a:cubicBezTo>
                <a:lnTo>
                  <a:pt x="2770113" y="656216"/>
                </a:lnTo>
                <a:cubicBezTo>
                  <a:pt x="2770113" y="649519"/>
                  <a:pt x="2770113" y="649519"/>
                  <a:pt x="2764374" y="649519"/>
                </a:cubicBezTo>
                <a:cubicBezTo>
                  <a:pt x="2764374" y="642823"/>
                  <a:pt x="2775853" y="649519"/>
                  <a:pt x="2775853" y="649519"/>
                </a:cubicBezTo>
                <a:cubicBezTo>
                  <a:pt x="2775853" y="649519"/>
                  <a:pt x="2775853" y="642823"/>
                  <a:pt x="2775853" y="642823"/>
                </a:cubicBezTo>
                <a:close/>
                <a:moveTo>
                  <a:pt x="4176282" y="642821"/>
                </a:moveTo>
                <a:cubicBezTo>
                  <a:pt x="4176282" y="649279"/>
                  <a:pt x="4176282" y="655736"/>
                  <a:pt x="4176282" y="655736"/>
                </a:cubicBezTo>
                <a:cubicBezTo>
                  <a:pt x="4170543" y="655736"/>
                  <a:pt x="4170543" y="662193"/>
                  <a:pt x="4159063" y="668650"/>
                </a:cubicBezTo>
                <a:cubicBezTo>
                  <a:pt x="4159063" y="655736"/>
                  <a:pt x="4164803" y="649279"/>
                  <a:pt x="4176282" y="642821"/>
                </a:cubicBezTo>
                <a:close/>
                <a:moveTo>
                  <a:pt x="2718458" y="642821"/>
                </a:moveTo>
                <a:cubicBezTo>
                  <a:pt x="2718458" y="642821"/>
                  <a:pt x="2718458" y="644615"/>
                  <a:pt x="2717382" y="646409"/>
                </a:cubicBezTo>
                <a:lnTo>
                  <a:pt x="2715875" y="647126"/>
                </a:lnTo>
                <a:close/>
                <a:moveTo>
                  <a:pt x="2950684" y="641696"/>
                </a:moveTo>
                <a:cubicBezTo>
                  <a:pt x="2950968" y="642849"/>
                  <a:pt x="2952104" y="650921"/>
                  <a:pt x="2956647" y="655533"/>
                </a:cubicBezTo>
                <a:cubicBezTo>
                  <a:pt x="2944530" y="661681"/>
                  <a:pt x="2920298" y="667831"/>
                  <a:pt x="2914238" y="680130"/>
                </a:cubicBezTo>
                <a:cubicBezTo>
                  <a:pt x="2908181" y="680130"/>
                  <a:pt x="2908181" y="673981"/>
                  <a:pt x="2902121" y="680130"/>
                </a:cubicBezTo>
                <a:cubicBezTo>
                  <a:pt x="2908181" y="661681"/>
                  <a:pt x="2938473" y="667831"/>
                  <a:pt x="2950590" y="643233"/>
                </a:cubicBezTo>
                <a:cubicBezTo>
                  <a:pt x="2950590" y="641696"/>
                  <a:pt x="2950590" y="641312"/>
                  <a:pt x="2950684" y="641696"/>
                </a:cubicBezTo>
                <a:close/>
                <a:moveTo>
                  <a:pt x="3086254" y="640456"/>
                </a:moveTo>
                <a:cubicBezTo>
                  <a:pt x="3088676" y="640052"/>
                  <a:pt x="3090290" y="640456"/>
                  <a:pt x="3090290" y="642070"/>
                </a:cubicBezTo>
                <a:cubicBezTo>
                  <a:pt x="3077375" y="635613"/>
                  <a:pt x="3077375" y="661441"/>
                  <a:pt x="3064461" y="654984"/>
                </a:cubicBezTo>
                <a:cubicBezTo>
                  <a:pt x="3064461" y="650141"/>
                  <a:pt x="3078990" y="641666"/>
                  <a:pt x="3086254" y="640456"/>
                </a:cubicBezTo>
                <a:close/>
                <a:moveTo>
                  <a:pt x="4092942" y="637775"/>
                </a:moveTo>
                <a:lnTo>
                  <a:pt x="4088588" y="639927"/>
                </a:lnTo>
                <a:lnTo>
                  <a:pt x="4086018" y="638232"/>
                </a:lnTo>
                <a:close/>
                <a:moveTo>
                  <a:pt x="3171877" y="637084"/>
                </a:moveTo>
                <a:cubicBezTo>
                  <a:pt x="3177616" y="648563"/>
                  <a:pt x="3171877" y="648563"/>
                  <a:pt x="3166137" y="648563"/>
                </a:cubicBezTo>
                <a:lnTo>
                  <a:pt x="3166137" y="642823"/>
                </a:lnTo>
                <a:cubicBezTo>
                  <a:pt x="3166137" y="642823"/>
                  <a:pt x="3166137" y="637084"/>
                  <a:pt x="3171877" y="637084"/>
                </a:cubicBezTo>
                <a:close/>
                <a:moveTo>
                  <a:pt x="4293942" y="637082"/>
                </a:moveTo>
                <a:cubicBezTo>
                  <a:pt x="4288203" y="643777"/>
                  <a:pt x="4276724" y="650475"/>
                  <a:pt x="4265245" y="657171"/>
                </a:cubicBezTo>
                <a:cubicBezTo>
                  <a:pt x="4265245" y="650475"/>
                  <a:pt x="4276724" y="657171"/>
                  <a:pt x="4270984" y="643777"/>
                </a:cubicBezTo>
                <a:cubicBezTo>
                  <a:pt x="4276724" y="643777"/>
                  <a:pt x="4288203" y="637082"/>
                  <a:pt x="4293942" y="637082"/>
                </a:cubicBezTo>
                <a:close/>
                <a:moveTo>
                  <a:pt x="4199240" y="637082"/>
                </a:moveTo>
                <a:cubicBezTo>
                  <a:pt x="4199240" y="643777"/>
                  <a:pt x="4182022" y="650475"/>
                  <a:pt x="4187761" y="657171"/>
                </a:cubicBezTo>
                <a:cubicBezTo>
                  <a:pt x="4182022" y="657171"/>
                  <a:pt x="4187761" y="650475"/>
                  <a:pt x="4182022" y="643777"/>
                </a:cubicBezTo>
                <a:cubicBezTo>
                  <a:pt x="4187761" y="637082"/>
                  <a:pt x="4193500" y="643777"/>
                  <a:pt x="4199240" y="637082"/>
                </a:cubicBezTo>
                <a:close/>
                <a:moveTo>
                  <a:pt x="4144716" y="637082"/>
                </a:moveTo>
                <a:cubicBezTo>
                  <a:pt x="4144716" y="642821"/>
                  <a:pt x="4138976" y="642821"/>
                  <a:pt x="4144716" y="648561"/>
                </a:cubicBezTo>
                <a:cubicBezTo>
                  <a:pt x="4138976" y="648561"/>
                  <a:pt x="4138976" y="648561"/>
                  <a:pt x="4133237" y="648561"/>
                </a:cubicBezTo>
                <a:cubicBezTo>
                  <a:pt x="4138976" y="642821"/>
                  <a:pt x="4138976" y="637082"/>
                  <a:pt x="4144716" y="637082"/>
                </a:cubicBezTo>
                <a:close/>
                <a:moveTo>
                  <a:pt x="4374116" y="636928"/>
                </a:moveTo>
                <a:lnTo>
                  <a:pt x="4376108" y="637426"/>
                </a:lnTo>
                <a:lnTo>
                  <a:pt x="4374116" y="637886"/>
                </a:lnTo>
                <a:close/>
                <a:moveTo>
                  <a:pt x="2349474" y="635769"/>
                </a:moveTo>
                <a:cubicBezTo>
                  <a:pt x="2350328" y="636616"/>
                  <a:pt x="2346911" y="643396"/>
                  <a:pt x="2346911" y="643396"/>
                </a:cubicBezTo>
                <a:cubicBezTo>
                  <a:pt x="2352987" y="649421"/>
                  <a:pt x="2359064" y="631342"/>
                  <a:pt x="2371219" y="637369"/>
                </a:cubicBezTo>
                <a:cubicBezTo>
                  <a:pt x="2346911" y="655448"/>
                  <a:pt x="2292217" y="667502"/>
                  <a:pt x="2292217" y="679554"/>
                </a:cubicBezTo>
                <a:cubicBezTo>
                  <a:pt x="2286140" y="691608"/>
                  <a:pt x="2280062" y="673529"/>
                  <a:pt x="2267909" y="679554"/>
                </a:cubicBezTo>
                <a:cubicBezTo>
                  <a:pt x="2286140" y="655448"/>
                  <a:pt x="2328679" y="661475"/>
                  <a:pt x="2346911" y="637369"/>
                </a:cubicBezTo>
                <a:cubicBezTo>
                  <a:pt x="2348430" y="635862"/>
                  <a:pt x="2349189" y="635486"/>
                  <a:pt x="2349474" y="635769"/>
                </a:cubicBezTo>
                <a:close/>
                <a:moveTo>
                  <a:pt x="2266743" y="633226"/>
                </a:moveTo>
                <a:cubicBezTo>
                  <a:pt x="2269702" y="633136"/>
                  <a:pt x="2272213" y="634212"/>
                  <a:pt x="2273648" y="637082"/>
                </a:cubicBezTo>
                <a:cubicBezTo>
                  <a:pt x="2262169" y="637082"/>
                  <a:pt x="2256430" y="642821"/>
                  <a:pt x="2244950" y="648561"/>
                </a:cubicBezTo>
                <a:cubicBezTo>
                  <a:pt x="2244950" y="645690"/>
                  <a:pt x="2250690" y="639951"/>
                  <a:pt x="2257148" y="636364"/>
                </a:cubicBezTo>
                <a:cubicBezTo>
                  <a:pt x="2260376" y="634571"/>
                  <a:pt x="2263784" y="633315"/>
                  <a:pt x="2266743" y="633226"/>
                </a:cubicBezTo>
                <a:close/>
                <a:moveTo>
                  <a:pt x="4104019" y="632301"/>
                </a:moveTo>
                <a:cubicBezTo>
                  <a:pt x="4104019" y="635266"/>
                  <a:pt x="4101019" y="636749"/>
                  <a:pt x="4097268" y="637490"/>
                </a:cubicBezTo>
                <a:lnTo>
                  <a:pt x="4092942" y="637775"/>
                </a:lnTo>
                <a:close/>
                <a:moveTo>
                  <a:pt x="4302552" y="631344"/>
                </a:moveTo>
                <a:cubicBezTo>
                  <a:pt x="4308292" y="637084"/>
                  <a:pt x="4342728" y="625605"/>
                  <a:pt x="4308292" y="637084"/>
                </a:cubicBezTo>
                <a:cubicBezTo>
                  <a:pt x="4308292" y="637084"/>
                  <a:pt x="4302552" y="637084"/>
                  <a:pt x="4302552" y="631344"/>
                </a:cubicBezTo>
                <a:close/>
                <a:moveTo>
                  <a:pt x="2405656" y="631342"/>
                </a:moveTo>
                <a:cubicBezTo>
                  <a:pt x="2411396" y="631342"/>
                  <a:pt x="2411396" y="644256"/>
                  <a:pt x="2422874" y="631342"/>
                </a:cubicBezTo>
                <a:cubicBezTo>
                  <a:pt x="2417135" y="637799"/>
                  <a:pt x="2405656" y="657171"/>
                  <a:pt x="2399917" y="637799"/>
                </a:cubicBezTo>
                <a:cubicBezTo>
                  <a:pt x="2411396" y="644256"/>
                  <a:pt x="2405656" y="637799"/>
                  <a:pt x="2405656" y="631342"/>
                </a:cubicBezTo>
                <a:close/>
                <a:moveTo>
                  <a:pt x="2305216" y="631342"/>
                </a:moveTo>
                <a:cubicBezTo>
                  <a:pt x="2292917" y="643969"/>
                  <a:pt x="2274467" y="662910"/>
                  <a:pt x="2262169" y="650284"/>
                </a:cubicBezTo>
                <a:cubicBezTo>
                  <a:pt x="2274467" y="643969"/>
                  <a:pt x="2286766" y="637657"/>
                  <a:pt x="2305216" y="631342"/>
                </a:cubicBezTo>
                <a:close/>
                <a:moveTo>
                  <a:pt x="3155682" y="629229"/>
                </a:moveTo>
                <a:lnTo>
                  <a:pt x="3160398" y="638629"/>
                </a:lnTo>
                <a:cubicBezTo>
                  <a:pt x="3160398" y="644589"/>
                  <a:pt x="3148439" y="632669"/>
                  <a:pt x="3154419" y="644589"/>
                </a:cubicBezTo>
                <a:cubicBezTo>
                  <a:pt x="3148439" y="644589"/>
                  <a:pt x="3154419" y="638629"/>
                  <a:pt x="3148439" y="638629"/>
                </a:cubicBezTo>
                <a:cubicBezTo>
                  <a:pt x="3142462" y="638629"/>
                  <a:pt x="3154419" y="650549"/>
                  <a:pt x="3142462" y="650549"/>
                </a:cubicBezTo>
                <a:cubicBezTo>
                  <a:pt x="3136484" y="644589"/>
                  <a:pt x="3136484" y="644589"/>
                  <a:pt x="3136484" y="650549"/>
                </a:cubicBezTo>
                <a:cubicBezTo>
                  <a:pt x="3130503" y="650549"/>
                  <a:pt x="3124525" y="650549"/>
                  <a:pt x="3124525" y="650549"/>
                </a:cubicBezTo>
                <a:cubicBezTo>
                  <a:pt x="3124525" y="650549"/>
                  <a:pt x="3118547" y="656511"/>
                  <a:pt x="3124525" y="656511"/>
                </a:cubicBezTo>
                <a:cubicBezTo>
                  <a:pt x="3118547" y="662471"/>
                  <a:pt x="3112567" y="644589"/>
                  <a:pt x="3124525" y="644589"/>
                </a:cubicBezTo>
                <a:cubicBezTo>
                  <a:pt x="3112567" y="638629"/>
                  <a:pt x="3112567" y="656511"/>
                  <a:pt x="3112567" y="662471"/>
                </a:cubicBezTo>
                <a:cubicBezTo>
                  <a:pt x="3112567" y="668431"/>
                  <a:pt x="3112567" y="662471"/>
                  <a:pt x="3118547" y="662471"/>
                </a:cubicBezTo>
                <a:cubicBezTo>
                  <a:pt x="3118547" y="668431"/>
                  <a:pt x="3112567" y="668431"/>
                  <a:pt x="3112567" y="674391"/>
                </a:cubicBezTo>
                <a:cubicBezTo>
                  <a:pt x="3112567" y="674391"/>
                  <a:pt x="3106589" y="668431"/>
                  <a:pt x="3106589" y="674391"/>
                </a:cubicBezTo>
                <a:cubicBezTo>
                  <a:pt x="3100611" y="668431"/>
                  <a:pt x="3112567" y="656511"/>
                  <a:pt x="3106589" y="650549"/>
                </a:cubicBezTo>
                <a:cubicBezTo>
                  <a:pt x="3094633" y="650549"/>
                  <a:pt x="3106589" y="662471"/>
                  <a:pt x="3100611" y="668431"/>
                </a:cubicBezTo>
                <a:cubicBezTo>
                  <a:pt x="3100611" y="662471"/>
                  <a:pt x="3100611" y="662471"/>
                  <a:pt x="3094633" y="662471"/>
                </a:cubicBezTo>
                <a:cubicBezTo>
                  <a:pt x="3094633" y="656511"/>
                  <a:pt x="3100611" y="662471"/>
                  <a:pt x="3100611" y="662471"/>
                </a:cubicBezTo>
                <a:cubicBezTo>
                  <a:pt x="3100611" y="656511"/>
                  <a:pt x="3094633" y="650549"/>
                  <a:pt x="3088653" y="650549"/>
                </a:cubicBezTo>
                <a:cubicBezTo>
                  <a:pt x="3097621" y="647570"/>
                  <a:pt x="3111074" y="641610"/>
                  <a:pt x="3125272" y="636395"/>
                </a:cubicBezTo>
                <a:close/>
                <a:moveTo>
                  <a:pt x="3154419" y="626709"/>
                </a:moveTo>
                <a:lnTo>
                  <a:pt x="3159379" y="628358"/>
                </a:lnTo>
                <a:lnTo>
                  <a:pt x="3155682" y="629229"/>
                </a:lnTo>
                <a:close/>
                <a:moveTo>
                  <a:pt x="4270984" y="625605"/>
                </a:moveTo>
                <a:cubicBezTo>
                  <a:pt x="4282463" y="625605"/>
                  <a:pt x="4248026" y="648563"/>
                  <a:pt x="4248026" y="637084"/>
                </a:cubicBezTo>
                <a:cubicBezTo>
                  <a:pt x="4259506" y="631344"/>
                  <a:pt x="4265245" y="631344"/>
                  <a:pt x="4270984" y="625605"/>
                </a:cubicBezTo>
                <a:close/>
                <a:moveTo>
                  <a:pt x="4175327" y="625605"/>
                </a:moveTo>
                <a:cubicBezTo>
                  <a:pt x="4187762" y="625605"/>
                  <a:pt x="4175327" y="631344"/>
                  <a:pt x="4169109" y="631344"/>
                </a:cubicBezTo>
                <a:cubicBezTo>
                  <a:pt x="4169109" y="642823"/>
                  <a:pt x="4162893" y="625605"/>
                  <a:pt x="4156674" y="637084"/>
                </a:cubicBezTo>
                <a:cubicBezTo>
                  <a:pt x="4150455" y="631344"/>
                  <a:pt x="4169109" y="631344"/>
                  <a:pt x="4175327" y="625605"/>
                </a:cubicBezTo>
                <a:close/>
                <a:moveTo>
                  <a:pt x="3028390" y="625605"/>
                </a:moveTo>
                <a:cubicBezTo>
                  <a:pt x="3034129" y="631344"/>
                  <a:pt x="3034129" y="631344"/>
                  <a:pt x="3039868" y="631344"/>
                </a:cubicBezTo>
                <a:cubicBezTo>
                  <a:pt x="3034129" y="637084"/>
                  <a:pt x="3028390" y="631344"/>
                  <a:pt x="3022650" y="637084"/>
                </a:cubicBezTo>
                <a:cubicBezTo>
                  <a:pt x="3016911" y="631344"/>
                  <a:pt x="3022650" y="631344"/>
                  <a:pt x="3028390" y="631344"/>
                </a:cubicBezTo>
                <a:cubicBezTo>
                  <a:pt x="3028390" y="631344"/>
                  <a:pt x="3022650" y="631344"/>
                  <a:pt x="3022650" y="631344"/>
                </a:cubicBezTo>
                <a:cubicBezTo>
                  <a:pt x="3022650" y="625605"/>
                  <a:pt x="3028390" y="631344"/>
                  <a:pt x="3028390" y="625605"/>
                </a:cubicBezTo>
                <a:close/>
                <a:moveTo>
                  <a:pt x="2830379" y="625605"/>
                </a:moveTo>
                <a:lnTo>
                  <a:pt x="2817521" y="643644"/>
                </a:lnTo>
                <a:lnTo>
                  <a:pt x="2812378" y="638232"/>
                </a:lnTo>
                <a:cubicBezTo>
                  <a:pt x="2800376" y="644546"/>
                  <a:pt x="2794377" y="644546"/>
                  <a:pt x="2782375" y="657172"/>
                </a:cubicBezTo>
                <a:cubicBezTo>
                  <a:pt x="2782375" y="657172"/>
                  <a:pt x="2782375" y="650859"/>
                  <a:pt x="2782375" y="644546"/>
                </a:cubicBezTo>
                <a:cubicBezTo>
                  <a:pt x="2788377" y="650859"/>
                  <a:pt x="2788377" y="638232"/>
                  <a:pt x="2800376" y="638232"/>
                </a:cubicBezTo>
                <a:cubicBezTo>
                  <a:pt x="2806378" y="631919"/>
                  <a:pt x="2812378" y="625605"/>
                  <a:pt x="2818379" y="638232"/>
                </a:cubicBezTo>
                <a:cubicBezTo>
                  <a:pt x="2824379" y="638232"/>
                  <a:pt x="2818379" y="625605"/>
                  <a:pt x="2830379" y="625605"/>
                </a:cubicBezTo>
                <a:close/>
                <a:moveTo>
                  <a:pt x="2794377" y="625605"/>
                </a:moveTo>
                <a:cubicBezTo>
                  <a:pt x="2794377" y="631919"/>
                  <a:pt x="2800376" y="631919"/>
                  <a:pt x="2800376" y="638232"/>
                </a:cubicBezTo>
                <a:cubicBezTo>
                  <a:pt x="2788377" y="625605"/>
                  <a:pt x="2770376" y="657172"/>
                  <a:pt x="2764374" y="638232"/>
                </a:cubicBezTo>
                <a:cubicBezTo>
                  <a:pt x="2770376" y="638232"/>
                  <a:pt x="2788377" y="631919"/>
                  <a:pt x="2794377" y="625605"/>
                </a:cubicBezTo>
                <a:close/>
                <a:moveTo>
                  <a:pt x="2752895" y="625603"/>
                </a:moveTo>
                <a:cubicBezTo>
                  <a:pt x="2752895" y="631342"/>
                  <a:pt x="2752895" y="631342"/>
                  <a:pt x="2758634" y="637082"/>
                </a:cubicBezTo>
                <a:cubicBezTo>
                  <a:pt x="2752895" y="637082"/>
                  <a:pt x="2752895" y="631342"/>
                  <a:pt x="2752895" y="631342"/>
                </a:cubicBezTo>
                <a:cubicBezTo>
                  <a:pt x="2747155" y="631342"/>
                  <a:pt x="2752895" y="637082"/>
                  <a:pt x="2752895" y="637082"/>
                </a:cubicBezTo>
                <a:cubicBezTo>
                  <a:pt x="2747155" y="637082"/>
                  <a:pt x="2747155" y="637082"/>
                  <a:pt x="2741416" y="637082"/>
                </a:cubicBezTo>
                <a:cubicBezTo>
                  <a:pt x="2741416" y="625603"/>
                  <a:pt x="2747155" y="631342"/>
                  <a:pt x="2752895" y="625603"/>
                </a:cubicBezTo>
                <a:close/>
                <a:moveTo>
                  <a:pt x="3370254" y="624064"/>
                </a:moveTo>
                <a:lnTo>
                  <a:pt x="3370324" y="624864"/>
                </a:lnTo>
                <a:lnTo>
                  <a:pt x="3369809" y="625001"/>
                </a:lnTo>
                <a:close/>
                <a:moveTo>
                  <a:pt x="4417342" y="622016"/>
                </a:moveTo>
                <a:cubicBezTo>
                  <a:pt x="4423081" y="621298"/>
                  <a:pt x="4428821" y="622732"/>
                  <a:pt x="4431689" y="625603"/>
                </a:cubicBezTo>
                <a:cubicBezTo>
                  <a:pt x="4431689" y="631342"/>
                  <a:pt x="4414471" y="631342"/>
                  <a:pt x="4408732" y="637082"/>
                </a:cubicBezTo>
                <a:lnTo>
                  <a:pt x="4403460" y="631811"/>
                </a:lnTo>
                <a:lnTo>
                  <a:pt x="4397279" y="641402"/>
                </a:lnTo>
                <a:cubicBezTo>
                  <a:pt x="4393543" y="642892"/>
                  <a:pt x="4389060" y="642892"/>
                  <a:pt x="4386070" y="642892"/>
                </a:cubicBezTo>
                <a:cubicBezTo>
                  <a:pt x="4386070" y="642892"/>
                  <a:pt x="4386070" y="642892"/>
                  <a:pt x="4392048" y="636928"/>
                </a:cubicBezTo>
                <a:cubicBezTo>
                  <a:pt x="4389060" y="633947"/>
                  <a:pt x="4386070" y="636928"/>
                  <a:pt x="4383082" y="639164"/>
                </a:cubicBezTo>
                <a:lnTo>
                  <a:pt x="4376108" y="637426"/>
                </a:lnTo>
                <a:lnTo>
                  <a:pt x="4403336" y="631120"/>
                </a:lnTo>
                <a:close/>
                <a:moveTo>
                  <a:pt x="3183816" y="621698"/>
                </a:moveTo>
                <a:lnTo>
                  <a:pt x="3183565" y="625220"/>
                </a:lnTo>
                <a:cubicBezTo>
                  <a:pt x="3181322" y="626709"/>
                  <a:pt x="3178334" y="626709"/>
                  <a:pt x="3178334" y="626709"/>
                </a:cubicBezTo>
                <a:close/>
                <a:moveTo>
                  <a:pt x="4236137" y="619864"/>
                </a:moveTo>
                <a:cubicBezTo>
                  <a:pt x="4236137" y="631981"/>
                  <a:pt x="4242287" y="638038"/>
                  <a:pt x="4242287" y="650155"/>
                </a:cubicBezTo>
                <a:cubicBezTo>
                  <a:pt x="4223840" y="644098"/>
                  <a:pt x="4205389" y="674389"/>
                  <a:pt x="4199240" y="656215"/>
                </a:cubicBezTo>
                <a:cubicBezTo>
                  <a:pt x="4217690" y="656215"/>
                  <a:pt x="4217690" y="644098"/>
                  <a:pt x="4229989" y="644098"/>
                </a:cubicBezTo>
                <a:cubicBezTo>
                  <a:pt x="4229989" y="638038"/>
                  <a:pt x="4236137" y="638038"/>
                  <a:pt x="4229989" y="625921"/>
                </a:cubicBezTo>
                <a:cubicBezTo>
                  <a:pt x="4229989" y="625921"/>
                  <a:pt x="4236137" y="625921"/>
                  <a:pt x="4236137" y="619864"/>
                </a:cubicBezTo>
                <a:close/>
                <a:moveTo>
                  <a:pt x="2299477" y="619864"/>
                </a:moveTo>
                <a:cubicBezTo>
                  <a:pt x="2299477" y="625603"/>
                  <a:pt x="2279388" y="637082"/>
                  <a:pt x="2279388" y="625603"/>
                </a:cubicBezTo>
                <a:cubicBezTo>
                  <a:pt x="2286083" y="619864"/>
                  <a:pt x="2292779" y="619864"/>
                  <a:pt x="2299477" y="619864"/>
                </a:cubicBezTo>
                <a:close/>
                <a:moveTo>
                  <a:pt x="3369809" y="619037"/>
                </a:moveTo>
                <a:cubicBezTo>
                  <a:pt x="3370557" y="619782"/>
                  <a:pt x="3371304" y="620527"/>
                  <a:pt x="3371491" y="621459"/>
                </a:cubicBezTo>
                <a:lnTo>
                  <a:pt x="3370254" y="624064"/>
                </a:lnTo>
                <a:close/>
                <a:moveTo>
                  <a:pt x="4346583" y="615110"/>
                </a:moveTo>
                <a:cubicBezTo>
                  <a:pt x="4347749" y="615559"/>
                  <a:pt x="4348466" y="616993"/>
                  <a:pt x="4348466" y="619864"/>
                </a:cubicBezTo>
                <a:cubicBezTo>
                  <a:pt x="4342727" y="619864"/>
                  <a:pt x="4336987" y="625603"/>
                  <a:pt x="4331248" y="625603"/>
                </a:cubicBezTo>
                <a:cubicBezTo>
                  <a:pt x="4334118" y="622732"/>
                  <a:pt x="4338422" y="618428"/>
                  <a:pt x="4342009" y="616277"/>
                </a:cubicBezTo>
                <a:cubicBezTo>
                  <a:pt x="4343804" y="615200"/>
                  <a:pt x="4345417" y="614662"/>
                  <a:pt x="4346583" y="615110"/>
                </a:cubicBezTo>
                <a:close/>
                <a:moveTo>
                  <a:pt x="4199242" y="614126"/>
                </a:moveTo>
                <a:cubicBezTo>
                  <a:pt x="4199242" y="619865"/>
                  <a:pt x="4199242" y="619865"/>
                  <a:pt x="4199242" y="619865"/>
                </a:cubicBezTo>
                <a:cubicBezTo>
                  <a:pt x="4199242" y="619865"/>
                  <a:pt x="4204981" y="619865"/>
                  <a:pt x="4204981" y="619865"/>
                </a:cubicBezTo>
                <a:cubicBezTo>
                  <a:pt x="4216460" y="625605"/>
                  <a:pt x="4187762" y="619865"/>
                  <a:pt x="4193502" y="625605"/>
                </a:cubicBezTo>
                <a:cubicBezTo>
                  <a:pt x="4187762" y="625605"/>
                  <a:pt x="4193502" y="625605"/>
                  <a:pt x="4187762" y="619865"/>
                </a:cubicBezTo>
                <a:cubicBezTo>
                  <a:pt x="4193502" y="619865"/>
                  <a:pt x="4199242" y="614126"/>
                  <a:pt x="4199242" y="614126"/>
                </a:cubicBezTo>
                <a:close/>
                <a:moveTo>
                  <a:pt x="4248026" y="614124"/>
                </a:moveTo>
                <a:cubicBezTo>
                  <a:pt x="4253766" y="619864"/>
                  <a:pt x="4248026" y="625603"/>
                  <a:pt x="4248026" y="631342"/>
                </a:cubicBezTo>
                <a:cubicBezTo>
                  <a:pt x="4242287" y="631342"/>
                  <a:pt x="4242287" y="625603"/>
                  <a:pt x="4242287" y="619864"/>
                </a:cubicBezTo>
                <a:cubicBezTo>
                  <a:pt x="4248026" y="619864"/>
                  <a:pt x="4248026" y="619864"/>
                  <a:pt x="4248026" y="614124"/>
                </a:cubicBezTo>
                <a:close/>
                <a:moveTo>
                  <a:pt x="3369809" y="613072"/>
                </a:moveTo>
                <a:cubicBezTo>
                  <a:pt x="3366822" y="616055"/>
                  <a:pt x="3368314" y="617546"/>
                  <a:pt x="3369809" y="619037"/>
                </a:cubicBezTo>
                <a:cubicBezTo>
                  <a:pt x="3363831" y="619037"/>
                  <a:pt x="3357853" y="625001"/>
                  <a:pt x="3357853" y="619037"/>
                </a:cubicBezTo>
                <a:cubicBezTo>
                  <a:pt x="3357853" y="613072"/>
                  <a:pt x="3363831" y="619037"/>
                  <a:pt x="3369809" y="613072"/>
                </a:cubicBezTo>
                <a:close/>
                <a:moveTo>
                  <a:pt x="2407987" y="612509"/>
                </a:moveTo>
                <a:cubicBezTo>
                  <a:pt x="2408884" y="612330"/>
                  <a:pt x="2409960" y="612689"/>
                  <a:pt x="2411396" y="614124"/>
                </a:cubicBezTo>
                <a:cubicBezTo>
                  <a:pt x="2411396" y="625603"/>
                  <a:pt x="2394177" y="619864"/>
                  <a:pt x="2388438" y="631342"/>
                </a:cubicBezTo>
                <a:cubicBezTo>
                  <a:pt x="2388438" y="625603"/>
                  <a:pt x="2388438" y="625603"/>
                  <a:pt x="2388438" y="619864"/>
                </a:cubicBezTo>
                <a:cubicBezTo>
                  <a:pt x="2399917" y="625603"/>
                  <a:pt x="2388438" y="614124"/>
                  <a:pt x="2405656" y="614124"/>
                </a:cubicBezTo>
                <a:cubicBezTo>
                  <a:pt x="2406374" y="613406"/>
                  <a:pt x="2407091" y="612689"/>
                  <a:pt x="2407987" y="612509"/>
                </a:cubicBezTo>
                <a:close/>
                <a:moveTo>
                  <a:pt x="2788365" y="611075"/>
                </a:moveTo>
                <a:cubicBezTo>
                  <a:pt x="2791668" y="610537"/>
                  <a:pt x="2794387" y="611254"/>
                  <a:pt x="2795942" y="614124"/>
                </a:cubicBezTo>
                <a:cubicBezTo>
                  <a:pt x="2777289" y="619864"/>
                  <a:pt x="2777289" y="619864"/>
                  <a:pt x="2758634" y="631342"/>
                </a:cubicBezTo>
                <a:cubicBezTo>
                  <a:pt x="2758634" y="631342"/>
                  <a:pt x="2758634" y="625603"/>
                  <a:pt x="2758634" y="625603"/>
                </a:cubicBezTo>
                <a:cubicBezTo>
                  <a:pt x="2763298" y="625603"/>
                  <a:pt x="2778455" y="612689"/>
                  <a:pt x="2788365" y="611075"/>
                </a:cubicBezTo>
                <a:close/>
                <a:moveTo>
                  <a:pt x="4456945" y="608384"/>
                </a:moveTo>
                <a:cubicBezTo>
                  <a:pt x="4463258" y="608384"/>
                  <a:pt x="4438004" y="619864"/>
                  <a:pt x="4444317" y="619864"/>
                </a:cubicBezTo>
                <a:cubicBezTo>
                  <a:pt x="4438004" y="619864"/>
                  <a:pt x="4438004" y="619864"/>
                  <a:pt x="4431689" y="619864"/>
                </a:cubicBezTo>
                <a:cubicBezTo>
                  <a:pt x="4438004" y="614124"/>
                  <a:pt x="4450631" y="608384"/>
                  <a:pt x="4456945" y="608384"/>
                </a:cubicBezTo>
                <a:close/>
                <a:moveTo>
                  <a:pt x="2220557" y="607701"/>
                </a:moveTo>
                <a:cubicBezTo>
                  <a:pt x="2220557" y="613715"/>
                  <a:pt x="2202479" y="619727"/>
                  <a:pt x="2202479" y="625740"/>
                </a:cubicBezTo>
                <a:cubicBezTo>
                  <a:pt x="2202479" y="625740"/>
                  <a:pt x="2196452" y="625740"/>
                  <a:pt x="2196452" y="619727"/>
                </a:cubicBezTo>
                <a:cubicBezTo>
                  <a:pt x="2208505" y="613715"/>
                  <a:pt x="2208505" y="607701"/>
                  <a:pt x="2220557" y="607701"/>
                </a:cubicBezTo>
                <a:close/>
                <a:moveTo>
                  <a:pt x="3208226" y="602867"/>
                </a:moveTo>
                <a:lnTo>
                  <a:pt x="3209104" y="606021"/>
                </a:lnTo>
                <a:lnTo>
                  <a:pt x="3207177" y="604960"/>
                </a:lnTo>
                <a:close/>
                <a:moveTo>
                  <a:pt x="2371221" y="602645"/>
                </a:moveTo>
                <a:cubicBezTo>
                  <a:pt x="2371221" y="619864"/>
                  <a:pt x="2329217" y="619864"/>
                  <a:pt x="2317216" y="637082"/>
                </a:cubicBezTo>
                <a:cubicBezTo>
                  <a:pt x="2317216" y="631342"/>
                  <a:pt x="2311216" y="631342"/>
                  <a:pt x="2305216" y="637082"/>
                </a:cubicBezTo>
                <a:cubicBezTo>
                  <a:pt x="2329217" y="619864"/>
                  <a:pt x="2353220" y="614124"/>
                  <a:pt x="2371221" y="602645"/>
                </a:cubicBezTo>
                <a:close/>
                <a:moveTo>
                  <a:pt x="3202528" y="602402"/>
                </a:moveTo>
                <a:lnTo>
                  <a:pt x="3207177" y="604960"/>
                </a:lnTo>
                <a:lnTo>
                  <a:pt x="3204041" y="611213"/>
                </a:lnTo>
                <a:lnTo>
                  <a:pt x="3202995" y="611809"/>
                </a:lnTo>
                <a:cubicBezTo>
                  <a:pt x="3202247" y="613299"/>
                  <a:pt x="3202247" y="614789"/>
                  <a:pt x="3202247" y="614789"/>
                </a:cubicBezTo>
                <a:lnTo>
                  <a:pt x="3204041" y="611213"/>
                </a:lnTo>
                <a:lnTo>
                  <a:pt x="3208226" y="608829"/>
                </a:lnTo>
                <a:cubicBezTo>
                  <a:pt x="3208226" y="614789"/>
                  <a:pt x="3202247" y="620749"/>
                  <a:pt x="3208226" y="620749"/>
                </a:cubicBezTo>
                <a:cubicBezTo>
                  <a:pt x="3208226" y="632669"/>
                  <a:pt x="3196269" y="608829"/>
                  <a:pt x="3202247" y="626709"/>
                </a:cubicBezTo>
                <a:cubicBezTo>
                  <a:pt x="3190290" y="626709"/>
                  <a:pt x="3196269" y="614789"/>
                  <a:pt x="3196269" y="614789"/>
                </a:cubicBezTo>
                <a:lnTo>
                  <a:pt x="3194808" y="614236"/>
                </a:lnTo>
                <a:lnTo>
                  <a:pt x="3189095" y="637084"/>
                </a:lnTo>
                <a:cubicBezTo>
                  <a:pt x="3189095" y="642823"/>
                  <a:pt x="3177616" y="631344"/>
                  <a:pt x="3177616" y="642823"/>
                </a:cubicBezTo>
                <a:cubicBezTo>
                  <a:pt x="3171877" y="637084"/>
                  <a:pt x="3183355" y="631344"/>
                  <a:pt x="3189095" y="631344"/>
                </a:cubicBezTo>
                <a:cubicBezTo>
                  <a:pt x="3189095" y="628473"/>
                  <a:pt x="3187660" y="625605"/>
                  <a:pt x="3187660" y="622734"/>
                </a:cubicBezTo>
                <a:lnTo>
                  <a:pt x="3194759" y="614218"/>
                </a:lnTo>
                <a:lnTo>
                  <a:pt x="3190104" y="612461"/>
                </a:lnTo>
                <a:cubicBezTo>
                  <a:pt x="3188796" y="613484"/>
                  <a:pt x="3188048" y="615906"/>
                  <a:pt x="3187301" y="618513"/>
                </a:cubicBezTo>
                <a:lnTo>
                  <a:pt x="3183816" y="621698"/>
                </a:lnTo>
                <a:lnTo>
                  <a:pt x="3183881" y="620800"/>
                </a:lnTo>
                <a:lnTo>
                  <a:pt x="3184312" y="620749"/>
                </a:lnTo>
                <a:lnTo>
                  <a:pt x="3183904" y="620478"/>
                </a:lnTo>
                <a:lnTo>
                  <a:pt x="3184312" y="614789"/>
                </a:lnTo>
                <a:cubicBezTo>
                  <a:pt x="3181323" y="614789"/>
                  <a:pt x="3179828" y="616279"/>
                  <a:pt x="3179828" y="617769"/>
                </a:cubicBezTo>
                <a:lnTo>
                  <a:pt x="3183904" y="620478"/>
                </a:lnTo>
                <a:lnTo>
                  <a:pt x="3183881" y="620800"/>
                </a:lnTo>
                <a:lnTo>
                  <a:pt x="3171607" y="622239"/>
                </a:lnTo>
                <a:cubicBezTo>
                  <a:pt x="3169365" y="623728"/>
                  <a:pt x="3169365" y="626709"/>
                  <a:pt x="3172354" y="632669"/>
                </a:cubicBezTo>
                <a:cubicBezTo>
                  <a:pt x="3166376" y="626709"/>
                  <a:pt x="3164881" y="628199"/>
                  <a:pt x="3163386" y="629690"/>
                </a:cubicBezTo>
                <a:lnTo>
                  <a:pt x="3159379" y="628358"/>
                </a:lnTo>
                <a:lnTo>
                  <a:pt x="3166376" y="626709"/>
                </a:lnTo>
                <a:cubicBezTo>
                  <a:pt x="3170859" y="617768"/>
                  <a:pt x="3188795" y="602122"/>
                  <a:pt x="3202528" y="602402"/>
                </a:cubicBezTo>
                <a:close/>
                <a:moveTo>
                  <a:pt x="4265246" y="596908"/>
                </a:moveTo>
                <a:cubicBezTo>
                  <a:pt x="4253050" y="602647"/>
                  <a:pt x="4228656" y="614126"/>
                  <a:pt x="4216460" y="608386"/>
                </a:cubicBezTo>
                <a:cubicBezTo>
                  <a:pt x="4228656" y="602647"/>
                  <a:pt x="4253050" y="602647"/>
                  <a:pt x="4265246" y="596908"/>
                </a:cubicBezTo>
                <a:close/>
                <a:moveTo>
                  <a:pt x="2813159" y="596906"/>
                </a:moveTo>
                <a:cubicBezTo>
                  <a:pt x="2818898" y="602645"/>
                  <a:pt x="2795940" y="602645"/>
                  <a:pt x="2807419" y="614124"/>
                </a:cubicBezTo>
                <a:cubicBezTo>
                  <a:pt x="2790201" y="614124"/>
                  <a:pt x="2801679" y="602645"/>
                  <a:pt x="2813159" y="596906"/>
                </a:cubicBezTo>
                <a:close/>
                <a:moveTo>
                  <a:pt x="2686890" y="596906"/>
                </a:moveTo>
                <a:cubicBezTo>
                  <a:pt x="2686890" y="602645"/>
                  <a:pt x="2675411" y="608384"/>
                  <a:pt x="2681151" y="614124"/>
                </a:cubicBezTo>
                <a:cubicBezTo>
                  <a:pt x="2669672" y="614124"/>
                  <a:pt x="2686890" y="596906"/>
                  <a:pt x="2663933" y="608384"/>
                </a:cubicBezTo>
                <a:cubicBezTo>
                  <a:pt x="2669672" y="596906"/>
                  <a:pt x="2675411" y="602645"/>
                  <a:pt x="2686890" y="596906"/>
                </a:cubicBezTo>
                <a:close/>
                <a:moveTo>
                  <a:pt x="2236879" y="596188"/>
                </a:moveTo>
                <a:cubicBezTo>
                  <a:pt x="2239570" y="598340"/>
                  <a:pt x="2240646" y="606949"/>
                  <a:pt x="2244950" y="602645"/>
                </a:cubicBezTo>
                <a:cubicBezTo>
                  <a:pt x="2244950" y="608384"/>
                  <a:pt x="2233472" y="608384"/>
                  <a:pt x="2233472" y="608384"/>
                </a:cubicBezTo>
                <a:cubicBezTo>
                  <a:pt x="2233472" y="602645"/>
                  <a:pt x="2233472" y="602645"/>
                  <a:pt x="2233472" y="596906"/>
                </a:cubicBezTo>
                <a:cubicBezTo>
                  <a:pt x="2234906" y="595471"/>
                  <a:pt x="2235983" y="595471"/>
                  <a:pt x="2236879" y="596188"/>
                </a:cubicBezTo>
                <a:close/>
                <a:moveTo>
                  <a:pt x="4204981" y="591168"/>
                </a:moveTo>
                <a:cubicBezTo>
                  <a:pt x="4204981" y="596908"/>
                  <a:pt x="4210721" y="602647"/>
                  <a:pt x="4204981" y="602647"/>
                </a:cubicBezTo>
                <a:cubicBezTo>
                  <a:pt x="4204981" y="596908"/>
                  <a:pt x="4199242" y="608386"/>
                  <a:pt x="4193502" y="608386"/>
                </a:cubicBezTo>
                <a:cubicBezTo>
                  <a:pt x="4187762" y="608386"/>
                  <a:pt x="4193502" y="602647"/>
                  <a:pt x="4199242" y="602647"/>
                </a:cubicBezTo>
                <a:cubicBezTo>
                  <a:pt x="4193502" y="602647"/>
                  <a:pt x="4193502" y="602647"/>
                  <a:pt x="4187762" y="602647"/>
                </a:cubicBezTo>
                <a:cubicBezTo>
                  <a:pt x="4193502" y="591168"/>
                  <a:pt x="4199242" y="596908"/>
                  <a:pt x="4204981" y="591168"/>
                </a:cubicBezTo>
                <a:close/>
                <a:moveTo>
                  <a:pt x="4210719" y="591166"/>
                </a:moveTo>
                <a:cubicBezTo>
                  <a:pt x="4216458" y="591166"/>
                  <a:pt x="4216458" y="596906"/>
                  <a:pt x="4216458" y="596906"/>
                </a:cubicBezTo>
                <a:lnTo>
                  <a:pt x="4210719" y="602645"/>
                </a:lnTo>
                <a:cubicBezTo>
                  <a:pt x="4210719" y="596906"/>
                  <a:pt x="4210719" y="596906"/>
                  <a:pt x="4210719" y="596906"/>
                </a:cubicBezTo>
                <a:cubicBezTo>
                  <a:pt x="4210719" y="596906"/>
                  <a:pt x="4210719" y="596906"/>
                  <a:pt x="4210719" y="591166"/>
                </a:cubicBezTo>
                <a:close/>
                <a:moveTo>
                  <a:pt x="3238120" y="590948"/>
                </a:moveTo>
                <a:lnTo>
                  <a:pt x="3239315" y="596908"/>
                </a:lnTo>
                <a:lnTo>
                  <a:pt x="3238120" y="596908"/>
                </a:lnTo>
                <a:lnTo>
                  <a:pt x="3237677" y="591611"/>
                </a:lnTo>
                <a:close/>
                <a:moveTo>
                  <a:pt x="4216458" y="585426"/>
                </a:moveTo>
                <a:cubicBezTo>
                  <a:pt x="4222198" y="585426"/>
                  <a:pt x="4216458" y="596906"/>
                  <a:pt x="4222198" y="591166"/>
                </a:cubicBezTo>
                <a:lnTo>
                  <a:pt x="4216458" y="596906"/>
                </a:lnTo>
                <a:cubicBezTo>
                  <a:pt x="4216458" y="596906"/>
                  <a:pt x="4216458" y="591166"/>
                  <a:pt x="4216458" y="585426"/>
                </a:cubicBezTo>
                <a:close/>
                <a:moveTo>
                  <a:pt x="2882741" y="581912"/>
                </a:moveTo>
                <a:cubicBezTo>
                  <a:pt x="2885565" y="583042"/>
                  <a:pt x="2886695" y="590952"/>
                  <a:pt x="2891215" y="595472"/>
                </a:cubicBezTo>
                <a:lnTo>
                  <a:pt x="2885188" y="607524"/>
                </a:lnTo>
                <a:lnTo>
                  <a:pt x="2885188" y="601499"/>
                </a:lnTo>
                <a:cubicBezTo>
                  <a:pt x="2885188" y="613551"/>
                  <a:pt x="2867110" y="595472"/>
                  <a:pt x="2867110" y="613551"/>
                </a:cubicBezTo>
                <a:cubicBezTo>
                  <a:pt x="2867110" y="613551"/>
                  <a:pt x="2861082" y="613551"/>
                  <a:pt x="2861082" y="607526"/>
                </a:cubicBezTo>
                <a:cubicBezTo>
                  <a:pt x="2855058" y="619578"/>
                  <a:pt x="2855058" y="619578"/>
                  <a:pt x="2836977" y="619578"/>
                </a:cubicBezTo>
                <a:cubicBezTo>
                  <a:pt x="2843003" y="607526"/>
                  <a:pt x="2855058" y="619578"/>
                  <a:pt x="2855058" y="601499"/>
                </a:cubicBezTo>
                <a:cubicBezTo>
                  <a:pt x="2843003" y="601499"/>
                  <a:pt x="2830952" y="613551"/>
                  <a:pt x="2824925" y="625605"/>
                </a:cubicBezTo>
                <a:cubicBezTo>
                  <a:pt x="2818898" y="625605"/>
                  <a:pt x="2824925" y="619578"/>
                  <a:pt x="2818898" y="619578"/>
                </a:cubicBezTo>
                <a:cubicBezTo>
                  <a:pt x="2818898" y="619578"/>
                  <a:pt x="2818898" y="619578"/>
                  <a:pt x="2824925" y="619578"/>
                </a:cubicBezTo>
                <a:cubicBezTo>
                  <a:pt x="2824925" y="619578"/>
                  <a:pt x="2824925" y="613551"/>
                  <a:pt x="2824925" y="613551"/>
                </a:cubicBezTo>
                <a:cubicBezTo>
                  <a:pt x="2836977" y="613551"/>
                  <a:pt x="2849031" y="595472"/>
                  <a:pt x="2861082" y="589445"/>
                </a:cubicBezTo>
                <a:cubicBezTo>
                  <a:pt x="2861082" y="601499"/>
                  <a:pt x="2861082" y="607526"/>
                  <a:pt x="2873137" y="601499"/>
                </a:cubicBezTo>
                <a:cubicBezTo>
                  <a:pt x="2873137" y="601499"/>
                  <a:pt x="2873137" y="595472"/>
                  <a:pt x="2873137" y="595472"/>
                </a:cubicBezTo>
                <a:cubicBezTo>
                  <a:pt x="2873137" y="595472"/>
                  <a:pt x="2879163" y="601499"/>
                  <a:pt x="2885188" y="595472"/>
                </a:cubicBezTo>
                <a:cubicBezTo>
                  <a:pt x="2885188" y="589445"/>
                  <a:pt x="2873137" y="589445"/>
                  <a:pt x="2879163" y="583418"/>
                </a:cubicBezTo>
                <a:cubicBezTo>
                  <a:pt x="2880669" y="581912"/>
                  <a:pt x="2881799" y="581536"/>
                  <a:pt x="2882741" y="581912"/>
                </a:cubicBezTo>
                <a:close/>
                <a:moveTo>
                  <a:pt x="3232140" y="579027"/>
                </a:moveTo>
                <a:cubicBezTo>
                  <a:pt x="3235130" y="579027"/>
                  <a:pt x="3236625" y="583498"/>
                  <a:pt x="3237371" y="587968"/>
                </a:cubicBezTo>
                <a:lnTo>
                  <a:pt x="3237677" y="591611"/>
                </a:lnTo>
                <a:lnTo>
                  <a:pt x="3226162" y="608829"/>
                </a:lnTo>
                <a:cubicBezTo>
                  <a:pt x="3220183" y="608829"/>
                  <a:pt x="3226162" y="602867"/>
                  <a:pt x="3226162" y="596908"/>
                </a:cubicBezTo>
                <a:cubicBezTo>
                  <a:pt x="3220183" y="602867"/>
                  <a:pt x="3220183" y="608829"/>
                  <a:pt x="3220183" y="614789"/>
                </a:cubicBezTo>
                <a:cubicBezTo>
                  <a:pt x="3214204" y="608829"/>
                  <a:pt x="3208226" y="614789"/>
                  <a:pt x="3220183" y="620749"/>
                </a:cubicBezTo>
                <a:cubicBezTo>
                  <a:pt x="3217193" y="623728"/>
                  <a:pt x="3214204" y="620749"/>
                  <a:pt x="3211962" y="616279"/>
                </a:cubicBezTo>
                <a:lnTo>
                  <a:pt x="3209104" y="606021"/>
                </a:lnTo>
                <a:lnTo>
                  <a:pt x="3214204" y="608829"/>
                </a:lnTo>
                <a:cubicBezTo>
                  <a:pt x="3214204" y="608829"/>
                  <a:pt x="3214204" y="602867"/>
                  <a:pt x="3214204" y="596908"/>
                </a:cubicBezTo>
                <a:cubicBezTo>
                  <a:pt x="3214204" y="596908"/>
                  <a:pt x="3220183" y="596908"/>
                  <a:pt x="3220183" y="590948"/>
                </a:cubicBezTo>
                <a:cubicBezTo>
                  <a:pt x="3220183" y="596908"/>
                  <a:pt x="3238120" y="590948"/>
                  <a:pt x="3232140" y="579027"/>
                </a:cubicBezTo>
                <a:close/>
                <a:moveTo>
                  <a:pt x="4259507" y="577536"/>
                </a:moveTo>
                <a:cubicBezTo>
                  <a:pt x="4259507" y="577536"/>
                  <a:pt x="4253290" y="577536"/>
                  <a:pt x="4253290" y="583993"/>
                </a:cubicBezTo>
                <a:lnTo>
                  <a:pt x="4248256" y="578765"/>
                </a:lnTo>
                <a:close/>
                <a:moveTo>
                  <a:pt x="4247072" y="577536"/>
                </a:moveTo>
                <a:lnTo>
                  <a:pt x="4248256" y="578765"/>
                </a:lnTo>
                <a:lnTo>
                  <a:pt x="4246233" y="578987"/>
                </a:lnTo>
                <a:close/>
                <a:moveTo>
                  <a:pt x="4234637" y="577536"/>
                </a:moveTo>
                <a:cubicBezTo>
                  <a:pt x="4234637" y="583993"/>
                  <a:pt x="4234637" y="583993"/>
                  <a:pt x="4234637" y="590450"/>
                </a:cubicBezTo>
                <a:cubicBezTo>
                  <a:pt x="4237746" y="587221"/>
                  <a:pt x="4240854" y="582379"/>
                  <a:pt x="4244740" y="579150"/>
                </a:cubicBezTo>
                <a:lnTo>
                  <a:pt x="4246233" y="578987"/>
                </a:lnTo>
                <a:lnTo>
                  <a:pt x="4240076" y="589642"/>
                </a:lnTo>
                <a:cubicBezTo>
                  <a:pt x="4236190" y="592064"/>
                  <a:pt x="4231527" y="593679"/>
                  <a:pt x="4228418" y="596908"/>
                </a:cubicBezTo>
                <a:cubicBezTo>
                  <a:pt x="4222199" y="590450"/>
                  <a:pt x="4228418" y="590450"/>
                  <a:pt x="4228418" y="590450"/>
                </a:cubicBezTo>
                <a:cubicBezTo>
                  <a:pt x="4234637" y="590450"/>
                  <a:pt x="4222199" y="590450"/>
                  <a:pt x="4228418" y="583993"/>
                </a:cubicBezTo>
                <a:cubicBezTo>
                  <a:pt x="4228418" y="577536"/>
                  <a:pt x="4234637" y="577536"/>
                  <a:pt x="4234637" y="577536"/>
                </a:cubicBezTo>
                <a:close/>
                <a:moveTo>
                  <a:pt x="3021694" y="576818"/>
                </a:moveTo>
                <a:cubicBezTo>
                  <a:pt x="3034129" y="576818"/>
                  <a:pt x="3009259" y="583275"/>
                  <a:pt x="3027912" y="596190"/>
                </a:cubicBezTo>
                <a:cubicBezTo>
                  <a:pt x="3021694" y="602647"/>
                  <a:pt x="3015475" y="583275"/>
                  <a:pt x="3015475" y="596190"/>
                </a:cubicBezTo>
                <a:cubicBezTo>
                  <a:pt x="3003040" y="596190"/>
                  <a:pt x="3003040" y="589732"/>
                  <a:pt x="2996822" y="596190"/>
                </a:cubicBezTo>
                <a:cubicBezTo>
                  <a:pt x="2996822" y="576818"/>
                  <a:pt x="3021694" y="589732"/>
                  <a:pt x="3021694" y="576818"/>
                </a:cubicBezTo>
                <a:close/>
                <a:moveTo>
                  <a:pt x="2525709" y="576818"/>
                </a:moveTo>
                <a:cubicBezTo>
                  <a:pt x="2531688" y="582968"/>
                  <a:pt x="2531688" y="582968"/>
                  <a:pt x="2537666" y="601416"/>
                </a:cubicBezTo>
                <a:cubicBezTo>
                  <a:pt x="2531688" y="595268"/>
                  <a:pt x="2495815" y="601416"/>
                  <a:pt x="2489838" y="619865"/>
                </a:cubicBezTo>
                <a:cubicBezTo>
                  <a:pt x="2483857" y="619865"/>
                  <a:pt x="2477879" y="613715"/>
                  <a:pt x="2465921" y="619865"/>
                </a:cubicBezTo>
                <a:cubicBezTo>
                  <a:pt x="2477879" y="595268"/>
                  <a:pt x="2513751" y="601416"/>
                  <a:pt x="2525709" y="576818"/>
                </a:cubicBezTo>
                <a:close/>
                <a:moveTo>
                  <a:pt x="3105297" y="576370"/>
                </a:moveTo>
                <a:lnTo>
                  <a:pt x="3111105" y="577059"/>
                </a:lnTo>
                <a:lnTo>
                  <a:pt x="3105873" y="577894"/>
                </a:lnTo>
                <a:cubicBezTo>
                  <a:pt x="3099723" y="583993"/>
                  <a:pt x="3099723" y="583993"/>
                  <a:pt x="3099723" y="590090"/>
                </a:cubicBezTo>
                <a:cubicBezTo>
                  <a:pt x="3087424" y="590090"/>
                  <a:pt x="3075126" y="602287"/>
                  <a:pt x="3068976" y="608386"/>
                </a:cubicBezTo>
                <a:cubicBezTo>
                  <a:pt x="3062827" y="596190"/>
                  <a:pt x="3081276" y="602287"/>
                  <a:pt x="3068976" y="590090"/>
                </a:cubicBezTo>
                <a:cubicBezTo>
                  <a:pt x="3082813" y="599239"/>
                  <a:pt x="3093189" y="580943"/>
                  <a:pt x="3105297" y="576370"/>
                </a:cubicBezTo>
                <a:close/>
                <a:moveTo>
                  <a:pt x="3119250" y="575755"/>
                </a:moveTo>
                <a:lnTo>
                  <a:pt x="3118171" y="577894"/>
                </a:lnTo>
                <a:lnTo>
                  <a:pt x="3111105" y="577059"/>
                </a:lnTo>
                <a:close/>
                <a:moveTo>
                  <a:pt x="2310954" y="571625"/>
                </a:moveTo>
                <a:cubicBezTo>
                  <a:pt x="2304929" y="577639"/>
                  <a:pt x="2310954" y="583651"/>
                  <a:pt x="2304929" y="589664"/>
                </a:cubicBezTo>
                <a:cubicBezTo>
                  <a:pt x="2304929" y="577639"/>
                  <a:pt x="2298902" y="583651"/>
                  <a:pt x="2292875" y="583651"/>
                </a:cubicBezTo>
                <a:cubicBezTo>
                  <a:pt x="2292875" y="577639"/>
                  <a:pt x="2304929" y="577639"/>
                  <a:pt x="2310954" y="571625"/>
                </a:cubicBezTo>
                <a:close/>
                <a:moveTo>
                  <a:pt x="3388678" y="568995"/>
                </a:moveTo>
                <a:cubicBezTo>
                  <a:pt x="3390360" y="572070"/>
                  <a:pt x="3393722" y="587726"/>
                  <a:pt x="3393722" y="583252"/>
                </a:cubicBezTo>
                <a:cubicBezTo>
                  <a:pt x="3399700" y="577288"/>
                  <a:pt x="3387744" y="577288"/>
                  <a:pt x="3393722" y="571325"/>
                </a:cubicBezTo>
                <a:cubicBezTo>
                  <a:pt x="3399700" y="571325"/>
                  <a:pt x="3399700" y="583252"/>
                  <a:pt x="3405678" y="583252"/>
                </a:cubicBezTo>
                <a:cubicBezTo>
                  <a:pt x="3399700" y="583252"/>
                  <a:pt x="3393722" y="589215"/>
                  <a:pt x="3393722" y="595181"/>
                </a:cubicBezTo>
                <a:cubicBezTo>
                  <a:pt x="3393722" y="601144"/>
                  <a:pt x="3381766" y="589215"/>
                  <a:pt x="3387744" y="601144"/>
                </a:cubicBezTo>
                <a:cubicBezTo>
                  <a:pt x="3369809" y="589215"/>
                  <a:pt x="3351877" y="625001"/>
                  <a:pt x="3351877" y="613072"/>
                </a:cubicBezTo>
                <a:cubicBezTo>
                  <a:pt x="3339921" y="613072"/>
                  <a:pt x="3339921" y="619037"/>
                  <a:pt x="3345899" y="625001"/>
                </a:cubicBezTo>
                <a:cubicBezTo>
                  <a:pt x="3333943" y="619037"/>
                  <a:pt x="3327965" y="625001"/>
                  <a:pt x="3333943" y="636928"/>
                </a:cubicBezTo>
                <a:cubicBezTo>
                  <a:pt x="3321987" y="636928"/>
                  <a:pt x="3333943" y="625001"/>
                  <a:pt x="3327965" y="625001"/>
                </a:cubicBezTo>
                <a:cubicBezTo>
                  <a:pt x="3321987" y="630965"/>
                  <a:pt x="3316009" y="630965"/>
                  <a:pt x="3310031" y="636928"/>
                </a:cubicBezTo>
                <a:cubicBezTo>
                  <a:pt x="3310031" y="636928"/>
                  <a:pt x="3310031" y="630965"/>
                  <a:pt x="3304052" y="625001"/>
                </a:cubicBezTo>
                <a:cubicBezTo>
                  <a:pt x="3304052" y="625001"/>
                  <a:pt x="3304052" y="630965"/>
                  <a:pt x="3298074" y="630965"/>
                </a:cubicBezTo>
                <a:cubicBezTo>
                  <a:pt x="3316009" y="636928"/>
                  <a:pt x="3274162" y="642892"/>
                  <a:pt x="3286118" y="648857"/>
                </a:cubicBezTo>
                <a:cubicBezTo>
                  <a:pt x="3286118" y="660784"/>
                  <a:pt x="3268184" y="642892"/>
                  <a:pt x="3274162" y="660784"/>
                </a:cubicBezTo>
                <a:cubicBezTo>
                  <a:pt x="3268184" y="654821"/>
                  <a:pt x="3274162" y="648857"/>
                  <a:pt x="3262206" y="642892"/>
                </a:cubicBezTo>
                <a:lnTo>
                  <a:pt x="3256479" y="643654"/>
                </a:lnTo>
                <a:lnTo>
                  <a:pt x="3256321" y="643545"/>
                </a:lnTo>
                <a:cubicBezTo>
                  <a:pt x="3253238" y="637674"/>
                  <a:pt x="3257722" y="617545"/>
                  <a:pt x="3262206" y="630965"/>
                </a:cubicBezTo>
                <a:cubicBezTo>
                  <a:pt x="3256227" y="636928"/>
                  <a:pt x="3268184" y="636928"/>
                  <a:pt x="3274162" y="636928"/>
                </a:cubicBezTo>
                <a:cubicBezTo>
                  <a:pt x="3274162" y="625001"/>
                  <a:pt x="3268184" y="625001"/>
                  <a:pt x="3268184" y="613072"/>
                </a:cubicBezTo>
                <a:cubicBezTo>
                  <a:pt x="3269679" y="619037"/>
                  <a:pt x="3272667" y="622391"/>
                  <a:pt x="3276591" y="623882"/>
                </a:cubicBezTo>
                <a:lnTo>
                  <a:pt x="3279746" y="623799"/>
                </a:lnTo>
                <a:lnTo>
                  <a:pt x="3281105" y="614124"/>
                </a:lnTo>
                <a:cubicBezTo>
                  <a:pt x="3285949" y="611253"/>
                  <a:pt x="3292406" y="611253"/>
                  <a:pt x="3292406" y="619864"/>
                </a:cubicBezTo>
                <a:cubicBezTo>
                  <a:pt x="3289177" y="619864"/>
                  <a:pt x="3285949" y="618428"/>
                  <a:pt x="3283527" y="618428"/>
                </a:cubicBezTo>
                <a:lnTo>
                  <a:pt x="3280518" y="623777"/>
                </a:lnTo>
                <a:lnTo>
                  <a:pt x="3290601" y="623510"/>
                </a:lnTo>
                <a:cubicBezTo>
                  <a:pt x="3301064" y="620527"/>
                  <a:pt x="3313020" y="613072"/>
                  <a:pt x="3321987" y="607108"/>
                </a:cubicBezTo>
                <a:cubicBezTo>
                  <a:pt x="3327965" y="613072"/>
                  <a:pt x="3327965" y="595181"/>
                  <a:pt x="3333943" y="607108"/>
                </a:cubicBezTo>
                <a:cubicBezTo>
                  <a:pt x="3339921" y="601144"/>
                  <a:pt x="3339921" y="595181"/>
                  <a:pt x="3345899" y="595181"/>
                </a:cubicBezTo>
                <a:cubicBezTo>
                  <a:pt x="3345899" y="595181"/>
                  <a:pt x="3351877" y="601144"/>
                  <a:pt x="3351877" y="601144"/>
                </a:cubicBezTo>
                <a:cubicBezTo>
                  <a:pt x="3351877" y="583252"/>
                  <a:pt x="3369809" y="595181"/>
                  <a:pt x="3369809" y="577288"/>
                </a:cubicBezTo>
                <a:cubicBezTo>
                  <a:pt x="3375787" y="577288"/>
                  <a:pt x="3369809" y="583252"/>
                  <a:pt x="3375787" y="589215"/>
                </a:cubicBezTo>
                <a:cubicBezTo>
                  <a:pt x="3381766" y="583252"/>
                  <a:pt x="3375787" y="577288"/>
                  <a:pt x="3375787" y="571325"/>
                </a:cubicBezTo>
                <a:cubicBezTo>
                  <a:pt x="3381766" y="571325"/>
                  <a:pt x="3375787" y="589215"/>
                  <a:pt x="3381766" y="577288"/>
                </a:cubicBezTo>
                <a:lnTo>
                  <a:pt x="3387744" y="582656"/>
                </a:lnTo>
                <a:lnTo>
                  <a:pt x="3387744" y="595181"/>
                </a:lnTo>
                <a:cubicBezTo>
                  <a:pt x="3387744" y="592198"/>
                  <a:pt x="3389239" y="587726"/>
                  <a:pt x="3389239" y="583999"/>
                </a:cubicBezTo>
                <a:lnTo>
                  <a:pt x="3387744" y="582656"/>
                </a:lnTo>
                <a:lnTo>
                  <a:pt x="3387744" y="571325"/>
                </a:lnTo>
                <a:cubicBezTo>
                  <a:pt x="3387744" y="568342"/>
                  <a:pt x="3388118" y="567970"/>
                  <a:pt x="3388678" y="568995"/>
                </a:cubicBezTo>
                <a:close/>
                <a:moveTo>
                  <a:pt x="3475512" y="568525"/>
                </a:moveTo>
                <a:lnTo>
                  <a:pt x="3475453" y="568808"/>
                </a:lnTo>
                <a:lnTo>
                  <a:pt x="3475264" y="568937"/>
                </a:lnTo>
                <a:close/>
                <a:moveTo>
                  <a:pt x="2682340" y="565361"/>
                </a:moveTo>
                <a:lnTo>
                  <a:pt x="2682664" y="566153"/>
                </a:lnTo>
                <a:lnTo>
                  <a:pt x="2682340" y="571325"/>
                </a:lnTo>
                <a:cubicBezTo>
                  <a:pt x="2682340" y="571325"/>
                  <a:pt x="2682340" y="565361"/>
                  <a:pt x="2682340" y="565361"/>
                </a:cubicBezTo>
                <a:close/>
                <a:moveTo>
                  <a:pt x="2933400" y="565339"/>
                </a:moveTo>
                <a:cubicBezTo>
                  <a:pt x="2939427" y="565339"/>
                  <a:pt x="2933400" y="577393"/>
                  <a:pt x="2939427" y="583418"/>
                </a:cubicBezTo>
                <a:cubicBezTo>
                  <a:pt x="2933400" y="583418"/>
                  <a:pt x="2909294" y="583418"/>
                  <a:pt x="2909294" y="601499"/>
                </a:cubicBezTo>
                <a:cubicBezTo>
                  <a:pt x="2903269" y="601499"/>
                  <a:pt x="2897242" y="595472"/>
                  <a:pt x="2897242" y="601499"/>
                </a:cubicBezTo>
                <a:cubicBezTo>
                  <a:pt x="2897242" y="607526"/>
                  <a:pt x="2897242" y="595472"/>
                  <a:pt x="2891215" y="595472"/>
                </a:cubicBezTo>
                <a:cubicBezTo>
                  <a:pt x="2897242" y="589445"/>
                  <a:pt x="2897242" y="589445"/>
                  <a:pt x="2903269" y="595472"/>
                </a:cubicBezTo>
                <a:cubicBezTo>
                  <a:pt x="2903269" y="589445"/>
                  <a:pt x="2897242" y="577393"/>
                  <a:pt x="2909294" y="571366"/>
                </a:cubicBezTo>
                <a:cubicBezTo>
                  <a:pt x="2909294" y="577393"/>
                  <a:pt x="2909294" y="583418"/>
                  <a:pt x="2903269" y="583418"/>
                </a:cubicBezTo>
                <a:cubicBezTo>
                  <a:pt x="2909294" y="589445"/>
                  <a:pt x="2921348" y="577393"/>
                  <a:pt x="2915321" y="571366"/>
                </a:cubicBezTo>
                <a:cubicBezTo>
                  <a:pt x="2921348" y="571366"/>
                  <a:pt x="2921348" y="577393"/>
                  <a:pt x="2921348" y="583418"/>
                </a:cubicBezTo>
                <a:cubicBezTo>
                  <a:pt x="2927375" y="589445"/>
                  <a:pt x="2933400" y="571366"/>
                  <a:pt x="2933400" y="565339"/>
                </a:cubicBezTo>
                <a:close/>
                <a:moveTo>
                  <a:pt x="2646714" y="565339"/>
                </a:moveTo>
                <a:cubicBezTo>
                  <a:pt x="2652453" y="565339"/>
                  <a:pt x="2652453" y="565339"/>
                  <a:pt x="2658193" y="565339"/>
                </a:cubicBezTo>
                <a:cubicBezTo>
                  <a:pt x="2658193" y="565339"/>
                  <a:pt x="2658193" y="565339"/>
                  <a:pt x="2658193" y="571079"/>
                </a:cubicBezTo>
                <a:cubicBezTo>
                  <a:pt x="2658193" y="571079"/>
                  <a:pt x="2652453" y="571079"/>
                  <a:pt x="2652453" y="576818"/>
                </a:cubicBezTo>
                <a:cubicBezTo>
                  <a:pt x="2652453" y="565339"/>
                  <a:pt x="2646714" y="571079"/>
                  <a:pt x="2646714" y="565339"/>
                </a:cubicBezTo>
                <a:close/>
                <a:moveTo>
                  <a:pt x="2560622" y="565339"/>
                </a:moveTo>
                <a:cubicBezTo>
                  <a:pt x="2566361" y="571654"/>
                  <a:pt x="2566361" y="571654"/>
                  <a:pt x="2566361" y="571654"/>
                </a:cubicBezTo>
                <a:cubicBezTo>
                  <a:pt x="2566361" y="577966"/>
                  <a:pt x="2554882" y="584281"/>
                  <a:pt x="2554882" y="584281"/>
                </a:cubicBezTo>
                <a:cubicBezTo>
                  <a:pt x="2554882" y="584281"/>
                  <a:pt x="2554882" y="584281"/>
                  <a:pt x="2560622" y="584281"/>
                </a:cubicBezTo>
                <a:cubicBezTo>
                  <a:pt x="2560622" y="596908"/>
                  <a:pt x="2549143" y="590593"/>
                  <a:pt x="2543403" y="596908"/>
                </a:cubicBezTo>
                <a:cubicBezTo>
                  <a:pt x="2549143" y="584281"/>
                  <a:pt x="2549143" y="596908"/>
                  <a:pt x="2537664" y="584281"/>
                </a:cubicBezTo>
                <a:cubicBezTo>
                  <a:pt x="2549143" y="571654"/>
                  <a:pt x="2549143" y="571654"/>
                  <a:pt x="2560622" y="565339"/>
                </a:cubicBezTo>
                <a:close/>
                <a:moveTo>
                  <a:pt x="2463857" y="563272"/>
                </a:moveTo>
                <a:cubicBezTo>
                  <a:pt x="2467355" y="563367"/>
                  <a:pt x="2470225" y="564120"/>
                  <a:pt x="2471659" y="565627"/>
                </a:cubicBezTo>
                <a:cubicBezTo>
                  <a:pt x="2465920" y="571654"/>
                  <a:pt x="2471659" y="583706"/>
                  <a:pt x="2477399" y="583706"/>
                </a:cubicBezTo>
                <a:cubicBezTo>
                  <a:pt x="2483138" y="583706"/>
                  <a:pt x="2488877" y="577679"/>
                  <a:pt x="2494617" y="589732"/>
                </a:cubicBezTo>
                <a:cubicBezTo>
                  <a:pt x="2483138" y="589732"/>
                  <a:pt x="2465920" y="589732"/>
                  <a:pt x="2471659" y="607811"/>
                </a:cubicBezTo>
                <a:cubicBezTo>
                  <a:pt x="2460181" y="589732"/>
                  <a:pt x="2442962" y="619865"/>
                  <a:pt x="2431483" y="607811"/>
                </a:cubicBezTo>
                <a:cubicBezTo>
                  <a:pt x="2431483" y="595759"/>
                  <a:pt x="2437222" y="601786"/>
                  <a:pt x="2442962" y="595759"/>
                </a:cubicBezTo>
                <a:cubicBezTo>
                  <a:pt x="2442962" y="601786"/>
                  <a:pt x="2448701" y="601786"/>
                  <a:pt x="2448701" y="601786"/>
                </a:cubicBezTo>
                <a:cubicBezTo>
                  <a:pt x="2454441" y="595759"/>
                  <a:pt x="2454441" y="577679"/>
                  <a:pt x="2448701" y="571654"/>
                </a:cubicBezTo>
                <a:cubicBezTo>
                  <a:pt x="2442962" y="577679"/>
                  <a:pt x="2442962" y="577679"/>
                  <a:pt x="2437222" y="577679"/>
                </a:cubicBezTo>
                <a:cubicBezTo>
                  <a:pt x="2437222" y="571654"/>
                  <a:pt x="2444397" y="567133"/>
                  <a:pt x="2452287" y="564873"/>
                </a:cubicBezTo>
                <a:cubicBezTo>
                  <a:pt x="2456234" y="563743"/>
                  <a:pt x="2460360" y="563178"/>
                  <a:pt x="2463857" y="563272"/>
                </a:cubicBezTo>
                <a:close/>
                <a:moveTo>
                  <a:pt x="2888912" y="561691"/>
                </a:moveTo>
                <a:lnTo>
                  <a:pt x="2891688" y="565339"/>
                </a:lnTo>
                <a:cubicBezTo>
                  <a:pt x="2885686" y="565339"/>
                  <a:pt x="2885686" y="576818"/>
                  <a:pt x="2885686" y="565339"/>
                </a:cubicBezTo>
                <a:close/>
                <a:moveTo>
                  <a:pt x="3065696" y="561304"/>
                </a:moveTo>
                <a:cubicBezTo>
                  <a:pt x="3067489" y="561394"/>
                  <a:pt x="3068566" y="562469"/>
                  <a:pt x="3068566" y="565339"/>
                </a:cubicBezTo>
                <a:cubicBezTo>
                  <a:pt x="3057087" y="571079"/>
                  <a:pt x="3045608" y="571079"/>
                  <a:pt x="3028390" y="576818"/>
                </a:cubicBezTo>
                <a:cubicBezTo>
                  <a:pt x="3028390" y="571079"/>
                  <a:pt x="3045608" y="571079"/>
                  <a:pt x="3039868" y="565339"/>
                </a:cubicBezTo>
                <a:cubicBezTo>
                  <a:pt x="3045608" y="568208"/>
                  <a:pt x="3052783" y="565339"/>
                  <a:pt x="3058523" y="563186"/>
                </a:cubicBezTo>
                <a:cubicBezTo>
                  <a:pt x="3061392" y="562111"/>
                  <a:pt x="3063903" y="561214"/>
                  <a:pt x="3065696" y="561304"/>
                </a:cubicBezTo>
                <a:close/>
                <a:moveTo>
                  <a:pt x="3162661" y="560041"/>
                </a:moveTo>
                <a:lnTo>
                  <a:pt x="3159680" y="565339"/>
                </a:lnTo>
                <a:cubicBezTo>
                  <a:pt x="3159680" y="562469"/>
                  <a:pt x="3159680" y="561035"/>
                  <a:pt x="3160487" y="560317"/>
                </a:cubicBezTo>
                <a:close/>
                <a:moveTo>
                  <a:pt x="4606745" y="559600"/>
                </a:moveTo>
                <a:cubicBezTo>
                  <a:pt x="4600432" y="571079"/>
                  <a:pt x="4587803" y="571079"/>
                  <a:pt x="4575176" y="576818"/>
                </a:cubicBezTo>
                <a:cubicBezTo>
                  <a:pt x="4581491" y="565339"/>
                  <a:pt x="4600432" y="565339"/>
                  <a:pt x="4606745" y="559600"/>
                </a:cubicBezTo>
                <a:close/>
                <a:moveTo>
                  <a:pt x="3166137" y="559600"/>
                </a:moveTo>
                <a:lnTo>
                  <a:pt x="3162661" y="560041"/>
                </a:lnTo>
                <a:lnTo>
                  <a:pt x="3162769" y="559849"/>
                </a:lnTo>
                <a:close/>
                <a:moveTo>
                  <a:pt x="2646358" y="559600"/>
                </a:moveTo>
                <a:cubicBezTo>
                  <a:pt x="2640258" y="571717"/>
                  <a:pt x="2640258" y="583834"/>
                  <a:pt x="2652455" y="583834"/>
                </a:cubicBezTo>
                <a:cubicBezTo>
                  <a:pt x="2652455" y="589892"/>
                  <a:pt x="2640258" y="589892"/>
                  <a:pt x="2640258" y="595951"/>
                </a:cubicBezTo>
                <a:cubicBezTo>
                  <a:pt x="2646358" y="602009"/>
                  <a:pt x="2646358" y="583834"/>
                  <a:pt x="2646358" y="595951"/>
                </a:cubicBezTo>
                <a:cubicBezTo>
                  <a:pt x="2646358" y="602009"/>
                  <a:pt x="2640258" y="602009"/>
                  <a:pt x="2634161" y="602009"/>
                </a:cubicBezTo>
                <a:cubicBezTo>
                  <a:pt x="2640258" y="589892"/>
                  <a:pt x="2628062" y="589892"/>
                  <a:pt x="2621964" y="602009"/>
                </a:cubicBezTo>
                <a:lnTo>
                  <a:pt x="2634161" y="602009"/>
                </a:lnTo>
                <a:lnTo>
                  <a:pt x="2646358" y="602009"/>
                </a:lnTo>
                <a:cubicBezTo>
                  <a:pt x="2646358" y="608066"/>
                  <a:pt x="2640258" y="608066"/>
                  <a:pt x="2628062" y="614126"/>
                </a:cubicBezTo>
                <a:cubicBezTo>
                  <a:pt x="2628062" y="608066"/>
                  <a:pt x="2603669" y="589892"/>
                  <a:pt x="2628062" y="583834"/>
                </a:cubicBezTo>
                <a:cubicBezTo>
                  <a:pt x="2628062" y="583834"/>
                  <a:pt x="2628062" y="589892"/>
                  <a:pt x="2628062" y="589892"/>
                </a:cubicBezTo>
                <a:cubicBezTo>
                  <a:pt x="2634161" y="589892"/>
                  <a:pt x="2628062" y="577775"/>
                  <a:pt x="2640258" y="577775"/>
                </a:cubicBezTo>
                <a:cubicBezTo>
                  <a:pt x="2640258" y="571717"/>
                  <a:pt x="2634161" y="577775"/>
                  <a:pt x="2634161" y="571717"/>
                </a:cubicBezTo>
                <a:cubicBezTo>
                  <a:pt x="2628062" y="571717"/>
                  <a:pt x="2615865" y="571717"/>
                  <a:pt x="2615865" y="577775"/>
                </a:cubicBezTo>
                <a:cubicBezTo>
                  <a:pt x="2609768" y="571717"/>
                  <a:pt x="2640258" y="565658"/>
                  <a:pt x="2646358" y="559600"/>
                </a:cubicBezTo>
                <a:close/>
                <a:moveTo>
                  <a:pt x="2531925" y="559600"/>
                </a:moveTo>
                <a:cubicBezTo>
                  <a:pt x="2537664" y="559600"/>
                  <a:pt x="2537664" y="559600"/>
                  <a:pt x="2543403" y="559600"/>
                </a:cubicBezTo>
                <a:cubicBezTo>
                  <a:pt x="2543403" y="571079"/>
                  <a:pt x="2526185" y="576818"/>
                  <a:pt x="2520445" y="571079"/>
                </a:cubicBezTo>
                <a:cubicBezTo>
                  <a:pt x="2520445" y="565339"/>
                  <a:pt x="2537664" y="565339"/>
                  <a:pt x="2531925" y="559600"/>
                </a:cubicBezTo>
                <a:close/>
                <a:moveTo>
                  <a:pt x="2333914" y="559600"/>
                </a:moveTo>
                <a:cubicBezTo>
                  <a:pt x="2333914" y="571079"/>
                  <a:pt x="2322435" y="565339"/>
                  <a:pt x="2322435" y="576818"/>
                </a:cubicBezTo>
                <a:cubicBezTo>
                  <a:pt x="2316695" y="576818"/>
                  <a:pt x="2316695" y="571079"/>
                  <a:pt x="2310956" y="571079"/>
                </a:cubicBezTo>
                <a:cubicBezTo>
                  <a:pt x="2310956" y="565339"/>
                  <a:pt x="2328174" y="565339"/>
                  <a:pt x="2333914" y="559600"/>
                </a:cubicBezTo>
                <a:close/>
                <a:moveTo>
                  <a:pt x="3477415" y="559396"/>
                </a:moveTo>
                <a:cubicBezTo>
                  <a:pt x="3478909" y="560887"/>
                  <a:pt x="3478909" y="562378"/>
                  <a:pt x="3478255" y="563963"/>
                </a:cubicBezTo>
                <a:lnTo>
                  <a:pt x="3475512" y="568525"/>
                </a:lnTo>
                <a:close/>
                <a:moveTo>
                  <a:pt x="3166137" y="553860"/>
                </a:moveTo>
                <a:lnTo>
                  <a:pt x="3162769" y="559849"/>
                </a:lnTo>
                <a:lnTo>
                  <a:pt x="3156451" y="560317"/>
                </a:lnTo>
                <a:lnTo>
                  <a:pt x="3147465" y="564977"/>
                </a:lnTo>
                <a:lnTo>
                  <a:pt x="3148919" y="565697"/>
                </a:lnTo>
                <a:cubicBezTo>
                  <a:pt x="3142769" y="565697"/>
                  <a:pt x="3136621" y="570273"/>
                  <a:pt x="3129703" y="574083"/>
                </a:cubicBezTo>
                <a:lnTo>
                  <a:pt x="3119250" y="575755"/>
                </a:lnTo>
                <a:lnTo>
                  <a:pt x="3122014" y="570273"/>
                </a:lnTo>
                <a:cubicBezTo>
                  <a:pt x="3124321" y="567223"/>
                  <a:pt x="3127396" y="565697"/>
                  <a:pt x="3130471" y="571797"/>
                </a:cubicBezTo>
                <a:cubicBezTo>
                  <a:pt x="3130471" y="559600"/>
                  <a:pt x="3136621" y="571797"/>
                  <a:pt x="3136621" y="559600"/>
                </a:cubicBezTo>
                <a:lnTo>
                  <a:pt x="3147042" y="564768"/>
                </a:lnTo>
                <a:lnTo>
                  <a:pt x="3151608" y="555296"/>
                </a:lnTo>
                <a:cubicBezTo>
                  <a:pt x="3156451" y="553860"/>
                  <a:pt x="3162908" y="553860"/>
                  <a:pt x="3166137" y="553860"/>
                </a:cubicBezTo>
                <a:close/>
                <a:moveTo>
                  <a:pt x="2945167" y="553860"/>
                </a:moveTo>
                <a:cubicBezTo>
                  <a:pt x="2950906" y="559600"/>
                  <a:pt x="2950906" y="565339"/>
                  <a:pt x="2956645" y="571079"/>
                </a:cubicBezTo>
                <a:cubicBezTo>
                  <a:pt x="2945167" y="576818"/>
                  <a:pt x="2950906" y="565339"/>
                  <a:pt x="2945167" y="553860"/>
                </a:cubicBezTo>
                <a:close/>
                <a:moveTo>
                  <a:pt x="2592190" y="553860"/>
                </a:moveTo>
                <a:cubicBezTo>
                  <a:pt x="2592190" y="565339"/>
                  <a:pt x="2579275" y="571079"/>
                  <a:pt x="2566361" y="565339"/>
                </a:cubicBezTo>
                <a:cubicBezTo>
                  <a:pt x="2579275" y="553860"/>
                  <a:pt x="2579275" y="565339"/>
                  <a:pt x="2592190" y="553860"/>
                </a:cubicBezTo>
                <a:close/>
                <a:moveTo>
                  <a:pt x="3351712" y="549225"/>
                </a:moveTo>
                <a:cubicBezTo>
                  <a:pt x="3351712" y="549225"/>
                  <a:pt x="3350220" y="550717"/>
                  <a:pt x="3347976" y="551462"/>
                </a:cubicBezTo>
                <a:lnTo>
                  <a:pt x="3346333" y="551013"/>
                </a:lnTo>
                <a:close/>
                <a:moveTo>
                  <a:pt x="3339757" y="549225"/>
                </a:moveTo>
                <a:lnTo>
                  <a:pt x="3346333" y="551013"/>
                </a:lnTo>
                <a:lnTo>
                  <a:pt x="3333776" y="555185"/>
                </a:lnTo>
                <a:cubicBezTo>
                  <a:pt x="3327798" y="555185"/>
                  <a:pt x="3339757" y="555185"/>
                  <a:pt x="3339757" y="549225"/>
                </a:cubicBezTo>
                <a:close/>
                <a:moveTo>
                  <a:pt x="4635440" y="548121"/>
                </a:moveTo>
                <a:cubicBezTo>
                  <a:pt x="4635440" y="559600"/>
                  <a:pt x="4623960" y="559600"/>
                  <a:pt x="4618221" y="559600"/>
                </a:cubicBezTo>
                <a:cubicBezTo>
                  <a:pt x="4623960" y="553860"/>
                  <a:pt x="4629701" y="559600"/>
                  <a:pt x="4635440" y="548121"/>
                </a:cubicBezTo>
                <a:close/>
                <a:moveTo>
                  <a:pt x="2566361" y="548121"/>
                </a:moveTo>
                <a:cubicBezTo>
                  <a:pt x="2560622" y="559600"/>
                  <a:pt x="2554882" y="565339"/>
                  <a:pt x="2543403" y="559600"/>
                </a:cubicBezTo>
                <a:cubicBezTo>
                  <a:pt x="2549143" y="548121"/>
                  <a:pt x="2560622" y="553860"/>
                  <a:pt x="2566361" y="548121"/>
                </a:cubicBezTo>
                <a:close/>
                <a:moveTo>
                  <a:pt x="3352461" y="546991"/>
                </a:moveTo>
                <a:cubicBezTo>
                  <a:pt x="3353207" y="547736"/>
                  <a:pt x="3354703" y="549225"/>
                  <a:pt x="3357693" y="549225"/>
                </a:cubicBezTo>
                <a:lnTo>
                  <a:pt x="3351712" y="549225"/>
                </a:lnTo>
                <a:cubicBezTo>
                  <a:pt x="3351712" y="546246"/>
                  <a:pt x="3351712" y="546246"/>
                  <a:pt x="3352461" y="546991"/>
                </a:cubicBezTo>
                <a:close/>
                <a:moveTo>
                  <a:pt x="3031479" y="546686"/>
                </a:moveTo>
                <a:cubicBezTo>
                  <a:pt x="3033751" y="547762"/>
                  <a:pt x="3032615" y="555295"/>
                  <a:pt x="3028072" y="559600"/>
                </a:cubicBezTo>
                <a:cubicBezTo>
                  <a:pt x="3028072" y="553860"/>
                  <a:pt x="3022012" y="553860"/>
                  <a:pt x="3022012" y="553860"/>
                </a:cubicBezTo>
                <a:cubicBezTo>
                  <a:pt x="3028072" y="559600"/>
                  <a:pt x="3009895" y="553860"/>
                  <a:pt x="3009895" y="571079"/>
                </a:cubicBezTo>
                <a:cubicBezTo>
                  <a:pt x="2997780" y="565339"/>
                  <a:pt x="2991720" y="559600"/>
                  <a:pt x="2985663" y="576818"/>
                </a:cubicBezTo>
                <a:cubicBezTo>
                  <a:pt x="2979603" y="565339"/>
                  <a:pt x="2991720" y="565339"/>
                  <a:pt x="2991720" y="559600"/>
                </a:cubicBezTo>
                <a:cubicBezTo>
                  <a:pt x="3003837" y="553860"/>
                  <a:pt x="3003837" y="565339"/>
                  <a:pt x="3009895" y="559600"/>
                </a:cubicBezTo>
                <a:cubicBezTo>
                  <a:pt x="2997780" y="559600"/>
                  <a:pt x="3028072" y="548121"/>
                  <a:pt x="3028072" y="548121"/>
                </a:cubicBezTo>
                <a:cubicBezTo>
                  <a:pt x="3029586" y="546686"/>
                  <a:pt x="3030721" y="546328"/>
                  <a:pt x="3031479" y="546686"/>
                </a:cubicBezTo>
                <a:close/>
                <a:moveTo>
                  <a:pt x="2976106" y="546595"/>
                </a:moveTo>
                <a:cubicBezTo>
                  <a:pt x="2977092" y="547403"/>
                  <a:pt x="2976734" y="549555"/>
                  <a:pt x="2973864" y="553860"/>
                </a:cubicBezTo>
                <a:cubicBezTo>
                  <a:pt x="2973864" y="559600"/>
                  <a:pt x="2979603" y="548121"/>
                  <a:pt x="2985343" y="548121"/>
                </a:cubicBezTo>
                <a:cubicBezTo>
                  <a:pt x="2991083" y="553860"/>
                  <a:pt x="2979603" y="553860"/>
                  <a:pt x="2985343" y="559600"/>
                </a:cubicBezTo>
                <a:cubicBezTo>
                  <a:pt x="2973864" y="559600"/>
                  <a:pt x="2968124" y="571079"/>
                  <a:pt x="2962385" y="565339"/>
                </a:cubicBezTo>
                <a:cubicBezTo>
                  <a:pt x="2956645" y="553860"/>
                  <a:pt x="2968124" y="565339"/>
                  <a:pt x="2973864" y="559600"/>
                </a:cubicBezTo>
                <a:cubicBezTo>
                  <a:pt x="2973864" y="553860"/>
                  <a:pt x="2968124" y="553860"/>
                  <a:pt x="2962385" y="553860"/>
                </a:cubicBezTo>
                <a:cubicBezTo>
                  <a:pt x="2959516" y="553860"/>
                  <a:pt x="2965256" y="549556"/>
                  <a:pt x="2970277" y="547403"/>
                </a:cubicBezTo>
                <a:cubicBezTo>
                  <a:pt x="2972788" y="546327"/>
                  <a:pt x="2975120" y="545789"/>
                  <a:pt x="2976106" y="546595"/>
                </a:cubicBezTo>
                <a:close/>
                <a:moveTo>
                  <a:pt x="4959721" y="542382"/>
                </a:moveTo>
                <a:cubicBezTo>
                  <a:pt x="4965461" y="542382"/>
                  <a:pt x="4965461" y="542382"/>
                  <a:pt x="4971200" y="548121"/>
                </a:cubicBezTo>
                <a:cubicBezTo>
                  <a:pt x="4965461" y="548121"/>
                  <a:pt x="4959721" y="553860"/>
                  <a:pt x="4959721" y="542382"/>
                </a:cubicBezTo>
                <a:close/>
                <a:moveTo>
                  <a:pt x="2465921" y="542382"/>
                </a:moveTo>
                <a:cubicBezTo>
                  <a:pt x="2465921" y="548121"/>
                  <a:pt x="2460182" y="553860"/>
                  <a:pt x="2454443" y="559600"/>
                </a:cubicBezTo>
                <a:cubicBezTo>
                  <a:pt x="2454443" y="553860"/>
                  <a:pt x="2448703" y="553860"/>
                  <a:pt x="2448703" y="553860"/>
                </a:cubicBezTo>
                <a:cubicBezTo>
                  <a:pt x="2448703" y="542382"/>
                  <a:pt x="2460182" y="553860"/>
                  <a:pt x="2465921" y="542382"/>
                </a:cubicBezTo>
                <a:close/>
                <a:moveTo>
                  <a:pt x="3435569" y="541504"/>
                </a:moveTo>
                <a:cubicBezTo>
                  <a:pt x="3441547" y="547468"/>
                  <a:pt x="3447525" y="547468"/>
                  <a:pt x="3453503" y="553432"/>
                </a:cubicBezTo>
                <a:cubicBezTo>
                  <a:pt x="3441547" y="553432"/>
                  <a:pt x="3453503" y="559396"/>
                  <a:pt x="3447525" y="559396"/>
                </a:cubicBezTo>
                <a:cubicBezTo>
                  <a:pt x="3441547" y="553432"/>
                  <a:pt x="3435569" y="553432"/>
                  <a:pt x="3435569" y="541504"/>
                </a:cubicBezTo>
                <a:close/>
                <a:moveTo>
                  <a:pt x="2873636" y="541504"/>
                </a:moveTo>
                <a:lnTo>
                  <a:pt x="2873636" y="559274"/>
                </a:lnTo>
                <a:lnTo>
                  <a:pt x="2873558" y="559384"/>
                </a:lnTo>
                <a:lnTo>
                  <a:pt x="2868405" y="558650"/>
                </a:lnTo>
                <a:cubicBezTo>
                  <a:pt x="2867658" y="557905"/>
                  <a:pt x="2867658" y="556414"/>
                  <a:pt x="2867658" y="553432"/>
                </a:cubicBezTo>
                <a:cubicBezTo>
                  <a:pt x="2867658" y="547468"/>
                  <a:pt x="2867658" y="541504"/>
                  <a:pt x="2873636" y="541504"/>
                </a:cubicBezTo>
                <a:close/>
                <a:moveTo>
                  <a:pt x="4359947" y="536642"/>
                </a:moveTo>
                <a:cubicBezTo>
                  <a:pt x="4342222" y="548839"/>
                  <a:pt x="4294956" y="561035"/>
                  <a:pt x="4283139" y="573231"/>
                </a:cubicBezTo>
                <a:cubicBezTo>
                  <a:pt x="4283139" y="567133"/>
                  <a:pt x="4283139" y="567133"/>
                  <a:pt x="4283139" y="567133"/>
                </a:cubicBezTo>
                <a:cubicBezTo>
                  <a:pt x="4283139" y="573231"/>
                  <a:pt x="4265415" y="585428"/>
                  <a:pt x="4259506" y="573231"/>
                </a:cubicBezTo>
                <a:cubicBezTo>
                  <a:pt x="4300864" y="554936"/>
                  <a:pt x="4324498" y="542739"/>
                  <a:pt x="4359947" y="536642"/>
                </a:cubicBezTo>
                <a:close/>
                <a:moveTo>
                  <a:pt x="3117350" y="536642"/>
                </a:moveTo>
                <a:cubicBezTo>
                  <a:pt x="3117350" y="542382"/>
                  <a:pt x="3117350" y="542382"/>
                  <a:pt x="3117350" y="542382"/>
                </a:cubicBezTo>
                <a:lnTo>
                  <a:pt x="3115438" y="538555"/>
                </a:lnTo>
                <a:close/>
                <a:moveTo>
                  <a:pt x="2998544" y="536642"/>
                </a:moveTo>
                <a:cubicBezTo>
                  <a:pt x="2998544" y="548121"/>
                  <a:pt x="3011171" y="536642"/>
                  <a:pt x="3011171" y="548121"/>
                </a:cubicBezTo>
                <a:cubicBezTo>
                  <a:pt x="3004859" y="548121"/>
                  <a:pt x="2998544" y="548121"/>
                  <a:pt x="2998544" y="553860"/>
                </a:cubicBezTo>
                <a:cubicBezTo>
                  <a:pt x="2992230" y="553860"/>
                  <a:pt x="3004859" y="542382"/>
                  <a:pt x="2998544" y="536642"/>
                </a:cubicBezTo>
                <a:close/>
                <a:moveTo>
                  <a:pt x="2927689" y="536642"/>
                </a:moveTo>
                <a:cubicBezTo>
                  <a:pt x="2927689" y="536642"/>
                  <a:pt x="2926189" y="538077"/>
                  <a:pt x="2924689" y="538795"/>
                </a:cubicBezTo>
                <a:lnTo>
                  <a:pt x="2923815" y="538168"/>
                </a:lnTo>
                <a:close/>
                <a:moveTo>
                  <a:pt x="2704108" y="536642"/>
                </a:moveTo>
                <a:cubicBezTo>
                  <a:pt x="2686890" y="553860"/>
                  <a:pt x="2669672" y="553860"/>
                  <a:pt x="2658193" y="559600"/>
                </a:cubicBezTo>
                <a:cubicBezTo>
                  <a:pt x="2669672" y="542382"/>
                  <a:pt x="2681151" y="548121"/>
                  <a:pt x="2704108" y="536642"/>
                </a:cubicBezTo>
                <a:close/>
                <a:moveTo>
                  <a:pt x="2597929" y="536642"/>
                </a:moveTo>
                <a:cubicBezTo>
                  <a:pt x="2597929" y="542382"/>
                  <a:pt x="2592190" y="542382"/>
                  <a:pt x="2586451" y="548121"/>
                </a:cubicBezTo>
                <a:cubicBezTo>
                  <a:pt x="2580711" y="542382"/>
                  <a:pt x="2592190" y="536642"/>
                  <a:pt x="2597929" y="536642"/>
                </a:cubicBezTo>
                <a:close/>
                <a:moveTo>
                  <a:pt x="3111611" y="530902"/>
                </a:moveTo>
                <a:lnTo>
                  <a:pt x="3115438" y="538555"/>
                </a:lnTo>
                <a:lnTo>
                  <a:pt x="3111611" y="542382"/>
                </a:lnTo>
                <a:cubicBezTo>
                  <a:pt x="3105872" y="542382"/>
                  <a:pt x="3111611" y="536642"/>
                  <a:pt x="3111611" y="530902"/>
                </a:cubicBezTo>
                <a:close/>
                <a:moveTo>
                  <a:pt x="3057087" y="530902"/>
                </a:moveTo>
                <a:cubicBezTo>
                  <a:pt x="3063544" y="530902"/>
                  <a:pt x="3063544" y="536642"/>
                  <a:pt x="3070001" y="530902"/>
                </a:cubicBezTo>
                <a:cubicBezTo>
                  <a:pt x="3082916" y="530902"/>
                  <a:pt x="3057087" y="536642"/>
                  <a:pt x="3070001" y="536642"/>
                </a:cubicBezTo>
                <a:cubicBezTo>
                  <a:pt x="3070001" y="548121"/>
                  <a:pt x="3057087" y="536642"/>
                  <a:pt x="3057087" y="530902"/>
                </a:cubicBezTo>
                <a:close/>
                <a:moveTo>
                  <a:pt x="3045608" y="530902"/>
                </a:moveTo>
                <a:cubicBezTo>
                  <a:pt x="3051347" y="530902"/>
                  <a:pt x="3051347" y="536642"/>
                  <a:pt x="3051347" y="542382"/>
                </a:cubicBezTo>
                <a:cubicBezTo>
                  <a:pt x="3045608" y="542382"/>
                  <a:pt x="3045608" y="548121"/>
                  <a:pt x="3039868" y="548121"/>
                </a:cubicBezTo>
                <a:cubicBezTo>
                  <a:pt x="3039868" y="542382"/>
                  <a:pt x="3045608" y="542382"/>
                  <a:pt x="3045608" y="530902"/>
                </a:cubicBezTo>
                <a:close/>
                <a:moveTo>
                  <a:pt x="2998544" y="530902"/>
                </a:moveTo>
                <a:cubicBezTo>
                  <a:pt x="2998544" y="530902"/>
                  <a:pt x="2998544" y="536642"/>
                  <a:pt x="2998544" y="536642"/>
                </a:cubicBezTo>
                <a:cubicBezTo>
                  <a:pt x="2992230" y="542382"/>
                  <a:pt x="2992230" y="542382"/>
                  <a:pt x="2992230" y="548121"/>
                </a:cubicBezTo>
                <a:cubicBezTo>
                  <a:pt x="2979603" y="548121"/>
                  <a:pt x="2992230" y="536642"/>
                  <a:pt x="2998544" y="530902"/>
                </a:cubicBezTo>
                <a:close/>
                <a:moveTo>
                  <a:pt x="2394177" y="530902"/>
                </a:moveTo>
                <a:cubicBezTo>
                  <a:pt x="2397047" y="533772"/>
                  <a:pt x="2399917" y="535207"/>
                  <a:pt x="2402786" y="535207"/>
                </a:cubicBezTo>
                <a:lnTo>
                  <a:pt x="2405714" y="533744"/>
                </a:lnTo>
                <a:lnTo>
                  <a:pt x="2404939" y="534938"/>
                </a:lnTo>
                <a:cubicBezTo>
                  <a:pt x="2405298" y="535925"/>
                  <a:pt x="2407091" y="536642"/>
                  <a:pt x="2411396" y="536642"/>
                </a:cubicBezTo>
                <a:cubicBezTo>
                  <a:pt x="2405656" y="548121"/>
                  <a:pt x="2394177" y="559600"/>
                  <a:pt x="2388438" y="571079"/>
                </a:cubicBezTo>
                <a:cubicBezTo>
                  <a:pt x="2376959" y="571079"/>
                  <a:pt x="2388438" y="559600"/>
                  <a:pt x="2376959" y="553860"/>
                </a:cubicBezTo>
                <a:cubicBezTo>
                  <a:pt x="2374088" y="556729"/>
                  <a:pt x="2374088" y="559600"/>
                  <a:pt x="2373371" y="561753"/>
                </a:cubicBezTo>
                <a:lnTo>
                  <a:pt x="2365482" y="565339"/>
                </a:lnTo>
                <a:lnTo>
                  <a:pt x="2365480" y="565339"/>
                </a:lnTo>
                <a:lnTo>
                  <a:pt x="2353812" y="560802"/>
                </a:lnTo>
                <a:lnTo>
                  <a:pt x="2357190" y="566834"/>
                </a:lnTo>
                <a:cubicBezTo>
                  <a:pt x="2353517" y="572752"/>
                  <a:pt x="2332048" y="576135"/>
                  <a:pt x="2341087" y="589664"/>
                </a:cubicBezTo>
                <a:cubicBezTo>
                  <a:pt x="2316981" y="589664"/>
                  <a:pt x="2262742" y="601689"/>
                  <a:pt x="2250690" y="637765"/>
                </a:cubicBezTo>
                <a:cubicBezTo>
                  <a:pt x="2244663" y="637765"/>
                  <a:pt x="2250690" y="625740"/>
                  <a:pt x="2250690" y="625740"/>
                </a:cubicBezTo>
                <a:cubicBezTo>
                  <a:pt x="2220557" y="625740"/>
                  <a:pt x="2190424" y="655804"/>
                  <a:pt x="2172346" y="661816"/>
                </a:cubicBezTo>
                <a:cubicBezTo>
                  <a:pt x="2178373" y="667829"/>
                  <a:pt x="2184400" y="667829"/>
                  <a:pt x="2196452" y="661816"/>
                </a:cubicBezTo>
                <a:lnTo>
                  <a:pt x="2196452" y="671992"/>
                </a:lnTo>
                <a:lnTo>
                  <a:pt x="2188919" y="674594"/>
                </a:lnTo>
                <a:cubicBezTo>
                  <a:pt x="2178373" y="675346"/>
                  <a:pt x="2166319" y="676849"/>
                  <a:pt x="2160294" y="685868"/>
                </a:cubicBezTo>
                <a:cubicBezTo>
                  <a:pt x="2166319" y="673844"/>
                  <a:pt x="2160294" y="661816"/>
                  <a:pt x="2166319" y="643779"/>
                </a:cubicBezTo>
                <a:cubicBezTo>
                  <a:pt x="2148240" y="637765"/>
                  <a:pt x="2142213" y="667829"/>
                  <a:pt x="2130162" y="655804"/>
                </a:cubicBezTo>
                <a:cubicBezTo>
                  <a:pt x="2142213" y="643779"/>
                  <a:pt x="2166319" y="637765"/>
                  <a:pt x="2190424" y="619727"/>
                </a:cubicBezTo>
                <a:cubicBezTo>
                  <a:pt x="2190424" y="625740"/>
                  <a:pt x="2196452" y="631753"/>
                  <a:pt x="2202479" y="625740"/>
                </a:cubicBezTo>
                <a:cubicBezTo>
                  <a:pt x="2214531" y="625740"/>
                  <a:pt x="2220557" y="613715"/>
                  <a:pt x="2238637" y="619727"/>
                </a:cubicBezTo>
                <a:cubicBezTo>
                  <a:pt x="2238637" y="613715"/>
                  <a:pt x="2250690" y="601689"/>
                  <a:pt x="2262742" y="607701"/>
                </a:cubicBezTo>
                <a:cubicBezTo>
                  <a:pt x="2262742" y="607701"/>
                  <a:pt x="2268769" y="601689"/>
                  <a:pt x="2268769" y="601689"/>
                </a:cubicBezTo>
                <a:cubicBezTo>
                  <a:pt x="2262742" y="595676"/>
                  <a:pt x="2256718" y="601689"/>
                  <a:pt x="2250690" y="601689"/>
                </a:cubicBezTo>
                <a:cubicBezTo>
                  <a:pt x="2256718" y="589664"/>
                  <a:pt x="2280823" y="589664"/>
                  <a:pt x="2286848" y="577639"/>
                </a:cubicBezTo>
                <a:cubicBezTo>
                  <a:pt x="2292875" y="583651"/>
                  <a:pt x="2292875" y="589664"/>
                  <a:pt x="2286848" y="595676"/>
                </a:cubicBezTo>
                <a:cubicBezTo>
                  <a:pt x="2298902" y="607701"/>
                  <a:pt x="2292875" y="577639"/>
                  <a:pt x="2304929" y="589664"/>
                </a:cubicBezTo>
                <a:cubicBezTo>
                  <a:pt x="2313967" y="580645"/>
                  <a:pt x="2323008" y="577639"/>
                  <a:pt x="2331294" y="574631"/>
                </a:cubicBezTo>
                <a:lnTo>
                  <a:pt x="2352132" y="560292"/>
                </a:lnTo>
                <a:lnTo>
                  <a:pt x="2339653" y="559600"/>
                </a:lnTo>
                <a:cubicBezTo>
                  <a:pt x="2339653" y="553860"/>
                  <a:pt x="2352567" y="553860"/>
                  <a:pt x="2359024" y="548121"/>
                </a:cubicBezTo>
                <a:cubicBezTo>
                  <a:pt x="2359024" y="553860"/>
                  <a:pt x="2360639" y="556729"/>
                  <a:pt x="2362253" y="558882"/>
                </a:cubicBezTo>
                <a:lnTo>
                  <a:pt x="2365480" y="565338"/>
                </a:lnTo>
                <a:lnTo>
                  <a:pt x="2369784" y="555296"/>
                </a:lnTo>
                <a:cubicBezTo>
                  <a:pt x="2371219" y="552425"/>
                  <a:pt x="2371219" y="550990"/>
                  <a:pt x="2365480" y="553860"/>
                </a:cubicBezTo>
                <a:cubicBezTo>
                  <a:pt x="2365480" y="548121"/>
                  <a:pt x="2365480" y="548121"/>
                  <a:pt x="2365480" y="542382"/>
                </a:cubicBezTo>
                <a:cubicBezTo>
                  <a:pt x="2365480" y="542382"/>
                  <a:pt x="2371219" y="542382"/>
                  <a:pt x="2376959" y="542382"/>
                </a:cubicBezTo>
                <a:cubicBezTo>
                  <a:pt x="2376959" y="548121"/>
                  <a:pt x="2382698" y="553860"/>
                  <a:pt x="2382698" y="559600"/>
                </a:cubicBezTo>
                <a:cubicBezTo>
                  <a:pt x="2388438" y="559600"/>
                  <a:pt x="2388438" y="553860"/>
                  <a:pt x="2388438" y="548121"/>
                </a:cubicBezTo>
                <a:cubicBezTo>
                  <a:pt x="2388438" y="548121"/>
                  <a:pt x="2382698" y="548121"/>
                  <a:pt x="2382698" y="542382"/>
                </a:cubicBezTo>
                <a:cubicBezTo>
                  <a:pt x="2382698" y="542382"/>
                  <a:pt x="2388438" y="536642"/>
                  <a:pt x="2388438" y="536642"/>
                </a:cubicBezTo>
                <a:cubicBezTo>
                  <a:pt x="2394177" y="548121"/>
                  <a:pt x="2394177" y="542382"/>
                  <a:pt x="2394177" y="553860"/>
                </a:cubicBezTo>
                <a:cubicBezTo>
                  <a:pt x="2411396" y="548121"/>
                  <a:pt x="2388438" y="536642"/>
                  <a:pt x="2394177" y="530902"/>
                </a:cubicBezTo>
                <a:close/>
                <a:moveTo>
                  <a:pt x="3404867" y="529576"/>
                </a:moveTo>
                <a:cubicBezTo>
                  <a:pt x="3402905" y="529483"/>
                  <a:pt x="3401037" y="529855"/>
                  <a:pt x="3399542" y="531345"/>
                </a:cubicBezTo>
                <a:lnTo>
                  <a:pt x="3399542" y="532640"/>
                </a:lnTo>
                <a:lnTo>
                  <a:pt x="3405463" y="529679"/>
                </a:lnTo>
                <a:close/>
                <a:moveTo>
                  <a:pt x="2411396" y="529378"/>
                </a:moveTo>
                <a:cubicBezTo>
                  <a:pt x="2412472" y="529109"/>
                  <a:pt x="2412830" y="529468"/>
                  <a:pt x="2411396" y="530902"/>
                </a:cubicBezTo>
                <a:lnTo>
                  <a:pt x="2405714" y="533744"/>
                </a:lnTo>
                <a:lnTo>
                  <a:pt x="2407091" y="531620"/>
                </a:lnTo>
                <a:cubicBezTo>
                  <a:pt x="2408526" y="530544"/>
                  <a:pt x="2410320" y="529647"/>
                  <a:pt x="2411396" y="529378"/>
                </a:cubicBezTo>
                <a:close/>
                <a:moveTo>
                  <a:pt x="3423457" y="525386"/>
                </a:moveTo>
                <a:lnTo>
                  <a:pt x="3428845" y="526362"/>
                </a:lnTo>
                <a:lnTo>
                  <a:pt x="3427848" y="526969"/>
                </a:lnTo>
                <a:cubicBezTo>
                  <a:pt x="3426446" y="527248"/>
                  <a:pt x="3424951" y="526875"/>
                  <a:pt x="3423457" y="525386"/>
                </a:cubicBezTo>
                <a:close/>
                <a:moveTo>
                  <a:pt x="3226402" y="525163"/>
                </a:moveTo>
                <a:lnTo>
                  <a:pt x="3217315" y="535924"/>
                </a:lnTo>
                <a:cubicBezTo>
                  <a:pt x="3212770" y="538077"/>
                  <a:pt x="3208228" y="539511"/>
                  <a:pt x="3208228" y="542382"/>
                </a:cubicBezTo>
                <a:cubicBezTo>
                  <a:pt x="3202168" y="542382"/>
                  <a:pt x="3196110" y="536642"/>
                  <a:pt x="3196110" y="536642"/>
                </a:cubicBezTo>
                <a:cubicBezTo>
                  <a:pt x="3190053" y="536642"/>
                  <a:pt x="3196110" y="542382"/>
                  <a:pt x="3196110" y="548121"/>
                </a:cubicBezTo>
                <a:cubicBezTo>
                  <a:pt x="3183994" y="559600"/>
                  <a:pt x="3171877" y="536642"/>
                  <a:pt x="3177936" y="553860"/>
                </a:cubicBezTo>
                <a:cubicBezTo>
                  <a:pt x="3177936" y="553860"/>
                  <a:pt x="3171877" y="553860"/>
                  <a:pt x="3171877" y="559600"/>
                </a:cubicBezTo>
                <a:cubicBezTo>
                  <a:pt x="3171877" y="559600"/>
                  <a:pt x="3171877" y="548121"/>
                  <a:pt x="3171877" y="542382"/>
                </a:cubicBezTo>
                <a:cubicBezTo>
                  <a:pt x="3190053" y="548121"/>
                  <a:pt x="3190053" y="536642"/>
                  <a:pt x="3196110" y="530902"/>
                </a:cubicBezTo>
                <a:cubicBezTo>
                  <a:pt x="3202168" y="536642"/>
                  <a:pt x="3206713" y="535207"/>
                  <a:pt x="3211257" y="532338"/>
                </a:cubicBezTo>
                <a:close/>
                <a:moveTo>
                  <a:pt x="3123090" y="525163"/>
                </a:moveTo>
                <a:cubicBezTo>
                  <a:pt x="3128829" y="530902"/>
                  <a:pt x="3128829" y="542382"/>
                  <a:pt x="3117350" y="542382"/>
                </a:cubicBezTo>
                <a:cubicBezTo>
                  <a:pt x="3123090" y="542382"/>
                  <a:pt x="3123090" y="530902"/>
                  <a:pt x="3123090" y="525163"/>
                </a:cubicBezTo>
                <a:close/>
                <a:moveTo>
                  <a:pt x="4383623" y="523728"/>
                </a:moveTo>
                <a:cubicBezTo>
                  <a:pt x="4388644" y="522293"/>
                  <a:pt x="4394384" y="522293"/>
                  <a:pt x="4397252" y="525163"/>
                </a:cubicBezTo>
                <a:cubicBezTo>
                  <a:pt x="4391513" y="525163"/>
                  <a:pt x="4380034" y="530902"/>
                  <a:pt x="4374295" y="530902"/>
                </a:cubicBezTo>
                <a:cubicBezTo>
                  <a:pt x="4374295" y="528032"/>
                  <a:pt x="4378599" y="525163"/>
                  <a:pt x="4383623" y="523728"/>
                </a:cubicBezTo>
                <a:close/>
                <a:moveTo>
                  <a:pt x="3519114" y="523639"/>
                </a:moveTo>
                <a:lnTo>
                  <a:pt x="3511040" y="525104"/>
                </a:lnTo>
                <a:cubicBezTo>
                  <a:pt x="3510293" y="526595"/>
                  <a:pt x="3510293" y="529575"/>
                  <a:pt x="3507304" y="535541"/>
                </a:cubicBezTo>
                <a:lnTo>
                  <a:pt x="3525880" y="525163"/>
                </a:lnTo>
                <a:lnTo>
                  <a:pt x="3519114" y="525163"/>
                </a:lnTo>
                <a:close/>
                <a:moveTo>
                  <a:pt x="3023637" y="521217"/>
                </a:moveTo>
                <a:cubicBezTo>
                  <a:pt x="3024265" y="521217"/>
                  <a:pt x="3025162" y="522293"/>
                  <a:pt x="3026238" y="523728"/>
                </a:cubicBezTo>
                <a:cubicBezTo>
                  <a:pt x="3028390" y="526598"/>
                  <a:pt x="3031260" y="530902"/>
                  <a:pt x="3034129" y="530902"/>
                </a:cubicBezTo>
                <a:cubicBezTo>
                  <a:pt x="3039868" y="530902"/>
                  <a:pt x="3022650" y="536642"/>
                  <a:pt x="3022650" y="542382"/>
                </a:cubicBezTo>
                <a:cubicBezTo>
                  <a:pt x="3022650" y="536642"/>
                  <a:pt x="3028390" y="530902"/>
                  <a:pt x="3022650" y="530902"/>
                </a:cubicBezTo>
                <a:cubicBezTo>
                  <a:pt x="3022650" y="525163"/>
                  <a:pt x="3022650" y="525163"/>
                  <a:pt x="3022650" y="525163"/>
                </a:cubicBezTo>
                <a:cubicBezTo>
                  <a:pt x="3022650" y="522293"/>
                  <a:pt x="3023009" y="521217"/>
                  <a:pt x="3023637" y="521217"/>
                </a:cubicBezTo>
                <a:close/>
                <a:moveTo>
                  <a:pt x="3435415" y="519426"/>
                </a:moveTo>
                <a:cubicBezTo>
                  <a:pt x="3435415" y="525386"/>
                  <a:pt x="3433920" y="526875"/>
                  <a:pt x="3431678" y="526875"/>
                </a:cubicBezTo>
                <a:lnTo>
                  <a:pt x="3428845" y="526362"/>
                </a:lnTo>
                <a:lnTo>
                  <a:pt x="3431678" y="524641"/>
                </a:lnTo>
                <a:cubicBezTo>
                  <a:pt x="3433920" y="522406"/>
                  <a:pt x="3435415" y="519426"/>
                  <a:pt x="3435415" y="519426"/>
                </a:cubicBezTo>
                <a:close/>
                <a:moveTo>
                  <a:pt x="2927689" y="519424"/>
                </a:moveTo>
                <a:cubicBezTo>
                  <a:pt x="2933689" y="525163"/>
                  <a:pt x="2933689" y="525163"/>
                  <a:pt x="2933689" y="530902"/>
                </a:cubicBezTo>
                <a:cubicBezTo>
                  <a:pt x="2927689" y="530902"/>
                  <a:pt x="2927689" y="536642"/>
                  <a:pt x="2921690" y="536642"/>
                </a:cubicBezTo>
                <a:lnTo>
                  <a:pt x="2923815" y="538168"/>
                </a:lnTo>
                <a:lnTo>
                  <a:pt x="2902188" y="546685"/>
                </a:lnTo>
                <a:lnTo>
                  <a:pt x="2888912" y="561691"/>
                </a:lnTo>
                <a:lnTo>
                  <a:pt x="2885686" y="557447"/>
                </a:lnTo>
                <a:cubicBezTo>
                  <a:pt x="2882685" y="556729"/>
                  <a:pt x="2879685" y="556729"/>
                  <a:pt x="2879685" y="553860"/>
                </a:cubicBezTo>
                <a:cubicBezTo>
                  <a:pt x="2879685" y="553860"/>
                  <a:pt x="2873686" y="559600"/>
                  <a:pt x="2873686" y="565339"/>
                </a:cubicBezTo>
                <a:cubicBezTo>
                  <a:pt x="2872185" y="563904"/>
                  <a:pt x="2872185" y="562111"/>
                  <a:pt x="2873029" y="560138"/>
                </a:cubicBezTo>
                <a:lnTo>
                  <a:pt x="2873558" y="559384"/>
                </a:lnTo>
                <a:lnTo>
                  <a:pt x="2873636" y="559396"/>
                </a:lnTo>
                <a:lnTo>
                  <a:pt x="2873636" y="559274"/>
                </a:lnTo>
                <a:lnTo>
                  <a:pt x="2877435" y="553860"/>
                </a:lnTo>
                <a:cubicBezTo>
                  <a:pt x="2881186" y="549555"/>
                  <a:pt x="2885686" y="545251"/>
                  <a:pt x="2885686" y="542382"/>
                </a:cubicBezTo>
                <a:cubicBezTo>
                  <a:pt x="2891688" y="542382"/>
                  <a:pt x="2891688" y="548121"/>
                  <a:pt x="2891688" y="548121"/>
                </a:cubicBezTo>
                <a:cubicBezTo>
                  <a:pt x="2897687" y="542382"/>
                  <a:pt x="2885686" y="542382"/>
                  <a:pt x="2891688" y="536642"/>
                </a:cubicBezTo>
                <a:cubicBezTo>
                  <a:pt x="2903687" y="536642"/>
                  <a:pt x="2903687" y="530902"/>
                  <a:pt x="2903687" y="525163"/>
                </a:cubicBezTo>
                <a:cubicBezTo>
                  <a:pt x="2915688" y="530902"/>
                  <a:pt x="2921690" y="519424"/>
                  <a:pt x="2921690" y="530902"/>
                </a:cubicBezTo>
                <a:cubicBezTo>
                  <a:pt x="2927689" y="525163"/>
                  <a:pt x="2921690" y="525163"/>
                  <a:pt x="2927689" y="519424"/>
                </a:cubicBezTo>
                <a:close/>
                <a:moveTo>
                  <a:pt x="3100631" y="518426"/>
                </a:moveTo>
                <a:lnTo>
                  <a:pt x="3100132" y="519424"/>
                </a:lnTo>
                <a:lnTo>
                  <a:pt x="3099250" y="518541"/>
                </a:lnTo>
                <a:close/>
                <a:moveTo>
                  <a:pt x="3604084" y="517487"/>
                </a:moveTo>
                <a:lnTo>
                  <a:pt x="3603807" y="517818"/>
                </a:lnTo>
                <a:lnTo>
                  <a:pt x="3602953" y="517648"/>
                </a:lnTo>
                <a:close/>
                <a:moveTo>
                  <a:pt x="3094393" y="513684"/>
                </a:moveTo>
                <a:lnTo>
                  <a:pt x="3099250" y="518541"/>
                </a:lnTo>
                <a:lnTo>
                  <a:pt x="3088653" y="519424"/>
                </a:lnTo>
                <a:cubicBezTo>
                  <a:pt x="3088653" y="519424"/>
                  <a:pt x="3094393" y="519424"/>
                  <a:pt x="3094393" y="513684"/>
                </a:cubicBezTo>
                <a:close/>
                <a:moveTo>
                  <a:pt x="2574969" y="513684"/>
                </a:moveTo>
                <a:cubicBezTo>
                  <a:pt x="2568872" y="525163"/>
                  <a:pt x="2556675" y="536642"/>
                  <a:pt x="2544479" y="530902"/>
                </a:cubicBezTo>
                <a:cubicBezTo>
                  <a:pt x="2538382" y="542382"/>
                  <a:pt x="2532282" y="542382"/>
                  <a:pt x="2513988" y="542382"/>
                </a:cubicBezTo>
                <a:cubicBezTo>
                  <a:pt x="2507889" y="548121"/>
                  <a:pt x="2520086" y="553860"/>
                  <a:pt x="2507889" y="553860"/>
                </a:cubicBezTo>
                <a:cubicBezTo>
                  <a:pt x="2507889" y="565339"/>
                  <a:pt x="2513988" y="559600"/>
                  <a:pt x="2513988" y="571079"/>
                </a:cubicBezTo>
                <a:cubicBezTo>
                  <a:pt x="2507889" y="565339"/>
                  <a:pt x="2507889" y="571079"/>
                  <a:pt x="2501792" y="576818"/>
                </a:cubicBezTo>
                <a:cubicBezTo>
                  <a:pt x="2483497" y="553860"/>
                  <a:pt x="2477399" y="553860"/>
                  <a:pt x="2477399" y="536642"/>
                </a:cubicBezTo>
                <a:cubicBezTo>
                  <a:pt x="2489595" y="536642"/>
                  <a:pt x="2489595" y="542382"/>
                  <a:pt x="2489595" y="548121"/>
                </a:cubicBezTo>
                <a:cubicBezTo>
                  <a:pt x="2513988" y="542382"/>
                  <a:pt x="2544479" y="525163"/>
                  <a:pt x="2574969" y="513684"/>
                </a:cubicBezTo>
                <a:close/>
                <a:moveTo>
                  <a:pt x="2460182" y="513684"/>
                </a:moveTo>
                <a:cubicBezTo>
                  <a:pt x="2465921" y="519424"/>
                  <a:pt x="2471661" y="530902"/>
                  <a:pt x="2465921" y="536642"/>
                </a:cubicBezTo>
                <a:cubicBezTo>
                  <a:pt x="2465921" y="542382"/>
                  <a:pt x="2460182" y="525163"/>
                  <a:pt x="2460182" y="536642"/>
                </a:cubicBezTo>
                <a:cubicBezTo>
                  <a:pt x="2454443" y="536642"/>
                  <a:pt x="2454443" y="525163"/>
                  <a:pt x="2460182" y="525163"/>
                </a:cubicBezTo>
                <a:cubicBezTo>
                  <a:pt x="2454443" y="525163"/>
                  <a:pt x="2437224" y="530902"/>
                  <a:pt x="2448703" y="542382"/>
                </a:cubicBezTo>
                <a:cubicBezTo>
                  <a:pt x="2442963" y="548121"/>
                  <a:pt x="2437224" y="525163"/>
                  <a:pt x="2442963" y="519424"/>
                </a:cubicBezTo>
                <a:cubicBezTo>
                  <a:pt x="2448703" y="519424"/>
                  <a:pt x="2460182" y="530902"/>
                  <a:pt x="2460182" y="513684"/>
                </a:cubicBezTo>
                <a:close/>
                <a:moveTo>
                  <a:pt x="2430664" y="513684"/>
                </a:moveTo>
                <a:cubicBezTo>
                  <a:pt x="2436813" y="531517"/>
                  <a:pt x="2430664" y="531517"/>
                  <a:pt x="2442963" y="543407"/>
                </a:cubicBezTo>
                <a:cubicBezTo>
                  <a:pt x="2436813" y="549352"/>
                  <a:pt x="2424514" y="549352"/>
                  <a:pt x="2430664" y="555296"/>
                </a:cubicBezTo>
                <a:cubicBezTo>
                  <a:pt x="2424514" y="555296"/>
                  <a:pt x="2424514" y="549352"/>
                  <a:pt x="2424514" y="543407"/>
                </a:cubicBezTo>
                <a:cubicBezTo>
                  <a:pt x="2412214" y="543407"/>
                  <a:pt x="2424514" y="555296"/>
                  <a:pt x="2418365" y="555296"/>
                </a:cubicBezTo>
                <a:cubicBezTo>
                  <a:pt x="2430664" y="567185"/>
                  <a:pt x="2436813" y="549352"/>
                  <a:pt x="2442963" y="555296"/>
                </a:cubicBezTo>
                <a:cubicBezTo>
                  <a:pt x="2442963" y="555296"/>
                  <a:pt x="2442963" y="555296"/>
                  <a:pt x="2442963" y="561240"/>
                </a:cubicBezTo>
                <a:cubicBezTo>
                  <a:pt x="2430664" y="555296"/>
                  <a:pt x="2430664" y="579075"/>
                  <a:pt x="2436813" y="585018"/>
                </a:cubicBezTo>
                <a:lnTo>
                  <a:pt x="2430664" y="590964"/>
                </a:lnTo>
                <a:lnTo>
                  <a:pt x="2421440" y="588732"/>
                </a:lnTo>
                <a:cubicBezTo>
                  <a:pt x="2418365" y="589476"/>
                  <a:pt x="2415290" y="590964"/>
                  <a:pt x="2412214" y="590964"/>
                </a:cubicBezTo>
                <a:cubicBezTo>
                  <a:pt x="2418365" y="585018"/>
                  <a:pt x="2424514" y="567185"/>
                  <a:pt x="2424514" y="579075"/>
                </a:cubicBezTo>
                <a:cubicBezTo>
                  <a:pt x="2430664" y="561240"/>
                  <a:pt x="2412214" y="573129"/>
                  <a:pt x="2406066" y="579075"/>
                </a:cubicBezTo>
                <a:cubicBezTo>
                  <a:pt x="2399917" y="567185"/>
                  <a:pt x="2406066" y="567185"/>
                  <a:pt x="2418365" y="561240"/>
                </a:cubicBezTo>
                <a:cubicBezTo>
                  <a:pt x="2406066" y="549352"/>
                  <a:pt x="2412214" y="543407"/>
                  <a:pt x="2418365" y="531517"/>
                </a:cubicBezTo>
                <a:cubicBezTo>
                  <a:pt x="2418365" y="543407"/>
                  <a:pt x="2436813" y="543407"/>
                  <a:pt x="2430664" y="525573"/>
                </a:cubicBezTo>
                <a:cubicBezTo>
                  <a:pt x="2424514" y="519628"/>
                  <a:pt x="2418365" y="537463"/>
                  <a:pt x="2418365" y="525573"/>
                </a:cubicBezTo>
                <a:cubicBezTo>
                  <a:pt x="2424514" y="525573"/>
                  <a:pt x="2424514" y="519628"/>
                  <a:pt x="2430664" y="513684"/>
                </a:cubicBezTo>
                <a:close/>
                <a:moveTo>
                  <a:pt x="3608931" y="511685"/>
                </a:moveTo>
                <a:cubicBezTo>
                  <a:pt x="3608931" y="514667"/>
                  <a:pt x="3608931" y="516157"/>
                  <a:pt x="3608184" y="516903"/>
                </a:cubicBezTo>
                <a:lnTo>
                  <a:pt x="3604084" y="517487"/>
                </a:lnTo>
                <a:close/>
                <a:moveTo>
                  <a:pt x="4269715" y="508915"/>
                </a:moveTo>
                <a:lnTo>
                  <a:pt x="4266510" y="510193"/>
                </a:lnTo>
                <a:cubicBezTo>
                  <a:pt x="4262027" y="513175"/>
                  <a:pt x="4257544" y="517648"/>
                  <a:pt x="4254556" y="517648"/>
                </a:cubicBezTo>
                <a:cubicBezTo>
                  <a:pt x="4257544" y="511684"/>
                  <a:pt x="4262027" y="510193"/>
                  <a:pt x="4267258" y="509447"/>
                </a:cubicBezTo>
                <a:close/>
                <a:moveTo>
                  <a:pt x="3255098" y="507944"/>
                </a:moveTo>
                <a:cubicBezTo>
                  <a:pt x="3255098" y="507944"/>
                  <a:pt x="3255098" y="513684"/>
                  <a:pt x="3260837" y="519424"/>
                </a:cubicBezTo>
                <a:cubicBezTo>
                  <a:pt x="3249359" y="525163"/>
                  <a:pt x="3243619" y="519424"/>
                  <a:pt x="3237880" y="530902"/>
                </a:cubicBezTo>
                <a:cubicBezTo>
                  <a:pt x="3235010" y="530902"/>
                  <a:pt x="3233576" y="528032"/>
                  <a:pt x="3232140" y="525881"/>
                </a:cubicBezTo>
                <a:lnTo>
                  <a:pt x="3226402" y="525163"/>
                </a:lnTo>
                <a:lnTo>
                  <a:pt x="3226400" y="525163"/>
                </a:lnTo>
                <a:cubicBezTo>
                  <a:pt x="3220662" y="519424"/>
                  <a:pt x="3243619" y="525163"/>
                  <a:pt x="3249359" y="513684"/>
                </a:cubicBezTo>
                <a:cubicBezTo>
                  <a:pt x="3249359" y="519424"/>
                  <a:pt x="3255098" y="513684"/>
                  <a:pt x="3255098" y="507944"/>
                </a:cubicBezTo>
                <a:close/>
                <a:moveTo>
                  <a:pt x="3105872" y="507944"/>
                </a:moveTo>
                <a:cubicBezTo>
                  <a:pt x="3111611" y="513684"/>
                  <a:pt x="3110178" y="516553"/>
                  <a:pt x="3105872" y="517988"/>
                </a:cubicBezTo>
                <a:lnTo>
                  <a:pt x="3100631" y="518426"/>
                </a:lnTo>
                <a:close/>
                <a:moveTo>
                  <a:pt x="3045608" y="507944"/>
                </a:moveTo>
                <a:cubicBezTo>
                  <a:pt x="3057087" y="519424"/>
                  <a:pt x="3039868" y="519424"/>
                  <a:pt x="3039868" y="525163"/>
                </a:cubicBezTo>
                <a:cubicBezTo>
                  <a:pt x="3028390" y="513684"/>
                  <a:pt x="3045608" y="513684"/>
                  <a:pt x="3045608" y="507944"/>
                </a:cubicBezTo>
                <a:close/>
                <a:moveTo>
                  <a:pt x="2973864" y="507944"/>
                </a:moveTo>
                <a:cubicBezTo>
                  <a:pt x="2973864" y="513684"/>
                  <a:pt x="2962385" y="513684"/>
                  <a:pt x="2968124" y="519424"/>
                </a:cubicBezTo>
                <a:cubicBezTo>
                  <a:pt x="2956645" y="525163"/>
                  <a:pt x="2968124" y="513684"/>
                  <a:pt x="2962385" y="513684"/>
                </a:cubicBezTo>
                <a:cubicBezTo>
                  <a:pt x="2962385" y="507944"/>
                  <a:pt x="2968124" y="507944"/>
                  <a:pt x="2973864" y="507944"/>
                </a:cubicBezTo>
                <a:close/>
                <a:moveTo>
                  <a:pt x="2752895" y="507944"/>
                </a:moveTo>
                <a:cubicBezTo>
                  <a:pt x="2758634" y="507944"/>
                  <a:pt x="2758634" y="513684"/>
                  <a:pt x="2758634" y="513684"/>
                </a:cubicBezTo>
                <a:cubicBezTo>
                  <a:pt x="2758634" y="513684"/>
                  <a:pt x="2752895" y="519424"/>
                  <a:pt x="2758634" y="519424"/>
                </a:cubicBezTo>
                <a:cubicBezTo>
                  <a:pt x="2752895" y="525163"/>
                  <a:pt x="2747155" y="513684"/>
                  <a:pt x="2747155" y="519424"/>
                </a:cubicBezTo>
                <a:cubicBezTo>
                  <a:pt x="2735677" y="513684"/>
                  <a:pt x="2758634" y="519424"/>
                  <a:pt x="2752895" y="507944"/>
                </a:cubicBezTo>
                <a:close/>
                <a:moveTo>
                  <a:pt x="4273048" y="507584"/>
                </a:moveTo>
                <a:lnTo>
                  <a:pt x="4273673" y="508056"/>
                </a:lnTo>
                <a:lnTo>
                  <a:pt x="4269715" y="508915"/>
                </a:lnTo>
                <a:close/>
                <a:moveTo>
                  <a:pt x="2772356" y="503205"/>
                </a:moveTo>
                <a:cubicBezTo>
                  <a:pt x="2773343" y="503519"/>
                  <a:pt x="2774418" y="504356"/>
                  <a:pt x="2775853" y="506030"/>
                </a:cubicBezTo>
                <a:cubicBezTo>
                  <a:pt x="2781592" y="512728"/>
                  <a:pt x="2764374" y="519424"/>
                  <a:pt x="2758634" y="506030"/>
                </a:cubicBezTo>
                <a:cubicBezTo>
                  <a:pt x="2764374" y="506030"/>
                  <a:pt x="2767244" y="504356"/>
                  <a:pt x="2769395" y="503519"/>
                </a:cubicBezTo>
                <a:cubicBezTo>
                  <a:pt x="2770473" y="503100"/>
                  <a:pt x="2771370" y="502892"/>
                  <a:pt x="2772356" y="503205"/>
                </a:cubicBezTo>
                <a:close/>
                <a:moveTo>
                  <a:pt x="3610674" y="502241"/>
                </a:moveTo>
                <a:lnTo>
                  <a:pt x="3608931" y="505719"/>
                </a:lnTo>
                <a:lnTo>
                  <a:pt x="3607721" y="504685"/>
                </a:lnTo>
                <a:close/>
                <a:moveTo>
                  <a:pt x="2549143" y="499334"/>
                </a:moveTo>
                <a:cubicBezTo>
                  <a:pt x="2554882" y="505649"/>
                  <a:pt x="2549143" y="505649"/>
                  <a:pt x="2549143" y="511961"/>
                </a:cubicBezTo>
                <a:cubicBezTo>
                  <a:pt x="2531925" y="518276"/>
                  <a:pt x="2531925" y="518276"/>
                  <a:pt x="2520445" y="530902"/>
                </a:cubicBezTo>
                <a:cubicBezTo>
                  <a:pt x="2520445" y="511961"/>
                  <a:pt x="2537664" y="511961"/>
                  <a:pt x="2549143" y="499334"/>
                </a:cubicBezTo>
                <a:close/>
                <a:moveTo>
                  <a:pt x="3273034" y="494314"/>
                </a:moveTo>
                <a:cubicBezTo>
                  <a:pt x="3279491" y="494314"/>
                  <a:pt x="3273034" y="500772"/>
                  <a:pt x="3279491" y="507229"/>
                </a:cubicBezTo>
                <a:lnTo>
                  <a:pt x="3273034" y="507229"/>
                </a:lnTo>
                <a:cubicBezTo>
                  <a:pt x="3266577" y="500772"/>
                  <a:pt x="3273034" y="500772"/>
                  <a:pt x="3273034" y="494314"/>
                </a:cubicBezTo>
                <a:close/>
                <a:moveTo>
                  <a:pt x="3094393" y="493597"/>
                </a:moveTo>
                <a:cubicBezTo>
                  <a:pt x="3094393" y="500293"/>
                  <a:pt x="3094393" y="500293"/>
                  <a:pt x="3094393" y="506990"/>
                </a:cubicBezTo>
                <a:cubicBezTo>
                  <a:pt x="3088653" y="513686"/>
                  <a:pt x="3088653" y="500293"/>
                  <a:pt x="3082913" y="506990"/>
                </a:cubicBezTo>
                <a:cubicBezTo>
                  <a:pt x="3077174" y="506990"/>
                  <a:pt x="3082913" y="493597"/>
                  <a:pt x="3094393" y="493597"/>
                </a:cubicBezTo>
                <a:close/>
                <a:moveTo>
                  <a:pt x="2614737" y="493595"/>
                </a:moveTo>
                <a:cubicBezTo>
                  <a:pt x="2620683" y="505712"/>
                  <a:pt x="2626626" y="499652"/>
                  <a:pt x="2626626" y="511769"/>
                </a:cubicBezTo>
                <a:cubicBezTo>
                  <a:pt x="2614737" y="511769"/>
                  <a:pt x="2614737" y="517829"/>
                  <a:pt x="2608793" y="517829"/>
                </a:cubicBezTo>
                <a:cubicBezTo>
                  <a:pt x="2608793" y="511769"/>
                  <a:pt x="2614737" y="511769"/>
                  <a:pt x="2614737" y="505712"/>
                </a:cubicBezTo>
                <a:cubicBezTo>
                  <a:pt x="2614737" y="499652"/>
                  <a:pt x="2608793" y="505712"/>
                  <a:pt x="2608793" y="505712"/>
                </a:cubicBezTo>
                <a:cubicBezTo>
                  <a:pt x="2602849" y="505712"/>
                  <a:pt x="2596904" y="517829"/>
                  <a:pt x="2602849" y="505712"/>
                </a:cubicBezTo>
                <a:cubicBezTo>
                  <a:pt x="2585015" y="536004"/>
                  <a:pt x="2573125" y="536004"/>
                  <a:pt x="2549349" y="548121"/>
                </a:cubicBezTo>
                <a:cubicBezTo>
                  <a:pt x="2549349" y="542061"/>
                  <a:pt x="2543403" y="542061"/>
                  <a:pt x="2549349" y="536004"/>
                </a:cubicBezTo>
                <a:cubicBezTo>
                  <a:pt x="2567182" y="529946"/>
                  <a:pt x="2561238" y="529946"/>
                  <a:pt x="2579071" y="529946"/>
                </a:cubicBezTo>
                <a:cubicBezTo>
                  <a:pt x="2585015" y="523887"/>
                  <a:pt x="2590960" y="511769"/>
                  <a:pt x="2579071" y="511769"/>
                </a:cubicBezTo>
                <a:cubicBezTo>
                  <a:pt x="2579071" y="511769"/>
                  <a:pt x="2608793" y="499652"/>
                  <a:pt x="2614737" y="493595"/>
                </a:cubicBezTo>
                <a:close/>
                <a:moveTo>
                  <a:pt x="3292406" y="487857"/>
                </a:moveTo>
                <a:cubicBezTo>
                  <a:pt x="3292406" y="494314"/>
                  <a:pt x="3292406" y="500772"/>
                  <a:pt x="3292406" y="507229"/>
                </a:cubicBezTo>
                <a:cubicBezTo>
                  <a:pt x="3285949" y="504000"/>
                  <a:pt x="3282720" y="505614"/>
                  <a:pt x="3280300" y="507229"/>
                </a:cubicBezTo>
                <a:lnTo>
                  <a:pt x="3279491" y="507229"/>
                </a:lnTo>
                <a:cubicBezTo>
                  <a:pt x="3279491" y="507229"/>
                  <a:pt x="3279491" y="500772"/>
                  <a:pt x="3279491" y="500772"/>
                </a:cubicBezTo>
                <a:cubicBezTo>
                  <a:pt x="3292406" y="500772"/>
                  <a:pt x="3279491" y="500772"/>
                  <a:pt x="3279491" y="494314"/>
                </a:cubicBezTo>
                <a:cubicBezTo>
                  <a:pt x="3279491" y="487857"/>
                  <a:pt x="3285949" y="500772"/>
                  <a:pt x="3292406" y="487857"/>
                </a:cubicBezTo>
                <a:close/>
                <a:moveTo>
                  <a:pt x="2574971" y="487856"/>
                </a:moveTo>
                <a:cubicBezTo>
                  <a:pt x="2580711" y="487856"/>
                  <a:pt x="2592190" y="493595"/>
                  <a:pt x="2586451" y="499334"/>
                </a:cubicBezTo>
                <a:cubicBezTo>
                  <a:pt x="2580711" y="493595"/>
                  <a:pt x="2574971" y="493595"/>
                  <a:pt x="2574971" y="487856"/>
                </a:cubicBezTo>
                <a:close/>
                <a:moveTo>
                  <a:pt x="3588526" y="484269"/>
                </a:moveTo>
                <a:cubicBezTo>
                  <a:pt x="3593369" y="483552"/>
                  <a:pt x="3596597" y="484985"/>
                  <a:pt x="3596597" y="487856"/>
                </a:cubicBezTo>
                <a:cubicBezTo>
                  <a:pt x="3583683" y="487856"/>
                  <a:pt x="3583683" y="493595"/>
                  <a:pt x="3577226" y="499334"/>
                </a:cubicBezTo>
                <a:cubicBezTo>
                  <a:pt x="3577226" y="493595"/>
                  <a:pt x="3577226" y="493595"/>
                  <a:pt x="3570769" y="493595"/>
                </a:cubicBezTo>
                <a:cubicBezTo>
                  <a:pt x="3577226" y="487856"/>
                  <a:pt x="3583683" y="484985"/>
                  <a:pt x="3588526" y="484269"/>
                </a:cubicBezTo>
                <a:close/>
                <a:moveTo>
                  <a:pt x="3479498" y="483689"/>
                </a:moveTo>
                <a:lnTo>
                  <a:pt x="3479438" y="483860"/>
                </a:lnTo>
                <a:lnTo>
                  <a:pt x="3479239" y="483842"/>
                </a:lnTo>
                <a:close/>
                <a:moveTo>
                  <a:pt x="3477265" y="483663"/>
                </a:moveTo>
                <a:lnTo>
                  <a:pt x="3479239" y="483842"/>
                </a:lnTo>
                <a:lnTo>
                  <a:pt x="3476869" y="485240"/>
                </a:lnTo>
                <a:close/>
                <a:moveTo>
                  <a:pt x="3459329" y="483663"/>
                </a:moveTo>
                <a:lnTo>
                  <a:pt x="3459329" y="495583"/>
                </a:lnTo>
                <a:lnTo>
                  <a:pt x="3476869" y="485240"/>
                </a:lnTo>
                <a:lnTo>
                  <a:pt x="3471285" y="507504"/>
                </a:lnTo>
                <a:cubicBezTo>
                  <a:pt x="3465307" y="513464"/>
                  <a:pt x="3465307" y="495583"/>
                  <a:pt x="3459329" y="501543"/>
                </a:cubicBezTo>
                <a:cubicBezTo>
                  <a:pt x="3465307" y="489623"/>
                  <a:pt x="3453349" y="501543"/>
                  <a:pt x="3453349" y="495583"/>
                </a:cubicBezTo>
                <a:cubicBezTo>
                  <a:pt x="3441393" y="501543"/>
                  <a:pt x="3435415" y="507504"/>
                  <a:pt x="3423457" y="507504"/>
                </a:cubicBezTo>
                <a:cubicBezTo>
                  <a:pt x="3423457" y="513464"/>
                  <a:pt x="3423457" y="513464"/>
                  <a:pt x="3423457" y="519426"/>
                </a:cubicBezTo>
                <a:cubicBezTo>
                  <a:pt x="3423457" y="519426"/>
                  <a:pt x="3429435" y="513464"/>
                  <a:pt x="3423457" y="525386"/>
                </a:cubicBezTo>
                <a:cubicBezTo>
                  <a:pt x="3417479" y="519426"/>
                  <a:pt x="3417479" y="519426"/>
                  <a:pt x="3417479" y="507504"/>
                </a:cubicBezTo>
                <a:cubicBezTo>
                  <a:pt x="3411499" y="519426"/>
                  <a:pt x="3405521" y="513464"/>
                  <a:pt x="3405521" y="519426"/>
                </a:cubicBezTo>
                <a:cubicBezTo>
                  <a:pt x="3417479" y="519426"/>
                  <a:pt x="3411499" y="519426"/>
                  <a:pt x="3417479" y="525386"/>
                </a:cubicBezTo>
                <a:cubicBezTo>
                  <a:pt x="3417479" y="531345"/>
                  <a:pt x="3414489" y="531345"/>
                  <a:pt x="3410753" y="530600"/>
                </a:cubicBezTo>
                <a:lnTo>
                  <a:pt x="3406103" y="529791"/>
                </a:lnTo>
                <a:lnTo>
                  <a:pt x="3408291" y="535261"/>
                </a:lnTo>
                <a:cubicBezTo>
                  <a:pt x="3408828" y="538758"/>
                  <a:pt x="3404524" y="536606"/>
                  <a:pt x="3400219" y="540911"/>
                </a:cubicBezTo>
                <a:lnTo>
                  <a:pt x="3399542" y="537187"/>
                </a:lnTo>
                <a:lnTo>
                  <a:pt x="3399542" y="543265"/>
                </a:lnTo>
                <a:cubicBezTo>
                  <a:pt x="3399542" y="543265"/>
                  <a:pt x="3393563" y="537305"/>
                  <a:pt x="3387585" y="543265"/>
                </a:cubicBezTo>
                <a:cubicBezTo>
                  <a:pt x="3381607" y="525386"/>
                  <a:pt x="3399542" y="537305"/>
                  <a:pt x="3399542" y="525386"/>
                </a:cubicBezTo>
                <a:cubicBezTo>
                  <a:pt x="3387585" y="519426"/>
                  <a:pt x="3387585" y="537305"/>
                  <a:pt x="3375629" y="531345"/>
                </a:cubicBezTo>
                <a:cubicBezTo>
                  <a:pt x="3375629" y="543265"/>
                  <a:pt x="3387585" y="537305"/>
                  <a:pt x="3387585" y="549225"/>
                </a:cubicBezTo>
                <a:cubicBezTo>
                  <a:pt x="3387585" y="549225"/>
                  <a:pt x="3375629" y="537305"/>
                  <a:pt x="3375629" y="549225"/>
                </a:cubicBezTo>
                <a:cubicBezTo>
                  <a:pt x="3369649" y="549225"/>
                  <a:pt x="3375629" y="537305"/>
                  <a:pt x="3369649" y="531345"/>
                </a:cubicBezTo>
                <a:cubicBezTo>
                  <a:pt x="3363671" y="537305"/>
                  <a:pt x="3369649" y="549225"/>
                  <a:pt x="3363671" y="537305"/>
                </a:cubicBezTo>
                <a:cubicBezTo>
                  <a:pt x="3357693" y="537305"/>
                  <a:pt x="3357693" y="537305"/>
                  <a:pt x="3357693" y="543265"/>
                </a:cubicBezTo>
                <a:cubicBezTo>
                  <a:pt x="3357693" y="543265"/>
                  <a:pt x="3363671" y="543265"/>
                  <a:pt x="3363671" y="549225"/>
                </a:cubicBezTo>
                <a:lnTo>
                  <a:pt x="3357693" y="549225"/>
                </a:lnTo>
                <a:cubicBezTo>
                  <a:pt x="3357693" y="537305"/>
                  <a:pt x="3351712" y="537305"/>
                  <a:pt x="3345734" y="543265"/>
                </a:cubicBezTo>
                <a:cubicBezTo>
                  <a:pt x="3339757" y="543265"/>
                  <a:pt x="3345734" y="549225"/>
                  <a:pt x="3339757" y="549225"/>
                </a:cubicBezTo>
                <a:cubicBezTo>
                  <a:pt x="3339757" y="549225"/>
                  <a:pt x="3333776" y="555185"/>
                  <a:pt x="3327798" y="549225"/>
                </a:cubicBezTo>
                <a:cubicBezTo>
                  <a:pt x="3327798" y="549225"/>
                  <a:pt x="3327798" y="561145"/>
                  <a:pt x="3321820" y="555185"/>
                </a:cubicBezTo>
                <a:cubicBezTo>
                  <a:pt x="3315842" y="555185"/>
                  <a:pt x="3321820" y="561145"/>
                  <a:pt x="3327798" y="561145"/>
                </a:cubicBezTo>
                <a:cubicBezTo>
                  <a:pt x="3315842" y="567107"/>
                  <a:pt x="3321820" y="561145"/>
                  <a:pt x="3309862" y="567107"/>
                </a:cubicBezTo>
                <a:cubicBezTo>
                  <a:pt x="3309862" y="561145"/>
                  <a:pt x="3315842" y="567107"/>
                  <a:pt x="3309862" y="561145"/>
                </a:cubicBezTo>
                <a:cubicBezTo>
                  <a:pt x="3303884" y="567107"/>
                  <a:pt x="3285949" y="573067"/>
                  <a:pt x="3279970" y="567107"/>
                </a:cubicBezTo>
                <a:cubicBezTo>
                  <a:pt x="3279970" y="573067"/>
                  <a:pt x="3279970" y="579027"/>
                  <a:pt x="3273990" y="584988"/>
                </a:cubicBezTo>
                <a:cubicBezTo>
                  <a:pt x="3268012" y="584988"/>
                  <a:pt x="3273990" y="584988"/>
                  <a:pt x="3262034" y="590948"/>
                </a:cubicBezTo>
                <a:cubicBezTo>
                  <a:pt x="3273990" y="573067"/>
                  <a:pt x="3262034" y="584988"/>
                  <a:pt x="3256056" y="584988"/>
                </a:cubicBezTo>
                <a:cubicBezTo>
                  <a:pt x="3256056" y="590948"/>
                  <a:pt x="3256056" y="584988"/>
                  <a:pt x="3262034" y="590948"/>
                </a:cubicBezTo>
                <a:cubicBezTo>
                  <a:pt x="3256056" y="596908"/>
                  <a:pt x="3256056" y="590948"/>
                  <a:pt x="3256056" y="590948"/>
                </a:cubicBezTo>
                <a:cubicBezTo>
                  <a:pt x="3250076" y="590948"/>
                  <a:pt x="3256056" y="596908"/>
                  <a:pt x="3250076" y="596908"/>
                </a:cubicBezTo>
                <a:cubicBezTo>
                  <a:pt x="3256056" y="602867"/>
                  <a:pt x="3256056" y="602867"/>
                  <a:pt x="3262034" y="602867"/>
                </a:cubicBezTo>
                <a:cubicBezTo>
                  <a:pt x="3262034" y="608829"/>
                  <a:pt x="3256056" y="608829"/>
                  <a:pt x="3256056" y="602867"/>
                </a:cubicBezTo>
                <a:cubicBezTo>
                  <a:pt x="3250076" y="608829"/>
                  <a:pt x="3244098" y="608829"/>
                  <a:pt x="3238120" y="608829"/>
                </a:cubicBezTo>
                <a:cubicBezTo>
                  <a:pt x="3244098" y="602867"/>
                  <a:pt x="3242603" y="602867"/>
                  <a:pt x="3240361" y="602122"/>
                </a:cubicBezTo>
                <a:lnTo>
                  <a:pt x="3239315" y="596908"/>
                </a:lnTo>
                <a:lnTo>
                  <a:pt x="3244098" y="596908"/>
                </a:lnTo>
                <a:cubicBezTo>
                  <a:pt x="3244098" y="596908"/>
                  <a:pt x="3238120" y="596908"/>
                  <a:pt x="3238120" y="590948"/>
                </a:cubicBezTo>
                <a:cubicBezTo>
                  <a:pt x="3244098" y="584988"/>
                  <a:pt x="3250076" y="584988"/>
                  <a:pt x="3250076" y="573067"/>
                </a:cubicBezTo>
                <a:cubicBezTo>
                  <a:pt x="3309862" y="555185"/>
                  <a:pt x="3381607" y="525386"/>
                  <a:pt x="3459329" y="483663"/>
                </a:cubicBezTo>
                <a:close/>
                <a:moveTo>
                  <a:pt x="3479574" y="483645"/>
                </a:moveTo>
                <a:lnTo>
                  <a:pt x="3479498" y="483689"/>
                </a:lnTo>
                <a:lnTo>
                  <a:pt x="3479507" y="483663"/>
                </a:lnTo>
                <a:close/>
                <a:moveTo>
                  <a:pt x="3608931" y="482406"/>
                </a:moveTo>
                <a:lnTo>
                  <a:pt x="3608931" y="487828"/>
                </a:lnTo>
                <a:cubicBezTo>
                  <a:pt x="3607437" y="486338"/>
                  <a:pt x="3607437" y="484846"/>
                  <a:pt x="3608091" y="483449"/>
                </a:cubicBezTo>
                <a:close/>
                <a:moveTo>
                  <a:pt x="3117350" y="482118"/>
                </a:moveTo>
                <a:cubicBezTo>
                  <a:pt x="3117350" y="495032"/>
                  <a:pt x="3123090" y="488575"/>
                  <a:pt x="3123090" y="495032"/>
                </a:cubicBezTo>
                <a:cubicBezTo>
                  <a:pt x="3123090" y="507946"/>
                  <a:pt x="3111611" y="488575"/>
                  <a:pt x="3111611" y="501489"/>
                </a:cubicBezTo>
                <a:cubicBezTo>
                  <a:pt x="3105872" y="501489"/>
                  <a:pt x="3111611" y="482118"/>
                  <a:pt x="3117350" y="482118"/>
                </a:cubicBezTo>
                <a:close/>
                <a:moveTo>
                  <a:pt x="2747155" y="482118"/>
                </a:moveTo>
                <a:cubicBezTo>
                  <a:pt x="2752895" y="493597"/>
                  <a:pt x="2758634" y="476378"/>
                  <a:pt x="2770113" y="487857"/>
                </a:cubicBezTo>
                <a:cubicBezTo>
                  <a:pt x="2764374" y="482118"/>
                  <a:pt x="2752895" y="493597"/>
                  <a:pt x="2741416" y="499336"/>
                </a:cubicBezTo>
                <a:cubicBezTo>
                  <a:pt x="2741416" y="493597"/>
                  <a:pt x="2741416" y="487857"/>
                  <a:pt x="2741416" y="487857"/>
                </a:cubicBezTo>
                <a:cubicBezTo>
                  <a:pt x="2741416" y="482118"/>
                  <a:pt x="2747155" y="487857"/>
                  <a:pt x="2747155" y="482118"/>
                </a:cubicBezTo>
                <a:close/>
                <a:moveTo>
                  <a:pt x="3321103" y="482116"/>
                </a:moveTo>
                <a:cubicBezTo>
                  <a:pt x="3332581" y="482116"/>
                  <a:pt x="3309624" y="495030"/>
                  <a:pt x="3315363" y="507944"/>
                </a:cubicBezTo>
                <a:cubicBezTo>
                  <a:pt x="3303884" y="507944"/>
                  <a:pt x="3315363" y="495030"/>
                  <a:pt x="3309624" y="495030"/>
                </a:cubicBezTo>
                <a:cubicBezTo>
                  <a:pt x="3309624" y="488573"/>
                  <a:pt x="3321103" y="488573"/>
                  <a:pt x="3321103" y="482116"/>
                </a:cubicBezTo>
                <a:close/>
                <a:moveTo>
                  <a:pt x="2508969" y="482116"/>
                </a:moveTo>
                <a:cubicBezTo>
                  <a:pt x="2508969" y="487856"/>
                  <a:pt x="2508969" y="493595"/>
                  <a:pt x="2508969" y="499334"/>
                </a:cubicBezTo>
                <a:cubicBezTo>
                  <a:pt x="2501794" y="499334"/>
                  <a:pt x="2501794" y="493595"/>
                  <a:pt x="2494619" y="499334"/>
                </a:cubicBezTo>
                <a:cubicBezTo>
                  <a:pt x="2494619" y="487856"/>
                  <a:pt x="2494619" y="482116"/>
                  <a:pt x="2508969" y="482116"/>
                </a:cubicBezTo>
                <a:close/>
                <a:moveTo>
                  <a:pt x="2717502" y="476599"/>
                </a:moveTo>
                <a:cubicBezTo>
                  <a:pt x="2723560" y="488519"/>
                  <a:pt x="2711444" y="488519"/>
                  <a:pt x="2711444" y="500441"/>
                </a:cubicBezTo>
                <a:cubicBezTo>
                  <a:pt x="2711444" y="494480"/>
                  <a:pt x="2717502" y="500441"/>
                  <a:pt x="2717502" y="500441"/>
                </a:cubicBezTo>
                <a:cubicBezTo>
                  <a:pt x="2717502" y="488519"/>
                  <a:pt x="2735677" y="494480"/>
                  <a:pt x="2735677" y="494480"/>
                </a:cubicBezTo>
                <a:cubicBezTo>
                  <a:pt x="2723560" y="518321"/>
                  <a:pt x="2656918" y="530241"/>
                  <a:pt x="2638744" y="548123"/>
                </a:cubicBezTo>
                <a:cubicBezTo>
                  <a:pt x="2632686" y="530241"/>
                  <a:pt x="2656918" y="536203"/>
                  <a:pt x="2650860" y="518321"/>
                </a:cubicBezTo>
                <a:cubicBezTo>
                  <a:pt x="2650860" y="530241"/>
                  <a:pt x="2632686" y="530241"/>
                  <a:pt x="2626626" y="518321"/>
                </a:cubicBezTo>
                <a:cubicBezTo>
                  <a:pt x="2644802" y="506401"/>
                  <a:pt x="2650860" y="500441"/>
                  <a:pt x="2681152" y="494480"/>
                </a:cubicBezTo>
                <a:cubicBezTo>
                  <a:pt x="2675093" y="470639"/>
                  <a:pt x="2699327" y="500441"/>
                  <a:pt x="2711444" y="482559"/>
                </a:cubicBezTo>
                <a:cubicBezTo>
                  <a:pt x="2711444" y="494480"/>
                  <a:pt x="2711444" y="476599"/>
                  <a:pt x="2717502" y="476599"/>
                </a:cubicBezTo>
                <a:close/>
                <a:moveTo>
                  <a:pt x="4354207" y="476378"/>
                </a:moveTo>
                <a:lnTo>
                  <a:pt x="4354924" y="481306"/>
                </a:lnTo>
                <a:lnTo>
                  <a:pt x="4354910" y="481311"/>
                </a:lnTo>
                <a:lnTo>
                  <a:pt x="4351338" y="481401"/>
                </a:lnTo>
                <a:cubicBezTo>
                  <a:pt x="4348468" y="480683"/>
                  <a:pt x="4345598" y="479248"/>
                  <a:pt x="4348468" y="482118"/>
                </a:cubicBezTo>
                <a:cubicBezTo>
                  <a:pt x="4342728" y="482118"/>
                  <a:pt x="4342728" y="476378"/>
                  <a:pt x="4336989" y="482118"/>
                </a:cubicBezTo>
                <a:cubicBezTo>
                  <a:pt x="4342728" y="470639"/>
                  <a:pt x="4348468" y="482118"/>
                  <a:pt x="4354207" y="476378"/>
                </a:cubicBezTo>
                <a:close/>
                <a:moveTo>
                  <a:pt x="3608931" y="475899"/>
                </a:moveTo>
                <a:cubicBezTo>
                  <a:pt x="3614909" y="475899"/>
                  <a:pt x="3613414" y="477391"/>
                  <a:pt x="3611172" y="479627"/>
                </a:cubicBezTo>
                <a:lnTo>
                  <a:pt x="3608931" y="482406"/>
                </a:lnTo>
                <a:close/>
                <a:moveTo>
                  <a:pt x="3518087" y="473606"/>
                </a:moveTo>
                <a:cubicBezTo>
                  <a:pt x="3518741" y="473606"/>
                  <a:pt x="3519115" y="474723"/>
                  <a:pt x="3519115" y="477703"/>
                </a:cubicBezTo>
                <a:cubicBezTo>
                  <a:pt x="3519115" y="477703"/>
                  <a:pt x="3513136" y="483663"/>
                  <a:pt x="3513136" y="489623"/>
                </a:cubicBezTo>
                <a:cubicBezTo>
                  <a:pt x="3507157" y="489623"/>
                  <a:pt x="3501179" y="489623"/>
                  <a:pt x="3501179" y="483663"/>
                </a:cubicBezTo>
                <a:cubicBezTo>
                  <a:pt x="3489222" y="495583"/>
                  <a:pt x="3495200" y="501543"/>
                  <a:pt x="3483244" y="489623"/>
                </a:cubicBezTo>
                <a:cubicBezTo>
                  <a:pt x="3477265" y="495583"/>
                  <a:pt x="3471285" y="501543"/>
                  <a:pt x="3477265" y="507504"/>
                </a:cubicBezTo>
                <a:cubicBezTo>
                  <a:pt x="3471285" y="507504"/>
                  <a:pt x="3471285" y="507504"/>
                  <a:pt x="3471285" y="507504"/>
                </a:cubicBezTo>
                <a:lnTo>
                  <a:pt x="3479438" y="483860"/>
                </a:lnTo>
                <a:lnTo>
                  <a:pt x="3493706" y="485153"/>
                </a:lnTo>
                <a:cubicBezTo>
                  <a:pt x="3498190" y="483663"/>
                  <a:pt x="3501179" y="480683"/>
                  <a:pt x="3501179" y="477703"/>
                </a:cubicBezTo>
                <a:cubicBezTo>
                  <a:pt x="3507157" y="483663"/>
                  <a:pt x="3507157" y="477703"/>
                  <a:pt x="3507157" y="483663"/>
                </a:cubicBezTo>
                <a:cubicBezTo>
                  <a:pt x="3510147" y="483663"/>
                  <a:pt x="3513136" y="479193"/>
                  <a:pt x="3515379" y="476212"/>
                </a:cubicBezTo>
                <a:cubicBezTo>
                  <a:pt x="3516499" y="474723"/>
                  <a:pt x="3517433" y="473605"/>
                  <a:pt x="3518087" y="473606"/>
                </a:cubicBezTo>
                <a:close/>
                <a:moveTo>
                  <a:pt x="3172738" y="472590"/>
                </a:moveTo>
                <a:lnTo>
                  <a:pt x="3171877" y="476378"/>
                </a:lnTo>
                <a:cubicBezTo>
                  <a:pt x="3169006" y="476378"/>
                  <a:pt x="3169006" y="474944"/>
                  <a:pt x="3170442" y="473509"/>
                </a:cubicBezTo>
                <a:close/>
                <a:moveTo>
                  <a:pt x="3172773" y="472432"/>
                </a:moveTo>
                <a:lnTo>
                  <a:pt x="3172859" y="472542"/>
                </a:lnTo>
                <a:lnTo>
                  <a:pt x="3172738" y="472590"/>
                </a:lnTo>
                <a:close/>
                <a:moveTo>
                  <a:pt x="2531684" y="471534"/>
                </a:moveTo>
                <a:cubicBezTo>
                  <a:pt x="2531684" y="489290"/>
                  <a:pt x="2549620" y="489290"/>
                  <a:pt x="2549620" y="477452"/>
                </a:cubicBezTo>
                <a:cubicBezTo>
                  <a:pt x="2555600" y="471534"/>
                  <a:pt x="2555600" y="477452"/>
                  <a:pt x="2555600" y="483372"/>
                </a:cubicBezTo>
                <a:cubicBezTo>
                  <a:pt x="2555600" y="483372"/>
                  <a:pt x="2555600" y="489290"/>
                  <a:pt x="2555600" y="495209"/>
                </a:cubicBezTo>
                <a:cubicBezTo>
                  <a:pt x="2549620" y="489290"/>
                  <a:pt x="2537664" y="507048"/>
                  <a:pt x="2531684" y="495209"/>
                </a:cubicBezTo>
                <a:cubicBezTo>
                  <a:pt x="2525706" y="501128"/>
                  <a:pt x="2513749" y="512967"/>
                  <a:pt x="2507770" y="512967"/>
                </a:cubicBezTo>
                <a:lnTo>
                  <a:pt x="2507770" y="518885"/>
                </a:lnTo>
                <a:cubicBezTo>
                  <a:pt x="2501792" y="512967"/>
                  <a:pt x="2501792" y="512967"/>
                  <a:pt x="2495814" y="512967"/>
                </a:cubicBezTo>
                <a:cubicBezTo>
                  <a:pt x="2495814" y="524803"/>
                  <a:pt x="2489834" y="518885"/>
                  <a:pt x="2483856" y="524803"/>
                </a:cubicBezTo>
                <a:cubicBezTo>
                  <a:pt x="2483856" y="518885"/>
                  <a:pt x="2471899" y="524803"/>
                  <a:pt x="2477878" y="530724"/>
                </a:cubicBezTo>
                <a:cubicBezTo>
                  <a:pt x="2471899" y="524803"/>
                  <a:pt x="2465920" y="518885"/>
                  <a:pt x="2471899" y="512967"/>
                </a:cubicBezTo>
                <a:cubicBezTo>
                  <a:pt x="2483856" y="524803"/>
                  <a:pt x="2483856" y="489290"/>
                  <a:pt x="2501792" y="507048"/>
                </a:cubicBezTo>
                <a:cubicBezTo>
                  <a:pt x="2501792" y="501128"/>
                  <a:pt x="2519728" y="507048"/>
                  <a:pt x="2525706" y="495209"/>
                </a:cubicBezTo>
                <a:cubicBezTo>
                  <a:pt x="2525706" y="483372"/>
                  <a:pt x="2519728" y="489290"/>
                  <a:pt x="2519728" y="483372"/>
                </a:cubicBezTo>
                <a:cubicBezTo>
                  <a:pt x="2513749" y="483372"/>
                  <a:pt x="2513749" y="489290"/>
                  <a:pt x="2513749" y="495209"/>
                </a:cubicBezTo>
                <a:cubicBezTo>
                  <a:pt x="2507770" y="495209"/>
                  <a:pt x="2507770" y="477452"/>
                  <a:pt x="2519728" y="477452"/>
                </a:cubicBezTo>
                <a:cubicBezTo>
                  <a:pt x="2519728" y="483372"/>
                  <a:pt x="2525706" y="483372"/>
                  <a:pt x="2525706" y="489290"/>
                </a:cubicBezTo>
                <a:cubicBezTo>
                  <a:pt x="2525706" y="489290"/>
                  <a:pt x="2531684" y="489290"/>
                  <a:pt x="2531684" y="489290"/>
                </a:cubicBezTo>
                <a:cubicBezTo>
                  <a:pt x="2537664" y="483372"/>
                  <a:pt x="2519728" y="477452"/>
                  <a:pt x="2531684" y="471534"/>
                </a:cubicBezTo>
                <a:close/>
                <a:moveTo>
                  <a:pt x="3194835" y="464900"/>
                </a:moveTo>
                <a:cubicBezTo>
                  <a:pt x="3194835" y="470639"/>
                  <a:pt x="3206313" y="482118"/>
                  <a:pt x="3194835" y="482118"/>
                </a:cubicBezTo>
                <a:cubicBezTo>
                  <a:pt x="3200574" y="470639"/>
                  <a:pt x="3183355" y="470639"/>
                  <a:pt x="3189095" y="482118"/>
                </a:cubicBezTo>
                <a:cubicBezTo>
                  <a:pt x="3183355" y="482118"/>
                  <a:pt x="3177616" y="470639"/>
                  <a:pt x="3177616" y="482118"/>
                </a:cubicBezTo>
                <a:cubicBezTo>
                  <a:pt x="3177616" y="482118"/>
                  <a:pt x="3176181" y="477813"/>
                  <a:pt x="3174747" y="474944"/>
                </a:cubicBezTo>
                <a:lnTo>
                  <a:pt x="3172859" y="472542"/>
                </a:lnTo>
                <a:lnTo>
                  <a:pt x="3177616" y="470639"/>
                </a:lnTo>
                <a:cubicBezTo>
                  <a:pt x="3177616" y="470639"/>
                  <a:pt x="3177616" y="470639"/>
                  <a:pt x="3183355" y="476378"/>
                </a:cubicBezTo>
                <a:cubicBezTo>
                  <a:pt x="3189095" y="470639"/>
                  <a:pt x="3189095" y="464900"/>
                  <a:pt x="3194835" y="464900"/>
                </a:cubicBezTo>
                <a:close/>
                <a:moveTo>
                  <a:pt x="3160398" y="464898"/>
                </a:moveTo>
                <a:cubicBezTo>
                  <a:pt x="3160398" y="476376"/>
                  <a:pt x="3147006" y="464898"/>
                  <a:pt x="3140309" y="476376"/>
                </a:cubicBezTo>
                <a:cubicBezTo>
                  <a:pt x="3140309" y="464898"/>
                  <a:pt x="3153702" y="464898"/>
                  <a:pt x="3160398" y="464898"/>
                </a:cubicBezTo>
                <a:close/>
                <a:moveTo>
                  <a:pt x="3622963" y="461043"/>
                </a:moveTo>
                <a:cubicBezTo>
                  <a:pt x="3623860" y="461133"/>
                  <a:pt x="3624577" y="462389"/>
                  <a:pt x="3625295" y="464182"/>
                </a:cubicBezTo>
                <a:cubicBezTo>
                  <a:pt x="3626730" y="467768"/>
                  <a:pt x="3628166" y="473508"/>
                  <a:pt x="3631034" y="476378"/>
                </a:cubicBezTo>
                <a:cubicBezTo>
                  <a:pt x="3628166" y="476378"/>
                  <a:pt x="3628166" y="479247"/>
                  <a:pt x="3627448" y="482835"/>
                </a:cubicBezTo>
                <a:lnTo>
                  <a:pt x="3620287" y="492599"/>
                </a:lnTo>
                <a:lnTo>
                  <a:pt x="3620886" y="493792"/>
                </a:lnTo>
                <a:lnTo>
                  <a:pt x="3610674" y="502241"/>
                </a:lnTo>
                <a:lnTo>
                  <a:pt x="3614907" y="493792"/>
                </a:lnTo>
                <a:cubicBezTo>
                  <a:pt x="3614907" y="493792"/>
                  <a:pt x="3608931" y="493792"/>
                  <a:pt x="3608931" y="493792"/>
                </a:cubicBezTo>
                <a:lnTo>
                  <a:pt x="3608931" y="487828"/>
                </a:lnTo>
                <a:cubicBezTo>
                  <a:pt x="3614907" y="487828"/>
                  <a:pt x="3614907" y="481865"/>
                  <a:pt x="3614907" y="481865"/>
                </a:cubicBezTo>
                <a:cubicBezTo>
                  <a:pt x="3617897" y="481865"/>
                  <a:pt x="3617897" y="484846"/>
                  <a:pt x="3617897" y="487828"/>
                </a:cubicBezTo>
                <a:lnTo>
                  <a:pt x="3619555" y="491138"/>
                </a:lnTo>
                <a:lnTo>
                  <a:pt x="3619555" y="487857"/>
                </a:lnTo>
                <a:cubicBezTo>
                  <a:pt x="3625295" y="482118"/>
                  <a:pt x="3625295" y="476378"/>
                  <a:pt x="3625295" y="470639"/>
                </a:cubicBezTo>
                <a:cubicBezTo>
                  <a:pt x="3625295" y="470639"/>
                  <a:pt x="3619555" y="470639"/>
                  <a:pt x="3619555" y="470639"/>
                </a:cubicBezTo>
                <a:cubicBezTo>
                  <a:pt x="3619555" y="470639"/>
                  <a:pt x="3625295" y="464900"/>
                  <a:pt x="3619555" y="464900"/>
                </a:cubicBezTo>
                <a:cubicBezTo>
                  <a:pt x="3620990" y="462030"/>
                  <a:pt x="3622067" y="460954"/>
                  <a:pt x="3622963" y="461043"/>
                </a:cubicBezTo>
                <a:close/>
                <a:moveTo>
                  <a:pt x="3668341" y="459160"/>
                </a:moveTo>
                <a:cubicBezTo>
                  <a:pt x="3662192" y="482118"/>
                  <a:pt x="3643744" y="476378"/>
                  <a:pt x="3631445" y="493597"/>
                </a:cubicBezTo>
                <a:cubicBezTo>
                  <a:pt x="3625295" y="493597"/>
                  <a:pt x="3631445" y="487857"/>
                  <a:pt x="3631445" y="487857"/>
                </a:cubicBezTo>
                <a:cubicBezTo>
                  <a:pt x="3631445" y="487857"/>
                  <a:pt x="3631445" y="482118"/>
                  <a:pt x="3631445" y="482118"/>
                </a:cubicBezTo>
                <a:cubicBezTo>
                  <a:pt x="3631445" y="487857"/>
                  <a:pt x="3656044" y="459160"/>
                  <a:pt x="3649894" y="476378"/>
                </a:cubicBezTo>
                <a:cubicBezTo>
                  <a:pt x="3656044" y="470639"/>
                  <a:pt x="3656044" y="464900"/>
                  <a:pt x="3668341" y="459160"/>
                </a:cubicBezTo>
                <a:close/>
                <a:moveTo>
                  <a:pt x="3051347" y="459158"/>
                </a:moveTo>
                <a:cubicBezTo>
                  <a:pt x="3057087" y="459158"/>
                  <a:pt x="3051347" y="464898"/>
                  <a:pt x="3057087" y="470637"/>
                </a:cubicBezTo>
                <a:cubicBezTo>
                  <a:pt x="3051347" y="470637"/>
                  <a:pt x="3045608" y="470637"/>
                  <a:pt x="3039868" y="476376"/>
                </a:cubicBezTo>
                <a:cubicBezTo>
                  <a:pt x="3045608" y="464898"/>
                  <a:pt x="3045608" y="464898"/>
                  <a:pt x="3051347" y="459158"/>
                </a:cubicBezTo>
                <a:close/>
                <a:moveTo>
                  <a:pt x="3552557" y="458238"/>
                </a:moveTo>
                <a:cubicBezTo>
                  <a:pt x="3555359" y="459077"/>
                  <a:pt x="3556480" y="465781"/>
                  <a:pt x="3560966" y="465781"/>
                </a:cubicBezTo>
                <a:cubicBezTo>
                  <a:pt x="3554985" y="471743"/>
                  <a:pt x="3537051" y="471743"/>
                  <a:pt x="3537051" y="459822"/>
                </a:cubicBezTo>
                <a:cubicBezTo>
                  <a:pt x="3537051" y="465781"/>
                  <a:pt x="3549007" y="465781"/>
                  <a:pt x="3549007" y="459822"/>
                </a:cubicBezTo>
                <a:cubicBezTo>
                  <a:pt x="3550502" y="458331"/>
                  <a:pt x="3551623" y="457959"/>
                  <a:pt x="3552557" y="458238"/>
                </a:cubicBezTo>
                <a:close/>
                <a:moveTo>
                  <a:pt x="3728491" y="458008"/>
                </a:moveTo>
                <a:cubicBezTo>
                  <a:pt x="3734470" y="463972"/>
                  <a:pt x="3728491" y="469935"/>
                  <a:pt x="3728491" y="475899"/>
                </a:cubicBezTo>
                <a:cubicBezTo>
                  <a:pt x="3728491" y="469935"/>
                  <a:pt x="3722513" y="469935"/>
                  <a:pt x="3722513" y="463972"/>
                </a:cubicBezTo>
                <a:cubicBezTo>
                  <a:pt x="3722513" y="463972"/>
                  <a:pt x="3722513" y="481865"/>
                  <a:pt x="3716534" y="475899"/>
                </a:cubicBezTo>
                <a:cubicBezTo>
                  <a:pt x="3716534" y="463972"/>
                  <a:pt x="3722513" y="463972"/>
                  <a:pt x="3728491" y="458008"/>
                </a:cubicBezTo>
                <a:close/>
                <a:moveTo>
                  <a:pt x="3062827" y="457007"/>
                </a:moveTo>
                <a:cubicBezTo>
                  <a:pt x="3064262" y="457725"/>
                  <a:pt x="3065697" y="459160"/>
                  <a:pt x="3068566" y="459160"/>
                </a:cubicBezTo>
                <a:cubicBezTo>
                  <a:pt x="3062827" y="464900"/>
                  <a:pt x="3062827" y="464900"/>
                  <a:pt x="3068566" y="464900"/>
                </a:cubicBezTo>
                <a:cubicBezTo>
                  <a:pt x="3062827" y="470639"/>
                  <a:pt x="3062827" y="476378"/>
                  <a:pt x="3057087" y="482118"/>
                </a:cubicBezTo>
                <a:cubicBezTo>
                  <a:pt x="3057087" y="476378"/>
                  <a:pt x="3057087" y="476378"/>
                  <a:pt x="3051347" y="476378"/>
                </a:cubicBezTo>
                <a:cubicBezTo>
                  <a:pt x="3045608" y="470639"/>
                  <a:pt x="3057087" y="476378"/>
                  <a:pt x="3062827" y="470639"/>
                </a:cubicBezTo>
                <a:cubicBezTo>
                  <a:pt x="3062827" y="464900"/>
                  <a:pt x="3057087" y="464900"/>
                  <a:pt x="3057087" y="459160"/>
                </a:cubicBezTo>
                <a:cubicBezTo>
                  <a:pt x="3059957" y="456289"/>
                  <a:pt x="3061391" y="456289"/>
                  <a:pt x="3062827" y="457007"/>
                </a:cubicBezTo>
                <a:close/>
                <a:moveTo>
                  <a:pt x="3740084" y="453420"/>
                </a:moveTo>
                <a:lnTo>
                  <a:pt x="3751564" y="453420"/>
                </a:lnTo>
                <a:cubicBezTo>
                  <a:pt x="3751564" y="470639"/>
                  <a:pt x="3745823" y="447681"/>
                  <a:pt x="3745823" y="459160"/>
                </a:cubicBezTo>
                <a:cubicBezTo>
                  <a:pt x="3740084" y="459160"/>
                  <a:pt x="3745823" y="453420"/>
                  <a:pt x="3740084" y="453420"/>
                </a:cubicBezTo>
                <a:close/>
                <a:moveTo>
                  <a:pt x="3361279" y="453418"/>
                </a:moveTo>
                <a:cubicBezTo>
                  <a:pt x="3368454" y="453418"/>
                  <a:pt x="3368454" y="464898"/>
                  <a:pt x="3375629" y="459158"/>
                </a:cubicBezTo>
                <a:cubicBezTo>
                  <a:pt x="3375629" y="464898"/>
                  <a:pt x="3368454" y="470637"/>
                  <a:pt x="3375629" y="470637"/>
                </a:cubicBezTo>
                <a:cubicBezTo>
                  <a:pt x="3368454" y="476376"/>
                  <a:pt x="3368454" y="459158"/>
                  <a:pt x="3361279" y="453418"/>
                </a:cubicBezTo>
                <a:close/>
                <a:moveTo>
                  <a:pt x="2879163" y="453418"/>
                </a:moveTo>
                <a:cubicBezTo>
                  <a:pt x="2879163" y="459158"/>
                  <a:pt x="2884903" y="459158"/>
                  <a:pt x="2884903" y="464898"/>
                </a:cubicBezTo>
                <a:cubicBezTo>
                  <a:pt x="2879163" y="459158"/>
                  <a:pt x="2867685" y="470637"/>
                  <a:pt x="2867685" y="459158"/>
                </a:cubicBezTo>
                <a:cubicBezTo>
                  <a:pt x="2873424" y="464898"/>
                  <a:pt x="2873424" y="459158"/>
                  <a:pt x="2879163" y="453418"/>
                </a:cubicBezTo>
                <a:close/>
                <a:moveTo>
                  <a:pt x="2723558" y="453418"/>
                </a:moveTo>
                <a:cubicBezTo>
                  <a:pt x="2723558" y="453418"/>
                  <a:pt x="2723558" y="459476"/>
                  <a:pt x="2723558" y="459476"/>
                </a:cubicBezTo>
                <a:lnTo>
                  <a:pt x="2719658" y="459757"/>
                </a:lnTo>
                <a:close/>
                <a:moveTo>
                  <a:pt x="2705383" y="453418"/>
                </a:moveTo>
                <a:cubicBezTo>
                  <a:pt x="2705383" y="459476"/>
                  <a:pt x="2705383" y="459476"/>
                  <a:pt x="2711443" y="465535"/>
                </a:cubicBezTo>
                <a:cubicBezTo>
                  <a:pt x="2711443" y="459476"/>
                  <a:pt x="2711443" y="459476"/>
                  <a:pt x="2712957" y="460234"/>
                </a:cubicBezTo>
                <a:lnTo>
                  <a:pt x="2719658" y="459757"/>
                </a:lnTo>
                <a:lnTo>
                  <a:pt x="2717500" y="463263"/>
                </a:lnTo>
                <a:cubicBezTo>
                  <a:pt x="2711443" y="467051"/>
                  <a:pt x="2705383" y="471593"/>
                  <a:pt x="2711443" y="477653"/>
                </a:cubicBezTo>
                <a:cubicBezTo>
                  <a:pt x="2705383" y="477653"/>
                  <a:pt x="2699326" y="477653"/>
                  <a:pt x="2699326" y="483710"/>
                </a:cubicBezTo>
                <a:cubicBezTo>
                  <a:pt x="2693268" y="483710"/>
                  <a:pt x="2699326" y="477653"/>
                  <a:pt x="2705383" y="471593"/>
                </a:cubicBezTo>
                <a:cubicBezTo>
                  <a:pt x="2705383" y="465535"/>
                  <a:pt x="2693268" y="477653"/>
                  <a:pt x="2693268" y="471593"/>
                </a:cubicBezTo>
                <a:cubicBezTo>
                  <a:pt x="2681151" y="477653"/>
                  <a:pt x="2675091" y="471593"/>
                  <a:pt x="2675091" y="489770"/>
                </a:cubicBezTo>
                <a:cubicBezTo>
                  <a:pt x="2669034" y="483710"/>
                  <a:pt x="2669034" y="477653"/>
                  <a:pt x="2669034" y="477653"/>
                </a:cubicBezTo>
                <a:cubicBezTo>
                  <a:pt x="2662976" y="477653"/>
                  <a:pt x="2662976" y="483710"/>
                  <a:pt x="2656917" y="483710"/>
                </a:cubicBezTo>
                <a:cubicBezTo>
                  <a:pt x="2656917" y="489770"/>
                  <a:pt x="2656917" y="489770"/>
                  <a:pt x="2662976" y="495827"/>
                </a:cubicBezTo>
                <a:cubicBezTo>
                  <a:pt x="2644800" y="483710"/>
                  <a:pt x="2650859" y="507944"/>
                  <a:pt x="2632684" y="507944"/>
                </a:cubicBezTo>
                <a:cubicBezTo>
                  <a:pt x="2626625" y="507944"/>
                  <a:pt x="2626625" y="501885"/>
                  <a:pt x="2626625" y="495827"/>
                </a:cubicBezTo>
                <a:cubicBezTo>
                  <a:pt x="2656917" y="471593"/>
                  <a:pt x="2681151" y="471593"/>
                  <a:pt x="2705383" y="453418"/>
                </a:cubicBezTo>
                <a:close/>
                <a:moveTo>
                  <a:pt x="2603667" y="453418"/>
                </a:moveTo>
                <a:cubicBezTo>
                  <a:pt x="2609407" y="453418"/>
                  <a:pt x="2609407" y="464898"/>
                  <a:pt x="2615145" y="464898"/>
                </a:cubicBezTo>
                <a:cubicBezTo>
                  <a:pt x="2609407" y="470637"/>
                  <a:pt x="2609407" y="476376"/>
                  <a:pt x="2615145" y="476376"/>
                </a:cubicBezTo>
                <a:cubicBezTo>
                  <a:pt x="2620885" y="482116"/>
                  <a:pt x="2609407" y="482116"/>
                  <a:pt x="2609407" y="482116"/>
                </a:cubicBezTo>
                <a:cubicBezTo>
                  <a:pt x="2603667" y="470637"/>
                  <a:pt x="2615145" y="470637"/>
                  <a:pt x="2603667" y="453418"/>
                </a:cubicBezTo>
                <a:close/>
                <a:moveTo>
                  <a:pt x="2768678" y="452791"/>
                </a:moveTo>
                <a:cubicBezTo>
                  <a:pt x="2772983" y="455212"/>
                  <a:pt x="2777287" y="464898"/>
                  <a:pt x="2781592" y="464898"/>
                </a:cubicBezTo>
                <a:cubicBezTo>
                  <a:pt x="2775853" y="470637"/>
                  <a:pt x="2770113" y="476376"/>
                  <a:pt x="2764374" y="470637"/>
                </a:cubicBezTo>
                <a:cubicBezTo>
                  <a:pt x="2758634" y="459158"/>
                  <a:pt x="2775853" y="459158"/>
                  <a:pt x="2764374" y="453418"/>
                </a:cubicBezTo>
                <a:cubicBezTo>
                  <a:pt x="2765809" y="451984"/>
                  <a:pt x="2767243" y="451984"/>
                  <a:pt x="2768678" y="452791"/>
                </a:cubicBezTo>
                <a:close/>
                <a:moveTo>
                  <a:pt x="2580261" y="451559"/>
                </a:moveTo>
                <a:cubicBezTo>
                  <a:pt x="2581009" y="452298"/>
                  <a:pt x="2582504" y="453777"/>
                  <a:pt x="2585492" y="453777"/>
                </a:cubicBezTo>
                <a:cubicBezTo>
                  <a:pt x="2585492" y="453777"/>
                  <a:pt x="2579514" y="453777"/>
                  <a:pt x="2579514" y="453777"/>
                </a:cubicBezTo>
                <a:cubicBezTo>
                  <a:pt x="2579514" y="450817"/>
                  <a:pt x="2579514" y="450817"/>
                  <a:pt x="2580261" y="451559"/>
                </a:cubicBezTo>
                <a:close/>
                <a:moveTo>
                  <a:pt x="3584497" y="449300"/>
                </a:moveTo>
                <a:lnTo>
                  <a:pt x="3586468" y="452838"/>
                </a:lnTo>
                <a:cubicBezTo>
                  <a:pt x="3586748" y="454607"/>
                  <a:pt x="3586375" y="456842"/>
                  <a:pt x="3584880" y="459822"/>
                </a:cubicBezTo>
                <a:cubicBezTo>
                  <a:pt x="3581891" y="459822"/>
                  <a:pt x="3581891" y="458331"/>
                  <a:pt x="3582638" y="456097"/>
                </a:cubicBezTo>
                <a:close/>
                <a:moveTo>
                  <a:pt x="3584880" y="447902"/>
                </a:moveTo>
                <a:lnTo>
                  <a:pt x="3584497" y="449300"/>
                </a:lnTo>
                <a:lnTo>
                  <a:pt x="3584133" y="448646"/>
                </a:lnTo>
                <a:lnTo>
                  <a:pt x="3584131" y="448646"/>
                </a:lnTo>
                <a:close/>
                <a:moveTo>
                  <a:pt x="3708516" y="447681"/>
                </a:moveTo>
                <a:cubicBezTo>
                  <a:pt x="3714256" y="447681"/>
                  <a:pt x="3719996" y="453420"/>
                  <a:pt x="3714256" y="459160"/>
                </a:cubicBezTo>
                <a:cubicBezTo>
                  <a:pt x="3708516" y="459160"/>
                  <a:pt x="3708516" y="459160"/>
                  <a:pt x="3702776" y="464900"/>
                </a:cubicBezTo>
                <a:cubicBezTo>
                  <a:pt x="3702776" y="453420"/>
                  <a:pt x="3685558" y="464900"/>
                  <a:pt x="3679819" y="470639"/>
                </a:cubicBezTo>
                <a:cubicBezTo>
                  <a:pt x="3668340" y="453420"/>
                  <a:pt x="3702776" y="464900"/>
                  <a:pt x="3708516" y="447681"/>
                </a:cubicBezTo>
                <a:close/>
                <a:moveTo>
                  <a:pt x="3392845" y="447679"/>
                </a:moveTo>
                <a:cubicBezTo>
                  <a:pt x="3398585" y="453418"/>
                  <a:pt x="3381366" y="464898"/>
                  <a:pt x="3381366" y="453418"/>
                </a:cubicBezTo>
                <a:cubicBezTo>
                  <a:pt x="3387106" y="453418"/>
                  <a:pt x="3387106" y="453418"/>
                  <a:pt x="3392845" y="447679"/>
                </a:cubicBezTo>
                <a:close/>
                <a:moveTo>
                  <a:pt x="3779303" y="447571"/>
                </a:moveTo>
                <a:lnTo>
                  <a:pt x="3779901" y="448466"/>
                </a:lnTo>
                <a:lnTo>
                  <a:pt x="3776314" y="452045"/>
                </a:lnTo>
                <a:cubicBezTo>
                  <a:pt x="3776314" y="449062"/>
                  <a:pt x="3777809" y="447571"/>
                  <a:pt x="3779303" y="447571"/>
                </a:cubicBezTo>
                <a:close/>
                <a:moveTo>
                  <a:pt x="3106869" y="444774"/>
                </a:moveTo>
                <a:lnTo>
                  <a:pt x="3105872" y="447394"/>
                </a:lnTo>
                <a:lnTo>
                  <a:pt x="3105299" y="446792"/>
                </a:lnTo>
                <a:close/>
                <a:moveTo>
                  <a:pt x="3578902" y="441942"/>
                </a:moveTo>
                <a:lnTo>
                  <a:pt x="3584131" y="448646"/>
                </a:lnTo>
                <a:lnTo>
                  <a:pt x="3572922" y="459822"/>
                </a:lnTo>
                <a:cubicBezTo>
                  <a:pt x="3572922" y="447902"/>
                  <a:pt x="3566944" y="453862"/>
                  <a:pt x="3566944" y="447902"/>
                </a:cubicBezTo>
                <a:cubicBezTo>
                  <a:pt x="3560966" y="453862"/>
                  <a:pt x="3572922" y="453862"/>
                  <a:pt x="3572922" y="459822"/>
                </a:cubicBezTo>
                <a:cubicBezTo>
                  <a:pt x="3566944" y="459822"/>
                  <a:pt x="3560966" y="453862"/>
                  <a:pt x="3554985" y="459822"/>
                </a:cubicBezTo>
                <a:lnTo>
                  <a:pt x="3557855" y="454815"/>
                </a:lnTo>
                <a:lnTo>
                  <a:pt x="3560966" y="453862"/>
                </a:lnTo>
                <a:cubicBezTo>
                  <a:pt x="3560966" y="453862"/>
                  <a:pt x="3559471" y="453862"/>
                  <a:pt x="3557976" y="454607"/>
                </a:cubicBezTo>
                <a:lnTo>
                  <a:pt x="3557855" y="454815"/>
                </a:lnTo>
                <a:lnTo>
                  <a:pt x="3551249" y="456842"/>
                </a:lnTo>
                <a:cubicBezTo>
                  <a:pt x="3547513" y="458331"/>
                  <a:pt x="3543029" y="459822"/>
                  <a:pt x="3537051" y="459822"/>
                </a:cubicBezTo>
                <a:cubicBezTo>
                  <a:pt x="3531072" y="465781"/>
                  <a:pt x="3531072" y="465781"/>
                  <a:pt x="3531072" y="459822"/>
                </a:cubicBezTo>
                <a:cubicBezTo>
                  <a:pt x="3525093" y="465781"/>
                  <a:pt x="3531072" y="471743"/>
                  <a:pt x="3531072" y="477703"/>
                </a:cubicBezTo>
                <a:cubicBezTo>
                  <a:pt x="3531072" y="477703"/>
                  <a:pt x="3531072" y="477703"/>
                  <a:pt x="3525093" y="483663"/>
                </a:cubicBezTo>
                <a:cubicBezTo>
                  <a:pt x="3525093" y="477703"/>
                  <a:pt x="3525093" y="477703"/>
                  <a:pt x="3519115" y="471743"/>
                </a:cubicBezTo>
                <a:cubicBezTo>
                  <a:pt x="3525093" y="471743"/>
                  <a:pt x="3525093" y="477703"/>
                  <a:pt x="3525093" y="471743"/>
                </a:cubicBezTo>
                <a:lnTo>
                  <a:pt x="3521107" y="467768"/>
                </a:lnTo>
                <a:lnTo>
                  <a:pt x="3525093" y="465781"/>
                </a:lnTo>
                <a:cubicBezTo>
                  <a:pt x="3519115" y="465781"/>
                  <a:pt x="3519115" y="465781"/>
                  <a:pt x="3519115" y="465781"/>
                </a:cubicBezTo>
                <a:lnTo>
                  <a:pt x="3521107" y="467768"/>
                </a:lnTo>
                <a:lnTo>
                  <a:pt x="3501179" y="477703"/>
                </a:lnTo>
                <a:lnTo>
                  <a:pt x="3479574" y="483645"/>
                </a:lnTo>
                <a:lnTo>
                  <a:pt x="3512389" y="464292"/>
                </a:lnTo>
                <a:cubicBezTo>
                  <a:pt x="3535556" y="455353"/>
                  <a:pt x="3560966" y="447902"/>
                  <a:pt x="3578902" y="441942"/>
                </a:cubicBezTo>
                <a:close/>
                <a:moveTo>
                  <a:pt x="2867685" y="441940"/>
                </a:moveTo>
                <a:cubicBezTo>
                  <a:pt x="2867685" y="447679"/>
                  <a:pt x="2841856" y="447679"/>
                  <a:pt x="2841856" y="459158"/>
                </a:cubicBezTo>
                <a:cubicBezTo>
                  <a:pt x="2841856" y="441940"/>
                  <a:pt x="2854771" y="441940"/>
                  <a:pt x="2867685" y="441940"/>
                </a:cubicBezTo>
                <a:close/>
                <a:moveTo>
                  <a:pt x="2741416" y="441940"/>
                </a:moveTo>
                <a:cubicBezTo>
                  <a:pt x="2741416" y="441940"/>
                  <a:pt x="2747155" y="447679"/>
                  <a:pt x="2747155" y="441940"/>
                </a:cubicBezTo>
                <a:cubicBezTo>
                  <a:pt x="2747155" y="447679"/>
                  <a:pt x="2741416" y="447679"/>
                  <a:pt x="2741416" y="447679"/>
                </a:cubicBezTo>
                <a:cubicBezTo>
                  <a:pt x="2741416" y="447679"/>
                  <a:pt x="2741416" y="453418"/>
                  <a:pt x="2741416" y="453418"/>
                </a:cubicBezTo>
                <a:cubicBezTo>
                  <a:pt x="2735677" y="459158"/>
                  <a:pt x="2735677" y="447679"/>
                  <a:pt x="2729937" y="453418"/>
                </a:cubicBezTo>
                <a:cubicBezTo>
                  <a:pt x="2724197" y="447679"/>
                  <a:pt x="2735677" y="441940"/>
                  <a:pt x="2741416" y="441940"/>
                </a:cubicBezTo>
                <a:close/>
                <a:moveTo>
                  <a:pt x="2609407" y="441940"/>
                </a:moveTo>
                <a:cubicBezTo>
                  <a:pt x="2609407" y="447858"/>
                  <a:pt x="2603428" y="447858"/>
                  <a:pt x="2597450" y="453777"/>
                </a:cubicBezTo>
                <a:cubicBezTo>
                  <a:pt x="2597450" y="459697"/>
                  <a:pt x="2603428" y="459697"/>
                  <a:pt x="2603428" y="465615"/>
                </a:cubicBezTo>
                <a:cubicBezTo>
                  <a:pt x="2591470" y="477452"/>
                  <a:pt x="2597450" y="477452"/>
                  <a:pt x="2579514" y="483372"/>
                </a:cubicBezTo>
                <a:cubicBezTo>
                  <a:pt x="2579514" y="477452"/>
                  <a:pt x="2585492" y="477452"/>
                  <a:pt x="2585492" y="471534"/>
                </a:cubicBezTo>
                <a:cubicBezTo>
                  <a:pt x="2585492" y="465615"/>
                  <a:pt x="2573534" y="477452"/>
                  <a:pt x="2573534" y="483372"/>
                </a:cubicBezTo>
                <a:cubicBezTo>
                  <a:pt x="2567556" y="489290"/>
                  <a:pt x="2561578" y="483372"/>
                  <a:pt x="2555600" y="483372"/>
                </a:cubicBezTo>
                <a:cubicBezTo>
                  <a:pt x="2567556" y="477452"/>
                  <a:pt x="2561578" y="465615"/>
                  <a:pt x="2573534" y="471534"/>
                </a:cubicBezTo>
                <a:cubicBezTo>
                  <a:pt x="2579514" y="453777"/>
                  <a:pt x="2549620" y="471534"/>
                  <a:pt x="2543642" y="477452"/>
                </a:cubicBezTo>
                <a:cubicBezTo>
                  <a:pt x="2543642" y="459697"/>
                  <a:pt x="2555600" y="465615"/>
                  <a:pt x="2567556" y="453777"/>
                </a:cubicBezTo>
                <a:cubicBezTo>
                  <a:pt x="2573534" y="459697"/>
                  <a:pt x="2579514" y="471534"/>
                  <a:pt x="2585492" y="465615"/>
                </a:cubicBezTo>
                <a:cubicBezTo>
                  <a:pt x="2585492" y="459697"/>
                  <a:pt x="2579514" y="459697"/>
                  <a:pt x="2573534" y="459697"/>
                </a:cubicBezTo>
                <a:cubicBezTo>
                  <a:pt x="2573534" y="453777"/>
                  <a:pt x="2573534" y="453777"/>
                  <a:pt x="2579514" y="453777"/>
                </a:cubicBezTo>
                <a:cubicBezTo>
                  <a:pt x="2585492" y="459697"/>
                  <a:pt x="2585492" y="453777"/>
                  <a:pt x="2591470" y="453777"/>
                </a:cubicBezTo>
                <a:cubicBezTo>
                  <a:pt x="2591470" y="453777"/>
                  <a:pt x="2591470" y="447858"/>
                  <a:pt x="2591470" y="447858"/>
                </a:cubicBezTo>
                <a:cubicBezTo>
                  <a:pt x="2597450" y="447858"/>
                  <a:pt x="2597450" y="441940"/>
                  <a:pt x="2609407" y="441940"/>
                </a:cubicBezTo>
                <a:close/>
                <a:moveTo>
                  <a:pt x="3100132" y="441367"/>
                </a:moveTo>
                <a:lnTo>
                  <a:pt x="3105299" y="446792"/>
                </a:lnTo>
                <a:lnTo>
                  <a:pt x="3100132" y="453420"/>
                </a:lnTo>
                <a:cubicBezTo>
                  <a:pt x="3100132" y="447394"/>
                  <a:pt x="3100132" y="447394"/>
                  <a:pt x="3100132" y="447394"/>
                </a:cubicBezTo>
                <a:cubicBezTo>
                  <a:pt x="3100132" y="447394"/>
                  <a:pt x="3100132" y="447394"/>
                  <a:pt x="3100132" y="441367"/>
                </a:cubicBezTo>
                <a:close/>
                <a:moveTo>
                  <a:pt x="3588466" y="441224"/>
                </a:moveTo>
                <a:cubicBezTo>
                  <a:pt x="3588466" y="447321"/>
                  <a:pt x="3594444" y="441224"/>
                  <a:pt x="3594444" y="441224"/>
                </a:cubicBezTo>
                <a:cubicBezTo>
                  <a:pt x="3594444" y="447321"/>
                  <a:pt x="3594444" y="447321"/>
                  <a:pt x="3588466" y="453420"/>
                </a:cubicBezTo>
                <a:cubicBezTo>
                  <a:pt x="3588466" y="447321"/>
                  <a:pt x="3588466" y="447321"/>
                  <a:pt x="3588466" y="441224"/>
                </a:cubicBezTo>
                <a:close/>
                <a:moveTo>
                  <a:pt x="3009378" y="440504"/>
                </a:moveTo>
                <a:cubicBezTo>
                  <a:pt x="3013563" y="440504"/>
                  <a:pt x="3016911" y="441940"/>
                  <a:pt x="3016911" y="447679"/>
                </a:cubicBezTo>
                <a:cubicBezTo>
                  <a:pt x="3003519" y="447679"/>
                  <a:pt x="3010215" y="447679"/>
                  <a:pt x="2996822" y="453418"/>
                </a:cubicBezTo>
                <a:cubicBezTo>
                  <a:pt x="2996822" y="447679"/>
                  <a:pt x="2996822" y="447679"/>
                  <a:pt x="2996822" y="441940"/>
                </a:cubicBezTo>
                <a:cubicBezTo>
                  <a:pt x="3000172" y="441940"/>
                  <a:pt x="3005193" y="440504"/>
                  <a:pt x="3009378" y="440504"/>
                </a:cubicBezTo>
                <a:close/>
                <a:moveTo>
                  <a:pt x="4386070" y="440116"/>
                </a:moveTo>
                <a:cubicBezTo>
                  <a:pt x="4383082" y="443098"/>
                  <a:pt x="4381588" y="444588"/>
                  <a:pt x="4380841" y="444588"/>
                </a:cubicBezTo>
                <a:lnTo>
                  <a:pt x="4380805" y="444373"/>
                </a:lnTo>
                <a:close/>
                <a:moveTo>
                  <a:pt x="3794248" y="440116"/>
                </a:moveTo>
                <a:lnTo>
                  <a:pt x="3792455" y="441905"/>
                </a:lnTo>
                <a:lnTo>
                  <a:pt x="3792007" y="440861"/>
                </a:lnTo>
                <a:cubicBezTo>
                  <a:pt x="3792754" y="440116"/>
                  <a:pt x="3794248" y="440116"/>
                  <a:pt x="3794248" y="440116"/>
                </a:cubicBezTo>
                <a:close/>
                <a:moveTo>
                  <a:pt x="3782292" y="440116"/>
                </a:moveTo>
                <a:lnTo>
                  <a:pt x="3787076" y="441309"/>
                </a:lnTo>
                <a:lnTo>
                  <a:pt x="3784085" y="444292"/>
                </a:lnTo>
                <a:close/>
                <a:moveTo>
                  <a:pt x="3789765" y="438625"/>
                </a:moveTo>
                <a:lnTo>
                  <a:pt x="3788271" y="441607"/>
                </a:lnTo>
                <a:lnTo>
                  <a:pt x="3787076" y="441309"/>
                </a:lnTo>
                <a:close/>
                <a:moveTo>
                  <a:pt x="2813159" y="436200"/>
                </a:moveTo>
                <a:cubicBezTo>
                  <a:pt x="2813159" y="447679"/>
                  <a:pt x="2807419" y="453418"/>
                  <a:pt x="2801679" y="459158"/>
                </a:cubicBezTo>
                <a:cubicBezTo>
                  <a:pt x="2795940" y="453418"/>
                  <a:pt x="2795940" y="453418"/>
                  <a:pt x="2790201" y="447679"/>
                </a:cubicBezTo>
                <a:cubicBezTo>
                  <a:pt x="2801679" y="441940"/>
                  <a:pt x="2807419" y="441940"/>
                  <a:pt x="2813159" y="436200"/>
                </a:cubicBezTo>
                <a:close/>
                <a:moveTo>
                  <a:pt x="2877730" y="434765"/>
                </a:moveTo>
                <a:cubicBezTo>
                  <a:pt x="2882034" y="434765"/>
                  <a:pt x="2887774" y="436200"/>
                  <a:pt x="2890642" y="436200"/>
                </a:cubicBezTo>
                <a:cubicBezTo>
                  <a:pt x="2884903" y="436200"/>
                  <a:pt x="2884903" y="441940"/>
                  <a:pt x="2884903" y="447679"/>
                </a:cubicBezTo>
                <a:cubicBezTo>
                  <a:pt x="2879163" y="447679"/>
                  <a:pt x="2879163" y="436200"/>
                  <a:pt x="2873424" y="441940"/>
                </a:cubicBezTo>
                <a:cubicBezTo>
                  <a:pt x="2870555" y="436200"/>
                  <a:pt x="2873424" y="434765"/>
                  <a:pt x="2877730" y="434765"/>
                </a:cubicBezTo>
                <a:close/>
                <a:moveTo>
                  <a:pt x="3794248" y="434152"/>
                </a:moveTo>
                <a:lnTo>
                  <a:pt x="3789765" y="438625"/>
                </a:lnTo>
                <a:lnTo>
                  <a:pt x="3790699" y="436761"/>
                </a:lnTo>
                <a:cubicBezTo>
                  <a:pt x="3791633" y="435270"/>
                  <a:pt x="3792755" y="434152"/>
                  <a:pt x="3794248" y="434152"/>
                </a:cubicBezTo>
                <a:close/>
                <a:moveTo>
                  <a:pt x="4425950" y="430462"/>
                </a:moveTo>
                <a:cubicBezTo>
                  <a:pt x="4420210" y="436202"/>
                  <a:pt x="4397252" y="447681"/>
                  <a:pt x="4391513" y="441942"/>
                </a:cubicBezTo>
                <a:cubicBezTo>
                  <a:pt x="4397252" y="436202"/>
                  <a:pt x="4408732" y="436202"/>
                  <a:pt x="4425950" y="430462"/>
                </a:cubicBezTo>
                <a:close/>
                <a:moveTo>
                  <a:pt x="3421543" y="430462"/>
                </a:moveTo>
                <a:cubicBezTo>
                  <a:pt x="3433021" y="436202"/>
                  <a:pt x="3404324" y="459160"/>
                  <a:pt x="3398585" y="441942"/>
                </a:cubicBezTo>
                <a:cubicBezTo>
                  <a:pt x="3404324" y="447681"/>
                  <a:pt x="3421543" y="441942"/>
                  <a:pt x="3421543" y="430462"/>
                </a:cubicBezTo>
                <a:close/>
                <a:moveTo>
                  <a:pt x="3326484" y="430462"/>
                </a:moveTo>
                <a:cubicBezTo>
                  <a:pt x="3332403" y="430462"/>
                  <a:pt x="3332403" y="442299"/>
                  <a:pt x="3338321" y="436381"/>
                </a:cubicBezTo>
                <a:cubicBezTo>
                  <a:pt x="3326484" y="448220"/>
                  <a:pt x="3302809" y="454138"/>
                  <a:pt x="3290970" y="471895"/>
                </a:cubicBezTo>
                <a:cubicBezTo>
                  <a:pt x="3249539" y="471895"/>
                  <a:pt x="3208106" y="495571"/>
                  <a:pt x="3166676" y="525165"/>
                </a:cubicBezTo>
                <a:cubicBezTo>
                  <a:pt x="3148919" y="513326"/>
                  <a:pt x="3196269" y="513326"/>
                  <a:pt x="3190351" y="495571"/>
                </a:cubicBezTo>
                <a:cubicBezTo>
                  <a:pt x="3202188" y="507407"/>
                  <a:pt x="3243621" y="477814"/>
                  <a:pt x="3243621" y="471895"/>
                </a:cubicBezTo>
                <a:cubicBezTo>
                  <a:pt x="3261376" y="465975"/>
                  <a:pt x="3285051" y="471895"/>
                  <a:pt x="3296890" y="448220"/>
                </a:cubicBezTo>
                <a:cubicBezTo>
                  <a:pt x="3308728" y="448220"/>
                  <a:pt x="3326484" y="448220"/>
                  <a:pt x="3326484" y="430462"/>
                </a:cubicBezTo>
                <a:close/>
                <a:moveTo>
                  <a:pt x="2979603" y="430461"/>
                </a:moveTo>
                <a:cubicBezTo>
                  <a:pt x="2979603" y="430461"/>
                  <a:pt x="2979603" y="436200"/>
                  <a:pt x="2979603" y="441940"/>
                </a:cubicBezTo>
                <a:cubicBezTo>
                  <a:pt x="2968124" y="447679"/>
                  <a:pt x="2973864" y="447679"/>
                  <a:pt x="2962385" y="453418"/>
                </a:cubicBezTo>
                <a:cubicBezTo>
                  <a:pt x="2968124" y="441940"/>
                  <a:pt x="2956645" y="447679"/>
                  <a:pt x="2950906" y="453418"/>
                </a:cubicBezTo>
                <a:cubicBezTo>
                  <a:pt x="2950906" y="447679"/>
                  <a:pt x="2956645" y="447679"/>
                  <a:pt x="2950906" y="441940"/>
                </a:cubicBezTo>
                <a:cubicBezTo>
                  <a:pt x="2962385" y="447679"/>
                  <a:pt x="2968124" y="436200"/>
                  <a:pt x="2979603" y="430461"/>
                </a:cubicBezTo>
                <a:close/>
                <a:moveTo>
                  <a:pt x="2764374" y="430461"/>
                </a:moveTo>
                <a:cubicBezTo>
                  <a:pt x="2764374" y="430461"/>
                  <a:pt x="2764374" y="436200"/>
                  <a:pt x="2770113" y="436200"/>
                </a:cubicBezTo>
                <a:cubicBezTo>
                  <a:pt x="2764374" y="441940"/>
                  <a:pt x="2752895" y="447679"/>
                  <a:pt x="2747155" y="436200"/>
                </a:cubicBezTo>
                <a:cubicBezTo>
                  <a:pt x="2752895" y="436200"/>
                  <a:pt x="2758634" y="430461"/>
                  <a:pt x="2764374" y="430461"/>
                </a:cubicBezTo>
                <a:close/>
                <a:moveTo>
                  <a:pt x="2626625" y="430461"/>
                </a:moveTo>
                <a:cubicBezTo>
                  <a:pt x="2632364" y="430461"/>
                  <a:pt x="2626625" y="436200"/>
                  <a:pt x="2626625" y="436200"/>
                </a:cubicBezTo>
                <a:cubicBezTo>
                  <a:pt x="2632364" y="441940"/>
                  <a:pt x="2632364" y="441940"/>
                  <a:pt x="2638104" y="459158"/>
                </a:cubicBezTo>
                <a:cubicBezTo>
                  <a:pt x="2626625" y="459158"/>
                  <a:pt x="2620885" y="441940"/>
                  <a:pt x="2626625" y="430461"/>
                </a:cubicBezTo>
                <a:close/>
                <a:moveTo>
                  <a:pt x="3616470" y="429884"/>
                </a:moveTo>
                <a:lnTo>
                  <a:pt x="3613129" y="432838"/>
                </a:lnTo>
                <a:cubicBezTo>
                  <a:pt x="3609392" y="436650"/>
                  <a:pt x="3606403" y="441223"/>
                  <a:pt x="3606403" y="447321"/>
                </a:cubicBezTo>
                <a:cubicBezTo>
                  <a:pt x="3600424" y="447321"/>
                  <a:pt x="3600424" y="441224"/>
                  <a:pt x="3600424" y="441224"/>
                </a:cubicBezTo>
                <a:cubicBezTo>
                  <a:pt x="3600424" y="438174"/>
                  <a:pt x="3601919" y="436650"/>
                  <a:pt x="3604908" y="435125"/>
                </a:cubicBezTo>
                <a:close/>
                <a:moveTo>
                  <a:pt x="3745823" y="429027"/>
                </a:moveTo>
                <a:cubicBezTo>
                  <a:pt x="3745823" y="429027"/>
                  <a:pt x="3745823" y="429027"/>
                  <a:pt x="3745823" y="436202"/>
                </a:cubicBezTo>
                <a:cubicBezTo>
                  <a:pt x="3740084" y="436202"/>
                  <a:pt x="3740084" y="436202"/>
                  <a:pt x="3734344" y="436202"/>
                </a:cubicBezTo>
                <a:cubicBezTo>
                  <a:pt x="3734344" y="421853"/>
                  <a:pt x="3740084" y="436202"/>
                  <a:pt x="3745823" y="429027"/>
                </a:cubicBezTo>
                <a:close/>
                <a:moveTo>
                  <a:pt x="3617529" y="428947"/>
                </a:moveTo>
                <a:lnTo>
                  <a:pt x="3618360" y="429027"/>
                </a:lnTo>
                <a:lnTo>
                  <a:pt x="3616470" y="429884"/>
                </a:lnTo>
                <a:close/>
                <a:moveTo>
                  <a:pt x="3115539" y="422019"/>
                </a:moveTo>
                <a:lnTo>
                  <a:pt x="3113046" y="436847"/>
                </a:lnTo>
                <a:lnTo>
                  <a:pt x="3106869" y="444774"/>
                </a:lnTo>
                <a:close/>
                <a:moveTo>
                  <a:pt x="3355539" y="421853"/>
                </a:moveTo>
                <a:cubicBezTo>
                  <a:pt x="3361279" y="421853"/>
                  <a:pt x="3361279" y="428548"/>
                  <a:pt x="3361279" y="435246"/>
                </a:cubicBezTo>
                <a:cubicBezTo>
                  <a:pt x="3349800" y="435246"/>
                  <a:pt x="3349800" y="428548"/>
                  <a:pt x="3338321" y="441942"/>
                </a:cubicBezTo>
                <a:cubicBezTo>
                  <a:pt x="3338321" y="421853"/>
                  <a:pt x="3349800" y="435246"/>
                  <a:pt x="3355539" y="421853"/>
                </a:cubicBezTo>
                <a:close/>
                <a:moveTo>
                  <a:pt x="3116419" y="416773"/>
                </a:moveTo>
                <a:lnTo>
                  <a:pt x="3117350" y="417261"/>
                </a:lnTo>
                <a:lnTo>
                  <a:pt x="3115539" y="422019"/>
                </a:lnTo>
                <a:close/>
                <a:moveTo>
                  <a:pt x="3051347" y="416113"/>
                </a:moveTo>
                <a:cubicBezTo>
                  <a:pt x="3057087" y="416113"/>
                  <a:pt x="3039868" y="429506"/>
                  <a:pt x="3034129" y="436202"/>
                </a:cubicBezTo>
                <a:cubicBezTo>
                  <a:pt x="3034129" y="429506"/>
                  <a:pt x="3034129" y="429506"/>
                  <a:pt x="3028390" y="429506"/>
                </a:cubicBezTo>
                <a:cubicBezTo>
                  <a:pt x="3034129" y="422809"/>
                  <a:pt x="3045608" y="422809"/>
                  <a:pt x="3051347" y="416113"/>
                </a:cubicBezTo>
                <a:close/>
                <a:moveTo>
                  <a:pt x="2913600" y="416113"/>
                </a:moveTo>
                <a:cubicBezTo>
                  <a:pt x="2919340" y="423288"/>
                  <a:pt x="2913600" y="423288"/>
                  <a:pt x="2913600" y="430462"/>
                </a:cubicBezTo>
                <a:cubicBezTo>
                  <a:pt x="2907861" y="430462"/>
                  <a:pt x="2907861" y="423288"/>
                  <a:pt x="2896382" y="423288"/>
                </a:cubicBezTo>
                <a:cubicBezTo>
                  <a:pt x="2896382" y="416113"/>
                  <a:pt x="2907861" y="416113"/>
                  <a:pt x="2913600" y="416113"/>
                </a:cubicBezTo>
                <a:close/>
                <a:moveTo>
                  <a:pt x="2795369" y="416113"/>
                </a:moveTo>
                <a:cubicBezTo>
                  <a:pt x="2801681" y="429506"/>
                  <a:pt x="2776428" y="436202"/>
                  <a:pt x="2770113" y="429506"/>
                </a:cubicBezTo>
                <a:cubicBezTo>
                  <a:pt x="2770113" y="416113"/>
                  <a:pt x="2795369" y="429506"/>
                  <a:pt x="2795369" y="416113"/>
                </a:cubicBezTo>
                <a:close/>
                <a:moveTo>
                  <a:pt x="2849748" y="415755"/>
                </a:moveTo>
                <a:cubicBezTo>
                  <a:pt x="2854322" y="418060"/>
                  <a:pt x="2858898" y="422673"/>
                  <a:pt x="2861945" y="428823"/>
                </a:cubicBezTo>
                <a:cubicBezTo>
                  <a:pt x="2849748" y="428823"/>
                  <a:pt x="2849748" y="434971"/>
                  <a:pt x="2837552" y="428823"/>
                </a:cubicBezTo>
                <a:cubicBezTo>
                  <a:pt x="2843651" y="428823"/>
                  <a:pt x="2837552" y="441121"/>
                  <a:pt x="2837552" y="441121"/>
                </a:cubicBezTo>
                <a:cubicBezTo>
                  <a:pt x="2837552" y="447271"/>
                  <a:pt x="2831455" y="441121"/>
                  <a:pt x="2825355" y="441121"/>
                </a:cubicBezTo>
                <a:cubicBezTo>
                  <a:pt x="2825355" y="441121"/>
                  <a:pt x="2825355" y="447271"/>
                  <a:pt x="2825355" y="453420"/>
                </a:cubicBezTo>
                <a:cubicBezTo>
                  <a:pt x="2819257" y="453420"/>
                  <a:pt x="2819257" y="453420"/>
                  <a:pt x="2813159" y="453420"/>
                </a:cubicBezTo>
                <a:cubicBezTo>
                  <a:pt x="2819257" y="447271"/>
                  <a:pt x="2825355" y="447271"/>
                  <a:pt x="2819257" y="434971"/>
                </a:cubicBezTo>
                <a:cubicBezTo>
                  <a:pt x="2825355" y="428823"/>
                  <a:pt x="2831455" y="428823"/>
                  <a:pt x="2843651" y="422673"/>
                </a:cubicBezTo>
                <a:cubicBezTo>
                  <a:pt x="2843651" y="422673"/>
                  <a:pt x="2843651" y="416523"/>
                  <a:pt x="2837552" y="416523"/>
                </a:cubicBezTo>
                <a:cubicBezTo>
                  <a:pt x="2840601" y="413448"/>
                  <a:pt x="2845175" y="413448"/>
                  <a:pt x="2849748" y="415755"/>
                </a:cubicBezTo>
                <a:close/>
                <a:moveTo>
                  <a:pt x="3648252" y="410732"/>
                </a:moveTo>
                <a:cubicBezTo>
                  <a:pt x="3636296" y="410732"/>
                  <a:pt x="3636296" y="429027"/>
                  <a:pt x="3630316" y="416831"/>
                </a:cubicBezTo>
                <a:cubicBezTo>
                  <a:pt x="3624338" y="422928"/>
                  <a:pt x="3630316" y="435125"/>
                  <a:pt x="3624338" y="422928"/>
                </a:cubicBezTo>
                <a:lnTo>
                  <a:pt x="3617529" y="428947"/>
                </a:lnTo>
                <a:lnTo>
                  <a:pt x="3610419" y="428265"/>
                </a:lnTo>
                <a:cubicBezTo>
                  <a:pt x="3603413" y="430552"/>
                  <a:pt x="3598929" y="439699"/>
                  <a:pt x="3594444" y="435125"/>
                </a:cubicBezTo>
                <a:cubicBezTo>
                  <a:pt x="3588466" y="435125"/>
                  <a:pt x="3594444" y="441224"/>
                  <a:pt x="3588466" y="441224"/>
                </a:cubicBezTo>
                <a:cubicBezTo>
                  <a:pt x="3582488" y="435125"/>
                  <a:pt x="3576508" y="447321"/>
                  <a:pt x="3576508" y="435125"/>
                </a:cubicBezTo>
                <a:cubicBezTo>
                  <a:pt x="3612381" y="429027"/>
                  <a:pt x="3630316" y="404634"/>
                  <a:pt x="3648252" y="410732"/>
                </a:cubicBezTo>
                <a:close/>
                <a:moveTo>
                  <a:pt x="4445083" y="410374"/>
                </a:moveTo>
                <a:cubicBezTo>
                  <a:pt x="4445083" y="417069"/>
                  <a:pt x="4445083" y="417069"/>
                  <a:pt x="4451778" y="417069"/>
                </a:cubicBezTo>
                <a:cubicBezTo>
                  <a:pt x="4451778" y="423767"/>
                  <a:pt x="4445083" y="430462"/>
                  <a:pt x="4431689" y="430462"/>
                </a:cubicBezTo>
                <a:cubicBezTo>
                  <a:pt x="4438387" y="417069"/>
                  <a:pt x="4438387" y="417069"/>
                  <a:pt x="4445083" y="410374"/>
                </a:cubicBezTo>
                <a:close/>
                <a:moveTo>
                  <a:pt x="3458850" y="410374"/>
                </a:moveTo>
                <a:cubicBezTo>
                  <a:pt x="3452537" y="417069"/>
                  <a:pt x="3452537" y="417069"/>
                  <a:pt x="3458850" y="423767"/>
                </a:cubicBezTo>
                <a:cubicBezTo>
                  <a:pt x="3446223" y="423767"/>
                  <a:pt x="3439909" y="423767"/>
                  <a:pt x="3439909" y="430462"/>
                </a:cubicBezTo>
                <a:cubicBezTo>
                  <a:pt x="3427282" y="423767"/>
                  <a:pt x="3452537" y="423767"/>
                  <a:pt x="3458850" y="410374"/>
                </a:cubicBezTo>
                <a:close/>
                <a:moveTo>
                  <a:pt x="3309624" y="410374"/>
                </a:moveTo>
                <a:cubicBezTo>
                  <a:pt x="3309624" y="416831"/>
                  <a:pt x="3309624" y="423288"/>
                  <a:pt x="3321103" y="423288"/>
                </a:cubicBezTo>
                <a:cubicBezTo>
                  <a:pt x="3309624" y="436202"/>
                  <a:pt x="3309624" y="416831"/>
                  <a:pt x="3298145" y="416831"/>
                </a:cubicBezTo>
                <a:cubicBezTo>
                  <a:pt x="3292406" y="410374"/>
                  <a:pt x="3309624" y="416831"/>
                  <a:pt x="3309624" y="410374"/>
                </a:cubicBezTo>
                <a:close/>
                <a:moveTo>
                  <a:pt x="2968124" y="410374"/>
                </a:moveTo>
                <a:cubicBezTo>
                  <a:pt x="2973864" y="410374"/>
                  <a:pt x="2968124" y="423288"/>
                  <a:pt x="2979603" y="416831"/>
                </a:cubicBezTo>
                <a:cubicBezTo>
                  <a:pt x="2968124" y="423288"/>
                  <a:pt x="2956645" y="436202"/>
                  <a:pt x="2945167" y="429745"/>
                </a:cubicBezTo>
                <a:cubicBezTo>
                  <a:pt x="2945167" y="423288"/>
                  <a:pt x="2962385" y="416831"/>
                  <a:pt x="2968124" y="410374"/>
                </a:cubicBezTo>
                <a:close/>
                <a:moveTo>
                  <a:pt x="3846264" y="404634"/>
                </a:moveTo>
                <a:cubicBezTo>
                  <a:pt x="3852003" y="411091"/>
                  <a:pt x="3829045" y="430462"/>
                  <a:pt x="3823305" y="424005"/>
                </a:cubicBezTo>
                <a:cubicBezTo>
                  <a:pt x="3817566" y="411091"/>
                  <a:pt x="3846264" y="417548"/>
                  <a:pt x="3846264" y="404634"/>
                </a:cubicBezTo>
                <a:close/>
                <a:moveTo>
                  <a:pt x="3062827" y="404634"/>
                </a:moveTo>
                <a:cubicBezTo>
                  <a:pt x="3062827" y="404634"/>
                  <a:pt x="3069524" y="404634"/>
                  <a:pt x="3069524" y="404634"/>
                </a:cubicBezTo>
                <a:cubicBezTo>
                  <a:pt x="3069524" y="404634"/>
                  <a:pt x="3069524" y="404634"/>
                  <a:pt x="3076220" y="404634"/>
                </a:cubicBezTo>
                <a:cubicBezTo>
                  <a:pt x="3076220" y="410374"/>
                  <a:pt x="3069524" y="410374"/>
                  <a:pt x="3069524" y="410374"/>
                </a:cubicBezTo>
                <a:cubicBezTo>
                  <a:pt x="3069524" y="416113"/>
                  <a:pt x="3076220" y="410374"/>
                  <a:pt x="3076220" y="410374"/>
                </a:cubicBezTo>
                <a:cubicBezTo>
                  <a:pt x="3082916" y="416113"/>
                  <a:pt x="3062827" y="416113"/>
                  <a:pt x="3062827" y="421853"/>
                </a:cubicBezTo>
                <a:cubicBezTo>
                  <a:pt x="3062827" y="416113"/>
                  <a:pt x="3069524" y="416113"/>
                  <a:pt x="3062827" y="404634"/>
                </a:cubicBezTo>
                <a:close/>
                <a:moveTo>
                  <a:pt x="2692630" y="404634"/>
                </a:moveTo>
                <a:cubicBezTo>
                  <a:pt x="2680578" y="422635"/>
                  <a:pt x="2662497" y="416636"/>
                  <a:pt x="2644418" y="428635"/>
                </a:cubicBezTo>
                <a:cubicBezTo>
                  <a:pt x="2650445" y="440637"/>
                  <a:pt x="2668524" y="416636"/>
                  <a:pt x="2668524" y="434637"/>
                </a:cubicBezTo>
                <a:cubicBezTo>
                  <a:pt x="2674551" y="434637"/>
                  <a:pt x="2674551" y="428635"/>
                  <a:pt x="2668524" y="422635"/>
                </a:cubicBezTo>
                <a:cubicBezTo>
                  <a:pt x="2680578" y="422635"/>
                  <a:pt x="2680578" y="416636"/>
                  <a:pt x="2686603" y="416636"/>
                </a:cubicBezTo>
                <a:cubicBezTo>
                  <a:pt x="2686603" y="422635"/>
                  <a:pt x="2686603" y="440637"/>
                  <a:pt x="2674551" y="440637"/>
                </a:cubicBezTo>
                <a:cubicBezTo>
                  <a:pt x="2680578" y="440637"/>
                  <a:pt x="2680578" y="446636"/>
                  <a:pt x="2680578" y="452637"/>
                </a:cubicBezTo>
                <a:cubicBezTo>
                  <a:pt x="2668524" y="464639"/>
                  <a:pt x="2656470" y="464639"/>
                  <a:pt x="2644418" y="470639"/>
                </a:cubicBezTo>
                <a:cubicBezTo>
                  <a:pt x="2644418" y="464639"/>
                  <a:pt x="2638391" y="464639"/>
                  <a:pt x="2638391" y="458637"/>
                </a:cubicBezTo>
                <a:cubicBezTo>
                  <a:pt x="2644418" y="458637"/>
                  <a:pt x="2644418" y="452637"/>
                  <a:pt x="2650445" y="452637"/>
                </a:cubicBezTo>
                <a:cubicBezTo>
                  <a:pt x="2650445" y="458637"/>
                  <a:pt x="2650445" y="458637"/>
                  <a:pt x="2650445" y="464639"/>
                </a:cubicBezTo>
                <a:cubicBezTo>
                  <a:pt x="2662497" y="458637"/>
                  <a:pt x="2656470" y="452637"/>
                  <a:pt x="2668524" y="452637"/>
                </a:cubicBezTo>
                <a:cubicBezTo>
                  <a:pt x="2656470" y="446636"/>
                  <a:pt x="2650445" y="440637"/>
                  <a:pt x="2638391" y="440637"/>
                </a:cubicBezTo>
                <a:cubicBezTo>
                  <a:pt x="2650445" y="434637"/>
                  <a:pt x="2632364" y="434637"/>
                  <a:pt x="2632364" y="422635"/>
                </a:cubicBezTo>
                <a:cubicBezTo>
                  <a:pt x="2644418" y="428635"/>
                  <a:pt x="2674551" y="404634"/>
                  <a:pt x="2692630" y="404634"/>
                </a:cubicBezTo>
                <a:close/>
                <a:moveTo>
                  <a:pt x="3697178" y="398822"/>
                </a:moveTo>
                <a:lnTo>
                  <a:pt x="3697480" y="398894"/>
                </a:lnTo>
                <a:cubicBezTo>
                  <a:pt x="3697480" y="398894"/>
                  <a:pt x="3697480" y="404634"/>
                  <a:pt x="3697480" y="404634"/>
                </a:cubicBezTo>
                <a:close/>
                <a:moveTo>
                  <a:pt x="2707965" y="394052"/>
                </a:moveTo>
                <a:cubicBezTo>
                  <a:pt x="2709131" y="394590"/>
                  <a:pt x="2709848" y="396025"/>
                  <a:pt x="2709848" y="398894"/>
                </a:cubicBezTo>
                <a:cubicBezTo>
                  <a:pt x="2704108" y="398894"/>
                  <a:pt x="2692630" y="410374"/>
                  <a:pt x="2692630" y="398894"/>
                </a:cubicBezTo>
                <a:cubicBezTo>
                  <a:pt x="2695500" y="398894"/>
                  <a:pt x="2699805" y="396024"/>
                  <a:pt x="2703391" y="394590"/>
                </a:cubicBezTo>
                <a:cubicBezTo>
                  <a:pt x="2705185" y="393873"/>
                  <a:pt x="2706799" y="393514"/>
                  <a:pt x="2707965" y="394052"/>
                </a:cubicBezTo>
                <a:close/>
                <a:moveTo>
                  <a:pt x="4397252" y="393155"/>
                </a:moveTo>
                <a:cubicBezTo>
                  <a:pt x="4391513" y="393155"/>
                  <a:pt x="4385774" y="404634"/>
                  <a:pt x="4380034" y="398894"/>
                </a:cubicBezTo>
                <a:cubicBezTo>
                  <a:pt x="4380034" y="393155"/>
                  <a:pt x="4385774" y="393155"/>
                  <a:pt x="4397252" y="393155"/>
                </a:cubicBezTo>
                <a:close/>
                <a:moveTo>
                  <a:pt x="3441632" y="393155"/>
                </a:moveTo>
                <a:cubicBezTo>
                  <a:pt x="3441632" y="404634"/>
                  <a:pt x="3416378" y="398894"/>
                  <a:pt x="3422690" y="410374"/>
                </a:cubicBezTo>
                <a:cubicBezTo>
                  <a:pt x="3416378" y="410374"/>
                  <a:pt x="3410063" y="410374"/>
                  <a:pt x="3410063" y="404634"/>
                </a:cubicBezTo>
                <a:cubicBezTo>
                  <a:pt x="3416378" y="398894"/>
                  <a:pt x="3429005" y="398894"/>
                  <a:pt x="3441632" y="393155"/>
                </a:cubicBezTo>
                <a:close/>
                <a:moveTo>
                  <a:pt x="3010694" y="393155"/>
                </a:moveTo>
                <a:cubicBezTo>
                  <a:pt x="3016911" y="410374"/>
                  <a:pt x="2998257" y="404634"/>
                  <a:pt x="2992040" y="416113"/>
                </a:cubicBezTo>
                <a:cubicBezTo>
                  <a:pt x="2979603" y="404634"/>
                  <a:pt x="3004476" y="398894"/>
                  <a:pt x="3010694" y="393155"/>
                </a:cubicBezTo>
                <a:close/>
                <a:moveTo>
                  <a:pt x="2950906" y="393155"/>
                </a:moveTo>
                <a:cubicBezTo>
                  <a:pt x="2950906" y="404634"/>
                  <a:pt x="2962385" y="398894"/>
                  <a:pt x="2956645" y="404634"/>
                </a:cubicBezTo>
                <a:cubicBezTo>
                  <a:pt x="2950906" y="410374"/>
                  <a:pt x="2939427" y="393155"/>
                  <a:pt x="2950906" y="393155"/>
                </a:cubicBezTo>
                <a:close/>
                <a:moveTo>
                  <a:pt x="2747155" y="393155"/>
                </a:moveTo>
                <a:cubicBezTo>
                  <a:pt x="2747155" y="398894"/>
                  <a:pt x="2741416" y="398894"/>
                  <a:pt x="2741416" y="404634"/>
                </a:cubicBezTo>
                <a:cubicBezTo>
                  <a:pt x="2735677" y="404634"/>
                  <a:pt x="2724197" y="410374"/>
                  <a:pt x="2729937" y="421853"/>
                </a:cubicBezTo>
                <a:cubicBezTo>
                  <a:pt x="2718458" y="421853"/>
                  <a:pt x="2729937" y="404634"/>
                  <a:pt x="2724197" y="404634"/>
                </a:cubicBezTo>
                <a:cubicBezTo>
                  <a:pt x="2729937" y="398894"/>
                  <a:pt x="2741416" y="393155"/>
                  <a:pt x="2747155" y="393155"/>
                </a:cubicBezTo>
                <a:close/>
                <a:moveTo>
                  <a:pt x="3860008" y="392403"/>
                </a:moveTo>
                <a:cubicBezTo>
                  <a:pt x="3860008" y="398368"/>
                  <a:pt x="3865985" y="398368"/>
                  <a:pt x="3871963" y="404332"/>
                </a:cubicBezTo>
                <a:cubicBezTo>
                  <a:pt x="3860008" y="398368"/>
                  <a:pt x="3871963" y="410296"/>
                  <a:pt x="3860008" y="410296"/>
                </a:cubicBezTo>
                <a:close/>
                <a:moveTo>
                  <a:pt x="3021105" y="392177"/>
                </a:moveTo>
                <a:cubicBezTo>
                  <a:pt x="3022596" y="393678"/>
                  <a:pt x="3024086" y="396677"/>
                  <a:pt x="3027065" y="399677"/>
                </a:cubicBezTo>
                <a:cubicBezTo>
                  <a:pt x="3027065" y="393678"/>
                  <a:pt x="3015145" y="405677"/>
                  <a:pt x="3015145" y="393678"/>
                </a:cubicBezTo>
                <a:cubicBezTo>
                  <a:pt x="3018126" y="390676"/>
                  <a:pt x="3019615" y="390676"/>
                  <a:pt x="3021105" y="392177"/>
                </a:cubicBezTo>
                <a:close/>
                <a:moveTo>
                  <a:pt x="3157528" y="388851"/>
                </a:moveTo>
                <a:cubicBezTo>
                  <a:pt x="3160397" y="388851"/>
                  <a:pt x="3163267" y="390285"/>
                  <a:pt x="3166137" y="393155"/>
                </a:cubicBezTo>
                <a:cubicBezTo>
                  <a:pt x="3160398" y="393155"/>
                  <a:pt x="3166137" y="404634"/>
                  <a:pt x="3160398" y="404634"/>
                </a:cubicBezTo>
                <a:cubicBezTo>
                  <a:pt x="3160398" y="404634"/>
                  <a:pt x="3160398" y="398894"/>
                  <a:pt x="3160398" y="398894"/>
                </a:cubicBezTo>
                <a:cubicBezTo>
                  <a:pt x="3154658" y="393155"/>
                  <a:pt x="3154658" y="398894"/>
                  <a:pt x="3154658" y="398894"/>
                </a:cubicBezTo>
                <a:cubicBezTo>
                  <a:pt x="3148919" y="398894"/>
                  <a:pt x="3148919" y="393155"/>
                  <a:pt x="3148919" y="393155"/>
                </a:cubicBezTo>
                <a:cubicBezTo>
                  <a:pt x="3151788" y="390285"/>
                  <a:pt x="3154658" y="388851"/>
                  <a:pt x="3157528" y="388851"/>
                </a:cubicBezTo>
                <a:close/>
                <a:moveTo>
                  <a:pt x="3694629" y="387691"/>
                </a:moveTo>
                <a:lnTo>
                  <a:pt x="3691519" y="393155"/>
                </a:lnTo>
                <a:cubicBezTo>
                  <a:pt x="3688540" y="393155"/>
                  <a:pt x="3688540" y="390285"/>
                  <a:pt x="3690028" y="388133"/>
                </a:cubicBezTo>
                <a:close/>
                <a:moveTo>
                  <a:pt x="3685558" y="387416"/>
                </a:moveTo>
                <a:cubicBezTo>
                  <a:pt x="3679819" y="398894"/>
                  <a:pt x="3685558" y="398894"/>
                  <a:pt x="3685558" y="404634"/>
                </a:cubicBezTo>
                <a:cubicBezTo>
                  <a:pt x="3668340" y="404634"/>
                  <a:pt x="3685558" y="410374"/>
                  <a:pt x="3668340" y="416113"/>
                </a:cubicBezTo>
                <a:cubicBezTo>
                  <a:pt x="3668340" y="410374"/>
                  <a:pt x="3674079" y="410374"/>
                  <a:pt x="3668340" y="404634"/>
                </a:cubicBezTo>
                <a:cubicBezTo>
                  <a:pt x="3674079" y="404634"/>
                  <a:pt x="3674079" y="404634"/>
                  <a:pt x="3679819" y="404634"/>
                </a:cubicBezTo>
                <a:cubicBezTo>
                  <a:pt x="3668340" y="393155"/>
                  <a:pt x="3668340" y="410374"/>
                  <a:pt x="3656861" y="410374"/>
                </a:cubicBezTo>
                <a:cubicBezTo>
                  <a:pt x="3656861" y="398894"/>
                  <a:pt x="3674079" y="398894"/>
                  <a:pt x="3685558" y="387416"/>
                </a:cubicBezTo>
                <a:close/>
                <a:moveTo>
                  <a:pt x="2825682" y="387416"/>
                </a:moveTo>
                <a:cubicBezTo>
                  <a:pt x="2825682" y="398894"/>
                  <a:pt x="2819681" y="398894"/>
                  <a:pt x="2825682" y="398894"/>
                </a:cubicBezTo>
                <a:cubicBezTo>
                  <a:pt x="2837682" y="393155"/>
                  <a:pt x="2849683" y="387416"/>
                  <a:pt x="2861685" y="387416"/>
                </a:cubicBezTo>
                <a:cubicBezTo>
                  <a:pt x="2867685" y="393155"/>
                  <a:pt x="2861685" y="393155"/>
                  <a:pt x="2861685" y="398894"/>
                </a:cubicBezTo>
                <a:cubicBezTo>
                  <a:pt x="2855685" y="398894"/>
                  <a:pt x="2855685" y="387416"/>
                  <a:pt x="2855685" y="393155"/>
                </a:cubicBezTo>
                <a:cubicBezTo>
                  <a:pt x="2855685" y="404634"/>
                  <a:pt x="2825682" y="410374"/>
                  <a:pt x="2819681" y="421853"/>
                </a:cubicBezTo>
                <a:cubicBezTo>
                  <a:pt x="2819681" y="416113"/>
                  <a:pt x="2807681" y="410374"/>
                  <a:pt x="2807681" y="416113"/>
                </a:cubicBezTo>
                <a:cubicBezTo>
                  <a:pt x="2801679" y="416113"/>
                  <a:pt x="2813681" y="404634"/>
                  <a:pt x="2813681" y="393155"/>
                </a:cubicBezTo>
                <a:cubicBezTo>
                  <a:pt x="2819681" y="398894"/>
                  <a:pt x="2819681" y="393155"/>
                  <a:pt x="2825682" y="387416"/>
                </a:cubicBezTo>
                <a:close/>
                <a:moveTo>
                  <a:pt x="3038986" y="381676"/>
                </a:moveTo>
                <a:cubicBezTo>
                  <a:pt x="3044946" y="381676"/>
                  <a:pt x="3044946" y="393678"/>
                  <a:pt x="3038986" y="393678"/>
                </a:cubicBezTo>
                <a:cubicBezTo>
                  <a:pt x="3044946" y="399677"/>
                  <a:pt x="3050907" y="393678"/>
                  <a:pt x="3056867" y="387676"/>
                </a:cubicBezTo>
                <a:cubicBezTo>
                  <a:pt x="3056867" y="393678"/>
                  <a:pt x="3062827" y="393678"/>
                  <a:pt x="3062827" y="393678"/>
                </a:cubicBezTo>
                <a:cubicBezTo>
                  <a:pt x="3056867" y="405677"/>
                  <a:pt x="3044946" y="411679"/>
                  <a:pt x="3033024" y="411679"/>
                </a:cubicBezTo>
                <a:cubicBezTo>
                  <a:pt x="3027065" y="417679"/>
                  <a:pt x="2997265" y="447681"/>
                  <a:pt x="2985343" y="423678"/>
                </a:cubicBezTo>
                <a:cubicBezTo>
                  <a:pt x="3003225" y="429680"/>
                  <a:pt x="3015145" y="411679"/>
                  <a:pt x="3027065" y="399677"/>
                </a:cubicBezTo>
                <a:cubicBezTo>
                  <a:pt x="3027065" y="387676"/>
                  <a:pt x="3038986" y="393678"/>
                  <a:pt x="3038986" y="381676"/>
                </a:cubicBezTo>
                <a:close/>
                <a:moveTo>
                  <a:pt x="2933689" y="381676"/>
                </a:moveTo>
                <a:cubicBezTo>
                  <a:pt x="2933689" y="387416"/>
                  <a:pt x="2933689" y="393155"/>
                  <a:pt x="2919340" y="398894"/>
                </a:cubicBezTo>
                <a:cubicBezTo>
                  <a:pt x="2926515" y="393155"/>
                  <a:pt x="2919340" y="387416"/>
                  <a:pt x="2919340" y="387416"/>
                </a:cubicBezTo>
                <a:cubicBezTo>
                  <a:pt x="2926515" y="381676"/>
                  <a:pt x="2933689" y="381676"/>
                  <a:pt x="2933689" y="381676"/>
                </a:cubicBezTo>
                <a:close/>
                <a:moveTo>
                  <a:pt x="3078263" y="380151"/>
                </a:moveTo>
                <a:cubicBezTo>
                  <a:pt x="3079373" y="379882"/>
                  <a:pt x="3080584" y="380241"/>
                  <a:pt x="3082198" y="381676"/>
                </a:cubicBezTo>
                <a:cubicBezTo>
                  <a:pt x="3088655" y="387416"/>
                  <a:pt x="3069284" y="381676"/>
                  <a:pt x="3082198" y="393155"/>
                </a:cubicBezTo>
                <a:cubicBezTo>
                  <a:pt x="3075741" y="387416"/>
                  <a:pt x="3062827" y="387416"/>
                  <a:pt x="3069284" y="398894"/>
                </a:cubicBezTo>
                <a:cubicBezTo>
                  <a:pt x="3069284" y="398894"/>
                  <a:pt x="3062827" y="393155"/>
                  <a:pt x="3062827" y="387416"/>
                </a:cubicBezTo>
                <a:cubicBezTo>
                  <a:pt x="3072512" y="387416"/>
                  <a:pt x="3074934" y="380959"/>
                  <a:pt x="3078263" y="380151"/>
                </a:cubicBezTo>
                <a:close/>
                <a:moveTo>
                  <a:pt x="4635521" y="378044"/>
                </a:moveTo>
                <a:lnTo>
                  <a:pt x="4624320" y="387416"/>
                </a:lnTo>
                <a:cubicBezTo>
                  <a:pt x="4624320" y="387416"/>
                  <a:pt x="4624320" y="381676"/>
                  <a:pt x="4624320" y="381676"/>
                </a:cubicBezTo>
                <a:close/>
                <a:moveTo>
                  <a:pt x="4482280" y="376376"/>
                </a:moveTo>
                <a:cubicBezTo>
                  <a:pt x="4484335" y="376376"/>
                  <a:pt x="4486203" y="377494"/>
                  <a:pt x="4487697" y="380476"/>
                </a:cubicBezTo>
                <a:cubicBezTo>
                  <a:pt x="4475741" y="392403"/>
                  <a:pt x="4439873" y="416259"/>
                  <a:pt x="4421939" y="404332"/>
                </a:cubicBezTo>
                <a:cubicBezTo>
                  <a:pt x="4433895" y="392403"/>
                  <a:pt x="4451830" y="392403"/>
                  <a:pt x="4463785" y="386440"/>
                </a:cubicBezTo>
                <a:cubicBezTo>
                  <a:pt x="4466776" y="386440"/>
                  <a:pt x="4471259" y="381967"/>
                  <a:pt x="4475741" y="378985"/>
                </a:cubicBezTo>
                <a:cubicBezTo>
                  <a:pt x="4477983" y="377494"/>
                  <a:pt x="4480225" y="376376"/>
                  <a:pt x="4482280" y="376376"/>
                </a:cubicBezTo>
                <a:close/>
                <a:moveTo>
                  <a:pt x="4638041" y="375936"/>
                </a:moveTo>
                <a:cubicBezTo>
                  <a:pt x="4641091" y="375219"/>
                  <a:pt x="4642996" y="375219"/>
                  <a:pt x="4641472" y="376116"/>
                </a:cubicBezTo>
                <a:lnTo>
                  <a:pt x="4635521" y="378044"/>
                </a:lnTo>
                <a:close/>
                <a:moveTo>
                  <a:pt x="3470329" y="375936"/>
                </a:moveTo>
                <a:cubicBezTo>
                  <a:pt x="3476068" y="375936"/>
                  <a:pt x="3464589" y="381676"/>
                  <a:pt x="3464589" y="387416"/>
                </a:cubicBezTo>
                <a:cubicBezTo>
                  <a:pt x="3464589" y="381676"/>
                  <a:pt x="3453111" y="387416"/>
                  <a:pt x="3447371" y="387416"/>
                </a:cubicBezTo>
                <a:cubicBezTo>
                  <a:pt x="3441632" y="381676"/>
                  <a:pt x="3464589" y="381676"/>
                  <a:pt x="3470329" y="375936"/>
                </a:cubicBezTo>
                <a:close/>
                <a:moveTo>
                  <a:pt x="2873424" y="375936"/>
                </a:moveTo>
                <a:cubicBezTo>
                  <a:pt x="2879163" y="375936"/>
                  <a:pt x="2879163" y="381676"/>
                  <a:pt x="2884903" y="387416"/>
                </a:cubicBezTo>
                <a:cubicBezTo>
                  <a:pt x="2879163" y="387416"/>
                  <a:pt x="2873424" y="393155"/>
                  <a:pt x="2867685" y="393155"/>
                </a:cubicBezTo>
                <a:cubicBezTo>
                  <a:pt x="2861945" y="381676"/>
                  <a:pt x="2873424" y="381676"/>
                  <a:pt x="2873424" y="375936"/>
                </a:cubicBezTo>
                <a:close/>
                <a:moveTo>
                  <a:pt x="2747155" y="375936"/>
                </a:moveTo>
                <a:cubicBezTo>
                  <a:pt x="2752895" y="387416"/>
                  <a:pt x="2747155" y="381676"/>
                  <a:pt x="2735677" y="387416"/>
                </a:cubicBezTo>
                <a:cubicBezTo>
                  <a:pt x="2735677" y="381676"/>
                  <a:pt x="2741416" y="381676"/>
                  <a:pt x="2747155" y="375936"/>
                </a:cubicBezTo>
                <a:close/>
                <a:moveTo>
                  <a:pt x="4134994" y="374512"/>
                </a:moveTo>
                <a:lnTo>
                  <a:pt x="4136771" y="375319"/>
                </a:lnTo>
                <a:lnTo>
                  <a:pt x="4134994" y="376501"/>
                </a:lnTo>
                <a:close/>
                <a:moveTo>
                  <a:pt x="4491060" y="372928"/>
                </a:moveTo>
                <a:cubicBezTo>
                  <a:pt x="4491434" y="372649"/>
                  <a:pt x="4492181" y="373021"/>
                  <a:pt x="4493676" y="374512"/>
                </a:cubicBezTo>
                <a:cubicBezTo>
                  <a:pt x="4499654" y="380476"/>
                  <a:pt x="4493676" y="380476"/>
                  <a:pt x="4493676" y="386440"/>
                </a:cubicBezTo>
                <a:cubicBezTo>
                  <a:pt x="4487697" y="392403"/>
                  <a:pt x="4481719" y="386440"/>
                  <a:pt x="4487697" y="380476"/>
                </a:cubicBezTo>
                <a:cubicBezTo>
                  <a:pt x="4492181" y="380476"/>
                  <a:pt x="4489939" y="373767"/>
                  <a:pt x="4491060" y="372928"/>
                </a:cubicBezTo>
                <a:close/>
                <a:moveTo>
                  <a:pt x="2789485" y="370197"/>
                </a:moveTo>
                <a:cubicBezTo>
                  <a:pt x="2792714" y="375936"/>
                  <a:pt x="2792714" y="378805"/>
                  <a:pt x="2791907" y="381676"/>
                </a:cubicBezTo>
                <a:lnTo>
                  <a:pt x="2790155" y="389975"/>
                </a:lnTo>
                <a:lnTo>
                  <a:pt x="2792475" y="393155"/>
                </a:lnTo>
                <a:cubicBezTo>
                  <a:pt x="2789964" y="397459"/>
                  <a:pt x="2784942" y="401763"/>
                  <a:pt x="2781592" y="398894"/>
                </a:cubicBezTo>
                <a:cubicBezTo>
                  <a:pt x="2781592" y="396024"/>
                  <a:pt x="2784940" y="394590"/>
                  <a:pt x="2787453" y="393155"/>
                </a:cubicBezTo>
                <a:lnTo>
                  <a:pt x="2787708" y="391400"/>
                </a:lnTo>
                <a:lnTo>
                  <a:pt x="2782222" y="385980"/>
                </a:lnTo>
                <a:cubicBezTo>
                  <a:pt x="2779799" y="383112"/>
                  <a:pt x="2776570" y="381676"/>
                  <a:pt x="2770113" y="387416"/>
                </a:cubicBezTo>
                <a:cubicBezTo>
                  <a:pt x="2770113" y="370197"/>
                  <a:pt x="2783027" y="381676"/>
                  <a:pt x="2789485" y="370197"/>
                </a:cubicBezTo>
                <a:close/>
                <a:moveTo>
                  <a:pt x="2900417" y="369569"/>
                </a:moveTo>
                <a:cubicBezTo>
                  <a:pt x="2903915" y="371991"/>
                  <a:pt x="2904991" y="381676"/>
                  <a:pt x="2896382" y="381676"/>
                </a:cubicBezTo>
                <a:cubicBezTo>
                  <a:pt x="2896382" y="375936"/>
                  <a:pt x="2896382" y="375936"/>
                  <a:pt x="2896382" y="370197"/>
                </a:cubicBezTo>
                <a:cubicBezTo>
                  <a:pt x="2897816" y="368762"/>
                  <a:pt x="2899252" y="368762"/>
                  <a:pt x="2900417" y="369569"/>
                </a:cubicBezTo>
                <a:close/>
                <a:moveTo>
                  <a:pt x="2801769" y="368852"/>
                </a:moveTo>
                <a:cubicBezTo>
                  <a:pt x="2805267" y="370197"/>
                  <a:pt x="2803114" y="378807"/>
                  <a:pt x="2807419" y="387416"/>
                </a:cubicBezTo>
                <a:cubicBezTo>
                  <a:pt x="2824637" y="370197"/>
                  <a:pt x="2818898" y="381676"/>
                  <a:pt x="2836116" y="375936"/>
                </a:cubicBezTo>
                <a:cubicBezTo>
                  <a:pt x="2830377" y="387416"/>
                  <a:pt x="2818898" y="387416"/>
                  <a:pt x="2801679" y="398894"/>
                </a:cubicBezTo>
                <a:cubicBezTo>
                  <a:pt x="2807419" y="387416"/>
                  <a:pt x="2795940" y="375936"/>
                  <a:pt x="2795940" y="370197"/>
                </a:cubicBezTo>
                <a:cubicBezTo>
                  <a:pt x="2798810" y="368762"/>
                  <a:pt x="2800604" y="368404"/>
                  <a:pt x="2801769" y="368852"/>
                </a:cubicBezTo>
                <a:close/>
                <a:moveTo>
                  <a:pt x="4146950" y="368549"/>
                </a:moveTo>
                <a:cubicBezTo>
                  <a:pt x="4146950" y="374512"/>
                  <a:pt x="4145455" y="377493"/>
                  <a:pt x="4143213" y="378239"/>
                </a:cubicBezTo>
                <a:lnTo>
                  <a:pt x="4136771" y="375319"/>
                </a:lnTo>
                <a:close/>
                <a:moveTo>
                  <a:pt x="3907830" y="368549"/>
                </a:moveTo>
                <a:cubicBezTo>
                  <a:pt x="3910820" y="374512"/>
                  <a:pt x="3909325" y="374512"/>
                  <a:pt x="3907083" y="374512"/>
                </a:cubicBezTo>
                <a:lnTo>
                  <a:pt x="3901852" y="380476"/>
                </a:lnTo>
                <a:close/>
                <a:moveTo>
                  <a:pt x="3488265" y="368044"/>
                </a:moveTo>
                <a:cubicBezTo>
                  <a:pt x="3491852" y="368762"/>
                  <a:pt x="3496158" y="370197"/>
                  <a:pt x="3499026" y="370197"/>
                </a:cubicBezTo>
                <a:cubicBezTo>
                  <a:pt x="3499026" y="375936"/>
                  <a:pt x="3487547" y="370197"/>
                  <a:pt x="3481808" y="370197"/>
                </a:cubicBezTo>
                <a:cubicBezTo>
                  <a:pt x="3481808" y="367327"/>
                  <a:pt x="3484678" y="367327"/>
                  <a:pt x="3488265" y="368044"/>
                </a:cubicBezTo>
                <a:close/>
                <a:moveTo>
                  <a:pt x="3941923" y="364458"/>
                </a:moveTo>
                <a:cubicBezTo>
                  <a:pt x="3935705" y="375936"/>
                  <a:pt x="3966794" y="375936"/>
                  <a:pt x="3954358" y="381676"/>
                </a:cubicBezTo>
                <a:cubicBezTo>
                  <a:pt x="3948140" y="375936"/>
                  <a:pt x="3954358" y="375936"/>
                  <a:pt x="3948140" y="375936"/>
                </a:cubicBezTo>
                <a:cubicBezTo>
                  <a:pt x="3941923" y="375936"/>
                  <a:pt x="3941923" y="387416"/>
                  <a:pt x="3948140" y="387416"/>
                </a:cubicBezTo>
                <a:cubicBezTo>
                  <a:pt x="3948140" y="393155"/>
                  <a:pt x="3935705" y="393155"/>
                  <a:pt x="3935705" y="393155"/>
                </a:cubicBezTo>
                <a:cubicBezTo>
                  <a:pt x="3929487" y="387416"/>
                  <a:pt x="3941923" y="381676"/>
                  <a:pt x="3935705" y="381676"/>
                </a:cubicBezTo>
                <a:cubicBezTo>
                  <a:pt x="3941923" y="381676"/>
                  <a:pt x="3935705" y="370197"/>
                  <a:pt x="3941923" y="364458"/>
                </a:cubicBezTo>
                <a:close/>
                <a:moveTo>
                  <a:pt x="3763041" y="364458"/>
                </a:moveTo>
                <a:cubicBezTo>
                  <a:pt x="3745161" y="375936"/>
                  <a:pt x="3739202" y="370197"/>
                  <a:pt x="3715360" y="387416"/>
                </a:cubicBezTo>
                <a:cubicBezTo>
                  <a:pt x="3710890" y="383111"/>
                  <a:pt x="3699714" y="385263"/>
                  <a:pt x="3696921" y="393873"/>
                </a:cubicBezTo>
                <a:lnTo>
                  <a:pt x="3697178" y="398822"/>
                </a:lnTo>
                <a:lnTo>
                  <a:pt x="3694499" y="398177"/>
                </a:lnTo>
                <a:cubicBezTo>
                  <a:pt x="3693009" y="397460"/>
                  <a:pt x="3691519" y="396025"/>
                  <a:pt x="3691519" y="393155"/>
                </a:cubicBezTo>
                <a:cubicBezTo>
                  <a:pt x="3691519" y="393155"/>
                  <a:pt x="3691519" y="393155"/>
                  <a:pt x="3697480" y="387416"/>
                </a:cubicBezTo>
                <a:lnTo>
                  <a:pt x="3694629" y="387691"/>
                </a:lnTo>
                <a:lnTo>
                  <a:pt x="3696827" y="383829"/>
                </a:lnTo>
                <a:cubicBezTo>
                  <a:pt x="3710517" y="374143"/>
                  <a:pt x="3745161" y="364458"/>
                  <a:pt x="3763041" y="364458"/>
                </a:cubicBezTo>
                <a:close/>
                <a:moveTo>
                  <a:pt x="2913600" y="364458"/>
                </a:moveTo>
                <a:cubicBezTo>
                  <a:pt x="2913600" y="364458"/>
                  <a:pt x="2913600" y="370197"/>
                  <a:pt x="2913600" y="370197"/>
                </a:cubicBezTo>
                <a:cubicBezTo>
                  <a:pt x="2913600" y="370197"/>
                  <a:pt x="2907861" y="370197"/>
                  <a:pt x="2907861" y="375936"/>
                </a:cubicBezTo>
                <a:cubicBezTo>
                  <a:pt x="2902121" y="375936"/>
                  <a:pt x="2907861" y="364458"/>
                  <a:pt x="2913600" y="364458"/>
                </a:cubicBezTo>
                <a:close/>
                <a:moveTo>
                  <a:pt x="3274379" y="363023"/>
                </a:moveTo>
                <a:cubicBezTo>
                  <a:pt x="3276621" y="362664"/>
                  <a:pt x="3278056" y="363023"/>
                  <a:pt x="3278056" y="364458"/>
                </a:cubicBezTo>
                <a:cubicBezTo>
                  <a:pt x="3272316" y="364458"/>
                  <a:pt x="3255098" y="381676"/>
                  <a:pt x="3249359" y="375936"/>
                </a:cubicBezTo>
                <a:cubicBezTo>
                  <a:pt x="3253663" y="371632"/>
                  <a:pt x="3267653" y="364099"/>
                  <a:pt x="3274379" y="363023"/>
                </a:cubicBezTo>
                <a:close/>
                <a:moveTo>
                  <a:pt x="3966792" y="358718"/>
                </a:moveTo>
                <a:cubicBezTo>
                  <a:pt x="3963923" y="358718"/>
                  <a:pt x="3962488" y="361587"/>
                  <a:pt x="3961053" y="363022"/>
                </a:cubicBezTo>
                <a:lnTo>
                  <a:pt x="3960965" y="362958"/>
                </a:lnTo>
                <a:close/>
                <a:moveTo>
                  <a:pt x="3955313" y="358718"/>
                </a:moveTo>
                <a:lnTo>
                  <a:pt x="3960965" y="362958"/>
                </a:lnTo>
                <a:lnTo>
                  <a:pt x="3958902" y="364458"/>
                </a:lnTo>
                <a:cubicBezTo>
                  <a:pt x="3955313" y="364458"/>
                  <a:pt x="3952445" y="364458"/>
                  <a:pt x="3955313" y="370197"/>
                </a:cubicBezTo>
                <a:cubicBezTo>
                  <a:pt x="3949574" y="370197"/>
                  <a:pt x="3955313" y="364458"/>
                  <a:pt x="3955313" y="358718"/>
                </a:cubicBezTo>
                <a:close/>
                <a:moveTo>
                  <a:pt x="3220663" y="358718"/>
                </a:moveTo>
                <a:cubicBezTo>
                  <a:pt x="3214513" y="364458"/>
                  <a:pt x="3214513" y="370197"/>
                  <a:pt x="3220663" y="375936"/>
                </a:cubicBezTo>
                <a:cubicBezTo>
                  <a:pt x="3214513" y="375936"/>
                  <a:pt x="3208365" y="381676"/>
                  <a:pt x="3208365" y="387416"/>
                </a:cubicBezTo>
                <a:cubicBezTo>
                  <a:pt x="3177616" y="393155"/>
                  <a:pt x="3214513" y="381676"/>
                  <a:pt x="3214513" y="375936"/>
                </a:cubicBezTo>
                <a:cubicBezTo>
                  <a:pt x="3208365" y="364458"/>
                  <a:pt x="3196065" y="393155"/>
                  <a:pt x="3196065" y="370197"/>
                </a:cubicBezTo>
                <a:cubicBezTo>
                  <a:pt x="3202215" y="364458"/>
                  <a:pt x="3208365" y="364458"/>
                  <a:pt x="3220663" y="358718"/>
                </a:cubicBezTo>
                <a:close/>
                <a:moveTo>
                  <a:pt x="2795942" y="358718"/>
                </a:moveTo>
                <a:cubicBezTo>
                  <a:pt x="2795942" y="364458"/>
                  <a:pt x="2789246" y="364458"/>
                  <a:pt x="2775853" y="370197"/>
                </a:cubicBezTo>
                <a:cubicBezTo>
                  <a:pt x="2775853" y="358718"/>
                  <a:pt x="2789246" y="364458"/>
                  <a:pt x="2795942" y="358718"/>
                </a:cubicBezTo>
                <a:close/>
                <a:moveTo>
                  <a:pt x="3806089" y="352979"/>
                </a:moveTo>
                <a:cubicBezTo>
                  <a:pt x="3806089" y="364458"/>
                  <a:pt x="3791739" y="370197"/>
                  <a:pt x="3791739" y="358718"/>
                </a:cubicBezTo>
                <a:cubicBezTo>
                  <a:pt x="3798915" y="358718"/>
                  <a:pt x="3798915" y="352979"/>
                  <a:pt x="3806089" y="352979"/>
                </a:cubicBezTo>
                <a:close/>
                <a:moveTo>
                  <a:pt x="3108921" y="349929"/>
                </a:moveTo>
                <a:cubicBezTo>
                  <a:pt x="3110536" y="350735"/>
                  <a:pt x="3111611" y="353158"/>
                  <a:pt x="3111611" y="358001"/>
                </a:cubicBezTo>
                <a:cubicBezTo>
                  <a:pt x="3105872" y="351544"/>
                  <a:pt x="3105872" y="358001"/>
                  <a:pt x="3094393" y="364458"/>
                </a:cubicBezTo>
                <a:cubicBezTo>
                  <a:pt x="3094393" y="359615"/>
                  <a:pt x="3104078" y="347507"/>
                  <a:pt x="3108921" y="349929"/>
                </a:cubicBezTo>
                <a:close/>
                <a:moveTo>
                  <a:pt x="3780260" y="344369"/>
                </a:moveTo>
                <a:cubicBezTo>
                  <a:pt x="3780260" y="358718"/>
                  <a:pt x="3768782" y="358718"/>
                  <a:pt x="3763041" y="358718"/>
                </a:cubicBezTo>
                <a:cubicBezTo>
                  <a:pt x="3757302" y="351544"/>
                  <a:pt x="3780260" y="344369"/>
                  <a:pt x="3780260" y="344369"/>
                </a:cubicBezTo>
                <a:close/>
                <a:moveTo>
                  <a:pt x="3206313" y="344369"/>
                </a:moveTo>
                <a:cubicBezTo>
                  <a:pt x="3206313" y="351065"/>
                  <a:pt x="3206313" y="351065"/>
                  <a:pt x="3206313" y="351065"/>
                </a:cubicBezTo>
                <a:cubicBezTo>
                  <a:pt x="3206313" y="351065"/>
                  <a:pt x="3206313" y="357762"/>
                  <a:pt x="3206313" y="357762"/>
                </a:cubicBezTo>
                <a:cubicBezTo>
                  <a:pt x="3200574" y="351065"/>
                  <a:pt x="3194835" y="364458"/>
                  <a:pt x="3189095" y="364458"/>
                </a:cubicBezTo>
                <a:cubicBezTo>
                  <a:pt x="3183355" y="364458"/>
                  <a:pt x="3200574" y="351065"/>
                  <a:pt x="3194835" y="351065"/>
                </a:cubicBezTo>
                <a:cubicBezTo>
                  <a:pt x="3194835" y="344369"/>
                  <a:pt x="3200574" y="351065"/>
                  <a:pt x="3206313" y="344369"/>
                </a:cubicBezTo>
                <a:close/>
                <a:moveTo>
                  <a:pt x="3004955" y="344369"/>
                </a:moveTo>
                <a:cubicBezTo>
                  <a:pt x="3011171" y="357283"/>
                  <a:pt x="2973864" y="370197"/>
                  <a:pt x="2973864" y="363740"/>
                </a:cubicBezTo>
                <a:cubicBezTo>
                  <a:pt x="2986300" y="363740"/>
                  <a:pt x="2986300" y="350826"/>
                  <a:pt x="3004955" y="344369"/>
                </a:cubicBezTo>
                <a:close/>
                <a:moveTo>
                  <a:pt x="2950906" y="344369"/>
                </a:moveTo>
                <a:cubicBezTo>
                  <a:pt x="2945167" y="344369"/>
                  <a:pt x="2945167" y="358718"/>
                  <a:pt x="2945167" y="358718"/>
                </a:cubicBezTo>
                <a:cubicBezTo>
                  <a:pt x="2939427" y="358718"/>
                  <a:pt x="2939427" y="358718"/>
                  <a:pt x="2933687" y="358718"/>
                </a:cubicBezTo>
                <a:cubicBezTo>
                  <a:pt x="2933687" y="351544"/>
                  <a:pt x="2950906" y="344369"/>
                  <a:pt x="2950906" y="344369"/>
                </a:cubicBezTo>
                <a:close/>
                <a:moveTo>
                  <a:pt x="2950906" y="344369"/>
                </a:moveTo>
                <a:cubicBezTo>
                  <a:pt x="2956645" y="351544"/>
                  <a:pt x="2956645" y="351544"/>
                  <a:pt x="2956645" y="351544"/>
                </a:cubicBezTo>
                <a:cubicBezTo>
                  <a:pt x="2950906" y="358718"/>
                  <a:pt x="2950906" y="351544"/>
                  <a:pt x="2950906" y="344369"/>
                </a:cubicBezTo>
                <a:close/>
                <a:moveTo>
                  <a:pt x="2843770" y="344369"/>
                </a:moveTo>
                <a:cubicBezTo>
                  <a:pt x="2855887" y="344369"/>
                  <a:pt x="2855887" y="356668"/>
                  <a:pt x="2861945" y="362818"/>
                </a:cubicBezTo>
                <a:cubicBezTo>
                  <a:pt x="2861945" y="375116"/>
                  <a:pt x="2849828" y="381266"/>
                  <a:pt x="2837711" y="387416"/>
                </a:cubicBezTo>
                <a:cubicBezTo>
                  <a:pt x="2849828" y="381266"/>
                  <a:pt x="2843770" y="362818"/>
                  <a:pt x="2855887" y="356668"/>
                </a:cubicBezTo>
                <a:cubicBezTo>
                  <a:pt x="2837711" y="356668"/>
                  <a:pt x="2831653" y="368966"/>
                  <a:pt x="2813478" y="375116"/>
                </a:cubicBezTo>
                <a:cubicBezTo>
                  <a:pt x="2807419" y="368966"/>
                  <a:pt x="2813478" y="368966"/>
                  <a:pt x="2813478" y="362818"/>
                </a:cubicBezTo>
                <a:cubicBezTo>
                  <a:pt x="2825595" y="362818"/>
                  <a:pt x="2831653" y="350519"/>
                  <a:pt x="2843770" y="344369"/>
                </a:cubicBezTo>
                <a:close/>
                <a:moveTo>
                  <a:pt x="4040868" y="344191"/>
                </a:moveTo>
                <a:cubicBezTo>
                  <a:pt x="4042841" y="344998"/>
                  <a:pt x="4044276" y="347420"/>
                  <a:pt x="4044276" y="352263"/>
                </a:cubicBezTo>
                <a:cubicBezTo>
                  <a:pt x="4038536" y="358720"/>
                  <a:pt x="4032797" y="352263"/>
                  <a:pt x="4032797" y="358720"/>
                </a:cubicBezTo>
                <a:cubicBezTo>
                  <a:pt x="4024189" y="353877"/>
                  <a:pt x="4034950" y="341769"/>
                  <a:pt x="4040868" y="344191"/>
                </a:cubicBezTo>
                <a:close/>
                <a:moveTo>
                  <a:pt x="3823305" y="338631"/>
                </a:moveTo>
                <a:cubicBezTo>
                  <a:pt x="3823305" y="345327"/>
                  <a:pt x="3823305" y="352024"/>
                  <a:pt x="3834784" y="345327"/>
                </a:cubicBezTo>
                <a:cubicBezTo>
                  <a:pt x="3829045" y="358720"/>
                  <a:pt x="3817566" y="345327"/>
                  <a:pt x="3811826" y="352024"/>
                </a:cubicBezTo>
                <a:cubicBezTo>
                  <a:pt x="3811826" y="345327"/>
                  <a:pt x="3823305" y="345327"/>
                  <a:pt x="3823305" y="338631"/>
                </a:cubicBezTo>
                <a:close/>
                <a:moveTo>
                  <a:pt x="3123090" y="338631"/>
                </a:moveTo>
                <a:cubicBezTo>
                  <a:pt x="3128829" y="344781"/>
                  <a:pt x="3123090" y="363229"/>
                  <a:pt x="3134569" y="350930"/>
                </a:cubicBezTo>
                <a:cubicBezTo>
                  <a:pt x="3140309" y="357080"/>
                  <a:pt x="3128829" y="357080"/>
                  <a:pt x="3134569" y="369379"/>
                </a:cubicBezTo>
                <a:cubicBezTo>
                  <a:pt x="3117350" y="363229"/>
                  <a:pt x="3117350" y="375528"/>
                  <a:pt x="3100132" y="381678"/>
                </a:cubicBezTo>
                <a:cubicBezTo>
                  <a:pt x="3100132" y="375528"/>
                  <a:pt x="3105872" y="375528"/>
                  <a:pt x="3100132" y="369379"/>
                </a:cubicBezTo>
                <a:cubicBezTo>
                  <a:pt x="3111611" y="369379"/>
                  <a:pt x="3117350" y="357080"/>
                  <a:pt x="3128829" y="363229"/>
                </a:cubicBezTo>
                <a:cubicBezTo>
                  <a:pt x="3117350" y="363229"/>
                  <a:pt x="3123090" y="350930"/>
                  <a:pt x="3123090" y="338631"/>
                </a:cubicBezTo>
                <a:close/>
                <a:moveTo>
                  <a:pt x="3170920" y="334168"/>
                </a:moveTo>
                <a:cubicBezTo>
                  <a:pt x="3173981" y="340226"/>
                  <a:pt x="3177041" y="340226"/>
                  <a:pt x="3180103" y="339468"/>
                </a:cubicBezTo>
                <a:lnTo>
                  <a:pt x="3183910" y="339782"/>
                </a:lnTo>
                <a:lnTo>
                  <a:pt x="3152554" y="358400"/>
                </a:lnTo>
                <a:cubicBezTo>
                  <a:pt x="3152554" y="358400"/>
                  <a:pt x="3158675" y="358400"/>
                  <a:pt x="3158675" y="358400"/>
                </a:cubicBezTo>
                <a:cubicBezTo>
                  <a:pt x="3158675" y="364460"/>
                  <a:pt x="3146431" y="364460"/>
                  <a:pt x="3146431" y="352343"/>
                </a:cubicBezTo>
                <a:cubicBezTo>
                  <a:pt x="3146431" y="358400"/>
                  <a:pt x="3146431" y="358400"/>
                  <a:pt x="3140309" y="352343"/>
                </a:cubicBezTo>
                <a:cubicBezTo>
                  <a:pt x="3152554" y="352343"/>
                  <a:pt x="3164797" y="346285"/>
                  <a:pt x="3170920" y="334168"/>
                </a:cubicBezTo>
                <a:close/>
                <a:moveTo>
                  <a:pt x="4365320" y="333136"/>
                </a:moveTo>
                <a:lnTo>
                  <a:pt x="4365686" y="338631"/>
                </a:lnTo>
                <a:cubicBezTo>
                  <a:pt x="4362817" y="338631"/>
                  <a:pt x="4361382" y="337196"/>
                  <a:pt x="4361382" y="335761"/>
                </a:cubicBezTo>
                <a:close/>
                <a:moveTo>
                  <a:pt x="4365686" y="332891"/>
                </a:moveTo>
                <a:lnTo>
                  <a:pt x="4365320" y="333136"/>
                </a:lnTo>
                <a:lnTo>
                  <a:pt x="4365316" y="333076"/>
                </a:lnTo>
                <a:close/>
                <a:moveTo>
                  <a:pt x="3805372" y="332891"/>
                </a:moveTo>
                <a:cubicBezTo>
                  <a:pt x="3811829" y="332891"/>
                  <a:pt x="3792457" y="346285"/>
                  <a:pt x="3786000" y="352980"/>
                </a:cubicBezTo>
                <a:cubicBezTo>
                  <a:pt x="3792457" y="346285"/>
                  <a:pt x="3798915" y="339587"/>
                  <a:pt x="3805372" y="332891"/>
                </a:cubicBezTo>
                <a:close/>
                <a:moveTo>
                  <a:pt x="3984010" y="332890"/>
                </a:moveTo>
                <a:cubicBezTo>
                  <a:pt x="3984010" y="332890"/>
                  <a:pt x="3989751" y="332890"/>
                  <a:pt x="3989751" y="332890"/>
                </a:cubicBezTo>
                <a:cubicBezTo>
                  <a:pt x="3989751" y="332890"/>
                  <a:pt x="3989751" y="339585"/>
                  <a:pt x="3989751" y="339585"/>
                </a:cubicBezTo>
                <a:cubicBezTo>
                  <a:pt x="3984010" y="346283"/>
                  <a:pt x="3966792" y="346283"/>
                  <a:pt x="3972533" y="352979"/>
                </a:cubicBezTo>
                <a:cubicBezTo>
                  <a:pt x="3955313" y="346283"/>
                  <a:pt x="3984010" y="346283"/>
                  <a:pt x="3984010" y="332890"/>
                </a:cubicBezTo>
                <a:close/>
                <a:moveTo>
                  <a:pt x="3199646" y="330438"/>
                </a:moveTo>
                <a:lnTo>
                  <a:pt x="3189286" y="340226"/>
                </a:lnTo>
                <a:lnTo>
                  <a:pt x="3183910" y="339782"/>
                </a:lnTo>
                <a:close/>
                <a:moveTo>
                  <a:pt x="4016058" y="328759"/>
                </a:moveTo>
                <a:lnTo>
                  <a:pt x="4019613" y="330820"/>
                </a:lnTo>
                <a:cubicBezTo>
                  <a:pt x="4020362" y="330820"/>
                  <a:pt x="4020362" y="330820"/>
                  <a:pt x="4020362" y="333848"/>
                </a:cubicBezTo>
                <a:lnTo>
                  <a:pt x="4014384" y="333848"/>
                </a:lnTo>
                <a:close/>
                <a:moveTo>
                  <a:pt x="2855454" y="327233"/>
                </a:moveTo>
                <a:cubicBezTo>
                  <a:pt x="2859389" y="325775"/>
                  <a:pt x="2867863" y="337434"/>
                  <a:pt x="2872706" y="328107"/>
                </a:cubicBezTo>
                <a:cubicBezTo>
                  <a:pt x="2872706" y="334325"/>
                  <a:pt x="2879163" y="340543"/>
                  <a:pt x="2879163" y="340543"/>
                </a:cubicBezTo>
                <a:cubicBezTo>
                  <a:pt x="2872706" y="340543"/>
                  <a:pt x="2872706" y="340543"/>
                  <a:pt x="2872706" y="340543"/>
                </a:cubicBezTo>
                <a:cubicBezTo>
                  <a:pt x="2872706" y="340543"/>
                  <a:pt x="2866249" y="346760"/>
                  <a:pt x="2866249" y="352979"/>
                </a:cubicBezTo>
                <a:cubicBezTo>
                  <a:pt x="2859792" y="352979"/>
                  <a:pt x="2859792" y="352979"/>
                  <a:pt x="2853334" y="346760"/>
                </a:cubicBezTo>
                <a:cubicBezTo>
                  <a:pt x="2859792" y="340543"/>
                  <a:pt x="2866249" y="346760"/>
                  <a:pt x="2866249" y="334325"/>
                </a:cubicBezTo>
                <a:cubicBezTo>
                  <a:pt x="2866249" y="328107"/>
                  <a:pt x="2853334" y="340543"/>
                  <a:pt x="2853334" y="334325"/>
                </a:cubicBezTo>
                <a:cubicBezTo>
                  <a:pt x="2853334" y="329661"/>
                  <a:pt x="2854143" y="327718"/>
                  <a:pt x="2855454" y="327233"/>
                </a:cubicBezTo>
                <a:close/>
                <a:moveTo>
                  <a:pt x="4017000" y="325897"/>
                </a:moveTo>
                <a:lnTo>
                  <a:pt x="4016058" y="328759"/>
                </a:lnTo>
                <a:lnTo>
                  <a:pt x="4014384" y="327790"/>
                </a:lnTo>
                <a:close/>
                <a:moveTo>
                  <a:pt x="4008404" y="321731"/>
                </a:moveTo>
                <a:cubicBezTo>
                  <a:pt x="4008404" y="321731"/>
                  <a:pt x="4008404" y="327790"/>
                  <a:pt x="4014384" y="333848"/>
                </a:cubicBezTo>
                <a:lnTo>
                  <a:pt x="4008404" y="333848"/>
                </a:lnTo>
                <a:cubicBezTo>
                  <a:pt x="4002426" y="339907"/>
                  <a:pt x="4008404" y="345965"/>
                  <a:pt x="4002426" y="352024"/>
                </a:cubicBezTo>
                <a:cubicBezTo>
                  <a:pt x="4002426" y="352024"/>
                  <a:pt x="4002426" y="345965"/>
                  <a:pt x="3996449" y="345965"/>
                </a:cubicBezTo>
                <a:cubicBezTo>
                  <a:pt x="3996449" y="345965"/>
                  <a:pt x="3996449" y="345965"/>
                  <a:pt x="3990467" y="345965"/>
                </a:cubicBezTo>
                <a:cubicBezTo>
                  <a:pt x="3990467" y="352024"/>
                  <a:pt x="3996449" y="352024"/>
                  <a:pt x="3996449" y="358082"/>
                </a:cubicBezTo>
                <a:cubicBezTo>
                  <a:pt x="3990467" y="352024"/>
                  <a:pt x="3978512" y="352024"/>
                  <a:pt x="3984490" y="364140"/>
                </a:cubicBezTo>
                <a:lnTo>
                  <a:pt x="3972543" y="370194"/>
                </a:lnTo>
                <a:lnTo>
                  <a:pt x="3991186" y="363740"/>
                </a:lnTo>
                <a:cubicBezTo>
                  <a:pt x="3995490" y="361587"/>
                  <a:pt x="3998361" y="361587"/>
                  <a:pt x="4001229" y="370197"/>
                </a:cubicBezTo>
                <a:cubicBezTo>
                  <a:pt x="3989751" y="370197"/>
                  <a:pt x="3989751" y="370197"/>
                  <a:pt x="3984010" y="370197"/>
                </a:cubicBezTo>
                <a:cubicBezTo>
                  <a:pt x="3984010" y="375936"/>
                  <a:pt x="3984010" y="375936"/>
                  <a:pt x="3984010" y="375936"/>
                </a:cubicBezTo>
                <a:cubicBezTo>
                  <a:pt x="3989751" y="381676"/>
                  <a:pt x="3978271" y="370197"/>
                  <a:pt x="3978271" y="381676"/>
                </a:cubicBezTo>
                <a:lnTo>
                  <a:pt x="3972534" y="370199"/>
                </a:lnTo>
                <a:lnTo>
                  <a:pt x="3972533" y="370197"/>
                </a:lnTo>
                <a:lnTo>
                  <a:pt x="3972535" y="370196"/>
                </a:lnTo>
                <a:lnTo>
                  <a:pt x="3978512" y="364140"/>
                </a:lnTo>
                <a:cubicBezTo>
                  <a:pt x="3978512" y="358082"/>
                  <a:pt x="3972533" y="358082"/>
                  <a:pt x="3972533" y="358082"/>
                </a:cubicBezTo>
                <a:cubicBezTo>
                  <a:pt x="3978512" y="352024"/>
                  <a:pt x="3984490" y="345965"/>
                  <a:pt x="3984490" y="352024"/>
                </a:cubicBezTo>
                <a:cubicBezTo>
                  <a:pt x="3990467" y="345965"/>
                  <a:pt x="3990467" y="339907"/>
                  <a:pt x="3996449" y="333848"/>
                </a:cubicBezTo>
                <a:cubicBezTo>
                  <a:pt x="3996449" y="333848"/>
                  <a:pt x="3996449" y="339907"/>
                  <a:pt x="3996449" y="339907"/>
                </a:cubicBezTo>
                <a:cubicBezTo>
                  <a:pt x="4002426" y="339907"/>
                  <a:pt x="4002426" y="333848"/>
                  <a:pt x="4002426" y="327790"/>
                </a:cubicBezTo>
                <a:cubicBezTo>
                  <a:pt x="4002426" y="333848"/>
                  <a:pt x="4008404" y="327790"/>
                  <a:pt x="4008404" y="321731"/>
                </a:cubicBezTo>
                <a:close/>
                <a:moveTo>
                  <a:pt x="4359947" y="321413"/>
                </a:moveTo>
                <a:cubicBezTo>
                  <a:pt x="4362818" y="327152"/>
                  <a:pt x="4364251" y="327152"/>
                  <a:pt x="4364968" y="327870"/>
                </a:cubicBezTo>
                <a:lnTo>
                  <a:pt x="4365316" y="333076"/>
                </a:lnTo>
                <a:lnTo>
                  <a:pt x="4354207" y="338631"/>
                </a:lnTo>
                <a:cubicBezTo>
                  <a:pt x="4354207" y="338631"/>
                  <a:pt x="4354207" y="338631"/>
                  <a:pt x="4354207" y="332891"/>
                </a:cubicBezTo>
                <a:lnTo>
                  <a:pt x="4354207" y="326629"/>
                </a:lnTo>
                <a:lnTo>
                  <a:pt x="4356361" y="326434"/>
                </a:lnTo>
                <a:cubicBezTo>
                  <a:pt x="4358511" y="324281"/>
                  <a:pt x="4359947" y="321413"/>
                  <a:pt x="4359947" y="321413"/>
                </a:cubicBezTo>
                <a:close/>
                <a:moveTo>
                  <a:pt x="4354207" y="321413"/>
                </a:moveTo>
                <a:lnTo>
                  <a:pt x="4354207" y="326629"/>
                </a:lnTo>
                <a:lnTo>
                  <a:pt x="4348468" y="327152"/>
                </a:lnTo>
                <a:cubicBezTo>
                  <a:pt x="4354207" y="327152"/>
                  <a:pt x="4354207" y="327152"/>
                  <a:pt x="4354207" y="321413"/>
                </a:cubicBezTo>
                <a:close/>
                <a:moveTo>
                  <a:pt x="4230236" y="321413"/>
                </a:moveTo>
                <a:cubicBezTo>
                  <a:pt x="4236549" y="321413"/>
                  <a:pt x="4223922" y="332891"/>
                  <a:pt x="4236549" y="332891"/>
                </a:cubicBezTo>
                <a:cubicBezTo>
                  <a:pt x="4230236" y="338631"/>
                  <a:pt x="4223922" y="332891"/>
                  <a:pt x="4217608" y="344371"/>
                </a:cubicBezTo>
                <a:cubicBezTo>
                  <a:pt x="4217608" y="344371"/>
                  <a:pt x="4211295" y="338631"/>
                  <a:pt x="4211295" y="344371"/>
                </a:cubicBezTo>
                <a:cubicBezTo>
                  <a:pt x="4204981" y="344371"/>
                  <a:pt x="4211295" y="338631"/>
                  <a:pt x="4211295" y="332891"/>
                </a:cubicBezTo>
                <a:cubicBezTo>
                  <a:pt x="4217608" y="338631"/>
                  <a:pt x="4223922" y="338631"/>
                  <a:pt x="4230236" y="327152"/>
                </a:cubicBezTo>
                <a:cubicBezTo>
                  <a:pt x="4223922" y="321413"/>
                  <a:pt x="4217608" y="332891"/>
                  <a:pt x="4217608" y="327152"/>
                </a:cubicBezTo>
                <a:cubicBezTo>
                  <a:pt x="4223922" y="327152"/>
                  <a:pt x="4223922" y="321413"/>
                  <a:pt x="4230236" y="321413"/>
                </a:cubicBezTo>
                <a:close/>
                <a:moveTo>
                  <a:pt x="4164885" y="320836"/>
                </a:moveTo>
                <a:cubicBezTo>
                  <a:pt x="4167874" y="323817"/>
                  <a:pt x="4166379" y="326800"/>
                  <a:pt x="4164138" y="328291"/>
                </a:cubicBezTo>
                <a:lnTo>
                  <a:pt x="4163091" y="327993"/>
                </a:lnTo>
                <a:close/>
                <a:moveTo>
                  <a:pt x="3218557" y="318927"/>
                </a:moveTo>
                <a:cubicBezTo>
                  <a:pt x="3222957" y="318264"/>
                  <a:pt x="3227549" y="319021"/>
                  <a:pt x="3232140" y="322051"/>
                </a:cubicBezTo>
                <a:lnTo>
                  <a:pt x="3220582" y="333488"/>
                </a:lnTo>
                <a:lnTo>
                  <a:pt x="3233362" y="332799"/>
                </a:lnTo>
                <a:cubicBezTo>
                  <a:pt x="3237308" y="330379"/>
                  <a:pt x="3240464" y="327150"/>
                  <a:pt x="3243621" y="327150"/>
                </a:cubicBezTo>
                <a:cubicBezTo>
                  <a:pt x="3243621" y="340064"/>
                  <a:pt x="3224679" y="333607"/>
                  <a:pt x="3230994" y="346521"/>
                </a:cubicBezTo>
                <a:cubicBezTo>
                  <a:pt x="3224679" y="346521"/>
                  <a:pt x="3212053" y="352979"/>
                  <a:pt x="3212053" y="352979"/>
                </a:cubicBezTo>
                <a:cubicBezTo>
                  <a:pt x="3212053" y="346521"/>
                  <a:pt x="3218367" y="346521"/>
                  <a:pt x="3212053" y="340064"/>
                </a:cubicBezTo>
                <a:cubicBezTo>
                  <a:pt x="3218367" y="333607"/>
                  <a:pt x="3218367" y="346521"/>
                  <a:pt x="3224679" y="346521"/>
                </a:cubicBezTo>
                <a:cubicBezTo>
                  <a:pt x="3230994" y="340064"/>
                  <a:pt x="3218367" y="340064"/>
                  <a:pt x="3218367" y="333607"/>
                </a:cubicBezTo>
                <a:lnTo>
                  <a:pt x="3219580" y="333542"/>
                </a:lnTo>
                <a:lnTo>
                  <a:pt x="3213774" y="322051"/>
                </a:lnTo>
                <a:lnTo>
                  <a:pt x="3199646" y="330438"/>
                </a:lnTo>
                <a:lnTo>
                  <a:pt x="3206121" y="324323"/>
                </a:lnTo>
                <a:cubicBezTo>
                  <a:pt x="3209949" y="321671"/>
                  <a:pt x="3214157" y="319589"/>
                  <a:pt x="3218557" y="318927"/>
                </a:cubicBezTo>
                <a:close/>
                <a:moveTo>
                  <a:pt x="4044276" y="315673"/>
                </a:moveTo>
                <a:cubicBezTo>
                  <a:pt x="4044276" y="321731"/>
                  <a:pt x="4038297" y="321731"/>
                  <a:pt x="4038297" y="327790"/>
                </a:cubicBezTo>
                <a:cubicBezTo>
                  <a:pt x="4038297" y="327790"/>
                  <a:pt x="4026340" y="321731"/>
                  <a:pt x="4032319" y="333848"/>
                </a:cubicBezTo>
                <a:lnTo>
                  <a:pt x="4020362" y="333848"/>
                </a:lnTo>
                <a:cubicBezTo>
                  <a:pt x="4026340" y="327790"/>
                  <a:pt x="4026340" y="327790"/>
                  <a:pt x="4026340" y="321731"/>
                </a:cubicBezTo>
                <a:cubicBezTo>
                  <a:pt x="4038297" y="321731"/>
                  <a:pt x="4032319" y="321731"/>
                  <a:pt x="4044276" y="315673"/>
                </a:cubicBezTo>
                <a:close/>
                <a:moveTo>
                  <a:pt x="4020362" y="315673"/>
                </a:moveTo>
                <a:cubicBezTo>
                  <a:pt x="4020362" y="318702"/>
                  <a:pt x="4020362" y="321731"/>
                  <a:pt x="4019614" y="324003"/>
                </a:cubicBezTo>
                <a:lnTo>
                  <a:pt x="4017000" y="325897"/>
                </a:lnTo>
                <a:close/>
                <a:moveTo>
                  <a:pt x="3344059" y="315672"/>
                </a:moveTo>
                <a:cubicBezTo>
                  <a:pt x="3344059" y="321890"/>
                  <a:pt x="3344059" y="334325"/>
                  <a:pt x="3349799" y="328107"/>
                </a:cubicBezTo>
                <a:cubicBezTo>
                  <a:pt x="3344059" y="340543"/>
                  <a:pt x="3326841" y="340543"/>
                  <a:pt x="3309622" y="352979"/>
                </a:cubicBezTo>
                <a:cubicBezTo>
                  <a:pt x="3309622" y="328107"/>
                  <a:pt x="3344059" y="346760"/>
                  <a:pt x="3338319" y="321890"/>
                </a:cubicBezTo>
                <a:cubicBezTo>
                  <a:pt x="3338319" y="315672"/>
                  <a:pt x="3344059" y="315672"/>
                  <a:pt x="3344059" y="315672"/>
                </a:cubicBezTo>
                <a:close/>
                <a:moveTo>
                  <a:pt x="3062824" y="315672"/>
                </a:moveTo>
                <a:cubicBezTo>
                  <a:pt x="3062824" y="324997"/>
                  <a:pt x="3054216" y="329661"/>
                  <a:pt x="3044889" y="334325"/>
                </a:cubicBezTo>
                <a:lnTo>
                  <a:pt x="3024894" y="351097"/>
                </a:lnTo>
                <a:lnTo>
                  <a:pt x="3026203" y="351287"/>
                </a:lnTo>
                <a:cubicBezTo>
                  <a:pt x="3026954" y="353594"/>
                  <a:pt x="3026954" y="356668"/>
                  <a:pt x="3026954" y="356668"/>
                </a:cubicBezTo>
                <a:cubicBezTo>
                  <a:pt x="3039008" y="356668"/>
                  <a:pt x="3045035" y="350519"/>
                  <a:pt x="3051059" y="344369"/>
                </a:cubicBezTo>
                <a:cubicBezTo>
                  <a:pt x="3057087" y="344369"/>
                  <a:pt x="3057087" y="350519"/>
                  <a:pt x="3057087" y="356668"/>
                </a:cubicBezTo>
                <a:cubicBezTo>
                  <a:pt x="3057087" y="350519"/>
                  <a:pt x="3032981" y="356668"/>
                  <a:pt x="3045035" y="368966"/>
                </a:cubicBezTo>
                <a:cubicBezTo>
                  <a:pt x="3026954" y="368966"/>
                  <a:pt x="3026954" y="381266"/>
                  <a:pt x="3014902" y="381266"/>
                </a:cubicBezTo>
                <a:cubicBezTo>
                  <a:pt x="3020927" y="375116"/>
                  <a:pt x="3026954" y="368966"/>
                  <a:pt x="3039008" y="368966"/>
                </a:cubicBezTo>
                <a:cubicBezTo>
                  <a:pt x="3032981" y="368966"/>
                  <a:pt x="3002848" y="375116"/>
                  <a:pt x="3008875" y="387416"/>
                </a:cubicBezTo>
                <a:cubicBezTo>
                  <a:pt x="3002848" y="387416"/>
                  <a:pt x="3002848" y="387416"/>
                  <a:pt x="2996822" y="387416"/>
                </a:cubicBezTo>
                <a:cubicBezTo>
                  <a:pt x="3002848" y="375116"/>
                  <a:pt x="3008875" y="381266"/>
                  <a:pt x="2996822" y="368966"/>
                </a:cubicBezTo>
                <a:cubicBezTo>
                  <a:pt x="3002848" y="368966"/>
                  <a:pt x="3014902" y="368966"/>
                  <a:pt x="3014902" y="362818"/>
                </a:cubicBezTo>
                <a:cubicBezTo>
                  <a:pt x="3014902" y="356668"/>
                  <a:pt x="3008875" y="368966"/>
                  <a:pt x="3008875" y="356668"/>
                </a:cubicBezTo>
                <a:cubicBezTo>
                  <a:pt x="3014902" y="350519"/>
                  <a:pt x="3020927" y="356668"/>
                  <a:pt x="3020927" y="362818"/>
                </a:cubicBezTo>
                <a:cubicBezTo>
                  <a:pt x="3026954" y="362818"/>
                  <a:pt x="3014902" y="350519"/>
                  <a:pt x="3020927" y="350519"/>
                </a:cubicBezTo>
                <a:lnTo>
                  <a:pt x="3022648" y="350770"/>
                </a:lnTo>
                <a:lnTo>
                  <a:pt x="3022648" y="343651"/>
                </a:lnTo>
                <a:cubicBezTo>
                  <a:pt x="3024083" y="338989"/>
                  <a:pt x="3025519" y="334325"/>
                  <a:pt x="3022648" y="334325"/>
                </a:cubicBezTo>
                <a:cubicBezTo>
                  <a:pt x="3028388" y="328107"/>
                  <a:pt x="3057085" y="328107"/>
                  <a:pt x="3062824" y="315672"/>
                </a:cubicBezTo>
                <a:close/>
                <a:moveTo>
                  <a:pt x="4320313" y="314873"/>
                </a:moveTo>
                <a:cubicBezTo>
                  <a:pt x="4320313" y="326800"/>
                  <a:pt x="4302379" y="308907"/>
                  <a:pt x="4314335" y="326800"/>
                </a:cubicBezTo>
                <a:cubicBezTo>
                  <a:pt x="4308357" y="326800"/>
                  <a:pt x="4308357" y="314873"/>
                  <a:pt x="4296401" y="320836"/>
                </a:cubicBezTo>
                <a:cubicBezTo>
                  <a:pt x="4296401" y="326800"/>
                  <a:pt x="4308357" y="332763"/>
                  <a:pt x="4302379" y="338727"/>
                </a:cubicBezTo>
                <a:cubicBezTo>
                  <a:pt x="4296401" y="344692"/>
                  <a:pt x="4290423" y="338727"/>
                  <a:pt x="4284445" y="344692"/>
                </a:cubicBezTo>
                <a:cubicBezTo>
                  <a:pt x="4284445" y="338727"/>
                  <a:pt x="4284445" y="338727"/>
                  <a:pt x="4278466" y="332763"/>
                </a:cubicBezTo>
                <a:cubicBezTo>
                  <a:pt x="4272488" y="338728"/>
                  <a:pt x="4265017" y="340218"/>
                  <a:pt x="4257544" y="342456"/>
                </a:cubicBezTo>
                <a:lnTo>
                  <a:pt x="4253267" y="345351"/>
                </a:lnTo>
                <a:lnTo>
                  <a:pt x="4252314" y="345437"/>
                </a:lnTo>
                <a:lnTo>
                  <a:pt x="4251537" y="346521"/>
                </a:lnTo>
                <a:lnTo>
                  <a:pt x="4236621" y="356619"/>
                </a:lnTo>
                <a:cubicBezTo>
                  <a:pt x="4230643" y="356619"/>
                  <a:pt x="4230643" y="356619"/>
                  <a:pt x="4230643" y="344692"/>
                </a:cubicBezTo>
                <a:cubicBezTo>
                  <a:pt x="4260532" y="338727"/>
                  <a:pt x="4290423" y="308907"/>
                  <a:pt x="4320313" y="314873"/>
                </a:cubicBezTo>
                <a:close/>
                <a:moveTo>
                  <a:pt x="4338712" y="313378"/>
                </a:moveTo>
                <a:lnTo>
                  <a:pt x="4348468" y="321413"/>
                </a:lnTo>
                <a:cubicBezTo>
                  <a:pt x="4342728" y="315673"/>
                  <a:pt x="4336989" y="332891"/>
                  <a:pt x="4342728" y="332891"/>
                </a:cubicBezTo>
                <a:cubicBezTo>
                  <a:pt x="4348468" y="338631"/>
                  <a:pt x="4336989" y="338631"/>
                  <a:pt x="4331250" y="332891"/>
                </a:cubicBezTo>
                <a:cubicBezTo>
                  <a:pt x="4331250" y="332891"/>
                  <a:pt x="4336989" y="332891"/>
                  <a:pt x="4336989" y="332891"/>
                </a:cubicBezTo>
                <a:cubicBezTo>
                  <a:pt x="4342728" y="332891"/>
                  <a:pt x="4331250" y="321413"/>
                  <a:pt x="4331250" y="327152"/>
                </a:cubicBezTo>
                <a:cubicBezTo>
                  <a:pt x="4331250" y="315673"/>
                  <a:pt x="4336989" y="327152"/>
                  <a:pt x="4342728" y="321413"/>
                </a:cubicBezTo>
                <a:close/>
                <a:moveTo>
                  <a:pt x="4331995" y="310997"/>
                </a:moveTo>
                <a:lnTo>
                  <a:pt x="4336271" y="311369"/>
                </a:lnTo>
                <a:lnTo>
                  <a:pt x="4336989" y="311960"/>
                </a:lnTo>
                <a:lnTo>
                  <a:pt x="4336989" y="315673"/>
                </a:lnTo>
                <a:cubicBezTo>
                  <a:pt x="4336989" y="318542"/>
                  <a:pt x="4336989" y="318542"/>
                  <a:pt x="4336271" y="317108"/>
                </a:cubicBezTo>
                <a:close/>
                <a:moveTo>
                  <a:pt x="4336989" y="309934"/>
                </a:moveTo>
                <a:lnTo>
                  <a:pt x="4338712" y="313378"/>
                </a:lnTo>
                <a:lnTo>
                  <a:pt x="4336989" y="311960"/>
                </a:lnTo>
                <a:close/>
                <a:moveTo>
                  <a:pt x="4331250" y="309934"/>
                </a:moveTo>
                <a:lnTo>
                  <a:pt x="4331995" y="310997"/>
                </a:lnTo>
                <a:lnTo>
                  <a:pt x="4331250" y="310931"/>
                </a:lnTo>
                <a:close/>
                <a:moveTo>
                  <a:pt x="4319770" y="309934"/>
                </a:moveTo>
                <a:lnTo>
                  <a:pt x="4331250" y="310931"/>
                </a:lnTo>
                <a:lnTo>
                  <a:pt x="4331250" y="315673"/>
                </a:lnTo>
                <a:cubicBezTo>
                  <a:pt x="4325510" y="315673"/>
                  <a:pt x="4325510" y="315673"/>
                  <a:pt x="4319770" y="309934"/>
                </a:cubicBezTo>
                <a:close/>
                <a:moveTo>
                  <a:pt x="3386534" y="309934"/>
                </a:moveTo>
                <a:cubicBezTo>
                  <a:pt x="3392847" y="315673"/>
                  <a:pt x="3373906" y="321413"/>
                  <a:pt x="3361279" y="321413"/>
                </a:cubicBezTo>
                <a:cubicBezTo>
                  <a:pt x="3367594" y="315673"/>
                  <a:pt x="3386534" y="309934"/>
                  <a:pt x="3386534" y="309934"/>
                </a:cubicBezTo>
                <a:close/>
                <a:moveTo>
                  <a:pt x="3338321" y="309932"/>
                </a:moveTo>
                <a:cubicBezTo>
                  <a:pt x="3326269" y="321411"/>
                  <a:pt x="3290110" y="321411"/>
                  <a:pt x="3278056" y="338629"/>
                </a:cubicBezTo>
                <a:cubicBezTo>
                  <a:pt x="3290110" y="327150"/>
                  <a:pt x="3320242" y="304192"/>
                  <a:pt x="3338321" y="309932"/>
                </a:cubicBezTo>
                <a:close/>
                <a:moveTo>
                  <a:pt x="3232140" y="309932"/>
                </a:moveTo>
                <a:cubicBezTo>
                  <a:pt x="3237880" y="309932"/>
                  <a:pt x="3237880" y="309932"/>
                  <a:pt x="3243619" y="309932"/>
                </a:cubicBezTo>
                <a:cubicBezTo>
                  <a:pt x="3243619" y="315672"/>
                  <a:pt x="3243619" y="321411"/>
                  <a:pt x="3237880" y="321411"/>
                </a:cubicBezTo>
                <a:cubicBezTo>
                  <a:pt x="3232140" y="315672"/>
                  <a:pt x="3237880" y="315672"/>
                  <a:pt x="3232140" y="309932"/>
                </a:cubicBezTo>
                <a:close/>
                <a:moveTo>
                  <a:pt x="3034129" y="309932"/>
                </a:moveTo>
                <a:cubicBezTo>
                  <a:pt x="3034129" y="321411"/>
                  <a:pt x="2997780" y="338629"/>
                  <a:pt x="2979603" y="338629"/>
                </a:cubicBezTo>
                <a:cubicBezTo>
                  <a:pt x="2991720" y="321411"/>
                  <a:pt x="3003837" y="321411"/>
                  <a:pt x="3034129" y="309932"/>
                </a:cubicBezTo>
                <a:close/>
                <a:moveTo>
                  <a:pt x="2925079" y="309932"/>
                </a:moveTo>
                <a:cubicBezTo>
                  <a:pt x="2931297" y="309932"/>
                  <a:pt x="2931297" y="309932"/>
                  <a:pt x="2937516" y="309932"/>
                </a:cubicBezTo>
                <a:cubicBezTo>
                  <a:pt x="2931297" y="315672"/>
                  <a:pt x="2937516" y="315672"/>
                  <a:pt x="2943733" y="321411"/>
                </a:cubicBezTo>
                <a:cubicBezTo>
                  <a:pt x="2949951" y="321411"/>
                  <a:pt x="2949951" y="315672"/>
                  <a:pt x="2949951" y="309932"/>
                </a:cubicBezTo>
                <a:cubicBezTo>
                  <a:pt x="2962387" y="315672"/>
                  <a:pt x="2949951" y="327150"/>
                  <a:pt x="2949951" y="332890"/>
                </a:cubicBezTo>
                <a:cubicBezTo>
                  <a:pt x="2943733" y="327150"/>
                  <a:pt x="2943733" y="321411"/>
                  <a:pt x="2931297" y="321411"/>
                </a:cubicBezTo>
                <a:cubicBezTo>
                  <a:pt x="2931297" y="315672"/>
                  <a:pt x="2931297" y="321411"/>
                  <a:pt x="2925079" y="309932"/>
                </a:cubicBezTo>
                <a:close/>
                <a:moveTo>
                  <a:pt x="2919340" y="309932"/>
                </a:moveTo>
                <a:cubicBezTo>
                  <a:pt x="2925079" y="315672"/>
                  <a:pt x="2925079" y="327150"/>
                  <a:pt x="2913600" y="332890"/>
                </a:cubicBezTo>
                <a:cubicBezTo>
                  <a:pt x="2913600" y="332890"/>
                  <a:pt x="2919340" y="327150"/>
                  <a:pt x="2913600" y="327150"/>
                </a:cubicBezTo>
                <a:cubicBezTo>
                  <a:pt x="2902121" y="327150"/>
                  <a:pt x="2913600" y="332890"/>
                  <a:pt x="2907861" y="338629"/>
                </a:cubicBezTo>
                <a:cubicBezTo>
                  <a:pt x="2896382" y="338629"/>
                  <a:pt x="2913600" y="327150"/>
                  <a:pt x="2902121" y="327150"/>
                </a:cubicBezTo>
                <a:cubicBezTo>
                  <a:pt x="2890642" y="327150"/>
                  <a:pt x="2896382" y="332890"/>
                  <a:pt x="2884903" y="338629"/>
                </a:cubicBezTo>
                <a:cubicBezTo>
                  <a:pt x="2879163" y="321411"/>
                  <a:pt x="2896382" y="327150"/>
                  <a:pt x="2902121" y="315672"/>
                </a:cubicBezTo>
                <a:cubicBezTo>
                  <a:pt x="2907861" y="321411"/>
                  <a:pt x="2907861" y="321411"/>
                  <a:pt x="2907861" y="327150"/>
                </a:cubicBezTo>
                <a:cubicBezTo>
                  <a:pt x="2907861" y="321411"/>
                  <a:pt x="2925079" y="321411"/>
                  <a:pt x="2919340" y="309932"/>
                </a:cubicBezTo>
                <a:close/>
                <a:moveTo>
                  <a:pt x="3631034" y="304194"/>
                </a:moveTo>
                <a:cubicBezTo>
                  <a:pt x="3625295" y="309934"/>
                  <a:pt x="3613815" y="327152"/>
                  <a:pt x="3602336" y="315673"/>
                </a:cubicBezTo>
                <a:cubicBezTo>
                  <a:pt x="3613815" y="315673"/>
                  <a:pt x="3619555" y="304194"/>
                  <a:pt x="3631034" y="304194"/>
                </a:cubicBezTo>
                <a:close/>
                <a:moveTo>
                  <a:pt x="3039868" y="304192"/>
                </a:moveTo>
                <a:cubicBezTo>
                  <a:pt x="3039868" y="304192"/>
                  <a:pt x="3039868" y="304192"/>
                  <a:pt x="3045608" y="304192"/>
                </a:cubicBezTo>
                <a:cubicBezTo>
                  <a:pt x="3051347" y="309932"/>
                  <a:pt x="3045608" y="315672"/>
                  <a:pt x="3034129" y="315672"/>
                </a:cubicBezTo>
                <a:cubicBezTo>
                  <a:pt x="3034129" y="309932"/>
                  <a:pt x="3039868" y="309932"/>
                  <a:pt x="3039868" y="304192"/>
                </a:cubicBezTo>
                <a:close/>
                <a:moveTo>
                  <a:pt x="4579144" y="300365"/>
                </a:moveTo>
                <a:lnTo>
                  <a:pt x="4577368" y="302943"/>
                </a:lnTo>
                <a:lnTo>
                  <a:pt x="4577368" y="300957"/>
                </a:lnTo>
                <a:close/>
                <a:moveTo>
                  <a:pt x="4348466" y="298452"/>
                </a:moveTo>
                <a:cubicBezTo>
                  <a:pt x="4354206" y="298452"/>
                  <a:pt x="4354206" y="298452"/>
                  <a:pt x="4354206" y="304192"/>
                </a:cubicBezTo>
                <a:cubicBezTo>
                  <a:pt x="4354206" y="304192"/>
                  <a:pt x="4354206" y="309932"/>
                  <a:pt x="4348466" y="309932"/>
                </a:cubicBezTo>
                <a:cubicBezTo>
                  <a:pt x="4348466" y="309932"/>
                  <a:pt x="4348466" y="304192"/>
                  <a:pt x="4348466" y="298452"/>
                </a:cubicBezTo>
                <a:close/>
                <a:moveTo>
                  <a:pt x="4282463" y="298452"/>
                </a:moveTo>
                <a:cubicBezTo>
                  <a:pt x="4282463" y="309932"/>
                  <a:pt x="4270984" y="304192"/>
                  <a:pt x="4276724" y="315672"/>
                </a:cubicBezTo>
                <a:cubicBezTo>
                  <a:pt x="4270984" y="309932"/>
                  <a:pt x="4265245" y="309932"/>
                  <a:pt x="4259506" y="304192"/>
                </a:cubicBezTo>
                <a:cubicBezTo>
                  <a:pt x="4265245" y="298452"/>
                  <a:pt x="4265245" y="304192"/>
                  <a:pt x="4270984" y="304192"/>
                </a:cubicBezTo>
                <a:cubicBezTo>
                  <a:pt x="4276724" y="304192"/>
                  <a:pt x="4270984" y="298452"/>
                  <a:pt x="4282463" y="298452"/>
                </a:cubicBezTo>
                <a:close/>
                <a:moveTo>
                  <a:pt x="3363577" y="298452"/>
                </a:moveTo>
                <a:cubicBezTo>
                  <a:pt x="3363577" y="304192"/>
                  <a:pt x="3363577" y="298452"/>
                  <a:pt x="3369889" y="298452"/>
                </a:cubicBezTo>
                <a:cubicBezTo>
                  <a:pt x="3369889" y="298452"/>
                  <a:pt x="3369889" y="298452"/>
                  <a:pt x="3369889" y="304192"/>
                </a:cubicBezTo>
                <a:cubicBezTo>
                  <a:pt x="3369889" y="304192"/>
                  <a:pt x="3369889" y="304192"/>
                  <a:pt x="3369889" y="309932"/>
                </a:cubicBezTo>
                <a:cubicBezTo>
                  <a:pt x="3357263" y="298452"/>
                  <a:pt x="3350948" y="304192"/>
                  <a:pt x="3344636" y="309932"/>
                </a:cubicBezTo>
                <a:cubicBezTo>
                  <a:pt x="3338321" y="298452"/>
                  <a:pt x="3357263" y="298452"/>
                  <a:pt x="3363577" y="298452"/>
                </a:cubicBezTo>
                <a:close/>
                <a:moveTo>
                  <a:pt x="3011171" y="298452"/>
                </a:moveTo>
                <a:cubicBezTo>
                  <a:pt x="3011171" y="304192"/>
                  <a:pt x="3011171" y="304192"/>
                  <a:pt x="3011171" y="304192"/>
                </a:cubicBezTo>
                <a:cubicBezTo>
                  <a:pt x="3011171" y="321411"/>
                  <a:pt x="2985343" y="304192"/>
                  <a:pt x="2991800" y="321411"/>
                </a:cubicBezTo>
                <a:cubicBezTo>
                  <a:pt x="2985343" y="321411"/>
                  <a:pt x="2985343" y="315672"/>
                  <a:pt x="2985343" y="315672"/>
                </a:cubicBezTo>
                <a:cubicBezTo>
                  <a:pt x="2985343" y="298452"/>
                  <a:pt x="3004714" y="321411"/>
                  <a:pt x="3011171" y="298452"/>
                </a:cubicBezTo>
                <a:close/>
                <a:moveTo>
                  <a:pt x="4414471" y="292715"/>
                </a:moveTo>
                <a:cubicBezTo>
                  <a:pt x="4414471" y="298454"/>
                  <a:pt x="4414471" y="304194"/>
                  <a:pt x="4414471" y="304194"/>
                </a:cubicBezTo>
                <a:cubicBezTo>
                  <a:pt x="4408732" y="315673"/>
                  <a:pt x="4414471" y="292715"/>
                  <a:pt x="4408732" y="298454"/>
                </a:cubicBezTo>
                <a:cubicBezTo>
                  <a:pt x="4402992" y="304194"/>
                  <a:pt x="4408732" y="304194"/>
                  <a:pt x="4408732" y="309934"/>
                </a:cubicBezTo>
                <a:cubicBezTo>
                  <a:pt x="4397252" y="309934"/>
                  <a:pt x="4397252" y="298454"/>
                  <a:pt x="4391513" y="304194"/>
                </a:cubicBezTo>
                <a:cubicBezTo>
                  <a:pt x="4397252" y="292715"/>
                  <a:pt x="4402992" y="304194"/>
                  <a:pt x="4414471" y="292715"/>
                </a:cubicBezTo>
                <a:close/>
                <a:moveTo>
                  <a:pt x="3155913" y="292714"/>
                </a:moveTo>
                <a:cubicBezTo>
                  <a:pt x="3162012" y="291278"/>
                  <a:pt x="3165062" y="292714"/>
                  <a:pt x="3146766" y="298452"/>
                </a:cubicBezTo>
                <a:lnTo>
                  <a:pt x="3146766" y="296839"/>
                </a:lnTo>
                <a:cubicBezTo>
                  <a:pt x="3149052" y="294866"/>
                  <a:pt x="3152864" y="293431"/>
                  <a:pt x="3155913" y="292714"/>
                </a:cubicBezTo>
                <a:close/>
                <a:moveTo>
                  <a:pt x="4367601" y="286976"/>
                </a:moveTo>
                <a:cubicBezTo>
                  <a:pt x="4374296" y="286976"/>
                  <a:pt x="4374296" y="298454"/>
                  <a:pt x="4374296" y="298454"/>
                </a:cubicBezTo>
                <a:cubicBezTo>
                  <a:pt x="4354207" y="298454"/>
                  <a:pt x="4367601" y="309934"/>
                  <a:pt x="4354207" y="292715"/>
                </a:cubicBezTo>
                <a:cubicBezTo>
                  <a:pt x="4360905" y="292715"/>
                  <a:pt x="4374296" y="298454"/>
                  <a:pt x="4367601" y="286976"/>
                </a:cubicBezTo>
                <a:close/>
                <a:moveTo>
                  <a:pt x="4121758" y="286976"/>
                </a:moveTo>
                <a:cubicBezTo>
                  <a:pt x="4116018" y="298454"/>
                  <a:pt x="4098800" y="298454"/>
                  <a:pt x="4087321" y="304194"/>
                </a:cubicBezTo>
                <a:cubicBezTo>
                  <a:pt x="4087321" y="304194"/>
                  <a:pt x="4087321" y="304194"/>
                  <a:pt x="4087321" y="298454"/>
                </a:cubicBezTo>
                <a:cubicBezTo>
                  <a:pt x="4098800" y="304194"/>
                  <a:pt x="4116018" y="286976"/>
                  <a:pt x="4121758" y="286976"/>
                </a:cubicBezTo>
                <a:close/>
                <a:moveTo>
                  <a:pt x="3338321" y="286976"/>
                </a:moveTo>
                <a:cubicBezTo>
                  <a:pt x="3338321" y="292715"/>
                  <a:pt x="3338321" y="292715"/>
                  <a:pt x="3338321" y="292715"/>
                </a:cubicBezTo>
                <a:cubicBezTo>
                  <a:pt x="3338321" y="292715"/>
                  <a:pt x="3338321" y="292715"/>
                  <a:pt x="3344061" y="292715"/>
                </a:cubicBezTo>
                <a:cubicBezTo>
                  <a:pt x="3344061" y="304194"/>
                  <a:pt x="3326842" y="292715"/>
                  <a:pt x="3326842" y="304194"/>
                </a:cubicBezTo>
                <a:cubicBezTo>
                  <a:pt x="3326842" y="304194"/>
                  <a:pt x="3326842" y="298454"/>
                  <a:pt x="3326842" y="298454"/>
                </a:cubicBezTo>
                <a:cubicBezTo>
                  <a:pt x="3332581" y="298454"/>
                  <a:pt x="3332581" y="292715"/>
                  <a:pt x="3338321" y="286976"/>
                </a:cubicBezTo>
                <a:close/>
                <a:moveTo>
                  <a:pt x="4437429" y="286974"/>
                </a:moveTo>
                <a:cubicBezTo>
                  <a:pt x="4437429" y="292714"/>
                  <a:pt x="4425950" y="292714"/>
                  <a:pt x="4431689" y="298452"/>
                </a:cubicBezTo>
                <a:cubicBezTo>
                  <a:pt x="4420210" y="292714"/>
                  <a:pt x="4431689" y="286974"/>
                  <a:pt x="4437429" y="286974"/>
                </a:cubicBezTo>
                <a:close/>
                <a:moveTo>
                  <a:pt x="3086801" y="285629"/>
                </a:moveTo>
                <a:cubicBezTo>
                  <a:pt x="3090165" y="285180"/>
                  <a:pt x="3092855" y="285539"/>
                  <a:pt x="3094393" y="286974"/>
                </a:cubicBezTo>
                <a:cubicBezTo>
                  <a:pt x="3082095" y="286974"/>
                  <a:pt x="3069795" y="304192"/>
                  <a:pt x="3051346" y="304192"/>
                </a:cubicBezTo>
                <a:cubicBezTo>
                  <a:pt x="3060571" y="295583"/>
                  <a:pt x="3076713" y="286974"/>
                  <a:pt x="3086801" y="285629"/>
                </a:cubicBezTo>
                <a:close/>
                <a:moveTo>
                  <a:pt x="4391513" y="281236"/>
                </a:moveTo>
                <a:cubicBezTo>
                  <a:pt x="4391513" y="286976"/>
                  <a:pt x="4391513" y="292715"/>
                  <a:pt x="4391513" y="292715"/>
                </a:cubicBezTo>
                <a:cubicBezTo>
                  <a:pt x="4385774" y="298454"/>
                  <a:pt x="4380034" y="286976"/>
                  <a:pt x="4380034" y="298454"/>
                </a:cubicBezTo>
                <a:cubicBezTo>
                  <a:pt x="4374295" y="298454"/>
                  <a:pt x="4380034" y="281236"/>
                  <a:pt x="4391513" y="281236"/>
                </a:cubicBezTo>
                <a:close/>
                <a:moveTo>
                  <a:pt x="3398585" y="281234"/>
                </a:moveTo>
                <a:cubicBezTo>
                  <a:pt x="3398585" y="286974"/>
                  <a:pt x="3398585" y="286974"/>
                  <a:pt x="3398585" y="286974"/>
                </a:cubicBezTo>
                <a:cubicBezTo>
                  <a:pt x="3392845" y="292714"/>
                  <a:pt x="3387106" y="298452"/>
                  <a:pt x="3387106" y="286974"/>
                </a:cubicBezTo>
                <a:cubicBezTo>
                  <a:pt x="3387106" y="286974"/>
                  <a:pt x="3387106" y="286974"/>
                  <a:pt x="3392845" y="286974"/>
                </a:cubicBezTo>
                <a:cubicBezTo>
                  <a:pt x="3392845" y="286974"/>
                  <a:pt x="3392845" y="281234"/>
                  <a:pt x="3398585" y="281234"/>
                </a:cubicBezTo>
                <a:close/>
                <a:moveTo>
                  <a:pt x="4218688" y="273123"/>
                </a:moveTo>
                <a:cubicBezTo>
                  <a:pt x="4218688" y="273123"/>
                  <a:pt x="4218688" y="279087"/>
                  <a:pt x="4218688" y="285052"/>
                </a:cubicBezTo>
                <a:cubicBezTo>
                  <a:pt x="4212710" y="291016"/>
                  <a:pt x="4218688" y="291016"/>
                  <a:pt x="4218688" y="291016"/>
                </a:cubicBezTo>
                <a:cubicBezTo>
                  <a:pt x="4218688" y="296980"/>
                  <a:pt x="4224665" y="296980"/>
                  <a:pt x="4224665" y="296980"/>
                </a:cubicBezTo>
                <a:cubicBezTo>
                  <a:pt x="4218688" y="296980"/>
                  <a:pt x="4206731" y="320836"/>
                  <a:pt x="4200753" y="320836"/>
                </a:cubicBezTo>
                <a:cubicBezTo>
                  <a:pt x="4200753" y="326800"/>
                  <a:pt x="4200753" y="332763"/>
                  <a:pt x="4194775" y="338727"/>
                </a:cubicBezTo>
                <a:cubicBezTo>
                  <a:pt x="4200753" y="344692"/>
                  <a:pt x="4200753" y="332763"/>
                  <a:pt x="4200753" y="344692"/>
                </a:cubicBezTo>
                <a:cubicBezTo>
                  <a:pt x="4200753" y="350656"/>
                  <a:pt x="4188796" y="350656"/>
                  <a:pt x="4182819" y="350656"/>
                </a:cubicBezTo>
                <a:cubicBezTo>
                  <a:pt x="4176841" y="338727"/>
                  <a:pt x="4188796" y="326800"/>
                  <a:pt x="4176841" y="320836"/>
                </a:cubicBezTo>
                <a:cubicBezTo>
                  <a:pt x="4176841" y="314873"/>
                  <a:pt x="4182819" y="314873"/>
                  <a:pt x="4188796" y="320836"/>
                </a:cubicBezTo>
                <a:cubicBezTo>
                  <a:pt x="4194775" y="314873"/>
                  <a:pt x="4188796" y="308907"/>
                  <a:pt x="4182819" y="314873"/>
                </a:cubicBezTo>
                <a:cubicBezTo>
                  <a:pt x="4182819" y="302943"/>
                  <a:pt x="4188796" y="308907"/>
                  <a:pt x="4194775" y="302943"/>
                </a:cubicBezTo>
                <a:cubicBezTo>
                  <a:pt x="4188796" y="296980"/>
                  <a:pt x="4182819" y="314873"/>
                  <a:pt x="4170863" y="308907"/>
                </a:cubicBezTo>
                <a:cubicBezTo>
                  <a:pt x="4176841" y="308907"/>
                  <a:pt x="4170863" y="338727"/>
                  <a:pt x="4176841" y="332763"/>
                </a:cubicBezTo>
                <a:cubicBezTo>
                  <a:pt x="4182819" y="332763"/>
                  <a:pt x="4176841" y="338727"/>
                  <a:pt x="4170863" y="338727"/>
                </a:cubicBezTo>
                <a:cubicBezTo>
                  <a:pt x="4164885" y="332763"/>
                  <a:pt x="4170863" y="326800"/>
                  <a:pt x="4170863" y="320836"/>
                </a:cubicBezTo>
                <a:cubicBezTo>
                  <a:pt x="4170863" y="314873"/>
                  <a:pt x="4164885" y="314873"/>
                  <a:pt x="4164885" y="308907"/>
                </a:cubicBezTo>
                <a:cubicBezTo>
                  <a:pt x="4164885" y="314873"/>
                  <a:pt x="4164885" y="314873"/>
                  <a:pt x="4158906" y="314873"/>
                </a:cubicBezTo>
                <a:cubicBezTo>
                  <a:pt x="4158906" y="320836"/>
                  <a:pt x="4158906" y="320836"/>
                  <a:pt x="4158906" y="326800"/>
                </a:cubicBezTo>
                <a:lnTo>
                  <a:pt x="4163091" y="327993"/>
                </a:lnTo>
                <a:lnTo>
                  <a:pt x="4158906" y="344692"/>
                </a:lnTo>
                <a:cubicBezTo>
                  <a:pt x="4164885" y="344692"/>
                  <a:pt x="4164885" y="344692"/>
                  <a:pt x="4164885" y="356619"/>
                </a:cubicBezTo>
                <a:cubicBezTo>
                  <a:pt x="4158906" y="356619"/>
                  <a:pt x="4158906" y="344692"/>
                  <a:pt x="4152928" y="338727"/>
                </a:cubicBezTo>
                <a:cubicBezTo>
                  <a:pt x="4146950" y="338727"/>
                  <a:pt x="4152928" y="350656"/>
                  <a:pt x="4158906" y="350656"/>
                </a:cubicBezTo>
                <a:cubicBezTo>
                  <a:pt x="4146950" y="362583"/>
                  <a:pt x="4146950" y="362583"/>
                  <a:pt x="4129016" y="362583"/>
                </a:cubicBezTo>
                <a:cubicBezTo>
                  <a:pt x="4123039" y="356619"/>
                  <a:pt x="4134994" y="356619"/>
                  <a:pt x="4134994" y="350656"/>
                </a:cubicBezTo>
                <a:cubicBezTo>
                  <a:pt x="4117061" y="344692"/>
                  <a:pt x="4129016" y="374512"/>
                  <a:pt x="4111083" y="374512"/>
                </a:cubicBezTo>
                <a:cubicBezTo>
                  <a:pt x="4111083" y="380476"/>
                  <a:pt x="4117061" y="380476"/>
                  <a:pt x="4123039" y="380476"/>
                </a:cubicBezTo>
                <a:cubicBezTo>
                  <a:pt x="4123039" y="374512"/>
                  <a:pt x="4123039" y="368549"/>
                  <a:pt x="4123039" y="368549"/>
                </a:cubicBezTo>
                <a:cubicBezTo>
                  <a:pt x="4129016" y="368549"/>
                  <a:pt x="4123039" y="374512"/>
                  <a:pt x="4129016" y="380476"/>
                </a:cubicBezTo>
                <a:lnTo>
                  <a:pt x="4134994" y="376501"/>
                </a:lnTo>
                <a:lnTo>
                  <a:pt x="4134994" y="380476"/>
                </a:lnTo>
                <a:cubicBezTo>
                  <a:pt x="4134994" y="392403"/>
                  <a:pt x="4140972" y="368549"/>
                  <a:pt x="4146950" y="386440"/>
                </a:cubicBezTo>
                <a:cubicBezTo>
                  <a:pt x="4146950" y="386440"/>
                  <a:pt x="4146950" y="380476"/>
                  <a:pt x="4146950" y="374512"/>
                </a:cubicBezTo>
                <a:lnTo>
                  <a:pt x="4155227" y="378641"/>
                </a:lnTo>
                <a:lnTo>
                  <a:pt x="4158364" y="384272"/>
                </a:lnTo>
                <a:lnTo>
                  <a:pt x="4157413" y="390913"/>
                </a:lnTo>
                <a:cubicBezTo>
                  <a:pt x="4155918" y="392403"/>
                  <a:pt x="4152928" y="392403"/>
                  <a:pt x="4146950" y="392403"/>
                </a:cubicBezTo>
                <a:cubicBezTo>
                  <a:pt x="4152928" y="398368"/>
                  <a:pt x="4152928" y="404332"/>
                  <a:pt x="4158906" y="410296"/>
                </a:cubicBezTo>
                <a:cubicBezTo>
                  <a:pt x="4158906" y="404332"/>
                  <a:pt x="4160401" y="395386"/>
                  <a:pt x="4160401" y="387931"/>
                </a:cubicBezTo>
                <a:lnTo>
                  <a:pt x="4158364" y="384272"/>
                </a:lnTo>
                <a:lnTo>
                  <a:pt x="4158906" y="380476"/>
                </a:lnTo>
                <a:lnTo>
                  <a:pt x="4155227" y="378641"/>
                </a:lnTo>
                <a:lnTo>
                  <a:pt x="4152928" y="374512"/>
                </a:lnTo>
                <a:cubicBezTo>
                  <a:pt x="4152928" y="368549"/>
                  <a:pt x="4164885" y="368549"/>
                  <a:pt x="4164885" y="368549"/>
                </a:cubicBezTo>
                <a:cubicBezTo>
                  <a:pt x="4176841" y="374512"/>
                  <a:pt x="4164885" y="374512"/>
                  <a:pt x="4164885" y="380476"/>
                </a:cubicBezTo>
                <a:cubicBezTo>
                  <a:pt x="4170863" y="380476"/>
                  <a:pt x="4170863" y="380476"/>
                  <a:pt x="4182819" y="374512"/>
                </a:cubicBezTo>
                <a:cubicBezTo>
                  <a:pt x="4182819" y="368549"/>
                  <a:pt x="4194775" y="350656"/>
                  <a:pt x="4200753" y="368549"/>
                </a:cubicBezTo>
                <a:cubicBezTo>
                  <a:pt x="4182819" y="368549"/>
                  <a:pt x="4188796" y="386440"/>
                  <a:pt x="4176841" y="386440"/>
                </a:cubicBezTo>
                <a:cubicBezTo>
                  <a:pt x="4182819" y="398368"/>
                  <a:pt x="4188796" y="374512"/>
                  <a:pt x="4194775" y="392403"/>
                </a:cubicBezTo>
                <a:cubicBezTo>
                  <a:pt x="4194775" y="386440"/>
                  <a:pt x="4206731" y="380476"/>
                  <a:pt x="4212710" y="392403"/>
                </a:cubicBezTo>
                <a:cubicBezTo>
                  <a:pt x="4218688" y="392403"/>
                  <a:pt x="4206731" y="374512"/>
                  <a:pt x="4218688" y="380476"/>
                </a:cubicBezTo>
                <a:lnTo>
                  <a:pt x="4216538" y="377717"/>
                </a:lnTo>
                <a:lnTo>
                  <a:pt x="4210719" y="375936"/>
                </a:lnTo>
                <a:lnTo>
                  <a:pt x="4213408" y="373055"/>
                </a:lnTo>
                <a:lnTo>
                  <a:pt x="4212710" y="362583"/>
                </a:lnTo>
                <a:cubicBezTo>
                  <a:pt x="4212710" y="362583"/>
                  <a:pt x="4218688" y="362583"/>
                  <a:pt x="4218688" y="356619"/>
                </a:cubicBezTo>
                <a:cubicBezTo>
                  <a:pt x="4212710" y="350656"/>
                  <a:pt x="4206731" y="362583"/>
                  <a:pt x="4206731" y="368549"/>
                </a:cubicBezTo>
                <a:cubicBezTo>
                  <a:pt x="4200753" y="368549"/>
                  <a:pt x="4200753" y="356619"/>
                  <a:pt x="4200753" y="350656"/>
                </a:cubicBezTo>
                <a:cubicBezTo>
                  <a:pt x="4212710" y="356619"/>
                  <a:pt x="4218688" y="356619"/>
                  <a:pt x="4224665" y="344692"/>
                </a:cubicBezTo>
                <a:cubicBezTo>
                  <a:pt x="4218688" y="356619"/>
                  <a:pt x="4230643" y="344692"/>
                  <a:pt x="4230643" y="356619"/>
                </a:cubicBezTo>
                <a:cubicBezTo>
                  <a:pt x="4218688" y="362583"/>
                  <a:pt x="4224665" y="356619"/>
                  <a:pt x="4218688" y="362583"/>
                </a:cubicBezTo>
                <a:cubicBezTo>
                  <a:pt x="4224665" y="368549"/>
                  <a:pt x="4230643" y="362583"/>
                  <a:pt x="4236621" y="356619"/>
                </a:cubicBezTo>
                <a:cubicBezTo>
                  <a:pt x="4242599" y="356619"/>
                  <a:pt x="4242599" y="362583"/>
                  <a:pt x="4248578" y="368549"/>
                </a:cubicBezTo>
                <a:cubicBezTo>
                  <a:pt x="4242599" y="362583"/>
                  <a:pt x="4260532" y="350656"/>
                  <a:pt x="4248578" y="350656"/>
                </a:cubicBezTo>
                <a:lnTo>
                  <a:pt x="4251537" y="346521"/>
                </a:lnTo>
                <a:lnTo>
                  <a:pt x="4253267" y="345351"/>
                </a:lnTo>
                <a:lnTo>
                  <a:pt x="4260532" y="344692"/>
                </a:lnTo>
                <a:cubicBezTo>
                  <a:pt x="4251566" y="350656"/>
                  <a:pt x="4253061" y="358111"/>
                  <a:pt x="4255303" y="364821"/>
                </a:cubicBezTo>
                <a:lnTo>
                  <a:pt x="4255156" y="367889"/>
                </a:lnTo>
                <a:lnTo>
                  <a:pt x="4254556" y="368549"/>
                </a:lnTo>
                <a:lnTo>
                  <a:pt x="4255111" y="368825"/>
                </a:lnTo>
                <a:lnTo>
                  <a:pt x="4254556" y="380476"/>
                </a:lnTo>
                <a:cubicBezTo>
                  <a:pt x="4260532" y="386440"/>
                  <a:pt x="4260532" y="380476"/>
                  <a:pt x="4266510" y="374512"/>
                </a:cubicBezTo>
                <a:lnTo>
                  <a:pt x="4255111" y="368825"/>
                </a:lnTo>
                <a:lnTo>
                  <a:pt x="4255156" y="367889"/>
                </a:lnTo>
                <a:lnTo>
                  <a:pt x="4262027" y="360347"/>
                </a:lnTo>
                <a:cubicBezTo>
                  <a:pt x="4262027" y="356619"/>
                  <a:pt x="4260532" y="353639"/>
                  <a:pt x="4260532" y="356619"/>
                </a:cubicBezTo>
                <a:cubicBezTo>
                  <a:pt x="4266510" y="338727"/>
                  <a:pt x="4278466" y="350656"/>
                  <a:pt x="4290423" y="344692"/>
                </a:cubicBezTo>
                <a:cubicBezTo>
                  <a:pt x="4296401" y="350656"/>
                  <a:pt x="4296401" y="356619"/>
                  <a:pt x="4302379" y="356619"/>
                </a:cubicBezTo>
                <a:cubicBezTo>
                  <a:pt x="4302379" y="356619"/>
                  <a:pt x="4302379" y="350656"/>
                  <a:pt x="4302379" y="344692"/>
                </a:cubicBezTo>
                <a:cubicBezTo>
                  <a:pt x="4308357" y="344692"/>
                  <a:pt x="4314335" y="344692"/>
                  <a:pt x="4314335" y="350656"/>
                </a:cubicBezTo>
                <a:cubicBezTo>
                  <a:pt x="4308357" y="344692"/>
                  <a:pt x="4308357" y="356619"/>
                  <a:pt x="4308357" y="362583"/>
                </a:cubicBezTo>
                <a:cubicBezTo>
                  <a:pt x="4320313" y="356619"/>
                  <a:pt x="4314335" y="350656"/>
                  <a:pt x="4320313" y="362583"/>
                </a:cubicBezTo>
                <a:cubicBezTo>
                  <a:pt x="4326291" y="356619"/>
                  <a:pt x="4320313" y="350656"/>
                  <a:pt x="4320313" y="344692"/>
                </a:cubicBezTo>
                <a:cubicBezTo>
                  <a:pt x="4320313" y="338727"/>
                  <a:pt x="4314335" y="350656"/>
                  <a:pt x="4308357" y="338727"/>
                </a:cubicBezTo>
                <a:cubicBezTo>
                  <a:pt x="4314335" y="338727"/>
                  <a:pt x="4320313" y="344692"/>
                  <a:pt x="4326291" y="332763"/>
                </a:cubicBezTo>
                <a:lnTo>
                  <a:pt x="4332270" y="344692"/>
                </a:lnTo>
                <a:lnTo>
                  <a:pt x="4326291" y="350656"/>
                </a:lnTo>
                <a:cubicBezTo>
                  <a:pt x="4326291" y="356619"/>
                  <a:pt x="4338248" y="350656"/>
                  <a:pt x="4338248" y="356619"/>
                </a:cubicBezTo>
                <a:cubicBezTo>
                  <a:pt x="4338248" y="338727"/>
                  <a:pt x="4344225" y="350656"/>
                  <a:pt x="4350203" y="338727"/>
                </a:cubicBezTo>
                <a:cubicBezTo>
                  <a:pt x="4350203" y="344692"/>
                  <a:pt x="4350203" y="344692"/>
                  <a:pt x="4350203" y="344692"/>
                </a:cubicBezTo>
                <a:cubicBezTo>
                  <a:pt x="4350203" y="344692"/>
                  <a:pt x="4350203" y="344692"/>
                  <a:pt x="4356181" y="344692"/>
                </a:cubicBezTo>
                <a:cubicBezTo>
                  <a:pt x="4356181" y="350656"/>
                  <a:pt x="4344225" y="350656"/>
                  <a:pt x="4344225" y="356619"/>
                </a:cubicBezTo>
                <a:cubicBezTo>
                  <a:pt x="4350203" y="356619"/>
                  <a:pt x="4350203" y="350656"/>
                  <a:pt x="4356181" y="356619"/>
                </a:cubicBezTo>
                <a:cubicBezTo>
                  <a:pt x="4362159" y="350656"/>
                  <a:pt x="4350203" y="338727"/>
                  <a:pt x="4362159" y="338727"/>
                </a:cubicBezTo>
                <a:cubicBezTo>
                  <a:pt x="4356181" y="356619"/>
                  <a:pt x="4374116" y="338727"/>
                  <a:pt x="4374116" y="332763"/>
                </a:cubicBezTo>
                <a:cubicBezTo>
                  <a:pt x="4368137" y="326800"/>
                  <a:pt x="4386070" y="332763"/>
                  <a:pt x="4374116" y="338727"/>
                </a:cubicBezTo>
                <a:cubicBezTo>
                  <a:pt x="4380094" y="332763"/>
                  <a:pt x="4392048" y="344692"/>
                  <a:pt x="4392048" y="332763"/>
                </a:cubicBezTo>
                <a:cubicBezTo>
                  <a:pt x="4392048" y="332763"/>
                  <a:pt x="4392048" y="338727"/>
                  <a:pt x="4398026" y="344692"/>
                </a:cubicBezTo>
                <a:cubicBezTo>
                  <a:pt x="4392048" y="344692"/>
                  <a:pt x="4386070" y="344692"/>
                  <a:pt x="4386070" y="350656"/>
                </a:cubicBezTo>
                <a:cubicBezTo>
                  <a:pt x="4386070" y="350656"/>
                  <a:pt x="4386070" y="344692"/>
                  <a:pt x="4380094" y="344692"/>
                </a:cubicBezTo>
                <a:cubicBezTo>
                  <a:pt x="4386070" y="350656"/>
                  <a:pt x="4374116" y="356619"/>
                  <a:pt x="4368137" y="350656"/>
                </a:cubicBezTo>
                <a:cubicBezTo>
                  <a:pt x="4362159" y="356619"/>
                  <a:pt x="4368137" y="362583"/>
                  <a:pt x="4368137" y="368549"/>
                </a:cubicBezTo>
                <a:cubicBezTo>
                  <a:pt x="4374116" y="356619"/>
                  <a:pt x="4380094" y="362583"/>
                  <a:pt x="4386070" y="362583"/>
                </a:cubicBezTo>
                <a:cubicBezTo>
                  <a:pt x="4380094" y="356619"/>
                  <a:pt x="4386070" y="350656"/>
                  <a:pt x="4392048" y="362583"/>
                </a:cubicBezTo>
                <a:cubicBezTo>
                  <a:pt x="4398026" y="356619"/>
                  <a:pt x="4404005" y="356619"/>
                  <a:pt x="4404005" y="344692"/>
                </a:cubicBezTo>
                <a:cubicBezTo>
                  <a:pt x="4409983" y="344692"/>
                  <a:pt x="4427917" y="356619"/>
                  <a:pt x="4421939" y="338727"/>
                </a:cubicBezTo>
                <a:cubicBezTo>
                  <a:pt x="4421939" y="338727"/>
                  <a:pt x="4427917" y="344692"/>
                  <a:pt x="4427917" y="350656"/>
                </a:cubicBezTo>
                <a:cubicBezTo>
                  <a:pt x="4427917" y="332763"/>
                  <a:pt x="4439873" y="338727"/>
                  <a:pt x="4439873" y="350656"/>
                </a:cubicBezTo>
                <a:cubicBezTo>
                  <a:pt x="4433895" y="356619"/>
                  <a:pt x="4439873" y="344692"/>
                  <a:pt x="4433895" y="350656"/>
                </a:cubicBezTo>
                <a:cubicBezTo>
                  <a:pt x="4433895" y="350656"/>
                  <a:pt x="4433895" y="350656"/>
                  <a:pt x="4433895" y="356619"/>
                </a:cubicBezTo>
                <a:cubicBezTo>
                  <a:pt x="4439873" y="362583"/>
                  <a:pt x="4445851" y="344692"/>
                  <a:pt x="4451830" y="350656"/>
                </a:cubicBezTo>
                <a:cubicBezTo>
                  <a:pt x="4451830" y="344692"/>
                  <a:pt x="4439873" y="350656"/>
                  <a:pt x="4439873" y="338727"/>
                </a:cubicBezTo>
                <a:cubicBezTo>
                  <a:pt x="4451830" y="338727"/>
                  <a:pt x="4463785" y="320836"/>
                  <a:pt x="4475741" y="320836"/>
                </a:cubicBezTo>
                <a:cubicBezTo>
                  <a:pt x="4475741" y="326800"/>
                  <a:pt x="4475741" y="326800"/>
                  <a:pt x="4469763" y="326800"/>
                </a:cubicBezTo>
                <a:cubicBezTo>
                  <a:pt x="4475741" y="332763"/>
                  <a:pt x="4475741" y="326800"/>
                  <a:pt x="4481719" y="326800"/>
                </a:cubicBezTo>
                <a:cubicBezTo>
                  <a:pt x="4487697" y="326800"/>
                  <a:pt x="4475741" y="320836"/>
                  <a:pt x="4481719" y="320836"/>
                </a:cubicBezTo>
                <a:cubicBezTo>
                  <a:pt x="4493676" y="320836"/>
                  <a:pt x="4493676" y="320836"/>
                  <a:pt x="4505632" y="314873"/>
                </a:cubicBezTo>
                <a:cubicBezTo>
                  <a:pt x="4505632" y="314873"/>
                  <a:pt x="4505632" y="320836"/>
                  <a:pt x="4505632" y="320836"/>
                </a:cubicBezTo>
                <a:cubicBezTo>
                  <a:pt x="4511610" y="320836"/>
                  <a:pt x="4517586" y="308907"/>
                  <a:pt x="4523565" y="320836"/>
                </a:cubicBezTo>
                <a:cubicBezTo>
                  <a:pt x="4517586" y="326800"/>
                  <a:pt x="4517586" y="326800"/>
                  <a:pt x="4517586" y="332763"/>
                </a:cubicBezTo>
                <a:cubicBezTo>
                  <a:pt x="4511610" y="332763"/>
                  <a:pt x="4511610" y="326800"/>
                  <a:pt x="4511610" y="326800"/>
                </a:cubicBezTo>
                <a:cubicBezTo>
                  <a:pt x="4481719" y="350656"/>
                  <a:pt x="4398026" y="374512"/>
                  <a:pt x="4344225" y="404332"/>
                </a:cubicBezTo>
                <a:cubicBezTo>
                  <a:pt x="4350203" y="410296"/>
                  <a:pt x="4362159" y="392403"/>
                  <a:pt x="4362159" y="404332"/>
                </a:cubicBezTo>
                <a:cubicBezTo>
                  <a:pt x="4344225" y="410296"/>
                  <a:pt x="4338248" y="416259"/>
                  <a:pt x="4326291" y="416259"/>
                </a:cubicBezTo>
                <a:lnTo>
                  <a:pt x="4325977" y="415947"/>
                </a:lnTo>
                <a:lnTo>
                  <a:pt x="4338248" y="410296"/>
                </a:lnTo>
                <a:cubicBezTo>
                  <a:pt x="4332270" y="410296"/>
                  <a:pt x="4327786" y="413279"/>
                  <a:pt x="4325544" y="415515"/>
                </a:cubicBezTo>
                <a:lnTo>
                  <a:pt x="4325977" y="415947"/>
                </a:lnTo>
                <a:lnTo>
                  <a:pt x="4309105" y="423714"/>
                </a:lnTo>
                <a:cubicBezTo>
                  <a:pt x="4297896" y="431169"/>
                  <a:pt x="4284445" y="440116"/>
                  <a:pt x="4266510" y="446080"/>
                </a:cubicBezTo>
                <a:cubicBezTo>
                  <a:pt x="4302379" y="446080"/>
                  <a:pt x="4326291" y="422223"/>
                  <a:pt x="4368137" y="410296"/>
                </a:cubicBezTo>
                <a:cubicBezTo>
                  <a:pt x="4368137" y="416259"/>
                  <a:pt x="4368137" y="416259"/>
                  <a:pt x="4368137" y="422223"/>
                </a:cubicBezTo>
                <a:cubicBezTo>
                  <a:pt x="4380094" y="422223"/>
                  <a:pt x="4368137" y="410296"/>
                  <a:pt x="4380094" y="410296"/>
                </a:cubicBezTo>
                <a:cubicBezTo>
                  <a:pt x="4380094" y="410296"/>
                  <a:pt x="4380094" y="416259"/>
                  <a:pt x="4380094" y="416259"/>
                </a:cubicBezTo>
                <a:cubicBezTo>
                  <a:pt x="4386070" y="416259"/>
                  <a:pt x="4398026" y="404332"/>
                  <a:pt x="4404005" y="416259"/>
                </a:cubicBezTo>
                <a:cubicBezTo>
                  <a:pt x="4404005" y="410296"/>
                  <a:pt x="4404005" y="410296"/>
                  <a:pt x="4404005" y="404332"/>
                </a:cubicBezTo>
                <a:cubicBezTo>
                  <a:pt x="4409983" y="410296"/>
                  <a:pt x="4421939" y="398368"/>
                  <a:pt x="4421939" y="404332"/>
                </a:cubicBezTo>
                <a:cubicBezTo>
                  <a:pt x="4427917" y="410296"/>
                  <a:pt x="4421939" y="416259"/>
                  <a:pt x="4415961" y="422223"/>
                </a:cubicBezTo>
                <a:cubicBezTo>
                  <a:pt x="4392048" y="416259"/>
                  <a:pt x="4368137" y="446080"/>
                  <a:pt x="4356181" y="440116"/>
                </a:cubicBezTo>
                <a:cubicBezTo>
                  <a:pt x="4350203" y="446080"/>
                  <a:pt x="4362159" y="452045"/>
                  <a:pt x="4368137" y="452045"/>
                </a:cubicBezTo>
                <a:cubicBezTo>
                  <a:pt x="4374116" y="452045"/>
                  <a:pt x="4368137" y="440116"/>
                  <a:pt x="4380094" y="440116"/>
                </a:cubicBezTo>
                <a:lnTo>
                  <a:pt x="4380805" y="444373"/>
                </a:lnTo>
                <a:lnTo>
                  <a:pt x="4369818" y="453255"/>
                </a:lnTo>
                <a:cubicBezTo>
                  <a:pt x="4351324" y="465835"/>
                  <a:pt x="4327786" y="475899"/>
                  <a:pt x="4314335" y="475899"/>
                </a:cubicBezTo>
                <a:cubicBezTo>
                  <a:pt x="4308357" y="475899"/>
                  <a:pt x="4314335" y="475899"/>
                  <a:pt x="4314335" y="481865"/>
                </a:cubicBezTo>
                <a:cubicBezTo>
                  <a:pt x="4308357" y="487828"/>
                  <a:pt x="4296401" y="487828"/>
                  <a:pt x="4290423" y="481865"/>
                </a:cubicBezTo>
                <a:cubicBezTo>
                  <a:pt x="4278466" y="505719"/>
                  <a:pt x="4242599" y="499756"/>
                  <a:pt x="4218688" y="523612"/>
                </a:cubicBezTo>
                <a:cubicBezTo>
                  <a:pt x="4236621" y="517648"/>
                  <a:pt x="4242599" y="541504"/>
                  <a:pt x="4248578" y="517648"/>
                </a:cubicBezTo>
                <a:cubicBezTo>
                  <a:pt x="4248578" y="517648"/>
                  <a:pt x="4242599" y="529575"/>
                  <a:pt x="4236621" y="523612"/>
                </a:cubicBezTo>
                <a:cubicBezTo>
                  <a:pt x="4242599" y="517648"/>
                  <a:pt x="4242599" y="517648"/>
                  <a:pt x="4254556" y="511685"/>
                </a:cubicBezTo>
                <a:lnTo>
                  <a:pt x="4254556" y="517648"/>
                </a:lnTo>
                <a:lnTo>
                  <a:pt x="4254556" y="529575"/>
                </a:lnTo>
                <a:cubicBezTo>
                  <a:pt x="4260532" y="523612"/>
                  <a:pt x="4266510" y="517648"/>
                  <a:pt x="4278466" y="511685"/>
                </a:cubicBezTo>
                <a:lnTo>
                  <a:pt x="4273673" y="508056"/>
                </a:lnTo>
                <a:lnTo>
                  <a:pt x="4284445" y="505719"/>
                </a:lnTo>
                <a:cubicBezTo>
                  <a:pt x="4278466" y="523612"/>
                  <a:pt x="4332270" y="487828"/>
                  <a:pt x="4338248" y="487828"/>
                </a:cubicBezTo>
                <a:lnTo>
                  <a:pt x="4354910" y="481311"/>
                </a:lnTo>
                <a:lnTo>
                  <a:pt x="4354925" y="481311"/>
                </a:lnTo>
                <a:lnTo>
                  <a:pt x="4354924" y="481306"/>
                </a:lnTo>
                <a:lnTo>
                  <a:pt x="4469763" y="436388"/>
                </a:lnTo>
                <a:cubicBezTo>
                  <a:pt x="4516093" y="417751"/>
                  <a:pt x="4565412" y="398368"/>
                  <a:pt x="4619214" y="380476"/>
                </a:cubicBezTo>
                <a:cubicBezTo>
                  <a:pt x="4619214" y="386440"/>
                  <a:pt x="4619214" y="392403"/>
                  <a:pt x="4619214" y="398368"/>
                </a:cubicBezTo>
                <a:cubicBezTo>
                  <a:pt x="4613236" y="404332"/>
                  <a:pt x="4613236" y="386440"/>
                  <a:pt x="4607257" y="392403"/>
                </a:cubicBezTo>
                <a:cubicBezTo>
                  <a:pt x="4601279" y="398368"/>
                  <a:pt x="4613236" y="398368"/>
                  <a:pt x="4607257" y="404332"/>
                </a:cubicBezTo>
                <a:cubicBezTo>
                  <a:pt x="4601279" y="404332"/>
                  <a:pt x="4595301" y="398368"/>
                  <a:pt x="4601279" y="392403"/>
                </a:cubicBezTo>
                <a:cubicBezTo>
                  <a:pt x="4589323" y="398368"/>
                  <a:pt x="4583345" y="398368"/>
                  <a:pt x="4571390" y="404332"/>
                </a:cubicBezTo>
                <a:cubicBezTo>
                  <a:pt x="4577368" y="416259"/>
                  <a:pt x="4589323" y="392403"/>
                  <a:pt x="4583345" y="410296"/>
                </a:cubicBezTo>
                <a:cubicBezTo>
                  <a:pt x="4589323" y="404332"/>
                  <a:pt x="4595301" y="404332"/>
                  <a:pt x="4595301" y="398368"/>
                </a:cubicBezTo>
                <a:cubicBezTo>
                  <a:pt x="4607257" y="404332"/>
                  <a:pt x="4577368" y="416259"/>
                  <a:pt x="4565411" y="422223"/>
                </a:cubicBezTo>
                <a:cubicBezTo>
                  <a:pt x="4565411" y="416259"/>
                  <a:pt x="4571390" y="416259"/>
                  <a:pt x="4571390" y="410296"/>
                </a:cubicBezTo>
                <a:cubicBezTo>
                  <a:pt x="4568401" y="413279"/>
                  <a:pt x="4560928" y="419242"/>
                  <a:pt x="4551962" y="424461"/>
                </a:cubicBezTo>
                <a:lnTo>
                  <a:pt x="4535882" y="429947"/>
                </a:lnTo>
                <a:lnTo>
                  <a:pt x="4535000" y="430462"/>
                </a:lnTo>
                <a:lnTo>
                  <a:pt x="4535000" y="430249"/>
                </a:lnTo>
                <a:lnTo>
                  <a:pt x="4523565" y="434152"/>
                </a:lnTo>
                <a:cubicBezTo>
                  <a:pt x="4523565" y="434152"/>
                  <a:pt x="4517586" y="428189"/>
                  <a:pt x="4511610" y="428189"/>
                </a:cubicBezTo>
                <a:cubicBezTo>
                  <a:pt x="4499654" y="428189"/>
                  <a:pt x="4499654" y="440116"/>
                  <a:pt x="4487697" y="434152"/>
                </a:cubicBezTo>
                <a:cubicBezTo>
                  <a:pt x="4481719" y="446080"/>
                  <a:pt x="4475741" y="440116"/>
                  <a:pt x="4469763" y="452045"/>
                </a:cubicBezTo>
                <a:cubicBezTo>
                  <a:pt x="4481719" y="452045"/>
                  <a:pt x="4505632" y="446080"/>
                  <a:pt x="4505632" y="434152"/>
                </a:cubicBezTo>
                <a:cubicBezTo>
                  <a:pt x="4505632" y="440116"/>
                  <a:pt x="4517586" y="428189"/>
                  <a:pt x="4517586" y="440116"/>
                </a:cubicBezTo>
                <a:cubicBezTo>
                  <a:pt x="4487697" y="452045"/>
                  <a:pt x="4457808" y="463972"/>
                  <a:pt x="4433895" y="475899"/>
                </a:cubicBezTo>
                <a:cubicBezTo>
                  <a:pt x="4427917" y="463972"/>
                  <a:pt x="4433895" y="463972"/>
                  <a:pt x="4439873" y="463972"/>
                </a:cubicBezTo>
                <a:cubicBezTo>
                  <a:pt x="4433895" y="452045"/>
                  <a:pt x="4433895" y="469935"/>
                  <a:pt x="4427917" y="463972"/>
                </a:cubicBezTo>
                <a:cubicBezTo>
                  <a:pt x="4427917" y="469935"/>
                  <a:pt x="4427917" y="469935"/>
                  <a:pt x="4427917" y="475899"/>
                </a:cubicBezTo>
                <a:cubicBezTo>
                  <a:pt x="4421939" y="475899"/>
                  <a:pt x="4409983" y="481865"/>
                  <a:pt x="4404005" y="487828"/>
                </a:cubicBezTo>
                <a:cubicBezTo>
                  <a:pt x="4404005" y="481865"/>
                  <a:pt x="4404005" y="481865"/>
                  <a:pt x="4404005" y="481865"/>
                </a:cubicBezTo>
                <a:cubicBezTo>
                  <a:pt x="4392048" y="481865"/>
                  <a:pt x="4398026" y="493792"/>
                  <a:pt x="4392048" y="481865"/>
                </a:cubicBezTo>
                <a:cubicBezTo>
                  <a:pt x="4374116" y="499756"/>
                  <a:pt x="4356181" y="505719"/>
                  <a:pt x="4338248" y="505719"/>
                </a:cubicBezTo>
                <a:cubicBezTo>
                  <a:pt x="4338248" y="505719"/>
                  <a:pt x="4332270" y="517648"/>
                  <a:pt x="4338248" y="511685"/>
                </a:cubicBezTo>
                <a:cubicBezTo>
                  <a:pt x="4332270" y="517648"/>
                  <a:pt x="4326291" y="517648"/>
                  <a:pt x="4314335" y="529575"/>
                </a:cubicBezTo>
                <a:cubicBezTo>
                  <a:pt x="4308357" y="523612"/>
                  <a:pt x="4326291" y="523612"/>
                  <a:pt x="4320313" y="517648"/>
                </a:cubicBezTo>
                <a:cubicBezTo>
                  <a:pt x="4320313" y="517648"/>
                  <a:pt x="4320313" y="517648"/>
                  <a:pt x="4320313" y="511685"/>
                </a:cubicBezTo>
                <a:cubicBezTo>
                  <a:pt x="4314335" y="535541"/>
                  <a:pt x="4296401" y="523612"/>
                  <a:pt x="4284445" y="541504"/>
                </a:cubicBezTo>
                <a:cubicBezTo>
                  <a:pt x="4278466" y="535541"/>
                  <a:pt x="4284445" y="535541"/>
                  <a:pt x="4284445" y="529575"/>
                </a:cubicBezTo>
                <a:cubicBezTo>
                  <a:pt x="4272488" y="541504"/>
                  <a:pt x="4266510" y="547468"/>
                  <a:pt x="4260532" y="541504"/>
                </a:cubicBezTo>
                <a:cubicBezTo>
                  <a:pt x="4254556" y="553432"/>
                  <a:pt x="4236621" y="547468"/>
                  <a:pt x="4236621" y="565361"/>
                </a:cubicBezTo>
                <a:cubicBezTo>
                  <a:pt x="4224665" y="571325"/>
                  <a:pt x="4230643" y="553432"/>
                  <a:pt x="4224665" y="553432"/>
                </a:cubicBezTo>
                <a:cubicBezTo>
                  <a:pt x="4218688" y="559396"/>
                  <a:pt x="4218688" y="559396"/>
                  <a:pt x="4218688" y="565361"/>
                </a:cubicBezTo>
                <a:cubicBezTo>
                  <a:pt x="4200753" y="565361"/>
                  <a:pt x="4182819" y="583252"/>
                  <a:pt x="4176841" y="589215"/>
                </a:cubicBezTo>
                <a:cubicBezTo>
                  <a:pt x="4170863" y="595181"/>
                  <a:pt x="4164885" y="583252"/>
                  <a:pt x="4158906" y="583252"/>
                </a:cubicBezTo>
                <a:cubicBezTo>
                  <a:pt x="4158906" y="589215"/>
                  <a:pt x="4158906" y="589215"/>
                  <a:pt x="4158906" y="595181"/>
                </a:cubicBezTo>
                <a:cubicBezTo>
                  <a:pt x="4146950" y="589215"/>
                  <a:pt x="4152928" y="601144"/>
                  <a:pt x="4140972" y="595181"/>
                </a:cubicBezTo>
                <a:cubicBezTo>
                  <a:pt x="4140972" y="595181"/>
                  <a:pt x="4140972" y="601144"/>
                  <a:pt x="4140972" y="601144"/>
                </a:cubicBezTo>
                <a:cubicBezTo>
                  <a:pt x="4117061" y="607108"/>
                  <a:pt x="4087171" y="636928"/>
                  <a:pt x="4063259" y="630965"/>
                </a:cubicBezTo>
                <a:cubicBezTo>
                  <a:pt x="4051303" y="648857"/>
                  <a:pt x="4015434" y="660784"/>
                  <a:pt x="3991523" y="666748"/>
                </a:cubicBezTo>
                <a:cubicBezTo>
                  <a:pt x="3979568" y="666748"/>
                  <a:pt x="3991523" y="678677"/>
                  <a:pt x="3985545" y="678677"/>
                </a:cubicBezTo>
                <a:cubicBezTo>
                  <a:pt x="3979568" y="678677"/>
                  <a:pt x="3985545" y="678677"/>
                  <a:pt x="3985545" y="672712"/>
                </a:cubicBezTo>
                <a:lnTo>
                  <a:pt x="3973590" y="678677"/>
                </a:lnTo>
                <a:lnTo>
                  <a:pt x="3961633" y="684641"/>
                </a:lnTo>
                <a:cubicBezTo>
                  <a:pt x="3967611" y="690605"/>
                  <a:pt x="3967611" y="690605"/>
                  <a:pt x="3973590" y="690605"/>
                </a:cubicBezTo>
                <a:lnTo>
                  <a:pt x="3973590" y="678677"/>
                </a:lnTo>
                <a:lnTo>
                  <a:pt x="3979568" y="690605"/>
                </a:lnTo>
                <a:lnTo>
                  <a:pt x="3984836" y="690605"/>
                </a:lnTo>
                <a:lnTo>
                  <a:pt x="3993761" y="679747"/>
                </a:lnTo>
                <a:cubicBezTo>
                  <a:pt x="3997512" y="678265"/>
                  <a:pt x="4002012" y="676782"/>
                  <a:pt x="4008013" y="667885"/>
                </a:cubicBezTo>
                <a:cubicBezTo>
                  <a:pt x="4038014" y="656025"/>
                  <a:pt x="4062016" y="656025"/>
                  <a:pt x="4080018" y="638232"/>
                </a:cubicBezTo>
                <a:cubicBezTo>
                  <a:pt x="4080018" y="644163"/>
                  <a:pt x="4074016" y="650094"/>
                  <a:pt x="4068016" y="650094"/>
                </a:cubicBezTo>
                <a:cubicBezTo>
                  <a:pt x="4077017" y="653058"/>
                  <a:pt x="4081516" y="647127"/>
                  <a:pt x="4086018" y="641198"/>
                </a:cubicBezTo>
                <a:lnTo>
                  <a:pt x="4088588" y="639927"/>
                </a:lnTo>
                <a:lnTo>
                  <a:pt x="4092768" y="642680"/>
                </a:lnTo>
                <a:cubicBezTo>
                  <a:pt x="4096519" y="641198"/>
                  <a:pt x="4101018" y="638232"/>
                  <a:pt x="4104019" y="638232"/>
                </a:cubicBezTo>
                <a:lnTo>
                  <a:pt x="4104019" y="632301"/>
                </a:lnTo>
                <a:lnTo>
                  <a:pt x="4104019" y="626369"/>
                </a:lnTo>
                <a:cubicBezTo>
                  <a:pt x="4116020" y="626369"/>
                  <a:pt x="4128020" y="620440"/>
                  <a:pt x="4140021" y="614509"/>
                </a:cubicBezTo>
                <a:cubicBezTo>
                  <a:pt x="4134021" y="620440"/>
                  <a:pt x="4134021" y="620440"/>
                  <a:pt x="4134021" y="626369"/>
                </a:cubicBezTo>
                <a:cubicBezTo>
                  <a:pt x="4140021" y="626369"/>
                  <a:pt x="4158022" y="626369"/>
                  <a:pt x="4158022" y="608578"/>
                </a:cubicBezTo>
                <a:cubicBezTo>
                  <a:pt x="4176024" y="602647"/>
                  <a:pt x="4182023" y="608578"/>
                  <a:pt x="4158022" y="614509"/>
                </a:cubicBezTo>
                <a:cubicBezTo>
                  <a:pt x="4164022" y="620440"/>
                  <a:pt x="4170024" y="614509"/>
                  <a:pt x="4176024" y="614509"/>
                </a:cubicBezTo>
                <a:cubicBezTo>
                  <a:pt x="4134021" y="638232"/>
                  <a:pt x="4074016" y="656025"/>
                  <a:pt x="4050016" y="667885"/>
                </a:cubicBezTo>
                <a:cubicBezTo>
                  <a:pt x="4044016" y="679747"/>
                  <a:pt x="4020013" y="673816"/>
                  <a:pt x="4008013" y="691610"/>
                </a:cubicBezTo>
                <a:cubicBezTo>
                  <a:pt x="4014013" y="682714"/>
                  <a:pt x="4009512" y="681230"/>
                  <a:pt x="4002763" y="682714"/>
                </a:cubicBezTo>
                <a:lnTo>
                  <a:pt x="3986129" y="690605"/>
                </a:lnTo>
                <a:lnTo>
                  <a:pt x="3986292" y="690605"/>
                </a:lnTo>
                <a:cubicBezTo>
                  <a:pt x="3990029" y="689113"/>
                  <a:pt x="3994512" y="687623"/>
                  <a:pt x="3997501" y="690605"/>
                </a:cubicBezTo>
                <a:cubicBezTo>
                  <a:pt x="3985545" y="696568"/>
                  <a:pt x="3949676" y="714461"/>
                  <a:pt x="3937721" y="720424"/>
                </a:cubicBezTo>
                <a:cubicBezTo>
                  <a:pt x="3931743" y="720424"/>
                  <a:pt x="3931743" y="720424"/>
                  <a:pt x="3931743" y="726388"/>
                </a:cubicBezTo>
                <a:cubicBezTo>
                  <a:pt x="3937721" y="732353"/>
                  <a:pt x="3949676" y="726388"/>
                  <a:pt x="3961633" y="720424"/>
                </a:cubicBezTo>
                <a:cubicBezTo>
                  <a:pt x="3961633" y="726388"/>
                  <a:pt x="3955654" y="732353"/>
                  <a:pt x="3949676" y="732353"/>
                </a:cubicBezTo>
                <a:cubicBezTo>
                  <a:pt x="3955654" y="738317"/>
                  <a:pt x="3961633" y="744281"/>
                  <a:pt x="3967611" y="750244"/>
                </a:cubicBezTo>
                <a:cubicBezTo>
                  <a:pt x="3967611" y="744281"/>
                  <a:pt x="3973590" y="738317"/>
                  <a:pt x="3967611" y="726388"/>
                </a:cubicBezTo>
                <a:cubicBezTo>
                  <a:pt x="3961633" y="726388"/>
                  <a:pt x="3967611" y="732353"/>
                  <a:pt x="3961633" y="732353"/>
                </a:cubicBezTo>
                <a:cubicBezTo>
                  <a:pt x="3961633" y="726388"/>
                  <a:pt x="3961633" y="720424"/>
                  <a:pt x="3967611" y="714461"/>
                </a:cubicBezTo>
                <a:cubicBezTo>
                  <a:pt x="3997501" y="708497"/>
                  <a:pt x="4045325" y="678677"/>
                  <a:pt x="4093150" y="666748"/>
                </a:cubicBezTo>
                <a:cubicBezTo>
                  <a:pt x="4078204" y="675695"/>
                  <a:pt x="4061764" y="683150"/>
                  <a:pt x="4046072" y="689859"/>
                </a:cubicBezTo>
                <a:lnTo>
                  <a:pt x="4007032" y="706943"/>
                </a:lnTo>
                <a:lnTo>
                  <a:pt x="4006842" y="706820"/>
                </a:lnTo>
                <a:lnTo>
                  <a:pt x="4006790" y="707048"/>
                </a:lnTo>
                <a:lnTo>
                  <a:pt x="4003479" y="708497"/>
                </a:lnTo>
                <a:cubicBezTo>
                  <a:pt x="4006468" y="711479"/>
                  <a:pt x="4006468" y="709988"/>
                  <a:pt x="4006468" y="708497"/>
                </a:cubicBezTo>
                <a:lnTo>
                  <a:pt x="4006790" y="707048"/>
                </a:lnTo>
                <a:lnTo>
                  <a:pt x="4007032" y="706943"/>
                </a:lnTo>
                <a:lnTo>
                  <a:pt x="4009456" y="708497"/>
                </a:lnTo>
                <a:cubicBezTo>
                  <a:pt x="4009456" y="714461"/>
                  <a:pt x="4009456" y="714461"/>
                  <a:pt x="4009456" y="720424"/>
                </a:cubicBezTo>
                <a:lnTo>
                  <a:pt x="3997711" y="732142"/>
                </a:lnTo>
                <a:lnTo>
                  <a:pt x="3997572" y="732408"/>
                </a:lnTo>
                <a:lnTo>
                  <a:pt x="4004226" y="737571"/>
                </a:lnTo>
                <a:cubicBezTo>
                  <a:pt x="4007963" y="736826"/>
                  <a:pt x="4012446" y="735335"/>
                  <a:pt x="4015434" y="738317"/>
                </a:cubicBezTo>
                <a:cubicBezTo>
                  <a:pt x="4027390" y="726388"/>
                  <a:pt x="4015434" y="720424"/>
                  <a:pt x="4015434" y="714461"/>
                </a:cubicBezTo>
                <a:cubicBezTo>
                  <a:pt x="4021412" y="708497"/>
                  <a:pt x="4021412" y="714461"/>
                  <a:pt x="4027390" y="708497"/>
                </a:cubicBezTo>
                <a:cubicBezTo>
                  <a:pt x="4027390" y="720424"/>
                  <a:pt x="4027390" y="720424"/>
                  <a:pt x="4033368" y="732353"/>
                </a:cubicBezTo>
                <a:cubicBezTo>
                  <a:pt x="4033368" y="720424"/>
                  <a:pt x="4033368" y="720424"/>
                  <a:pt x="4027390" y="708497"/>
                </a:cubicBezTo>
                <a:cubicBezTo>
                  <a:pt x="4039346" y="702534"/>
                  <a:pt x="4051303" y="708497"/>
                  <a:pt x="4039346" y="696568"/>
                </a:cubicBezTo>
                <a:cubicBezTo>
                  <a:pt x="4057281" y="696568"/>
                  <a:pt x="4057281" y="696568"/>
                  <a:pt x="4075214" y="696568"/>
                </a:cubicBezTo>
                <a:cubicBezTo>
                  <a:pt x="4069236" y="684641"/>
                  <a:pt x="4087171" y="690605"/>
                  <a:pt x="4087171" y="678677"/>
                </a:cubicBezTo>
                <a:cubicBezTo>
                  <a:pt x="4093150" y="678677"/>
                  <a:pt x="4093150" y="684641"/>
                  <a:pt x="4099127" y="678677"/>
                </a:cubicBezTo>
                <a:cubicBezTo>
                  <a:pt x="4099127" y="690605"/>
                  <a:pt x="4087171" y="684641"/>
                  <a:pt x="4081193" y="696568"/>
                </a:cubicBezTo>
                <a:cubicBezTo>
                  <a:pt x="4081193" y="702534"/>
                  <a:pt x="4087171" y="696568"/>
                  <a:pt x="4093150" y="696568"/>
                </a:cubicBezTo>
                <a:cubicBezTo>
                  <a:pt x="4093150" y="696568"/>
                  <a:pt x="4117061" y="684641"/>
                  <a:pt x="4123039" y="684641"/>
                </a:cubicBezTo>
                <a:cubicBezTo>
                  <a:pt x="4129016" y="684641"/>
                  <a:pt x="4123039" y="672712"/>
                  <a:pt x="4117061" y="666748"/>
                </a:cubicBezTo>
                <a:cubicBezTo>
                  <a:pt x="4129016" y="672712"/>
                  <a:pt x="4140972" y="648857"/>
                  <a:pt x="4158906" y="660784"/>
                </a:cubicBezTo>
                <a:cubicBezTo>
                  <a:pt x="4146950" y="660784"/>
                  <a:pt x="4134994" y="672712"/>
                  <a:pt x="4129016" y="672712"/>
                </a:cubicBezTo>
                <a:cubicBezTo>
                  <a:pt x="4140972" y="690605"/>
                  <a:pt x="4158906" y="660784"/>
                  <a:pt x="4176841" y="672712"/>
                </a:cubicBezTo>
                <a:cubicBezTo>
                  <a:pt x="4170863" y="678677"/>
                  <a:pt x="4152928" y="666748"/>
                  <a:pt x="4152928" y="684641"/>
                </a:cubicBezTo>
                <a:cubicBezTo>
                  <a:pt x="4146950" y="684641"/>
                  <a:pt x="4140972" y="684641"/>
                  <a:pt x="4134994" y="690605"/>
                </a:cubicBezTo>
                <a:cubicBezTo>
                  <a:pt x="4134994" y="696568"/>
                  <a:pt x="4146950" y="684641"/>
                  <a:pt x="4146950" y="696568"/>
                </a:cubicBezTo>
                <a:cubicBezTo>
                  <a:pt x="4129016" y="696568"/>
                  <a:pt x="4111083" y="708497"/>
                  <a:pt x="4093150" y="720424"/>
                </a:cubicBezTo>
                <a:cubicBezTo>
                  <a:pt x="4087171" y="714461"/>
                  <a:pt x="4093150" y="708497"/>
                  <a:pt x="4099127" y="708497"/>
                </a:cubicBezTo>
                <a:cubicBezTo>
                  <a:pt x="4093150" y="702534"/>
                  <a:pt x="4093150" y="708497"/>
                  <a:pt x="4087171" y="708497"/>
                </a:cubicBezTo>
                <a:cubicBezTo>
                  <a:pt x="4087171" y="708497"/>
                  <a:pt x="4093150" y="714461"/>
                  <a:pt x="4087171" y="720424"/>
                </a:cubicBezTo>
                <a:cubicBezTo>
                  <a:pt x="4051303" y="726388"/>
                  <a:pt x="4039346" y="738317"/>
                  <a:pt x="4009456" y="750244"/>
                </a:cubicBezTo>
                <a:cubicBezTo>
                  <a:pt x="4009456" y="750244"/>
                  <a:pt x="4009456" y="744281"/>
                  <a:pt x="4009456" y="744281"/>
                </a:cubicBezTo>
                <a:cubicBezTo>
                  <a:pt x="4003479" y="744281"/>
                  <a:pt x="4003479" y="750244"/>
                  <a:pt x="4003479" y="756208"/>
                </a:cubicBezTo>
                <a:cubicBezTo>
                  <a:pt x="4033368" y="750244"/>
                  <a:pt x="4099127" y="720424"/>
                  <a:pt x="4134994" y="702534"/>
                </a:cubicBezTo>
                <a:cubicBezTo>
                  <a:pt x="4158906" y="708497"/>
                  <a:pt x="4182819" y="684641"/>
                  <a:pt x="4188796" y="684641"/>
                </a:cubicBezTo>
                <a:cubicBezTo>
                  <a:pt x="4194775" y="690605"/>
                  <a:pt x="4188796" y="690605"/>
                  <a:pt x="4194775" y="696568"/>
                </a:cubicBezTo>
                <a:cubicBezTo>
                  <a:pt x="4200753" y="690605"/>
                  <a:pt x="4200753" y="684641"/>
                  <a:pt x="4194775" y="678677"/>
                </a:cubicBezTo>
                <a:cubicBezTo>
                  <a:pt x="4212710" y="672712"/>
                  <a:pt x="4242599" y="660784"/>
                  <a:pt x="4260532" y="654821"/>
                </a:cubicBezTo>
                <a:cubicBezTo>
                  <a:pt x="4242599" y="672712"/>
                  <a:pt x="4224665" y="672712"/>
                  <a:pt x="4200753" y="684641"/>
                </a:cubicBezTo>
                <a:cubicBezTo>
                  <a:pt x="4227656" y="681658"/>
                  <a:pt x="4244094" y="675695"/>
                  <a:pt x="4261281" y="668986"/>
                </a:cubicBezTo>
                <a:lnTo>
                  <a:pt x="4276556" y="664255"/>
                </a:lnTo>
                <a:lnTo>
                  <a:pt x="4276724" y="662910"/>
                </a:lnTo>
                <a:lnTo>
                  <a:pt x="4277710" y="663897"/>
                </a:lnTo>
                <a:lnTo>
                  <a:pt x="4323177" y="649821"/>
                </a:lnTo>
                <a:lnTo>
                  <a:pt x="4320313" y="654821"/>
                </a:lnTo>
                <a:cubicBezTo>
                  <a:pt x="4329281" y="651838"/>
                  <a:pt x="4345721" y="645874"/>
                  <a:pt x="4362159" y="640655"/>
                </a:cubicBezTo>
                <a:lnTo>
                  <a:pt x="4374116" y="637886"/>
                </a:lnTo>
                <a:lnTo>
                  <a:pt x="4374116" y="648857"/>
                </a:lnTo>
                <a:cubicBezTo>
                  <a:pt x="4362159" y="642892"/>
                  <a:pt x="4344225" y="654821"/>
                  <a:pt x="4320313" y="666748"/>
                </a:cubicBezTo>
                <a:cubicBezTo>
                  <a:pt x="4314335" y="666748"/>
                  <a:pt x="4314335" y="660784"/>
                  <a:pt x="4320313" y="660784"/>
                </a:cubicBezTo>
                <a:cubicBezTo>
                  <a:pt x="4314335" y="654821"/>
                  <a:pt x="4314335" y="666748"/>
                  <a:pt x="4308357" y="660784"/>
                </a:cubicBezTo>
                <a:cubicBezTo>
                  <a:pt x="4308357" y="666748"/>
                  <a:pt x="4314335" y="666748"/>
                  <a:pt x="4314335" y="666748"/>
                </a:cubicBezTo>
                <a:cubicBezTo>
                  <a:pt x="4314335" y="672712"/>
                  <a:pt x="4308357" y="672712"/>
                  <a:pt x="4302379" y="672712"/>
                </a:cubicBezTo>
                <a:cubicBezTo>
                  <a:pt x="4302379" y="672712"/>
                  <a:pt x="4308357" y="672712"/>
                  <a:pt x="4308357" y="666748"/>
                </a:cubicBezTo>
                <a:cubicBezTo>
                  <a:pt x="4296401" y="666748"/>
                  <a:pt x="4302379" y="660784"/>
                  <a:pt x="4296401" y="660784"/>
                </a:cubicBezTo>
                <a:cubicBezTo>
                  <a:pt x="4296401" y="672712"/>
                  <a:pt x="4284445" y="672712"/>
                  <a:pt x="4284445" y="684641"/>
                </a:cubicBezTo>
                <a:cubicBezTo>
                  <a:pt x="4272488" y="690605"/>
                  <a:pt x="4278466" y="678677"/>
                  <a:pt x="4278466" y="672712"/>
                </a:cubicBezTo>
                <a:cubicBezTo>
                  <a:pt x="4272488" y="678677"/>
                  <a:pt x="4266510" y="678677"/>
                  <a:pt x="4260532" y="684641"/>
                </a:cubicBezTo>
                <a:cubicBezTo>
                  <a:pt x="4260532" y="678677"/>
                  <a:pt x="4254556" y="684641"/>
                  <a:pt x="4248578" y="684641"/>
                </a:cubicBezTo>
                <a:cubicBezTo>
                  <a:pt x="4248578" y="684641"/>
                  <a:pt x="4248578" y="686131"/>
                  <a:pt x="4248578" y="687623"/>
                </a:cubicBezTo>
                <a:lnTo>
                  <a:pt x="4248578" y="690421"/>
                </a:lnTo>
                <a:lnTo>
                  <a:pt x="4250381" y="689870"/>
                </a:lnTo>
                <a:lnTo>
                  <a:pt x="4260127" y="687472"/>
                </a:lnTo>
                <a:lnTo>
                  <a:pt x="4260532" y="684641"/>
                </a:lnTo>
                <a:lnTo>
                  <a:pt x="4263236" y="686708"/>
                </a:lnTo>
                <a:lnTo>
                  <a:pt x="4267625" y="685628"/>
                </a:lnTo>
                <a:lnTo>
                  <a:pt x="4268752" y="684641"/>
                </a:lnTo>
                <a:cubicBezTo>
                  <a:pt x="4269873" y="683150"/>
                  <a:pt x="4270806" y="681658"/>
                  <a:pt x="4271461" y="681286"/>
                </a:cubicBezTo>
                <a:lnTo>
                  <a:pt x="4272429" y="684446"/>
                </a:lnTo>
                <a:lnTo>
                  <a:pt x="4272621" y="684399"/>
                </a:lnTo>
                <a:lnTo>
                  <a:pt x="4272450" y="684518"/>
                </a:lnTo>
                <a:lnTo>
                  <a:pt x="4272488" y="684641"/>
                </a:lnTo>
                <a:lnTo>
                  <a:pt x="4271214" y="685382"/>
                </a:lnTo>
                <a:lnTo>
                  <a:pt x="4262612" y="691394"/>
                </a:lnTo>
                <a:cubicBezTo>
                  <a:pt x="4252975" y="695340"/>
                  <a:pt x="4238889" y="698568"/>
                  <a:pt x="4229251" y="705384"/>
                </a:cubicBezTo>
                <a:lnTo>
                  <a:pt x="4224899" y="711233"/>
                </a:lnTo>
                <a:lnTo>
                  <a:pt x="4224432" y="708075"/>
                </a:lnTo>
                <a:cubicBezTo>
                  <a:pt x="4223691" y="707357"/>
                  <a:pt x="4222208" y="707357"/>
                  <a:pt x="4219242" y="707357"/>
                </a:cubicBezTo>
                <a:lnTo>
                  <a:pt x="4211486" y="709860"/>
                </a:lnTo>
                <a:lnTo>
                  <a:pt x="4211121" y="710081"/>
                </a:lnTo>
                <a:lnTo>
                  <a:pt x="4210969" y="710026"/>
                </a:lnTo>
                <a:lnTo>
                  <a:pt x="4200515" y="713398"/>
                </a:lnTo>
                <a:lnTo>
                  <a:pt x="4207493" y="708772"/>
                </a:lnTo>
                <a:lnTo>
                  <a:pt x="4206731" y="708497"/>
                </a:lnTo>
                <a:cubicBezTo>
                  <a:pt x="4206731" y="707006"/>
                  <a:pt x="4207105" y="706634"/>
                  <a:pt x="4207665" y="706727"/>
                </a:cubicBezTo>
                <a:lnTo>
                  <a:pt x="4209327" y="707556"/>
                </a:lnTo>
                <a:lnTo>
                  <a:pt x="4212134" y="705695"/>
                </a:lnTo>
                <a:lnTo>
                  <a:pt x="4212710" y="702534"/>
                </a:lnTo>
                <a:cubicBezTo>
                  <a:pt x="4194775" y="702534"/>
                  <a:pt x="4188796" y="714461"/>
                  <a:pt x="4170863" y="720424"/>
                </a:cubicBezTo>
                <a:lnTo>
                  <a:pt x="4171087" y="721151"/>
                </a:lnTo>
                <a:lnTo>
                  <a:pt x="4178923" y="725022"/>
                </a:lnTo>
                <a:cubicBezTo>
                  <a:pt x="4172945" y="730987"/>
                  <a:pt x="4160989" y="732477"/>
                  <a:pt x="4150528" y="735460"/>
                </a:cubicBezTo>
                <a:lnTo>
                  <a:pt x="4145325" y="740651"/>
                </a:lnTo>
                <a:lnTo>
                  <a:pt x="4172060" y="732444"/>
                </a:lnTo>
                <a:lnTo>
                  <a:pt x="4172945" y="730987"/>
                </a:lnTo>
                <a:lnTo>
                  <a:pt x="4173345" y="732050"/>
                </a:lnTo>
                <a:lnTo>
                  <a:pt x="4209269" y="721022"/>
                </a:lnTo>
                <a:lnTo>
                  <a:pt x="4213136" y="713670"/>
                </a:lnTo>
                <a:cubicBezTo>
                  <a:pt x="4213136" y="713670"/>
                  <a:pt x="4213136" y="715248"/>
                  <a:pt x="4213886" y="717615"/>
                </a:cubicBezTo>
                <a:lnTo>
                  <a:pt x="4214902" y="719293"/>
                </a:lnTo>
                <a:lnTo>
                  <a:pt x="4218917" y="718060"/>
                </a:lnTo>
                <a:lnTo>
                  <a:pt x="4216834" y="713096"/>
                </a:lnTo>
                <a:cubicBezTo>
                  <a:pt x="4216648" y="712021"/>
                  <a:pt x="4217019" y="711662"/>
                  <a:pt x="4217761" y="711662"/>
                </a:cubicBezTo>
                <a:lnTo>
                  <a:pt x="4223722" y="712816"/>
                </a:lnTo>
                <a:lnTo>
                  <a:pt x="4220087" y="717701"/>
                </a:lnTo>
                <a:lnTo>
                  <a:pt x="4230643" y="714461"/>
                </a:lnTo>
                <a:cubicBezTo>
                  <a:pt x="4235127" y="712970"/>
                  <a:pt x="4239984" y="710361"/>
                  <a:pt x="4244934" y="707565"/>
                </a:cubicBezTo>
                <a:lnTo>
                  <a:pt x="4259164" y="699886"/>
                </a:lnTo>
                <a:lnTo>
                  <a:pt x="4257544" y="702533"/>
                </a:lnTo>
                <a:cubicBezTo>
                  <a:pt x="4256050" y="705515"/>
                  <a:pt x="4254556" y="708497"/>
                  <a:pt x="4254556" y="702534"/>
                </a:cubicBezTo>
                <a:cubicBezTo>
                  <a:pt x="4248578" y="708497"/>
                  <a:pt x="4260532" y="708497"/>
                  <a:pt x="4254556" y="714461"/>
                </a:cubicBezTo>
                <a:cubicBezTo>
                  <a:pt x="4248578" y="708497"/>
                  <a:pt x="4242599" y="714461"/>
                  <a:pt x="4248578" y="720424"/>
                </a:cubicBezTo>
                <a:lnTo>
                  <a:pt x="4231049" y="722923"/>
                </a:lnTo>
                <a:lnTo>
                  <a:pt x="4227388" y="725507"/>
                </a:lnTo>
                <a:cubicBezTo>
                  <a:pt x="4217637" y="731032"/>
                  <a:pt x="4201136" y="738923"/>
                  <a:pt x="4195135" y="738923"/>
                </a:cubicBezTo>
                <a:cubicBezTo>
                  <a:pt x="4195135" y="735767"/>
                  <a:pt x="4195886" y="733794"/>
                  <a:pt x="4197105" y="732314"/>
                </a:cubicBezTo>
                <a:lnTo>
                  <a:pt x="4201588" y="728892"/>
                </a:lnTo>
                <a:lnTo>
                  <a:pt x="4191412" y="733843"/>
                </a:lnTo>
                <a:lnTo>
                  <a:pt x="4188750" y="738923"/>
                </a:lnTo>
                <a:lnTo>
                  <a:pt x="4189396" y="738923"/>
                </a:lnTo>
                <a:lnTo>
                  <a:pt x="4188521" y="739361"/>
                </a:lnTo>
                <a:lnTo>
                  <a:pt x="4182819" y="750244"/>
                </a:lnTo>
                <a:cubicBezTo>
                  <a:pt x="4146950" y="756208"/>
                  <a:pt x="4099127" y="803921"/>
                  <a:pt x="4057281" y="809884"/>
                </a:cubicBezTo>
                <a:cubicBezTo>
                  <a:pt x="4051303" y="815850"/>
                  <a:pt x="4057281" y="815850"/>
                  <a:pt x="4057281" y="821814"/>
                </a:cubicBezTo>
                <a:cubicBezTo>
                  <a:pt x="4051303" y="827777"/>
                  <a:pt x="4051303" y="815850"/>
                  <a:pt x="4051303" y="809884"/>
                </a:cubicBezTo>
                <a:cubicBezTo>
                  <a:pt x="4069236" y="803921"/>
                  <a:pt x="4081193" y="797957"/>
                  <a:pt x="4093150" y="780064"/>
                </a:cubicBezTo>
                <a:cubicBezTo>
                  <a:pt x="4081193" y="780064"/>
                  <a:pt x="4069236" y="791993"/>
                  <a:pt x="4057281" y="797957"/>
                </a:cubicBezTo>
                <a:cubicBezTo>
                  <a:pt x="4054292" y="797957"/>
                  <a:pt x="4055786" y="794975"/>
                  <a:pt x="4057281" y="791248"/>
                </a:cubicBezTo>
                <a:lnTo>
                  <a:pt x="4057485" y="790534"/>
                </a:lnTo>
                <a:lnTo>
                  <a:pt x="4047510" y="794297"/>
                </a:lnTo>
                <a:lnTo>
                  <a:pt x="4045325" y="797957"/>
                </a:lnTo>
                <a:lnTo>
                  <a:pt x="4044130" y="795572"/>
                </a:lnTo>
                <a:lnTo>
                  <a:pt x="4041429" y="796591"/>
                </a:lnTo>
                <a:lnTo>
                  <a:pt x="4039010" y="797371"/>
                </a:lnTo>
                <a:lnTo>
                  <a:pt x="4039346" y="797957"/>
                </a:lnTo>
                <a:cubicBezTo>
                  <a:pt x="4033368" y="803921"/>
                  <a:pt x="4033368" y="797957"/>
                  <a:pt x="4039346" y="809884"/>
                </a:cubicBezTo>
                <a:cubicBezTo>
                  <a:pt x="4036357" y="811375"/>
                  <a:pt x="4034115" y="811748"/>
                  <a:pt x="4032434" y="811469"/>
                </a:cubicBezTo>
                <a:lnTo>
                  <a:pt x="4030831" y="810418"/>
                </a:lnTo>
                <a:lnTo>
                  <a:pt x="4029473" y="814484"/>
                </a:lnTo>
                <a:lnTo>
                  <a:pt x="4029473" y="809526"/>
                </a:lnTo>
                <a:lnTo>
                  <a:pt x="4028884" y="809140"/>
                </a:lnTo>
                <a:lnTo>
                  <a:pt x="4028752" y="808678"/>
                </a:lnTo>
                <a:lnTo>
                  <a:pt x="4022748" y="810010"/>
                </a:lnTo>
                <a:lnTo>
                  <a:pt x="4020231" y="809372"/>
                </a:lnTo>
                <a:lnTo>
                  <a:pt x="4021412" y="815850"/>
                </a:lnTo>
                <a:cubicBezTo>
                  <a:pt x="4015434" y="815850"/>
                  <a:pt x="4015434" y="809884"/>
                  <a:pt x="4015434" y="809884"/>
                </a:cubicBezTo>
                <a:cubicBezTo>
                  <a:pt x="4003479" y="815850"/>
                  <a:pt x="4009456" y="815850"/>
                  <a:pt x="4009456" y="821814"/>
                </a:cubicBezTo>
                <a:lnTo>
                  <a:pt x="4005476" y="818976"/>
                </a:lnTo>
                <a:lnTo>
                  <a:pt x="4004778" y="820209"/>
                </a:lnTo>
                <a:cubicBezTo>
                  <a:pt x="4001430" y="824155"/>
                  <a:pt x="3998082" y="827311"/>
                  <a:pt x="3998082" y="827311"/>
                </a:cubicBezTo>
                <a:cubicBezTo>
                  <a:pt x="3998082" y="833626"/>
                  <a:pt x="3991385" y="833626"/>
                  <a:pt x="3991385" y="833626"/>
                </a:cubicBezTo>
                <a:cubicBezTo>
                  <a:pt x="3991385" y="827311"/>
                  <a:pt x="3991385" y="827311"/>
                  <a:pt x="3991385" y="827311"/>
                </a:cubicBezTo>
                <a:lnTo>
                  <a:pt x="3992196" y="826639"/>
                </a:lnTo>
                <a:lnTo>
                  <a:pt x="3991523" y="824795"/>
                </a:lnTo>
                <a:cubicBezTo>
                  <a:pt x="3991523" y="823304"/>
                  <a:pt x="3991523" y="821814"/>
                  <a:pt x="3985545" y="821814"/>
                </a:cubicBezTo>
                <a:cubicBezTo>
                  <a:pt x="3982556" y="821814"/>
                  <a:pt x="3982556" y="823304"/>
                  <a:pt x="3983303" y="825540"/>
                </a:cubicBezTo>
                <a:lnTo>
                  <a:pt x="3984014" y="828136"/>
                </a:lnTo>
                <a:lnTo>
                  <a:pt x="3985646" y="827885"/>
                </a:lnTo>
                <a:lnTo>
                  <a:pt x="3984774" y="830915"/>
                </a:lnTo>
                <a:lnTo>
                  <a:pt x="3985545" y="833741"/>
                </a:lnTo>
                <a:lnTo>
                  <a:pt x="3984285" y="832612"/>
                </a:lnTo>
                <a:lnTo>
                  <a:pt x="3983942" y="833803"/>
                </a:lnTo>
                <a:cubicBezTo>
                  <a:pt x="3980983" y="837569"/>
                  <a:pt x="3975601" y="836494"/>
                  <a:pt x="3979906" y="845103"/>
                </a:cubicBezTo>
                <a:cubicBezTo>
                  <a:pt x="3977037" y="842233"/>
                  <a:pt x="3974166" y="840798"/>
                  <a:pt x="3971297" y="839363"/>
                </a:cubicBezTo>
                <a:lnTo>
                  <a:pt x="3966455" y="836135"/>
                </a:lnTo>
                <a:lnTo>
                  <a:pt x="3963689" y="838773"/>
                </a:lnTo>
                <a:lnTo>
                  <a:pt x="3962951" y="839136"/>
                </a:lnTo>
                <a:lnTo>
                  <a:pt x="3963528" y="839923"/>
                </a:lnTo>
                <a:cubicBezTo>
                  <a:pt x="3964836" y="841321"/>
                  <a:pt x="3966704" y="842812"/>
                  <a:pt x="3969693" y="844304"/>
                </a:cubicBezTo>
                <a:lnTo>
                  <a:pt x="3954633" y="843230"/>
                </a:lnTo>
                <a:lnTo>
                  <a:pt x="3949676" y="845669"/>
                </a:lnTo>
                <a:lnTo>
                  <a:pt x="3949676" y="842877"/>
                </a:lnTo>
                <a:lnTo>
                  <a:pt x="3948772" y="842812"/>
                </a:lnTo>
                <a:lnTo>
                  <a:pt x="3945494" y="843980"/>
                </a:lnTo>
                <a:lnTo>
                  <a:pt x="3942204" y="848651"/>
                </a:lnTo>
                <a:cubicBezTo>
                  <a:pt x="3939215" y="853124"/>
                  <a:pt x="3937721" y="857597"/>
                  <a:pt x="3943699" y="863560"/>
                </a:cubicBezTo>
                <a:cubicBezTo>
                  <a:pt x="3937721" y="863560"/>
                  <a:pt x="3937721" y="863560"/>
                  <a:pt x="3937721" y="863560"/>
                </a:cubicBezTo>
                <a:lnTo>
                  <a:pt x="3936464" y="863560"/>
                </a:lnTo>
                <a:lnTo>
                  <a:pt x="3930262" y="865910"/>
                </a:lnTo>
                <a:cubicBezTo>
                  <a:pt x="3927104" y="866628"/>
                  <a:pt x="3923947" y="868062"/>
                  <a:pt x="3920790" y="873802"/>
                </a:cubicBezTo>
                <a:cubicBezTo>
                  <a:pt x="3920790" y="873802"/>
                  <a:pt x="3914477" y="868062"/>
                  <a:pt x="3914477" y="873802"/>
                </a:cubicBezTo>
                <a:cubicBezTo>
                  <a:pt x="3911321" y="873802"/>
                  <a:pt x="3911321" y="872367"/>
                  <a:pt x="3912110" y="870214"/>
                </a:cubicBezTo>
                <a:lnTo>
                  <a:pt x="3913787" y="864629"/>
                </a:lnTo>
                <a:lnTo>
                  <a:pt x="3905775" y="870270"/>
                </a:lnTo>
                <a:cubicBezTo>
                  <a:pt x="3903346" y="873252"/>
                  <a:pt x="3901852" y="876980"/>
                  <a:pt x="3901852" y="881453"/>
                </a:cubicBezTo>
                <a:lnTo>
                  <a:pt x="3897710" y="878954"/>
                </a:lnTo>
                <a:lnTo>
                  <a:pt x="3897210" y="879342"/>
                </a:lnTo>
                <a:cubicBezTo>
                  <a:pt x="3893474" y="880088"/>
                  <a:pt x="3888990" y="880088"/>
                  <a:pt x="3886001" y="880088"/>
                </a:cubicBezTo>
                <a:lnTo>
                  <a:pt x="3885411" y="877147"/>
                </a:lnTo>
                <a:lnTo>
                  <a:pt x="3868974" y="883690"/>
                </a:lnTo>
                <a:lnTo>
                  <a:pt x="3867941" y="884298"/>
                </a:lnTo>
                <a:lnTo>
                  <a:pt x="3868066" y="886051"/>
                </a:lnTo>
                <a:lnTo>
                  <a:pt x="3866999" y="884853"/>
                </a:lnTo>
                <a:lnTo>
                  <a:pt x="3851414" y="894034"/>
                </a:lnTo>
                <a:cubicBezTo>
                  <a:pt x="3845809" y="897110"/>
                  <a:pt x="3840579" y="899346"/>
                  <a:pt x="3836094" y="899346"/>
                </a:cubicBezTo>
                <a:cubicBezTo>
                  <a:pt x="3833105" y="899346"/>
                  <a:pt x="3833105" y="900837"/>
                  <a:pt x="3833852" y="903073"/>
                </a:cubicBezTo>
                <a:lnTo>
                  <a:pt x="3835179" y="907925"/>
                </a:lnTo>
                <a:lnTo>
                  <a:pt x="3838176" y="905932"/>
                </a:lnTo>
                <a:lnTo>
                  <a:pt x="3838176" y="909907"/>
                </a:lnTo>
                <a:lnTo>
                  <a:pt x="3838393" y="910635"/>
                </a:lnTo>
                <a:lnTo>
                  <a:pt x="3850133" y="907373"/>
                </a:lnTo>
                <a:lnTo>
                  <a:pt x="3850133" y="903944"/>
                </a:lnTo>
                <a:lnTo>
                  <a:pt x="3854548" y="906146"/>
                </a:lnTo>
                <a:lnTo>
                  <a:pt x="3856963" y="905475"/>
                </a:lnTo>
                <a:lnTo>
                  <a:pt x="3856111" y="903944"/>
                </a:lnTo>
                <a:cubicBezTo>
                  <a:pt x="3856111" y="897980"/>
                  <a:pt x="3868066" y="897980"/>
                  <a:pt x="3868066" y="897980"/>
                </a:cubicBezTo>
                <a:lnTo>
                  <a:pt x="3871453" y="900358"/>
                </a:lnTo>
                <a:lnTo>
                  <a:pt x="3892886" y="890399"/>
                </a:lnTo>
                <a:lnTo>
                  <a:pt x="3904343" y="886189"/>
                </a:lnTo>
                <a:lnTo>
                  <a:pt x="3903935" y="880088"/>
                </a:lnTo>
                <a:lnTo>
                  <a:pt x="3913856" y="882692"/>
                </a:lnTo>
                <a:lnTo>
                  <a:pt x="3917527" y="881343"/>
                </a:lnTo>
                <a:lnTo>
                  <a:pt x="3918005" y="881010"/>
                </a:lnTo>
                <a:lnTo>
                  <a:pt x="3917938" y="881191"/>
                </a:lnTo>
                <a:lnTo>
                  <a:pt x="3922411" y="879547"/>
                </a:lnTo>
                <a:lnTo>
                  <a:pt x="3927848" y="874124"/>
                </a:lnTo>
                <a:lnTo>
                  <a:pt x="3926674" y="877980"/>
                </a:lnTo>
                <a:lnTo>
                  <a:pt x="3931794" y="876099"/>
                </a:lnTo>
                <a:lnTo>
                  <a:pt x="3932235" y="881373"/>
                </a:lnTo>
                <a:lnTo>
                  <a:pt x="3933825" y="886051"/>
                </a:lnTo>
                <a:lnTo>
                  <a:pt x="3933513" y="886185"/>
                </a:lnTo>
                <a:lnTo>
                  <a:pt x="3935519" y="889614"/>
                </a:lnTo>
                <a:lnTo>
                  <a:pt x="3939804" y="886051"/>
                </a:lnTo>
                <a:cubicBezTo>
                  <a:pt x="3945782" y="886051"/>
                  <a:pt x="3945782" y="892015"/>
                  <a:pt x="3951760" y="897980"/>
                </a:cubicBezTo>
                <a:cubicBezTo>
                  <a:pt x="3950265" y="896489"/>
                  <a:pt x="3950265" y="894625"/>
                  <a:pt x="3950919" y="892668"/>
                </a:cubicBezTo>
                <a:lnTo>
                  <a:pt x="3951067" y="892386"/>
                </a:lnTo>
                <a:lnTo>
                  <a:pt x="3949574" y="888185"/>
                </a:lnTo>
                <a:cubicBezTo>
                  <a:pt x="3949574" y="888185"/>
                  <a:pt x="3949574" y="894643"/>
                  <a:pt x="3949574" y="894643"/>
                </a:cubicBezTo>
                <a:cubicBezTo>
                  <a:pt x="3949574" y="894643"/>
                  <a:pt x="3946346" y="887378"/>
                  <a:pt x="3944731" y="883746"/>
                </a:cubicBezTo>
                <a:lnTo>
                  <a:pt x="3944379" y="882953"/>
                </a:lnTo>
                <a:lnTo>
                  <a:pt x="3939804" y="886051"/>
                </a:lnTo>
                <a:cubicBezTo>
                  <a:pt x="3936814" y="886051"/>
                  <a:pt x="3935320" y="886051"/>
                  <a:pt x="3934573" y="884560"/>
                </a:cubicBezTo>
                <a:lnTo>
                  <a:pt x="3933913" y="875345"/>
                </a:lnTo>
                <a:lnTo>
                  <a:pt x="3933827" y="875351"/>
                </a:lnTo>
                <a:lnTo>
                  <a:pt x="3933912" y="875320"/>
                </a:lnTo>
                <a:lnTo>
                  <a:pt x="3933825" y="874124"/>
                </a:lnTo>
                <a:lnTo>
                  <a:pt x="3955313" y="866441"/>
                </a:lnTo>
                <a:lnTo>
                  <a:pt x="3955313" y="852313"/>
                </a:lnTo>
                <a:cubicBezTo>
                  <a:pt x="3955313" y="852313"/>
                  <a:pt x="3966792" y="863792"/>
                  <a:pt x="3961053" y="852313"/>
                </a:cubicBezTo>
                <a:cubicBezTo>
                  <a:pt x="3961053" y="846574"/>
                  <a:pt x="3961053" y="846574"/>
                  <a:pt x="3966792" y="846574"/>
                </a:cubicBezTo>
                <a:cubicBezTo>
                  <a:pt x="3972533" y="846574"/>
                  <a:pt x="3966792" y="852313"/>
                  <a:pt x="3966792" y="852313"/>
                </a:cubicBezTo>
                <a:cubicBezTo>
                  <a:pt x="3972533" y="846574"/>
                  <a:pt x="3978271" y="852313"/>
                  <a:pt x="3978271" y="846574"/>
                </a:cubicBezTo>
                <a:lnTo>
                  <a:pt x="3979440" y="854422"/>
                </a:lnTo>
                <a:lnTo>
                  <a:pt x="3989167" y="850459"/>
                </a:lnTo>
                <a:lnTo>
                  <a:pt x="3987085" y="846574"/>
                </a:lnTo>
                <a:cubicBezTo>
                  <a:pt x="3985548" y="845138"/>
                  <a:pt x="3984010" y="843704"/>
                  <a:pt x="3984010" y="840834"/>
                </a:cubicBezTo>
                <a:cubicBezTo>
                  <a:pt x="3987085" y="840834"/>
                  <a:pt x="3988624" y="842269"/>
                  <a:pt x="3990929" y="843704"/>
                </a:cubicBezTo>
                <a:lnTo>
                  <a:pt x="4000130" y="845994"/>
                </a:lnTo>
                <a:lnTo>
                  <a:pt x="4001078" y="845608"/>
                </a:lnTo>
                <a:lnTo>
                  <a:pt x="4001264" y="845597"/>
                </a:lnTo>
                <a:lnTo>
                  <a:pt x="3996311" y="841551"/>
                </a:lnTo>
                <a:cubicBezTo>
                  <a:pt x="3994774" y="840834"/>
                  <a:pt x="3993236" y="840834"/>
                  <a:pt x="3990160" y="840834"/>
                </a:cubicBezTo>
                <a:cubicBezTo>
                  <a:pt x="3996311" y="829355"/>
                  <a:pt x="4014759" y="829355"/>
                  <a:pt x="4027058" y="823616"/>
                </a:cubicBezTo>
                <a:cubicBezTo>
                  <a:pt x="4027058" y="829355"/>
                  <a:pt x="4014759" y="823616"/>
                  <a:pt x="4020908" y="835094"/>
                </a:cubicBezTo>
                <a:cubicBezTo>
                  <a:pt x="4017833" y="832225"/>
                  <a:pt x="4013221" y="832225"/>
                  <a:pt x="4009378" y="834377"/>
                </a:cubicBezTo>
                <a:lnTo>
                  <a:pt x="4003074" y="845492"/>
                </a:lnTo>
                <a:lnTo>
                  <a:pt x="4023495" y="844304"/>
                </a:lnTo>
                <a:cubicBezTo>
                  <a:pt x="4023495" y="856231"/>
                  <a:pt x="4005561" y="838338"/>
                  <a:pt x="4017517" y="856231"/>
                </a:cubicBezTo>
                <a:cubicBezTo>
                  <a:pt x="4011540" y="856231"/>
                  <a:pt x="4011540" y="844304"/>
                  <a:pt x="3999583" y="850267"/>
                </a:cubicBezTo>
                <a:cubicBezTo>
                  <a:pt x="3999583" y="856231"/>
                  <a:pt x="4011540" y="862195"/>
                  <a:pt x="4005561" y="868158"/>
                </a:cubicBezTo>
                <a:cubicBezTo>
                  <a:pt x="3999583" y="874124"/>
                  <a:pt x="3993604" y="868158"/>
                  <a:pt x="3987626" y="874124"/>
                </a:cubicBezTo>
                <a:cubicBezTo>
                  <a:pt x="3987626" y="868158"/>
                  <a:pt x="3987626" y="868158"/>
                  <a:pt x="3981648" y="862195"/>
                </a:cubicBezTo>
                <a:lnTo>
                  <a:pt x="3978569" y="864136"/>
                </a:lnTo>
                <a:lnTo>
                  <a:pt x="3982307" y="868460"/>
                </a:lnTo>
                <a:cubicBezTo>
                  <a:pt x="3982397" y="870080"/>
                  <a:pt x="3981500" y="871796"/>
                  <a:pt x="3980424" y="873701"/>
                </a:cubicBezTo>
                <a:lnTo>
                  <a:pt x="3979474" y="875751"/>
                </a:lnTo>
                <a:lnTo>
                  <a:pt x="3984730" y="875987"/>
                </a:lnTo>
                <a:cubicBezTo>
                  <a:pt x="3987626" y="875987"/>
                  <a:pt x="3990616" y="875615"/>
                  <a:pt x="3993604" y="874124"/>
                </a:cubicBezTo>
                <a:cubicBezTo>
                  <a:pt x="3999583" y="880088"/>
                  <a:pt x="3999583" y="886051"/>
                  <a:pt x="4005561" y="886051"/>
                </a:cubicBezTo>
                <a:cubicBezTo>
                  <a:pt x="4005561" y="886051"/>
                  <a:pt x="4005561" y="880088"/>
                  <a:pt x="4005561" y="874124"/>
                </a:cubicBezTo>
                <a:cubicBezTo>
                  <a:pt x="4011540" y="874124"/>
                  <a:pt x="4017517" y="874124"/>
                  <a:pt x="4017517" y="880088"/>
                </a:cubicBezTo>
                <a:cubicBezTo>
                  <a:pt x="4011540" y="874124"/>
                  <a:pt x="4011540" y="886051"/>
                  <a:pt x="4011540" y="892015"/>
                </a:cubicBezTo>
                <a:cubicBezTo>
                  <a:pt x="4023495" y="886051"/>
                  <a:pt x="4017517" y="880088"/>
                  <a:pt x="4023495" y="892015"/>
                </a:cubicBezTo>
                <a:cubicBezTo>
                  <a:pt x="4029473" y="886051"/>
                  <a:pt x="4023495" y="880088"/>
                  <a:pt x="4023495" y="874124"/>
                </a:cubicBezTo>
                <a:cubicBezTo>
                  <a:pt x="4023495" y="868158"/>
                  <a:pt x="4017517" y="880088"/>
                  <a:pt x="4011540" y="868158"/>
                </a:cubicBezTo>
                <a:cubicBezTo>
                  <a:pt x="4017517" y="868158"/>
                  <a:pt x="4023495" y="874124"/>
                  <a:pt x="4029473" y="862195"/>
                </a:cubicBezTo>
                <a:lnTo>
                  <a:pt x="4035451" y="874124"/>
                </a:lnTo>
                <a:lnTo>
                  <a:pt x="4029473" y="880088"/>
                </a:lnTo>
                <a:cubicBezTo>
                  <a:pt x="4029473" y="886051"/>
                  <a:pt x="4041429" y="880088"/>
                  <a:pt x="4041429" y="886051"/>
                </a:cubicBezTo>
                <a:cubicBezTo>
                  <a:pt x="4041429" y="868158"/>
                  <a:pt x="4047408" y="880088"/>
                  <a:pt x="4053385" y="868158"/>
                </a:cubicBezTo>
                <a:cubicBezTo>
                  <a:pt x="4053385" y="874124"/>
                  <a:pt x="4053385" y="874124"/>
                  <a:pt x="4053385" y="874124"/>
                </a:cubicBezTo>
                <a:cubicBezTo>
                  <a:pt x="4053385" y="874124"/>
                  <a:pt x="4053385" y="874124"/>
                  <a:pt x="4059364" y="874124"/>
                </a:cubicBezTo>
                <a:cubicBezTo>
                  <a:pt x="4059364" y="880088"/>
                  <a:pt x="4047408" y="880088"/>
                  <a:pt x="4047408" y="886051"/>
                </a:cubicBezTo>
                <a:cubicBezTo>
                  <a:pt x="4053385" y="886051"/>
                  <a:pt x="4053385" y="880088"/>
                  <a:pt x="4059364" y="886051"/>
                </a:cubicBezTo>
                <a:cubicBezTo>
                  <a:pt x="4065342" y="880088"/>
                  <a:pt x="4053385" y="868158"/>
                  <a:pt x="4065342" y="868158"/>
                </a:cubicBezTo>
                <a:cubicBezTo>
                  <a:pt x="4059364" y="886051"/>
                  <a:pt x="4077298" y="868158"/>
                  <a:pt x="4077298" y="862195"/>
                </a:cubicBezTo>
                <a:cubicBezTo>
                  <a:pt x="4071320" y="856231"/>
                  <a:pt x="4089252" y="862195"/>
                  <a:pt x="4077298" y="868158"/>
                </a:cubicBezTo>
                <a:cubicBezTo>
                  <a:pt x="4083276" y="862195"/>
                  <a:pt x="4095230" y="874124"/>
                  <a:pt x="4095230" y="862195"/>
                </a:cubicBezTo>
                <a:cubicBezTo>
                  <a:pt x="4095230" y="862195"/>
                  <a:pt x="4095230" y="868158"/>
                  <a:pt x="4101208" y="874124"/>
                </a:cubicBezTo>
                <a:cubicBezTo>
                  <a:pt x="4095230" y="874124"/>
                  <a:pt x="4089252" y="874124"/>
                  <a:pt x="4089252" y="880088"/>
                </a:cubicBezTo>
                <a:cubicBezTo>
                  <a:pt x="4089252" y="880088"/>
                  <a:pt x="4089252" y="874124"/>
                  <a:pt x="4083276" y="874124"/>
                </a:cubicBezTo>
                <a:cubicBezTo>
                  <a:pt x="4086264" y="877106"/>
                  <a:pt x="4084770" y="880088"/>
                  <a:pt x="4081781" y="881578"/>
                </a:cubicBezTo>
                <a:lnTo>
                  <a:pt x="4078598" y="881125"/>
                </a:lnTo>
                <a:lnTo>
                  <a:pt x="4069393" y="890286"/>
                </a:lnTo>
                <a:lnTo>
                  <a:pt x="4071320" y="897980"/>
                </a:lnTo>
                <a:cubicBezTo>
                  <a:pt x="4077298" y="886051"/>
                  <a:pt x="4083276" y="892015"/>
                  <a:pt x="4089252" y="892015"/>
                </a:cubicBezTo>
                <a:cubicBezTo>
                  <a:pt x="4083276" y="886051"/>
                  <a:pt x="4089252" y="880088"/>
                  <a:pt x="4095230" y="892015"/>
                </a:cubicBezTo>
                <a:cubicBezTo>
                  <a:pt x="4101208" y="886051"/>
                  <a:pt x="4107186" y="886051"/>
                  <a:pt x="4107186" y="874124"/>
                </a:cubicBezTo>
                <a:cubicBezTo>
                  <a:pt x="4113164" y="874124"/>
                  <a:pt x="4131099" y="886051"/>
                  <a:pt x="4125121" y="868158"/>
                </a:cubicBezTo>
                <a:cubicBezTo>
                  <a:pt x="4125121" y="868158"/>
                  <a:pt x="4131099" y="874124"/>
                  <a:pt x="4131099" y="880088"/>
                </a:cubicBezTo>
                <a:cubicBezTo>
                  <a:pt x="4131099" y="862195"/>
                  <a:pt x="4143055" y="868158"/>
                  <a:pt x="4143055" y="880088"/>
                </a:cubicBezTo>
                <a:cubicBezTo>
                  <a:pt x="4137077" y="886051"/>
                  <a:pt x="4143055" y="874124"/>
                  <a:pt x="4137077" y="880088"/>
                </a:cubicBezTo>
                <a:cubicBezTo>
                  <a:pt x="4137077" y="880088"/>
                  <a:pt x="4137077" y="880088"/>
                  <a:pt x="4137077" y="886051"/>
                </a:cubicBezTo>
                <a:cubicBezTo>
                  <a:pt x="4143055" y="892015"/>
                  <a:pt x="4149033" y="874124"/>
                  <a:pt x="4155011" y="880088"/>
                </a:cubicBezTo>
                <a:cubicBezTo>
                  <a:pt x="4155011" y="874124"/>
                  <a:pt x="4143055" y="880088"/>
                  <a:pt x="4143055" y="868158"/>
                </a:cubicBezTo>
                <a:cubicBezTo>
                  <a:pt x="4155011" y="868158"/>
                  <a:pt x="4166968" y="850267"/>
                  <a:pt x="4178923" y="850267"/>
                </a:cubicBezTo>
                <a:cubicBezTo>
                  <a:pt x="4178923" y="856231"/>
                  <a:pt x="4178923" y="856231"/>
                  <a:pt x="4172945" y="856231"/>
                </a:cubicBezTo>
                <a:cubicBezTo>
                  <a:pt x="4178923" y="862195"/>
                  <a:pt x="4178923" y="856231"/>
                  <a:pt x="4184902" y="856231"/>
                </a:cubicBezTo>
                <a:cubicBezTo>
                  <a:pt x="4190880" y="856231"/>
                  <a:pt x="4178923" y="850267"/>
                  <a:pt x="4184902" y="850267"/>
                </a:cubicBezTo>
                <a:cubicBezTo>
                  <a:pt x="4196858" y="850267"/>
                  <a:pt x="4196858" y="850267"/>
                  <a:pt x="4208814" y="844304"/>
                </a:cubicBezTo>
                <a:cubicBezTo>
                  <a:pt x="4208814" y="844304"/>
                  <a:pt x="4208814" y="850267"/>
                  <a:pt x="4208814" y="850267"/>
                </a:cubicBezTo>
                <a:cubicBezTo>
                  <a:pt x="4213297" y="850267"/>
                  <a:pt x="4217780" y="843557"/>
                  <a:pt x="4222263" y="845235"/>
                </a:cubicBezTo>
                <a:lnTo>
                  <a:pt x="4226635" y="850142"/>
                </a:lnTo>
                <a:lnTo>
                  <a:pt x="4238005" y="844056"/>
                </a:lnTo>
                <a:lnTo>
                  <a:pt x="4228241" y="840576"/>
                </a:lnTo>
                <a:cubicBezTo>
                  <a:pt x="4226746" y="839830"/>
                  <a:pt x="4226746" y="838339"/>
                  <a:pt x="4226746" y="832375"/>
                </a:cubicBezTo>
                <a:cubicBezTo>
                  <a:pt x="4220768" y="826411"/>
                  <a:pt x="4208814" y="832375"/>
                  <a:pt x="4202836" y="832375"/>
                </a:cubicBezTo>
                <a:cubicBezTo>
                  <a:pt x="4232724" y="820448"/>
                  <a:pt x="4292506" y="796591"/>
                  <a:pt x="4328374" y="784664"/>
                </a:cubicBezTo>
                <a:cubicBezTo>
                  <a:pt x="4328374" y="796591"/>
                  <a:pt x="4286527" y="808519"/>
                  <a:pt x="4280549" y="808519"/>
                </a:cubicBezTo>
                <a:lnTo>
                  <a:pt x="4280549" y="825943"/>
                </a:lnTo>
                <a:lnTo>
                  <a:pt x="4286540" y="823681"/>
                </a:lnTo>
                <a:lnTo>
                  <a:pt x="4288769" y="820448"/>
                </a:lnTo>
                <a:cubicBezTo>
                  <a:pt x="4291010" y="817465"/>
                  <a:pt x="4292506" y="814484"/>
                  <a:pt x="4292506" y="808519"/>
                </a:cubicBezTo>
                <a:cubicBezTo>
                  <a:pt x="4298483" y="808519"/>
                  <a:pt x="4299978" y="811501"/>
                  <a:pt x="4299978" y="814483"/>
                </a:cubicBezTo>
                <a:lnTo>
                  <a:pt x="4298836" y="819040"/>
                </a:lnTo>
                <a:lnTo>
                  <a:pt x="4299390" y="818830"/>
                </a:lnTo>
                <a:lnTo>
                  <a:pt x="4304787" y="816966"/>
                </a:lnTo>
                <a:lnTo>
                  <a:pt x="4306890" y="813737"/>
                </a:lnTo>
                <a:cubicBezTo>
                  <a:pt x="4307825" y="812992"/>
                  <a:pt x="4308946" y="812992"/>
                  <a:pt x="4310440" y="814484"/>
                </a:cubicBezTo>
                <a:cubicBezTo>
                  <a:pt x="4310440" y="802555"/>
                  <a:pt x="4298483" y="820448"/>
                  <a:pt x="4298483" y="808519"/>
                </a:cubicBezTo>
                <a:cubicBezTo>
                  <a:pt x="4304462" y="808519"/>
                  <a:pt x="4304462" y="802555"/>
                  <a:pt x="4316418" y="802555"/>
                </a:cubicBezTo>
                <a:cubicBezTo>
                  <a:pt x="4316418" y="802555"/>
                  <a:pt x="4316418" y="804045"/>
                  <a:pt x="4316418" y="806282"/>
                </a:cubicBezTo>
                <a:lnTo>
                  <a:pt x="4316418" y="812948"/>
                </a:lnTo>
                <a:lnTo>
                  <a:pt x="4335989" y="806187"/>
                </a:lnTo>
                <a:lnTo>
                  <a:pt x="4330616" y="803300"/>
                </a:lnTo>
                <a:cubicBezTo>
                  <a:pt x="4326879" y="802555"/>
                  <a:pt x="4322396" y="802555"/>
                  <a:pt x="4316418" y="802555"/>
                </a:cubicBezTo>
                <a:cubicBezTo>
                  <a:pt x="4316418" y="796591"/>
                  <a:pt x="4328374" y="796591"/>
                  <a:pt x="4328374" y="790627"/>
                </a:cubicBezTo>
                <a:cubicBezTo>
                  <a:pt x="4328374" y="790627"/>
                  <a:pt x="4334352" y="796591"/>
                  <a:pt x="4334352" y="796591"/>
                </a:cubicBezTo>
                <a:cubicBezTo>
                  <a:pt x="4334352" y="796591"/>
                  <a:pt x="4334352" y="784664"/>
                  <a:pt x="4340330" y="796591"/>
                </a:cubicBezTo>
                <a:cubicBezTo>
                  <a:pt x="4346308" y="784664"/>
                  <a:pt x="4328374" y="790627"/>
                  <a:pt x="4328374" y="784664"/>
                </a:cubicBezTo>
                <a:lnTo>
                  <a:pt x="4355923" y="774291"/>
                </a:lnTo>
                <a:lnTo>
                  <a:pt x="4340330" y="784664"/>
                </a:lnTo>
                <a:cubicBezTo>
                  <a:pt x="4343319" y="790627"/>
                  <a:pt x="4344814" y="793608"/>
                  <a:pt x="4346308" y="795846"/>
                </a:cubicBezTo>
                <a:lnTo>
                  <a:pt x="4346936" y="796549"/>
                </a:lnTo>
                <a:lnTo>
                  <a:pt x="4346308" y="796591"/>
                </a:lnTo>
                <a:lnTo>
                  <a:pt x="4347339" y="797003"/>
                </a:lnTo>
                <a:lnTo>
                  <a:pt x="4350923" y="801027"/>
                </a:lnTo>
                <a:lnTo>
                  <a:pt x="4352259" y="800566"/>
                </a:lnTo>
                <a:lnTo>
                  <a:pt x="4353535" y="800060"/>
                </a:lnTo>
                <a:lnTo>
                  <a:pt x="4353779" y="799573"/>
                </a:lnTo>
                <a:lnTo>
                  <a:pt x="4347339" y="797003"/>
                </a:lnTo>
                <a:lnTo>
                  <a:pt x="4346936" y="796549"/>
                </a:lnTo>
                <a:lnTo>
                  <a:pt x="4357516" y="795846"/>
                </a:lnTo>
                <a:lnTo>
                  <a:pt x="4361134" y="797050"/>
                </a:lnTo>
                <a:lnTo>
                  <a:pt x="4362551" y="796488"/>
                </a:lnTo>
                <a:lnTo>
                  <a:pt x="4364241" y="790627"/>
                </a:lnTo>
                <a:lnTo>
                  <a:pt x="4364241" y="795818"/>
                </a:lnTo>
                <a:lnTo>
                  <a:pt x="4371775" y="792833"/>
                </a:lnTo>
                <a:lnTo>
                  <a:pt x="4376197" y="790627"/>
                </a:lnTo>
                <a:cubicBezTo>
                  <a:pt x="4376197" y="790627"/>
                  <a:pt x="4370219" y="790627"/>
                  <a:pt x="4370219" y="784664"/>
                </a:cubicBezTo>
                <a:cubicBezTo>
                  <a:pt x="4376197" y="784664"/>
                  <a:pt x="4382175" y="778698"/>
                  <a:pt x="4376197" y="778698"/>
                </a:cubicBezTo>
                <a:lnTo>
                  <a:pt x="4397486" y="766130"/>
                </a:lnTo>
                <a:lnTo>
                  <a:pt x="4400109" y="766771"/>
                </a:lnTo>
                <a:lnTo>
                  <a:pt x="4405491" y="761404"/>
                </a:lnTo>
                <a:lnTo>
                  <a:pt x="4412814" y="757080"/>
                </a:lnTo>
                <a:cubicBezTo>
                  <a:pt x="4424022" y="747387"/>
                  <a:pt x="4435978" y="736951"/>
                  <a:pt x="4453912" y="730987"/>
                </a:cubicBezTo>
                <a:cubicBezTo>
                  <a:pt x="4459890" y="736951"/>
                  <a:pt x="4459890" y="742915"/>
                  <a:pt x="4465868" y="736951"/>
                </a:cubicBezTo>
                <a:cubicBezTo>
                  <a:pt x="4453912" y="754842"/>
                  <a:pt x="4406087" y="772734"/>
                  <a:pt x="4382175" y="784664"/>
                </a:cubicBezTo>
                <a:lnTo>
                  <a:pt x="4384333" y="787858"/>
                </a:lnTo>
                <a:lnTo>
                  <a:pt x="4404005" y="780064"/>
                </a:lnTo>
                <a:cubicBezTo>
                  <a:pt x="4589323" y="690605"/>
                  <a:pt x="4780619" y="607108"/>
                  <a:pt x="4953981" y="541504"/>
                </a:cubicBezTo>
                <a:cubicBezTo>
                  <a:pt x="4942025" y="571325"/>
                  <a:pt x="4900181" y="577288"/>
                  <a:pt x="4864312" y="595181"/>
                </a:cubicBezTo>
                <a:cubicBezTo>
                  <a:pt x="4810509" y="625001"/>
                  <a:pt x="4756708" y="648857"/>
                  <a:pt x="4690949" y="672712"/>
                </a:cubicBezTo>
                <a:cubicBezTo>
                  <a:pt x="4690949" y="672712"/>
                  <a:pt x="4684971" y="678677"/>
                  <a:pt x="4690949" y="678677"/>
                </a:cubicBezTo>
                <a:cubicBezTo>
                  <a:pt x="4690949" y="684641"/>
                  <a:pt x="4678993" y="684641"/>
                  <a:pt x="4678993" y="690605"/>
                </a:cubicBezTo>
                <a:cubicBezTo>
                  <a:pt x="4673014" y="678677"/>
                  <a:pt x="4690949" y="684641"/>
                  <a:pt x="4684971" y="678677"/>
                </a:cubicBezTo>
                <a:cubicBezTo>
                  <a:pt x="4678993" y="678677"/>
                  <a:pt x="4673014" y="684641"/>
                  <a:pt x="4661059" y="684641"/>
                </a:cubicBezTo>
                <a:cubicBezTo>
                  <a:pt x="4661059" y="690605"/>
                  <a:pt x="4673014" y="684641"/>
                  <a:pt x="4673014" y="684641"/>
                </a:cubicBezTo>
                <a:cubicBezTo>
                  <a:pt x="4673014" y="690605"/>
                  <a:pt x="4670027" y="692096"/>
                  <a:pt x="4666290" y="692096"/>
                </a:cubicBezTo>
                <a:lnTo>
                  <a:pt x="4659732" y="691223"/>
                </a:lnTo>
                <a:lnTo>
                  <a:pt x="4661059" y="690605"/>
                </a:lnTo>
                <a:lnTo>
                  <a:pt x="4659642" y="691212"/>
                </a:lnTo>
                <a:lnTo>
                  <a:pt x="4655081" y="690605"/>
                </a:lnTo>
                <a:cubicBezTo>
                  <a:pt x="4655081" y="693587"/>
                  <a:pt x="4655081" y="693587"/>
                  <a:pt x="4655829" y="692840"/>
                </a:cubicBezTo>
                <a:lnTo>
                  <a:pt x="4659642" y="691212"/>
                </a:lnTo>
                <a:lnTo>
                  <a:pt x="4659732" y="691223"/>
                </a:lnTo>
                <a:lnTo>
                  <a:pt x="4547477" y="743536"/>
                </a:lnTo>
                <a:cubicBezTo>
                  <a:pt x="4511610" y="760682"/>
                  <a:pt x="4475741" y="777083"/>
                  <a:pt x="4433895" y="791993"/>
                </a:cubicBezTo>
                <a:cubicBezTo>
                  <a:pt x="4433895" y="797957"/>
                  <a:pt x="4433895" y="797957"/>
                  <a:pt x="4439873" y="803921"/>
                </a:cubicBezTo>
                <a:cubicBezTo>
                  <a:pt x="4427917" y="803921"/>
                  <a:pt x="4409983" y="803921"/>
                  <a:pt x="4404005" y="815850"/>
                </a:cubicBezTo>
                <a:cubicBezTo>
                  <a:pt x="4409983" y="821814"/>
                  <a:pt x="4415961" y="809884"/>
                  <a:pt x="4421939" y="815850"/>
                </a:cubicBezTo>
                <a:cubicBezTo>
                  <a:pt x="4421939" y="821814"/>
                  <a:pt x="4404005" y="821814"/>
                  <a:pt x="4398026" y="827777"/>
                </a:cubicBezTo>
                <a:cubicBezTo>
                  <a:pt x="4404005" y="809884"/>
                  <a:pt x="4392048" y="815850"/>
                  <a:pt x="4386070" y="821814"/>
                </a:cubicBezTo>
                <a:cubicBezTo>
                  <a:pt x="4386070" y="827777"/>
                  <a:pt x="4398026" y="815850"/>
                  <a:pt x="4398026" y="827777"/>
                </a:cubicBezTo>
                <a:cubicBezTo>
                  <a:pt x="4338248" y="851633"/>
                  <a:pt x="4278466" y="875490"/>
                  <a:pt x="4230643" y="893381"/>
                </a:cubicBezTo>
                <a:cubicBezTo>
                  <a:pt x="4224665" y="899346"/>
                  <a:pt x="4236621" y="905309"/>
                  <a:pt x="4236621" y="911273"/>
                </a:cubicBezTo>
                <a:cubicBezTo>
                  <a:pt x="4236621" y="905309"/>
                  <a:pt x="4242599" y="899346"/>
                  <a:pt x="4248578" y="893381"/>
                </a:cubicBezTo>
                <a:cubicBezTo>
                  <a:pt x="4248578" y="899346"/>
                  <a:pt x="4248578" y="899346"/>
                  <a:pt x="4248578" y="899346"/>
                </a:cubicBezTo>
                <a:cubicBezTo>
                  <a:pt x="4254556" y="893381"/>
                  <a:pt x="4278466" y="899346"/>
                  <a:pt x="4272488" y="887417"/>
                </a:cubicBezTo>
                <a:cubicBezTo>
                  <a:pt x="4266510" y="881453"/>
                  <a:pt x="4278466" y="887417"/>
                  <a:pt x="4278466" y="893381"/>
                </a:cubicBezTo>
                <a:cubicBezTo>
                  <a:pt x="4278466" y="881453"/>
                  <a:pt x="4308357" y="887417"/>
                  <a:pt x="4296401" y="875490"/>
                </a:cubicBezTo>
                <a:cubicBezTo>
                  <a:pt x="4308357" y="887417"/>
                  <a:pt x="4332270" y="863560"/>
                  <a:pt x="4350203" y="863560"/>
                </a:cubicBezTo>
                <a:cubicBezTo>
                  <a:pt x="4350203" y="869526"/>
                  <a:pt x="4350203" y="869526"/>
                  <a:pt x="4344225" y="875490"/>
                </a:cubicBezTo>
                <a:cubicBezTo>
                  <a:pt x="4350203" y="875490"/>
                  <a:pt x="4356181" y="863560"/>
                  <a:pt x="4368137" y="863560"/>
                </a:cubicBezTo>
                <a:cubicBezTo>
                  <a:pt x="4374116" y="863560"/>
                  <a:pt x="4368137" y="851633"/>
                  <a:pt x="4368137" y="845669"/>
                </a:cubicBezTo>
                <a:cubicBezTo>
                  <a:pt x="4374116" y="845669"/>
                  <a:pt x="4374116" y="851633"/>
                  <a:pt x="4380094" y="845669"/>
                </a:cubicBezTo>
                <a:cubicBezTo>
                  <a:pt x="4380094" y="851633"/>
                  <a:pt x="4380094" y="857597"/>
                  <a:pt x="4386070" y="863560"/>
                </a:cubicBezTo>
                <a:cubicBezTo>
                  <a:pt x="4392048" y="857597"/>
                  <a:pt x="4392048" y="857597"/>
                  <a:pt x="4386070" y="851633"/>
                </a:cubicBezTo>
                <a:cubicBezTo>
                  <a:pt x="4404005" y="845669"/>
                  <a:pt x="4409983" y="851633"/>
                  <a:pt x="4421939" y="851633"/>
                </a:cubicBezTo>
                <a:cubicBezTo>
                  <a:pt x="4439873" y="833741"/>
                  <a:pt x="4433895" y="845669"/>
                  <a:pt x="4457808" y="827777"/>
                </a:cubicBezTo>
                <a:cubicBezTo>
                  <a:pt x="4457808" y="833741"/>
                  <a:pt x="4457808" y="833741"/>
                  <a:pt x="4457808" y="833741"/>
                </a:cubicBezTo>
                <a:lnTo>
                  <a:pt x="4457808" y="835196"/>
                </a:lnTo>
                <a:lnTo>
                  <a:pt x="4466785" y="835812"/>
                </a:lnTo>
                <a:cubicBezTo>
                  <a:pt x="4469774" y="833659"/>
                  <a:pt x="4471269" y="829355"/>
                  <a:pt x="4468279" y="823616"/>
                </a:cubicBezTo>
                <a:cubicBezTo>
                  <a:pt x="4474259" y="823616"/>
                  <a:pt x="4474259" y="823616"/>
                  <a:pt x="4480237" y="823616"/>
                </a:cubicBezTo>
                <a:cubicBezTo>
                  <a:pt x="4477248" y="829355"/>
                  <a:pt x="4475754" y="830790"/>
                  <a:pt x="4476500" y="830790"/>
                </a:cubicBezTo>
                <a:lnTo>
                  <a:pt x="4486110" y="829371"/>
                </a:lnTo>
                <a:lnTo>
                  <a:pt x="4486183" y="829425"/>
                </a:lnTo>
                <a:lnTo>
                  <a:pt x="4483506" y="835274"/>
                </a:lnTo>
                <a:cubicBezTo>
                  <a:pt x="4478742" y="839040"/>
                  <a:pt x="4469774" y="837965"/>
                  <a:pt x="4474259" y="846574"/>
                </a:cubicBezTo>
                <a:cubicBezTo>
                  <a:pt x="4471269" y="849443"/>
                  <a:pt x="4468280" y="849443"/>
                  <a:pt x="4465290" y="848726"/>
                </a:cubicBezTo>
                <a:lnTo>
                  <a:pt x="4459858" y="847422"/>
                </a:lnTo>
                <a:lnTo>
                  <a:pt x="4462301" y="846574"/>
                </a:lnTo>
                <a:lnTo>
                  <a:pt x="4457808" y="837945"/>
                </a:lnTo>
                <a:lnTo>
                  <a:pt x="4457808" y="839704"/>
                </a:lnTo>
                <a:cubicBezTo>
                  <a:pt x="4454819" y="836723"/>
                  <a:pt x="4453324" y="836723"/>
                  <a:pt x="4451830" y="837468"/>
                </a:cubicBezTo>
                <a:cubicBezTo>
                  <a:pt x="4450334" y="838214"/>
                  <a:pt x="4448841" y="839704"/>
                  <a:pt x="4445851" y="839704"/>
                </a:cubicBezTo>
                <a:cubicBezTo>
                  <a:pt x="4445851" y="839704"/>
                  <a:pt x="4445851" y="845669"/>
                  <a:pt x="4445851" y="845669"/>
                </a:cubicBezTo>
                <a:cubicBezTo>
                  <a:pt x="4433895" y="845669"/>
                  <a:pt x="4430907" y="848651"/>
                  <a:pt x="4429412" y="853870"/>
                </a:cubicBezTo>
                <a:lnTo>
                  <a:pt x="4428208" y="857355"/>
                </a:lnTo>
                <a:lnTo>
                  <a:pt x="4442870" y="851595"/>
                </a:lnTo>
                <a:cubicBezTo>
                  <a:pt x="4447355" y="849443"/>
                  <a:pt x="4450343" y="846574"/>
                  <a:pt x="4450343" y="840834"/>
                </a:cubicBezTo>
                <a:cubicBezTo>
                  <a:pt x="4450343" y="840834"/>
                  <a:pt x="4451838" y="843704"/>
                  <a:pt x="4454081" y="845856"/>
                </a:cubicBezTo>
                <a:lnTo>
                  <a:pt x="4456178" y="847084"/>
                </a:lnTo>
                <a:lnTo>
                  <a:pt x="4454081" y="854466"/>
                </a:lnTo>
                <a:cubicBezTo>
                  <a:pt x="4453333" y="856618"/>
                  <a:pt x="4453333" y="858052"/>
                  <a:pt x="4456323" y="858052"/>
                </a:cubicBezTo>
                <a:cubicBezTo>
                  <a:pt x="4450343" y="863792"/>
                  <a:pt x="4426429" y="852313"/>
                  <a:pt x="4432407" y="875271"/>
                </a:cubicBezTo>
                <a:cubicBezTo>
                  <a:pt x="4423439" y="875271"/>
                  <a:pt x="4423439" y="872400"/>
                  <a:pt x="4424934" y="868814"/>
                </a:cubicBezTo>
                <a:lnTo>
                  <a:pt x="4425396" y="865488"/>
                </a:lnTo>
                <a:lnTo>
                  <a:pt x="4421939" y="875490"/>
                </a:lnTo>
                <a:cubicBezTo>
                  <a:pt x="4415961" y="875490"/>
                  <a:pt x="4415961" y="869526"/>
                  <a:pt x="4415961" y="863560"/>
                </a:cubicBezTo>
                <a:cubicBezTo>
                  <a:pt x="4415961" y="887417"/>
                  <a:pt x="4368137" y="905309"/>
                  <a:pt x="4356181" y="893381"/>
                </a:cubicBezTo>
                <a:cubicBezTo>
                  <a:pt x="4362159" y="911273"/>
                  <a:pt x="4350203" y="899346"/>
                  <a:pt x="4332270" y="899346"/>
                </a:cubicBezTo>
                <a:cubicBezTo>
                  <a:pt x="4332270" y="905309"/>
                  <a:pt x="4333764" y="906801"/>
                  <a:pt x="4334512" y="907546"/>
                </a:cubicBezTo>
                <a:lnTo>
                  <a:pt x="4333548" y="909147"/>
                </a:lnTo>
                <a:lnTo>
                  <a:pt x="4338704" y="907476"/>
                </a:lnTo>
                <a:lnTo>
                  <a:pt x="4333506" y="911825"/>
                </a:lnTo>
                <a:lnTo>
                  <a:pt x="4335819" y="912857"/>
                </a:lnTo>
                <a:cubicBezTo>
                  <a:pt x="4336753" y="912578"/>
                  <a:pt x="4337501" y="911646"/>
                  <a:pt x="4338248" y="910528"/>
                </a:cubicBezTo>
                <a:lnTo>
                  <a:pt x="4343539" y="905909"/>
                </a:lnTo>
                <a:lnTo>
                  <a:pt x="4338704" y="907476"/>
                </a:lnTo>
                <a:lnTo>
                  <a:pt x="4341224" y="905368"/>
                </a:lnTo>
                <a:lnTo>
                  <a:pt x="4343993" y="905512"/>
                </a:lnTo>
                <a:lnTo>
                  <a:pt x="4344225" y="905309"/>
                </a:lnTo>
                <a:cubicBezTo>
                  <a:pt x="4350203" y="899346"/>
                  <a:pt x="4344225" y="917237"/>
                  <a:pt x="4356181" y="911273"/>
                </a:cubicBezTo>
                <a:cubicBezTo>
                  <a:pt x="4350203" y="917237"/>
                  <a:pt x="4332270" y="923200"/>
                  <a:pt x="4320313" y="929166"/>
                </a:cubicBezTo>
                <a:lnTo>
                  <a:pt x="4319544" y="928398"/>
                </a:lnTo>
                <a:lnTo>
                  <a:pt x="4318846" y="928545"/>
                </a:lnTo>
                <a:lnTo>
                  <a:pt x="4317279" y="926138"/>
                </a:lnTo>
                <a:lnTo>
                  <a:pt x="4312526" y="921397"/>
                </a:lnTo>
                <a:lnTo>
                  <a:pt x="4310440" y="921835"/>
                </a:lnTo>
                <a:cubicBezTo>
                  <a:pt x="4304462" y="927800"/>
                  <a:pt x="4316418" y="927800"/>
                  <a:pt x="4310440" y="933764"/>
                </a:cubicBezTo>
                <a:cubicBezTo>
                  <a:pt x="4304462" y="933764"/>
                  <a:pt x="4298483" y="927800"/>
                  <a:pt x="4304462" y="921835"/>
                </a:cubicBezTo>
                <a:lnTo>
                  <a:pt x="4301966" y="922830"/>
                </a:lnTo>
                <a:lnTo>
                  <a:pt x="4302379" y="923200"/>
                </a:lnTo>
                <a:cubicBezTo>
                  <a:pt x="4302379" y="924692"/>
                  <a:pt x="4301258" y="926556"/>
                  <a:pt x="4299483" y="928420"/>
                </a:cubicBezTo>
                <a:lnTo>
                  <a:pt x="4298891" y="928872"/>
                </a:lnTo>
                <a:lnTo>
                  <a:pt x="4300539" y="933204"/>
                </a:lnTo>
                <a:cubicBezTo>
                  <a:pt x="4296615" y="939354"/>
                  <a:pt x="4277560" y="947182"/>
                  <a:pt x="4268593" y="951655"/>
                </a:cubicBezTo>
                <a:cubicBezTo>
                  <a:pt x="4268593" y="948673"/>
                  <a:pt x="4270088" y="947182"/>
                  <a:pt x="4271582" y="945691"/>
                </a:cubicBezTo>
                <a:lnTo>
                  <a:pt x="4273147" y="942568"/>
                </a:lnTo>
                <a:lnTo>
                  <a:pt x="4268005" y="947057"/>
                </a:lnTo>
                <a:cubicBezTo>
                  <a:pt x="4262027" y="951530"/>
                  <a:pt x="4254555" y="956003"/>
                  <a:pt x="4248578" y="958986"/>
                </a:cubicBezTo>
                <a:lnTo>
                  <a:pt x="4220341" y="968376"/>
                </a:lnTo>
                <a:lnTo>
                  <a:pt x="4220768" y="969547"/>
                </a:lnTo>
                <a:cubicBezTo>
                  <a:pt x="4190880" y="981476"/>
                  <a:pt x="4160989" y="993404"/>
                  <a:pt x="4137077" y="1005331"/>
                </a:cubicBezTo>
                <a:lnTo>
                  <a:pt x="4136111" y="998580"/>
                </a:lnTo>
                <a:lnTo>
                  <a:pt x="4131099" y="1002508"/>
                </a:lnTo>
                <a:lnTo>
                  <a:pt x="4131099" y="1005331"/>
                </a:lnTo>
                <a:lnTo>
                  <a:pt x="4125121" y="1007195"/>
                </a:lnTo>
                <a:lnTo>
                  <a:pt x="4118742" y="1012196"/>
                </a:lnTo>
                <a:cubicBezTo>
                  <a:pt x="4096885" y="1025335"/>
                  <a:pt x="4076710" y="1027572"/>
                  <a:pt x="4063259" y="1036516"/>
                </a:cubicBezTo>
                <a:cubicBezTo>
                  <a:pt x="4134994" y="1018626"/>
                  <a:pt x="4212710" y="1000733"/>
                  <a:pt x="4296401" y="964949"/>
                </a:cubicBezTo>
                <a:cubicBezTo>
                  <a:pt x="4302379" y="976877"/>
                  <a:pt x="4314335" y="964949"/>
                  <a:pt x="4314335" y="970913"/>
                </a:cubicBezTo>
                <a:lnTo>
                  <a:pt x="4374116" y="948271"/>
                </a:lnTo>
                <a:lnTo>
                  <a:pt x="4374116" y="970913"/>
                </a:lnTo>
                <a:cubicBezTo>
                  <a:pt x="4356181" y="976877"/>
                  <a:pt x="4344225" y="988806"/>
                  <a:pt x="4320313" y="994769"/>
                </a:cubicBezTo>
                <a:cubicBezTo>
                  <a:pt x="4326291" y="1000733"/>
                  <a:pt x="4326291" y="994769"/>
                  <a:pt x="4332270" y="994769"/>
                </a:cubicBezTo>
                <a:cubicBezTo>
                  <a:pt x="4332270" y="994769"/>
                  <a:pt x="4332270" y="1000733"/>
                  <a:pt x="4332270" y="1000733"/>
                </a:cubicBezTo>
                <a:cubicBezTo>
                  <a:pt x="4344225" y="1000733"/>
                  <a:pt x="4356181" y="1000733"/>
                  <a:pt x="4350203" y="1006697"/>
                </a:cubicBezTo>
                <a:cubicBezTo>
                  <a:pt x="4356181" y="1006697"/>
                  <a:pt x="4356181" y="1006697"/>
                  <a:pt x="4362159" y="1000733"/>
                </a:cubicBezTo>
                <a:cubicBezTo>
                  <a:pt x="4365148" y="1000733"/>
                  <a:pt x="4363654" y="1003716"/>
                  <a:pt x="4361412" y="1006697"/>
                </a:cubicBezTo>
                <a:lnTo>
                  <a:pt x="4361389" y="1006724"/>
                </a:lnTo>
                <a:lnTo>
                  <a:pt x="4357302" y="1008375"/>
                </a:lnTo>
                <a:cubicBezTo>
                  <a:pt x="4355434" y="1009679"/>
                  <a:pt x="4354687" y="1011171"/>
                  <a:pt x="4356181" y="1012662"/>
                </a:cubicBezTo>
                <a:lnTo>
                  <a:pt x="4361389" y="1006724"/>
                </a:lnTo>
                <a:lnTo>
                  <a:pt x="4365149" y="1005206"/>
                </a:lnTo>
                <a:cubicBezTo>
                  <a:pt x="4371127" y="1003715"/>
                  <a:pt x="4377105" y="1003715"/>
                  <a:pt x="4374116" y="1006697"/>
                </a:cubicBezTo>
                <a:cubicBezTo>
                  <a:pt x="4374116" y="1006697"/>
                  <a:pt x="4374116" y="1000733"/>
                  <a:pt x="4374116" y="1000733"/>
                </a:cubicBezTo>
                <a:cubicBezTo>
                  <a:pt x="4380094" y="994769"/>
                  <a:pt x="4392048" y="988806"/>
                  <a:pt x="4404005" y="1000733"/>
                </a:cubicBezTo>
                <a:cubicBezTo>
                  <a:pt x="4409983" y="994769"/>
                  <a:pt x="4404005" y="988806"/>
                  <a:pt x="4404005" y="988806"/>
                </a:cubicBezTo>
                <a:cubicBezTo>
                  <a:pt x="4409983" y="988806"/>
                  <a:pt x="4409983" y="988806"/>
                  <a:pt x="4409983" y="994769"/>
                </a:cubicBezTo>
                <a:cubicBezTo>
                  <a:pt x="4415961" y="988806"/>
                  <a:pt x="4409983" y="982842"/>
                  <a:pt x="4415961" y="976877"/>
                </a:cubicBezTo>
                <a:cubicBezTo>
                  <a:pt x="4415961" y="988806"/>
                  <a:pt x="4421939" y="988806"/>
                  <a:pt x="4433895" y="988806"/>
                </a:cubicBezTo>
                <a:cubicBezTo>
                  <a:pt x="4445851" y="976877"/>
                  <a:pt x="4445851" y="970913"/>
                  <a:pt x="4457808" y="958986"/>
                </a:cubicBezTo>
                <a:cubicBezTo>
                  <a:pt x="4457808" y="964949"/>
                  <a:pt x="4451830" y="970913"/>
                  <a:pt x="4451830" y="976877"/>
                </a:cubicBezTo>
                <a:cubicBezTo>
                  <a:pt x="4457808" y="958986"/>
                  <a:pt x="4499654" y="964949"/>
                  <a:pt x="4499654" y="953021"/>
                </a:cubicBezTo>
                <a:cubicBezTo>
                  <a:pt x="4505632" y="947057"/>
                  <a:pt x="4505632" y="953021"/>
                  <a:pt x="4505632" y="953021"/>
                </a:cubicBezTo>
                <a:cubicBezTo>
                  <a:pt x="4517586" y="953021"/>
                  <a:pt x="4517586" y="941093"/>
                  <a:pt x="4529543" y="941093"/>
                </a:cubicBezTo>
                <a:cubicBezTo>
                  <a:pt x="4529543" y="947057"/>
                  <a:pt x="4517586" y="953021"/>
                  <a:pt x="4505632" y="958986"/>
                </a:cubicBezTo>
                <a:cubicBezTo>
                  <a:pt x="4511610" y="970913"/>
                  <a:pt x="4535521" y="941093"/>
                  <a:pt x="4529543" y="958986"/>
                </a:cubicBezTo>
                <a:cubicBezTo>
                  <a:pt x="4535521" y="956003"/>
                  <a:pt x="4535521" y="951531"/>
                  <a:pt x="4535521" y="947803"/>
                </a:cubicBezTo>
                <a:lnTo>
                  <a:pt x="4536050" y="947208"/>
                </a:lnTo>
                <a:lnTo>
                  <a:pt x="4535521" y="953021"/>
                </a:lnTo>
                <a:cubicBezTo>
                  <a:pt x="4547477" y="947057"/>
                  <a:pt x="4541499" y="935130"/>
                  <a:pt x="4541499" y="929166"/>
                </a:cubicBezTo>
                <a:cubicBezTo>
                  <a:pt x="4553454" y="935130"/>
                  <a:pt x="4541499" y="947057"/>
                  <a:pt x="4547477" y="953021"/>
                </a:cubicBezTo>
                <a:cubicBezTo>
                  <a:pt x="4553454" y="953021"/>
                  <a:pt x="4547477" y="935130"/>
                  <a:pt x="4553454" y="935130"/>
                </a:cubicBezTo>
                <a:cubicBezTo>
                  <a:pt x="4559433" y="941093"/>
                  <a:pt x="4553454" y="941093"/>
                  <a:pt x="4553454" y="947057"/>
                </a:cubicBezTo>
                <a:cubicBezTo>
                  <a:pt x="4559433" y="947057"/>
                  <a:pt x="4571390" y="935130"/>
                  <a:pt x="4583345" y="941093"/>
                </a:cubicBezTo>
                <a:cubicBezTo>
                  <a:pt x="4589323" y="929166"/>
                  <a:pt x="4595301" y="935130"/>
                  <a:pt x="4613236" y="923200"/>
                </a:cubicBezTo>
                <a:cubicBezTo>
                  <a:pt x="4607257" y="929166"/>
                  <a:pt x="4601279" y="935130"/>
                  <a:pt x="4607257" y="941093"/>
                </a:cubicBezTo>
                <a:cubicBezTo>
                  <a:pt x="4601279" y="941093"/>
                  <a:pt x="4595301" y="935130"/>
                  <a:pt x="4595301" y="941093"/>
                </a:cubicBezTo>
                <a:cubicBezTo>
                  <a:pt x="4595301" y="947057"/>
                  <a:pt x="4601279" y="947057"/>
                  <a:pt x="4607257" y="947057"/>
                </a:cubicBezTo>
                <a:cubicBezTo>
                  <a:pt x="4613236" y="941093"/>
                  <a:pt x="4613236" y="935130"/>
                  <a:pt x="4613236" y="929166"/>
                </a:cubicBezTo>
                <a:cubicBezTo>
                  <a:pt x="4613236" y="935130"/>
                  <a:pt x="4619214" y="929166"/>
                  <a:pt x="4619214" y="941093"/>
                </a:cubicBezTo>
                <a:cubicBezTo>
                  <a:pt x="4625192" y="941093"/>
                  <a:pt x="4625192" y="923200"/>
                  <a:pt x="4631170" y="941093"/>
                </a:cubicBezTo>
                <a:cubicBezTo>
                  <a:pt x="4637148" y="935130"/>
                  <a:pt x="4649103" y="941093"/>
                  <a:pt x="4655081" y="929166"/>
                </a:cubicBezTo>
                <a:cubicBezTo>
                  <a:pt x="4661059" y="929166"/>
                  <a:pt x="4667037" y="929166"/>
                  <a:pt x="4661059" y="935130"/>
                </a:cubicBezTo>
                <a:cubicBezTo>
                  <a:pt x="4667037" y="929166"/>
                  <a:pt x="4673014" y="923200"/>
                  <a:pt x="4673014" y="923200"/>
                </a:cubicBezTo>
                <a:cubicBezTo>
                  <a:pt x="4678993" y="935130"/>
                  <a:pt x="4678993" y="923200"/>
                  <a:pt x="4690949" y="917237"/>
                </a:cubicBezTo>
                <a:cubicBezTo>
                  <a:pt x="4690949" y="923200"/>
                  <a:pt x="4690949" y="929166"/>
                  <a:pt x="4690949" y="929166"/>
                </a:cubicBezTo>
                <a:cubicBezTo>
                  <a:pt x="4661059" y="941093"/>
                  <a:pt x="4631170" y="958986"/>
                  <a:pt x="4589323" y="964949"/>
                </a:cubicBezTo>
                <a:cubicBezTo>
                  <a:pt x="4583345" y="970913"/>
                  <a:pt x="4583345" y="976877"/>
                  <a:pt x="4583345" y="976877"/>
                </a:cubicBezTo>
                <a:cubicBezTo>
                  <a:pt x="4571390" y="982842"/>
                  <a:pt x="4577368" y="976877"/>
                  <a:pt x="4577368" y="970913"/>
                </a:cubicBezTo>
                <a:cubicBezTo>
                  <a:pt x="4577368" y="975386"/>
                  <a:pt x="4563917" y="986569"/>
                  <a:pt x="4554669" y="986848"/>
                </a:cubicBezTo>
                <a:lnTo>
                  <a:pt x="4551239" y="984938"/>
                </a:lnTo>
                <a:lnTo>
                  <a:pt x="4550466" y="983588"/>
                </a:lnTo>
                <a:cubicBezTo>
                  <a:pt x="4548971" y="982842"/>
                  <a:pt x="4547477" y="982842"/>
                  <a:pt x="4547477" y="982842"/>
                </a:cubicBezTo>
                <a:lnTo>
                  <a:pt x="4551239" y="984938"/>
                </a:lnTo>
                <a:lnTo>
                  <a:pt x="4553454" y="988806"/>
                </a:lnTo>
                <a:cubicBezTo>
                  <a:pt x="4535521" y="988806"/>
                  <a:pt x="4529543" y="1012662"/>
                  <a:pt x="4517586" y="994769"/>
                </a:cubicBezTo>
                <a:cubicBezTo>
                  <a:pt x="4499654" y="1018626"/>
                  <a:pt x="4487697" y="1006697"/>
                  <a:pt x="4475741" y="1018626"/>
                </a:cubicBezTo>
                <a:cubicBezTo>
                  <a:pt x="4475741" y="1030553"/>
                  <a:pt x="4493676" y="1012662"/>
                  <a:pt x="4487697" y="1030553"/>
                </a:cubicBezTo>
                <a:cubicBezTo>
                  <a:pt x="4481719" y="1024589"/>
                  <a:pt x="4469763" y="1036516"/>
                  <a:pt x="4463785" y="1036516"/>
                </a:cubicBezTo>
                <a:cubicBezTo>
                  <a:pt x="4457808" y="1030553"/>
                  <a:pt x="4469763" y="1030553"/>
                  <a:pt x="4463785" y="1024589"/>
                </a:cubicBezTo>
                <a:cubicBezTo>
                  <a:pt x="4463785" y="1024589"/>
                  <a:pt x="4457808" y="1024589"/>
                  <a:pt x="4457808" y="1024589"/>
                </a:cubicBezTo>
                <a:cubicBezTo>
                  <a:pt x="4451830" y="1030553"/>
                  <a:pt x="4457808" y="1030553"/>
                  <a:pt x="4457808" y="1036516"/>
                </a:cubicBezTo>
                <a:cubicBezTo>
                  <a:pt x="4454819" y="1039500"/>
                  <a:pt x="4450334" y="1042482"/>
                  <a:pt x="4445851" y="1043227"/>
                </a:cubicBezTo>
                <a:lnTo>
                  <a:pt x="4435131" y="1037211"/>
                </a:lnTo>
                <a:lnTo>
                  <a:pt x="4447689" y="1036689"/>
                </a:lnTo>
                <a:lnTo>
                  <a:pt x="4450708" y="1038195"/>
                </a:lnTo>
                <a:cubicBezTo>
                  <a:pt x="4451456" y="1038381"/>
                  <a:pt x="4451830" y="1038008"/>
                  <a:pt x="4451830" y="1036516"/>
                </a:cubicBezTo>
                <a:lnTo>
                  <a:pt x="4447689" y="1036689"/>
                </a:lnTo>
                <a:lnTo>
                  <a:pt x="4447346" y="1036517"/>
                </a:lnTo>
                <a:cubicBezTo>
                  <a:pt x="4444357" y="1035027"/>
                  <a:pt x="4439872" y="1033535"/>
                  <a:pt x="4433895" y="1036516"/>
                </a:cubicBezTo>
                <a:lnTo>
                  <a:pt x="4435131" y="1037211"/>
                </a:lnTo>
                <a:lnTo>
                  <a:pt x="4433895" y="1037263"/>
                </a:lnTo>
                <a:cubicBezTo>
                  <a:pt x="4427917" y="1039500"/>
                  <a:pt x="4421939" y="1042482"/>
                  <a:pt x="4415961" y="1042482"/>
                </a:cubicBezTo>
                <a:cubicBezTo>
                  <a:pt x="4421939" y="1048446"/>
                  <a:pt x="4427917" y="1048446"/>
                  <a:pt x="4427917" y="1042482"/>
                </a:cubicBezTo>
                <a:cubicBezTo>
                  <a:pt x="4427917" y="1036516"/>
                  <a:pt x="4427917" y="1048446"/>
                  <a:pt x="4433895" y="1042482"/>
                </a:cubicBezTo>
                <a:cubicBezTo>
                  <a:pt x="4427917" y="1054409"/>
                  <a:pt x="4409983" y="1042482"/>
                  <a:pt x="4409983" y="1066337"/>
                </a:cubicBezTo>
                <a:cubicBezTo>
                  <a:pt x="4409983" y="1060373"/>
                  <a:pt x="4409983" y="1054409"/>
                  <a:pt x="4409983" y="1048446"/>
                </a:cubicBezTo>
                <a:cubicBezTo>
                  <a:pt x="4409983" y="1042482"/>
                  <a:pt x="4404005" y="1048446"/>
                  <a:pt x="4398026" y="1048446"/>
                </a:cubicBezTo>
                <a:cubicBezTo>
                  <a:pt x="4398026" y="1054409"/>
                  <a:pt x="4404005" y="1054409"/>
                  <a:pt x="4404005" y="1048446"/>
                </a:cubicBezTo>
                <a:cubicBezTo>
                  <a:pt x="4409983" y="1048446"/>
                  <a:pt x="4398026" y="1060373"/>
                  <a:pt x="4404005" y="1066337"/>
                </a:cubicBezTo>
                <a:cubicBezTo>
                  <a:pt x="4398026" y="1060373"/>
                  <a:pt x="4386070" y="1060373"/>
                  <a:pt x="4392048" y="1048446"/>
                </a:cubicBezTo>
                <a:cubicBezTo>
                  <a:pt x="4386070" y="1054409"/>
                  <a:pt x="4386070" y="1054409"/>
                  <a:pt x="4380094" y="1060373"/>
                </a:cubicBezTo>
                <a:cubicBezTo>
                  <a:pt x="4380094" y="1066337"/>
                  <a:pt x="4386070" y="1054409"/>
                  <a:pt x="4392048" y="1060373"/>
                </a:cubicBezTo>
                <a:cubicBezTo>
                  <a:pt x="4392048" y="1066337"/>
                  <a:pt x="4386070" y="1066337"/>
                  <a:pt x="4386070" y="1072302"/>
                </a:cubicBezTo>
                <a:cubicBezTo>
                  <a:pt x="4380094" y="1072302"/>
                  <a:pt x="4374116" y="1072302"/>
                  <a:pt x="4374116" y="1066337"/>
                </a:cubicBezTo>
                <a:cubicBezTo>
                  <a:pt x="4374116" y="1072302"/>
                  <a:pt x="4368137" y="1072302"/>
                  <a:pt x="4374116" y="1078266"/>
                </a:cubicBezTo>
                <a:cubicBezTo>
                  <a:pt x="4368137" y="1078266"/>
                  <a:pt x="4362159" y="1072302"/>
                  <a:pt x="4356181" y="1066337"/>
                </a:cubicBezTo>
                <a:cubicBezTo>
                  <a:pt x="4350203" y="1072302"/>
                  <a:pt x="4362159" y="1072302"/>
                  <a:pt x="4362159" y="1078266"/>
                </a:cubicBezTo>
                <a:cubicBezTo>
                  <a:pt x="4308357" y="1102122"/>
                  <a:pt x="4290423" y="1102122"/>
                  <a:pt x="4242599" y="1131942"/>
                </a:cubicBezTo>
                <a:cubicBezTo>
                  <a:pt x="4236621" y="1114049"/>
                  <a:pt x="4236621" y="1137906"/>
                  <a:pt x="4218688" y="1125978"/>
                </a:cubicBezTo>
                <a:cubicBezTo>
                  <a:pt x="4212710" y="1131942"/>
                  <a:pt x="4224665" y="1137906"/>
                  <a:pt x="4218688" y="1143869"/>
                </a:cubicBezTo>
                <a:cubicBezTo>
                  <a:pt x="4212710" y="1137906"/>
                  <a:pt x="4212710" y="1137906"/>
                  <a:pt x="4206731" y="1155798"/>
                </a:cubicBezTo>
                <a:cubicBezTo>
                  <a:pt x="4206731" y="1149833"/>
                  <a:pt x="4206731" y="1149833"/>
                  <a:pt x="4200753" y="1137906"/>
                </a:cubicBezTo>
                <a:cubicBezTo>
                  <a:pt x="4194775" y="1143869"/>
                  <a:pt x="4194775" y="1143869"/>
                  <a:pt x="4188796" y="1143869"/>
                </a:cubicBezTo>
                <a:lnTo>
                  <a:pt x="4194212" y="1154678"/>
                </a:lnTo>
                <a:lnTo>
                  <a:pt x="4191787" y="1155051"/>
                </a:lnTo>
                <a:cubicBezTo>
                  <a:pt x="4187304" y="1154307"/>
                  <a:pt x="4182819" y="1152815"/>
                  <a:pt x="4188796" y="1161762"/>
                </a:cubicBezTo>
                <a:cubicBezTo>
                  <a:pt x="4182819" y="1167725"/>
                  <a:pt x="4176841" y="1149833"/>
                  <a:pt x="4182819" y="1149833"/>
                </a:cubicBezTo>
                <a:cubicBezTo>
                  <a:pt x="4182819" y="1149833"/>
                  <a:pt x="4182819" y="1149833"/>
                  <a:pt x="4176841" y="1149833"/>
                </a:cubicBezTo>
                <a:cubicBezTo>
                  <a:pt x="4176841" y="1161762"/>
                  <a:pt x="4182819" y="1161762"/>
                  <a:pt x="4182819" y="1173689"/>
                </a:cubicBezTo>
                <a:cubicBezTo>
                  <a:pt x="4188796" y="1161762"/>
                  <a:pt x="4200753" y="1161762"/>
                  <a:pt x="4206731" y="1155798"/>
                </a:cubicBezTo>
                <a:cubicBezTo>
                  <a:pt x="4212710" y="1155798"/>
                  <a:pt x="4206731" y="1167725"/>
                  <a:pt x="4212710" y="1173689"/>
                </a:cubicBezTo>
                <a:cubicBezTo>
                  <a:pt x="4224665" y="1167725"/>
                  <a:pt x="4206731" y="1167725"/>
                  <a:pt x="4212710" y="1155798"/>
                </a:cubicBezTo>
                <a:cubicBezTo>
                  <a:pt x="4218688" y="1155798"/>
                  <a:pt x="4224665" y="1161762"/>
                  <a:pt x="4218688" y="1167725"/>
                </a:cubicBezTo>
                <a:cubicBezTo>
                  <a:pt x="4236621" y="1173689"/>
                  <a:pt x="4254556" y="1161762"/>
                  <a:pt x="4266510" y="1161762"/>
                </a:cubicBezTo>
                <a:lnTo>
                  <a:pt x="4260532" y="1167725"/>
                </a:lnTo>
                <a:lnTo>
                  <a:pt x="4254556" y="1173689"/>
                </a:lnTo>
                <a:cubicBezTo>
                  <a:pt x="4257544" y="1176672"/>
                  <a:pt x="4260532" y="1176672"/>
                  <a:pt x="4262027" y="1175180"/>
                </a:cubicBezTo>
                <a:lnTo>
                  <a:pt x="4260532" y="1167725"/>
                </a:lnTo>
                <a:lnTo>
                  <a:pt x="4272488" y="1173689"/>
                </a:lnTo>
                <a:cubicBezTo>
                  <a:pt x="4266510" y="1167725"/>
                  <a:pt x="4272488" y="1161762"/>
                  <a:pt x="4272488" y="1161762"/>
                </a:cubicBezTo>
                <a:cubicBezTo>
                  <a:pt x="4278466" y="1155798"/>
                  <a:pt x="4284445" y="1155798"/>
                  <a:pt x="4302379" y="1149833"/>
                </a:cubicBezTo>
                <a:cubicBezTo>
                  <a:pt x="4302379" y="1161762"/>
                  <a:pt x="4290423" y="1149833"/>
                  <a:pt x="4290423" y="1161762"/>
                </a:cubicBezTo>
                <a:cubicBezTo>
                  <a:pt x="4296401" y="1167725"/>
                  <a:pt x="4296401" y="1155798"/>
                  <a:pt x="4308357" y="1161762"/>
                </a:cubicBezTo>
                <a:cubicBezTo>
                  <a:pt x="4314335" y="1155798"/>
                  <a:pt x="4302379" y="1155798"/>
                  <a:pt x="4302379" y="1149833"/>
                </a:cubicBezTo>
                <a:cubicBezTo>
                  <a:pt x="4320313" y="1149833"/>
                  <a:pt x="4338248" y="1131942"/>
                  <a:pt x="4350203" y="1143869"/>
                </a:cubicBezTo>
                <a:cubicBezTo>
                  <a:pt x="4356181" y="1143869"/>
                  <a:pt x="4344225" y="1131942"/>
                  <a:pt x="4356181" y="1131942"/>
                </a:cubicBezTo>
                <a:cubicBezTo>
                  <a:pt x="4350203" y="1137906"/>
                  <a:pt x="4356181" y="1137906"/>
                  <a:pt x="4362159" y="1149833"/>
                </a:cubicBezTo>
                <a:lnTo>
                  <a:pt x="4350203" y="1149833"/>
                </a:lnTo>
                <a:cubicBezTo>
                  <a:pt x="4344225" y="1149833"/>
                  <a:pt x="4350203" y="1149833"/>
                  <a:pt x="4350203" y="1155798"/>
                </a:cubicBezTo>
                <a:cubicBezTo>
                  <a:pt x="4332270" y="1155798"/>
                  <a:pt x="4308357" y="1161762"/>
                  <a:pt x="4302379" y="1173689"/>
                </a:cubicBezTo>
                <a:cubicBezTo>
                  <a:pt x="4266510" y="1173689"/>
                  <a:pt x="4236621" y="1209475"/>
                  <a:pt x="4206731" y="1197546"/>
                </a:cubicBezTo>
                <a:cubicBezTo>
                  <a:pt x="4218688" y="1203509"/>
                  <a:pt x="4206731" y="1209475"/>
                  <a:pt x="4194775" y="1209475"/>
                </a:cubicBezTo>
                <a:cubicBezTo>
                  <a:pt x="4194775" y="1209475"/>
                  <a:pt x="4194775" y="1215438"/>
                  <a:pt x="4194775" y="1215438"/>
                </a:cubicBezTo>
                <a:cubicBezTo>
                  <a:pt x="4182819" y="1215438"/>
                  <a:pt x="4170863" y="1221402"/>
                  <a:pt x="4158906" y="1227365"/>
                </a:cubicBezTo>
                <a:cubicBezTo>
                  <a:pt x="4188796" y="1227365"/>
                  <a:pt x="4224665" y="1203509"/>
                  <a:pt x="4260532" y="1197546"/>
                </a:cubicBezTo>
                <a:lnTo>
                  <a:pt x="4265534" y="1217504"/>
                </a:lnTo>
                <a:lnTo>
                  <a:pt x="4260532" y="1215438"/>
                </a:lnTo>
                <a:lnTo>
                  <a:pt x="4259301" y="1216456"/>
                </a:lnTo>
                <a:lnTo>
                  <a:pt x="4254554" y="1213202"/>
                </a:lnTo>
                <a:cubicBezTo>
                  <a:pt x="4250071" y="1215438"/>
                  <a:pt x="4245588" y="1221402"/>
                  <a:pt x="4242599" y="1227365"/>
                </a:cubicBezTo>
                <a:cubicBezTo>
                  <a:pt x="4236621" y="1215438"/>
                  <a:pt x="4212710" y="1227365"/>
                  <a:pt x="4218688" y="1221402"/>
                </a:cubicBezTo>
                <a:cubicBezTo>
                  <a:pt x="4218688" y="1215438"/>
                  <a:pt x="4212710" y="1221402"/>
                  <a:pt x="4212710" y="1221402"/>
                </a:cubicBezTo>
                <a:cubicBezTo>
                  <a:pt x="4218688" y="1227365"/>
                  <a:pt x="4212710" y="1227365"/>
                  <a:pt x="4200753" y="1239294"/>
                </a:cubicBezTo>
                <a:cubicBezTo>
                  <a:pt x="4200753" y="1233329"/>
                  <a:pt x="4206731" y="1233329"/>
                  <a:pt x="4200753" y="1227365"/>
                </a:cubicBezTo>
                <a:cubicBezTo>
                  <a:pt x="4200753" y="1227365"/>
                  <a:pt x="4194775" y="1233329"/>
                  <a:pt x="4194775" y="1239294"/>
                </a:cubicBezTo>
                <a:cubicBezTo>
                  <a:pt x="4194775" y="1239294"/>
                  <a:pt x="4188796" y="1227365"/>
                  <a:pt x="4194775" y="1227365"/>
                </a:cubicBezTo>
                <a:cubicBezTo>
                  <a:pt x="4182819" y="1227365"/>
                  <a:pt x="4176841" y="1233329"/>
                  <a:pt x="4164885" y="1245258"/>
                </a:cubicBezTo>
                <a:cubicBezTo>
                  <a:pt x="4164885" y="1239294"/>
                  <a:pt x="4164885" y="1239294"/>
                  <a:pt x="4164885" y="1233329"/>
                </a:cubicBezTo>
                <a:lnTo>
                  <a:pt x="4158906" y="1239294"/>
                </a:lnTo>
                <a:cubicBezTo>
                  <a:pt x="4164885" y="1251222"/>
                  <a:pt x="4140972" y="1245258"/>
                  <a:pt x="4140972" y="1257186"/>
                </a:cubicBezTo>
                <a:cubicBezTo>
                  <a:pt x="4134994" y="1257186"/>
                  <a:pt x="4134994" y="1251222"/>
                  <a:pt x="4129016" y="1245258"/>
                </a:cubicBezTo>
                <a:cubicBezTo>
                  <a:pt x="4129016" y="1251222"/>
                  <a:pt x="4129016" y="1263151"/>
                  <a:pt x="4129016" y="1263151"/>
                </a:cubicBezTo>
                <a:cubicBezTo>
                  <a:pt x="4117061" y="1275078"/>
                  <a:pt x="4129016" y="1251222"/>
                  <a:pt x="4117061" y="1263151"/>
                </a:cubicBezTo>
                <a:cubicBezTo>
                  <a:pt x="4117061" y="1263151"/>
                  <a:pt x="4123039" y="1263151"/>
                  <a:pt x="4123039" y="1269115"/>
                </a:cubicBezTo>
                <a:cubicBezTo>
                  <a:pt x="4111083" y="1263151"/>
                  <a:pt x="4111083" y="1269115"/>
                  <a:pt x="4105105" y="1275078"/>
                </a:cubicBezTo>
                <a:cubicBezTo>
                  <a:pt x="4111083" y="1281042"/>
                  <a:pt x="4123039" y="1269115"/>
                  <a:pt x="4129016" y="1275078"/>
                </a:cubicBezTo>
                <a:cubicBezTo>
                  <a:pt x="4158906" y="1251222"/>
                  <a:pt x="4170863" y="1263151"/>
                  <a:pt x="4194775" y="1239294"/>
                </a:cubicBezTo>
                <a:cubicBezTo>
                  <a:pt x="4188796" y="1245258"/>
                  <a:pt x="4194775" y="1245258"/>
                  <a:pt x="4200753" y="1245258"/>
                </a:cubicBezTo>
                <a:cubicBezTo>
                  <a:pt x="4200753" y="1239294"/>
                  <a:pt x="4206731" y="1239294"/>
                  <a:pt x="4212710" y="1233329"/>
                </a:cubicBezTo>
                <a:cubicBezTo>
                  <a:pt x="4199258" y="1246749"/>
                  <a:pt x="4229523" y="1236684"/>
                  <a:pt x="4248017" y="1225782"/>
                </a:cubicBezTo>
                <a:lnTo>
                  <a:pt x="4259301" y="1216456"/>
                </a:lnTo>
                <a:lnTo>
                  <a:pt x="4266510" y="1221402"/>
                </a:lnTo>
                <a:lnTo>
                  <a:pt x="4265534" y="1217504"/>
                </a:lnTo>
                <a:lnTo>
                  <a:pt x="4272488" y="1220377"/>
                </a:lnTo>
                <a:cubicBezTo>
                  <a:pt x="4278466" y="1219724"/>
                  <a:pt x="4285939" y="1217302"/>
                  <a:pt x="4293412" y="1214691"/>
                </a:cubicBezTo>
                <a:lnTo>
                  <a:pt x="4305264" y="1210839"/>
                </a:lnTo>
                <a:lnTo>
                  <a:pt x="4269500" y="1226620"/>
                </a:lnTo>
                <a:cubicBezTo>
                  <a:pt x="4256049" y="1230348"/>
                  <a:pt x="4242599" y="1233331"/>
                  <a:pt x="4230643" y="1239294"/>
                </a:cubicBezTo>
                <a:cubicBezTo>
                  <a:pt x="4236621" y="1245258"/>
                  <a:pt x="4242599" y="1239294"/>
                  <a:pt x="4224665" y="1251222"/>
                </a:cubicBezTo>
                <a:cubicBezTo>
                  <a:pt x="4230643" y="1233329"/>
                  <a:pt x="4218688" y="1251222"/>
                  <a:pt x="4212710" y="1245258"/>
                </a:cubicBezTo>
                <a:cubicBezTo>
                  <a:pt x="4212710" y="1251222"/>
                  <a:pt x="4212710" y="1251222"/>
                  <a:pt x="4212710" y="1257186"/>
                </a:cubicBezTo>
                <a:cubicBezTo>
                  <a:pt x="4209721" y="1255694"/>
                  <a:pt x="4207105" y="1255322"/>
                  <a:pt x="4204770" y="1255602"/>
                </a:cubicBezTo>
                <a:lnTo>
                  <a:pt x="4200691" y="1257120"/>
                </a:lnTo>
                <a:lnTo>
                  <a:pt x="4196083" y="1252247"/>
                </a:lnTo>
                <a:cubicBezTo>
                  <a:pt x="4191038" y="1250849"/>
                  <a:pt x="4184313" y="1258677"/>
                  <a:pt x="4170863" y="1263151"/>
                </a:cubicBezTo>
                <a:lnTo>
                  <a:pt x="4170863" y="1269115"/>
                </a:lnTo>
                <a:lnTo>
                  <a:pt x="4140188" y="1275606"/>
                </a:lnTo>
                <a:lnTo>
                  <a:pt x="4140972" y="1275078"/>
                </a:lnTo>
                <a:lnTo>
                  <a:pt x="4139296" y="1275794"/>
                </a:lnTo>
                <a:lnTo>
                  <a:pt x="4121545" y="1279550"/>
                </a:lnTo>
                <a:cubicBezTo>
                  <a:pt x="4106599" y="1285516"/>
                  <a:pt x="4093150" y="1292971"/>
                  <a:pt x="4081193" y="1298934"/>
                </a:cubicBezTo>
                <a:cubicBezTo>
                  <a:pt x="4087171" y="1298934"/>
                  <a:pt x="4099127" y="1298934"/>
                  <a:pt x="4099127" y="1292971"/>
                </a:cubicBezTo>
                <a:lnTo>
                  <a:pt x="4139296" y="1275794"/>
                </a:lnTo>
                <a:lnTo>
                  <a:pt x="4140188" y="1275606"/>
                </a:lnTo>
                <a:lnTo>
                  <a:pt x="4106601" y="1298188"/>
                </a:lnTo>
                <a:cubicBezTo>
                  <a:pt x="4090161" y="1303407"/>
                  <a:pt x="4072227" y="1307881"/>
                  <a:pt x="4063259" y="1316825"/>
                </a:cubicBezTo>
                <a:cubicBezTo>
                  <a:pt x="4057281" y="1322791"/>
                  <a:pt x="4045325" y="1322791"/>
                  <a:pt x="4039346" y="1322791"/>
                </a:cubicBezTo>
                <a:cubicBezTo>
                  <a:pt x="4039346" y="1334718"/>
                  <a:pt x="4045325" y="1316825"/>
                  <a:pt x="4045325" y="1328755"/>
                </a:cubicBezTo>
                <a:cubicBezTo>
                  <a:pt x="4033368" y="1328755"/>
                  <a:pt x="4027390" y="1334718"/>
                  <a:pt x="4021412" y="1328755"/>
                </a:cubicBezTo>
                <a:cubicBezTo>
                  <a:pt x="4015434" y="1328755"/>
                  <a:pt x="4015434" y="1334718"/>
                  <a:pt x="4015434" y="1340682"/>
                </a:cubicBezTo>
                <a:cubicBezTo>
                  <a:pt x="4015434" y="1340682"/>
                  <a:pt x="4015434" y="1328755"/>
                  <a:pt x="4009456" y="1334718"/>
                </a:cubicBezTo>
                <a:cubicBezTo>
                  <a:pt x="4003479" y="1334718"/>
                  <a:pt x="4009456" y="1340682"/>
                  <a:pt x="4009456" y="1340682"/>
                </a:cubicBezTo>
                <a:cubicBezTo>
                  <a:pt x="4003479" y="1340682"/>
                  <a:pt x="4003479" y="1340682"/>
                  <a:pt x="3997501" y="1334718"/>
                </a:cubicBezTo>
                <a:cubicBezTo>
                  <a:pt x="3997501" y="1346647"/>
                  <a:pt x="3985545" y="1346647"/>
                  <a:pt x="3973590" y="1346647"/>
                </a:cubicBezTo>
                <a:cubicBezTo>
                  <a:pt x="3973590" y="1346647"/>
                  <a:pt x="3979568" y="1346647"/>
                  <a:pt x="3979568" y="1346647"/>
                </a:cubicBezTo>
                <a:cubicBezTo>
                  <a:pt x="3949676" y="1364538"/>
                  <a:pt x="3889896" y="1388395"/>
                  <a:pt x="3854030" y="1394358"/>
                </a:cubicBezTo>
                <a:cubicBezTo>
                  <a:pt x="3848051" y="1394358"/>
                  <a:pt x="3854030" y="1400322"/>
                  <a:pt x="3854030" y="1400322"/>
                </a:cubicBezTo>
                <a:cubicBezTo>
                  <a:pt x="3812183" y="1424178"/>
                  <a:pt x="3776314" y="1436107"/>
                  <a:pt x="3734470" y="1453998"/>
                </a:cubicBezTo>
                <a:cubicBezTo>
                  <a:pt x="3741940" y="1455489"/>
                  <a:pt x="3750160" y="1454372"/>
                  <a:pt x="3758848" y="1451761"/>
                </a:cubicBezTo>
                <a:lnTo>
                  <a:pt x="3782334" y="1442100"/>
                </a:lnTo>
                <a:lnTo>
                  <a:pt x="3789765" y="1447290"/>
                </a:lnTo>
                <a:cubicBezTo>
                  <a:pt x="3792755" y="1446543"/>
                  <a:pt x="3794248" y="1445053"/>
                  <a:pt x="3788271" y="1448034"/>
                </a:cubicBezTo>
                <a:lnTo>
                  <a:pt x="3788373" y="1448150"/>
                </a:lnTo>
                <a:lnTo>
                  <a:pt x="3796331" y="1446669"/>
                </a:lnTo>
                <a:cubicBezTo>
                  <a:pt x="3796331" y="1443687"/>
                  <a:pt x="3797826" y="1442195"/>
                  <a:pt x="3799320" y="1440705"/>
                </a:cubicBezTo>
                <a:lnTo>
                  <a:pt x="3799385" y="1440576"/>
                </a:lnTo>
                <a:lnTo>
                  <a:pt x="3797239" y="1441326"/>
                </a:lnTo>
                <a:lnTo>
                  <a:pt x="3782420" y="1442063"/>
                </a:lnTo>
                <a:lnTo>
                  <a:pt x="3786028" y="1440579"/>
                </a:lnTo>
                <a:cubicBezTo>
                  <a:pt x="3804710" y="1431633"/>
                  <a:pt x="3824139" y="1421197"/>
                  <a:pt x="3842073" y="1418214"/>
                </a:cubicBezTo>
                <a:lnTo>
                  <a:pt x="3838864" y="1422706"/>
                </a:lnTo>
                <a:lnTo>
                  <a:pt x="3843874" y="1422626"/>
                </a:lnTo>
                <a:lnTo>
                  <a:pt x="3846743" y="1420968"/>
                </a:lnTo>
                <a:lnTo>
                  <a:pt x="3846743" y="1418798"/>
                </a:lnTo>
                <a:lnTo>
                  <a:pt x="3847403" y="1420586"/>
                </a:lnTo>
                <a:lnTo>
                  <a:pt x="3853869" y="1416849"/>
                </a:lnTo>
                <a:lnTo>
                  <a:pt x="3855940" y="1415773"/>
                </a:lnTo>
                <a:lnTo>
                  <a:pt x="3859178" y="1412484"/>
                </a:lnTo>
                <a:cubicBezTo>
                  <a:pt x="3860732" y="1410906"/>
                  <a:pt x="3862288" y="1409328"/>
                  <a:pt x="3865397" y="1406171"/>
                </a:cubicBezTo>
                <a:lnTo>
                  <a:pt x="3863541" y="1411821"/>
                </a:lnTo>
                <a:lnTo>
                  <a:pt x="3864984" y="1411071"/>
                </a:lnTo>
                <a:cubicBezTo>
                  <a:pt x="3869188" y="1409767"/>
                  <a:pt x="3874045" y="1409394"/>
                  <a:pt x="3880023" y="1410885"/>
                </a:cubicBezTo>
                <a:cubicBezTo>
                  <a:pt x="3881518" y="1409394"/>
                  <a:pt x="3881891" y="1407903"/>
                  <a:pt x="3881610" y="1406505"/>
                </a:cubicBezTo>
                <a:lnTo>
                  <a:pt x="3881558" y="1406420"/>
                </a:lnTo>
                <a:lnTo>
                  <a:pt x="3877830" y="1406171"/>
                </a:lnTo>
                <a:lnTo>
                  <a:pt x="3879917" y="1403735"/>
                </a:lnTo>
                <a:lnTo>
                  <a:pt x="3879276" y="1402685"/>
                </a:lnTo>
                <a:cubicBezTo>
                  <a:pt x="3877034" y="1400448"/>
                  <a:pt x="3874044" y="1398957"/>
                  <a:pt x="3874044" y="1398957"/>
                </a:cubicBezTo>
                <a:cubicBezTo>
                  <a:pt x="3880023" y="1392992"/>
                  <a:pt x="3880023" y="1392992"/>
                  <a:pt x="3886001" y="1392992"/>
                </a:cubicBezTo>
                <a:lnTo>
                  <a:pt x="3886001" y="1398957"/>
                </a:lnTo>
                <a:lnTo>
                  <a:pt x="3894196" y="1395687"/>
                </a:lnTo>
                <a:lnTo>
                  <a:pt x="3895049" y="1394692"/>
                </a:lnTo>
                <a:lnTo>
                  <a:pt x="3895515" y="1395160"/>
                </a:lnTo>
                <a:lnTo>
                  <a:pt x="3897210" y="1394484"/>
                </a:lnTo>
                <a:cubicBezTo>
                  <a:pt x="3900946" y="1392993"/>
                  <a:pt x="3903935" y="1390011"/>
                  <a:pt x="3903935" y="1381065"/>
                </a:cubicBezTo>
                <a:cubicBezTo>
                  <a:pt x="3909913" y="1387029"/>
                  <a:pt x="3909913" y="1387029"/>
                  <a:pt x="3915891" y="1387029"/>
                </a:cubicBezTo>
                <a:cubicBezTo>
                  <a:pt x="3957738" y="1357208"/>
                  <a:pt x="4041429" y="1339316"/>
                  <a:pt x="4107186" y="1309496"/>
                </a:cubicBezTo>
                <a:lnTo>
                  <a:pt x="4320382" y="1211678"/>
                </a:lnTo>
                <a:lnTo>
                  <a:pt x="4309064" y="1209603"/>
                </a:lnTo>
                <a:lnTo>
                  <a:pt x="4314335" y="1207890"/>
                </a:lnTo>
                <a:lnTo>
                  <a:pt x="4325434" y="1209361"/>
                </a:lnTo>
                <a:lnTo>
                  <a:pt x="4327286" y="1208511"/>
                </a:lnTo>
                <a:lnTo>
                  <a:pt x="4332737" y="1203230"/>
                </a:lnTo>
                <a:cubicBezTo>
                  <a:pt x="4340863" y="1199036"/>
                  <a:pt x="4353192" y="1199036"/>
                  <a:pt x="4362159" y="1185618"/>
                </a:cubicBezTo>
                <a:lnTo>
                  <a:pt x="4366470" y="1190532"/>
                </a:lnTo>
                <a:lnTo>
                  <a:pt x="4386659" y="1181270"/>
                </a:lnTo>
                <a:lnTo>
                  <a:pt x="4475237" y="1143929"/>
                </a:lnTo>
                <a:lnTo>
                  <a:pt x="4472646" y="1142087"/>
                </a:lnTo>
                <a:cubicBezTo>
                  <a:pt x="4479103" y="1136347"/>
                  <a:pt x="4485560" y="1142087"/>
                  <a:pt x="4485560" y="1136347"/>
                </a:cubicBezTo>
                <a:lnTo>
                  <a:pt x="4488412" y="1138375"/>
                </a:lnTo>
                <a:lnTo>
                  <a:pt x="4524152" y="1123307"/>
                </a:lnTo>
                <a:cubicBezTo>
                  <a:pt x="4569361" y="1104856"/>
                  <a:pt x="4613823" y="1087337"/>
                  <a:pt x="4657163" y="1070936"/>
                </a:cubicBezTo>
                <a:cubicBezTo>
                  <a:pt x="4645207" y="1100756"/>
                  <a:pt x="4603363" y="1106720"/>
                  <a:pt x="4567494" y="1124613"/>
                </a:cubicBezTo>
                <a:cubicBezTo>
                  <a:pt x="4513691" y="1154432"/>
                  <a:pt x="4459890" y="1178289"/>
                  <a:pt x="4394131" y="1202143"/>
                </a:cubicBezTo>
                <a:cubicBezTo>
                  <a:pt x="4394131" y="1202143"/>
                  <a:pt x="4388153" y="1208109"/>
                  <a:pt x="4394131" y="1208109"/>
                </a:cubicBezTo>
                <a:cubicBezTo>
                  <a:pt x="4394131" y="1214072"/>
                  <a:pt x="4382175" y="1214072"/>
                  <a:pt x="4382175" y="1220036"/>
                </a:cubicBezTo>
                <a:cubicBezTo>
                  <a:pt x="4376197" y="1208109"/>
                  <a:pt x="4394131" y="1214072"/>
                  <a:pt x="4388153" y="1208109"/>
                </a:cubicBezTo>
                <a:cubicBezTo>
                  <a:pt x="4382175" y="1208109"/>
                  <a:pt x="4376197" y="1214072"/>
                  <a:pt x="4364241" y="1214072"/>
                </a:cubicBezTo>
                <a:cubicBezTo>
                  <a:pt x="4364241" y="1220036"/>
                  <a:pt x="4376197" y="1214072"/>
                  <a:pt x="4376197" y="1214072"/>
                </a:cubicBezTo>
                <a:cubicBezTo>
                  <a:pt x="4376197" y="1220036"/>
                  <a:pt x="4373209" y="1221527"/>
                  <a:pt x="4369472" y="1221527"/>
                </a:cubicBezTo>
                <a:lnTo>
                  <a:pt x="4362914" y="1220654"/>
                </a:lnTo>
                <a:lnTo>
                  <a:pt x="4364241" y="1220036"/>
                </a:lnTo>
                <a:lnTo>
                  <a:pt x="4362823" y="1220643"/>
                </a:lnTo>
                <a:lnTo>
                  <a:pt x="4358263" y="1220036"/>
                </a:lnTo>
                <a:cubicBezTo>
                  <a:pt x="4358263" y="1223019"/>
                  <a:pt x="4358263" y="1223019"/>
                  <a:pt x="4359011" y="1222273"/>
                </a:cubicBezTo>
                <a:lnTo>
                  <a:pt x="4362823" y="1220643"/>
                </a:lnTo>
                <a:lnTo>
                  <a:pt x="4362914" y="1220654"/>
                </a:lnTo>
                <a:lnTo>
                  <a:pt x="4250659" y="1272967"/>
                </a:lnTo>
                <a:cubicBezTo>
                  <a:pt x="4214792" y="1290114"/>
                  <a:pt x="4178923" y="1306515"/>
                  <a:pt x="4137077" y="1321425"/>
                </a:cubicBezTo>
                <a:cubicBezTo>
                  <a:pt x="4137077" y="1327389"/>
                  <a:pt x="4137077" y="1327389"/>
                  <a:pt x="4143055" y="1333352"/>
                </a:cubicBezTo>
                <a:cubicBezTo>
                  <a:pt x="4131099" y="1333352"/>
                  <a:pt x="4113164" y="1333352"/>
                  <a:pt x="4107186" y="1345281"/>
                </a:cubicBezTo>
                <a:lnTo>
                  <a:pt x="4109060" y="1345982"/>
                </a:lnTo>
                <a:lnTo>
                  <a:pt x="4110926" y="1344608"/>
                </a:lnTo>
                <a:cubicBezTo>
                  <a:pt x="4121364" y="1342354"/>
                  <a:pt x="4133293" y="1340850"/>
                  <a:pt x="4139257" y="1334837"/>
                </a:cubicBezTo>
                <a:lnTo>
                  <a:pt x="4144184" y="1336643"/>
                </a:lnTo>
                <a:lnTo>
                  <a:pt x="4145943" y="1335253"/>
                </a:lnTo>
                <a:lnTo>
                  <a:pt x="4145222" y="1334837"/>
                </a:lnTo>
                <a:lnTo>
                  <a:pt x="4147674" y="1333885"/>
                </a:lnTo>
                <a:lnTo>
                  <a:pt x="4151953" y="1330503"/>
                </a:lnTo>
                <a:cubicBezTo>
                  <a:pt x="4159845" y="1324853"/>
                  <a:pt x="4168454" y="1320010"/>
                  <a:pt x="4174193" y="1320010"/>
                </a:cubicBezTo>
                <a:lnTo>
                  <a:pt x="4168067" y="1325963"/>
                </a:lnTo>
                <a:lnTo>
                  <a:pt x="4184644" y="1319523"/>
                </a:lnTo>
                <a:cubicBezTo>
                  <a:pt x="4226861" y="1306276"/>
                  <a:pt x="4274951" y="1297257"/>
                  <a:pt x="4306265" y="1274709"/>
                </a:cubicBezTo>
                <a:cubicBezTo>
                  <a:pt x="4312229" y="1280722"/>
                  <a:pt x="4318194" y="1280722"/>
                  <a:pt x="4324158" y="1286736"/>
                </a:cubicBezTo>
                <a:cubicBezTo>
                  <a:pt x="4324158" y="1280722"/>
                  <a:pt x="4324158" y="1280722"/>
                  <a:pt x="4324158" y="1280722"/>
                </a:cubicBezTo>
                <a:cubicBezTo>
                  <a:pt x="4324158" y="1274709"/>
                  <a:pt x="4330123" y="1274709"/>
                  <a:pt x="4336087" y="1268697"/>
                </a:cubicBezTo>
                <a:cubicBezTo>
                  <a:pt x="4342052" y="1262684"/>
                  <a:pt x="4336087" y="1274709"/>
                  <a:pt x="4330123" y="1274709"/>
                </a:cubicBezTo>
                <a:cubicBezTo>
                  <a:pt x="4336087" y="1274709"/>
                  <a:pt x="4348016" y="1274709"/>
                  <a:pt x="4353982" y="1268697"/>
                </a:cubicBezTo>
                <a:cubicBezTo>
                  <a:pt x="4359945" y="1280722"/>
                  <a:pt x="4348016" y="1268697"/>
                  <a:pt x="4348016" y="1280722"/>
                </a:cubicBezTo>
                <a:cubicBezTo>
                  <a:pt x="4342052" y="1274709"/>
                  <a:pt x="4330123" y="1280722"/>
                  <a:pt x="4324158" y="1292748"/>
                </a:cubicBezTo>
                <a:cubicBezTo>
                  <a:pt x="4306265" y="1280722"/>
                  <a:pt x="4252584" y="1310786"/>
                  <a:pt x="4222762" y="1316800"/>
                </a:cubicBezTo>
                <a:cubicBezTo>
                  <a:pt x="4222762" y="1316800"/>
                  <a:pt x="4222762" y="1316800"/>
                  <a:pt x="4222762" y="1310786"/>
                </a:cubicBezTo>
                <a:cubicBezTo>
                  <a:pt x="4222762" y="1316800"/>
                  <a:pt x="4210833" y="1316800"/>
                  <a:pt x="4216797" y="1322813"/>
                </a:cubicBezTo>
                <a:cubicBezTo>
                  <a:pt x="4216797" y="1322813"/>
                  <a:pt x="4210833" y="1322813"/>
                  <a:pt x="4210833" y="1328825"/>
                </a:cubicBezTo>
                <a:cubicBezTo>
                  <a:pt x="4210833" y="1328825"/>
                  <a:pt x="4210833" y="1322813"/>
                  <a:pt x="4210833" y="1322813"/>
                </a:cubicBezTo>
                <a:cubicBezTo>
                  <a:pt x="4204867" y="1322813"/>
                  <a:pt x="4210833" y="1340850"/>
                  <a:pt x="4204867" y="1322813"/>
                </a:cubicBezTo>
                <a:cubicBezTo>
                  <a:pt x="4198902" y="1322813"/>
                  <a:pt x="4198902" y="1328825"/>
                  <a:pt x="4198902" y="1328825"/>
                </a:cubicBezTo>
                <a:cubicBezTo>
                  <a:pt x="4192938" y="1328825"/>
                  <a:pt x="4186973" y="1328825"/>
                  <a:pt x="4181009" y="1328825"/>
                </a:cubicBezTo>
                <a:cubicBezTo>
                  <a:pt x="4178026" y="1328825"/>
                  <a:pt x="4178026" y="1331831"/>
                  <a:pt x="4177281" y="1335589"/>
                </a:cubicBezTo>
                <a:lnTo>
                  <a:pt x="4176532" y="1337657"/>
                </a:lnTo>
                <a:lnTo>
                  <a:pt x="4177917" y="1340612"/>
                </a:lnTo>
                <a:lnTo>
                  <a:pt x="4175325" y="1340990"/>
                </a:lnTo>
                <a:lnTo>
                  <a:pt x="4175137" y="1341508"/>
                </a:lnTo>
                <a:cubicBezTo>
                  <a:pt x="4173926" y="1343481"/>
                  <a:pt x="4172062" y="1345360"/>
                  <a:pt x="4169080" y="1346864"/>
                </a:cubicBezTo>
                <a:lnTo>
                  <a:pt x="4170582" y="1343077"/>
                </a:lnTo>
                <a:lnTo>
                  <a:pt x="4166438" y="1347307"/>
                </a:lnTo>
                <a:cubicBezTo>
                  <a:pt x="4165003" y="1345634"/>
                  <a:pt x="4165003" y="1343542"/>
                  <a:pt x="4165810" y="1341553"/>
                </a:cubicBezTo>
                <a:lnTo>
                  <a:pt x="4168924" y="1337765"/>
                </a:lnTo>
                <a:lnTo>
                  <a:pt x="4163115" y="1334837"/>
                </a:lnTo>
                <a:cubicBezTo>
                  <a:pt x="4163115" y="1346864"/>
                  <a:pt x="4169080" y="1346864"/>
                  <a:pt x="4157151" y="1340850"/>
                </a:cubicBezTo>
                <a:cubicBezTo>
                  <a:pt x="4157151" y="1346864"/>
                  <a:pt x="4157151" y="1346864"/>
                  <a:pt x="4157151" y="1346864"/>
                </a:cubicBezTo>
                <a:lnTo>
                  <a:pt x="4156302" y="1347677"/>
                </a:lnTo>
                <a:lnTo>
                  <a:pt x="4160700" y="1347307"/>
                </a:lnTo>
                <a:cubicBezTo>
                  <a:pt x="4160700" y="1353047"/>
                  <a:pt x="4148265" y="1353047"/>
                  <a:pt x="4148265" y="1353047"/>
                </a:cubicBezTo>
                <a:lnTo>
                  <a:pt x="4139050" y="1358022"/>
                </a:lnTo>
                <a:lnTo>
                  <a:pt x="4139257" y="1358889"/>
                </a:lnTo>
                <a:lnTo>
                  <a:pt x="4138625" y="1358252"/>
                </a:lnTo>
                <a:lnTo>
                  <a:pt x="4137966" y="1358607"/>
                </a:lnTo>
                <a:lnTo>
                  <a:pt x="4138352" y="1357977"/>
                </a:lnTo>
                <a:lnTo>
                  <a:pt x="4134039" y="1353628"/>
                </a:lnTo>
                <a:cubicBezTo>
                  <a:pt x="4133293" y="1351373"/>
                  <a:pt x="4133293" y="1349870"/>
                  <a:pt x="4133293" y="1352876"/>
                </a:cubicBezTo>
                <a:cubicBezTo>
                  <a:pt x="4127327" y="1346864"/>
                  <a:pt x="4133293" y="1352876"/>
                  <a:pt x="4139257" y="1346864"/>
                </a:cubicBezTo>
                <a:lnTo>
                  <a:pt x="4139257" y="1347615"/>
                </a:lnTo>
                <a:cubicBezTo>
                  <a:pt x="4138511" y="1348742"/>
                  <a:pt x="4137765" y="1350058"/>
                  <a:pt x="4137579" y="1351843"/>
                </a:cubicBezTo>
                <a:lnTo>
                  <a:pt x="4138847" y="1357168"/>
                </a:lnTo>
                <a:lnTo>
                  <a:pt x="4140492" y="1354482"/>
                </a:lnTo>
                <a:lnTo>
                  <a:pt x="4144770" y="1351661"/>
                </a:lnTo>
                <a:lnTo>
                  <a:pt x="4142985" y="1346864"/>
                </a:lnTo>
                <a:lnTo>
                  <a:pt x="4145147" y="1341051"/>
                </a:lnTo>
                <a:lnTo>
                  <a:pt x="4139257" y="1343585"/>
                </a:lnTo>
                <a:lnTo>
                  <a:pt x="4139257" y="1346864"/>
                </a:lnTo>
                <a:cubicBezTo>
                  <a:pt x="4134784" y="1342353"/>
                  <a:pt x="4126956" y="1354755"/>
                  <a:pt x="4120804" y="1353628"/>
                </a:cubicBezTo>
                <a:lnTo>
                  <a:pt x="4118127" y="1350278"/>
                </a:lnTo>
                <a:lnTo>
                  <a:pt x="4115406" y="1351245"/>
                </a:lnTo>
                <a:lnTo>
                  <a:pt x="4111712" y="1352797"/>
                </a:lnTo>
                <a:lnTo>
                  <a:pt x="4110087" y="1355413"/>
                </a:lnTo>
                <a:cubicBezTo>
                  <a:pt x="4108130" y="1356822"/>
                  <a:pt x="4106080" y="1357010"/>
                  <a:pt x="4104216" y="1356635"/>
                </a:cubicBezTo>
                <a:lnTo>
                  <a:pt x="4103513" y="1356240"/>
                </a:lnTo>
                <a:lnTo>
                  <a:pt x="4101208" y="1357208"/>
                </a:lnTo>
                <a:lnTo>
                  <a:pt x="4101541" y="1355136"/>
                </a:lnTo>
                <a:lnTo>
                  <a:pt x="4100174" y="1354370"/>
                </a:lnTo>
                <a:lnTo>
                  <a:pt x="4101208" y="1357208"/>
                </a:lnTo>
                <a:lnTo>
                  <a:pt x="4093920" y="1360105"/>
                </a:lnTo>
                <a:lnTo>
                  <a:pt x="4091540" y="1364902"/>
                </a:lnTo>
                <a:cubicBezTo>
                  <a:pt x="4085576" y="1364902"/>
                  <a:pt x="4091540" y="1364902"/>
                  <a:pt x="4085576" y="1370914"/>
                </a:cubicBezTo>
                <a:cubicBezTo>
                  <a:pt x="4085576" y="1364902"/>
                  <a:pt x="4091540" y="1364902"/>
                  <a:pt x="4085576" y="1364902"/>
                </a:cubicBezTo>
                <a:lnTo>
                  <a:pt x="4082941" y="1364467"/>
                </a:lnTo>
                <a:lnTo>
                  <a:pt x="4077777" y="1366519"/>
                </a:lnTo>
                <a:lnTo>
                  <a:pt x="4075884" y="1367907"/>
                </a:lnTo>
                <a:cubicBezTo>
                  <a:pt x="4074020" y="1369411"/>
                  <a:pt x="4071970" y="1370914"/>
                  <a:pt x="4069640" y="1371665"/>
                </a:cubicBezTo>
                <a:lnTo>
                  <a:pt x="4065755" y="1371297"/>
                </a:lnTo>
                <a:lnTo>
                  <a:pt x="4062638" y="1372536"/>
                </a:lnTo>
                <a:lnTo>
                  <a:pt x="4064700" y="1376175"/>
                </a:lnTo>
                <a:cubicBezTo>
                  <a:pt x="4066191" y="1376926"/>
                  <a:pt x="4067682" y="1376926"/>
                  <a:pt x="4067682" y="1376926"/>
                </a:cubicBezTo>
                <a:cubicBezTo>
                  <a:pt x="4064700" y="1382940"/>
                  <a:pt x="4063209" y="1381437"/>
                  <a:pt x="4061718" y="1377678"/>
                </a:cubicBezTo>
                <a:lnTo>
                  <a:pt x="4059837" y="1373648"/>
                </a:lnTo>
                <a:lnTo>
                  <a:pt x="4054641" y="1375713"/>
                </a:lnTo>
                <a:lnTo>
                  <a:pt x="4053421" y="1380074"/>
                </a:lnTo>
                <a:cubicBezTo>
                  <a:pt x="4053063" y="1383124"/>
                  <a:pt x="4054856" y="1382227"/>
                  <a:pt x="4057367" y="1383841"/>
                </a:cubicBezTo>
                <a:lnTo>
                  <a:pt x="4058060" y="1384700"/>
                </a:lnTo>
                <a:lnTo>
                  <a:pt x="4063128" y="1381744"/>
                </a:lnTo>
                <a:cubicBezTo>
                  <a:pt x="4064562" y="1384614"/>
                  <a:pt x="4064562" y="1386407"/>
                  <a:pt x="4063845" y="1387574"/>
                </a:cubicBezTo>
                <a:lnTo>
                  <a:pt x="4061478" y="1388935"/>
                </a:lnTo>
                <a:lnTo>
                  <a:pt x="4061492" y="1388953"/>
                </a:lnTo>
                <a:lnTo>
                  <a:pt x="4061283" y="1389046"/>
                </a:lnTo>
                <a:lnTo>
                  <a:pt x="4060257" y="1389636"/>
                </a:lnTo>
                <a:lnTo>
                  <a:pt x="4059498" y="1389845"/>
                </a:lnTo>
                <a:lnTo>
                  <a:pt x="4058085" y="1390477"/>
                </a:lnTo>
                <a:lnTo>
                  <a:pt x="4057888" y="1390288"/>
                </a:lnTo>
                <a:lnTo>
                  <a:pt x="4056670" y="1390622"/>
                </a:lnTo>
                <a:cubicBezTo>
                  <a:pt x="4055953" y="1391072"/>
                  <a:pt x="4055953" y="1391789"/>
                  <a:pt x="4057388" y="1393224"/>
                </a:cubicBezTo>
                <a:cubicBezTo>
                  <a:pt x="4051648" y="1393224"/>
                  <a:pt x="4051648" y="1393224"/>
                  <a:pt x="4045909" y="1387484"/>
                </a:cubicBezTo>
                <a:lnTo>
                  <a:pt x="4054113" y="1386800"/>
                </a:lnTo>
                <a:lnTo>
                  <a:pt x="4050014" y="1383214"/>
                </a:lnTo>
                <a:lnTo>
                  <a:pt x="4049054" y="1377934"/>
                </a:lnTo>
                <a:lnTo>
                  <a:pt x="4045426" y="1379375"/>
                </a:lnTo>
                <a:lnTo>
                  <a:pt x="4044274" y="1383214"/>
                </a:lnTo>
                <a:cubicBezTo>
                  <a:pt x="4044274" y="1386083"/>
                  <a:pt x="4042839" y="1386083"/>
                  <a:pt x="4041405" y="1384648"/>
                </a:cubicBezTo>
                <a:lnTo>
                  <a:pt x="4040136" y="1381477"/>
                </a:lnTo>
                <a:lnTo>
                  <a:pt x="4024582" y="1387658"/>
                </a:lnTo>
                <a:lnTo>
                  <a:pt x="4024904" y="1389670"/>
                </a:lnTo>
                <a:cubicBezTo>
                  <a:pt x="4025262" y="1392181"/>
                  <a:pt x="4025800" y="1394872"/>
                  <a:pt x="4026966" y="1396934"/>
                </a:cubicBezTo>
                <a:lnTo>
                  <a:pt x="4031880" y="1399883"/>
                </a:lnTo>
                <a:lnTo>
                  <a:pt x="4039094" y="1396533"/>
                </a:lnTo>
                <a:lnTo>
                  <a:pt x="4041713" y="1395884"/>
                </a:lnTo>
                <a:lnTo>
                  <a:pt x="4038535" y="1394692"/>
                </a:lnTo>
                <a:cubicBezTo>
                  <a:pt x="4038535" y="1391823"/>
                  <a:pt x="4041405" y="1390387"/>
                  <a:pt x="4044274" y="1390387"/>
                </a:cubicBezTo>
                <a:lnTo>
                  <a:pt x="4049147" y="1394042"/>
                </a:lnTo>
                <a:lnTo>
                  <a:pt x="4053385" y="1392992"/>
                </a:lnTo>
                <a:cubicBezTo>
                  <a:pt x="4053385" y="1398957"/>
                  <a:pt x="4053385" y="1398957"/>
                  <a:pt x="4047408" y="1404921"/>
                </a:cubicBezTo>
                <a:lnTo>
                  <a:pt x="4050970" y="1402734"/>
                </a:lnTo>
                <a:lnTo>
                  <a:pt x="4061557" y="1391754"/>
                </a:lnTo>
                <a:cubicBezTo>
                  <a:pt x="4063171" y="1391754"/>
                  <a:pt x="4063171" y="1392592"/>
                  <a:pt x="4062162" y="1393952"/>
                </a:cubicBezTo>
                <a:lnTo>
                  <a:pt x="4056936" y="1399070"/>
                </a:lnTo>
                <a:lnTo>
                  <a:pt x="4057122" y="1398956"/>
                </a:lnTo>
                <a:cubicBezTo>
                  <a:pt x="4060859" y="1395974"/>
                  <a:pt x="4065342" y="1392992"/>
                  <a:pt x="4071320" y="1392992"/>
                </a:cubicBezTo>
                <a:cubicBezTo>
                  <a:pt x="4077298" y="1392992"/>
                  <a:pt x="4071320" y="1381065"/>
                  <a:pt x="4071320" y="1375101"/>
                </a:cubicBezTo>
                <a:cubicBezTo>
                  <a:pt x="4077298" y="1375101"/>
                  <a:pt x="4077298" y="1381065"/>
                  <a:pt x="4083276" y="1375101"/>
                </a:cubicBezTo>
                <a:cubicBezTo>
                  <a:pt x="4083276" y="1381065"/>
                  <a:pt x="4083276" y="1387029"/>
                  <a:pt x="4089252" y="1392992"/>
                </a:cubicBezTo>
                <a:cubicBezTo>
                  <a:pt x="4095230" y="1387029"/>
                  <a:pt x="4095230" y="1387029"/>
                  <a:pt x="4089252" y="1381065"/>
                </a:cubicBezTo>
                <a:cubicBezTo>
                  <a:pt x="4107186" y="1375101"/>
                  <a:pt x="4113164" y="1381065"/>
                  <a:pt x="4125121" y="1381065"/>
                </a:cubicBezTo>
                <a:cubicBezTo>
                  <a:pt x="4143055" y="1363172"/>
                  <a:pt x="4137077" y="1375101"/>
                  <a:pt x="4160989" y="1357208"/>
                </a:cubicBezTo>
                <a:cubicBezTo>
                  <a:pt x="4160989" y="1363172"/>
                  <a:pt x="4160989" y="1363172"/>
                  <a:pt x="4160989" y="1363172"/>
                </a:cubicBezTo>
                <a:lnTo>
                  <a:pt x="4160989" y="1364627"/>
                </a:lnTo>
                <a:lnTo>
                  <a:pt x="4169966" y="1365244"/>
                </a:lnTo>
                <a:cubicBezTo>
                  <a:pt x="4172956" y="1363090"/>
                  <a:pt x="4174451" y="1358787"/>
                  <a:pt x="4171461" y="1353047"/>
                </a:cubicBezTo>
                <a:cubicBezTo>
                  <a:pt x="4177441" y="1353047"/>
                  <a:pt x="4177441" y="1353047"/>
                  <a:pt x="4183420" y="1353047"/>
                </a:cubicBezTo>
                <a:cubicBezTo>
                  <a:pt x="4180431" y="1358787"/>
                  <a:pt x="4178936" y="1360222"/>
                  <a:pt x="4179683" y="1360222"/>
                </a:cubicBezTo>
                <a:lnTo>
                  <a:pt x="4189292" y="1358802"/>
                </a:lnTo>
                <a:lnTo>
                  <a:pt x="4189365" y="1358857"/>
                </a:lnTo>
                <a:lnTo>
                  <a:pt x="4186689" y="1364705"/>
                </a:lnTo>
                <a:cubicBezTo>
                  <a:pt x="4183512" y="1367216"/>
                  <a:pt x="4178468" y="1367575"/>
                  <a:pt x="4176787" y="1370086"/>
                </a:cubicBezTo>
                <a:lnTo>
                  <a:pt x="4177277" y="1374523"/>
                </a:lnTo>
                <a:lnTo>
                  <a:pt x="4182023" y="1371734"/>
                </a:lnTo>
                <a:cubicBezTo>
                  <a:pt x="4182023" y="1383214"/>
                  <a:pt x="4163369" y="1377474"/>
                  <a:pt x="4175807" y="1388953"/>
                </a:cubicBezTo>
                <a:cubicBezTo>
                  <a:pt x="4157153" y="1394692"/>
                  <a:pt x="4163369" y="1388953"/>
                  <a:pt x="4150934" y="1394692"/>
                </a:cubicBezTo>
                <a:lnTo>
                  <a:pt x="4150934" y="1389409"/>
                </a:lnTo>
                <a:lnTo>
                  <a:pt x="4143063" y="1389636"/>
                </a:lnTo>
                <a:cubicBezTo>
                  <a:pt x="4137084" y="1390353"/>
                  <a:pt x="4132600" y="1393224"/>
                  <a:pt x="4135589" y="1404702"/>
                </a:cubicBezTo>
                <a:cubicBezTo>
                  <a:pt x="4126622" y="1404702"/>
                  <a:pt x="4126622" y="1401831"/>
                  <a:pt x="4128116" y="1398245"/>
                </a:cubicBezTo>
                <a:lnTo>
                  <a:pt x="4128579" y="1394919"/>
                </a:lnTo>
                <a:lnTo>
                  <a:pt x="4125121" y="1404921"/>
                </a:lnTo>
                <a:cubicBezTo>
                  <a:pt x="4119143" y="1404921"/>
                  <a:pt x="4119143" y="1398957"/>
                  <a:pt x="4119143" y="1392992"/>
                </a:cubicBezTo>
                <a:cubicBezTo>
                  <a:pt x="4119143" y="1398956"/>
                  <a:pt x="4116154" y="1404547"/>
                  <a:pt x="4111483" y="1409393"/>
                </a:cubicBezTo>
                <a:lnTo>
                  <a:pt x="4104540" y="1414061"/>
                </a:lnTo>
                <a:lnTo>
                  <a:pt x="4104540" y="1414063"/>
                </a:lnTo>
                <a:lnTo>
                  <a:pt x="4104537" y="1414062"/>
                </a:lnTo>
                <a:lnTo>
                  <a:pt x="4093737" y="1421321"/>
                </a:lnTo>
                <a:lnTo>
                  <a:pt x="4091632" y="1421871"/>
                </a:lnTo>
                <a:lnTo>
                  <a:pt x="4092722" y="1423910"/>
                </a:lnTo>
                <a:cubicBezTo>
                  <a:pt x="4094242" y="1426183"/>
                  <a:pt x="4095761" y="1427696"/>
                  <a:pt x="4098800" y="1430725"/>
                </a:cubicBezTo>
                <a:cubicBezTo>
                  <a:pt x="4098800" y="1430725"/>
                  <a:pt x="4092722" y="1436785"/>
                  <a:pt x="4092722" y="1436785"/>
                </a:cubicBezTo>
                <a:cubicBezTo>
                  <a:pt x="4089684" y="1433755"/>
                  <a:pt x="4085127" y="1435270"/>
                  <a:pt x="4080569" y="1438298"/>
                </a:cubicBezTo>
                <a:lnTo>
                  <a:pt x="4074582" y="1443520"/>
                </a:lnTo>
                <a:lnTo>
                  <a:pt x="4086068" y="1444914"/>
                </a:lnTo>
                <a:cubicBezTo>
                  <a:pt x="4091987" y="1443479"/>
                  <a:pt x="4097905" y="1440608"/>
                  <a:pt x="4097905" y="1437740"/>
                </a:cubicBezTo>
                <a:lnTo>
                  <a:pt x="4105436" y="1439731"/>
                </a:lnTo>
                <a:lnTo>
                  <a:pt x="4087547" y="1450654"/>
                </a:lnTo>
                <a:cubicBezTo>
                  <a:pt x="4072751" y="1454958"/>
                  <a:pt x="4056473" y="1457827"/>
                  <a:pt x="4038715" y="1466437"/>
                </a:cubicBezTo>
                <a:cubicBezTo>
                  <a:pt x="4032797" y="1460698"/>
                  <a:pt x="4050554" y="1460698"/>
                  <a:pt x="4044636" y="1454958"/>
                </a:cubicBezTo>
                <a:cubicBezTo>
                  <a:pt x="4050554" y="1457827"/>
                  <a:pt x="4056473" y="1456393"/>
                  <a:pt x="4061652" y="1453522"/>
                </a:cubicBezTo>
                <a:lnTo>
                  <a:pt x="4067980" y="1448468"/>
                </a:lnTo>
                <a:lnTo>
                  <a:pt x="4065377" y="1445872"/>
                </a:lnTo>
                <a:cubicBezTo>
                  <a:pt x="4063857" y="1447387"/>
                  <a:pt x="4062339" y="1448900"/>
                  <a:pt x="4062339" y="1442843"/>
                </a:cubicBezTo>
                <a:cubicBezTo>
                  <a:pt x="4062339" y="1442843"/>
                  <a:pt x="4062339" y="1448900"/>
                  <a:pt x="4062339" y="1448900"/>
                </a:cubicBezTo>
                <a:cubicBezTo>
                  <a:pt x="4056261" y="1454960"/>
                  <a:pt x="4044106" y="1448900"/>
                  <a:pt x="4038030" y="1454960"/>
                </a:cubicBezTo>
                <a:lnTo>
                  <a:pt x="4035398" y="1453319"/>
                </a:lnTo>
                <a:lnTo>
                  <a:pt x="4030125" y="1455657"/>
                </a:lnTo>
                <a:lnTo>
                  <a:pt x="4030152" y="1455675"/>
                </a:lnTo>
                <a:cubicBezTo>
                  <a:pt x="4030914" y="1459262"/>
                  <a:pt x="4029390" y="1463567"/>
                  <a:pt x="4026340" y="1466437"/>
                </a:cubicBezTo>
                <a:lnTo>
                  <a:pt x="4032027" y="1465768"/>
                </a:lnTo>
                <a:lnTo>
                  <a:pt x="4016430" y="1477915"/>
                </a:lnTo>
                <a:cubicBezTo>
                  <a:pt x="4008046" y="1480784"/>
                  <a:pt x="3998897" y="1480784"/>
                  <a:pt x="3989751" y="1477915"/>
                </a:cubicBezTo>
                <a:cubicBezTo>
                  <a:pt x="3995849" y="1477915"/>
                  <a:pt x="4001947" y="1466437"/>
                  <a:pt x="4008046" y="1472176"/>
                </a:cubicBezTo>
                <a:cubicBezTo>
                  <a:pt x="4004996" y="1469306"/>
                  <a:pt x="4000423" y="1467871"/>
                  <a:pt x="3996612" y="1466437"/>
                </a:cubicBezTo>
                <a:lnTo>
                  <a:pt x="3993596" y="1463915"/>
                </a:lnTo>
                <a:lnTo>
                  <a:pt x="3987906" y="1466052"/>
                </a:lnTo>
                <a:cubicBezTo>
                  <a:pt x="3985385" y="1466424"/>
                  <a:pt x="3983143" y="1466052"/>
                  <a:pt x="3981648" y="1464561"/>
                </a:cubicBezTo>
                <a:lnTo>
                  <a:pt x="3980258" y="1467075"/>
                </a:lnTo>
                <a:lnTo>
                  <a:pt x="3986293" y="1477109"/>
                </a:lnTo>
                <a:cubicBezTo>
                  <a:pt x="3990030" y="1479345"/>
                  <a:pt x="3994512" y="1480836"/>
                  <a:pt x="3997501" y="1483818"/>
                </a:cubicBezTo>
                <a:cubicBezTo>
                  <a:pt x="3970600" y="1488292"/>
                  <a:pt x="3933610" y="1509538"/>
                  <a:pt x="3899144" y="1522398"/>
                </a:cubicBezTo>
                <a:lnTo>
                  <a:pt x="3883238" y="1526779"/>
                </a:lnTo>
                <a:lnTo>
                  <a:pt x="3886766" y="1534277"/>
                </a:lnTo>
                <a:lnTo>
                  <a:pt x="3902123" y="1529435"/>
                </a:lnTo>
                <a:lnTo>
                  <a:pt x="3907830" y="1525567"/>
                </a:lnTo>
                <a:cubicBezTo>
                  <a:pt x="3910819" y="1522585"/>
                  <a:pt x="3915303" y="1521094"/>
                  <a:pt x="3919039" y="1521094"/>
                </a:cubicBezTo>
                <a:lnTo>
                  <a:pt x="3919767" y="1521578"/>
                </a:lnTo>
                <a:lnTo>
                  <a:pt x="3924529" y="1518023"/>
                </a:lnTo>
                <a:lnTo>
                  <a:pt x="3921915" y="1523007"/>
                </a:lnTo>
                <a:lnTo>
                  <a:pt x="3922107" y="1523134"/>
                </a:lnTo>
                <a:lnTo>
                  <a:pt x="3932856" y="1519745"/>
                </a:lnTo>
                <a:lnTo>
                  <a:pt x="3931743" y="1513640"/>
                </a:lnTo>
                <a:lnTo>
                  <a:pt x="3963041" y="1508187"/>
                </a:lnTo>
                <a:lnTo>
                  <a:pt x="3964702" y="1506544"/>
                </a:lnTo>
                <a:lnTo>
                  <a:pt x="3966150" y="1507268"/>
                </a:lnTo>
                <a:lnTo>
                  <a:pt x="3997808" y="1495065"/>
                </a:lnTo>
                <a:lnTo>
                  <a:pt x="3996270" y="1495065"/>
                </a:lnTo>
                <a:cubicBezTo>
                  <a:pt x="3994835" y="1495065"/>
                  <a:pt x="3993401" y="1495065"/>
                  <a:pt x="3990531" y="1495065"/>
                </a:cubicBezTo>
                <a:cubicBezTo>
                  <a:pt x="3990531" y="1480715"/>
                  <a:pt x="3996270" y="1495065"/>
                  <a:pt x="4002011" y="1487890"/>
                </a:cubicBezTo>
                <a:cubicBezTo>
                  <a:pt x="4002011" y="1487890"/>
                  <a:pt x="4002011" y="1487890"/>
                  <a:pt x="4002011" y="1488787"/>
                </a:cubicBezTo>
                <a:lnTo>
                  <a:pt x="4002011" y="1493667"/>
                </a:lnTo>
                <a:lnTo>
                  <a:pt x="4021412" y="1483818"/>
                </a:lnTo>
                <a:lnTo>
                  <a:pt x="4006546" y="1499532"/>
                </a:lnTo>
                <a:lnTo>
                  <a:pt x="4010792" y="1499599"/>
                </a:lnTo>
                <a:cubicBezTo>
                  <a:pt x="4014528" y="1498853"/>
                  <a:pt x="4017517" y="1497363"/>
                  <a:pt x="4017517" y="1500345"/>
                </a:cubicBezTo>
                <a:lnTo>
                  <a:pt x="4028923" y="1496025"/>
                </a:lnTo>
                <a:lnTo>
                  <a:pt x="4027390" y="1495747"/>
                </a:lnTo>
                <a:cubicBezTo>
                  <a:pt x="4024401" y="1495747"/>
                  <a:pt x="4021412" y="1495747"/>
                  <a:pt x="4021412" y="1489783"/>
                </a:cubicBezTo>
                <a:cubicBezTo>
                  <a:pt x="4027390" y="1489783"/>
                  <a:pt x="4033368" y="1489783"/>
                  <a:pt x="4027390" y="1483818"/>
                </a:cubicBezTo>
                <a:cubicBezTo>
                  <a:pt x="4039346" y="1477854"/>
                  <a:pt x="4045325" y="1471890"/>
                  <a:pt x="4063259" y="1465927"/>
                </a:cubicBezTo>
                <a:cubicBezTo>
                  <a:pt x="4069236" y="1471890"/>
                  <a:pt x="4057281" y="1477854"/>
                  <a:pt x="4057281" y="1483818"/>
                </a:cubicBezTo>
                <a:cubicBezTo>
                  <a:pt x="4051303" y="1471890"/>
                  <a:pt x="4039346" y="1495747"/>
                  <a:pt x="4033368" y="1483818"/>
                </a:cubicBezTo>
                <a:cubicBezTo>
                  <a:pt x="4033368" y="1483818"/>
                  <a:pt x="4033368" y="1485309"/>
                  <a:pt x="4033368" y="1487546"/>
                </a:cubicBezTo>
                <a:lnTo>
                  <a:pt x="4033368" y="1494341"/>
                </a:lnTo>
                <a:lnTo>
                  <a:pt x="4077298" y="1477703"/>
                </a:lnTo>
                <a:lnTo>
                  <a:pt x="4077298" y="1485557"/>
                </a:lnTo>
                <a:lnTo>
                  <a:pt x="4080061" y="1482919"/>
                </a:lnTo>
                <a:lnTo>
                  <a:pt x="4079492" y="1482868"/>
                </a:lnTo>
                <a:lnTo>
                  <a:pt x="4080117" y="1479300"/>
                </a:lnTo>
                <a:lnTo>
                  <a:pt x="4078180" y="1477369"/>
                </a:lnTo>
                <a:lnTo>
                  <a:pt x="4080616" y="1476446"/>
                </a:lnTo>
                <a:lnTo>
                  <a:pt x="4080657" y="1476209"/>
                </a:lnTo>
                <a:lnTo>
                  <a:pt x="4084617" y="1474741"/>
                </a:lnTo>
                <a:lnTo>
                  <a:pt x="4081605" y="1471068"/>
                </a:lnTo>
                <a:lnTo>
                  <a:pt x="4087171" y="1459963"/>
                </a:lnTo>
                <a:lnTo>
                  <a:pt x="4116193" y="1452490"/>
                </a:lnTo>
                <a:lnTo>
                  <a:pt x="4116193" y="1451266"/>
                </a:lnTo>
                <a:lnTo>
                  <a:pt x="4116854" y="1452320"/>
                </a:lnTo>
                <a:lnTo>
                  <a:pt x="4127901" y="1449476"/>
                </a:lnTo>
                <a:lnTo>
                  <a:pt x="4128149" y="1445303"/>
                </a:lnTo>
                <a:lnTo>
                  <a:pt x="4130880" y="1448709"/>
                </a:lnTo>
                <a:lnTo>
                  <a:pt x="4133500" y="1448035"/>
                </a:lnTo>
                <a:lnTo>
                  <a:pt x="4136004" y="1447235"/>
                </a:lnTo>
                <a:lnTo>
                  <a:pt x="4136368" y="1445303"/>
                </a:lnTo>
                <a:lnTo>
                  <a:pt x="4134371" y="1434684"/>
                </a:lnTo>
                <a:lnTo>
                  <a:pt x="4127498" y="1437740"/>
                </a:lnTo>
                <a:cubicBezTo>
                  <a:pt x="4127498" y="1432000"/>
                  <a:pt x="4133237" y="1432000"/>
                  <a:pt x="4133237" y="1432000"/>
                </a:cubicBezTo>
                <a:lnTo>
                  <a:pt x="4127499" y="1426260"/>
                </a:lnTo>
                <a:lnTo>
                  <a:pt x="4138976" y="1426260"/>
                </a:lnTo>
                <a:lnTo>
                  <a:pt x="4144716" y="1426260"/>
                </a:lnTo>
                <a:cubicBezTo>
                  <a:pt x="4147585" y="1429130"/>
                  <a:pt x="4144716" y="1430565"/>
                  <a:pt x="4140411" y="1432000"/>
                </a:cubicBezTo>
                <a:lnTo>
                  <a:pt x="4134675" y="1434550"/>
                </a:lnTo>
                <a:lnTo>
                  <a:pt x="4139356" y="1444557"/>
                </a:lnTo>
                <a:lnTo>
                  <a:pt x="4140039" y="1445947"/>
                </a:lnTo>
                <a:lnTo>
                  <a:pt x="4145262" y="1444280"/>
                </a:lnTo>
                <a:lnTo>
                  <a:pt x="4143093" y="1441575"/>
                </a:lnTo>
                <a:cubicBezTo>
                  <a:pt x="4141599" y="1440830"/>
                  <a:pt x="4140104" y="1439339"/>
                  <a:pt x="4140104" y="1433375"/>
                </a:cubicBezTo>
                <a:cubicBezTo>
                  <a:pt x="4143093" y="1436357"/>
                  <a:pt x="4146082" y="1437848"/>
                  <a:pt x="4148324" y="1440084"/>
                </a:cubicBezTo>
                <a:lnTo>
                  <a:pt x="4149296" y="1442992"/>
                </a:lnTo>
                <a:lnTo>
                  <a:pt x="4157524" y="1440365"/>
                </a:lnTo>
                <a:lnTo>
                  <a:pt x="4158038" y="1439339"/>
                </a:lnTo>
                <a:lnTo>
                  <a:pt x="4158693" y="1439992"/>
                </a:lnTo>
                <a:lnTo>
                  <a:pt x="4170459" y="1436236"/>
                </a:lnTo>
                <a:lnTo>
                  <a:pt x="4169994" y="1433375"/>
                </a:lnTo>
                <a:cubicBezTo>
                  <a:pt x="4175972" y="1439339"/>
                  <a:pt x="4175972" y="1427412"/>
                  <a:pt x="4181950" y="1427412"/>
                </a:cubicBezTo>
                <a:cubicBezTo>
                  <a:pt x="4184939" y="1427412"/>
                  <a:pt x="4184939" y="1430393"/>
                  <a:pt x="4183445" y="1434121"/>
                </a:cubicBezTo>
                <a:lnTo>
                  <a:pt x="4179024" y="1440736"/>
                </a:lnTo>
                <a:lnTo>
                  <a:pt x="4179534" y="1440894"/>
                </a:lnTo>
                <a:lnTo>
                  <a:pt x="4178923" y="1441111"/>
                </a:lnTo>
                <a:lnTo>
                  <a:pt x="4178923" y="1440886"/>
                </a:lnTo>
                <a:lnTo>
                  <a:pt x="4178726" y="1441181"/>
                </a:lnTo>
                <a:lnTo>
                  <a:pt x="4178923" y="1441111"/>
                </a:lnTo>
                <a:lnTo>
                  <a:pt x="4178923" y="1442727"/>
                </a:lnTo>
                <a:lnTo>
                  <a:pt x="4184271" y="1442371"/>
                </a:lnTo>
                <a:lnTo>
                  <a:pt x="4179534" y="1440894"/>
                </a:lnTo>
                <a:lnTo>
                  <a:pt x="4188796" y="1437605"/>
                </a:lnTo>
                <a:lnTo>
                  <a:pt x="4188796" y="1436107"/>
                </a:lnTo>
                <a:cubicBezTo>
                  <a:pt x="4188796" y="1434616"/>
                  <a:pt x="4188796" y="1433125"/>
                  <a:pt x="4188796" y="1430143"/>
                </a:cubicBezTo>
                <a:lnTo>
                  <a:pt x="4197497" y="1425441"/>
                </a:lnTo>
                <a:lnTo>
                  <a:pt x="4198110" y="1423321"/>
                </a:lnTo>
                <a:lnTo>
                  <a:pt x="4198372" y="1424969"/>
                </a:lnTo>
                <a:lnTo>
                  <a:pt x="4206731" y="1420451"/>
                </a:lnTo>
                <a:lnTo>
                  <a:pt x="4210870" y="1419892"/>
                </a:lnTo>
                <a:lnTo>
                  <a:pt x="4211500" y="1417581"/>
                </a:lnTo>
                <a:lnTo>
                  <a:pt x="4214013" y="1419467"/>
                </a:lnTo>
                <a:lnTo>
                  <a:pt x="4215699" y="1419239"/>
                </a:lnTo>
                <a:lnTo>
                  <a:pt x="4218544" y="1420806"/>
                </a:lnTo>
                <a:lnTo>
                  <a:pt x="4222978" y="1417581"/>
                </a:lnTo>
                <a:lnTo>
                  <a:pt x="4218621" y="1420849"/>
                </a:lnTo>
                <a:lnTo>
                  <a:pt x="4224665" y="1424178"/>
                </a:lnTo>
                <a:cubicBezTo>
                  <a:pt x="4230643" y="1424178"/>
                  <a:pt x="4218688" y="1412250"/>
                  <a:pt x="4230643" y="1412250"/>
                </a:cubicBezTo>
                <a:lnTo>
                  <a:pt x="4228964" y="1416719"/>
                </a:lnTo>
                <a:lnTo>
                  <a:pt x="4236939" y="1409372"/>
                </a:lnTo>
                <a:lnTo>
                  <a:pt x="4240606" y="1410859"/>
                </a:lnTo>
                <a:lnTo>
                  <a:pt x="4240721" y="1410819"/>
                </a:lnTo>
                <a:lnTo>
                  <a:pt x="4246654" y="1401799"/>
                </a:lnTo>
                <a:cubicBezTo>
                  <a:pt x="4248149" y="1398770"/>
                  <a:pt x="4249644" y="1395740"/>
                  <a:pt x="4252634" y="1392710"/>
                </a:cubicBezTo>
                <a:cubicBezTo>
                  <a:pt x="4252634" y="1392710"/>
                  <a:pt x="4252634" y="1398770"/>
                  <a:pt x="4252634" y="1398770"/>
                </a:cubicBezTo>
                <a:cubicBezTo>
                  <a:pt x="4258612" y="1398770"/>
                  <a:pt x="4258612" y="1392710"/>
                  <a:pt x="4258612" y="1386653"/>
                </a:cubicBezTo>
                <a:cubicBezTo>
                  <a:pt x="4258612" y="1392710"/>
                  <a:pt x="4264590" y="1386653"/>
                  <a:pt x="4264590" y="1380593"/>
                </a:cubicBezTo>
                <a:cubicBezTo>
                  <a:pt x="4264590" y="1380593"/>
                  <a:pt x="4264590" y="1386653"/>
                  <a:pt x="4270570" y="1392710"/>
                </a:cubicBezTo>
                <a:lnTo>
                  <a:pt x="4264590" y="1392710"/>
                </a:lnTo>
                <a:cubicBezTo>
                  <a:pt x="4261600" y="1395740"/>
                  <a:pt x="4261600" y="1398770"/>
                  <a:pt x="4261600" y="1401799"/>
                </a:cubicBezTo>
                <a:lnTo>
                  <a:pt x="4260514" y="1405104"/>
                </a:lnTo>
                <a:lnTo>
                  <a:pt x="4266510" y="1406287"/>
                </a:lnTo>
                <a:cubicBezTo>
                  <a:pt x="4266510" y="1409269"/>
                  <a:pt x="4263521" y="1409269"/>
                  <a:pt x="4260533" y="1409269"/>
                </a:cubicBezTo>
                <a:lnTo>
                  <a:pt x="4258871" y="1410098"/>
                </a:lnTo>
                <a:lnTo>
                  <a:pt x="4258612" y="1410887"/>
                </a:lnTo>
                <a:lnTo>
                  <a:pt x="4258466" y="1410299"/>
                </a:lnTo>
                <a:lnTo>
                  <a:pt x="4254556" y="1412250"/>
                </a:lnTo>
                <a:lnTo>
                  <a:pt x="4256272" y="1413820"/>
                </a:lnTo>
                <a:lnTo>
                  <a:pt x="4260374" y="1412376"/>
                </a:lnTo>
                <a:lnTo>
                  <a:pt x="4266239" y="1410803"/>
                </a:lnTo>
                <a:lnTo>
                  <a:pt x="4268005" y="1408896"/>
                </a:lnTo>
                <a:cubicBezTo>
                  <a:pt x="4269499" y="1407405"/>
                  <a:pt x="4270994" y="1406287"/>
                  <a:pt x="4272488" y="1406287"/>
                </a:cubicBezTo>
                <a:cubicBezTo>
                  <a:pt x="4284445" y="1400322"/>
                  <a:pt x="4284445" y="1400322"/>
                  <a:pt x="4296401" y="1394358"/>
                </a:cubicBezTo>
                <a:cubicBezTo>
                  <a:pt x="4308357" y="1394358"/>
                  <a:pt x="4308357" y="1388395"/>
                  <a:pt x="4320313" y="1382431"/>
                </a:cubicBezTo>
                <a:cubicBezTo>
                  <a:pt x="4320313" y="1388395"/>
                  <a:pt x="4332270" y="1388395"/>
                  <a:pt x="4332270" y="1376467"/>
                </a:cubicBezTo>
                <a:cubicBezTo>
                  <a:pt x="4469763" y="1334718"/>
                  <a:pt x="4613236" y="1263151"/>
                  <a:pt x="4762686" y="1215438"/>
                </a:cubicBezTo>
                <a:cubicBezTo>
                  <a:pt x="4714861" y="1245258"/>
                  <a:pt x="4667037" y="1251222"/>
                  <a:pt x="4607257" y="1281042"/>
                </a:cubicBezTo>
                <a:lnTo>
                  <a:pt x="4612516" y="1280218"/>
                </a:lnTo>
                <a:lnTo>
                  <a:pt x="4618133" y="1278399"/>
                </a:lnTo>
                <a:cubicBezTo>
                  <a:pt x="4626589" y="1276964"/>
                  <a:pt x="4635812" y="1276964"/>
                  <a:pt x="4641962" y="1274094"/>
                </a:cubicBezTo>
                <a:lnTo>
                  <a:pt x="4640605" y="1275152"/>
                </a:lnTo>
                <a:lnTo>
                  <a:pt x="4666290" y="1265386"/>
                </a:lnTo>
                <a:cubicBezTo>
                  <a:pt x="4684971" y="1257186"/>
                  <a:pt x="4702905" y="1248240"/>
                  <a:pt x="4720839" y="1245258"/>
                </a:cubicBezTo>
                <a:cubicBezTo>
                  <a:pt x="4702905" y="1252713"/>
                  <a:pt x="4682730" y="1260541"/>
                  <a:pt x="4661713" y="1268555"/>
                </a:cubicBezTo>
                <a:lnTo>
                  <a:pt x="4637014" y="1277952"/>
                </a:lnTo>
                <a:lnTo>
                  <a:pt x="4634370" y="1280013"/>
                </a:lnTo>
                <a:lnTo>
                  <a:pt x="4627291" y="1281652"/>
                </a:lnTo>
                <a:lnTo>
                  <a:pt x="4597543" y="1292970"/>
                </a:lnTo>
                <a:lnTo>
                  <a:pt x="4580932" y="1299640"/>
                </a:lnTo>
                <a:lnTo>
                  <a:pt x="4576499" y="1302166"/>
                </a:lnTo>
                <a:cubicBezTo>
                  <a:pt x="4618346" y="1296203"/>
                  <a:pt x="4660190" y="1266382"/>
                  <a:pt x="4696059" y="1266382"/>
                </a:cubicBezTo>
                <a:cubicBezTo>
                  <a:pt x="4699049" y="1260419"/>
                  <a:pt x="4705027" y="1254454"/>
                  <a:pt x="4711752" y="1251473"/>
                </a:cubicBezTo>
                <a:cubicBezTo>
                  <a:pt x="4718476" y="1248490"/>
                  <a:pt x="4725950" y="1248490"/>
                  <a:pt x="4731927" y="1254454"/>
                </a:cubicBezTo>
                <a:cubicBezTo>
                  <a:pt x="4725950" y="1260419"/>
                  <a:pt x="4713993" y="1261909"/>
                  <a:pt x="4703532" y="1264891"/>
                </a:cubicBezTo>
                <a:lnTo>
                  <a:pt x="4688587" y="1279801"/>
                </a:lnTo>
                <a:lnTo>
                  <a:pt x="4687093" y="1275329"/>
                </a:lnTo>
                <a:cubicBezTo>
                  <a:pt x="4687093" y="1276819"/>
                  <a:pt x="4687093" y="1281293"/>
                  <a:pt x="4684103" y="1284273"/>
                </a:cubicBezTo>
                <a:lnTo>
                  <a:pt x="4688587" y="1279801"/>
                </a:lnTo>
                <a:lnTo>
                  <a:pt x="4690081" y="1284273"/>
                </a:lnTo>
                <a:cubicBezTo>
                  <a:pt x="4696059" y="1284273"/>
                  <a:pt x="4702037" y="1272346"/>
                  <a:pt x="4702037" y="1278310"/>
                </a:cubicBezTo>
                <a:cubicBezTo>
                  <a:pt x="4702037" y="1266382"/>
                  <a:pt x="4725950" y="1272346"/>
                  <a:pt x="4725950" y="1260419"/>
                </a:cubicBezTo>
                <a:cubicBezTo>
                  <a:pt x="4731927" y="1266382"/>
                  <a:pt x="4725950" y="1266382"/>
                  <a:pt x="4725950" y="1272346"/>
                </a:cubicBezTo>
                <a:cubicBezTo>
                  <a:pt x="4681114" y="1285766"/>
                  <a:pt x="4643005" y="1305894"/>
                  <a:pt x="4616664" y="1317636"/>
                </a:cubicBezTo>
                <a:lnTo>
                  <a:pt x="4601434" y="1323382"/>
                </a:lnTo>
                <a:lnTo>
                  <a:pt x="4608781" y="1326017"/>
                </a:lnTo>
                <a:cubicBezTo>
                  <a:pt x="4613591" y="1326204"/>
                  <a:pt x="4619061" y="1325457"/>
                  <a:pt x="4624720" y="1324710"/>
                </a:cubicBezTo>
                <a:lnTo>
                  <a:pt x="4626274" y="1324590"/>
                </a:lnTo>
                <a:lnTo>
                  <a:pt x="4695376" y="1302257"/>
                </a:lnTo>
                <a:lnTo>
                  <a:pt x="4689431" y="1304869"/>
                </a:lnTo>
                <a:cubicBezTo>
                  <a:pt x="4675220" y="1310896"/>
                  <a:pt x="4661756" y="1316923"/>
                  <a:pt x="4652781" y="1322948"/>
                </a:cubicBezTo>
                <a:lnTo>
                  <a:pt x="4647051" y="1324872"/>
                </a:lnTo>
                <a:lnTo>
                  <a:pt x="4657165" y="1327699"/>
                </a:lnTo>
                <a:cubicBezTo>
                  <a:pt x="4651130" y="1327699"/>
                  <a:pt x="4633020" y="1345636"/>
                  <a:pt x="4620948" y="1333677"/>
                </a:cubicBezTo>
                <a:cubicBezTo>
                  <a:pt x="4608874" y="1351614"/>
                  <a:pt x="4584729" y="1357592"/>
                  <a:pt x="4566621" y="1357592"/>
                </a:cubicBezTo>
                <a:cubicBezTo>
                  <a:pt x="4557566" y="1366560"/>
                  <a:pt x="4547002" y="1369549"/>
                  <a:pt x="4534175" y="1372539"/>
                </a:cubicBezTo>
                <a:lnTo>
                  <a:pt x="4532503" y="1372955"/>
                </a:lnTo>
                <a:lnTo>
                  <a:pt x="4532910" y="1374534"/>
                </a:lnTo>
                <a:lnTo>
                  <a:pt x="4531074" y="1373310"/>
                </a:lnTo>
                <a:lnTo>
                  <a:pt x="4526218" y="1374518"/>
                </a:lnTo>
                <a:lnTo>
                  <a:pt x="4515155" y="1383214"/>
                </a:lnTo>
                <a:cubicBezTo>
                  <a:pt x="4512163" y="1383214"/>
                  <a:pt x="4513659" y="1381706"/>
                  <a:pt x="4515155" y="1379446"/>
                </a:cubicBezTo>
                <a:lnTo>
                  <a:pt x="4516220" y="1377005"/>
                </a:lnTo>
                <a:lnTo>
                  <a:pt x="4513141" y="1377770"/>
                </a:lnTo>
                <a:lnTo>
                  <a:pt x="4511872" y="1378264"/>
                </a:lnTo>
                <a:lnTo>
                  <a:pt x="4512357" y="1379448"/>
                </a:lnTo>
                <a:cubicBezTo>
                  <a:pt x="4513104" y="1383921"/>
                  <a:pt x="4511610" y="1388395"/>
                  <a:pt x="4505632" y="1388395"/>
                </a:cubicBezTo>
                <a:cubicBezTo>
                  <a:pt x="4505632" y="1385413"/>
                  <a:pt x="4507127" y="1383921"/>
                  <a:pt x="4507874" y="1382431"/>
                </a:cubicBezTo>
                <a:lnTo>
                  <a:pt x="4507017" y="1380151"/>
                </a:lnTo>
                <a:lnTo>
                  <a:pt x="4493725" y="1385318"/>
                </a:lnTo>
                <a:lnTo>
                  <a:pt x="4491341" y="1387090"/>
                </a:lnTo>
                <a:lnTo>
                  <a:pt x="4487287" y="1389063"/>
                </a:lnTo>
                <a:lnTo>
                  <a:pt x="4487309" y="1389961"/>
                </a:lnTo>
                <a:cubicBezTo>
                  <a:pt x="4488000" y="1391037"/>
                  <a:pt x="4489578" y="1391754"/>
                  <a:pt x="4492735" y="1391754"/>
                </a:cubicBezTo>
                <a:cubicBezTo>
                  <a:pt x="4486423" y="1397494"/>
                  <a:pt x="4480109" y="1391754"/>
                  <a:pt x="4473794" y="1403233"/>
                </a:cubicBezTo>
                <a:cubicBezTo>
                  <a:pt x="4473794" y="1403233"/>
                  <a:pt x="4467482" y="1397494"/>
                  <a:pt x="4467482" y="1403233"/>
                </a:cubicBezTo>
                <a:lnTo>
                  <a:pt x="4465820" y="1400716"/>
                </a:lnTo>
                <a:lnTo>
                  <a:pt x="4451830" y="1412250"/>
                </a:lnTo>
                <a:lnTo>
                  <a:pt x="4448324" y="1408899"/>
                </a:lnTo>
                <a:lnTo>
                  <a:pt x="4442888" y="1409260"/>
                </a:lnTo>
                <a:lnTo>
                  <a:pt x="4442862" y="1409268"/>
                </a:lnTo>
                <a:cubicBezTo>
                  <a:pt x="4439873" y="1410759"/>
                  <a:pt x="4436883" y="1412250"/>
                  <a:pt x="4433895" y="1406287"/>
                </a:cubicBezTo>
                <a:lnTo>
                  <a:pt x="4432021" y="1414701"/>
                </a:lnTo>
                <a:lnTo>
                  <a:pt x="4441662" y="1410442"/>
                </a:lnTo>
                <a:cubicBezTo>
                  <a:pt x="4441662" y="1410442"/>
                  <a:pt x="4447674" y="1416539"/>
                  <a:pt x="4447674" y="1416539"/>
                </a:cubicBezTo>
                <a:cubicBezTo>
                  <a:pt x="4447674" y="1419589"/>
                  <a:pt x="4443165" y="1422638"/>
                  <a:pt x="4437903" y="1424163"/>
                </a:cubicBezTo>
                <a:lnTo>
                  <a:pt x="4430100" y="1423330"/>
                </a:lnTo>
                <a:lnTo>
                  <a:pt x="4429911" y="1424178"/>
                </a:lnTo>
                <a:lnTo>
                  <a:pt x="4427917" y="1424178"/>
                </a:lnTo>
                <a:lnTo>
                  <a:pt x="4427344" y="1423036"/>
                </a:lnTo>
                <a:lnTo>
                  <a:pt x="4423623" y="1422639"/>
                </a:lnTo>
                <a:lnTo>
                  <a:pt x="4422955" y="1428734"/>
                </a:lnTo>
                <a:lnTo>
                  <a:pt x="4426114" y="1430952"/>
                </a:lnTo>
                <a:cubicBezTo>
                  <a:pt x="4426675" y="1431884"/>
                  <a:pt x="4426301" y="1432630"/>
                  <a:pt x="4425554" y="1433375"/>
                </a:cubicBezTo>
                <a:lnTo>
                  <a:pt x="4421079" y="1439327"/>
                </a:lnTo>
                <a:lnTo>
                  <a:pt x="4421076" y="1439338"/>
                </a:lnTo>
                <a:lnTo>
                  <a:pt x="4421527" y="1439288"/>
                </a:lnTo>
                <a:lnTo>
                  <a:pt x="4425140" y="1437705"/>
                </a:lnTo>
                <a:lnTo>
                  <a:pt x="4430569" y="1436725"/>
                </a:lnTo>
                <a:lnTo>
                  <a:pt x="4428851" y="1433963"/>
                </a:lnTo>
                <a:cubicBezTo>
                  <a:pt x="4428290" y="1431447"/>
                  <a:pt x="4428664" y="1429024"/>
                  <a:pt x="4429412" y="1426416"/>
                </a:cubicBezTo>
                <a:lnTo>
                  <a:pt x="4429911" y="1424178"/>
                </a:lnTo>
                <a:lnTo>
                  <a:pt x="4439873" y="1424178"/>
                </a:lnTo>
                <a:lnTo>
                  <a:pt x="4439287" y="1430607"/>
                </a:lnTo>
                <a:lnTo>
                  <a:pt x="4437429" y="1432000"/>
                </a:lnTo>
                <a:lnTo>
                  <a:pt x="4438126" y="1433092"/>
                </a:lnTo>
                <a:lnTo>
                  <a:pt x="4435323" y="1435089"/>
                </a:lnTo>
                <a:lnTo>
                  <a:pt x="4438467" y="1433625"/>
                </a:lnTo>
                <a:lnTo>
                  <a:pt x="4438126" y="1433092"/>
                </a:lnTo>
                <a:lnTo>
                  <a:pt x="4439126" y="1432379"/>
                </a:lnTo>
                <a:lnTo>
                  <a:pt x="4439287" y="1430607"/>
                </a:lnTo>
                <a:lnTo>
                  <a:pt x="4441502" y="1428946"/>
                </a:lnTo>
                <a:lnTo>
                  <a:pt x="4445730" y="1421447"/>
                </a:lnTo>
                <a:cubicBezTo>
                  <a:pt x="4447599" y="1419956"/>
                  <a:pt x="4449654" y="1419210"/>
                  <a:pt x="4451615" y="1419956"/>
                </a:cubicBezTo>
                <a:lnTo>
                  <a:pt x="4454645" y="1424199"/>
                </a:lnTo>
                <a:lnTo>
                  <a:pt x="4459573" y="1423122"/>
                </a:lnTo>
                <a:lnTo>
                  <a:pt x="4457686" y="1420702"/>
                </a:lnTo>
                <a:cubicBezTo>
                  <a:pt x="4456939" y="1416973"/>
                  <a:pt x="4456939" y="1412500"/>
                  <a:pt x="4456939" y="1409519"/>
                </a:cubicBezTo>
                <a:cubicBezTo>
                  <a:pt x="4462917" y="1412500"/>
                  <a:pt x="4467401" y="1413992"/>
                  <a:pt x="4471137" y="1413246"/>
                </a:cubicBezTo>
                <a:lnTo>
                  <a:pt x="4474482" y="1409909"/>
                </a:lnTo>
                <a:lnTo>
                  <a:pt x="4464890" y="1410442"/>
                </a:lnTo>
                <a:cubicBezTo>
                  <a:pt x="4467761" y="1404702"/>
                  <a:pt x="4472065" y="1403267"/>
                  <a:pt x="4475651" y="1403267"/>
                </a:cubicBezTo>
                <a:lnTo>
                  <a:pt x="4480140" y="1404265"/>
                </a:lnTo>
                <a:lnTo>
                  <a:pt x="4480852" y="1403555"/>
                </a:lnTo>
                <a:lnTo>
                  <a:pt x="4480604" y="1404368"/>
                </a:lnTo>
                <a:lnTo>
                  <a:pt x="4482108" y="1404702"/>
                </a:lnTo>
                <a:cubicBezTo>
                  <a:pt x="4483543" y="1406137"/>
                  <a:pt x="4483543" y="1407213"/>
                  <a:pt x="4482647" y="1408021"/>
                </a:cubicBezTo>
                <a:lnTo>
                  <a:pt x="4481126" y="1408556"/>
                </a:lnTo>
                <a:lnTo>
                  <a:pt x="4481598" y="1409518"/>
                </a:lnTo>
                <a:lnTo>
                  <a:pt x="4481599" y="1409519"/>
                </a:lnTo>
                <a:cubicBezTo>
                  <a:pt x="4483841" y="1409519"/>
                  <a:pt x="4486830" y="1409519"/>
                  <a:pt x="4486830" y="1415482"/>
                </a:cubicBezTo>
                <a:lnTo>
                  <a:pt x="4484922" y="1416302"/>
                </a:lnTo>
                <a:lnTo>
                  <a:pt x="4486788" y="1420111"/>
                </a:lnTo>
                <a:lnTo>
                  <a:pt x="4491648" y="1415151"/>
                </a:lnTo>
                <a:lnTo>
                  <a:pt x="4487577" y="1413992"/>
                </a:lnTo>
                <a:cubicBezTo>
                  <a:pt x="4486830" y="1412501"/>
                  <a:pt x="4486830" y="1409519"/>
                  <a:pt x="4486830" y="1403555"/>
                </a:cubicBezTo>
                <a:lnTo>
                  <a:pt x="4490187" y="1402355"/>
                </a:lnTo>
                <a:lnTo>
                  <a:pt x="4486788" y="1401661"/>
                </a:lnTo>
                <a:cubicBezTo>
                  <a:pt x="4486788" y="1398588"/>
                  <a:pt x="4489802" y="1397049"/>
                  <a:pt x="4492813" y="1397817"/>
                </a:cubicBezTo>
                <a:lnTo>
                  <a:pt x="4494598" y="1400778"/>
                </a:lnTo>
                <a:lnTo>
                  <a:pt x="4509246" y="1395540"/>
                </a:lnTo>
                <a:cubicBezTo>
                  <a:pt x="4516719" y="1391999"/>
                  <a:pt x="4524191" y="1387899"/>
                  <a:pt x="4531663" y="1384171"/>
                </a:cubicBezTo>
                <a:lnTo>
                  <a:pt x="4547136" y="1377868"/>
                </a:lnTo>
                <a:lnTo>
                  <a:pt x="4546479" y="1377474"/>
                </a:lnTo>
                <a:lnTo>
                  <a:pt x="4549322" y="1376978"/>
                </a:lnTo>
                <a:lnTo>
                  <a:pt x="4554081" y="1375039"/>
                </a:lnTo>
                <a:lnTo>
                  <a:pt x="4563555" y="1374488"/>
                </a:lnTo>
                <a:lnTo>
                  <a:pt x="4563855" y="1373976"/>
                </a:lnTo>
                <a:cubicBezTo>
                  <a:pt x="4570020" y="1367788"/>
                  <a:pt x="4577868" y="1368865"/>
                  <a:pt x="4582351" y="1360256"/>
                </a:cubicBezTo>
                <a:cubicBezTo>
                  <a:pt x="4588330" y="1365995"/>
                  <a:pt x="4582351" y="1365995"/>
                  <a:pt x="4594309" y="1360256"/>
                </a:cubicBezTo>
                <a:cubicBezTo>
                  <a:pt x="4594309" y="1363125"/>
                  <a:pt x="4592815" y="1364560"/>
                  <a:pt x="4591319" y="1365995"/>
                </a:cubicBezTo>
                <a:lnTo>
                  <a:pt x="4589258" y="1369953"/>
                </a:lnTo>
                <a:lnTo>
                  <a:pt x="4592458" y="1370232"/>
                </a:lnTo>
                <a:lnTo>
                  <a:pt x="4593176" y="1370823"/>
                </a:lnTo>
                <a:lnTo>
                  <a:pt x="4593176" y="1372066"/>
                </a:lnTo>
                <a:lnTo>
                  <a:pt x="4594825" y="1372180"/>
                </a:lnTo>
                <a:lnTo>
                  <a:pt x="4593176" y="1370823"/>
                </a:lnTo>
                <a:lnTo>
                  <a:pt x="4593176" y="1368797"/>
                </a:lnTo>
                <a:lnTo>
                  <a:pt x="4594869" y="1372183"/>
                </a:lnTo>
                <a:lnTo>
                  <a:pt x="4596177" y="1372273"/>
                </a:lnTo>
                <a:cubicBezTo>
                  <a:pt x="4598419" y="1371376"/>
                  <a:pt x="4600288" y="1369582"/>
                  <a:pt x="4601782" y="1367430"/>
                </a:cubicBezTo>
                <a:lnTo>
                  <a:pt x="4604652" y="1359166"/>
                </a:lnTo>
                <a:lnTo>
                  <a:pt x="4604652" y="1357315"/>
                </a:lnTo>
                <a:lnTo>
                  <a:pt x="4605264" y="1357403"/>
                </a:lnTo>
                <a:lnTo>
                  <a:pt x="4606267" y="1354516"/>
                </a:lnTo>
                <a:lnTo>
                  <a:pt x="4610912" y="1352286"/>
                </a:lnTo>
                <a:lnTo>
                  <a:pt x="4610394" y="1351578"/>
                </a:lnTo>
                <a:lnTo>
                  <a:pt x="4611981" y="1351772"/>
                </a:lnTo>
                <a:lnTo>
                  <a:pt x="4618221" y="1348776"/>
                </a:lnTo>
                <a:lnTo>
                  <a:pt x="4618221" y="1347343"/>
                </a:lnTo>
                <a:lnTo>
                  <a:pt x="4624604" y="1348639"/>
                </a:lnTo>
                <a:lnTo>
                  <a:pt x="4623787" y="1345839"/>
                </a:lnTo>
                <a:lnTo>
                  <a:pt x="4627181" y="1349163"/>
                </a:lnTo>
                <a:lnTo>
                  <a:pt x="4629701" y="1349675"/>
                </a:lnTo>
                <a:lnTo>
                  <a:pt x="4635706" y="1348455"/>
                </a:lnTo>
                <a:lnTo>
                  <a:pt x="4639363" y="1343900"/>
                </a:lnTo>
                <a:lnTo>
                  <a:pt x="4638309" y="1341902"/>
                </a:lnTo>
                <a:cubicBezTo>
                  <a:pt x="4636875" y="1341125"/>
                  <a:pt x="4635440" y="1341125"/>
                  <a:pt x="4635440" y="1341125"/>
                </a:cubicBezTo>
                <a:cubicBezTo>
                  <a:pt x="4636875" y="1338015"/>
                  <a:pt x="4637951" y="1337238"/>
                  <a:pt x="4638759" y="1337724"/>
                </a:cubicBezTo>
                <a:lnTo>
                  <a:pt x="4640268" y="1342786"/>
                </a:lnTo>
                <a:lnTo>
                  <a:pt x="4647699" y="1340099"/>
                </a:lnTo>
                <a:lnTo>
                  <a:pt x="4647699" y="1347901"/>
                </a:lnTo>
                <a:lnTo>
                  <a:pt x="4654094" y="1340707"/>
                </a:lnTo>
                <a:lnTo>
                  <a:pt x="4655668" y="1341029"/>
                </a:lnTo>
                <a:lnTo>
                  <a:pt x="4658820" y="1334224"/>
                </a:lnTo>
                <a:cubicBezTo>
                  <a:pt x="4660972" y="1331400"/>
                  <a:pt x="4663483" y="1329516"/>
                  <a:pt x="4666353" y="1328261"/>
                </a:cubicBezTo>
                <a:lnTo>
                  <a:pt x="4681741" y="1326466"/>
                </a:lnTo>
                <a:lnTo>
                  <a:pt x="4685110" y="1322950"/>
                </a:lnTo>
                <a:cubicBezTo>
                  <a:pt x="4685110" y="1322950"/>
                  <a:pt x="4685110" y="1324385"/>
                  <a:pt x="4685110" y="1325820"/>
                </a:cubicBezTo>
                <a:lnTo>
                  <a:pt x="4685110" y="1326072"/>
                </a:lnTo>
                <a:lnTo>
                  <a:pt x="4687876" y="1325750"/>
                </a:lnTo>
                <a:lnTo>
                  <a:pt x="4685110" y="1328054"/>
                </a:lnTo>
                <a:lnTo>
                  <a:pt x="4685110" y="1328689"/>
                </a:lnTo>
                <a:cubicBezTo>
                  <a:pt x="4697030" y="1328689"/>
                  <a:pt x="4697030" y="1317210"/>
                  <a:pt x="4702990" y="1317210"/>
                </a:cubicBezTo>
                <a:lnTo>
                  <a:pt x="4709422" y="1319112"/>
                </a:lnTo>
                <a:lnTo>
                  <a:pt x="4717290" y="1314271"/>
                </a:lnTo>
                <a:cubicBezTo>
                  <a:pt x="4720877" y="1311401"/>
                  <a:pt x="4725181" y="1308531"/>
                  <a:pt x="4730921" y="1308531"/>
                </a:cubicBezTo>
                <a:cubicBezTo>
                  <a:pt x="4728051" y="1311401"/>
                  <a:pt x="4723747" y="1314271"/>
                  <a:pt x="4719442" y="1316423"/>
                </a:cubicBezTo>
                <a:lnTo>
                  <a:pt x="4710149" y="1319327"/>
                </a:lnTo>
                <a:lnTo>
                  <a:pt x="4713608" y="1320349"/>
                </a:lnTo>
                <a:cubicBezTo>
                  <a:pt x="4721989" y="1319004"/>
                  <a:pt x="4725342" y="1307166"/>
                  <a:pt x="4738753" y="1311471"/>
                </a:cubicBezTo>
                <a:cubicBezTo>
                  <a:pt x="4732793" y="1322950"/>
                  <a:pt x="4702990" y="1334429"/>
                  <a:pt x="4697030" y="1322950"/>
                </a:cubicBezTo>
                <a:cubicBezTo>
                  <a:pt x="4697030" y="1335863"/>
                  <a:pt x="4683620" y="1335863"/>
                  <a:pt x="4674400" y="1337478"/>
                </a:cubicBezTo>
                <a:lnTo>
                  <a:pt x="4673312" y="1337886"/>
                </a:lnTo>
                <a:lnTo>
                  <a:pt x="4672810" y="1338305"/>
                </a:lnTo>
                <a:cubicBezTo>
                  <a:pt x="4669581" y="1340398"/>
                  <a:pt x="4666173" y="1342281"/>
                  <a:pt x="4662856" y="1343642"/>
                </a:cubicBezTo>
                <a:lnTo>
                  <a:pt x="4659860" y="1344340"/>
                </a:lnTo>
                <a:lnTo>
                  <a:pt x="4661268" y="1348778"/>
                </a:lnTo>
                <a:cubicBezTo>
                  <a:pt x="4661268" y="1348778"/>
                  <a:pt x="4659474" y="1348778"/>
                  <a:pt x="4656784" y="1348778"/>
                </a:cubicBezTo>
                <a:lnTo>
                  <a:pt x="4647699" y="1348778"/>
                </a:lnTo>
                <a:lnTo>
                  <a:pt x="4647699" y="1351578"/>
                </a:lnTo>
                <a:cubicBezTo>
                  <a:pt x="4644829" y="1354448"/>
                  <a:pt x="4641960" y="1353013"/>
                  <a:pt x="4639808" y="1352296"/>
                </a:cubicBezTo>
                <a:lnTo>
                  <a:pt x="4639467" y="1352307"/>
                </a:lnTo>
                <a:lnTo>
                  <a:pt x="4638399" y="1355407"/>
                </a:lnTo>
                <a:lnTo>
                  <a:pt x="4636349" y="1356679"/>
                </a:lnTo>
                <a:lnTo>
                  <a:pt x="4636221" y="1357317"/>
                </a:lnTo>
                <a:lnTo>
                  <a:pt x="4635913" y="1356949"/>
                </a:lnTo>
                <a:lnTo>
                  <a:pt x="4628007" y="1361855"/>
                </a:lnTo>
                <a:lnTo>
                  <a:pt x="4619189" y="1359984"/>
                </a:lnTo>
                <a:lnTo>
                  <a:pt x="4617927" y="1360905"/>
                </a:lnTo>
                <a:cubicBezTo>
                  <a:pt x="4617509" y="1361263"/>
                  <a:pt x="4617300" y="1361084"/>
                  <a:pt x="4616358" y="1359739"/>
                </a:cubicBezTo>
                <a:lnTo>
                  <a:pt x="4613790" y="1356225"/>
                </a:lnTo>
                <a:lnTo>
                  <a:pt x="4612245" y="1358820"/>
                </a:lnTo>
                <a:lnTo>
                  <a:pt x="4610142" y="1361305"/>
                </a:lnTo>
                <a:lnTo>
                  <a:pt x="4610392" y="1363055"/>
                </a:lnTo>
                <a:lnTo>
                  <a:pt x="4609804" y="1365409"/>
                </a:lnTo>
                <a:lnTo>
                  <a:pt x="4612245" y="1365995"/>
                </a:lnTo>
                <a:lnTo>
                  <a:pt x="4596069" y="1373204"/>
                </a:lnTo>
                <a:lnTo>
                  <a:pt x="4604654" y="1380276"/>
                </a:lnTo>
                <a:cubicBezTo>
                  <a:pt x="4598915" y="1374536"/>
                  <a:pt x="4593176" y="1391754"/>
                  <a:pt x="4598915" y="1391754"/>
                </a:cubicBezTo>
                <a:cubicBezTo>
                  <a:pt x="4604654" y="1397494"/>
                  <a:pt x="4593176" y="1397494"/>
                  <a:pt x="4587436" y="1391754"/>
                </a:cubicBezTo>
                <a:cubicBezTo>
                  <a:pt x="4587436" y="1391754"/>
                  <a:pt x="4593176" y="1391754"/>
                  <a:pt x="4593176" y="1391754"/>
                </a:cubicBezTo>
                <a:cubicBezTo>
                  <a:pt x="4598915" y="1391754"/>
                  <a:pt x="4587436" y="1380276"/>
                  <a:pt x="4587436" y="1386015"/>
                </a:cubicBezTo>
                <a:cubicBezTo>
                  <a:pt x="4587436" y="1374536"/>
                  <a:pt x="4593176" y="1386015"/>
                  <a:pt x="4598915" y="1380276"/>
                </a:cubicBezTo>
                <a:lnTo>
                  <a:pt x="4595506" y="1373456"/>
                </a:lnTo>
                <a:lnTo>
                  <a:pt x="4593176" y="1374494"/>
                </a:lnTo>
                <a:lnTo>
                  <a:pt x="4593176" y="1374536"/>
                </a:lnTo>
                <a:cubicBezTo>
                  <a:pt x="4593176" y="1377405"/>
                  <a:pt x="4593176" y="1377405"/>
                  <a:pt x="4592458" y="1375971"/>
                </a:cubicBezTo>
                <a:lnTo>
                  <a:pt x="4591840" y="1375089"/>
                </a:lnTo>
                <a:lnTo>
                  <a:pt x="4591319" y="1375322"/>
                </a:lnTo>
                <a:lnTo>
                  <a:pt x="4584856" y="1374213"/>
                </a:lnTo>
                <a:lnTo>
                  <a:pt x="4581696" y="1373818"/>
                </a:lnTo>
                <a:lnTo>
                  <a:pt x="4581487" y="1373636"/>
                </a:lnTo>
                <a:lnTo>
                  <a:pt x="4570395" y="1371734"/>
                </a:lnTo>
                <a:lnTo>
                  <a:pt x="4569453" y="1374145"/>
                </a:lnTo>
                <a:lnTo>
                  <a:pt x="4576499" y="1373735"/>
                </a:lnTo>
                <a:cubicBezTo>
                  <a:pt x="4576499" y="1379699"/>
                  <a:pt x="4572016" y="1378208"/>
                  <a:pt x="4569027" y="1377462"/>
                </a:cubicBezTo>
                <a:lnTo>
                  <a:pt x="4568205" y="1377608"/>
                </a:lnTo>
                <a:lnTo>
                  <a:pt x="4570395" y="1383214"/>
                </a:lnTo>
                <a:lnTo>
                  <a:pt x="4569582" y="1383896"/>
                </a:lnTo>
                <a:lnTo>
                  <a:pt x="4570521" y="1385662"/>
                </a:lnTo>
                <a:lnTo>
                  <a:pt x="4568939" y="1384435"/>
                </a:lnTo>
                <a:lnTo>
                  <a:pt x="4564415" y="1388235"/>
                </a:lnTo>
                <a:cubicBezTo>
                  <a:pt x="4562920" y="1388953"/>
                  <a:pt x="4561426" y="1388953"/>
                  <a:pt x="4558437" y="1388953"/>
                </a:cubicBezTo>
                <a:cubicBezTo>
                  <a:pt x="4558437" y="1386083"/>
                  <a:pt x="4557689" y="1384289"/>
                  <a:pt x="4556569" y="1383124"/>
                </a:cubicBezTo>
                <a:lnTo>
                  <a:pt x="4553768" y="1381719"/>
                </a:lnTo>
                <a:lnTo>
                  <a:pt x="4557818" y="1388644"/>
                </a:lnTo>
                <a:cubicBezTo>
                  <a:pt x="4560059" y="1391626"/>
                  <a:pt x="4561554" y="1394608"/>
                  <a:pt x="4558565" y="1397589"/>
                </a:cubicBezTo>
                <a:cubicBezTo>
                  <a:pt x="4552587" y="1403555"/>
                  <a:pt x="4546608" y="1397589"/>
                  <a:pt x="4540630" y="1403555"/>
                </a:cubicBezTo>
                <a:cubicBezTo>
                  <a:pt x="4540630" y="1400573"/>
                  <a:pt x="4540630" y="1399081"/>
                  <a:pt x="4539883" y="1397590"/>
                </a:cubicBezTo>
                <a:lnTo>
                  <a:pt x="4539734" y="1397419"/>
                </a:lnTo>
                <a:lnTo>
                  <a:pt x="4535000" y="1400432"/>
                </a:lnTo>
                <a:lnTo>
                  <a:pt x="4536749" y="1394017"/>
                </a:lnTo>
                <a:lnTo>
                  <a:pt x="4534652" y="1391626"/>
                </a:lnTo>
                <a:lnTo>
                  <a:pt x="4530389" y="1394315"/>
                </a:lnTo>
                <a:lnTo>
                  <a:pt x="4535000" y="1401661"/>
                </a:lnTo>
                <a:lnTo>
                  <a:pt x="4517109" y="1406982"/>
                </a:lnTo>
                <a:lnTo>
                  <a:pt x="4518745" y="1399750"/>
                </a:lnTo>
                <a:lnTo>
                  <a:pt x="4513730" y="1401319"/>
                </a:lnTo>
                <a:lnTo>
                  <a:pt x="4509632" y="1404092"/>
                </a:lnTo>
                <a:lnTo>
                  <a:pt x="4509807" y="1404181"/>
                </a:lnTo>
                <a:lnTo>
                  <a:pt x="4516719" y="1403555"/>
                </a:lnTo>
                <a:lnTo>
                  <a:pt x="4514584" y="1406618"/>
                </a:lnTo>
                <a:lnTo>
                  <a:pt x="4516022" y="1407352"/>
                </a:lnTo>
                <a:lnTo>
                  <a:pt x="4513053" y="1408814"/>
                </a:lnTo>
                <a:lnTo>
                  <a:pt x="4509901" y="1413340"/>
                </a:lnTo>
                <a:cubicBezTo>
                  <a:pt x="4509433" y="1416788"/>
                  <a:pt x="4510368" y="1420329"/>
                  <a:pt x="4511488" y="1423684"/>
                </a:cubicBezTo>
                <a:lnTo>
                  <a:pt x="4511342" y="1426751"/>
                </a:lnTo>
                <a:lnTo>
                  <a:pt x="4510742" y="1427412"/>
                </a:lnTo>
                <a:lnTo>
                  <a:pt x="4511297" y="1427688"/>
                </a:lnTo>
                <a:lnTo>
                  <a:pt x="4510742" y="1439339"/>
                </a:lnTo>
                <a:cubicBezTo>
                  <a:pt x="4516719" y="1445303"/>
                  <a:pt x="4516719" y="1439339"/>
                  <a:pt x="4522697" y="1433375"/>
                </a:cubicBezTo>
                <a:lnTo>
                  <a:pt x="4511297" y="1427688"/>
                </a:lnTo>
                <a:lnTo>
                  <a:pt x="4511342" y="1426751"/>
                </a:lnTo>
                <a:lnTo>
                  <a:pt x="4518213" y="1419210"/>
                </a:lnTo>
                <a:cubicBezTo>
                  <a:pt x="4518213" y="1415482"/>
                  <a:pt x="4516719" y="1412502"/>
                  <a:pt x="4516719" y="1415482"/>
                </a:cubicBezTo>
                <a:cubicBezTo>
                  <a:pt x="4522697" y="1397589"/>
                  <a:pt x="4534652" y="1409519"/>
                  <a:pt x="4546608" y="1403555"/>
                </a:cubicBezTo>
                <a:cubicBezTo>
                  <a:pt x="4552587" y="1409519"/>
                  <a:pt x="4552587" y="1415482"/>
                  <a:pt x="4558565" y="1415482"/>
                </a:cubicBezTo>
                <a:cubicBezTo>
                  <a:pt x="4558565" y="1415482"/>
                  <a:pt x="4558565" y="1409519"/>
                  <a:pt x="4558565" y="1403555"/>
                </a:cubicBezTo>
                <a:cubicBezTo>
                  <a:pt x="4564543" y="1403555"/>
                  <a:pt x="4570521" y="1403555"/>
                  <a:pt x="4570521" y="1409519"/>
                </a:cubicBezTo>
                <a:cubicBezTo>
                  <a:pt x="4564543" y="1403555"/>
                  <a:pt x="4564543" y="1415482"/>
                  <a:pt x="4564543" y="1421446"/>
                </a:cubicBezTo>
                <a:cubicBezTo>
                  <a:pt x="4576499" y="1415482"/>
                  <a:pt x="4570521" y="1409519"/>
                  <a:pt x="4576499" y="1421446"/>
                </a:cubicBezTo>
                <a:cubicBezTo>
                  <a:pt x="4582477" y="1415482"/>
                  <a:pt x="4576499" y="1409519"/>
                  <a:pt x="4576499" y="1403555"/>
                </a:cubicBezTo>
                <a:cubicBezTo>
                  <a:pt x="4576499" y="1397589"/>
                  <a:pt x="4570521" y="1409519"/>
                  <a:pt x="4564543" y="1397589"/>
                </a:cubicBezTo>
                <a:cubicBezTo>
                  <a:pt x="4570521" y="1397589"/>
                  <a:pt x="4576499" y="1403555"/>
                  <a:pt x="4582477" y="1391626"/>
                </a:cubicBezTo>
                <a:lnTo>
                  <a:pt x="4588455" y="1403555"/>
                </a:lnTo>
                <a:lnTo>
                  <a:pt x="4582477" y="1409519"/>
                </a:lnTo>
                <a:cubicBezTo>
                  <a:pt x="4582477" y="1415482"/>
                  <a:pt x="4594433" y="1409519"/>
                  <a:pt x="4594433" y="1415482"/>
                </a:cubicBezTo>
                <a:cubicBezTo>
                  <a:pt x="4594433" y="1397589"/>
                  <a:pt x="4600412" y="1409519"/>
                  <a:pt x="4606390" y="1397589"/>
                </a:cubicBezTo>
                <a:cubicBezTo>
                  <a:pt x="4606390" y="1403555"/>
                  <a:pt x="4606390" y="1403555"/>
                  <a:pt x="4606390" y="1403555"/>
                </a:cubicBezTo>
                <a:cubicBezTo>
                  <a:pt x="4606390" y="1403555"/>
                  <a:pt x="4606390" y="1403555"/>
                  <a:pt x="4612368" y="1403555"/>
                </a:cubicBezTo>
                <a:cubicBezTo>
                  <a:pt x="4612368" y="1409519"/>
                  <a:pt x="4600412" y="1409519"/>
                  <a:pt x="4600412" y="1415482"/>
                </a:cubicBezTo>
                <a:cubicBezTo>
                  <a:pt x="4606390" y="1415482"/>
                  <a:pt x="4606390" y="1409519"/>
                  <a:pt x="4612368" y="1415482"/>
                </a:cubicBezTo>
                <a:cubicBezTo>
                  <a:pt x="4618346" y="1409519"/>
                  <a:pt x="4606390" y="1397589"/>
                  <a:pt x="4618346" y="1397589"/>
                </a:cubicBezTo>
                <a:cubicBezTo>
                  <a:pt x="4612368" y="1415482"/>
                  <a:pt x="4630302" y="1397589"/>
                  <a:pt x="4630302" y="1391626"/>
                </a:cubicBezTo>
                <a:cubicBezTo>
                  <a:pt x="4624324" y="1385662"/>
                  <a:pt x="4642257" y="1391626"/>
                  <a:pt x="4630302" y="1397589"/>
                </a:cubicBezTo>
                <a:cubicBezTo>
                  <a:pt x="4636280" y="1391626"/>
                  <a:pt x="4648234" y="1403555"/>
                  <a:pt x="4648234" y="1391626"/>
                </a:cubicBezTo>
                <a:cubicBezTo>
                  <a:pt x="4648234" y="1391626"/>
                  <a:pt x="4648234" y="1397589"/>
                  <a:pt x="4654212" y="1403555"/>
                </a:cubicBezTo>
                <a:cubicBezTo>
                  <a:pt x="4648234" y="1403555"/>
                  <a:pt x="4642257" y="1403555"/>
                  <a:pt x="4642257" y="1409519"/>
                </a:cubicBezTo>
                <a:cubicBezTo>
                  <a:pt x="4642257" y="1409519"/>
                  <a:pt x="4642257" y="1403555"/>
                  <a:pt x="4636280" y="1403555"/>
                </a:cubicBezTo>
                <a:cubicBezTo>
                  <a:pt x="4642257" y="1409519"/>
                  <a:pt x="4630302" y="1415482"/>
                  <a:pt x="4624324" y="1409519"/>
                </a:cubicBezTo>
                <a:cubicBezTo>
                  <a:pt x="4618346" y="1415482"/>
                  <a:pt x="4624324" y="1421446"/>
                  <a:pt x="4624324" y="1427412"/>
                </a:cubicBezTo>
                <a:cubicBezTo>
                  <a:pt x="4630302" y="1415482"/>
                  <a:pt x="4636280" y="1421446"/>
                  <a:pt x="4642257" y="1421446"/>
                </a:cubicBezTo>
                <a:cubicBezTo>
                  <a:pt x="4636280" y="1415482"/>
                  <a:pt x="4642257" y="1409519"/>
                  <a:pt x="4648234" y="1421446"/>
                </a:cubicBezTo>
                <a:cubicBezTo>
                  <a:pt x="4654212" y="1415482"/>
                  <a:pt x="4660190" y="1415482"/>
                  <a:pt x="4660190" y="1403555"/>
                </a:cubicBezTo>
                <a:cubicBezTo>
                  <a:pt x="4666168" y="1403555"/>
                  <a:pt x="4684103" y="1415482"/>
                  <a:pt x="4678125" y="1397589"/>
                </a:cubicBezTo>
                <a:cubicBezTo>
                  <a:pt x="4678125" y="1397589"/>
                  <a:pt x="4684103" y="1403555"/>
                  <a:pt x="4684103" y="1409519"/>
                </a:cubicBezTo>
                <a:cubicBezTo>
                  <a:pt x="4684103" y="1391626"/>
                  <a:pt x="4696059" y="1397589"/>
                  <a:pt x="4696059" y="1409519"/>
                </a:cubicBezTo>
                <a:cubicBezTo>
                  <a:pt x="4690081" y="1415482"/>
                  <a:pt x="4696059" y="1403555"/>
                  <a:pt x="4690081" y="1409519"/>
                </a:cubicBezTo>
                <a:cubicBezTo>
                  <a:pt x="4690081" y="1409519"/>
                  <a:pt x="4690081" y="1409519"/>
                  <a:pt x="4690081" y="1415482"/>
                </a:cubicBezTo>
                <a:cubicBezTo>
                  <a:pt x="4696059" y="1421446"/>
                  <a:pt x="4702037" y="1403555"/>
                  <a:pt x="4708015" y="1409519"/>
                </a:cubicBezTo>
                <a:cubicBezTo>
                  <a:pt x="4708015" y="1403555"/>
                  <a:pt x="4696059" y="1409519"/>
                  <a:pt x="4696059" y="1397589"/>
                </a:cubicBezTo>
                <a:cubicBezTo>
                  <a:pt x="4708015" y="1397589"/>
                  <a:pt x="4719972" y="1379699"/>
                  <a:pt x="4731927" y="1379699"/>
                </a:cubicBezTo>
                <a:cubicBezTo>
                  <a:pt x="4731927" y="1385662"/>
                  <a:pt x="4731927" y="1385662"/>
                  <a:pt x="4725950" y="1385662"/>
                </a:cubicBezTo>
                <a:cubicBezTo>
                  <a:pt x="4731927" y="1391626"/>
                  <a:pt x="4731927" y="1385662"/>
                  <a:pt x="4737906" y="1385662"/>
                </a:cubicBezTo>
                <a:cubicBezTo>
                  <a:pt x="4743884" y="1385662"/>
                  <a:pt x="4731927" y="1379699"/>
                  <a:pt x="4737906" y="1379699"/>
                </a:cubicBezTo>
                <a:cubicBezTo>
                  <a:pt x="4749862" y="1379699"/>
                  <a:pt x="4749862" y="1379699"/>
                  <a:pt x="4761818" y="1373735"/>
                </a:cubicBezTo>
                <a:cubicBezTo>
                  <a:pt x="4761818" y="1373735"/>
                  <a:pt x="4761818" y="1379699"/>
                  <a:pt x="4761818" y="1379699"/>
                </a:cubicBezTo>
                <a:cubicBezTo>
                  <a:pt x="4767796" y="1379699"/>
                  <a:pt x="4773772" y="1367770"/>
                  <a:pt x="4779750" y="1379699"/>
                </a:cubicBezTo>
                <a:cubicBezTo>
                  <a:pt x="4773772" y="1385662"/>
                  <a:pt x="4773772" y="1385662"/>
                  <a:pt x="4773772" y="1391626"/>
                </a:cubicBezTo>
                <a:cubicBezTo>
                  <a:pt x="4767796" y="1391626"/>
                  <a:pt x="4767796" y="1385662"/>
                  <a:pt x="4767796" y="1385662"/>
                </a:cubicBezTo>
                <a:cubicBezTo>
                  <a:pt x="4737906" y="1409519"/>
                  <a:pt x="4654212" y="1433375"/>
                  <a:pt x="4600412" y="1463195"/>
                </a:cubicBezTo>
                <a:cubicBezTo>
                  <a:pt x="4606390" y="1469158"/>
                  <a:pt x="4618346" y="1451266"/>
                  <a:pt x="4618346" y="1463195"/>
                </a:cubicBezTo>
                <a:cubicBezTo>
                  <a:pt x="4609379" y="1466176"/>
                  <a:pt x="4603401" y="1469158"/>
                  <a:pt x="4598170" y="1471395"/>
                </a:cubicBezTo>
                <a:lnTo>
                  <a:pt x="4591233" y="1473043"/>
                </a:lnTo>
                <a:lnTo>
                  <a:pt x="4591338" y="1476355"/>
                </a:lnTo>
                <a:cubicBezTo>
                  <a:pt x="4591876" y="1479315"/>
                  <a:pt x="4594028" y="1475010"/>
                  <a:pt x="4602638" y="1470706"/>
                </a:cubicBezTo>
                <a:lnTo>
                  <a:pt x="4603098" y="1477073"/>
                </a:lnTo>
                <a:lnTo>
                  <a:pt x="4624324" y="1469158"/>
                </a:lnTo>
                <a:cubicBezTo>
                  <a:pt x="4624324" y="1475122"/>
                  <a:pt x="4624324" y="1475122"/>
                  <a:pt x="4624324" y="1481086"/>
                </a:cubicBezTo>
                <a:cubicBezTo>
                  <a:pt x="4636280" y="1481086"/>
                  <a:pt x="4624324" y="1469158"/>
                  <a:pt x="4636280" y="1469158"/>
                </a:cubicBezTo>
                <a:cubicBezTo>
                  <a:pt x="4636280" y="1469158"/>
                  <a:pt x="4636280" y="1475122"/>
                  <a:pt x="4636280" y="1475122"/>
                </a:cubicBezTo>
                <a:cubicBezTo>
                  <a:pt x="4642257" y="1475122"/>
                  <a:pt x="4654212" y="1463195"/>
                  <a:pt x="4660190" y="1475122"/>
                </a:cubicBezTo>
                <a:cubicBezTo>
                  <a:pt x="4660190" y="1469158"/>
                  <a:pt x="4660190" y="1469158"/>
                  <a:pt x="4660190" y="1463195"/>
                </a:cubicBezTo>
                <a:cubicBezTo>
                  <a:pt x="4666168" y="1469158"/>
                  <a:pt x="4678125" y="1457231"/>
                  <a:pt x="4678125" y="1463195"/>
                </a:cubicBezTo>
                <a:cubicBezTo>
                  <a:pt x="4684103" y="1469158"/>
                  <a:pt x="4678125" y="1475122"/>
                  <a:pt x="4672147" y="1481086"/>
                </a:cubicBezTo>
                <a:cubicBezTo>
                  <a:pt x="4648234" y="1475122"/>
                  <a:pt x="4624324" y="1504943"/>
                  <a:pt x="4612368" y="1498979"/>
                </a:cubicBezTo>
                <a:cubicBezTo>
                  <a:pt x="4606390" y="1504943"/>
                  <a:pt x="4618346" y="1510908"/>
                  <a:pt x="4624324" y="1510908"/>
                </a:cubicBezTo>
                <a:cubicBezTo>
                  <a:pt x="4630302" y="1510908"/>
                  <a:pt x="4624324" y="1498979"/>
                  <a:pt x="4636280" y="1498979"/>
                </a:cubicBezTo>
                <a:lnTo>
                  <a:pt x="4636991" y="1503236"/>
                </a:lnTo>
                <a:lnTo>
                  <a:pt x="4626005" y="1512118"/>
                </a:lnTo>
                <a:cubicBezTo>
                  <a:pt x="4607510" y="1524698"/>
                  <a:pt x="4583972" y="1534762"/>
                  <a:pt x="4570521" y="1534762"/>
                </a:cubicBezTo>
                <a:cubicBezTo>
                  <a:pt x="4564543" y="1534762"/>
                  <a:pt x="4570521" y="1534762"/>
                  <a:pt x="4570521" y="1540728"/>
                </a:cubicBezTo>
                <a:cubicBezTo>
                  <a:pt x="4564543" y="1546691"/>
                  <a:pt x="4552587" y="1546691"/>
                  <a:pt x="4546608" y="1540728"/>
                </a:cubicBezTo>
                <a:cubicBezTo>
                  <a:pt x="4534652" y="1564582"/>
                  <a:pt x="4498786" y="1558619"/>
                  <a:pt x="4474873" y="1582475"/>
                </a:cubicBezTo>
                <a:cubicBezTo>
                  <a:pt x="4492808" y="1576511"/>
                  <a:pt x="4498786" y="1600367"/>
                  <a:pt x="4504764" y="1576511"/>
                </a:cubicBezTo>
                <a:cubicBezTo>
                  <a:pt x="4504764" y="1576511"/>
                  <a:pt x="4498786" y="1588438"/>
                  <a:pt x="4492808" y="1582475"/>
                </a:cubicBezTo>
                <a:cubicBezTo>
                  <a:pt x="4498786" y="1576511"/>
                  <a:pt x="4498786" y="1576511"/>
                  <a:pt x="4510742" y="1570548"/>
                </a:cubicBezTo>
                <a:lnTo>
                  <a:pt x="4510742" y="1576511"/>
                </a:lnTo>
                <a:lnTo>
                  <a:pt x="4510742" y="1588438"/>
                </a:lnTo>
                <a:cubicBezTo>
                  <a:pt x="4516719" y="1582475"/>
                  <a:pt x="4522697" y="1576511"/>
                  <a:pt x="4534652" y="1570548"/>
                </a:cubicBezTo>
                <a:lnTo>
                  <a:pt x="4529859" y="1566919"/>
                </a:lnTo>
                <a:lnTo>
                  <a:pt x="4540630" y="1564582"/>
                </a:lnTo>
                <a:cubicBezTo>
                  <a:pt x="4534652" y="1582475"/>
                  <a:pt x="4588455" y="1546691"/>
                  <a:pt x="4594433" y="1546691"/>
                </a:cubicBezTo>
                <a:lnTo>
                  <a:pt x="4611095" y="1540174"/>
                </a:lnTo>
                <a:lnTo>
                  <a:pt x="4611111" y="1540174"/>
                </a:lnTo>
                <a:lnTo>
                  <a:pt x="4611110" y="1540169"/>
                </a:lnTo>
                <a:lnTo>
                  <a:pt x="4725950" y="1495251"/>
                </a:lnTo>
                <a:cubicBezTo>
                  <a:pt x="4772279" y="1476613"/>
                  <a:pt x="4821598" y="1457231"/>
                  <a:pt x="4875400" y="1439339"/>
                </a:cubicBezTo>
                <a:cubicBezTo>
                  <a:pt x="4875400" y="1445303"/>
                  <a:pt x="4875400" y="1451266"/>
                  <a:pt x="4875400" y="1457231"/>
                </a:cubicBezTo>
                <a:cubicBezTo>
                  <a:pt x="4869422" y="1463195"/>
                  <a:pt x="4869422" y="1445303"/>
                  <a:pt x="4863444" y="1451266"/>
                </a:cubicBezTo>
                <a:cubicBezTo>
                  <a:pt x="4857466" y="1457231"/>
                  <a:pt x="4869422" y="1457231"/>
                  <a:pt x="4863444" y="1463195"/>
                </a:cubicBezTo>
                <a:cubicBezTo>
                  <a:pt x="4857466" y="1463195"/>
                  <a:pt x="4851487" y="1457231"/>
                  <a:pt x="4857466" y="1451266"/>
                </a:cubicBezTo>
                <a:cubicBezTo>
                  <a:pt x="4845510" y="1457231"/>
                  <a:pt x="4839531" y="1457231"/>
                  <a:pt x="4827575" y="1463195"/>
                </a:cubicBezTo>
                <a:cubicBezTo>
                  <a:pt x="4833553" y="1475122"/>
                  <a:pt x="4845510" y="1451266"/>
                  <a:pt x="4839531" y="1469158"/>
                </a:cubicBezTo>
                <a:cubicBezTo>
                  <a:pt x="4845510" y="1463195"/>
                  <a:pt x="4851487" y="1463195"/>
                  <a:pt x="4851487" y="1457231"/>
                </a:cubicBezTo>
                <a:cubicBezTo>
                  <a:pt x="4863444" y="1463195"/>
                  <a:pt x="4833553" y="1475122"/>
                  <a:pt x="4821597" y="1481086"/>
                </a:cubicBezTo>
                <a:cubicBezTo>
                  <a:pt x="4821597" y="1475122"/>
                  <a:pt x="4827575" y="1475122"/>
                  <a:pt x="4827575" y="1469158"/>
                </a:cubicBezTo>
                <a:cubicBezTo>
                  <a:pt x="4824587" y="1472142"/>
                  <a:pt x="4817114" y="1478105"/>
                  <a:pt x="4808147" y="1483324"/>
                </a:cubicBezTo>
                <a:lnTo>
                  <a:pt x="4792068" y="1488810"/>
                </a:lnTo>
                <a:lnTo>
                  <a:pt x="4791186" y="1489325"/>
                </a:lnTo>
                <a:lnTo>
                  <a:pt x="4791186" y="1489112"/>
                </a:lnTo>
                <a:lnTo>
                  <a:pt x="4779750" y="1493015"/>
                </a:lnTo>
                <a:cubicBezTo>
                  <a:pt x="4779750" y="1493015"/>
                  <a:pt x="4773772" y="1487051"/>
                  <a:pt x="4767796" y="1487051"/>
                </a:cubicBezTo>
                <a:cubicBezTo>
                  <a:pt x="4755840" y="1487051"/>
                  <a:pt x="4755840" y="1498979"/>
                  <a:pt x="4743884" y="1493015"/>
                </a:cubicBezTo>
                <a:cubicBezTo>
                  <a:pt x="4737906" y="1504943"/>
                  <a:pt x="4731927" y="1498979"/>
                  <a:pt x="4725950" y="1510908"/>
                </a:cubicBezTo>
                <a:cubicBezTo>
                  <a:pt x="4737906" y="1510908"/>
                  <a:pt x="4761818" y="1504943"/>
                  <a:pt x="4761818" y="1493015"/>
                </a:cubicBezTo>
                <a:cubicBezTo>
                  <a:pt x="4761818" y="1498979"/>
                  <a:pt x="4773772" y="1487051"/>
                  <a:pt x="4773772" y="1498979"/>
                </a:cubicBezTo>
                <a:cubicBezTo>
                  <a:pt x="4743884" y="1510908"/>
                  <a:pt x="4713993" y="1522835"/>
                  <a:pt x="4690081" y="1534762"/>
                </a:cubicBezTo>
                <a:cubicBezTo>
                  <a:pt x="4684103" y="1522835"/>
                  <a:pt x="4690081" y="1522835"/>
                  <a:pt x="4696059" y="1522835"/>
                </a:cubicBezTo>
                <a:cubicBezTo>
                  <a:pt x="4690081" y="1510908"/>
                  <a:pt x="4690081" y="1528798"/>
                  <a:pt x="4684103" y="1522835"/>
                </a:cubicBezTo>
                <a:cubicBezTo>
                  <a:pt x="4684103" y="1528798"/>
                  <a:pt x="4684103" y="1528798"/>
                  <a:pt x="4684103" y="1534762"/>
                </a:cubicBezTo>
                <a:cubicBezTo>
                  <a:pt x="4678125" y="1534762"/>
                  <a:pt x="4666168" y="1540728"/>
                  <a:pt x="4660190" y="1546691"/>
                </a:cubicBezTo>
                <a:cubicBezTo>
                  <a:pt x="4660190" y="1540728"/>
                  <a:pt x="4660190" y="1540728"/>
                  <a:pt x="4660190" y="1540728"/>
                </a:cubicBezTo>
                <a:cubicBezTo>
                  <a:pt x="4648234" y="1540728"/>
                  <a:pt x="4654212" y="1552655"/>
                  <a:pt x="4648234" y="1540728"/>
                </a:cubicBezTo>
                <a:cubicBezTo>
                  <a:pt x="4630302" y="1558619"/>
                  <a:pt x="4612368" y="1564582"/>
                  <a:pt x="4594433" y="1564582"/>
                </a:cubicBezTo>
                <a:cubicBezTo>
                  <a:pt x="4594433" y="1564582"/>
                  <a:pt x="4588455" y="1576511"/>
                  <a:pt x="4594433" y="1570548"/>
                </a:cubicBezTo>
                <a:cubicBezTo>
                  <a:pt x="4588455" y="1576511"/>
                  <a:pt x="4582477" y="1576511"/>
                  <a:pt x="4570521" y="1588438"/>
                </a:cubicBezTo>
                <a:cubicBezTo>
                  <a:pt x="4564543" y="1582475"/>
                  <a:pt x="4582477" y="1582475"/>
                  <a:pt x="4576499" y="1576511"/>
                </a:cubicBezTo>
                <a:cubicBezTo>
                  <a:pt x="4576499" y="1576511"/>
                  <a:pt x="4576499" y="1576511"/>
                  <a:pt x="4576499" y="1570548"/>
                </a:cubicBezTo>
                <a:cubicBezTo>
                  <a:pt x="4570521" y="1594404"/>
                  <a:pt x="4552587" y="1582475"/>
                  <a:pt x="4540630" y="1600367"/>
                </a:cubicBezTo>
                <a:cubicBezTo>
                  <a:pt x="4534652" y="1594404"/>
                  <a:pt x="4540630" y="1594404"/>
                  <a:pt x="4540630" y="1588438"/>
                </a:cubicBezTo>
                <a:cubicBezTo>
                  <a:pt x="4528674" y="1600367"/>
                  <a:pt x="4522697" y="1606331"/>
                  <a:pt x="4516719" y="1600367"/>
                </a:cubicBezTo>
                <a:cubicBezTo>
                  <a:pt x="4510742" y="1612295"/>
                  <a:pt x="4492808" y="1606331"/>
                  <a:pt x="4492808" y="1624224"/>
                </a:cubicBezTo>
                <a:cubicBezTo>
                  <a:pt x="4480852" y="1630188"/>
                  <a:pt x="4486830" y="1612295"/>
                  <a:pt x="4480852" y="1612295"/>
                </a:cubicBezTo>
                <a:cubicBezTo>
                  <a:pt x="4474873" y="1618259"/>
                  <a:pt x="4474873" y="1618259"/>
                  <a:pt x="4474873" y="1624224"/>
                </a:cubicBezTo>
                <a:cubicBezTo>
                  <a:pt x="4456939" y="1624224"/>
                  <a:pt x="4439005" y="1642115"/>
                  <a:pt x="4433027" y="1648078"/>
                </a:cubicBezTo>
                <a:cubicBezTo>
                  <a:pt x="4427048" y="1654044"/>
                  <a:pt x="4421070" y="1642115"/>
                  <a:pt x="4415092" y="1642115"/>
                </a:cubicBezTo>
                <a:cubicBezTo>
                  <a:pt x="4415092" y="1648078"/>
                  <a:pt x="4415092" y="1648078"/>
                  <a:pt x="4415092" y="1654044"/>
                </a:cubicBezTo>
                <a:cubicBezTo>
                  <a:pt x="4403137" y="1648078"/>
                  <a:pt x="4409114" y="1660007"/>
                  <a:pt x="4397159" y="1654044"/>
                </a:cubicBezTo>
                <a:cubicBezTo>
                  <a:pt x="4397159" y="1654044"/>
                  <a:pt x="4397159" y="1660007"/>
                  <a:pt x="4397159" y="1660007"/>
                </a:cubicBezTo>
                <a:cubicBezTo>
                  <a:pt x="4379225" y="1664480"/>
                  <a:pt x="4357929" y="1682372"/>
                  <a:pt x="4338313" y="1688523"/>
                </a:cubicBezTo>
                <a:lnTo>
                  <a:pt x="4326671" y="1689328"/>
                </a:lnTo>
                <a:lnTo>
                  <a:pt x="4313919" y="1696292"/>
                </a:lnTo>
                <a:lnTo>
                  <a:pt x="4312301" y="1696645"/>
                </a:lnTo>
                <a:lnTo>
                  <a:pt x="4306554" y="1702128"/>
                </a:lnTo>
                <a:cubicBezTo>
                  <a:pt x="4290301" y="1713311"/>
                  <a:pt x="4265643" y="1721139"/>
                  <a:pt x="4247710" y="1725611"/>
                </a:cubicBezTo>
                <a:cubicBezTo>
                  <a:pt x="4235753" y="1725611"/>
                  <a:pt x="4247710" y="1737540"/>
                  <a:pt x="4241732" y="1737540"/>
                </a:cubicBezTo>
                <a:cubicBezTo>
                  <a:pt x="4235753" y="1737540"/>
                  <a:pt x="4241732" y="1737540"/>
                  <a:pt x="4241732" y="1731575"/>
                </a:cubicBezTo>
                <a:lnTo>
                  <a:pt x="4229775" y="1737540"/>
                </a:lnTo>
                <a:lnTo>
                  <a:pt x="4217819" y="1743504"/>
                </a:lnTo>
                <a:cubicBezTo>
                  <a:pt x="4223797" y="1749468"/>
                  <a:pt x="4223797" y="1749468"/>
                  <a:pt x="4229775" y="1749468"/>
                </a:cubicBezTo>
                <a:lnTo>
                  <a:pt x="4229775" y="1737540"/>
                </a:lnTo>
                <a:lnTo>
                  <a:pt x="4235753" y="1749468"/>
                </a:lnTo>
                <a:lnTo>
                  <a:pt x="4241023" y="1749468"/>
                </a:lnTo>
                <a:lnTo>
                  <a:pt x="4249948" y="1738610"/>
                </a:lnTo>
                <a:cubicBezTo>
                  <a:pt x="4253698" y="1737128"/>
                  <a:pt x="4258198" y="1735645"/>
                  <a:pt x="4264200" y="1726748"/>
                </a:cubicBezTo>
                <a:cubicBezTo>
                  <a:pt x="4294200" y="1714888"/>
                  <a:pt x="4318203" y="1714888"/>
                  <a:pt x="4336204" y="1697094"/>
                </a:cubicBezTo>
                <a:cubicBezTo>
                  <a:pt x="4336204" y="1703026"/>
                  <a:pt x="4330203" y="1708957"/>
                  <a:pt x="4324203" y="1708957"/>
                </a:cubicBezTo>
                <a:cubicBezTo>
                  <a:pt x="4333203" y="1711921"/>
                  <a:pt x="4337703" y="1705990"/>
                  <a:pt x="4342204" y="1700061"/>
                </a:cubicBezTo>
                <a:lnTo>
                  <a:pt x="4344775" y="1698790"/>
                </a:lnTo>
                <a:lnTo>
                  <a:pt x="4348954" y="1701543"/>
                </a:lnTo>
                <a:cubicBezTo>
                  <a:pt x="4352705" y="1700061"/>
                  <a:pt x="4357204" y="1697094"/>
                  <a:pt x="4360205" y="1697094"/>
                </a:cubicBezTo>
                <a:lnTo>
                  <a:pt x="4360205" y="1691164"/>
                </a:lnTo>
                <a:lnTo>
                  <a:pt x="4360205" y="1685232"/>
                </a:lnTo>
                <a:cubicBezTo>
                  <a:pt x="4372206" y="1685232"/>
                  <a:pt x="4384206" y="1679303"/>
                  <a:pt x="4396207" y="1673372"/>
                </a:cubicBezTo>
                <a:cubicBezTo>
                  <a:pt x="4390208" y="1679303"/>
                  <a:pt x="4390208" y="1679303"/>
                  <a:pt x="4390208" y="1685232"/>
                </a:cubicBezTo>
                <a:cubicBezTo>
                  <a:pt x="4396207" y="1685232"/>
                  <a:pt x="4414209" y="1685232"/>
                  <a:pt x="4414209" y="1667441"/>
                </a:cubicBezTo>
                <a:cubicBezTo>
                  <a:pt x="4432209" y="1661509"/>
                  <a:pt x="4438209" y="1667441"/>
                  <a:pt x="4414209" y="1673372"/>
                </a:cubicBezTo>
                <a:cubicBezTo>
                  <a:pt x="4420208" y="1679303"/>
                  <a:pt x="4426210" y="1673372"/>
                  <a:pt x="4432209" y="1673372"/>
                </a:cubicBezTo>
                <a:cubicBezTo>
                  <a:pt x="4390208" y="1697094"/>
                  <a:pt x="4330203" y="1714888"/>
                  <a:pt x="4306201" y="1726748"/>
                </a:cubicBezTo>
                <a:cubicBezTo>
                  <a:pt x="4300201" y="1738610"/>
                  <a:pt x="4276199" y="1732679"/>
                  <a:pt x="4264200" y="1750473"/>
                </a:cubicBezTo>
                <a:cubicBezTo>
                  <a:pt x="4270199" y="1741576"/>
                  <a:pt x="4265698" y="1740093"/>
                  <a:pt x="4258948" y="1741576"/>
                </a:cubicBezTo>
                <a:lnTo>
                  <a:pt x="4242315" y="1749468"/>
                </a:lnTo>
                <a:lnTo>
                  <a:pt x="4242479" y="1749468"/>
                </a:lnTo>
                <a:cubicBezTo>
                  <a:pt x="4246215" y="1747976"/>
                  <a:pt x="4250698" y="1746486"/>
                  <a:pt x="4253688" y="1749468"/>
                </a:cubicBezTo>
                <a:cubicBezTo>
                  <a:pt x="4244721" y="1753940"/>
                  <a:pt x="4222303" y="1765123"/>
                  <a:pt x="4206610" y="1772951"/>
                </a:cubicBezTo>
                <a:lnTo>
                  <a:pt x="4198571" y="1776960"/>
                </a:lnTo>
                <a:lnTo>
                  <a:pt x="4236090" y="1764392"/>
                </a:lnTo>
                <a:lnTo>
                  <a:pt x="4193066" y="1785854"/>
                </a:lnTo>
                <a:lnTo>
                  <a:pt x="4200632" y="1786742"/>
                </a:lnTo>
                <a:cubicBezTo>
                  <a:pt x="4205863" y="1785252"/>
                  <a:pt x="4211841" y="1782269"/>
                  <a:pt x="4217819" y="1779287"/>
                </a:cubicBezTo>
                <a:cubicBezTo>
                  <a:pt x="4217819" y="1785251"/>
                  <a:pt x="4211841" y="1791216"/>
                  <a:pt x="4205863" y="1791216"/>
                </a:cubicBezTo>
                <a:lnTo>
                  <a:pt x="4213484" y="1798819"/>
                </a:lnTo>
                <a:lnTo>
                  <a:pt x="4220329" y="1797077"/>
                </a:lnTo>
                <a:lnTo>
                  <a:pt x="4225841" y="1798166"/>
                </a:lnTo>
                <a:lnTo>
                  <a:pt x="4223797" y="1785251"/>
                </a:lnTo>
                <a:cubicBezTo>
                  <a:pt x="4217819" y="1785251"/>
                  <a:pt x="4223797" y="1791216"/>
                  <a:pt x="4217819" y="1791216"/>
                </a:cubicBezTo>
                <a:cubicBezTo>
                  <a:pt x="4217819" y="1785251"/>
                  <a:pt x="4217819" y="1779287"/>
                  <a:pt x="4223797" y="1773324"/>
                </a:cubicBezTo>
                <a:cubicBezTo>
                  <a:pt x="4253688" y="1767360"/>
                  <a:pt x="4301510" y="1737540"/>
                  <a:pt x="4349335" y="1725611"/>
                </a:cubicBezTo>
                <a:cubicBezTo>
                  <a:pt x="4334390" y="1734557"/>
                  <a:pt x="4317950" y="1742013"/>
                  <a:pt x="4302258" y="1748722"/>
                </a:cubicBezTo>
                <a:lnTo>
                  <a:pt x="4263219" y="1765805"/>
                </a:lnTo>
                <a:lnTo>
                  <a:pt x="4263028" y="1765683"/>
                </a:lnTo>
                <a:lnTo>
                  <a:pt x="4262977" y="1765911"/>
                </a:lnTo>
                <a:lnTo>
                  <a:pt x="4259666" y="1767360"/>
                </a:lnTo>
                <a:cubicBezTo>
                  <a:pt x="4262654" y="1770342"/>
                  <a:pt x="4262654" y="1768851"/>
                  <a:pt x="4262654" y="1767360"/>
                </a:cubicBezTo>
                <a:lnTo>
                  <a:pt x="4262977" y="1765911"/>
                </a:lnTo>
                <a:lnTo>
                  <a:pt x="4263219" y="1765805"/>
                </a:lnTo>
                <a:lnTo>
                  <a:pt x="4265642" y="1767360"/>
                </a:lnTo>
                <a:cubicBezTo>
                  <a:pt x="4265642" y="1770342"/>
                  <a:pt x="4265642" y="1771833"/>
                  <a:pt x="4265642" y="1773324"/>
                </a:cubicBezTo>
                <a:lnTo>
                  <a:pt x="4265642" y="1776141"/>
                </a:lnTo>
                <a:lnTo>
                  <a:pt x="4270267" y="1773498"/>
                </a:lnTo>
                <a:cubicBezTo>
                  <a:pt x="4270984" y="1772063"/>
                  <a:pt x="4270984" y="1770629"/>
                  <a:pt x="4270984" y="1770629"/>
                </a:cubicBezTo>
                <a:lnTo>
                  <a:pt x="4275967" y="1771156"/>
                </a:lnTo>
                <a:lnTo>
                  <a:pt x="4277599" y="1770342"/>
                </a:lnTo>
                <a:cubicBezTo>
                  <a:pt x="4279093" y="1770342"/>
                  <a:pt x="4280588" y="1770342"/>
                  <a:pt x="4283577" y="1767360"/>
                </a:cubicBezTo>
                <a:lnTo>
                  <a:pt x="4283675" y="1768939"/>
                </a:lnTo>
                <a:lnTo>
                  <a:pt x="4284164" y="1768699"/>
                </a:lnTo>
                <a:lnTo>
                  <a:pt x="4283577" y="1767360"/>
                </a:lnTo>
                <a:lnTo>
                  <a:pt x="4294307" y="1764683"/>
                </a:lnTo>
                <a:lnTo>
                  <a:pt x="4300261" y="1761329"/>
                </a:lnTo>
                <a:lnTo>
                  <a:pt x="4295532" y="1755431"/>
                </a:lnTo>
                <a:cubicBezTo>
                  <a:pt x="4304499" y="1755431"/>
                  <a:pt x="4308983" y="1755431"/>
                  <a:pt x="4313467" y="1755431"/>
                </a:cubicBezTo>
                <a:lnTo>
                  <a:pt x="4315961" y="1755431"/>
                </a:lnTo>
                <a:lnTo>
                  <a:pt x="4319301" y="1753589"/>
                </a:lnTo>
                <a:cubicBezTo>
                  <a:pt x="4321535" y="1751258"/>
                  <a:pt x="4323479" y="1747671"/>
                  <a:pt x="4325033" y="1741931"/>
                </a:cubicBezTo>
                <a:cubicBezTo>
                  <a:pt x="4325033" y="1740496"/>
                  <a:pt x="4325421" y="1740496"/>
                  <a:pt x="4326005" y="1741303"/>
                </a:cubicBezTo>
                <a:cubicBezTo>
                  <a:pt x="4326879" y="1742514"/>
                  <a:pt x="4328190" y="1745541"/>
                  <a:pt x="4329283" y="1748265"/>
                </a:cubicBezTo>
                <a:lnTo>
                  <a:pt x="4331162" y="1753181"/>
                </a:lnTo>
                <a:lnTo>
                  <a:pt x="4330748" y="1749281"/>
                </a:lnTo>
                <a:cubicBezTo>
                  <a:pt x="4332429" y="1746672"/>
                  <a:pt x="4337472" y="1746299"/>
                  <a:pt x="4340648" y="1743690"/>
                </a:cubicBezTo>
                <a:lnTo>
                  <a:pt x="4342074" y="1740453"/>
                </a:lnTo>
                <a:lnTo>
                  <a:pt x="4339857" y="1741931"/>
                </a:lnTo>
                <a:cubicBezTo>
                  <a:pt x="4336987" y="1743366"/>
                  <a:pt x="4334118" y="1744801"/>
                  <a:pt x="4331248" y="1747671"/>
                </a:cubicBezTo>
                <a:cubicBezTo>
                  <a:pt x="4331248" y="1741931"/>
                  <a:pt x="4331248" y="1741931"/>
                  <a:pt x="4331248" y="1736192"/>
                </a:cubicBezTo>
                <a:cubicBezTo>
                  <a:pt x="4336987" y="1739061"/>
                  <a:pt x="4339858" y="1736192"/>
                  <a:pt x="4342009" y="1734039"/>
                </a:cubicBezTo>
                <a:cubicBezTo>
                  <a:pt x="4343086" y="1732963"/>
                  <a:pt x="4343983" y="1732067"/>
                  <a:pt x="4344969" y="1732156"/>
                </a:cubicBezTo>
                <a:cubicBezTo>
                  <a:pt x="4345956" y="1732246"/>
                  <a:pt x="4347032" y="1733322"/>
                  <a:pt x="4348466" y="1736192"/>
                </a:cubicBezTo>
                <a:lnTo>
                  <a:pt x="4345334" y="1738280"/>
                </a:lnTo>
                <a:lnTo>
                  <a:pt x="4349335" y="1739776"/>
                </a:lnTo>
                <a:cubicBezTo>
                  <a:pt x="4350830" y="1740522"/>
                  <a:pt x="4352324" y="1740522"/>
                  <a:pt x="4355313" y="1737540"/>
                </a:cubicBezTo>
                <a:cubicBezTo>
                  <a:pt x="4355313" y="1749468"/>
                  <a:pt x="4343357" y="1743504"/>
                  <a:pt x="4337379" y="1755431"/>
                </a:cubicBezTo>
                <a:cubicBezTo>
                  <a:pt x="4337379" y="1761396"/>
                  <a:pt x="4343357" y="1755431"/>
                  <a:pt x="4349335" y="1755431"/>
                </a:cubicBezTo>
                <a:cubicBezTo>
                  <a:pt x="4349335" y="1755431"/>
                  <a:pt x="4373248" y="1743504"/>
                  <a:pt x="4379226" y="1743504"/>
                </a:cubicBezTo>
                <a:cubicBezTo>
                  <a:pt x="4385202" y="1743504"/>
                  <a:pt x="4379226" y="1731575"/>
                  <a:pt x="4373248" y="1725611"/>
                </a:cubicBezTo>
                <a:cubicBezTo>
                  <a:pt x="4385202" y="1731575"/>
                  <a:pt x="4397159" y="1707720"/>
                  <a:pt x="4415092" y="1719647"/>
                </a:cubicBezTo>
                <a:cubicBezTo>
                  <a:pt x="4403137" y="1719647"/>
                  <a:pt x="4391180" y="1731575"/>
                  <a:pt x="4385202" y="1731575"/>
                </a:cubicBezTo>
                <a:cubicBezTo>
                  <a:pt x="4397159" y="1749468"/>
                  <a:pt x="4415092" y="1719647"/>
                  <a:pt x="4433027" y="1731575"/>
                </a:cubicBezTo>
                <a:cubicBezTo>
                  <a:pt x="4427048" y="1737540"/>
                  <a:pt x="4409114" y="1725611"/>
                  <a:pt x="4409114" y="1743504"/>
                </a:cubicBezTo>
                <a:cubicBezTo>
                  <a:pt x="4403137" y="1743504"/>
                  <a:pt x="4397159" y="1743504"/>
                  <a:pt x="4391180" y="1749468"/>
                </a:cubicBezTo>
                <a:cubicBezTo>
                  <a:pt x="4391180" y="1755431"/>
                  <a:pt x="4403137" y="1743504"/>
                  <a:pt x="4403137" y="1755431"/>
                </a:cubicBezTo>
                <a:cubicBezTo>
                  <a:pt x="4385202" y="1755431"/>
                  <a:pt x="4367270" y="1767360"/>
                  <a:pt x="4349335" y="1779287"/>
                </a:cubicBezTo>
                <a:cubicBezTo>
                  <a:pt x="4343357" y="1773324"/>
                  <a:pt x="4349335" y="1767360"/>
                  <a:pt x="4355313" y="1767360"/>
                </a:cubicBezTo>
                <a:cubicBezTo>
                  <a:pt x="4349335" y="1761396"/>
                  <a:pt x="4349335" y="1767360"/>
                  <a:pt x="4343357" y="1767360"/>
                </a:cubicBezTo>
                <a:cubicBezTo>
                  <a:pt x="4343357" y="1767360"/>
                  <a:pt x="4349335" y="1773324"/>
                  <a:pt x="4343357" y="1779287"/>
                </a:cubicBezTo>
                <a:cubicBezTo>
                  <a:pt x="4307488" y="1785251"/>
                  <a:pt x="4295532" y="1797180"/>
                  <a:pt x="4265642" y="1809107"/>
                </a:cubicBezTo>
                <a:cubicBezTo>
                  <a:pt x="4265642" y="1809107"/>
                  <a:pt x="4265642" y="1803144"/>
                  <a:pt x="4265642" y="1803144"/>
                </a:cubicBezTo>
                <a:cubicBezTo>
                  <a:pt x="4259666" y="1803144"/>
                  <a:pt x="4259666" y="1809107"/>
                  <a:pt x="4259666" y="1815071"/>
                </a:cubicBezTo>
                <a:cubicBezTo>
                  <a:pt x="4289554" y="1809107"/>
                  <a:pt x="4355313" y="1779287"/>
                  <a:pt x="4391180" y="1761396"/>
                </a:cubicBezTo>
                <a:cubicBezTo>
                  <a:pt x="4415092" y="1767360"/>
                  <a:pt x="4439005" y="1743504"/>
                  <a:pt x="4444983" y="1743504"/>
                </a:cubicBezTo>
                <a:cubicBezTo>
                  <a:pt x="4447972" y="1746486"/>
                  <a:pt x="4447972" y="1747976"/>
                  <a:pt x="4447972" y="1749468"/>
                </a:cubicBezTo>
                <a:lnTo>
                  <a:pt x="4448721" y="1750961"/>
                </a:lnTo>
                <a:lnTo>
                  <a:pt x="4454172" y="1749024"/>
                </a:lnTo>
                <a:lnTo>
                  <a:pt x="4455445" y="1746486"/>
                </a:lnTo>
                <a:cubicBezTo>
                  <a:pt x="4455445" y="1743504"/>
                  <a:pt x="4453950" y="1740522"/>
                  <a:pt x="4450961" y="1737540"/>
                </a:cubicBezTo>
                <a:cubicBezTo>
                  <a:pt x="4468895" y="1731575"/>
                  <a:pt x="4498786" y="1719647"/>
                  <a:pt x="4516719" y="1713684"/>
                </a:cubicBezTo>
                <a:cubicBezTo>
                  <a:pt x="4498786" y="1731575"/>
                  <a:pt x="4480852" y="1731575"/>
                  <a:pt x="4456939" y="1743504"/>
                </a:cubicBezTo>
                <a:cubicBezTo>
                  <a:pt x="4483841" y="1740521"/>
                  <a:pt x="4500281" y="1734557"/>
                  <a:pt x="4517466" y="1727849"/>
                </a:cubicBezTo>
                <a:lnTo>
                  <a:pt x="4532742" y="1723118"/>
                </a:lnTo>
                <a:lnTo>
                  <a:pt x="4532910" y="1721773"/>
                </a:lnTo>
                <a:lnTo>
                  <a:pt x="4533897" y="1722760"/>
                </a:lnTo>
                <a:lnTo>
                  <a:pt x="4536417" y="1721980"/>
                </a:lnTo>
                <a:lnTo>
                  <a:pt x="4537083" y="1721136"/>
                </a:lnTo>
                <a:cubicBezTo>
                  <a:pt x="4544884" y="1715172"/>
                  <a:pt x="4556722" y="1713916"/>
                  <a:pt x="4565332" y="1708894"/>
                </a:cubicBezTo>
                <a:lnTo>
                  <a:pt x="4553756" y="1716612"/>
                </a:lnTo>
                <a:lnTo>
                  <a:pt x="4579363" y="1708684"/>
                </a:lnTo>
                <a:lnTo>
                  <a:pt x="4576499" y="1713684"/>
                </a:lnTo>
                <a:cubicBezTo>
                  <a:pt x="4585467" y="1710701"/>
                  <a:pt x="4601906" y="1704737"/>
                  <a:pt x="4618346" y="1699518"/>
                </a:cubicBezTo>
                <a:lnTo>
                  <a:pt x="4630302" y="1696749"/>
                </a:lnTo>
                <a:lnTo>
                  <a:pt x="4630302" y="1707720"/>
                </a:lnTo>
                <a:cubicBezTo>
                  <a:pt x="4618346" y="1701755"/>
                  <a:pt x="4600412" y="1713684"/>
                  <a:pt x="4576499" y="1725611"/>
                </a:cubicBezTo>
                <a:cubicBezTo>
                  <a:pt x="4570521" y="1725611"/>
                  <a:pt x="4570521" y="1719647"/>
                  <a:pt x="4576499" y="1719647"/>
                </a:cubicBezTo>
                <a:cubicBezTo>
                  <a:pt x="4570521" y="1713684"/>
                  <a:pt x="4570521" y="1725611"/>
                  <a:pt x="4564543" y="1719647"/>
                </a:cubicBezTo>
                <a:cubicBezTo>
                  <a:pt x="4564543" y="1725611"/>
                  <a:pt x="4570521" y="1725611"/>
                  <a:pt x="4570521" y="1725611"/>
                </a:cubicBezTo>
                <a:cubicBezTo>
                  <a:pt x="4570521" y="1731575"/>
                  <a:pt x="4564543" y="1731575"/>
                  <a:pt x="4558565" y="1731575"/>
                </a:cubicBezTo>
                <a:cubicBezTo>
                  <a:pt x="4558565" y="1731575"/>
                  <a:pt x="4564543" y="1731575"/>
                  <a:pt x="4564543" y="1725611"/>
                </a:cubicBezTo>
                <a:cubicBezTo>
                  <a:pt x="4552587" y="1725611"/>
                  <a:pt x="4558565" y="1719647"/>
                  <a:pt x="4552587" y="1719647"/>
                </a:cubicBezTo>
                <a:cubicBezTo>
                  <a:pt x="4552587" y="1731575"/>
                  <a:pt x="4540630" y="1731575"/>
                  <a:pt x="4540630" y="1743504"/>
                </a:cubicBezTo>
                <a:cubicBezTo>
                  <a:pt x="4528674" y="1749468"/>
                  <a:pt x="4534652" y="1737540"/>
                  <a:pt x="4534652" y="1731575"/>
                </a:cubicBezTo>
                <a:cubicBezTo>
                  <a:pt x="4528674" y="1737540"/>
                  <a:pt x="4522697" y="1737540"/>
                  <a:pt x="4516719" y="1743504"/>
                </a:cubicBezTo>
                <a:cubicBezTo>
                  <a:pt x="4516719" y="1737540"/>
                  <a:pt x="4510742" y="1743504"/>
                  <a:pt x="4504764" y="1743504"/>
                </a:cubicBezTo>
                <a:cubicBezTo>
                  <a:pt x="4504764" y="1743504"/>
                  <a:pt x="4504764" y="1749468"/>
                  <a:pt x="4504764" y="1749468"/>
                </a:cubicBezTo>
                <a:cubicBezTo>
                  <a:pt x="4498786" y="1755431"/>
                  <a:pt x="4498786" y="1749468"/>
                  <a:pt x="4498786" y="1743504"/>
                </a:cubicBezTo>
                <a:cubicBezTo>
                  <a:pt x="4486830" y="1743504"/>
                  <a:pt x="4486830" y="1761396"/>
                  <a:pt x="4480852" y="1755431"/>
                </a:cubicBezTo>
                <a:cubicBezTo>
                  <a:pt x="4492808" y="1761396"/>
                  <a:pt x="4474873" y="1755431"/>
                  <a:pt x="4480852" y="1761396"/>
                </a:cubicBezTo>
                <a:cubicBezTo>
                  <a:pt x="4474873" y="1767360"/>
                  <a:pt x="4480852" y="1755431"/>
                  <a:pt x="4474873" y="1761396"/>
                </a:cubicBezTo>
                <a:cubicBezTo>
                  <a:pt x="4474873" y="1761396"/>
                  <a:pt x="4468895" y="1773324"/>
                  <a:pt x="4462917" y="1767360"/>
                </a:cubicBezTo>
                <a:cubicBezTo>
                  <a:pt x="4462917" y="1761396"/>
                  <a:pt x="4468895" y="1773324"/>
                  <a:pt x="4468895" y="1761396"/>
                </a:cubicBezTo>
                <a:cubicBezTo>
                  <a:pt x="4450961" y="1761396"/>
                  <a:pt x="4444983" y="1773324"/>
                  <a:pt x="4427048" y="1779287"/>
                </a:cubicBezTo>
                <a:cubicBezTo>
                  <a:pt x="4439005" y="1785251"/>
                  <a:pt x="4403137" y="1785251"/>
                  <a:pt x="4391180" y="1797180"/>
                </a:cubicBezTo>
                <a:cubicBezTo>
                  <a:pt x="4391180" y="1797180"/>
                  <a:pt x="4391180" y="1791216"/>
                  <a:pt x="4391180" y="1791216"/>
                </a:cubicBezTo>
                <a:cubicBezTo>
                  <a:pt x="4385202" y="1791216"/>
                  <a:pt x="4385202" y="1797180"/>
                  <a:pt x="4385202" y="1791216"/>
                </a:cubicBezTo>
                <a:cubicBezTo>
                  <a:pt x="4379226" y="1791216"/>
                  <a:pt x="4385202" y="1797180"/>
                  <a:pt x="4385202" y="1797180"/>
                </a:cubicBezTo>
                <a:cubicBezTo>
                  <a:pt x="4343357" y="1821036"/>
                  <a:pt x="4325423" y="1821036"/>
                  <a:pt x="4271620" y="1844892"/>
                </a:cubicBezTo>
                <a:cubicBezTo>
                  <a:pt x="4283577" y="1844892"/>
                  <a:pt x="4277599" y="1856820"/>
                  <a:pt x="4271620" y="1856820"/>
                </a:cubicBezTo>
                <a:cubicBezTo>
                  <a:pt x="4283577" y="1850856"/>
                  <a:pt x="4307488" y="1827000"/>
                  <a:pt x="4325423" y="1832964"/>
                </a:cubicBezTo>
                <a:cubicBezTo>
                  <a:pt x="4325423" y="1832964"/>
                  <a:pt x="4325423" y="1832964"/>
                  <a:pt x="4325423" y="1827000"/>
                </a:cubicBezTo>
                <a:cubicBezTo>
                  <a:pt x="4367270" y="1809107"/>
                  <a:pt x="4427048" y="1791216"/>
                  <a:pt x="4486830" y="1773324"/>
                </a:cubicBezTo>
                <a:cubicBezTo>
                  <a:pt x="4491313" y="1771833"/>
                  <a:pt x="4496170" y="1769223"/>
                  <a:pt x="4501121" y="1766428"/>
                </a:cubicBezTo>
                <a:lnTo>
                  <a:pt x="4515351" y="1758749"/>
                </a:lnTo>
                <a:lnTo>
                  <a:pt x="4513730" y="1761396"/>
                </a:lnTo>
                <a:cubicBezTo>
                  <a:pt x="4512236" y="1764378"/>
                  <a:pt x="4510742" y="1767360"/>
                  <a:pt x="4510742" y="1761396"/>
                </a:cubicBezTo>
                <a:cubicBezTo>
                  <a:pt x="4504764" y="1767360"/>
                  <a:pt x="4516719" y="1767360"/>
                  <a:pt x="4510742" y="1773324"/>
                </a:cubicBezTo>
                <a:cubicBezTo>
                  <a:pt x="4504764" y="1767360"/>
                  <a:pt x="4498786" y="1773324"/>
                  <a:pt x="4504764" y="1779287"/>
                </a:cubicBezTo>
                <a:cubicBezTo>
                  <a:pt x="4474873" y="1785251"/>
                  <a:pt x="4444983" y="1779287"/>
                  <a:pt x="4439005" y="1809107"/>
                </a:cubicBezTo>
                <a:cubicBezTo>
                  <a:pt x="4430038" y="1810598"/>
                  <a:pt x="4420323" y="1814698"/>
                  <a:pt x="4410142" y="1820103"/>
                </a:cubicBezTo>
                <a:lnTo>
                  <a:pt x="4381238" y="1837286"/>
                </a:lnTo>
                <a:lnTo>
                  <a:pt x="4398559" y="1831689"/>
                </a:lnTo>
                <a:lnTo>
                  <a:pt x="4392613" y="1834301"/>
                </a:lnTo>
                <a:cubicBezTo>
                  <a:pt x="4378403" y="1840327"/>
                  <a:pt x="4364939" y="1846354"/>
                  <a:pt x="4355963" y="1852380"/>
                </a:cubicBezTo>
                <a:lnTo>
                  <a:pt x="4353759" y="1853119"/>
                </a:lnTo>
                <a:lnTo>
                  <a:pt x="4345692" y="1857751"/>
                </a:lnTo>
                <a:cubicBezTo>
                  <a:pt x="4334763" y="1863156"/>
                  <a:pt x="4323928" y="1867256"/>
                  <a:pt x="4313467" y="1868747"/>
                </a:cubicBezTo>
                <a:lnTo>
                  <a:pt x="4312823" y="1870460"/>
                </a:lnTo>
                <a:lnTo>
                  <a:pt x="4314077" y="1870460"/>
                </a:lnTo>
                <a:lnTo>
                  <a:pt x="4312622" y="1870995"/>
                </a:lnTo>
                <a:lnTo>
                  <a:pt x="4311225" y="1874712"/>
                </a:lnTo>
                <a:cubicBezTo>
                  <a:pt x="4311972" y="1876203"/>
                  <a:pt x="4313467" y="1877695"/>
                  <a:pt x="4313467" y="1880676"/>
                </a:cubicBezTo>
                <a:cubicBezTo>
                  <a:pt x="4310477" y="1883658"/>
                  <a:pt x="4308983" y="1882167"/>
                  <a:pt x="4308236" y="1879185"/>
                </a:cubicBezTo>
                <a:lnTo>
                  <a:pt x="4307777" y="1872777"/>
                </a:lnTo>
                <a:lnTo>
                  <a:pt x="4291545" y="1878746"/>
                </a:lnTo>
                <a:cubicBezTo>
                  <a:pt x="4274155" y="1884019"/>
                  <a:pt x="4253399" y="1889292"/>
                  <a:pt x="4237504" y="1897579"/>
                </a:cubicBezTo>
                <a:lnTo>
                  <a:pt x="4224658" y="1907676"/>
                </a:lnTo>
                <a:lnTo>
                  <a:pt x="4225130" y="1908306"/>
                </a:lnTo>
                <a:cubicBezTo>
                  <a:pt x="4224413" y="1909741"/>
                  <a:pt x="4222978" y="1911176"/>
                  <a:pt x="4222978" y="1911176"/>
                </a:cubicBezTo>
                <a:cubicBezTo>
                  <a:pt x="4228718" y="1905437"/>
                  <a:pt x="4234457" y="1911176"/>
                  <a:pt x="4234457" y="1905437"/>
                </a:cubicBezTo>
                <a:cubicBezTo>
                  <a:pt x="4245936" y="1922655"/>
                  <a:pt x="4211500" y="1911176"/>
                  <a:pt x="4211500" y="1928395"/>
                </a:cubicBezTo>
                <a:lnTo>
                  <a:pt x="4211500" y="1916549"/>
                </a:lnTo>
                <a:lnTo>
                  <a:pt x="4208814" y="1917825"/>
                </a:lnTo>
                <a:cubicBezTo>
                  <a:pt x="4208814" y="1911862"/>
                  <a:pt x="4214792" y="1911862"/>
                  <a:pt x="4208814" y="1905898"/>
                </a:cubicBezTo>
                <a:lnTo>
                  <a:pt x="4196213" y="1915265"/>
                </a:lnTo>
                <a:lnTo>
                  <a:pt x="4199885" y="1922424"/>
                </a:lnTo>
                <a:cubicBezTo>
                  <a:pt x="4193907" y="1922424"/>
                  <a:pt x="4193907" y="1922424"/>
                  <a:pt x="4193907" y="1922424"/>
                </a:cubicBezTo>
                <a:lnTo>
                  <a:pt x="4182462" y="1922424"/>
                </a:lnTo>
                <a:lnTo>
                  <a:pt x="4179671" y="1923790"/>
                </a:lnTo>
                <a:cubicBezTo>
                  <a:pt x="4174814" y="1926026"/>
                  <a:pt x="4170143" y="1928262"/>
                  <a:pt x="4165940" y="1931058"/>
                </a:cubicBezTo>
                <a:lnTo>
                  <a:pt x="4158878" y="1937923"/>
                </a:lnTo>
                <a:lnTo>
                  <a:pt x="4158038" y="1940316"/>
                </a:lnTo>
                <a:lnTo>
                  <a:pt x="4157037" y="1939712"/>
                </a:lnTo>
                <a:lnTo>
                  <a:pt x="4155011" y="1941682"/>
                </a:lnTo>
                <a:cubicBezTo>
                  <a:pt x="4150528" y="1932736"/>
                  <a:pt x="4146044" y="1940563"/>
                  <a:pt x="4141561" y="1940004"/>
                </a:cubicBezTo>
                <a:lnTo>
                  <a:pt x="4138621" y="1937195"/>
                </a:lnTo>
                <a:lnTo>
                  <a:pt x="4136566" y="1938013"/>
                </a:lnTo>
                <a:lnTo>
                  <a:pt x="4133093" y="1953609"/>
                </a:lnTo>
                <a:lnTo>
                  <a:pt x="4131099" y="1953609"/>
                </a:lnTo>
                <a:cubicBezTo>
                  <a:pt x="4128110" y="1953609"/>
                  <a:pt x="4128110" y="1950628"/>
                  <a:pt x="4128110" y="1947646"/>
                </a:cubicBezTo>
                <a:lnTo>
                  <a:pt x="4125491" y="1942420"/>
                </a:lnTo>
                <a:lnTo>
                  <a:pt x="4125160" y="1942553"/>
                </a:lnTo>
                <a:lnTo>
                  <a:pt x="4120845" y="1945094"/>
                </a:lnTo>
                <a:lnTo>
                  <a:pt x="4117648" y="1947646"/>
                </a:lnTo>
                <a:cubicBezTo>
                  <a:pt x="4116154" y="1949136"/>
                  <a:pt x="4116154" y="1950628"/>
                  <a:pt x="4119143" y="1953609"/>
                </a:cubicBezTo>
                <a:cubicBezTo>
                  <a:pt x="4113165" y="1950628"/>
                  <a:pt x="4108681" y="1952119"/>
                  <a:pt x="4104945" y="1955846"/>
                </a:cubicBezTo>
                <a:lnTo>
                  <a:pt x="4096869" y="1968861"/>
                </a:lnTo>
                <a:lnTo>
                  <a:pt x="4110201" y="1965158"/>
                </a:lnTo>
                <a:lnTo>
                  <a:pt x="4111914" y="1964301"/>
                </a:lnTo>
                <a:cubicBezTo>
                  <a:pt x="4113348" y="1962866"/>
                  <a:pt x="4114784" y="1961431"/>
                  <a:pt x="4117653" y="1961431"/>
                </a:cubicBezTo>
                <a:lnTo>
                  <a:pt x="4117680" y="1963080"/>
                </a:lnTo>
                <a:lnTo>
                  <a:pt x="4121797" y="1961935"/>
                </a:lnTo>
                <a:lnTo>
                  <a:pt x="4132512" y="1956957"/>
                </a:lnTo>
                <a:lnTo>
                  <a:pt x="4132594" y="1955847"/>
                </a:lnTo>
                <a:lnTo>
                  <a:pt x="4133093" y="1953609"/>
                </a:lnTo>
                <a:lnTo>
                  <a:pt x="4139717" y="1953609"/>
                </a:lnTo>
                <a:lnTo>
                  <a:pt x="4149072" y="1949262"/>
                </a:lnTo>
                <a:lnTo>
                  <a:pt x="4173713" y="1940206"/>
                </a:lnTo>
                <a:lnTo>
                  <a:pt x="4174192" y="1939873"/>
                </a:lnTo>
                <a:lnTo>
                  <a:pt x="4174125" y="1940054"/>
                </a:lnTo>
                <a:lnTo>
                  <a:pt x="4187980" y="1934962"/>
                </a:lnTo>
                <a:lnTo>
                  <a:pt x="4188677" y="1943299"/>
                </a:lnTo>
                <a:lnTo>
                  <a:pt x="4191446" y="1948036"/>
                </a:lnTo>
                <a:lnTo>
                  <a:pt x="4195997" y="1943392"/>
                </a:lnTo>
                <a:cubicBezTo>
                  <a:pt x="4197503" y="1940317"/>
                  <a:pt x="4199010" y="1937242"/>
                  <a:pt x="4202023" y="1937242"/>
                </a:cubicBezTo>
                <a:cubicBezTo>
                  <a:pt x="4205036" y="1934167"/>
                  <a:pt x="4208050" y="1932630"/>
                  <a:pt x="4211063" y="1932630"/>
                </a:cubicBezTo>
                <a:lnTo>
                  <a:pt x="4219204" y="1936784"/>
                </a:lnTo>
                <a:lnTo>
                  <a:pt x="4207974" y="1942316"/>
                </a:lnTo>
                <a:lnTo>
                  <a:pt x="4208092" y="1942407"/>
                </a:lnTo>
                <a:cubicBezTo>
                  <a:pt x="4208989" y="1942609"/>
                  <a:pt x="4210065" y="1942205"/>
                  <a:pt x="4211500" y="1940591"/>
                </a:cubicBezTo>
                <a:cubicBezTo>
                  <a:pt x="4217239" y="1940591"/>
                  <a:pt x="4200020" y="1947048"/>
                  <a:pt x="4211500" y="1953505"/>
                </a:cubicBezTo>
                <a:cubicBezTo>
                  <a:pt x="4211500" y="1959962"/>
                  <a:pt x="4205760" y="1953505"/>
                  <a:pt x="4205760" y="1947048"/>
                </a:cubicBezTo>
                <a:cubicBezTo>
                  <a:pt x="4205760" y="1947048"/>
                  <a:pt x="4205760" y="1953505"/>
                  <a:pt x="4205760" y="1953505"/>
                </a:cubicBezTo>
                <a:cubicBezTo>
                  <a:pt x="4205760" y="1953505"/>
                  <a:pt x="4204325" y="1950277"/>
                  <a:pt x="4202890" y="1947048"/>
                </a:cubicBezTo>
                <a:lnTo>
                  <a:pt x="4202137" y="1945354"/>
                </a:lnTo>
                <a:lnTo>
                  <a:pt x="4193266" y="1950118"/>
                </a:lnTo>
                <a:lnTo>
                  <a:pt x="4192770" y="1950299"/>
                </a:lnTo>
                <a:lnTo>
                  <a:pt x="4193907" y="1952244"/>
                </a:lnTo>
                <a:cubicBezTo>
                  <a:pt x="4187928" y="1952244"/>
                  <a:pt x="4187928" y="1952244"/>
                  <a:pt x="4187928" y="1952244"/>
                </a:cubicBezTo>
                <a:lnTo>
                  <a:pt x="4187867" y="1952079"/>
                </a:lnTo>
                <a:lnTo>
                  <a:pt x="4177917" y="1955692"/>
                </a:lnTo>
                <a:lnTo>
                  <a:pt x="4178720" y="1953791"/>
                </a:lnTo>
                <a:lnTo>
                  <a:pt x="4177894" y="1954186"/>
                </a:lnTo>
                <a:lnTo>
                  <a:pt x="4177917" y="1954256"/>
                </a:lnTo>
                <a:lnTo>
                  <a:pt x="4177290" y="1954475"/>
                </a:lnTo>
                <a:lnTo>
                  <a:pt x="4163269" y="1961190"/>
                </a:lnTo>
                <a:cubicBezTo>
                  <a:pt x="4156544" y="1964172"/>
                  <a:pt x="4149072" y="1967154"/>
                  <a:pt x="4140104" y="1970136"/>
                </a:cubicBezTo>
                <a:cubicBezTo>
                  <a:pt x="4140104" y="1970136"/>
                  <a:pt x="4140104" y="1968645"/>
                  <a:pt x="4140104" y="1966409"/>
                </a:cubicBezTo>
                <a:lnTo>
                  <a:pt x="4140104" y="1963382"/>
                </a:lnTo>
                <a:lnTo>
                  <a:pt x="4137077" y="1965538"/>
                </a:lnTo>
                <a:lnTo>
                  <a:pt x="4137077" y="1971502"/>
                </a:lnTo>
                <a:lnTo>
                  <a:pt x="4133440" y="1965655"/>
                </a:lnTo>
                <a:lnTo>
                  <a:pt x="4131138" y="1971627"/>
                </a:lnTo>
                <a:cubicBezTo>
                  <a:pt x="4129643" y="1976100"/>
                  <a:pt x="4128149" y="1979081"/>
                  <a:pt x="4122172" y="1976100"/>
                </a:cubicBezTo>
                <a:cubicBezTo>
                  <a:pt x="4122172" y="1979083"/>
                  <a:pt x="4119182" y="1980574"/>
                  <a:pt x="4116940" y="1982810"/>
                </a:cubicBezTo>
                <a:lnTo>
                  <a:pt x="4116531" y="1988929"/>
                </a:lnTo>
                <a:lnTo>
                  <a:pt x="4116193" y="1988029"/>
                </a:lnTo>
                <a:cubicBezTo>
                  <a:pt x="4116193" y="1988029"/>
                  <a:pt x="4116193" y="1993993"/>
                  <a:pt x="4116193" y="1993993"/>
                </a:cubicBezTo>
                <a:lnTo>
                  <a:pt x="4116531" y="1988929"/>
                </a:lnTo>
                <a:lnTo>
                  <a:pt x="4118435" y="1993993"/>
                </a:lnTo>
                <a:lnTo>
                  <a:pt x="4116078" y="1995846"/>
                </a:lnTo>
                <a:lnTo>
                  <a:pt x="4122855" y="1992909"/>
                </a:lnTo>
                <a:cubicBezTo>
                  <a:pt x="4126621" y="1992281"/>
                  <a:pt x="4129132" y="1992998"/>
                  <a:pt x="4129132" y="1995868"/>
                </a:cubicBezTo>
                <a:cubicBezTo>
                  <a:pt x="4111914" y="2001608"/>
                  <a:pt x="4100435" y="2013086"/>
                  <a:pt x="4088956" y="2013086"/>
                </a:cubicBezTo>
                <a:cubicBezTo>
                  <a:pt x="4088956" y="2010934"/>
                  <a:pt x="4094605" y="2006361"/>
                  <a:pt x="4101667" y="2002089"/>
                </a:cubicBezTo>
                <a:lnTo>
                  <a:pt x="4111040" y="1998028"/>
                </a:lnTo>
                <a:lnTo>
                  <a:pt x="4110215" y="1997720"/>
                </a:lnTo>
                <a:cubicBezTo>
                  <a:pt x="4108721" y="1998465"/>
                  <a:pt x="4107226" y="1999956"/>
                  <a:pt x="4104237" y="1999956"/>
                </a:cubicBezTo>
                <a:cubicBezTo>
                  <a:pt x="4107225" y="1996975"/>
                  <a:pt x="4104237" y="1996975"/>
                  <a:pt x="4100501" y="1996228"/>
                </a:cubicBezTo>
                <a:lnTo>
                  <a:pt x="4092668" y="1988416"/>
                </a:lnTo>
                <a:lnTo>
                  <a:pt x="4091811" y="1988539"/>
                </a:lnTo>
                <a:lnTo>
                  <a:pt x="4075095" y="2006667"/>
                </a:lnTo>
                <a:lnTo>
                  <a:pt x="4071796" y="2017341"/>
                </a:lnTo>
                <a:lnTo>
                  <a:pt x="4073216" y="2021382"/>
                </a:lnTo>
                <a:cubicBezTo>
                  <a:pt x="4073441" y="2023400"/>
                  <a:pt x="4072992" y="2024746"/>
                  <a:pt x="4072096" y="2025642"/>
                </a:cubicBezTo>
                <a:lnTo>
                  <a:pt x="4064567" y="2027148"/>
                </a:lnTo>
                <a:lnTo>
                  <a:pt x="4062390" y="2029776"/>
                </a:lnTo>
                <a:cubicBezTo>
                  <a:pt x="4056412" y="2017849"/>
                  <a:pt x="4062390" y="2005920"/>
                  <a:pt x="4068368" y="2011884"/>
                </a:cubicBezTo>
                <a:cubicBezTo>
                  <a:pt x="4068368" y="1998465"/>
                  <a:pt x="4065005" y="2005174"/>
                  <a:pt x="4060803" y="2004335"/>
                </a:cubicBezTo>
                <a:lnTo>
                  <a:pt x="4057891" y="2001431"/>
                </a:lnTo>
                <a:lnTo>
                  <a:pt x="4055405" y="2002368"/>
                </a:lnTo>
                <a:lnTo>
                  <a:pt x="4052676" y="2008902"/>
                </a:lnTo>
                <a:cubicBezTo>
                  <a:pt x="4051929" y="2011884"/>
                  <a:pt x="4050434" y="2014866"/>
                  <a:pt x="4044456" y="2017849"/>
                </a:cubicBezTo>
                <a:cubicBezTo>
                  <a:pt x="4050434" y="2017849"/>
                  <a:pt x="4056412" y="2017849"/>
                  <a:pt x="4056412" y="2029776"/>
                </a:cubicBezTo>
                <a:cubicBezTo>
                  <a:pt x="4050434" y="2035739"/>
                  <a:pt x="4050434" y="2023812"/>
                  <a:pt x="4044456" y="2023812"/>
                </a:cubicBezTo>
                <a:cubicBezTo>
                  <a:pt x="4038479" y="2029776"/>
                  <a:pt x="4050434" y="2029776"/>
                  <a:pt x="4044456" y="2035739"/>
                </a:cubicBezTo>
                <a:cubicBezTo>
                  <a:pt x="4042962" y="2037231"/>
                  <a:pt x="4041841" y="2036859"/>
                  <a:pt x="4040814" y="2035647"/>
                </a:cubicBezTo>
                <a:lnTo>
                  <a:pt x="4038520" y="2031833"/>
                </a:lnTo>
                <a:lnTo>
                  <a:pt x="4038017" y="2033174"/>
                </a:lnTo>
                <a:cubicBezTo>
                  <a:pt x="4037299" y="2034608"/>
                  <a:pt x="4037299" y="2036044"/>
                  <a:pt x="4040169" y="2038913"/>
                </a:cubicBezTo>
                <a:cubicBezTo>
                  <a:pt x="4037299" y="2038913"/>
                  <a:pt x="4034430" y="2040348"/>
                  <a:pt x="4032278" y="2040348"/>
                </a:cubicBezTo>
                <a:lnTo>
                  <a:pt x="4031415" y="2039872"/>
                </a:lnTo>
                <a:lnTo>
                  <a:pt x="4023346" y="2044593"/>
                </a:lnTo>
                <a:cubicBezTo>
                  <a:pt x="4010456" y="2053260"/>
                  <a:pt x="4002610" y="2061087"/>
                  <a:pt x="3984678" y="2065560"/>
                </a:cubicBezTo>
                <a:cubicBezTo>
                  <a:pt x="3984678" y="2065560"/>
                  <a:pt x="3984678" y="2065560"/>
                  <a:pt x="3984678" y="2071525"/>
                </a:cubicBezTo>
                <a:cubicBezTo>
                  <a:pt x="3990656" y="2071525"/>
                  <a:pt x="4002610" y="2065560"/>
                  <a:pt x="3996633" y="2077489"/>
                </a:cubicBezTo>
                <a:cubicBezTo>
                  <a:pt x="4008588" y="2065560"/>
                  <a:pt x="4002610" y="2065560"/>
                  <a:pt x="4014565" y="2053632"/>
                </a:cubicBezTo>
                <a:cubicBezTo>
                  <a:pt x="4014565" y="2059596"/>
                  <a:pt x="4020544" y="2065560"/>
                  <a:pt x="4020544" y="2065560"/>
                </a:cubicBezTo>
                <a:cubicBezTo>
                  <a:pt x="4026522" y="2047669"/>
                  <a:pt x="4038479" y="2053632"/>
                  <a:pt x="4038479" y="2041705"/>
                </a:cubicBezTo>
                <a:cubicBezTo>
                  <a:pt x="4050434" y="2041705"/>
                  <a:pt x="4038479" y="2047669"/>
                  <a:pt x="4044456" y="2053632"/>
                </a:cubicBezTo>
                <a:cubicBezTo>
                  <a:pt x="4044456" y="2047669"/>
                  <a:pt x="4086303" y="2047669"/>
                  <a:pt x="4080325" y="2023812"/>
                </a:cubicBezTo>
                <a:cubicBezTo>
                  <a:pt x="4074347" y="2041705"/>
                  <a:pt x="4092281" y="2035739"/>
                  <a:pt x="4098259" y="2041705"/>
                </a:cubicBezTo>
                <a:cubicBezTo>
                  <a:pt x="4098259" y="2029776"/>
                  <a:pt x="4092281" y="2035739"/>
                  <a:pt x="4110215" y="2029776"/>
                </a:cubicBezTo>
                <a:cubicBezTo>
                  <a:pt x="4110215" y="2035739"/>
                  <a:pt x="4104237" y="2035739"/>
                  <a:pt x="4104237" y="2035739"/>
                </a:cubicBezTo>
                <a:cubicBezTo>
                  <a:pt x="4104237" y="2041705"/>
                  <a:pt x="4116193" y="2023812"/>
                  <a:pt x="4116193" y="2029776"/>
                </a:cubicBezTo>
                <a:cubicBezTo>
                  <a:pt x="4116193" y="2017849"/>
                  <a:pt x="4122172" y="2029776"/>
                  <a:pt x="4116193" y="2035739"/>
                </a:cubicBezTo>
                <a:cubicBezTo>
                  <a:pt x="4140104" y="2005920"/>
                  <a:pt x="4169994" y="2017849"/>
                  <a:pt x="4199885" y="1993993"/>
                </a:cubicBezTo>
                <a:cubicBezTo>
                  <a:pt x="4211841" y="2005920"/>
                  <a:pt x="4169994" y="2005920"/>
                  <a:pt x="4175972" y="2017849"/>
                </a:cubicBezTo>
                <a:lnTo>
                  <a:pt x="4167075" y="2018403"/>
                </a:lnTo>
                <a:lnTo>
                  <a:pt x="4164016" y="2017849"/>
                </a:lnTo>
                <a:lnTo>
                  <a:pt x="4162779" y="2018671"/>
                </a:lnTo>
                <a:lnTo>
                  <a:pt x="4152061" y="2019339"/>
                </a:lnTo>
                <a:cubicBezTo>
                  <a:pt x="4144589" y="2022321"/>
                  <a:pt x="4137116" y="2026795"/>
                  <a:pt x="4128149" y="2029776"/>
                </a:cubicBezTo>
                <a:cubicBezTo>
                  <a:pt x="4134128" y="2029776"/>
                  <a:pt x="4141599" y="2029776"/>
                  <a:pt x="4148323" y="2028285"/>
                </a:cubicBezTo>
                <a:lnTo>
                  <a:pt x="4162779" y="2018671"/>
                </a:lnTo>
                <a:lnTo>
                  <a:pt x="4167075" y="2018403"/>
                </a:lnTo>
                <a:lnTo>
                  <a:pt x="4172236" y="2019339"/>
                </a:lnTo>
                <a:cubicBezTo>
                  <a:pt x="4177467" y="2017849"/>
                  <a:pt x="4184940" y="2014866"/>
                  <a:pt x="4193907" y="2011884"/>
                </a:cubicBezTo>
                <a:cubicBezTo>
                  <a:pt x="4199885" y="2017849"/>
                  <a:pt x="4205863" y="2011884"/>
                  <a:pt x="4199885" y="2023812"/>
                </a:cubicBezTo>
                <a:cubicBezTo>
                  <a:pt x="4211841" y="2017849"/>
                  <a:pt x="4193907" y="2011884"/>
                  <a:pt x="4205863" y="2005920"/>
                </a:cubicBezTo>
                <a:cubicBezTo>
                  <a:pt x="4205863" y="2011884"/>
                  <a:pt x="4211841" y="2023812"/>
                  <a:pt x="4217819" y="2017849"/>
                </a:cubicBezTo>
                <a:cubicBezTo>
                  <a:pt x="4217819" y="2023812"/>
                  <a:pt x="4211841" y="2023812"/>
                  <a:pt x="4211841" y="2029776"/>
                </a:cubicBezTo>
                <a:cubicBezTo>
                  <a:pt x="4223797" y="2029776"/>
                  <a:pt x="4247710" y="2023812"/>
                  <a:pt x="4253688" y="2005920"/>
                </a:cubicBezTo>
                <a:cubicBezTo>
                  <a:pt x="4289554" y="2005920"/>
                  <a:pt x="4313467" y="1976100"/>
                  <a:pt x="4349335" y="1976100"/>
                </a:cubicBezTo>
                <a:cubicBezTo>
                  <a:pt x="4349335" y="1970136"/>
                  <a:pt x="4355313" y="1970136"/>
                  <a:pt x="4355313" y="1964172"/>
                </a:cubicBezTo>
                <a:cubicBezTo>
                  <a:pt x="4361292" y="1964172"/>
                  <a:pt x="4361292" y="1958209"/>
                  <a:pt x="4367270" y="1970136"/>
                </a:cubicBezTo>
                <a:cubicBezTo>
                  <a:pt x="4367270" y="1964172"/>
                  <a:pt x="4367270" y="1964172"/>
                  <a:pt x="4367270" y="1958209"/>
                </a:cubicBezTo>
                <a:cubicBezTo>
                  <a:pt x="4373248" y="1964172"/>
                  <a:pt x="4379226" y="1946280"/>
                  <a:pt x="4385202" y="1964172"/>
                </a:cubicBezTo>
                <a:cubicBezTo>
                  <a:pt x="4385202" y="1958209"/>
                  <a:pt x="4385202" y="1952244"/>
                  <a:pt x="4385202" y="1952244"/>
                </a:cubicBezTo>
                <a:cubicBezTo>
                  <a:pt x="4403137" y="1958209"/>
                  <a:pt x="4409114" y="1934353"/>
                  <a:pt x="4433027" y="1940316"/>
                </a:cubicBezTo>
                <a:cubicBezTo>
                  <a:pt x="4439005" y="1934353"/>
                  <a:pt x="4427048" y="1928389"/>
                  <a:pt x="4427048" y="1928389"/>
                </a:cubicBezTo>
                <a:cubicBezTo>
                  <a:pt x="4433027" y="1922424"/>
                  <a:pt x="4433027" y="1922424"/>
                  <a:pt x="4439005" y="1922424"/>
                </a:cubicBezTo>
                <a:lnTo>
                  <a:pt x="4439005" y="1928389"/>
                </a:lnTo>
                <a:cubicBezTo>
                  <a:pt x="4444983" y="1922424"/>
                  <a:pt x="4456939" y="1928389"/>
                  <a:pt x="4456939" y="1910496"/>
                </a:cubicBezTo>
                <a:cubicBezTo>
                  <a:pt x="4462917" y="1916460"/>
                  <a:pt x="4462917" y="1916460"/>
                  <a:pt x="4468895" y="1916460"/>
                </a:cubicBezTo>
                <a:cubicBezTo>
                  <a:pt x="4510742" y="1886640"/>
                  <a:pt x="4594433" y="1868747"/>
                  <a:pt x="4660190" y="1838927"/>
                </a:cubicBezTo>
                <a:cubicBezTo>
                  <a:pt x="4845510" y="1749468"/>
                  <a:pt x="5036805" y="1665971"/>
                  <a:pt x="5210167" y="1600367"/>
                </a:cubicBezTo>
                <a:cubicBezTo>
                  <a:pt x="5198211" y="1630188"/>
                  <a:pt x="5156367" y="1636151"/>
                  <a:pt x="5120498" y="1654044"/>
                </a:cubicBezTo>
                <a:cubicBezTo>
                  <a:pt x="5066695" y="1683864"/>
                  <a:pt x="5012894" y="1707720"/>
                  <a:pt x="4947135" y="1731575"/>
                </a:cubicBezTo>
                <a:cubicBezTo>
                  <a:pt x="4947135" y="1731575"/>
                  <a:pt x="4941157" y="1737540"/>
                  <a:pt x="4947135" y="1737540"/>
                </a:cubicBezTo>
                <a:cubicBezTo>
                  <a:pt x="4947135" y="1743504"/>
                  <a:pt x="4935179" y="1743504"/>
                  <a:pt x="4935179" y="1749468"/>
                </a:cubicBezTo>
                <a:cubicBezTo>
                  <a:pt x="4929201" y="1737540"/>
                  <a:pt x="4947135" y="1743504"/>
                  <a:pt x="4941157" y="1737540"/>
                </a:cubicBezTo>
                <a:cubicBezTo>
                  <a:pt x="4935179" y="1737540"/>
                  <a:pt x="4929201" y="1743504"/>
                  <a:pt x="4917245" y="1743504"/>
                </a:cubicBezTo>
                <a:cubicBezTo>
                  <a:pt x="4917245" y="1749468"/>
                  <a:pt x="4929201" y="1743504"/>
                  <a:pt x="4929201" y="1743504"/>
                </a:cubicBezTo>
                <a:cubicBezTo>
                  <a:pt x="4929201" y="1749468"/>
                  <a:pt x="4926213" y="1750959"/>
                  <a:pt x="4922476" y="1750959"/>
                </a:cubicBezTo>
                <a:lnTo>
                  <a:pt x="4915918" y="1750085"/>
                </a:lnTo>
                <a:lnTo>
                  <a:pt x="4917245" y="1749468"/>
                </a:lnTo>
                <a:lnTo>
                  <a:pt x="4915827" y="1750074"/>
                </a:lnTo>
                <a:lnTo>
                  <a:pt x="4911267" y="1749468"/>
                </a:lnTo>
                <a:cubicBezTo>
                  <a:pt x="4911267" y="1752450"/>
                  <a:pt x="4911267" y="1752450"/>
                  <a:pt x="4912015" y="1751703"/>
                </a:cubicBezTo>
                <a:lnTo>
                  <a:pt x="4915827" y="1750074"/>
                </a:lnTo>
                <a:lnTo>
                  <a:pt x="4915918" y="1750085"/>
                </a:lnTo>
                <a:lnTo>
                  <a:pt x="4803663" y="1802399"/>
                </a:lnTo>
                <a:cubicBezTo>
                  <a:pt x="4767796" y="1819545"/>
                  <a:pt x="4731927" y="1835946"/>
                  <a:pt x="4690081" y="1850856"/>
                </a:cubicBezTo>
                <a:cubicBezTo>
                  <a:pt x="4690081" y="1856820"/>
                  <a:pt x="4690081" y="1856820"/>
                  <a:pt x="4696059" y="1862784"/>
                </a:cubicBezTo>
                <a:cubicBezTo>
                  <a:pt x="4684103" y="1862784"/>
                  <a:pt x="4666168" y="1862784"/>
                  <a:pt x="4660190" y="1874713"/>
                </a:cubicBezTo>
                <a:cubicBezTo>
                  <a:pt x="4666168" y="1880676"/>
                  <a:pt x="4672147" y="1868747"/>
                  <a:pt x="4678125" y="1874713"/>
                </a:cubicBezTo>
                <a:cubicBezTo>
                  <a:pt x="4678125" y="1880676"/>
                  <a:pt x="4660190" y="1880676"/>
                  <a:pt x="4654212" y="1886640"/>
                </a:cubicBezTo>
                <a:cubicBezTo>
                  <a:pt x="4660190" y="1868747"/>
                  <a:pt x="4648234" y="1874713"/>
                  <a:pt x="4642257" y="1880676"/>
                </a:cubicBezTo>
                <a:cubicBezTo>
                  <a:pt x="4642257" y="1886640"/>
                  <a:pt x="4654212" y="1874713"/>
                  <a:pt x="4654212" y="1886640"/>
                </a:cubicBezTo>
                <a:cubicBezTo>
                  <a:pt x="4594433" y="1910496"/>
                  <a:pt x="4534652" y="1934353"/>
                  <a:pt x="4486830" y="1952244"/>
                </a:cubicBezTo>
                <a:cubicBezTo>
                  <a:pt x="4480852" y="1958209"/>
                  <a:pt x="4492808" y="1964172"/>
                  <a:pt x="4492808" y="1970136"/>
                </a:cubicBezTo>
                <a:cubicBezTo>
                  <a:pt x="4492808" y="1964172"/>
                  <a:pt x="4498786" y="1958209"/>
                  <a:pt x="4504764" y="1952244"/>
                </a:cubicBezTo>
                <a:cubicBezTo>
                  <a:pt x="4504764" y="1958209"/>
                  <a:pt x="4504764" y="1958209"/>
                  <a:pt x="4504764" y="1958209"/>
                </a:cubicBezTo>
                <a:cubicBezTo>
                  <a:pt x="4510742" y="1952244"/>
                  <a:pt x="4534652" y="1958209"/>
                  <a:pt x="4528674" y="1946280"/>
                </a:cubicBezTo>
                <a:cubicBezTo>
                  <a:pt x="4522697" y="1940316"/>
                  <a:pt x="4534652" y="1946280"/>
                  <a:pt x="4534652" y="1952244"/>
                </a:cubicBezTo>
                <a:cubicBezTo>
                  <a:pt x="4534652" y="1940316"/>
                  <a:pt x="4564543" y="1946280"/>
                  <a:pt x="4552587" y="1934353"/>
                </a:cubicBezTo>
                <a:cubicBezTo>
                  <a:pt x="4564543" y="1946280"/>
                  <a:pt x="4588455" y="1922424"/>
                  <a:pt x="4606390" y="1922424"/>
                </a:cubicBezTo>
                <a:cubicBezTo>
                  <a:pt x="4606390" y="1928389"/>
                  <a:pt x="4606390" y="1928389"/>
                  <a:pt x="4600412" y="1934353"/>
                </a:cubicBezTo>
                <a:cubicBezTo>
                  <a:pt x="4606390" y="1934353"/>
                  <a:pt x="4612368" y="1922424"/>
                  <a:pt x="4624324" y="1922424"/>
                </a:cubicBezTo>
                <a:cubicBezTo>
                  <a:pt x="4630302" y="1922424"/>
                  <a:pt x="4624324" y="1910496"/>
                  <a:pt x="4624324" y="1904532"/>
                </a:cubicBezTo>
                <a:cubicBezTo>
                  <a:pt x="4630302" y="1904532"/>
                  <a:pt x="4630302" y="1910496"/>
                  <a:pt x="4636280" y="1904532"/>
                </a:cubicBezTo>
                <a:cubicBezTo>
                  <a:pt x="4636280" y="1910496"/>
                  <a:pt x="4636280" y="1916460"/>
                  <a:pt x="4642257" y="1922424"/>
                </a:cubicBezTo>
                <a:cubicBezTo>
                  <a:pt x="4648234" y="1916460"/>
                  <a:pt x="4648234" y="1916460"/>
                  <a:pt x="4642257" y="1910496"/>
                </a:cubicBezTo>
                <a:cubicBezTo>
                  <a:pt x="4660190" y="1904532"/>
                  <a:pt x="4666168" y="1910496"/>
                  <a:pt x="4678125" y="1910496"/>
                </a:cubicBezTo>
                <a:cubicBezTo>
                  <a:pt x="4696059" y="1892604"/>
                  <a:pt x="4690081" y="1904532"/>
                  <a:pt x="4713993" y="1886640"/>
                </a:cubicBezTo>
                <a:cubicBezTo>
                  <a:pt x="4713993" y="1892604"/>
                  <a:pt x="4713993" y="1892604"/>
                  <a:pt x="4713993" y="1892604"/>
                </a:cubicBezTo>
                <a:lnTo>
                  <a:pt x="4713993" y="1894059"/>
                </a:lnTo>
                <a:lnTo>
                  <a:pt x="4722970" y="1894675"/>
                </a:lnTo>
                <a:cubicBezTo>
                  <a:pt x="4725960" y="1892522"/>
                  <a:pt x="4727456" y="1888218"/>
                  <a:pt x="4724465" y="1882479"/>
                </a:cubicBezTo>
                <a:cubicBezTo>
                  <a:pt x="4730445" y="1882479"/>
                  <a:pt x="4730445" y="1882479"/>
                  <a:pt x="4736424" y="1882479"/>
                </a:cubicBezTo>
                <a:cubicBezTo>
                  <a:pt x="4733435" y="1888218"/>
                  <a:pt x="4731940" y="1889653"/>
                  <a:pt x="4732687" y="1889653"/>
                </a:cubicBezTo>
                <a:lnTo>
                  <a:pt x="4742296" y="1888234"/>
                </a:lnTo>
                <a:lnTo>
                  <a:pt x="4742370" y="1888289"/>
                </a:lnTo>
                <a:lnTo>
                  <a:pt x="4739693" y="1894137"/>
                </a:lnTo>
                <a:cubicBezTo>
                  <a:pt x="4734928" y="1897903"/>
                  <a:pt x="4725960" y="1896827"/>
                  <a:pt x="4730445" y="1905437"/>
                </a:cubicBezTo>
                <a:cubicBezTo>
                  <a:pt x="4727456" y="1908306"/>
                  <a:pt x="4724466" y="1908306"/>
                  <a:pt x="4721476" y="1907589"/>
                </a:cubicBezTo>
                <a:lnTo>
                  <a:pt x="4716044" y="1906285"/>
                </a:lnTo>
                <a:lnTo>
                  <a:pt x="4718487" y="1905437"/>
                </a:lnTo>
                <a:lnTo>
                  <a:pt x="4713993" y="1896808"/>
                </a:lnTo>
                <a:lnTo>
                  <a:pt x="4713993" y="1898567"/>
                </a:lnTo>
                <a:cubicBezTo>
                  <a:pt x="4711005" y="1895586"/>
                  <a:pt x="4709510" y="1895586"/>
                  <a:pt x="4708015" y="1896331"/>
                </a:cubicBezTo>
                <a:cubicBezTo>
                  <a:pt x="4706520" y="1897078"/>
                  <a:pt x="4705027" y="1898567"/>
                  <a:pt x="4702037" y="1898567"/>
                </a:cubicBezTo>
                <a:cubicBezTo>
                  <a:pt x="4702037" y="1898567"/>
                  <a:pt x="4702037" y="1904532"/>
                  <a:pt x="4702037" y="1904532"/>
                </a:cubicBezTo>
                <a:cubicBezTo>
                  <a:pt x="4690081" y="1904532"/>
                  <a:pt x="4687093" y="1907514"/>
                  <a:pt x="4685598" y="1912732"/>
                </a:cubicBezTo>
                <a:lnTo>
                  <a:pt x="4684394" y="1916218"/>
                </a:lnTo>
                <a:lnTo>
                  <a:pt x="4699056" y="1910458"/>
                </a:lnTo>
                <a:cubicBezTo>
                  <a:pt x="4703541" y="1908305"/>
                  <a:pt x="4706529" y="1905437"/>
                  <a:pt x="4706529" y="1899697"/>
                </a:cubicBezTo>
                <a:cubicBezTo>
                  <a:pt x="4706529" y="1899697"/>
                  <a:pt x="4708024" y="1902567"/>
                  <a:pt x="4710267" y="1904719"/>
                </a:cubicBezTo>
                <a:lnTo>
                  <a:pt x="4712364" y="1905947"/>
                </a:lnTo>
                <a:lnTo>
                  <a:pt x="4710267" y="1913328"/>
                </a:lnTo>
                <a:cubicBezTo>
                  <a:pt x="4709519" y="1915481"/>
                  <a:pt x="4709519" y="1916915"/>
                  <a:pt x="4712509" y="1916915"/>
                </a:cubicBezTo>
                <a:cubicBezTo>
                  <a:pt x="4706529" y="1922655"/>
                  <a:pt x="4682615" y="1911176"/>
                  <a:pt x="4688593" y="1934134"/>
                </a:cubicBezTo>
                <a:cubicBezTo>
                  <a:pt x="4679626" y="1934134"/>
                  <a:pt x="4679626" y="1931263"/>
                  <a:pt x="4681120" y="1927677"/>
                </a:cubicBezTo>
                <a:lnTo>
                  <a:pt x="4681583" y="1924350"/>
                </a:lnTo>
                <a:lnTo>
                  <a:pt x="4678125" y="1934353"/>
                </a:lnTo>
                <a:cubicBezTo>
                  <a:pt x="4672147" y="1934353"/>
                  <a:pt x="4672147" y="1928389"/>
                  <a:pt x="4672147" y="1922424"/>
                </a:cubicBezTo>
                <a:cubicBezTo>
                  <a:pt x="4672147" y="1946280"/>
                  <a:pt x="4624324" y="1964172"/>
                  <a:pt x="4612368" y="1952244"/>
                </a:cubicBezTo>
                <a:cubicBezTo>
                  <a:pt x="4618346" y="1970136"/>
                  <a:pt x="4606390" y="1958209"/>
                  <a:pt x="4588455" y="1958209"/>
                </a:cubicBezTo>
                <a:cubicBezTo>
                  <a:pt x="4588455" y="1970136"/>
                  <a:pt x="4594433" y="1964172"/>
                  <a:pt x="4588455" y="1970136"/>
                </a:cubicBezTo>
                <a:cubicBezTo>
                  <a:pt x="4594433" y="1976100"/>
                  <a:pt x="4594433" y="1964172"/>
                  <a:pt x="4600412" y="1964172"/>
                </a:cubicBezTo>
                <a:cubicBezTo>
                  <a:pt x="4606390" y="1958209"/>
                  <a:pt x="4600412" y="1976100"/>
                  <a:pt x="4612368" y="1970136"/>
                </a:cubicBezTo>
                <a:cubicBezTo>
                  <a:pt x="4606390" y="1976100"/>
                  <a:pt x="4588455" y="1982063"/>
                  <a:pt x="4576499" y="1988029"/>
                </a:cubicBezTo>
                <a:cubicBezTo>
                  <a:pt x="4570521" y="1976100"/>
                  <a:pt x="4558565" y="1970136"/>
                  <a:pt x="4552587" y="1982063"/>
                </a:cubicBezTo>
                <a:cubicBezTo>
                  <a:pt x="4552587" y="1993993"/>
                  <a:pt x="4558565" y="1976100"/>
                  <a:pt x="4558565" y="1982063"/>
                </a:cubicBezTo>
                <a:cubicBezTo>
                  <a:pt x="4558565" y="1988029"/>
                  <a:pt x="4540630" y="1999956"/>
                  <a:pt x="4534652" y="1993993"/>
                </a:cubicBezTo>
                <a:cubicBezTo>
                  <a:pt x="4534652" y="1999956"/>
                  <a:pt x="4516719" y="2011884"/>
                  <a:pt x="4504764" y="2017849"/>
                </a:cubicBezTo>
                <a:cubicBezTo>
                  <a:pt x="4468895" y="2029776"/>
                  <a:pt x="4415092" y="2047669"/>
                  <a:pt x="4397159" y="2053632"/>
                </a:cubicBezTo>
                <a:cubicBezTo>
                  <a:pt x="4367270" y="2083452"/>
                  <a:pt x="4337379" y="2083452"/>
                  <a:pt x="4319445" y="2095379"/>
                </a:cubicBezTo>
                <a:cubicBezTo>
                  <a:pt x="4391180" y="2077489"/>
                  <a:pt x="4468895" y="2059596"/>
                  <a:pt x="4552587" y="2023812"/>
                </a:cubicBezTo>
                <a:cubicBezTo>
                  <a:pt x="4558565" y="2035739"/>
                  <a:pt x="4570521" y="2023812"/>
                  <a:pt x="4570521" y="2029776"/>
                </a:cubicBezTo>
                <a:lnTo>
                  <a:pt x="4630302" y="2007134"/>
                </a:lnTo>
                <a:lnTo>
                  <a:pt x="4630302" y="2029776"/>
                </a:lnTo>
                <a:cubicBezTo>
                  <a:pt x="4612368" y="2035739"/>
                  <a:pt x="4600412" y="2047669"/>
                  <a:pt x="4576499" y="2053632"/>
                </a:cubicBezTo>
                <a:cubicBezTo>
                  <a:pt x="4582477" y="2059596"/>
                  <a:pt x="4582477" y="2053632"/>
                  <a:pt x="4588455" y="2053632"/>
                </a:cubicBezTo>
                <a:cubicBezTo>
                  <a:pt x="4588455" y="2053632"/>
                  <a:pt x="4588455" y="2059596"/>
                  <a:pt x="4588455" y="2059596"/>
                </a:cubicBezTo>
                <a:cubicBezTo>
                  <a:pt x="4600412" y="2059596"/>
                  <a:pt x="4612368" y="2059596"/>
                  <a:pt x="4606390" y="2065560"/>
                </a:cubicBezTo>
                <a:cubicBezTo>
                  <a:pt x="4612368" y="2065560"/>
                  <a:pt x="4612368" y="2065560"/>
                  <a:pt x="4618346" y="2059596"/>
                </a:cubicBezTo>
                <a:cubicBezTo>
                  <a:pt x="4621335" y="2059596"/>
                  <a:pt x="4619841" y="2062578"/>
                  <a:pt x="4617599" y="2065560"/>
                </a:cubicBezTo>
                <a:lnTo>
                  <a:pt x="4617575" y="2065587"/>
                </a:lnTo>
                <a:lnTo>
                  <a:pt x="4613489" y="2067238"/>
                </a:lnTo>
                <a:cubicBezTo>
                  <a:pt x="4611621" y="2068542"/>
                  <a:pt x="4610874" y="2070033"/>
                  <a:pt x="4612368" y="2071525"/>
                </a:cubicBezTo>
                <a:lnTo>
                  <a:pt x="4617575" y="2065587"/>
                </a:lnTo>
                <a:lnTo>
                  <a:pt x="4621335" y="2064069"/>
                </a:lnTo>
                <a:cubicBezTo>
                  <a:pt x="4627313" y="2062578"/>
                  <a:pt x="4633291" y="2062578"/>
                  <a:pt x="4630302" y="2065560"/>
                </a:cubicBezTo>
                <a:cubicBezTo>
                  <a:pt x="4630302" y="2065560"/>
                  <a:pt x="4630302" y="2059596"/>
                  <a:pt x="4630302" y="2059596"/>
                </a:cubicBezTo>
                <a:cubicBezTo>
                  <a:pt x="4636280" y="2053632"/>
                  <a:pt x="4648234" y="2047669"/>
                  <a:pt x="4660190" y="2059596"/>
                </a:cubicBezTo>
                <a:cubicBezTo>
                  <a:pt x="4666168" y="2053632"/>
                  <a:pt x="4660190" y="2047669"/>
                  <a:pt x="4660190" y="2047669"/>
                </a:cubicBezTo>
                <a:cubicBezTo>
                  <a:pt x="4666168" y="2047669"/>
                  <a:pt x="4666168" y="2047669"/>
                  <a:pt x="4666168" y="2053632"/>
                </a:cubicBezTo>
                <a:cubicBezTo>
                  <a:pt x="4672147" y="2047669"/>
                  <a:pt x="4666168" y="2041705"/>
                  <a:pt x="4672147" y="2035739"/>
                </a:cubicBezTo>
                <a:cubicBezTo>
                  <a:pt x="4672147" y="2047669"/>
                  <a:pt x="4678125" y="2047669"/>
                  <a:pt x="4690081" y="2047669"/>
                </a:cubicBezTo>
                <a:cubicBezTo>
                  <a:pt x="4702037" y="2035739"/>
                  <a:pt x="4702037" y="2029776"/>
                  <a:pt x="4713993" y="2017849"/>
                </a:cubicBezTo>
                <a:cubicBezTo>
                  <a:pt x="4713993" y="2023812"/>
                  <a:pt x="4708015" y="2029776"/>
                  <a:pt x="4708015" y="2035739"/>
                </a:cubicBezTo>
                <a:cubicBezTo>
                  <a:pt x="4713993" y="2017849"/>
                  <a:pt x="4755840" y="2023812"/>
                  <a:pt x="4755840" y="2011884"/>
                </a:cubicBezTo>
                <a:cubicBezTo>
                  <a:pt x="4761818" y="2005920"/>
                  <a:pt x="4761818" y="2011884"/>
                  <a:pt x="4761818" y="2011884"/>
                </a:cubicBezTo>
                <a:cubicBezTo>
                  <a:pt x="4773772" y="2011884"/>
                  <a:pt x="4773772" y="1999956"/>
                  <a:pt x="4785728" y="1999956"/>
                </a:cubicBezTo>
                <a:cubicBezTo>
                  <a:pt x="4785728" y="2005920"/>
                  <a:pt x="4773772" y="2011884"/>
                  <a:pt x="4761818" y="2017849"/>
                </a:cubicBezTo>
                <a:cubicBezTo>
                  <a:pt x="4767796" y="2029776"/>
                  <a:pt x="4791707" y="1999956"/>
                  <a:pt x="4785728" y="2017849"/>
                </a:cubicBezTo>
                <a:cubicBezTo>
                  <a:pt x="4791707" y="2014866"/>
                  <a:pt x="4791707" y="2010394"/>
                  <a:pt x="4791707" y="2006667"/>
                </a:cubicBezTo>
                <a:lnTo>
                  <a:pt x="4792237" y="2006071"/>
                </a:lnTo>
                <a:lnTo>
                  <a:pt x="4791707" y="2011884"/>
                </a:lnTo>
                <a:cubicBezTo>
                  <a:pt x="4803663" y="2005920"/>
                  <a:pt x="4797685" y="1993993"/>
                  <a:pt x="4797685" y="1988029"/>
                </a:cubicBezTo>
                <a:cubicBezTo>
                  <a:pt x="4809641" y="1993993"/>
                  <a:pt x="4797685" y="2005920"/>
                  <a:pt x="4803663" y="2011884"/>
                </a:cubicBezTo>
                <a:cubicBezTo>
                  <a:pt x="4809641" y="2011884"/>
                  <a:pt x="4803663" y="1993993"/>
                  <a:pt x="4809641" y="1993993"/>
                </a:cubicBezTo>
                <a:cubicBezTo>
                  <a:pt x="4815619" y="1999956"/>
                  <a:pt x="4809641" y="1999956"/>
                  <a:pt x="4809641" y="2005920"/>
                </a:cubicBezTo>
                <a:cubicBezTo>
                  <a:pt x="4815619" y="2005920"/>
                  <a:pt x="4827575" y="1993993"/>
                  <a:pt x="4839531" y="1999956"/>
                </a:cubicBezTo>
                <a:cubicBezTo>
                  <a:pt x="4845510" y="1988029"/>
                  <a:pt x="4851487" y="1993993"/>
                  <a:pt x="4869422" y="1982063"/>
                </a:cubicBezTo>
                <a:cubicBezTo>
                  <a:pt x="4863444" y="1988029"/>
                  <a:pt x="4857466" y="1993993"/>
                  <a:pt x="4863444" y="1999956"/>
                </a:cubicBezTo>
                <a:cubicBezTo>
                  <a:pt x="4857466" y="1999956"/>
                  <a:pt x="4851487" y="1993993"/>
                  <a:pt x="4851487" y="1999956"/>
                </a:cubicBezTo>
                <a:cubicBezTo>
                  <a:pt x="4851487" y="2005920"/>
                  <a:pt x="4857466" y="2005920"/>
                  <a:pt x="4863444" y="2005920"/>
                </a:cubicBezTo>
                <a:cubicBezTo>
                  <a:pt x="4869422" y="1999956"/>
                  <a:pt x="4869422" y="1993993"/>
                  <a:pt x="4869422" y="1988029"/>
                </a:cubicBezTo>
                <a:cubicBezTo>
                  <a:pt x="4869422" y="1993993"/>
                  <a:pt x="4875400" y="1988029"/>
                  <a:pt x="4875400" y="1999956"/>
                </a:cubicBezTo>
                <a:cubicBezTo>
                  <a:pt x="4881378" y="1999956"/>
                  <a:pt x="4881378" y="1982063"/>
                  <a:pt x="4887356" y="1999956"/>
                </a:cubicBezTo>
                <a:cubicBezTo>
                  <a:pt x="4893334" y="1993993"/>
                  <a:pt x="4905288" y="1999956"/>
                  <a:pt x="4911267" y="1988029"/>
                </a:cubicBezTo>
                <a:cubicBezTo>
                  <a:pt x="4917245" y="1988029"/>
                  <a:pt x="4923223" y="1988029"/>
                  <a:pt x="4917245" y="1993993"/>
                </a:cubicBezTo>
                <a:cubicBezTo>
                  <a:pt x="4923223" y="1988029"/>
                  <a:pt x="4929201" y="1982063"/>
                  <a:pt x="4929201" y="1982063"/>
                </a:cubicBezTo>
                <a:cubicBezTo>
                  <a:pt x="4935179" y="1993993"/>
                  <a:pt x="4935179" y="1982063"/>
                  <a:pt x="4947135" y="1976100"/>
                </a:cubicBezTo>
                <a:cubicBezTo>
                  <a:pt x="4947135" y="1982063"/>
                  <a:pt x="4947135" y="1988029"/>
                  <a:pt x="4947135" y="1988029"/>
                </a:cubicBezTo>
                <a:cubicBezTo>
                  <a:pt x="4917245" y="1999956"/>
                  <a:pt x="4887356" y="2017849"/>
                  <a:pt x="4845510" y="2023812"/>
                </a:cubicBezTo>
                <a:cubicBezTo>
                  <a:pt x="4839531" y="2029776"/>
                  <a:pt x="4839531" y="2035739"/>
                  <a:pt x="4839531" y="2035739"/>
                </a:cubicBezTo>
                <a:cubicBezTo>
                  <a:pt x="4827575" y="2041705"/>
                  <a:pt x="4833553" y="2035739"/>
                  <a:pt x="4833553" y="2029776"/>
                </a:cubicBezTo>
                <a:cubicBezTo>
                  <a:pt x="4833553" y="2034249"/>
                  <a:pt x="4820103" y="2045431"/>
                  <a:pt x="4810856" y="2045711"/>
                </a:cubicBezTo>
                <a:lnTo>
                  <a:pt x="4807426" y="2043801"/>
                </a:lnTo>
                <a:lnTo>
                  <a:pt x="4806652" y="2042451"/>
                </a:lnTo>
                <a:cubicBezTo>
                  <a:pt x="4805158" y="2041705"/>
                  <a:pt x="4803663" y="2041705"/>
                  <a:pt x="4803663" y="2041705"/>
                </a:cubicBezTo>
                <a:lnTo>
                  <a:pt x="4807426" y="2043801"/>
                </a:lnTo>
                <a:lnTo>
                  <a:pt x="4809641" y="2047669"/>
                </a:lnTo>
                <a:cubicBezTo>
                  <a:pt x="4791707" y="2047669"/>
                  <a:pt x="4785728" y="2071525"/>
                  <a:pt x="4773772" y="2053632"/>
                </a:cubicBezTo>
                <a:cubicBezTo>
                  <a:pt x="4755840" y="2077489"/>
                  <a:pt x="4743884" y="2065560"/>
                  <a:pt x="4731927" y="2077489"/>
                </a:cubicBezTo>
                <a:cubicBezTo>
                  <a:pt x="4731927" y="2089416"/>
                  <a:pt x="4749862" y="2071525"/>
                  <a:pt x="4743884" y="2089416"/>
                </a:cubicBezTo>
                <a:cubicBezTo>
                  <a:pt x="4737906" y="2083452"/>
                  <a:pt x="4725950" y="2095379"/>
                  <a:pt x="4719972" y="2095379"/>
                </a:cubicBezTo>
                <a:cubicBezTo>
                  <a:pt x="4713993" y="2089416"/>
                  <a:pt x="4725950" y="2089416"/>
                  <a:pt x="4719972" y="2083452"/>
                </a:cubicBezTo>
                <a:cubicBezTo>
                  <a:pt x="4719972" y="2083452"/>
                  <a:pt x="4713993" y="2083452"/>
                  <a:pt x="4713993" y="2083452"/>
                </a:cubicBezTo>
                <a:cubicBezTo>
                  <a:pt x="4708015" y="2089416"/>
                  <a:pt x="4713993" y="2089416"/>
                  <a:pt x="4713993" y="2095379"/>
                </a:cubicBezTo>
                <a:cubicBezTo>
                  <a:pt x="4711005" y="2098362"/>
                  <a:pt x="4706520" y="2101345"/>
                  <a:pt x="4702037" y="2102089"/>
                </a:cubicBezTo>
                <a:lnTo>
                  <a:pt x="4691318" y="2096074"/>
                </a:lnTo>
                <a:lnTo>
                  <a:pt x="4703875" y="2095551"/>
                </a:lnTo>
                <a:lnTo>
                  <a:pt x="4706894" y="2097057"/>
                </a:lnTo>
                <a:cubicBezTo>
                  <a:pt x="4707641" y="2097244"/>
                  <a:pt x="4708015" y="2096871"/>
                  <a:pt x="4708015" y="2095379"/>
                </a:cubicBezTo>
                <a:lnTo>
                  <a:pt x="4703875" y="2095551"/>
                </a:lnTo>
                <a:lnTo>
                  <a:pt x="4703532" y="2095380"/>
                </a:lnTo>
                <a:cubicBezTo>
                  <a:pt x="4700543" y="2093889"/>
                  <a:pt x="4696059" y="2092397"/>
                  <a:pt x="4690081" y="2095379"/>
                </a:cubicBezTo>
                <a:lnTo>
                  <a:pt x="4691318" y="2096074"/>
                </a:lnTo>
                <a:lnTo>
                  <a:pt x="4690081" y="2096126"/>
                </a:lnTo>
                <a:cubicBezTo>
                  <a:pt x="4684103" y="2098362"/>
                  <a:pt x="4678125" y="2101345"/>
                  <a:pt x="4672147" y="2101345"/>
                </a:cubicBezTo>
                <a:cubicBezTo>
                  <a:pt x="4678125" y="2107309"/>
                  <a:pt x="4684103" y="2107309"/>
                  <a:pt x="4684103" y="2101345"/>
                </a:cubicBezTo>
                <a:cubicBezTo>
                  <a:pt x="4684103" y="2095379"/>
                  <a:pt x="4684103" y="2107309"/>
                  <a:pt x="4690081" y="2101345"/>
                </a:cubicBezTo>
                <a:cubicBezTo>
                  <a:pt x="4684103" y="2113272"/>
                  <a:pt x="4666168" y="2101345"/>
                  <a:pt x="4666168" y="2125200"/>
                </a:cubicBezTo>
                <a:cubicBezTo>
                  <a:pt x="4666168" y="2119236"/>
                  <a:pt x="4666168" y="2113272"/>
                  <a:pt x="4666168" y="2107309"/>
                </a:cubicBezTo>
                <a:cubicBezTo>
                  <a:pt x="4666168" y="2101345"/>
                  <a:pt x="4660190" y="2107309"/>
                  <a:pt x="4654212" y="2107309"/>
                </a:cubicBezTo>
                <a:cubicBezTo>
                  <a:pt x="4654212" y="2113272"/>
                  <a:pt x="4660190" y="2113272"/>
                  <a:pt x="4660190" y="2107309"/>
                </a:cubicBezTo>
                <a:cubicBezTo>
                  <a:pt x="4666168" y="2107309"/>
                  <a:pt x="4654212" y="2119236"/>
                  <a:pt x="4660190" y="2125200"/>
                </a:cubicBezTo>
                <a:cubicBezTo>
                  <a:pt x="4654212" y="2119236"/>
                  <a:pt x="4642257" y="2119236"/>
                  <a:pt x="4648234" y="2107309"/>
                </a:cubicBezTo>
                <a:cubicBezTo>
                  <a:pt x="4642257" y="2113272"/>
                  <a:pt x="4642257" y="2113272"/>
                  <a:pt x="4636280" y="2119236"/>
                </a:cubicBezTo>
                <a:cubicBezTo>
                  <a:pt x="4636280" y="2125200"/>
                  <a:pt x="4642257" y="2113272"/>
                  <a:pt x="4648234" y="2119236"/>
                </a:cubicBezTo>
                <a:cubicBezTo>
                  <a:pt x="4648234" y="2125200"/>
                  <a:pt x="4642257" y="2125200"/>
                  <a:pt x="4642257" y="2131165"/>
                </a:cubicBezTo>
                <a:cubicBezTo>
                  <a:pt x="4636280" y="2131165"/>
                  <a:pt x="4630302" y="2131165"/>
                  <a:pt x="4630302" y="2125200"/>
                </a:cubicBezTo>
                <a:cubicBezTo>
                  <a:pt x="4630302" y="2131165"/>
                  <a:pt x="4624324" y="2131165"/>
                  <a:pt x="4630302" y="2137129"/>
                </a:cubicBezTo>
                <a:cubicBezTo>
                  <a:pt x="4624324" y="2137129"/>
                  <a:pt x="4618346" y="2131165"/>
                  <a:pt x="4612368" y="2125200"/>
                </a:cubicBezTo>
                <a:cubicBezTo>
                  <a:pt x="4606390" y="2131165"/>
                  <a:pt x="4618346" y="2131165"/>
                  <a:pt x="4618346" y="2137129"/>
                </a:cubicBezTo>
                <a:cubicBezTo>
                  <a:pt x="4564543" y="2160985"/>
                  <a:pt x="4546608" y="2160985"/>
                  <a:pt x="4498786" y="2190805"/>
                </a:cubicBezTo>
                <a:cubicBezTo>
                  <a:pt x="4492808" y="2172912"/>
                  <a:pt x="4492808" y="2196769"/>
                  <a:pt x="4474873" y="2184841"/>
                </a:cubicBezTo>
                <a:cubicBezTo>
                  <a:pt x="4468895" y="2190805"/>
                  <a:pt x="4480852" y="2196769"/>
                  <a:pt x="4474873" y="2202732"/>
                </a:cubicBezTo>
                <a:cubicBezTo>
                  <a:pt x="4468895" y="2196769"/>
                  <a:pt x="4468895" y="2196769"/>
                  <a:pt x="4462917" y="2214661"/>
                </a:cubicBezTo>
                <a:cubicBezTo>
                  <a:pt x="4462917" y="2208695"/>
                  <a:pt x="4462917" y="2208695"/>
                  <a:pt x="4456939" y="2196769"/>
                </a:cubicBezTo>
                <a:cubicBezTo>
                  <a:pt x="4450961" y="2202732"/>
                  <a:pt x="4450961" y="2202732"/>
                  <a:pt x="4444983" y="2202732"/>
                </a:cubicBezTo>
                <a:lnTo>
                  <a:pt x="4450399" y="2213540"/>
                </a:lnTo>
                <a:lnTo>
                  <a:pt x="4447973" y="2213914"/>
                </a:lnTo>
                <a:cubicBezTo>
                  <a:pt x="4443490" y="2213170"/>
                  <a:pt x="4439005" y="2211678"/>
                  <a:pt x="4444983" y="2220625"/>
                </a:cubicBezTo>
                <a:cubicBezTo>
                  <a:pt x="4439005" y="2226588"/>
                  <a:pt x="4433027" y="2208695"/>
                  <a:pt x="4439005" y="2208695"/>
                </a:cubicBezTo>
                <a:cubicBezTo>
                  <a:pt x="4439005" y="2208695"/>
                  <a:pt x="4439005" y="2208695"/>
                  <a:pt x="4433027" y="2208695"/>
                </a:cubicBezTo>
                <a:cubicBezTo>
                  <a:pt x="4433027" y="2220625"/>
                  <a:pt x="4439005" y="2220625"/>
                  <a:pt x="4439005" y="2232552"/>
                </a:cubicBezTo>
                <a:cubicBezTo>
                  <a:pt x="4444983" y="2220625"/>
                  <a:pt x="4456939" y="2220625"/>
                  <a:pt x="4462917" y="2214661"/>
                </a:cubicBezTo>
                <a:cubicBezTo>
                  <a:pt x="4468895" y="2214661"/>
                  <a:pt x="4462917" y="2226588"/>
                  <a:pt x="4468895" y="2232552"/>
                </a:cubicBezTo>
                <a:cubicBezTo>
                  <a:pt x="4480852" y="2226588"/>
                  <a:pt x="4462917" y="2226588"/>
                  <a:pt x="4468895" y="2214661"/>
                </a:cubicBezTo>
                <a:cubicBezTo>
                  <a:pt x="4474873" y="2214661"/>
                  <a:pt x="4480852" y="2220625"/>
                  <a:pt x="4474873" y="2226588"/>
                </a:cubicBezTo>
                <a:cubicBezTo>
                  <a:pt x="4492808" y="2232552"/>
                  <a:pt x="4510742" y="2220625"/>
                  <a:pt x="4522697" y="2220625"/>
                </a:cubicBezTo>
                <a:lnTo>
                  <a:pt x="4516719" y="2226588"/>
                </a:lnTo>
                <a:lnTo>
                  <a:pt x="4510742" y="2232552"/>
                </a:lnTo>
                <a:cubicBezTo>
                  <a:pt x="4513730" y="2235535"/>
                  <a:pt x="4516719" y="2235535"/>
                  <a:pt x="4518213" y="2234043"/>
                </a:cubicBezTo>
                <a:lnTo>
                  <a:pt x="4516719" y="2226588"/>
                </a:lnTo>
                <a:lnTo>
                  <a:pt x="4528674" y="2232552"/>
                </a:lnTo>
                <a:cubicBezTo>
                  <a:pt x="4522697" y="2226588"/>
                  <a:pt x="4528674" y="2220625"/>
                  <a:pt x="4528674" y="2220625"/>
                </a:cubicBezTo>
                <a:cubicBezTo>
                  <a:pt x="4534652" y="2214661"/>
                  <a:pt x="4540630" y="2214661"/>
                  <a:pt x="4558565" y="2208695"/>
                </a:cubicBezTo>
                <a:cubicBezTo>
                  <a:pt x="4558565" y="2220625"/>
                  <a:pt x="4546608" y="2208695"/>
                  <a:pt x="4546608" y="2220625"/>
                </a:cubicBezTo>
                <a:cubicBezTo>
                  <a:pt x="4552587" y="2226588"/>
                  <a:pt x="4552587" y="2214661"/>
                  <a:pt x="4564543" y="2220625"/>
                </a:cubicBezTo>
                <a:cubicBezTo>
                  <a:pt x="4570521" y="2214661"/>
                  <a:pt x="4558565" y="2214661"/>
                  <a:pt x="4558565" y="2208695"/>
                </a:cubicBezTo>
                <a:cubicBezTo>
                  <a:pt x="4576499" y="2208695"/>
                  <a:pt x="4594433" y="2190805"/>
                  <a:pt x="4606390" y="2202732"/>
                </a:cubicBezTo>
                <a:cubicBezTo>
                  <a:pt x="4612368" y="2202732"/>
                  <a:pt x="4600412" y="2190805"/>
                  <a:pt x="4612368" y="2190805"/>
                </a:cubicBezTo>
                <a:cubicBezTo>
                  <a:pt x="4606390" y="2196769"/>
                  <a:pt x="4612368" y="2196769"/>
                  <a:pt x="4618346" y="2208695"/>
                </a:cubicBezTo>
                <a:lnTo>
                  <a:pt x="4606390" y="2208695"/>
                </a:lnTo>
                <a:cubicBezTo>
                  <a:pt x="4600412" y="2208695"/>
                  <a:pt x="4606390" y="2208695"/>
                  <a:pt x="4606390" y="2214661"/>
                </a:cubicBezTo>
                <a:cubicBezTo>
                  <a:pt x="4588455" y="2214661"/>
                  <a:pt x="4564543" y="2220625"/>
                  <a:pt x="4558565" y="2232552"/>
                </a:cubicBezTo>
                <a:cubicBezTo>
                  <a:pt x="4522697" y="2232552"/>
                  <a:pt x="4492808" y="2268337"/>
                  <a:pt x="4462917" y="2256409"/>
                </a:cubicBezTo>
                <a:cubicBezTo>
                  <a:pt x="4474873" y="2262372"/>
                  <a:pt x="4462917" y="2268337"/>
                  <a:pt x="4450961" y="2268337"/>
                </a:cubicBezTo>
                <a:cubicBezTo>
                  <a:pt x="4450961" y="2268337"/>
                  <a:pt x="4450961" y="2274301"/>
                  <a:pt x="4450961" y="2274301"/>
                </a:cubicBezTo>
                <a:cubicBezTo>
                  <a:pt x="4439005" y="2274301"/>
                  <a:pt x="4427048" y="2280265"/>
                  <a:pt x="4415092" y="2286228"/>
                </a:cubicBezTo>
                <a:cubicBezTo>
                  <a:pt x="4444983" y="2286228"/>
                  <a:pt x="4480852" y="2262372"/>
                  <a:pt x="4516719" y="2256409"/>
                </a:cubicBezTo>
                <a:lnTo>
                  <a:pt x="4521720" y="2276368"/>
                </a:lnTo>
                <a:lnTo>
                  <a:pt x="4516719" y="2274301"/>
                </a:lnTo>
                <a:lnTo>
                  <a:pt x="4515487" y="2275318"/>
                </a:lnTo>
                <a:lnTo>
                  <a:pt x="4510740" y="2272065"/>
                </a:lnTo>
                <a:cubicBezTo>
                  <a:pt x="4506257" y="2274301"/>
                  <a:pt x="4501774" y="2280265"/>
                  <a:pt x="4498786" y="2286228"/>
                </a:cubicBezTo>
                <a:cubicBezTo>
                  <a:pt x="4492808" y="2274301"/>
                  <a:pt x="4468895" y="2286228"/>
                  <a:pt x="4474873" y="2280265"/>
                </a:cubicBezTo>
                <a:cubicBezTo>
                  <a:pt x="4474873" y="2274301"/>
                  <a:pt x="4468895" y="2280265"/>
                  <a:pt x="4468895" y="2280265"/>
                </a:cubicBezTo>
                <a:cubicBezTo>
                  <a:pt x="4474873" y="2286228"/>
                  <a:pt x="4468895" y="2286228"/>
                  <a:pt x="4456939" y="2298157"/>
                </a:cubicBezTo>
                <a:cubicBezTo>
                  <a:pt x="4456939" y="2292192"/>
                  <a:pt x="4462917" y="2292192"/>
                  <a:pt x="4456939" y="2286228"/>
                </a:cubicBezTo>
                <a:cubicBezTo>
                  <a:pt x="4456939" y="2286228"/>
                  <a:pt x="4450961" y="2292192"/>
                  <a:pt x="4450961" y="2298157"/>
                </a:cubicBezTo>
                <a:cubicBezTo>
                  <a:pt x="4450961" y="2298157"/>
                  <a:pt x="4444983" y="2286228"/>
                  <a:pt x="4450961" y="2286228"/>
                </a:cubicBezTo>
                <a:cubicBezTo>
                  <a:pt x="4439005" y="2286228"/>
                  <a:pt x="4433027" y="2292192"/>
                  <a:pt x="4421070" y="2304121"/>
                </a:cubicBezTo>
                <a:cubicBezTo>
                  <a:pt x="4421070" y="2298157"/>
                  <a:pt x="4421070" y="2298157"/>
                  <a:pt x="4421070" y="2292192"/>
                </a:cubicBezTo>
                <a:lnTo>
                  <a:pt x="4415092" y="2298157"/>
                </a:lnTo>
                <a:cubicBezTo>
                  <a:pt x="4421070" y="2310085"/>
                  <a:pt x="4397159" y="2304121"/>
                  <a:pt x="4397159" y="2316048"/>
                </a:cubicBezTo>
                <a:cubicBezTo>
                  <a:pt x="4391180" y="2316048"/>
                  <a:pt x="4391180" y="2310085"/>
                  <a:pt x="4385202" y="2304121"/>
                </a:cubicBezTo>
                <a:cubicBezTo>
                  <a:pt x="4385202" y="2310085"/>
                  <a:pt x="4385202" y="2322014"/>
                  <a:pt x="4385202" y="2322014"/>
                </a:cubicBezTo>
                <a:cubicBezTo>
                  <a:pt x="4373248" y="2333941"/>
                  <a:pt x="4385202" y="2310085"/>
                  <a:pt x="4373248" y="2322014"/>
                </a:cubicBezTo>
                <a:cubicBezTo>
                  <a:pt x="4373248" y="2322014"/>
                  <a:pt x="4379226" y="2322014"/>
                  <a:pt x="4379226" y="2327977"/>
                </a:cubicBezTo>
                <a:cubicBezTo>
                  <a:pt x="4367270" y="2322014"/>
                  <a:pt x="4367270" y="2327977"/>
                  <a:pt x="4361292" y="2333941"/>
                </a:cubicBezTo>
                <a:cubicBezTo>
                  <a:pt x="4367270" y="2339905"/>
                  <a:pt x="4379226" y="2327977"/>
                  <a:pt x="4385202" y="2333941"/>
                </a:cubicBezTo>
                <a:cubicBezTo>
                  <a:pt x="4415092" y="2310085"/>
                  <a:pt x="4427048" y="2322014"/>
                  <a:pt x="4450961" y="2298157"/>
                </a:cubicBezTo>
                <a:cubicBezTo>
                  <a:pt x="4444983" y="2304121"/>
                  <a:pt x="4450961" y="2304121"/>
                  <a:pt x="4456939" y="2304121"/>
                </a:cubicBezTo>
                <a:cubicBezTo>
                  <a:pt x="4456939" y="2298157"/>
                  <a:pt x="4462917" y="2298157"/>
                  <a:pt x="4468895" y="2292192"/>
                </a:cubicBezTo>
                <a:cubicBezTo>
                  <a:pt x="4455444" y="2305612"/>
                  <a:pt x="4485709" y="2295547"/>
                  <a:pt x="4504203" y="2284644"/>
                </a:cubicBezTo>
                <a:lnTo>
                  <a:pt x="4515487" y="2275318"/>
                </a:lnTo>
                <a:lnTo>
                  <a:pt x="4522697" y="2280265"/>
                </a:lnTo>
                <a:lnTo>
                  <a:pt x="4521720" y="2276368"/>
                </a:lnTo>
                <a:lnTo>
                  <a:pt x="4528674" y="2279240"/>
                </a:lnTo>
                <a:cubicBezTo>
                  <a:pt x="4534652" y="2278587"/>
                  <a:pt x="4542125" y="2276165"/>
                  <a:pt x="4549599" y="2273554"/>
                </a:cubicBezTo>
                <a:lnTo>
                  <a:pt x="4561450" y="2269702"/>
                </a:lnTo>
                <a:lnTo>
                  <a:pt x="4525686" y="2285483"/>
                </a:lnTo>
                <a:cubicBezTo>
                  <a:pt x="4512235" y="2289211"/>
                  <a:pt x="4498786" y="2292194"/>
                  <a:pt x="4486830" y="2298157"/>
                </a:cubicBezTo>
                <a:cubicBezTo>
                  <a:pt x="4492808" y="2304121"/>
                  <a:pt x="4498786" y="2298157"/>
                  <a:pt x="4480852" y="2310085"/>
                </a:cubicBezTo>
                <a:cubicBezTo>
                  <a:pt x="4486830" y="2292192"/>
                  <a:pt x="4474873" y="2310085"/>
                  <a:pt x="4468895" y="2304121"/>
                </a:cubicBezTo>
                <a:cubicBezTo>
                  <a:pt x="4468895" y="2310085"/>
                  <a:pt x="4468895" y="2310085"/>
                  <a:pt x="4468895" y="2316048"/>
                </a:cubicBezTo>
                <a:cubicBezTo>
                  <a:pt x="4465906" y="2314557"/>
                  <a:pt x="4463291" y="2314185"/>
                  <a:pt x="4460956" y="2314464"/>
                </a:cubicBezTo>
                <a:lnTo>
                  <a:pt x="4456878" y="2315983"/>
                </a:lnTo>
                <a:lnTo>
                  <a:pt x="4452269" y="2311110"/>
                </a:lnTo>
                <a:cubicBezTo>
                  <a:pt x="4447225" y="2309712"/>
                  <a:pt x="4440499" y="2317540"/>
                  <a:pt x="4427048" y="2322014"/>
                </a:cubicBezTo>
                <a:lnTo>
                  <a:pt x="4427048" y="2327977"/>
                </a:lnTo>
                <a:lnTo>
                  <a:pt x="4396374" y="2334468"/>
                </a:lnTo>
                <a:lnTo>
                  <a:pt x="4397159" y="2333941"/>
                </a:lnTo>
                <a:lnTo>
                  <a:pt x="4395482" y="2334657"/>
                </a:lnTo>
                <a:lnTo>
                  <a:pt x="4377731" y="2338413"/>
                </a:lnTo>
                <a:cubicBezTo>
                  <a:pt x="4362785" y="2344379"/>
                  <a:pt x="4349335" y="2351833"/>
                  <a:pt x="4337379" y="2357797"/>
                </a:cubicBezTo>
                <a:cubicBezTo>
                  <a:pt x="4343357" y="2357797"/>
                  <a:pt x="4355313" y="2357797"/>
                  <a:pt x="4355313" y="2351833"/>
                </a:cubicBezTo>
                <a:lnTo>
                  <a:pt x="4395482" y="2334657"/>
                </a:lnTo>
                <a:lnTo>
                  <a:pt x="4396374" y="2334468"/>
                </a:lnTo>
                <a:lnTo>
                  <a:pt x="4362786" y="2357051"/>
                </a:lnTo>
                <a:cubicBezTo>
                  <a:pt x="4346347" y="2362270"/>
                  <a:pt x="4328413" y="2366743"/>
                  <a:pt x="4319445" y="2375688"/>
                </a:cubicBezTo>
                <a:cubicBezTo>
                  <a:pt x="4313467" y="2381654"/>
                  <a:pt x="4301510" y="2381654"/>
                  <a:pt x="4295532" y="2381654"/>
                </a:cubicBezTo>
                <a:cubicBezTo>
                  <a:pt x="4295532" y="2393581"/>
                  <a:pt x="4301510" y="2375688"/>
                  <a:pt x="4301510" y="2387617"/>
                </a:cubicBezTo>
                <a:cubicBezTo>
                  <a:pt x="4289554" y="2387617"/>
                  <a:pt x="4283577" y="2393581"/>
                  <a:pt x="4277599" y="2387617"/>
                </a:cubicBezTo>
                <a:cubicBezTo>
                  <a:pt x="4271620" y="2387617"/>
                  <a:pt x="4271620" y="2393581"/>
                  <a:pt x="4271620" y="2399545"/>
                </a:cubicBezTo>
                <a:cubicBezTo>
                  <a:pt x="4271620" y="2399545"/>
                  <a:pt x="4271620" y="2387617"/>
                  <a:pt x="4265642" y="2393581"/>
                </a:cubicBezTo>
                <a:cubicBezTo>
                  <a:pt x="4259666" y="2393581"/>
                  <a:pt x="4265642" y="2399545"/>
                  <a:pt x="4265642" y="2399545"/>
                </a:cubicBezTo>
                <a:cubicBezTo>
                  <a:pt x="4259666" y="2399545"/>
                  <a:pt x="4259666" y="2399545"/>
                  <a:pt x="4253688" y="2393581"/>
                </a:cubicBezTo>
                <a:cubicBezTo>
                  <a:pt x="4253688" y="2405510"/>
                  <a:pt x="4241732" y="2405510"/>
                  <a:pt x="4229775" y="2405510"/>
                </a:cubicBezTo>
                <a:cubicBezTo>
                  <a:pt x="4229775" y="2405510"/>
                  <a:pt x="4235753" y="2405510"/>
                  <a:pt x="4235753" y="2405510"/>
                </a:cubicBezTo>
                <a:cubicBezTo>
                  <a:pt x="4205863" y="2423401"/>
                  <a:pt x="4146082" y="2447257"/>
                  <a:pt x="4110215" y="2453221"/>
                </a:cubicBezTo>
                <a:cubicBezTo>
                  <a:pt x="4104237" y="2453221"/>
                  <a:pt x="4110215" y="2459184"/>
                  <a:pt x="4110215" y="2459184"/>
                </a:cubicBezTo>
                <a:cubicBezTo>
                  <a:pt x="4068368" y="2483041"/>
                  <a:pt x="4032501" y="2494970"/>
                  <a:pt x="3990656" y="2512861"/>
                </a:cubicBezTo>
                <a:cubicBezTo>
                  <a:pt x="3998127" y="2514352"/>
                  <a:pt x="4006346" y="2513235"/>
                  <a:pt x="4015034" y="2510624"/>
                </a:cubicBezTo>
                <a:lnTo>
                  <a:pt x="4038520" y="2500962"/>
                </a:lnTo>
                <a:lnTo>
                  <a:pt x="4045952" y="2506152"/>
                </a:lnTo>
                <a:cubicBezTo>
                  <a:pt x="4048941" y="2505405"/>
                  <a:pt x="4050434" y="2503916"/>
                  <a:pt x="4044456" y="2506897"/>
                </a:cubicBezTo>
                <a:cubicBezTo>
                  <a:pt x="4050434" y="2518826"/>
                  <a:pt x="4050434" y="2500934"/>
                  <a:pt x="4062390" y="2500934"/>
                </a:cubicBezTo>
                <a:cubicBezTo>
                  <a:pt x="4056412" y="2512861"/>
                  <a:pt x="4062390" y="2506897"/>
                  <a:pt x="4068368" y="2506897"/>
                </a:cubicBezTo>
                <a:cubicBezTo>
                  <a:pt x="4068368" y="2512861"/>
                  <a:pt x="4068368" y="2512861"/>
                  <a:pt x="4068368" y="2512861"/>
                </a:cubicBezTo>
                <a:cubicBezTo>
                  <a:pt x="4062390" y="2512861"/>
                  <a:pt x="4062390" y="2518826"/>
                  <a:pt x="4062390" y="2518826"/>
                </a:cubicBezTo>
                <a:cubicBezTo>
                  <a:pt x="4062390" y="2518826"/>
                  <a:pt x="4062390" y="2512861"/>
                  <a:pt x="4062390" y="2512861"/>
                </a:cubicBezTo>
                <a:cubicBezTo>
                  <a:pt x="4056412" y="2512861"/>
                  <a:pt x="4056412" y="2518826"/>
                  <a:pt x="4050434" y="2518826"/>
                </a:cubicBezTo>
                <a:cubicBezTo>
                  <a:pt x="4050434" y="2518826"/>
                  <a:pt x="4050434" y="2524789"/>
                  <a:pt x="4050434" y="2524789"/>
                </a:cubicBezTo>
                <a:cubicBezTo>
                  <a:pt x="4062390" y="2530753"/>
                  <a:pt x="4068368" y="2518826"/>
                  <a:pt x="4074347" y="2512861"/>
                </a:cubicBezTo>
                <a:cubicBezTo>
                  <a:pt x="4074347" y="2524789"/>
                  <a:pt x="4080325" y="2518826"/>
                  <a:pt x="4086303" y="2518826"/>
                </a:cubicBezTo>
                <a:cubicBezTo>
                  <a:pt x="4077336" y="2518826"/>
                  <a:pt x="4088545" y="2515471"/>
                  <a:pt x="4094709" y="2511277"/>
                </a:cubicBezTo>
                <a:lnTo>
                  <a:pt x="4097799" y="2507464"/>
                </a:lnTo>
                <a:lnTo>
                  <a:pt x="4096765" y="2510625"/>
                </a:lnTo>
                <a:cubicBezTo>
                  <a:pt x="4096765" y="2512861"/>
                  <a:pt x="4098259" y="2512861"/>
                  <a:pt x="4098259" y="2506897"/>
                </a:cubicBezTo>
                <a:lnTo>
                  <a:pt x="4097799" y="2507464"/>
                </a:lnTo>
                <a:lnTo>
                  <a:pt x="4098259" y="2506059"/>
                </a:lnTo>
                <a:cubicBezTo>
                  <a:pt x="4099380" y="2504288"/>
                  <a:pt x="4101248" y="2502424"/>
                  <a:pt x="4104237" y="2500934"/>
                </a:cubicBezTo>
                <a:cubicBezTo>
                  <a:pt x="4116193" y="2500934"/>
                  <a:pt x="4134125" y="2500934"/>
                  <a:pt x="4146082" y="2494970"/>
                </a:cubicBezTo>
                <a:cubicBezTo>
                  <a:pt x="4146082" y="2494970"/>
                  <a:pt x="4146082" y="2489006"/>
                  <a:pt x="4146082" y="2489006"/>
                </a:cubicBezTo>
                <a:cubicBezTo>
                  <a:pt x="4158038" y="2483041"/>
                  <a:pt x="4175972" y="2494970"/>
                  <a:pt x="4175972" y="2477077"/>
                </a:cubicBezTo>
                <a:cubicBezTo>
                  <a:pt x="4181950" y="2471113"/>
                  <a:pt x="4181950" y="2489006"/>
                  <a:pt x="4181950" y="2489006"/>
                </a:cubicBezTo>
                <a:cubicBezTo>
                  <a:pt x="4175972" y="2483041"/>
                  <a:pt x="4169994" y="2500934"/>
                  <a:pt x="4181950" y="2494970"/>
                </a:cubicBezTo>
                <a:cubicBezTo>
                  <a:pt x="4181950" y="2494970"/>
                  <a:pt x="4175972" y="2494970"/>
                  <a:pt x="4175972" y="2500934"/>
                </a:cubicBezTo>
                <a:cubicBezTo>
                  <a:pt x="4175972" y="2500934"/>
                  <a:pt x="4175972" y="2500934"/>
                  <a:pt x="4169994" y="2500934"/>
                </a:cubicBezTo>
                <a:cubicBezTo>
                  <a:pt x="4175972" y="2494970"/>
                  <a:pt x="4169994" y="2494970"/>
                  <a:pt x="4169994" y="2489006"/>
                </a:cubicBezTo>
                <a:cubicBezTo>
                  <a:pt x="4169994" y="2489006"/>
                  <a:pt x="4164016" y="2494970"/>
                  <a:pt x="4164016" y="2494970"/>
                </a:cubicBezTo>
                <a:cubicBezTo>
                  <a:pt x="4164016" y="2500934"/>
                  <a:pt x="4158038" y="2500934"/>
                  <a:pt x="4152061" y="2494970"/>
                </a:cubicBezTo>
                <a:cubicBezTo>
                  <a:pt x="4158038" y="2494970"/>
                  <a:pt x="4140104" y="2506897"/>
                  <a:pt x="4140104" y="2500934"/>
                </a:cubicBezTo>
                <a:cubicBezTo>
                  <a:pt x="4134125" y="2500934"/>
                  <a:pt x="4128149" y="2518826"/>
                  <a:pt x="4128149" y="2506897"/>
                </a:cubicBezTo>
                <a:cubicBezTo>
                  <a:pt x="4125160" y="2506897"/>
                  <a:pt x="4123666" y="2509879"/>
                  <a:pt x="4122172" y="2512861"/>
                </a:cubicBezTo>
                <a:lnTo>
                  <a:pt x="4115113" y="2513741"/>
                </a:lnTo>
                <a:lnTo>
                  <a:pt x="4114698" y="2513607"/>
                </a:lnTo>
                <a:lnTo>
                  <a:pt x="4114750" y="2513786"/>
                </a:lnTo>
                <a:lnTo>
                  <a:pt x="4110215" y="2514352"/>
                </a:lnTo>
                <a:cubicBezTo>
                  <a:pt x="4105730" y="2517334"/>
                  <a:pt x="4101247" y="2521807"/>
                  <a:pt x="4098259" y="2524789"/>
                </a:cubicBezTo>
                <a:cubicBezTo>
                  <a:pt x="4086303" y="2518826"/>
                  <a:pt x="4086303" y="2530753"/>
                  <a:pt x="4074347" y="2530753"/>
                </a:cubicBezTo>
                <a:cubicBezTo>
                  <a:pt x="4074347" y="2542680"/>
                  <a:pt x="4056412" y="2536717"/>
                  <a:pt x="4062390" y="2554610"/>
                </a:cubicBezTo>
                <a:cubicBezTo>
                  <a:pt x="4056412" y="2554610"/>
                  <a:pt x="4056412" y="2536717"/>
                  <a:pt x="4056412" y="2536717"/>
                </a:cubicBezTo>
                <a:cubicBezTo>
                  <a:pt x="4050434" y="2536717"/>
                  <a:pt x="4044456" y="2548646"/>
                  <a:pt x="4038479" y="2536717"/>
                </a:cubicBezTo>
                <a:cubicBezTo>
                  <a:pt x="4038479" y="2542680"/>
                  <a:pt x="4038479" y="2542680"/>
                  <a:pt x="4038479" y="2548646"/>
                </a:cubicBezTo>
                <a:cubicBezTo>
                  <a:pt x="4026522" y="2554610"/>
                  <a:pt x="4008588" y="2560573"/>
                  <a:pt x="4008588" y="2578466"/>
                </a:cubicBezTo>
                <a:cubicBezTo>
                  <a:pt x="4002610" y="2578466"/>
                  <a:pt x="4008588" y="2566537"/>
                  <a:pt x="4002610" y="2560573"/>
                </a:cubicBezTo>
                <a:cubicBezTo>
                  <a:pt x="4002610" y="2566537"/>
                  <a:pt x="4002610" y="2572502"/>
                  <a:pt x="3996633" y="2566537"/>
                </a:cubicBezTo>
                <a:cubicBezTo>
                  <a:pt x="3984678" y="2578466"/>
                  <a:pt x="4002610" y="2578466"/>
                  <a:pt x="3996633" y="2584429"/>
                </a:cubicBezTo>
                <a:cubicBezTo>
                  <a:pt x="4002610" y="2590393"/>
                  <a:pt x="4014565" y="2572502"/>
                  <a:pt x="4020544" y="2578466"/>
                </a:cubicBezTo>
                <a:cubicBezTo>
                  <a:pt x="4026522" y="2584429"/>
                  <a:pt x="4020544" y="2590393"/>
                  <a:pt x="4020544" y="2590393"/>
                </a:cubicBezTo>
                <a:cubicBezTo>
                  <a:pt x="4032501" y="2596357"/>
                  <a:pt x="4044456" y="2572502"/>
                  <a:pt x="4038479" y="2566537"/>
                </a:cubicBezTo>
                <a:cubicBezTo>
                  <a:pt x="4044456" y="2560573"/>
                  <a:pt x="4050434" y="2566537"/>
                  <a:pt x="4056412" y="2560573"/>
                </a:cubicBezTo>
                <a:cubicBezTo>
                  <a:pt x="4062390" y="2560573"/>
                  <a:pt x="4062390" y="2578466"/>
                  <a:pt x="4056412" y="2578466"/>
                </a:cubicBezTo>
                <a:cubicBezTo>
                  <a:pt x="4068368" y="2572502"/>
                  <a:pt x="4086303" y="2560573"/>
                  <a:pt x="4098259" y="2542680"/>
                </a:cubicBezTo>
                <a:cubicBezTo>
                  <a:pt x="4110215" y="2542680"/>
                  <a:pt x="4098259" y="2554610"/>
                  <a:pt x="4098259" y="2554610"/>
                </a:cubicBezTo>
                <a:cubicBezTo>
                  <a:pt x="4098259" y="2560573"/>
                  <a:pt x="4104237" y="2560573"/>
                  <a:pt x="4110215" y="2566537"/>
                </a:cubicBezTo>
                <a:cubicBezTo>
                  <a:pt x="4104237" y="2560573"/>
                  <a:pt x="4110215" y="2554610"/>
                  <a:pt x="4116193" y="2548646"/>
                </a:cubicBezTo>
                <a:cubicBezTo>
                  <a:pt x="4116193" y="2542680"/>
                  <a:pt x="4110215" y="2542680"/>
                  <a:pt x="4104237" y="2548646"/>
                </a:cubicBezTo>
                <a:cubicBezTo>
                  <a:pt x="4104237" y="2542680"/>
                  <a:pt x="4110215" y="2542680"/>
                  <a:pt x="4116193" y="2536717"/>
                </a:cubicBezTo>
                <a:cubicBezTo>
                  <a:pt x="4116193" y="2554610"/>
                  <a:pt x="4128149" y="2542680"/>
                  <a:pt x="4128149" y="2554610"/>
                </a:cubicBezTo>
                <a:cubicBezTo>
                  <a:pt x="4128149" y="2548646"/>
                  <a:pt x="4146082" y="2536717"/>
                  <a:pt x="4152061" y="2542680"/>
                </a:cubicBezTo>
                <a:cubicBezTo>
                  <a:pt x="4152061" y="2542680"/>
                  <a:pt x="4146082" y="2536717"/>
                  <a:pt x="4146082" y="2530753"/>
                </a:cubicBezTo>
                <a:cubicBezTo>
                  <a:pt x="4158038" y="2536717"/>
                  <a:pt x="4152061" y="2524789"/>
                  <a:pt x="4158038" y="2524789"/>
                </a:cubicBezTo>
                <a:cubicBezTo>
                  <a:pt x="4164016" y="2530753"/>
                  <a:pt x="4158038" y="2530753"/>
                  <a:pt x="4158038" y="2536717"/>
                </a:cubicBezTo>
                <a:cubicBezTo>
                  <a:pt x="4158038" y="2542680"/>
                  <a:pt x="4169994" y="2530753"/>
                  <a:pt x="4164016" y="2524789"/>
                </a:cubicBezTo>
                <a:cubicBezTo>
                  <a:pt x="4169994" y="2524789"/>
                  <a:pt x="4187928" y="2530753"/>
                  <a:pt x="4199885" y="2512861"/>
                </a:cubicBezTo>
                <a:cubicBezTo>
                  <a:pt x="4199885" y="2518826"/>
                  <a:pt x="4199885" y="2518826"/>
                  <a:pt x="4205863" y="2524789"/>
                </a:cubicBezTo>
                <a:cubicBezTo>
                  <a:pt x="4205863" y="2518826"/>
                  <a:pt x="4205863" y="2512861"/>
                  <a:pt x="4205863" y="2512861"/>
                </a:cubicBezTo>
                <a:cubicBezTo>
                  <a:pt x="4211841" y="2518826"/>
                  <a:pt x="4223797" y="2512861"/>
                  <a:pt x="4229775" y="2518826"/>
                </a:cubicBezTo>
                <a:cubicBezTo>
                  <a:pt x="4220807" y="2521807"/>
                  <a:pt x="4214831" y="2521807"/>
                  <a:pt x="4211094" y="2523298"/>
                </a:cubicBezTo>
                <a:lnTo>
                  <a:pt x="4207414" y="2532742"/>
                </a:lnTo>
                <a:lnTo>
                  <a:pt x="4205863" y="2530753"/>
                </a:lnTo>
                <a:cubicBezTo>
                  <a:pt x="4205863" y="2536717"/>
                  <a:pt x="4205863" y="2536717"/>
                  <a:pt x="4205863" y="2536717"/>
                </a:cubicBezTo>
                <a:lnTo>
                  <a:pt x="4207414" y="2532742"/>
                </a:lnTo>
                <a:lnTo>
                  <a:pt x="4211094" y="2537463"/>
                </a:lnTo>
                <a:cubicBezTo>
                  <a:pt x="4211841" y="2541191"/>
                  <a:pt x="4211841" y="2545663"/>
                  <a:pt x="4211841" y="2548646"/>
                </a:cubicBezTo>
                <a:cubicBezTo>
                  <a:pt x="4223797" y="2548646"/>
                  <a:pt x="4229775" y="2542680"/>
                  <a:pt x="4235753" y="2524789"/>
                </a:cubicBezTo>
                <a:cubicBezTo>
                  <a:pt x="4235753" y="2536717"/>
                  <a:pt x="4247710" y="2536717"/>
                  <a:pt x="4253688" y="2542680"/>
                </a:cubicBezTo>
                <a:cubicBezTo>
                  <a:pt x="4217819" y="2548646"/>
                  <a:pt x="4164016" y="2584429"/>
                  <a:pt x="4122172" y="2590393"/>
                </a:cubicBezTo>
                <a:cubicBezTo>
                  <a:pt x="4122172" y="2590393"/>
                  <a:pt x="4122172" y="2596357"/>
                  <a:pt x="4122172" y="2602322"/>
                </a:cubicBezTo>
                <a:cubicBezTo>
                  <a:pt x="4110215" y="2584429"/>
                  <a:pt x="4104237" y="2608286"/>
                  <a:pt x="4086303" y="2602322"/>
                </a:cubicBezTo>
                <a:cubicBezTo>
                  <a:pt x="4080325" y="2608286"/>
                  <a:pt x="4086303" y="2608286"/>
                  <a:pt x="4086303" y="2614249"/>
                </a:cubicBezTo>
                <a:cubicBezTo>
                  <a:pt x="4080325" y="2614249"/>
                  <a:pt x="4074347" y="2614249"/>
                  <a:pt x="4068368" y="2614249"/>
                </a:cubicBezTo>
                <a:cubicBezTo>
                  <a:pt x="4020544" y="2632142"/>
                  <a:pt x="3966743" y="2661962"/>
                  <a:pt x="3924896" y="2667926"/>
                </a:cubicBezTo>
                <a:cubicBezTo>
                  <a:pt x="3906963" y="2679853"/>
                  <a:pt x="3895005" y="2685819"/>
                  <a:pt x="3877072" y="2679853"/>
                </a:cubicBezTo>
                <a:cubicBezTo>
                  <a:pt x="3877072" y="2685819"/>
                  <a:pt x="3883050" y="2691782"/>
                  <a:pt x="3883050" y="2691782"/>
                </a:cubicBezTo>
                <a:cubicBezTo>
                  <a:pt x="3865118" y="2685819"/>
                  <a:pt x="3853161" y="2709673"/>
                  <a:pt x="3841205" y="2709673"/>
                </a:cubicBezTo>
                <a:cubicBezTo>
                  <a:pt x="3847183" y="2709673"/>
                  <a:pt x="3841205" y="2715638"/>
                  <a:pt x="3847183" y="2721602"/>
                </a:cubicBezTo>
                <a:cubicBezTo>
                  <a:pt x="3853161" y="2721602"/>
                  <a:pt x="3853161" y="2703709"/>
                  <a:pt x="3859139" y="2715638"/>
                </a:cubicBezTo>
                <a:cubicBezTo>
                  <a:pt x="3865118" y="2697746"/>
                  <a:pt x="3895005" y="2697746"/>
                  <a:pt x="3900984" y="2685819"/>
                </a:cubicBezTo>
                <a:cubicBezTo>
                  <a:pt x="3906963" y="2685819"/>
                  <a:pt x="3906963" y="2691782"/>
                  <a:pt x="3906963" y="2697746"/>
                </a:cubicBezTo>
                <a:cubicBezTo>
                  <a:pt x="3912941" y="2691782"/>
                  <a:pt x="3912941" y="2679853"/>
                  <a:pt x="3924896" y="2685819"/>
                </a:cubicBezTo>
                <a:cubicBezTo>
                  <a:pt x="3942830" y="2667926"/>
                  <a:pt x="3990656" y="2667926"/>
                  <a:pt x="4020544" y="2650033"/>
                </a:cubicBezTo>
                <a:cubicBezTo>
                  <a:pt x="4020544" y="2650033"/>
                  <a:pt x="4020544" y="2644069"/>
                  <a:pt x="4020544" y="2638106"/>
                </a:cubicBezTo>
                <a:cubicBezTo>
                  <a:pt x="4026522" y="2650033"/>
                  <a:pt x="4038479" y="2644069"/>
                  <a:pt x="4038479" y="2632142"/>
                </a:cubicBezTo>
                <a:cubicBezTo>
                  <a:pt x="4074347" y="2632142"/>
                  <a:pt x="4146082" y="2602322"/>
                  <a:pt x="4164016" y="2584429"/>
                </a:cubicBezTo>
                <a:cubicBezTo>
                  <a:pt x="4169994" y="2578466"/>
                  <a:pt x="4181950" y="2578466"/>
                  <a:pt x="4181950" y="2584429"/>
                </a:cubicBezTo>
                <a:cubicBezTo>
                  <a:pt x="4187928" y="2584429"/>
                  <a:pt x="4193907" y="2578466"/>
                  <a:pt x="4187928" y="2572502"/>
                </a:cubicBezTo>
                <a:cubicBezTo>
                  <a:pt x="4223797" y="2572502"/>
                  <a:pt x="4247710" y="2560573"/>
                  <a:pt x="4277599" y="2542680"/>
                </a:cubicBezTo>
                <a:cubicBezTo>
                  <a:pt x="4259666" y="2572502"/>
                  <a:pt x="4217819" y="2578466"/>
                  <a:pt x="4193907" y="2584429"/>
                </a:cubicBezTo>
                <a:cubicBezTo>
                  <a:pt x="4205863" y="2596357"/>
                  <a:pt x="4181950" y="2584429"/>
                  <a:pt x="4187928" y="2602322"/>
                </a:cubicBezTo>
                <a:cubicBezTo>
                  <a:pt x="4199885" y="2596357"/>
                  <a:pt x="4229775" y="2578466"/>
                  <a:pt x="4247710" y="2578466"/>
                </a:cubicBezTo>
                <a:lnTo>
                  <a:pt x="4247238" y="2577052"/>
                </a:lnTo>
                <a:lnTo>
                  <a:pt x="4267885" y="2571756"/>
                </a:lnTo>
                <a:cubicBezTo>
                  <a:pt x="4277599" y="2569519"/>
                  <a:pt x="4286566" y="2566537"/>
                  <a:pt x="4289554" y="2560573"/>
                </a:cubicBezTo>
                <a:cubicBezTo>
                  <a:pt x="4289554" y="2548646"/>
                  <a:pt x="4277599" y="2560573"/>
                  <a:pt x="4277599" y="2548646"/>
                </a:cubicBezTo>
                <a:cubicBezTo>
                  <a:pt x="4283577" y="2548646"/>
                  <a:pt x="4289554" y="2548646"/>
                  <a:pt x="4283577" y="2542680"/>
                </a:cubicBezTo>
                <a:cubicBezTo>
                  <a:pt x="4295532" y="2536717"/>
                  <a:pt x="4301510" y="2530753"/>
                  <a:pt x="4319445" y="2524789"/>
                </a:cubicBezTo>
                <a:cubicBezTo>
                  <a:pt x="4325423" y="2530753"/>
                  <a:pt x="4313467" y="2536717"/>
                  <a:pt x="4313467" y="2542680"/>
                </a:cubicBezTo>
                <a:cubicBezTo>
                  <a:pt x="4307488" y="2530753"/>
                  <a:pt x="4295532" y="2554610"/>
                  <a:pt x="4289554" y="2542680"/>
                </a:cubicBezTo>
                <a:cubicBezTo>
                  <a:pt x="4289554" y="2542680"/>
                  <a:pt x="4289554" y="2548646"/>
                  <a:pt x="4289554" y="2554610"/>
                </a:cubicBezTo>
                <a:cubicBezTo>
                  <a:pt x="4301510" y="2554610"/>
                  <a:pt x="4313467" y="2548646"/>
                  <a:pt x="4319445" y="2542680"/>
                </a:cubicBezTo>
                <a:cubicBezTo>
                  <a:pt x="4325423" y="2560573"/>
                  <a:pt x="4337379" y="2536717"/>
                  <a:pt x="4343357" y="2536717"/>
                </a:cubicBezTo>
                <a:lnTo>
                  <a:pt x="4337792" y="2529931"/>
                </a:lnTo>
                <a:lnTo>
                  <a:pt x="4343357" y="2518826"/>
                </a:lnTo>
                <a:cubicBezTo>
                  <a:pt x="4379226" y="2512861"/>
                  <a:pt x="4403137" y="2500934"/>
                  <a:pt x="4427048" y="2494970"/>
                </a:cubicBezTo>
                <a:cubicBezTo>
                  <a:pt x="4433027" y="2500934"/>
                  <a:pt x="4421070" y="2500934"/>
                  <a:pt x="4427048" y="2506897"/>
                </a:cubicBezTo>
                <a:cubicBezTo>
                  <a:pt x="4433027" y="2500934"/>
                  <a:pt x="4433027" y="2500934"/>
                  <a:pt x="4444983" y="2500934"/>
                </a:cubicBezTo>
                <a:cubicBezTo>
                  <a:pt x="4444983" y="2494970"/>
                  <a:pt x="4444983" y="2494970"/>
                  <a:pt x="4444983" y="2489006"/>
                </a:cubicBezTo>
                <a:cubicBezTo>
                  <a:pt x="4456939" y="2483041"/>
                  <a:pt x="4468895" y="2471113"/>
                  <a:pt x="4480852" y="2483041"/>
                </a:cubicBezTo>
                <a:cubicBezTo>
                  <a:pt x="4486830" y="2483041"/>
                  <a:pt x="4474873" y="2471113"/>
                  <a:pt x="4486830" y="2471113"/>
                </a:cubicBezTo>
                <a:cubicBezTo>
                  <a:pt x="4486830" y="2477077"/>
                  <a:pt x="4480852" y="2477077"/>
                  <a:pt x="4486830" y="2483041"/>
                </a:cubicBezTo>
                <a:cubicBezTo>
                  <a:pt x="4486830" y="2489006"/>
                  <a:pt x="4486830" y="2477077"/>
                  <a:pt x="4492808" y="2483041"/>
                </a:cubicBezTo>
                <a:cubicBezTo>
                  <a:pt x="4498786" y="2477077"/>
                  <a:pt x="4492808" y="2477077"/>
                  <a:pt x="4492808" y="2471113"/>
                </a:cubicBezTo>
                <a:cubicBezTo>
                  <a:pt x="4504764" y="2471113"/>
                  <a:pt x="4510742" y="2459184"/>
                  <a:pt x="4522697" y="2465149"/>
                </a:cubicBezTo>
                <a:cubicBezTo>
                  <a:pt x="4522697" y="2471113"/>
                  <a:pt x="4510742" y="2465149"/>
                  <a:pt x="4510742" y="2471113"/>
                </a:cubicBezTo>
                <a:lnTo>
                  <a:pt x="4514696" y="2474729"/>
                </a:lnTo>
                <a:lnTo>
                  <a:pt x="4514477" y="2474841"/>
                </a:lnTo>
                <a:cubicBezTo>
                  <a:pt x="4512236" y="2477077"/>
                  <a:pt x="4510742" y="2480059"/>
                  <a:pt x="4510742" y="2477077"/>
                </a:cubicBezTo>
                <a:cubicBezTo>
                  <a:pt x="4510742" y="2483041"/>
                  <a:pt x="4510742" y="2483041"/>
                  <a:pt x="4510742" y="2489006"/>
                </a:cubicBezTo>
                <a:cubicBezTo>
                  <a:pt x="4504764" y="2483041"/>
                  <a:pt x="4504764" y="2494970"/>
                  <a:pt x="4504764" y="2483041"/>
                </a:cubicBezTo>
                <a:cubicBezTo>
                  <a:pt x="4498786" y="2494970"/>
                  <a:pt x="4474873" y="2494970"/>
                  <a:pt x="4474873" y="2489006"/>
                </a:cubicBezTo>
                <a:cubicBezTo>
                  <a:pt x="4468895" y="2512861"/>
                  <a:pt x="4456939" y="2512861"/>
                  <a:pt x="4444983" y="2518826"/>
                </a:cubicBezTo>
                <a:cubicBezTo>
                  <a:pt x="4444983" y="2512861"/>
                  <a:pt x="4433027" y="2518826"/>
                  <a:pt x="4433027" y="2506897"/>
                </a:cubicBezTo>
                <a:cubicBezTo>
                  <a:pt x="4430037" y="2509879"/>
                  <a:pt x="4430037" y="2512861"/>
                  <a:pt x="4430785" y="2515843"/>
                </a:cubicBezTo>
                <a:lnTo>
                  <a:pt x="4432279" y="2521808"/>
                </a:lnTo>
                <a:lnTo>
                  <a:pt x="4427048" y="2518826"/>
                </a:lnTo>
                <a:lnTo>
                  <a:pt x="4427048" y="2524789"/>
                </a:lnTo>
                <a:cubicBezTo>
                  <a:pt x="4421070" y="2524789"/>
                  <a:pt x="4421070" y="2524789"/>
                  <a:pt x="4415092" y="2524789"/>
                </a:cubicBezTo>
                <a:cubicBezTo>
                  <a:pt x="4433027" y="2530753"/>
                  <a:pt x="4403137" y="2530753"/>
                  <a:pt x="4403137" y="2536717"/>
                </a:cubicBezTo>
                <a:cubicBezTo>
                  <a:pt x="4397159" y="2536717"/>
                  <a:pt x="4403137" y="2524789"/>
                  <a:pt x="4397159" y="2530753"/>
                </a:cubicBezTo>
                <a:cubicBezTo>
                  <a:pt x="4391180" y="2530753"/>
                  <a:pt x="4391180" y="2536717"/>
                  <a:pt x="4397159" y="2536717"/>
                </a:cubicBezTo>
                <a:cubicBezTo>
                  <a:pt x="4391180" y="2542680"/>
                  <a:pt x="4391180" y="2536717"/>
                  <a:pt x="4385202" y="2536717"/>
                </a:cubicBezTo>
                <a:cubicBezTo>
                  <a:pt x="4379226" y="2536717"/>
                  <a:pt x="4385202" y="2542680"/>
                  <a:pt x="4379226" y="2548646"/>
                </a:cubicBezTo>
                <a:cubicBezTo>
                  <a:pt x="4373248" y="2542680"/>
                  <a:pt x="4343357" y="2566537"/>
                  <a:pt x="4343357" y="2548646"/>
                </a:cubicBezTo>
                <a:cubicBezTo>
                  <a:pt x="4337379" y="2554610"/>
                  <a:pt x="4337379" y="2554610"/>
                  <a:pt x="4337379" y="2560573"/>
                </a:cubicBezTo>
                <a:cubicBezTo>
                  <a:pt x="4337379" y="2560573"/>
                  <a:pt x="4343357" y="2560573"/>
                  <a:pt x="4343357" y="2566537"/>
                </a:cubicBezTo>
                <a:cubicBezTo>
                  <a:pt x="4337379" y="2560573"/>
                  <a:pt x="4337379" y="2566537"/>
                  <a:pt x="4331401" y="2560573"/>
                </a:cubicBezTo>
                <a:cubicBezTo>
                  <a:pt x="4331401" y="2566537"/>
                  <a:pt x="4337379" y="2572502"/>
                  <a:pt x="4331401" y="2572502"/>
                </a:cubicBezTo>
                <a:cubicBezTo>
                  <a:pt x="4331401" y="2560573"/>
                  <a:pt x="4325423" y="2578466"/>
                  <a:pt x="4325423" y="2560573"/>
                </a:cubicBezTo>
                <a:cubicBezTo>
                  <a:pt x="4319445" y="2572502"/>
                  <a:pt x="4313467" y="2572502"/>
                  <a:pt x="4319445" y="2560573"/>
                </a:cubicBezTo>
                <a:cubicBezTo>
                  <a:pt x="4313467" y="2572502"/>
                  <a:pt x="4301510" y="2572502"/>
                  <a:pt x="4301510" y="2584429"/>
                </a:cubicBezTo>
                <a:cubicBezTo>
                  <a:pt x="4289554" y="2584429"/>
                  <a:pt x="4289554" y="2578466"/>
                  <a:pt x="4283577" y="2584429"/>
                </a:cubicBezTo>
                <a:cubicBezTo>
                  <a:pt x="4283577" y="2572502"/>
                  <a:pt x="4271620" y="2584429"/>
                  <a:pt x="4271620" y="2572502"/>
                </a:cubicBezTo>
                <a:cubicBezTo>
                  <a:pt x="4277599" y="2578466"/>
                  <a:pt x="4265642" y="2596357"/>
                  <a:pt x="4253688" y="2596357"/>
                </a:cubicBezTo>
                <a:cubicBezTo>
                  <a:pt x="4247710" y="2596357"/>
                  <a:pt x="4265642" y="2596357"/>
                  <a:pt x="4259666" y="2602322"/>
                </a:cubicBezTo>
                <a:cubicBezTo>
                  <a:pt x="4241732" y="2608286"/>
                  <a:pt x="4199885" y="2626177"/>
                  <a:pt x="4175972" y="2632142"/>
                </a:cubicBezTo>
                <a:cubicBezTo>
                  <a:pt x="4158038" y="2644069"/>
                  <a:pt x="4134125" y="2655998"/>
                  <a:pt x="4116193" y="2661962"/>
                </a:cubicBezTo>
                <a:cubicBezTo>
                  <a:pt x="4116193" y="2661962"/>
                  <a:pt x="4122172" y="2667926"/>
                  <a:pt x="4122172" y="2667926"/>
                </a:cubicBezTo>
                <a:cubicBezTo>
                  <a:pt x="4122172" y="2679853"/>
                  <a:pt x="4110215" y="2661962"/>
                  <a:pt x="4110215" y="2673889"/>
                </a:cubicBezTo>
                <a:cubicBezTo>
                  <a:pt x="4110215" y="2673889"/>
                  <a:pt x="4110215" y="2667926"/>
                  <a:pt x="4110215" y="2667926"/>
                </a:cubicBezTo>
                <a:cubicBezTo>
                  <a:pt x="4098259" y="2673889"/>
                  <a:pt x="4086303" y="2667926"/>
                  <a:pt x="4086303" y="2685819"/>
                </a:cubicBezTo>
                <a:cubicBezTo>
                  <a:pt x="4098259" y="2685819"/>
                  <a:pt x="4122172" y="2679853"/>
                  <a:pt x="4128149" y="2667926"/>
                </a:cubicBezTo>
                <a:cubicBezTo>
                  <a:pt x="4134125" y="2667926"/>
                  <a:pt x="4128149" y="2673889"/>
                  <a:pt x="4134125" y="2673889"/>
                </a:cubicBezTo>
                <a:cubicBezTo>
                  <a:pt x="4140104" y="2673889"/>
                  <a:pt x="4140104" y="2667926"/>
                  <a:pt x="4146082" y="2667926"/>
                </a:cubicBezTo>
                <a:cubicBezTo>
                  <a:pt x="4146082" y="2667926"/>
                  <a:pt x="4140104" y="2661962"/>
                  <a:pt x="4146082" y="2655998"/>
                </a:cubicBezTo>
                <a:cubicBezTo>
                  <a:pt x="4158038" y="2667926"/>
                  <a:pt x="4158038" y="2644069"/>
                  <a:pt x="4175972" y="2655998"/>
                </a:cubicBezTo>
                <a:cubicBezTo>
                  <a:pt x="4175972" y="2655998"/>
                  <a:pt x="4175972" y="2650033"/>
                  <a:pt x="4181950" y="2650033"/>
                </a:cubicBezTo>
                <a:cubicBezTo>
                  <a:pt x="4181950" y="2650033"/>
                  <a:pt x="4175972" y="2650033"/>
                  <a:pt x="4175972" y="2650033"/>
                </a:cubicBezTo>
                <a:cubicBezTo>
                  <a:pt x="4193907" y="2644069"/>
                  <a:pt x="4199885" y="2644069"/>
                  <a:pt x="4229775" y="2632142"/>
                </a:cubicBezTo>
                <a:cubicBezTo>
                  <a:pt x="4229775" y="2638106"/>
                  <a:pt x="4229775" y="2638106"/>
                  <a:pt x="4229775" y="2644069"/>
                </a:cubicBezTo>
                <a:cubicBezTo>
                  <a:pt x="4229775" y="2644069"/>
                  <a:pt x="4235753" y="2644069"/>
                  <a:pt x="4235753" y="2638106"/>
                </a:cubicBezTo>
                <a:cubicBezTo>
                  <a:pt x="4229775" y="2632142"/>
                  <a:pt x="4235753" y="2638106"/>
                  <a:pt x="4235753" y="2626177"/>
                </a:cubicBezTo>
                <a:cubicBezTo>
                  <a:pt x="4235753" y="2620213"/>
                  <a:pt x="4241732" y="2632142"/>
                  <a:pt x="4241732" y="2620213"/>
                </a:cubicBezTo>
                <a:cubicBezTo>
                  <a:pt x="4241732" y="2632142"/>
                  <a:pt x="4271620" y="2626177"/>
                  <a:pt x="4265642" y="2608286"/>
                </a:cubicBezTo>
                <a:cubicBezTo>
                  <a:pt x="4271620" y="2614249"/>
                  <a:pt x="4277599" y="2620213"/>
                  <a:pt x="4271620" y="2620213"/>
                </a:cubicBezTo>
                <a:cubicBezTo>
                  <a:pt x="4277599" y="2608286"/>
                  <a:pt x="4301510" y="2626177"/>
                  <a:pt x="4301510" y="2602322"/>
                </a:cubicBezTo>
                <a:cubicBezTo>
                  <a:pt x="4307488" y="2596357"/>
                  <a:pt x="4313467" y="2614249"/>
                  <a:pt x="4319445" y="2602322"/>
                </a:cubicBezTo>
                <a:cubicBezTo>
                  <a:pt x="4325423" y="2596357"/>
                  <a:pt x="4325423" y="2590393"/>
                  <a:pt x="4325423" y="2584429"/>
                </a:cubicBezTo>
                <a:cubicBezTo>
                  <a:pt x="4331401" y="2584429"/>
                  <a:pt x="4325423" y="2596357"/>
                  <a:pt x="4325423" y="2602322"/>
                </a:cubicBezTo>
                <a:cubicBezTo>
                  <a:pt x="4337379" y="2596357"/>
                  <a:pt x="4331401" y="2590393"/>
                  <a:pt x="4331401" y="2584429"/>
                </a:cubicBezTo>
                <a:cubicBezTo>
                  <a:pt x="4331401" y="2590393"/>
                  <a:pt x="4337379" y="2594867"/>
                  <a:pt x="4344852" y="2595612"/>
                </a:cubicBezTo>
                <a:lnTo>
                  <a:pt x="4366858" y="2584636"/>
                </a:lnTo>
                <a:lnTo>
                  <a:pt x="4367270" y="2590393"/>
                </a:lnTo>
                <a:cubicBezTo>
                  <a:pt x="4367270" y="2590393"/>
                  <a:pt x="4391180" y="2584429"/>
                  <a:pt x="4385202" y="2572502"/>
                </a:cubicBezTo>
                <a:cubicBezTo>
                  <a:pt x="4385202" y="2560573"/>
                  <a:pt x="4391180" y="2578466"/>
                  <a:pt x="4391180" y="2584429"/>
                </a:cubicBezTo>
                <a:cubicBezTo>
                  <a:pt x="4397159" y="2566537"/>
                  <a:pt x="4421070" y="2572502"/>
                  <a:pt x="4421070" y="2560573"/>
                </a:cubicBezTo>
                <a:cubicBezTo>
                  <a:pt x="4421070" y="2560573"/>
                  <a:pt x="4415092" y="2560573"/>
                  <a:pt x="4415092" y="2554610"/>
                </a:cubicBezTo>
                <a:cubicBezTo>
                  <a:pt x="4409114" y="2554610"/>
                  <a:pt x="4415092" y="2560573"/>
                  <a:pt x="4409114" y="2566537"/>
                </a:cubicBezTo>
                <a:cubicBezTo>
                  <a:pt x="4397159" y="2566537"/>
                  <a:pt x="4409114" y="2554610"/>
                  <a:pt x="4415092" y="2548646"/>
                </a:cubicBezTo>
                <a:cubicBezTo>
                  <a:pt x="4415092" y="2560573"/>
                  <a:pt x="4421070" y="2554610"/>
                  <a:pt x="4427048" y="2554610"/>
                </a:cubicBezTo>
                <a:cubicBezTo>
                  <a:pt x="4427048" y="2560573"/>
                  <a:pt x="4421070" y="2560573"/>
                  <a:pt x="4421070" y="2566537"/>
                </a:cubicBezTo>
                <a:cubicBezTo>
                  <a:pt x="4433027" y="2560573"/>
                  <a:pt x="4433027" y="2554610"/>
                  <a:pt x="4439005" y="2554610"/>
                </a:cubicBezTo>
                <a:cubicBezTo>
                  <a:pt x="4450961" y="2548646"/>
                  <a:pt x="4439005" y="2548646"/>
                  <a:pt x="4444983" y="2542680"/>
                </a:cubicBezTo>
                <a:cubicBezTo>
                  <a:pt x="4450961" y="2536717"/>
                  <a:pt x="4444983" y="2548646"/>
                  <a:pt x="4444983" y="2554610"/>
                </a:cubicBezTo>
                <a:cubicBezTo>
                  <a:pt x="4450961" y="2554610"/>
                  <a:pt x="4450961" y="2554610"/>
                  <a:pt x="4456939" y="2548646"/>
                </a:cubicBezTo>
                <a:cubicBezTo>
                  <a:pt x="4456939" y="2548646"/>
                  <a:pt x="4450961" y="2542680"/>
                  <a:pt x="4456939" y="2536717"/>
                </a:cubicBezTo>
                <a:cubicBezTo>
                  <a:pt x="4462917" y="2530753"/>
                  <a:pt x="4462917" y="2536717"/>
                  <a:pt x="4462917" y="2536717"/>
                </a:cubicBezTo>
                <a:cubicBezTo>
                  <a:pt x="4462917" y="2536717"/>
                  <a:pt x="4462917" y="2542680"/>
                  <a:pt x="4462917" y="2542680"/>
                </a:cubicBezTo>
                <a:cubicBezTo>
                  <a:pt x="4450961" y="2542680"/>
                  <a:pt x="4468895" y="2548646"/>
                  <a:pt x="4474873" y="2548646"/>
                </a:cubicBezTo>
                <a:cubicBezTo>
                  <a:pt x="4474873" y="2548646"/>
                  <a:pt x="4474873" y="2536717"/>
                  <a:pt x="4468895" y="2542680"/>
                </a:cubicBezTo>
                <a:lnTo>
                  <a:pt x="4474873" y="2536717"/>
                </a:lnTo>
                <a:lnTo>
                  <a:pt x="4479356" y="2543077"/>
                </a:lnTo>
                <a:cubicBezTo>
                  <a:pt x="4489819" y="2552373"/>
                  <a:pt x="4500281" y="2526281"/>
                  <a:pt x="4510742" y="2536717"/>
                </a:cubicBezTo>
                <a:cubicBezTo>
                  <a:pt x="4510742" y="2530753"/>
                  <a:pt x="4510742" y="2530753"/>
                  <a:pt x="4522697" y="2524789"/>
                </a:cubicBezTo>
                <a:cubicBezTo>
                  <a:pt x="4522697" y="2524789"/>
                  <a:pt x="4528674" y="2524789"/>
                  <a:pt x="4528674" y="2524789"/>
                </a:cubicBezTo>
                <a:lnTo>
                  <a:pt x="4528674" y="2518826"/>
                </a:lnTo>
                <a:lnTo>
                  <a:pt x="4528674" y="2512861"/>
                </a:lnTo>
                <a:cubicBezTo>
                  <a:pt x="4540630" y="2518826"/>
                  <a:pt x="4540630" y="2506897"/>
                  <a:pt x="4540630" y="2506897"/>
                </a:cubicBezTo>
                <a:cubicBezTo>
                  <a:pt x="4552587" y="2500934"/>
                  <a:pt x="4540630" y="2506897"/>
                  <a:pt x="4546608" y="2512861"/>
                </a:cubicBezTo>
                <a:cubicBezTo>
                  <a:pt x="4552587" y="2518826"/>
                  <a:pt x="4552587" y="2518826"/>
                  <a:pt x="4558565" y="2518826"/>
                </a:cubicBezTo>
                <a:lnTo>
                  <a:pt x="4555640" y="2507152"/>
                </a:lnTo>
                <a:lnTo>
                  <a:pt x="4564543" y="2512861"/>
                </a:lnTo>
                <a:cubicBezTo>
                  <a:pt x="4564543" y="2506897"/>
                  <a:pt x="4564543" y="2500934"/>
                  <a:pt x="4564543" y="2494970"/>
                </a:cubicBezTo>
                <a:cubicBezTo>
                  <a:pt x="4570521" y="2500934"/>
                  <a:pt x="4570521" y="2506897"/>
                  <a:pt x="4576499" y="2506897"/>
                </a:cubicBezTo>
                <a:cubicBezTo>
                  <a:pt x="4576499" y="2503915"/>
                  <a:pt x="4579488" y="2500934"/>
                  <a:pt x="4581730" y="2498697"/>
                </a:cubicBezTo>
                <a:lnTo>
                  <a:pt x="4583907" y="2496177"/>
                </a:lnTo>
                <a:lnTo>
                  <a:pt x="4582477" y="2500934"/>
                </a:lnTo>
                <a:cubicBezTo>
                  <a:pt x="4588455" y="2500934"/>
                  <a:pt x="4600412" y="2489006"/>
                  <a:pt x="4588455" y="2489006"/>
                </a:cubicBezTo>
                <a:cubicBezTo>
                  <a:pt x="4588455" y="2483041"/>
                  <a:pt x="4600412" y="2489006"/>
                  <a:pt x="4600412" y="2494970"/>
                </a:cubicBezTo>
                <a:cubicBezTo>
                  <a:pt x="4606390" y="2483041"/>
                  <a:pt x="4612368" y="2489006"/>
                  <a:pt x="4624324" y="2489006"/>
                </a:cubicBezTo>
                <a:lnTo>
                  <a:pt x="4626263" y="2494164"/>
                </a:lnTo>
                <a:lnTo>
                  <a:pt x="4624324" y="2500934"/>
                </a:lnTo>
                <a:cubicBezTo>
                  <a:pt x="4624324" y="2497952"/>
                  <a:pt x="4625818" y="2496460"/>
                  <a:pt x="4626566" y="2494970"/>
                </a:cubicBezTo>
                <a:lnTo>
                  <a:pt x="4626263" y="2494164"/>
                </a:lnTo>
                <a:lnTo>
                  <a:pt x="4627313" y="2490497"/>
                </a:lnTo>
                <a:cubicBezTo>
                  <a:pt x="4627313" y="2487514"/>
                  <a:pt x="4627313" y="2486023"/>
                  <a:pt x="4630302" y="2489006"/>
                </a:cubicBezTo>
                <a:cubicBezTo>
                  <a:pt x="4630302" y="2489006"/>
                  <a:pt x="4630302" y="2483041"/>
                  <a:pt x="4624324" y="2483041"/>
                </a:cubicBezTo>
                <a:cubicBezTo>
                  <a:pt x="4678125" y="2471113"/>
                  <a:pt x="4713993" y="2453221"/>
                  <a:pt x="4761818" y="2429364"/>
                </a:cubicBezTo>
                <a:cubicBezTo>
                  <a:pt x="4767796" y="2429364"/>
                  <a:pt x="4773772" y="2447257"/>
                  <a:pt x="4761818" y="2447257"/>
                </a:cubicBezTo>
                <a:cubicBezTo>
                  <a:pt x="4761818" y="2441294"/>
                  <a:pt x="4767796" y="2441294"/>
                  <a:pt x="4761818" y="2435330"/>
                </a:cubicBezTo>
                <a:cubicBezTo>
                  <a:pt x="4743884" y="2453221"/>
                  <a:pt x="4719972" y="2453221"/>
                  <a:pt x="4708015" y="2471113"/>
                </a:cubicBezTo>
                <a:cubicBezTo>
                  <a:pt x="4702037" y="2459184"/>
                  <a:pt x="4696059" y="2477077"/>
                  <a:pt x="4690081" y="2465149"/>
                </a:cubicBezTo>
                <a:lnTo>
                  <a:pt x="4686097" y="2483041"/>
                </a:lnTo>
                <a:lnTo>
                  <a:pt x="4684103" y="2483041"/>
                </a:lnTo>
                <a:cubicBezTo>
                  <a:pt x="4678125" y="2483041"/>
                  <a:pt x="4684103" y="2471113"/>
                  <a:pt x="4678125" y="2471113"/>
                </a:cubicBezTo>
                <a:cubicBezTo>
                  <a:pt x="4672147" y="2477077"/>
                  <a:pt x="4666168" y="2477077"/>
                  <a:pt x="4672147" y="2483041"/>
                </a:cubicBezTo>
                <a:cubicBezTo>
                  <a:pt x="4660190" y="2477077"/>
                  <a:pt x="4654212" y="2489006"/>
                  <a:pt x="4648234" y="2500934"/>
                </a:cubicBezTo>
                <a:cubicBezTo>
                  <a:pt x="4654212" y="2512861"/>
                  <a:pt x="4660190" y="2500934"/>
                  <a:pt x="4660190" y="2506897"/>
                </a:cubicBezTo>
                <a:cubicBezTo>
                  <a:pt x="4636280" y="2530753"/>
                  <a:pt x="4600412" y="2524789"/>
                  <a:pt x="4582477" y="2548646"/>
                </a:cubicBezTo>
                <a:cubicBezTo>
                  <a:pt x="4576499" y="2536717"/>
                  <a:pt x="4582477" y="2536717"/>
                  <a:pt x="4576499" y="2530753"/>
                </a:cubicBezTo>
                <a:cubicBezTo>
                  <a:pt x="4570521" y="2530753"/>
                  <a:pt x="4570521" y="2548646"/>
                  <a:pt x="4576499" y="2542680"/>
                </a:cubicBezTo>
                <a:cubicBezTo>
                  <a:pt x="4570521" y="2554610"/>
                  <a:pt x="4552587" y="2554610"/>
                  <a:pt x="4534652" y="2560573"/>
                </a:cubicBezTo>
                <a:cubicBezTo>
                  <a:pt x="4528674" y="2548646"/>
                  <a:pt x="4516719" y="2554610"/>
                  <a:pt x="4510742" y="2560573"/>
                </a:cubicBezTo>
                <a:cubicBezTo>
                  <a:pt x="4516719" y="2566537"/>
                  <a:pt x="4522697" y="2554610"/>
                  <a:pt x="4528674" y="2560573"/>
                </a:cubicBezTo>
                <a:cubicBezTo>
                  <a:pt x="4522697" y="2572502"/>
                  <a:pt x="4480852" y="2584429"/>
                  <a:pt x="4480852" y="2578466"/>
                </a:cubicBezTo>
                <a:cubicBezTo>
                  <a:pt x="4462917" y="2596357"/>
                  <a:pt x="4415092" y="2608286"/>
                  <a:pt x="4385202" y="2626177"/>
                </a:cubicBezTo>
                <a:lnTo>
                  <a:pt x="4379226" y="2620213"/>
                </a:lnTo>
                <a:lnTo>
                  <a:pt x="4240237" y="2688054"/>
                </a:lnTo>
                <a:cubicBezTo>
                  <a:pt x="4192412" y="2708183"/>
                  <a:pt x="4143094" y="2727565"/>
                  <a:pt x="4092281" y="2751422"/>
                </a:cubicBezTo>
                <a:cubicBezTo>
                  <a:pt x="4092281" y="2751422"/>
                  <a:pt x="4098259" y="2751422"/>
                  <a:pt x="4098259" y="2757386"/>
                </a:cubicBezTo>
                <a:cubicBezTo>
                  <a:pt x="4128149" y="2745458"/>
                  <a:pt x="4175972" y="2727565"/>
                  <a:pt x="4199885" y="2721602"/>
                </a:cubicBezTo>
                <a:cubicBezTo>
                  <a:pt x="4187928" y="2739493"/>
                  <a:pt x="4158038" y="2745458"/>
                  <a:pt x="4140104" y="2751422"/>
                </a:cubicBezTo>
                <a:cubicBezTo>
                  <a:pt x="4092281" y="2769315"/>
                  <a:pt x="4044456" y="2793169"/>
                  <a:pt x="3984678" y="2811062"/>
                </a:cubicBezTo>
                <a:cubicBezTo>
                  <a:pt x="3972721" y="2828955"/>
                  <a:pt x="3948809" y="2828955"/>
                  <a:pt x="3918919" y="2840882"/>
                </a:cubicBezTo>
                <a:cubicBezTo>
                  <a:pt x="3906963" y="2840882"/>
                  <a:pt x="3918919" y="2852811"/>
                  <a:pt x="3906963" y="2852811"/>
                </a:cubicBezTo>
                <a:cubicBezTo>
                  <a:pt x="3906963" y="2846845"/>
                  <a:pt x="3906963" y="2840882"/>
                  <a:pt x="3900984" y="2834918"/>
                </a:cubicBezTo>
                <a:cubicBezTo>
                  <a:pt x="3895005" y="2834918"/>
                  <a:pt x="3900984" y="2846845"/>
                  <a:pt x="3895005" y="2846845"/>
                </a:cubicBezTo>
                <a:cubicBezTo>
                  <a:pt x="3895005" y="2846845"/>
                  <a:pt x="3895005" y="2834918"/>
                  <a:pt x="3889028" y="2840882"/>
                </a:cubicBezTo>
                <a:cubicBezTo>
                  <a:pt x="3883050" y="2840882"/>
                  <a:pt x="3889028" y="2846845"/>
                  <a:pt x="3889028" y="2852811"/>
                </a:cubicBezTo>
                <a:cubicBezTo>
                  <a:pt x="3865118" y="2864738"/>
                  <a:pt x="3847183" y="2870702"/>
                  <a:pt x="3835227" y="2864738"/>
                </a:cubicBezTo>
                <a:cubicBezTo>
                  <a:pt x="3829250" y="2870702"/>
                  <a:pt x="3841205" y="2870702"/>
                  <a:pt x="3835227" y="2876666"/>
                </a:cubicBezTo>
                <a:cubicBezTo>
                  <a:pt x="3829250" y="2876666"/>
                  <a:pt x="3823270" y="2882631"/>
                  <a:pt x="3823270" y="2870702"/>
                </a:cubicBezTo>
                <a:cubicBezTo>
                  <a:pt x="3817292" y="2876666"/>
                  <a:pt x="3823270" y="2882631"/>
                  <a:pt x="3817292" y="2882631"/>
                </a:cubicBezTo>
                <a:cubicBezTo>
                  <a:pt x="3805336" y="2882631"/>
                  <a:pt x="3805336" y="2888595"/>
                  <a:pt x="3787403" y="2894558"/>
                </a:cubicBezTo>
                <a:cubicBezTo>
                  <a:pt x="3793381" y="2900522"/>
                  <a:pt x="3793381" y="2894558"/>
                  <a:pt x="3805336" y="2894558"/>
                </a:cubicBezTo>
                <a:cubicBezTo>
                  <a:pt x="3781424" y="2912451"/>
                  <a:pt x="3751535" y="2906485"/>
                  <a:pt x="3733601" y="2930342"/>
                </a:cubicBezTo>
                <a:cubicBezTo>
                  <a:pt x="3715667" y="2924378"/>
                  <a:pt x="3697732" y="2960162"/>
                  <a:pt x="3673821" y="2954198"/>
                </a:cubicBezTo>
                <a:cubicBezTo>
                  <a:pt x="3673821" y="2960162"/>
                  <a:pt x="3643930" y="2978054"/>
                  <a:pt x="3631974" y="2966127"/>
                </a:cubicBezTo>
                <a:cubicBezTo>
                  <a:pt x="3637952" y="2978054"/>
                  <a:pt x="3614039" y="2978054"/>
                  <a:pt x="3596107" y="2989982"/>
                </a:cubicBezTo>
                <a:cubicBezTo>
                  <a:pt x="3596107" y="2984018"/>
                  <a:pt x="3590129" y="2984018"/>
                  <a:pt x="3590129" y="2984018"/>
                </a:cubicBezTo>
                <a:cubicBezTo>
                  <a:pt x="3587140" y="2984018"/>
                  <a:pt x="3585645" y="2984018"/>
                  <a:pt x="3584898" y="2984764"/>
                </a:cubicBezTo>
                <a:lnTo>
                  <a:pt x="3584453" y="2987868"/>
                </a:lnTo>
                <a:lnTo>
                  <a:pt x="3564162" y="3001631"/>
                </a:lnTo>
                <a:cubicBezTo>
                  <a:pt x="3538942" y="3015329"/>
                  <a:pt x="3515403" y="3019802"/>
                  <a:pt x="3488501" y="3037694"/>
                </a:cubicBezTo>
                <a:cubicBezTo>
                  <a:pt x="3482523" y="3031730"/>
                  <a:pt x="3470569" y="3037694"/>
                  <a:pt x="3464591" y="3049623"/>
                </a:cubicBezTo>
                <a:cubicBezTo>
                  <a:pt x="3458613" y="3049623"/>
                  <a:pt x="3458613" y="3043658"/>
                  <a:pt x="3458613" y="3043658"/>
                </a:cubicBezTo>
                <a:cubicBezTo>
                  <a:pt x="3446657" y="3043658"/>
                  <a:pt x="3458613" y="3055587"/>
                  <a:pt x="3446657" y="3055587"/>
                </a:cubicBezTo>
                <a:cubicBezTo>
                  <a:pt x="3440679" y="3055587"/>
                  <a:pt x="3440679" y="3049623"/>
                  <a:pt x="3440679" y="3043658"/>
                </a:cubicBezTo>
                <a:cubicBezTo>
                  <a:pt x="3440679" y="3055587"/>
                  <a:pt x="3422744" y="3073478"/>
                  <a:pt x="3410788" y="3061551"/>
                </a:cubicBezTo>
                <a:cubicBezTo>
                  <a:pt x="3410788" y="3061551"/>
                  <a:pt x="3410788" y="3061551"/>
                  <a:pt x="3416766" y="3067514"/>
                </a:cubicBezTo>
                <a:cubicBezTo>
                  <a:pt x="3404810" y="3067514"/>
                  <a:pt x="3398832" y="3073478"/>
                  <a:pt x="3386876" y="3073478"/>
                </a:cubicBezTo>
                <a:cubicBezTo>
                  <a:pt x="3392854" y="3079443"/>
                  <a:pt x="3392854" y="3079443"/>
                  <a:pt x="3392854" y="3091370"/>
                </a:cubicBezTo>
                <a:cubicBezTo>
                  <a:pt x="3404810" y="3073478"/>
                  <a:pt x="3440679" y="3061551"/>
                  <a:pt x="3458613" y="3061551"/>
                </a:cubicBezTo>
                <a:cubicBezTo>
                  <a:pt x="3458613" y="3061551"/>
                  <a:pt x="3452634" y="3061551"/>
                  <a:pt x="3452634" y="3055587"/>
                </a:cubicBezTo>
                <a:cubicBezTo>
                  <a:pt x="3458613" y="3049623"/>
                  <a:pt x="3464591" y="3055587"/>
                  <a:pt x="3464591" y="3061551"/>
                </a:cubicBezTo>
                <a:cubicBezTo>
                  <a:pt x="3464591" y="3049623"/>
                  <a:pt x="3512414" y="3049623"/>
                  <a:pt x="3494479" y="3043658"/>
                </a:cubicBezTo>
                <a:cubicBezTo>
                  <a:pt x="3506436" y="3043658"/>
                  <a:pt x="3524370" y="3025767"/>
                  <a:pt x="3536326" y="3031730"/>
                </a:cubicBezTo>
                <a:cubicBezTo>
                  <a:pt x="3536326" y="3019803"/>
                  <a:pt x="3560239" y="3019803"/>
                  <a:pt x="3554261" y="3031730"/>
                </a:cubicBezTo>
                <a:cubicBezTo>
                  <a:pt x="3554261" y="3034714"/>
                  <a:pt x="3558744" y="3031730"/>
                  <a:pt x="3563975" y="3029494"/>
                </a:cubicBezTo>
                <a:lnTo>
                  <a:pt x="3577985" y="3031702"/>
                </a:lnTo>
                <a:lnTo>
                  <a:pt x="3577985" y="3022864"/>
                </a:lnTo>
                <a:cubicBezTo>
                  <a:pt x="3577985" y="3021381"/>
                  <a:pt x="3577985" y="3021381"/>
                  <a:pt x="3577985" y="3021381"/>
                </a:cubicBezTo>
                <a:cubicBezTo>
                  <a:pt x="3572071" y="3027312"/>
                  <a:pt x="3554331" y="3033244"/>
                  <a:pt x="3554331" y="3021381"/>
                </a:cubicBezTo>
                <a:cubicBezTo>
                  <a:pt x="3613465" y="2997659"/>
                  <a:pt x="3666686" y="2973934"/>
                  <a:pt x="3725819" y="2950212"/>
                </a:cubicBezTo>
                <a:cubicBezTo>
                  <a:pt x="3731734" y="2950212"/>
                  <a:pt x="3731734" y="2962072"/>
                  <a:pt x="3737647" y="2962072"/>
                </a:cubicBezTo>
                <a:lnTo>
                  <a:pt x="3749066" y="2956347"/>
                </a:lnTo>
                <a:lnTo>
                  <a:pt x="3749473" y="2962072"/>
                </a:lnTo>
                <a:cubicBezTo>
                  <a:pt x="3736168" y="2962072"/>
                  <a:pt x="3716211" y="2978754"/>
                  <a:pt x="3699578" y="2982089"/>
                </a:cubicBezTo>
                <a:lnTo>
                  <a:pt x="3686208" y="2980128"/>
                </a:lnTo>
                <a:lnTo>
                  <a:pt x="3694036" y="2978383"/>
                </a:lnTo>
                <a:cubicBezTo>
                  <a:pt x="3706602" y="2973934"/>
                  <a:pt x="3719906" y="2968003"/>
                  <a:pt x="3731734" y="2962072"/>
                </a:cubicBezTo>
                <a:cubicBezTo>
                  <a:pt x="3719906" y="2962072"/>
                  <a:pt x="3703643" y="2968003"/>
                  <a:pt x="3687382" y="2975417"/>
                </a:cubicBezTo>
                <a:lnTo>
                  <a:pt x="3671416" y="2983425"/>
                </a:lnTo>
                <a:lnTo>
                  <a:pt x="3660773" y="2985797"/>
                </a:lnTo>
                <a:lnTo>
                  <a:pt x="3659928" y="2989184"/>
                </a:lnTo>
                <a:lnTo>
                  <a:pt x="3643031" y="2997659"/>
                </a:lnTo>
                <a:cubicBezTo>
                  <a:pt x="3643031" y="2997659"/>
                  <a:pt x="3648946" y="2997659"/>
                  <a:pt x="3654859" y="2997659"/>
                </a:cubicBezTo>
                <a:cubicBezTo>
                  <a:pt x="3654859" y="3015450"/>
                  <a:pt x="3631206" y="2991728"/>
                  <a:pt x="3631206" y="3015450"/>
                </a:cubicBezTo>
                <a:cubicBezTo>
                  <a:pt x="3625292" y="3009519"/>
                  <a:pt x="3619380" y="3027312"/>
                  <a:pt x="3619380" y="3015450"/>
                </a:cubicBezTo>
                <a:cubicBezTo>
                  <a:pt x="3613465" y="3015450"/>
                  <a:pt x="3619380" y="3021381"/>
                  <a:pt x="3607552" y="3027312"/>
                </a:cubicBezTo>
                <a:cubicBezTo>
                  <a:pt x="3607552" y="3021381"/>
                  <a:pt x="3601639" y="3021381"/>
                  <a:pt x="3601639" y="3021381"/>
                </a:cubicBezTo>
                <a:cubicBezTo>
                  <a:pt x="3601639" y="3027312"/>
                  <a:pt x="3589812" y="3027312"/>
                  <a:pt x="3577985" y="3033244"/>
                </a:cubicBezTo>
                <a:lnTo>
                  <a:pt x="3577985" y="3031777"/>
                </a:lnTo>
                <a:lnTo>
                  <a:pt x="3557250" y="3036949"/>
                </a:lnTo>
                <a:cubicBezTo>
                  <a:pt x="3551272" y="3039185"/>
                  <a:pt x="3545294" y="3040677"/>
                  <a:pt x="3536326" y="3037694"/>
                </a:cubicBezTo>
                <a:lnTo>
                  <a:pt x="3536326" y="3043658"/>
                </a:lnTo>
                <a:cubicBezTo>
                  <a:pt x="3530348" y="3031730"/>
                  <a:pt x="3524370" y="3043658"/>
                  <a:pt x="3518392" y="3043658"/>
                </a:cubicBezTo>
                <a:cubicBezTo>
                  <a:pt x="3518392" y="3043658"/>
                  <a:pt x="3519886" y="3043658"/>
                  <a:pt x="3521381" y="3044404"/>
                </a:cubicBezTo>
                <a:lnTo>
                  <a:pt x="3524262" y="3049435"/>
                </a:lnTo>
                <a:lnTo>
                  <a:pt x="3523854" y="3049956"/>
                </a:lnTo>
                <a:lnTo>
                  <a:pt x="3511666" y="3057823"/>
                </a:lnTo>
                <a:cubicBezTo>
                  <a:pt x="3507931" y="3060059"/>
                  <a:pt x="3503447" y="3061551"/>
                  <a:pt x="3494479" y="3061551"/>
                </a:cubicBezTo>
                <a:cubicBezTo>
                  <a:pt x="3494479" y="3055587"/>
                  <a:pt x="3500458" y="3055587"/>
                  <a:pt x="3500458" y="3049623"/>
                </a:cubicBezTo>
                <a:cubicBezTo>
                  <a:pt x="3494479" y="3067514"/>
                  <a:pt x="3476547" y="3079443"/>
                  <a:pt x="3458613" y="3073478"/>
                </a:cubicBezTo>
                <a:cubicBezTo>
                  <a:pt x="3458613" y="3073478"/>
                  <a:pt x="3458613" y="3073478"/>
                  <a:pt x="3464591" y="3067514"/>
                </a:cubicBezTo>
                <a:cubicBezTo>
                  <a:pt x="3452634" y="3067514"/>
                  <a:pt x="3452634" y="3079443"/>
                  <a:pt x="3458613" y="3085407"/>
                </a:cubicBezTo>
                <a:cubicBezTo>
                  <a:pt x="3452634" y="3079443"/>
                  <a:pt x="3440679" y="3091370"/>
                  <a:pt x="3440679" y="3097334"/>
                </a:cubicBezTo>
                <a:lnTo>
                  <a:pt x="3434319" y="3091623"/>
                </a:lnTo>
                <a:lnTo>
                  <a:pt x="3434701" y="3091370"/>
                </a:lnTo>
                <a:lnTo>
                  <a:pt x="3433420" y="3089027"/>
                </a:lnTo>
                <a:lnTo>
                  <a:pt x="3434701" y="3079443"/>
                </a:lnTo>
                <a:cubicBezTo>
                  <a:pt x="3431712" y="3079443"/>
                  <a:pt x="3430217" y="3080934"/>
                  <a:pt x="3430217" y="3083170"/>
                </a:cubicBezTo>
                <a:lnTo>
                  <a:pt x="3433420" y="3089027"/>
                </a:lnTo>
                <a:lnTo>
                  <a:pt x="3433206" y="3090625"/>
                </a:lnTo>
                <a:lnTo>
                  <a:pt x="3434319" y="3091623"/>
                </a:lnTo>
                <a:lnTo>
                  <a:pt x="3416766" y="3103299"/>
                </a:lnTo>
                <a:cubicBezTo>
                  <a:pt x="3410788" y="3103299"/>
                  <a:pt x="3422744" y="3091370"/>
                  <a:pt x="3428722" y="3091370"/>
                </a:cubicBezTo>
                <a:cubicBezTo>
                  <a:pt x="3428722" y="3085407"/>
                  <a:pt x="3404810" y="3091370"/>
                  <a:pt x="3410788" y="3097334"/>
                </a:cubicBezTo>
                <a:cubicBezTo>
                  <a:pt x="3404810" y="3091370"/>
                  <a:pt x="3404810" y="3097334"/>
                  <a:pt x="3398832" y="3103299"/>
                </a:cubicBezTo>
                <a:cubicBezTo>
                  <a:pt x="3398832" y="3097334"/>
                  <a:pt x="3392854" y="3103299"/>
                  <a:pt x="3392854" y="3097334"/>
                </a:cubicBezTo>
                <a:cubicBezTo>
                  <a:pt x="3392854" y="3103299"/>
                  <a:pt x="3386876" y="3109263"/>
                  <a:pt x="3380898" y="3103299"/>
                </a:cubicBezTo>
                <a:cubicBezTo>
                  <a:pt x="3380898" y="3121191"/>
                  <a:pt x="3386876" y="3103299"/>
                  <a:pt x="3392854" y="3103299"/>
                </a:cubicBezTo>
                <a:cubicBezTo>
                  <a:pt x="3392854" y="3109263"/>
                  <a:pt x="3386876" y="3115227"/>
                  <a:pt x="3380898" y="3115227"/>
                </a:cubicBezTo>
                <a:cubicBezTo>
                  <a:pt x="3374919" y="3115227"/>
                  <a:pt x="3380898" y="3103299"/>
                  <a:pt x="3368941" y="3103299"/>
                </a:cubicBezTo>
                <a:cubicBezTo>
                  <a:pt x="3368941" y="3109263"/>
                  <a:pt x="3374919" y="3103299"/>
                  <a:pt x="3374919" y="3115227"/>
                </a:cubicBezTo>
                <a:cubicBezTo>
                  <a:pt x="3368941" y="3115227"/>
                  <a:pt x="3362963" y="3115227"/>
                  <a:pt x="3351009" y="3115227"/>
                </a:cubicBezTo>
                <a:cubicBezTo>
                  <a:pt x="3356985" y="3127154"/>
                  <a:pt x="3362963" y="3127154"/>
                  <a:pt x="3351009" y="3133120"/>
                </a:cubicBezTo>
                <a:cubicBezTo>
                  <a:pt x="3351009" y="3127154"/>
                  <a:pt x="3356985" y="3127154"/>
                  <a:pt x="3356985" y="3127154"/>
                </a:cubicBezTo>
                <a:cubicBezTo>
                  <a:pt x="3345031" y="3121191"/>
                  <a:pt x="3321119" y="3133120"/>
                  <a:pt x="3309162" y="3145047"/>
                </a:cubicBezTo>
                <a:cubicBezTo>
                  <a:pt x="3303184" y="3127154"/>
                  <a:pt x="3297206" y="3139083"/>
                  <a:pt x="3297206" y="3133120"/>
                </a:cubicBezTo>
                <a:cubicBezTo>
                  <a:pt x="3291228" y="3139083"/>
                  <a:pt x="3291228" y="3145047"/>
                  <a:pt x="3291228" y="3156974"/>
                </a:cubicBezTo>
                <a:cubicBezTo>
                  <a:pt x="3285250" y="3162939"/>
                  <a:pt x="3279272" y="3156974"/>
                  <a:pt x="3273294" y="3168903"/>
                </a:cubicBezTo>
                <a:cubicBezTo>
                  <a:pt x="3267316" y="3156974"/>
                  <a:pt x="3285250" y="3162939"/>
                  <a:pt x="3279272" y="3145047"/>
                </a:cubicBezTo>
                <a:cubicBezTo>
                  <a:pt x="3279272" y="3145047"/>
                  <a:pt x="3279272" y="3151010"/>
                  <a:pt x="3285250" y="3156974"/>
                </a:cubicBezTo>
                <a:cubicBezTo>
                  <a:pt x="3291228" y="3151010"/>
                  <a:pt x="3279272" y="3145047"/>
                  <a:pt x="3291228" y="3139083"/>
                </a:cubicBezTo>
                <a:cubicBezTo>
                  <a:pt x="3285250" y="3133120"/>
                  <a:pt x="3279272" y="3145047"/>
                  <a:pt x="3279272" y="3145047"/>
                </a:cubicBezTo>
                <a:cubicBezTo>
                  <a:pt x="3273294" y="3145047"/>
                  <a:pt x="3273294" y="3151010"/>
                  <a:pt x="3273294" y="3156974"/>
                </a:cubicBezTo>
                <a:cubicBezTo>
                  <a:pt x="3267316" y="3156974"/>
                  <a:pt x="3273294" y="3151010"/>
                  <a:pt x="3267316" y="3145047"/>
                </a:cubicBezTo>
                <a:cubicBezTo>
                  <a:pt x="3261338" y="3151010"/>
                  <a:pt x="3261338" y="3151010"/>
                  <a:pt x="3261338" y="3156974"/>
                </a:cubicBezTo>
                <a:cubicBezTo>
                  <a:pt x="3255359" y="3156974"/>
                  <a:pt x="3261338" y="3151010"/>
                  <a:pt x="3261338" y="3151010"/>
                </a:cubicBezTo>
                <a:cubicBezTo>
                  <a:pt x="3255359" y="3139083"/>
                  <a:pt x="3249382" y="3168903"/>
                  <a:pt x="3249382" y="3156974"/>
                </a:cubicBezTo>
                <a:cubicBezTo>
                  <a:pt x="3243403" y="3156974"/>
                  <a:pt x="3249382" y="3162939"/>
                  <a:pt x="3249382" y="3162939"/>
                </a:cubicBezTo>
                <a:cubicBezTo>
                  <a:pt x="3231447" y="3162939"/>
                  <a:pt x="3237425" y="3174867"/>
                  <a:pt x="3225469" y="3174867"/>
                </a:cubicBezTo>
                <a:cubicBezTo>
                  <a:pt x="3225469" y="3180830"/>
                  <a:pt x="3231447" y="3174867"/>
                  <a:pt x="3237425" y="3174867"/>
                </a:cubicBezTo>
                <a:cubicBezTo>
                  <a:pt x="3219493" y="3192760"/>
                  <a:pt x="3213514" y="3168903"/>
                  <a:pt x="3195581" y="3186794"/>
                </a:cubicBezTo>
                <a:cubicBezTo>
                  <a:pt x="3195581" y="3186794"/>
                  <a:pt x="3195581" y="3180830"/>
                  <a:pt x="3195581" y="3174867"/>
                </a:cubicBezTo>
                <a:cubicBezTo>
                  <a:pt x="3189602" y="3180830"/>
                  <a:pt x="3177646" y="3180830"/>
                  <a:pt x="3183624" y="3186794"/>
                </a:cubicBezTo>
                <a:cubicBezTo>
                  <a:pt x="3183624" y="3192760"/>
                  <a:pt x="3183624" y="3180830"/>
                  <a:pt x="3189602" y="3186794"/>
                </a:cubicBezTo>
                <a:cubicBezTo>
                  <a:pt x="3189602" y="3192760"/>
                  <a:pt x="3177646" y="3192760"/>
                  <a:pt x="3171668" y="3180830"/>
                </a:cubicBezTo>
                <a:cubicBezTo>
                  <a:pt x="3171668" y="3186794"/>
                  <a:pt x="3171668" y="3186794"/>
                  <a:pt x="3165690" y="3186794"/>
                </a:cubicBezTo>
                <a:cubicBezTo>
                  <a:pt x="3171668" y="3198723"/>
                  <a:pt x="3171668" y="3180830"/>
                  <a:pt x="3177646" y="3192760"/>
                </a:cubicBezTo>
                <a:cubicBezTo>
                  <a:pt x="3165690" y="3198723"/>
                  <a:pt x="3165690" y="3198723"/>
                  <a:pt x="3153734" y="3204687"/>
                </a:cubicBezTo>
                <a:cubicBezTo>
                  <a:pt x="3165690" y="3204687"/>
                  <a:pt x="3189602" y="3192760"/>
                  <a:pt x="3201559" y="3186794"/>
                </a:cubicBezTo>
                <a:cubicBezTo>
                  <a:pt x="3207537" y="3198723"/>
                  <a:pt x="3177646" y="3198723"/>
                  <a:pt x="3177646" y="3204687"/>
                </a:cubicBezTo>
                <a:cubicBezTo>
                  <a:pt x="3105909" y="3228543"/>
                  <a:pt x="3052108" y="3264327"/>
                  <a:pt x="2962437" y="3300112"/>
                </a:cubicBezTo>
                <a:cubicBezTo>
                  <a:pt x="2962437" y="3294146"/>
                  <a:pt x="2962437" y="3294146"/>
                  <a:pt x="2962437" y="3288183"/>
                </a:cubicBezTo>
                <a:cubicBezTo>
                  <a:pt x="2944504" y="3288183"/>
                  <a:pt x="2926570" y="3306076"/>
                  <a:pt x="2896679" y="3312039"/>
                </a:cubicBezTo>
                <a:cubicBezTo>
                  <a:pt x="2896679" y="3312039"/>
                  <a:pt x="2896679" y="3306076"/>
                  <a:pt x="2896679" y="3306076"/>
                </a:cubicBezTo>
                <a:cubicBezTo>
                  <a:pt x="2890702" y="3306076"/>
                  <a:pt x="2890702" y="3306076"/>
                  <a:pt x="2884723" y="3312039"/>
                </a:cubicBezTo>
                <a:cubicBezTo>
                  <a:pt x="2890702" y="3312039"/>
                  <a:pt x="2896679" y="3318003"/>
                  <a:pt x="2902658" y="3318003"/>
                </a:cubicBezTo>
                <a:cubicBezTo>
                  <a:pt x="2902658" y="3323967"/>
                  <a:pt x="2884723" y="3323967"/>
                  <a:pt x="2878745" y="3329932"/>
                </a:cubicBezTo>
                <a:cubicBezTo>
                  <a:pt x="2884723" y="3323967"/>
                  <a:pt x="2872767" y="3318003"/>
                  <a:pt x="2878745" y="3312039"/>
                </a:cubicBezTo>
                <a:cubicBezTo>
                  <a:pt x="2866789" y="3323967"/>
                  <a:pt x="2866789" y="3318003"/>
                  <a:pt x="2860811" y="3323967"/>
                </a:cubicBezTo>
                <a:cubicBezTo>
                  <a:pt x="2860811" y="3323967"/>
                  <a:pt x="2866789" y="3329932"/>
                  <a:pt x="2872767" y="3323967"/>
                </a:cubicBezTo>
                <a:lnTo>
                  <a:pt x="2786419" y="3358426"/>
                </a:lnTo>
                <a:lnTo>
                  <a:pt x="2789076" y="3353786"/>
                </a:lnTo>
                <a:cubicBezTo>
                  <a:pt x="2783098" y="3353786"/>
                  <a:pt x="2783098" y="3365715"/>
                  <a:pt x="2771142" y="3365715"/>
                </a:cubicBezTo>
                <a:cubicBezTo>
                  <a:pt x="2777120" y="3371679"/>
                  <a:pt x="2777120" y="3365715"/>
                  <a:pt x="2777120" y="3371679"/>
                </a:cubicBezTo>
                <a:cubicBezTo>
                  <a:pt x="2777120" y="3377645"/>
                  <a:pt x="2771142" y="3371679"/>
                  <a:pt x="2771142" y="3377645"/>
                </a:cubicBezTo>
                <a:cubicBezTo>
                  <a:pt x="2765163" y="3365715"/>
                  <a:pt x="2771142" y="3365715"/>
                  <a:pt x="2771142" y="3359752"/>
                </a:cubicBezTo>
                <a:cubicBezTo>
                  <a:pt x="2771142" y="3353786"/>
                  <a:pt x="2759185" y="3365715"/>
                  <a:pt x="2759185" y="3365715"/>
                </a:cubicBezTo>
                <a:cubicBezTo>
                  <a:pt x="2771142" y="3371679"/>
                  <a:pt x="2759185" y="3371679"/>
                  <a:pt x="2759185" y="3383608"/>
                </a:cubicBezTo>
                <a:cubicBezTo>
                  <a:pt x="2753207" y="3383608"/>
                  <a:pt x="2747229" y="3389572"/>
                  <a:pt x="2741251" y="3377645"/>
                </a:cubicBezTo>
                <a:cubicBezTo>
                  <a:pt x="2741251" y="3383608"/>
                  <a:pt x="2729295" y="3395535"/>
                  <a:pt x="2723317" y="3389572"/>
                </a:cubicBezTo>
                <a:cubicBezTo>
                  <a:pt x="2723317" y="3389572"/>
                  <a:pt x="2729295" y="3383608"/>
                  <a:pt x="2729295" y="3383608"/>
                </a:cubicBezTo>
                <a:cubicBezTo>
                  <a:pt x="2711360" y="3389572"/>
                  <a:pt x="2675492" y="3407464"/>
                  <a:pt x="2651581" y="3425355"/>
                </a:cubicBezTo>
                <a:cubicBezTo>
                  <a:pt x="2645604" y="3425355"/>
                  <a:pt x="2639625" y="3425355"/>
                  <a:pt x="2633647" y="3431321"/>
                </a:cubicBezTo>
                <a:cubicBezTo>
                  <a:pt x="2633647" y="3425355"/>
                  <a:pt x="2633647" y="3425355"/>
                  <a:pt x="2633647" y="3419392"/>
                </a:cubicBezTo>
                <a:cubicBezTo>
                  <a:pt x="2621691" y="3437285"/>
                  <a:pt x="2621691" y="3419392"/>
                  <a:pt x="2609735" y="3425355"/>
                </a:cubicBezTo>
                <a:cubicBezTo>
                  <a:pt x="2609735" y="3443248"/>
                  <a:pt x="2627669" y="3431321"/>
                  <a:pt x="2639625" y="3431321"/>
                </a:cubicBezTo>
                <a:cubicBezTo>
                  <a:pt x="2633647" y="3437285"/>
                  <a:pt x="2621691" y="3449212"/>
                  <a:pt x="2615713" y="3443248"/>
                </a:cubicBezTo>
                <a:cubicBezTo>
                  <a:pt x="2615713" y="3449212"/>
                  <a:pt x="2615713" y="3449212"/>
                  <a:pt x="2615713" y="3455175"/>
                </a:cubicBezTo>
                <a:cubicBezTo>
                  <a:pt x="2651581" y="3443248"/>
                  <a:pt x="2675492" y="3425355"/>
                  <a:pt x="2717339" y="3413428"/>
                </a:cubicBezTo>
                <a:cubicBezTo>
                  <a:pt x="2537998" y="3502888"/>
                  <a:pt x="2274966" y="3604277"/>
                  <a:pt x="2101605" y="3699701"/>
                </a:cubicBezTo>
                <a:cubicBezTo>
                  <a:pt x="2095626" y="3705664"/>
                  <a:pt x="2089649" y="3693737"/>
                  <a:pt x="2083670" y="3699701"/>
                </a:cubicBezTo>
                <a:cubicBezTo>
                  <a:pt x="2059758" y="3723556"/>
                  <a:pt x="2023889" y="3735486"/>
                  <a:pt x="1988023" y="3753377"/>
                </a:cubicBezTo>
                <a:cubicBezTo>
                  <a:pt x="1988023" y="3759341"/>
                  <a:pt x="1994000" y="3759341"/>
                  <a:pt x="1994000" y="3753377"/>
                </a:cubicBezTo>
                <a:lnTo>
                  <a:pt x="1993511" y="3756795"/>
                </a:lnTo>
                <a:lnTo>
                  <a:pt x="1988023" y="3759341"/>
                </a:lnTo>
                <a:cubicBezTo>
                  <a:pt x="1991011" y="3759341"/>
                  <a:pt x="1992506" y="3759341"/>
                  <a:pt x="1993254" y="3758595"/>
                </a:cubicBezTo>
                <a:lnTo>
                  <a:pt x="1993511" y="3756795"/>
                </a:lnTo>
                <a:lnTo>
                  <a:pt x="2013335" y="3747599"/>
                </a:lnTo>
                <a:cubicBezTo>
                  <a:pt x="2044439" y="3733622"/>
                  <a:pt x="2088154" y="3714611"/>
                  <a:pt x="2101605" y="3705664"/>
                </a:cubicBezTo>
                <a:cubicBezTo>
                  <a:pt x="2101605" y="3702682"/>
                  <a:pt x="2104594" y="3702682"/>
                  <a:pt x="2106836" y="3704173"/>
                </a:cubicBezTo>
                <a:lnTo>
                  <a:pt x="2107843" y="3705541"/>
                </a:lnTo>
                <a:lnTo>
                  <a:pt x="2107583" y="3705664"/>
                </a:lnTo>
                <a:lnTo>
                  <a:pt x="2108272" y="3706122"/>
                </a:lnTo>
                <a:lnTo>
                  <a:pt x="2109171" y="3707342"/>
                </a:lnTo>
                <a:cubicBezTo>
                  <a:pt x="2109451" y="3708647"/>
                  <a:pt x="2109077" y="3710138"/>
                  <a:pt x="2107583" y="3711629"/>
                </a:cubicBezTo>
                <a:cubicBezTo>
                  <a:pt x="2110572" y="3711629"/>
                  <a:pt x="2112066" y="3710138"/>
                  <a:pt x="2112066" y="3708647"/>
                </a:cubicBezTo>
                <a:lnTo>
                  <a:pt x="2108272" y="3706122"/>
                </a:lnTo>
                <a:lnTo>
                  <a:pt x="2107843" y="3705541"/>
                </a:lnTo>
                <a:lnTo>
                  <a:pt x="2134483" y="3692991"/>
                </a:lnTo>
                <a:cubicBezTo>
                  <a:pt x="2138967" y="3691127"/>
                  <a:pt x="2143450" y="3689077"/>
                  <a:pt x="2147933" y="3686375"/>
                </a:cubicBezTo>
                <a:lnTo>
                  <a:pt x="2161125" y="3676048"/>
                </a:lnTo>
                <a:lnTo>
                  <a:pt x="2160637" y="3678827"/>
                </a:lnTo>
                <a:cubicBezTo>
                  <a:pt x="2159889" y="3681809"/>
                  <a:pt x="2158395" y="3684791"/>
                  <a:pt x="2155406" y="3681810"/>
                </a:cubicBezTo>
                <a:cubicBezTo>
                  <a:pt x="2155406" y="3687773"/>
                  <a:pt x="2161384" y="3681810"/>
                  <a:pt x="2161384" y="3693737"/>
                </a:cubicBezTo>
                <a:cubicBezTo>
                  <a:pt x="2170352" y="3690754"/>
                  <a:pt x="2177823" y="3680318"/>
                  <a:pt x="2184549" y="3672117"/>
                </a:cubicBezTo>
                <a:lnTo>
                  <a:pt x="2188123" y="3668620"/>
                </a:lnTo>
                <a:lnTo>
                  <a:pt x="2189053" y="3666019"/>
                </a:lnTo>
                <a:lnTo>
                  <a:pt x="2191177" y="3665633"/>
                </a:lnTo>
                <a:lnTo>
                  <a:pt x="2194170" y="3662706"/>
                </a:lnTo>
                <a:cubicBezTo>
                  <a:pt x="2197252" y="3660934"/>
                  <a:pt x="2200240" y="3660934"/>
                  <a:pt x="2203230" y="3663917"/>
                </a:cubicBezTo>
                <a:cubicBezTo>
                  <a:pt x="2215186" y="3646024"/>
                  <a:pt x="2233120" y="3651989"/>
                  <a:pt x="2233120" y="3640061"/>
                </a:cubicBezTo>
                <a:cubicBezTo>
                  <a:pt x="2239099" y="3640061"/>
                  <a:pt x="2233120" y="3651989"/>
                  <a:pt x="2239099" y="3651989"/>
                </a:cubicBezTo>
                <a:cubicBezTo>
                  <a:pt x="2239099" y="3651989"/>
                  <a:pt x="2239099" y="3646024"/>
                  <a:pt x="2239099" y="3640061"/>
                </a:cubicBezTo>
                <a:cubicBezTo>
                  <a:pt x="2257034" y="3628133"/>
                  <a:pt x="2298878" y="3616204"/>
                  <a:pt x="2322790" y="3598313"/>
                </a:cubicBezTo>
                <a:cubicBezTo>
                  <a:pt x="2322790" y="3616204"/>
                  <a:pt x="2352680" y="3604277"/>
                  <a:pt x="2358659" y="3598313"/>
                </a:cubicBezTo>
                <a:cubicBezTo>
                  <a:pt x="2346703" y="3616204"/>
                  <a:pt x="2322790" y="3610240"/>
                  <a:pt x="2292900" y="3628133"/>
                </a:cubicBezTo>
                <a:cubicBezTo>
                  <a:pt x="2304856" y="3640061"/>
                  <a:pt x="2334746" y="3628133"/>
                  <a:pt x="2346703" y="3610240"/>
                </a:cubicBezTo>
                <a:cubicBezTo>
                  <a:pt x="2346703" y="3628133"/>
                  <a:pt x="2364637" y="3598313"/>
                  <a:pt x="2382571" y="3604277"/>
                </a:cubicBezTo>
                <a:cubicBezTo>
                  <a:pt x="2382571" y="3598313"/>
                  <a:pt x="2382571" y="3598313"/>
                  <a:pt x="2376593" y="3598313"/>
                </a:cubicBezTo>
                <a:cubicBezTo>
                  <a:pt x="2376593" y="3598313"/>
                  <a:pt x="2376593" y="3598313"/>
                  <a:pt x="2376593" y="3592348"/>
                </a:cubicBezTo>
                <a:cubicBezTo>
                  <a:pt x="2382571" y="3604277"/>
                  <a:pt x="2394526" y="3580421"/>
                  <a:pt x="2394526" y="3598313"/>
                </a:cubicBezTo>
                <a:cubicBezTo>
                  <a:pt x="2406482" y="3598313"/>
                  <a:pt x="2400504" y="3586384"/>
                  <a:pt x="2412460" y="3580421"/>
                </a:cubicBezTo>
                <a:cubicBezTo>
                  <a:pt x="2412460" y="3580421"/>
                  <a:pt x="2406482" y="3580421"/>
                  <a:pt x="2406482" y="3580421"/>
                </a:cubicBezTo>
                <a:cubicBezTo>
                  <a:pt x="2406482" y="3574457"/>
                  <a:pt x="2424416" y="3574457"/>
                  <a:pt x="2430394" y="3568494"/>
                </a:cubicBezTo>
                <a:cubicBezTo>
                  <a:pt x="2430394" y="3574457"/>
                  <a:pt x="2424416" y="3568494"/>
                  <a:pt x="2418438" y="3574457"/>
                </a:cubicBezTo>
                <a:cubicBezTo>
                  <a:pt x="2424416" y="3580421"/>
                  <a:pt x="2430394" y="3574457"/>
                  <a:pt x="2436372" y="3580421"/>
                </a:cubicBezTo>
                <a:cubicBezTo>
                  <a:pt x="2442350" y="3580421"/>
                  <a:pt x="2424416" y="3562528"/>
                  <a:pt x="2436372" y="3562528"/>
                </a:cubicBezTo>
                <a:cubicBezTo>
                  <a:pt x="2430394" y="3556564"/>
                  <a:pt x="2406482" y="3568494"/>
                  <a:pt x="2400504" y="3568494"/>
                </a:cubicBezTo>
                <a:cubicBezTo>
                  <a:pt x="2403494" y="3565510"/>
                  <a:pt x="2413955" y="3559547"/>
                  <a:pt x="2424416" y="3555073"/>
                </a:cubicBezTo>
                <a:lnTo>
                  <a:pt x="2442274" y="3551733"/>
                </a:lnTo>
                <a:lnTo>
                  <a:pt x="2441604" y="3561783"/>
                </a:lnTo>
                <a:cubicBezTo>
                  <a:pt x="2442350" y="3565510"/>
                  <a:pt x="2442350" y="3568494"/>
                  <a:pt x="2436372" y="3568494"/>
                </a:cubicBezTo>
                <a:cubicBezTo>
                  <a:pt x="2448329" y="3568494"/>
                  <a:pt x="2472240" y="3574457"/>
                  <a:pt x="2478219" y="3556564"/>
                </a:cubicBezTo>
                <a:cubicBezTo>
                  <a:pt x="2476725" y="3555073"/>
                  <a:pt x="2475230" y="3554701"/>
                  <a:pt x="2473736" y="3554980"/>
                </a:cubicBezTo>
                <a:lnTo>
                  <a:pt x="2472487" y="3555629"/>
                </a:lnTo>
                <a:lnTo>
                  <a:pt x="2475977" y="3542400"/>
                </a:lnTo>
                <a:cubicBezTo>
                  <a:pt x="2476725" y="3538672"/>
                  <a:pt x="2478219" y="3535689"/>
                  <a:pt x="2484197" y="3532708"/>
                </a:cubicBezTo>
                <a:cubicBezTo>
                  <a:pt x="2490175" y="3544637"/>
                  <a:pt x="2472240" y="3538671"/>
                  <a:pt x="2478219" y="3550601"/>
                </a:cubicBezTo>
                <a:cubicBezTo>
                  <a:pt x="2484197" y="3550601"/>
                  <a:pt x="2490175" y="3538671"/>
                  <a:pt x="2502131" y="3538671"/>
                </a:cubicBezTo>
                <a:cubicBezTo>
                  <a:pt x="2502131" y="3526744"/>
                  <a:pt x="2490175" y="3544637"/>
                  <a:pt x="2490175" y="3532708"/>
                </a:cubicBezTo>
                <a:cubicBezTo>
                  <a:pt x="2490175" y="3526744"/>
                  <a:pt x="2508109" y="3526744"/>
                  <a:pt x="2508109" y="3514817"/>
                </a:cubicBezTo>
                <a:cubicBezTo>
                  <a:pt x="2520065" y="3526744"/>
                  <a:pt x="2502131" y="3520781"/>
                  <a:pt x="2508109" y="3532708"/>
                </a:cubicBezTo>
                <a:cubicBezTo>
                  <a:pt x="2514087" y="3526744"/>
                  <a:pt x="2520065" y="3526744"/>
                  <a:pt x="2514087" y="3514817"/>
                </a:cubicBezTo>
                <a:cubicBezTo>
                  <a:pt x="2526042" y="3514817"/>
                  <a:pt x="2532020" y="3508852"/>
                  <a:pt x="2549954" y="3502888"/>
                </a:cubicBezTo>
                <a:cubicBezTo>
                  <a:pt x="2540988" y="3508852"/>
                  <a:pt x="2542483" y="3511834"/>
                  <a:pt x="2544725" y="3514817"/>
                </a:cubicBezTo>
                <a:lnTo>
                  <a:pt x="2544023" y="3525999"/>
                </a:lnTo>
                <a:lnTo>
                  <a:pt x="2543737" y="3526267"/>
                </a:lnTo>
                <a:lnTo>
                  <a:pt x="2537998" y="3514817"/>
                </a:lnTo>
                <a:cubicBezTo>
                  <a:pt x="2514087" y="3532708"/>
                  <a:pt x="2514087" y="3538671"/>
                  <a:pt x="2496153" y="3544637"/>
                </a:cubicBezTo>
                <a:cubicBezTo>
                  <a:pt x="2502131" y="3544637"/>
                  <a:pt x="2517075" y="3543146"/>
                  <a:pt x="2530527" y="3538671"/>
                </a:cubicBezTo>
                <a:lnTo>
                  <a:pt x="2543737" y="3526267"/>
                </a:lnTo>
                <a:lnTo>
                  <a:pt x="2543975" y="3526744"/>
                </a:lnTo>
                <a:lnTo>
                  <a:pt x="2544023" y="3525999"/>
                </a:lnTo>
                <a:lnTo>
                  <a:pt x="2555932" y="3514817"/>
                </a:lnTo>
                <a:cubicBezTo>
                  <a:pt x="2558922" y="3517798"/>
                  <a:pt x="2560417" y="3517798"/>
                  <a:pt x="2561910" y="3517798"/>
                </a:cubicBezTo>
                <a:lnTo>
                  <a:pt x="2564302" y="3518991"/>
                </a:lnTo>
                <a:lnTo>
                  <a:pt x="2561910" y="3520781"/>
                </a:lnTo>
                <a:cubicBezTo>
                  <a:pt x="2567889" y="3532708"/>
                  <a:pt x="2573867" y="3508852"/>
                  <a:pt x="2573867" y="3520781"/>
                </a:cubicBezTo>
                <a:cubicBezTo>
                  <a:pt x="2579844" y="3520781"/>
                  <a:pt x="2579844" y="3514817"/>
                  <a:pt x="2573867" y="3508852"/>
                </a:cubicBezTo>
                <a:cubicBezTo>
                  <a:pt x="2585823" y="3520781"/>
                  <a:pt x="2597779" y="3502888"/>
                  <a:pt x="2603757" y="3508852"/>
                </a:cubicBezTo>
                <a:cubicBezTo>
                  <a:pt x="2603757" y="3502888"/>
                  <a:pt x="2603757" y="3502888"/>
                  <a:pt x="2603757" y="3490961"/>
                </a:cubicBezTo>
                <a:cubicBezTo>
                  <a:pt x="2609735" y="3508852"/>
                  <a:pt x="2621691" y="3508852"/>
                  <a:pt x="2633647" y="3484997"/>
                </a:cubicBezTo>
                <a:cubicBezTo>
                  <a:pt x="2633647" y="3484997"/>
                  <a:pt x="2633647" y="3490961"/>
                  <a:pt x="2633647" y="3490961"/>
                </a:cubicBezTo>
                <a:cubicBezTo>
                  <a:pt x="2639625" y="3496924"/>
                  <a:pt x="2651581" y="3490961"/>
                  <a:pt x="2645604" y="3502888"/>
                </a:cubicBezTo>
                <a:cubicBezTo>
                  <a:pt x="2663535" y="3496924"/>
                  <a:pt x="2633647" y="3490961"/>
                  <a:pt x="2645604" y="3484997"/>
                </a:cubicBezTo>
                <a:cubicBezTo>
                  <a:pt x="2651581" y="3490961"/>
                  <a:pt x="2651581" y="3484997"/>
                  <a:pt x="2651581" y="3496924"/>
                </a:cubicBezTo>
                <a:cubicBezTo>
                  <a:pt x="2657558" y="3490961"/>
                  <a:pt x="2663535" y="3490961"/>
                  <a:pt x="2663535" y="3484997"/>
                </a:cubicBezTo>
                <a:cubicBezTo>
                  <a:pt x="2669514" y="3484997"/>
                  <a:pt x="2669514" y="3484997"/>
                  <a:pt x="2675492" y="3479031"/>
                </a:cubicBezTo>
                <a:cubicBezTo>
                  <a:pt x="2681470" y="3484997"/>
                  <a:pt x="2663535" y="3484997"/>
                  <a:pt x="2669514" y="3490961"/>
                </a:cubicBezTo>
                <a:cubicBezTo>
                  <a:pt x="2687449" y="3484997"/>
                  <a:pt x="2693427" y="3490961"/>
                  <a:pt x="2705382" y="3479031"/>
                </a:cubicBezTo>
                <a:cubicBezTo>
                  <a:pt x="2699404" y="3473068"/>
                  <a:pt x="2693427" y="3484997"/>
                  <a:pt x="2693427" y="3473068"/>
                </a:cubicBezTo>
                <a:cubicBezTo>
                  <a:pt x="2687449" y="3473068"/>
                  <a:pt x="2687449" y="3473068"/>
                  <a:pt x="2687449" y="3479031"/>
                </a:cubicBezTo>
                <a:cubicBezTo>
                  <a:pt x="2681470" y="3479031"/>
                  <a:pt x="2681470" y="3467104"/>
                  <a:pt x="2675492" y="3473068"/>
                </a:cubicBezTo>
                <a:cubicBezTo>
                  <a:pt x="2675492" y="3461141"/>
                  <a:pt x="2681470" y="3473068"/>
                  <a:pt x="2687449" y="3473068"/>
                </a:cubicBezTo>
                <a:lnTo>
                  <a:pt x="2695804" y="3466817"/>
                </a:lnTo>
                <a:lnTo>
                  <a:pt x="2693410" y="3460834"/>
                </a:lnTo>
                <a:cubicBezTo>
                  <a:pt x="2696279" y="3460834"/>
                  <a:pt x="2699150" y="3460834"/>
                  <a:pt x="2701300" y="3462627"/>
                </a:cubicBezTo>
                <a:lnTo>
                  <a:pt x="2701319" y="3462690"/>
                </a:lnTo>
                <a:lnTo>
                  <a:pt x="2711360" y="3455175"/>
                </a:lnTo>
                <a:cubicBezTo>
                  <a:pt x="2711360" y="3461141"/>
                  <a:pt x="2705382" y="3467104"/>
                  <a:pt x="2711360" y="3473068"/>
                </a:cubicBezTo>
                <a:cubicBezTo>
                  <a:pt x="2717339" y="3479031"/>
                  <a:pt x="2717339" y="3473068"/>
                  <a:pt x="2717339" y="3479031"/>
                </a:cubicBezTo>
                <a:cubicBezTo>
                  <a:pt x="2729295" y="3473068"/>
                  <a:pt x="2723317" y="3461141"/>
                  <a:pt x="2741251" y="3461141"/>
                </a:cubicBezTo>
                <a:cubicBezTo>
                  <a:pt x="2741251" y="3473068"/>
                  <a:pt x="2753207" y="3461141"/>
                  <a:pt x="2759185" y="3461141"/>
                </a:cubicBezTo>
                <a:cubicBezTo>
                  <a:pt x="2795054" y="3437285"/>
                  <a:pt x="2860811" y="3425355"/>
                  <a:pt x="2902658" y="3395535"/>
                </a:cubicBezTo>
                <a:cubicBezTo>
                  <a:pt x="2902658" y="3401501"/>
                  <a:pt x="2896679" y="3401501"/>
                  <a:pt x="2896679" y="3407464"/>
                </a:cubicBezTo>
                <a:cubicBezTo>
                  <a:pt x="2902658" y="3407464"/>
                  <a:pt x="2908636" y="3383608"/>
                  <a:pt x="2926570" y="3383608"/>
                </a:cubicBezTo>
                <a:cubicBezTo>
                  <a:pt x="2914614" y="3365715"/>
                  <a:pt x="2950482" y="3359752"/>
                  <a:pt x="2962437" y="3347822"/>
                </a:cubicBezTo>
                <a:cubicBezTo>
                  <a:pt x="2962437" y="3347822"/>
                  <a:pt x="2962437" y="3347822"/>
                  <a:pt x="2962437" y="3353786"/>
                </a:cubicBezTo>
                <a:cubicBezTo>
                  <a:pt x="2962437" y="3353786"/>
                  <a:pt x="2968415" y="3341859"/>
                  <a:pt x="2980371" y="3341859"/>
                </a:cubicBezTo>
                <a:cubicBezTo>
                  <a:pt x="2986349" y="3347822"/>
                  <a:pt x="2974393" y="3347822"/>
                  <a:pt x="2980371" y="3353786"/>
                </a:cubicBezTo>
                <a:cubicBezTo>
                  <a:pt x="2962437" y="3365715"/>
                  <a:pt x="2938526" y="3365715"/>
                  <a:pt x="2932548" y="3371679"/>
                </a:cubicBezTo>
                <a:cubicBezTo>
                  <a:pt x="2926570" y="3371679"/>
                  <a:pt x="2932548" y="3377645"/>
                  <a:pt x="2932548" y="3383608"/>
                </a:cubicBezTo>
                <a:cubicBezTo>
                  <a:pt x="2944504" y="3371679"/>
                  <a:pt x="2992327" y="3371679"/>
                  <a:pt x="3010262" y="3347822"/>
                </a:cubicBezTo>
                <a:cubicBezTo>
                  <a:pt x="3010262" y="3365715"/>
                  <a:pt x="3028196" y="3341859"/>
                  <a:pt x="3034174" y="3341859"/>
                </a:cubicBezTo>
                <a:cubicBezTo>
                  <a:pt x="3040152" y="3341859"/>
                  <a:pt x="3046130" y="3335895"/>
                  <a:pt x="3058086" y="3335895"/>
                </a:cubicBezTo>
                <a:cubicBezTo>
                  <a:pt x="3046130" y="3323967"/>
                  <a:pt x="3052108" y="3329932"/>
                  <a:pt x="3064064" y="3329932"/>
                </a:cubicBezTo>
                <a:cubicBezTo>
                  <a:pt x="3058086" y="3323967"/>
                  <a:pt x="3064064" y="3312039"/>
                  <a:pt x="3081999" y="3312039"/>
                </a:cubicBezTo>
                <a:cubicBezTo>
                  <a:pt x="3087977" y="3294146"/>
                  <a:pt x="3099931" y="3300112"/>
                  <a:pt x="3105909" y="3282219"/>
                </a:cubicBezTo>
                <a:cubicBezTo>
                  <a:pt x="3099931" y="3294146"/>
                  <a:pt x="3111887" y="3294146"/>
                  <a:pt x="3117865" y="3288183"/>
                </a:cubicBezTo>
                <a:cubicBezTo>
                  <a:pt x="3111887" y="3294146"/>
                  <a:pt x="3123843" y="3294146"/>
                  <a:pt x="3123843" y="3300112"/>
                </a:cubicBezTo>
                <a:cubicBezTo>
                  <a:pt x="3129822" y="3300112"/>
                  <a:pt x="3135799" y="3300112"/>
                  <a:pt x="3135799" y="3288183"/>
                </a:cubicBezTo>
                <a:cubicBezTo>
                  <a:pt x="3129822" y="3282219"/>
                  <a:pt x="3123843" y="3300112"/>
                  <a:pt x="3117865" y="3288183"/>
                </a:cubicBezTo>
                <a:cubicBezTo>
                  <a:pt x="3135799" y="3276255"/>
                  <a:pt x="3147756" y="3276255"/>
                  <a:pt x="3165690" y="3270290"/>
                </a:cubicBezTo>
                <a:cubicBezTo>
                  <a:pt x="3165690" y="3282219"/>
                  <a:pt x="3147756" y="3276255"/>
                  <a:pt x="3147756" y="3288183"/>
                </a:cubicBezTo>
                <a:cubicBezTo>
                  <a:pt x="3147756" y="3288183"/>
                  <a:pt x="3141778" y="3288183"/>
                  <a:pt x="3141778" y="3282219"/>
                </a:cubicBezTo>
                <a:cubicBezTo>
                  <a:pt x="3135799" y="3282219"/>
                  <a:pt x="3141778" y="3288183"/>
                  <a:pt x="3135799" y="3294146"/>
                </a:cubicBezTo>
                <a:cubicBezTo>
                  <a:pt x="3141778" y="3300112"/>
                  <a:pt x="3153734" y="3294146"/>
                  <a:pt x="3159712" y="3300112"/>
                </a:cubicBezTo>
                <a:cubicBezTo>
                  <a:pt x="3165690" y="3300112"/>
                  <a:pt x="3153734" y="3294146"/>
                  <a:pt x="3147756" y="3294146"/>
                </a:cubicBezTo>
                <a:cubicBezTo>
                  <a:pt x="3153734" y="3282219"/>
                  <a:pt x="3171668" y="3288183"/>
                  <a:pt x="3183624" y="3276255"/>
                </a:cubicBezTo>
                <a:cubicBezTo>
                  <a:pt x="3183624" y="3282219"/>
                  <a:pt x="3183624" y="3282219"/>
                  <a:pt x="3183624" y="3282219"/>
                </a:cubicBezTo>
                <a:cubicBezTo>
                  <a:pt x="3195581" y="3282219"/>
                  <a:pt x="3201559" y="3276255"/>
                  <a:pt x="3195581" y="3270290"/>
                </a:cubicBezTo>
                <a:cubicBezTo>
                  <a:pt x="3201559" y="3270290"/>
                  <a:pt x="3195581" y="3276255"/>
                  <a:pt x="3201559" y="3282219"/>
                </a:cubicBezTo>
                <a:cubicBezTo>
                  <a:pt x="3207537" y="3282219"/>
                  <a:pt x="3207537" y="3270290"/>
                  <a:pt x="3219493" y="3270290"/>
                </a:cubicBezTo>
                <a:cubicBezTo>
                  <a:pt x="3231447" y="3270290"/>
                  <a:pt x="3237425" y="3252399"/>
                  <a:pt x="3249382" y="3240470"/>
                </a:cubicBezTo>
                <a:lnTo>
                  <a:pt x="3259526" y="3251233"/>
                </a:lnTo>
                <a:lnTo>
                  <a:pt x="3259926" y="3247994"/>
                </a:lnTo>
                <a:cubicBezTo>
                  <a:pt x="3262232" y="3247994"/>
                  <a:pt x="3265307" y="3247994"/>
                  <a:pt x="3265307" y="3241777"/>
                </a:cubicBezTo>
                <a:cubicBezTo>
                  <a:pt x="3265307" y="3235559"/>
                  <a:pt x="3259157" y="3235559"/>
                  <a:pt x="3253008" y="3235559"/>
                </a:cubicBezTo>
                <a:cubicBezTo>
                  <a:pt x="3253008" y="3223123"/>
                  <a:pt x="3253008" y="3229340"/>
                  <a:pt x="3253008" y="3216905"/>
                </a:cubicBezTo>
                <a:cubicBezTo>
                  <a:pt x="3259157" y="3216905"/>
                  <a:pt x="3259157" y="3229340"/>
                  <a:pt x="3265307" y="3235559"/>
                </a:cubicBezTo>
                <a:cubicBezTo>
                  <a:pt x="3265307" y="3235559"/>
                  <a:pt x="3271457" y="3235559"/>
                  <a:pt x="3271457" y="3235559"/>
                </a:cubicBezTo>
                <a:cubicBezTo>
                  <a:pt x="3277607" y="3223123"/>
                  <a:pt x="3289905" y="3229340"/>
                  <a:pt x="3296055" y="3216905"/>
                </a:cubicBezTo>
                <a:cubicBezTo>
                  <a:pt x="3292980" y="3226231"/>
                  <a:pt x="3286830" y="3230895"/>
                  <a:pt x="3279912" y="3235559"/>
                </a:cubicBezTo>
                <a:lnTo>
                  <a:pt x="3260877" y="3252667"/>
                </a:lnTo>
                <a:lnTo>
                  <a:pt x="3261152" y="3252958"/>
                </a:lnTo>
                <a:cubicBezTo>
                  <a:pt x="3275163" y="3256872"/>
                  <a:pt x="3294218" y="3238981"/>
                  <a:pt x="3303184" y="3234507"/>
                </a:cubicBezTo>
                <a:cubicBezTo>
                  <a:pt x="3303184" y="3234507"/>
                  <a:pt x="3297206" y="3234507"/>
                  <a:pt x="3291228" y="3234507"/>
                </a:cubicBezTo>
                <a:cubicBezTo>
                  <a:pt x="3294218" y="3228543"/>
                  <a:pt x="3303184" y="3227052"/>
                  <a:pt x="3311404" y="3226307"/>
                </a:cubicBezTo>
                <a:lnTo>
                  <a:pt x="3323609" y="3223407"/>
                </a:lnTo>
                <a:lnTo>
                  <a:pt x="3330084" y="3225561"/>
                </a:lnTo>
                <a:lnTo>
                  <a:pt x="3333074" y="3228543"/>
                </a:lnTo>
                <a:cubicBezTo>
                  <a:pt x="3333074" y="3231526"/>
                  <a:pt x="3333074" y="3234507"/>
                  <a:pt x="3339053" y="3234507"/>
                </a:cubicBezTo>
                <a:cubicBezTo>
                  <a:pt x="3339053" y="3234507"/>
                  <a:pt x="3327097" y="3222579"/>
                  <a:pt x="3339053" y="3228543"/>
                </a:cubicBezTo>
                <a:lnTo>
                  <a:pt x="3330084" y="3225561"/>
                </a:lnTo>
                <a:lnTo>
                  <a:pt x="3327097" y="3222579"/>
                </a:lnTo>
                <a:lnTo>
                  <a:pt x="3323609" y="3223407"/>
                </a:lnTo>
                <a:lnTo>
                  <a:pt x="3321119" y="3222579"/>
                </a:lnTo>
                <a:cubicBezTo>
                  <a:pt x="3327097" y="3216615"/>
                  <a:pt x="3345031" y="3216615"/>
                  <a:pt x="3351009" y="3210650"/>
                </a:cubicBezTo>
                <a:cubicBezTo>
                  <a:pt x="3356985" y="3210650"/>
                  <a:pt x="3356985" y="3210650"/>
                  <a:pt x="3356985" y="3216615"/>
                </a:cubicBezTo>
                <a:cubicBezTo>
                  <a:pt x="3362963" y="3216615"/>
                  <a:pt x="3362963" y="3216615"/>
                  <a:pt x="3362963" y="3210650"/>
                </a:cubicBezTo>
                <a:cubicBezTo>
                  <a:pt x="3362963" y="3198723"/>
                  <a:pt x="3380898" y="3204687"/>
                  <a:pt x="3398832" y="3192760"/>
                </a:cubicBezTo>
                <a:cubicBezTo>
                  <a:pt x="3410788" y="3192760"/>
                  <a:pt x="3392854" y="3198723"/>
                  <a:pt x="3392854" y="3198723"/>
                </a:cubicBezTo>
                <a:cubicBezTo>
                  <a:pt x="3392854" y="3204687"/>
                  <a:pt x="3404810" y="3192760"/>
                  <a:pt x="3404810" y="3198723"/>
                </a:cubicBezTo>
                <a:cubicBezTo>
                  <a:pt x="3410788" y="3204687"/>
                  <a:pt x="3398832" y="3204687"/>
                  <a:pt x="3398832" y="3204687"/>
                </a:cubicBezTo>
                <a:cubicBezTo>
                  <a:pt x="3398832" y="3204687"/>
                  <a:pt x="3416766" y="3210650"/>
                  <a:pt x="3404810" y="3216615"/>
                </a:cubicBezTo>
                <a:lnTo>
                  <a:pt x="3398832" y="3216615"/>
                </a:lnTo>
                <a:lnTo>
                  <a:pt x="3398832" y="3223112"/>
                </a:lnTo>
                <a:lnTo>
                  <a:pt x="3399007" y="3223465"/>
                </a:lnTo>
                <a:cubicBezTo>
                  <a:pt x="3402055" y="3226540"/>
                  <a:pt x="3400531" y="3228077"/>
                  <a:pt x="3399007" y="3230383"/>
                </a:cubicBezTo>
                <a:lnTo>
                  <a:pt x="3399007" y="3234432"/>
                </a:lnTo>
                <a:lnTo>
                  <a:pt x="3424986" y="3223324"/>
                </a:lnTo>
                <a:cubicBezTo>
                  <a:pt x="3431712" y="3221088"/>
                  <a:pt x="3437690" y="3219597"/>
                  <a:pt x="3446657" y="3216615"/>
                </a:cubicBezTo>
                <a:lnTo>
                  <a:pt x="3399007" y="3237943"/>
                </a:lnTo>
                <a:lnTo>
                  <a:pt x="3399007" y="3241913"/>
                </a:lnTo>
                <a:lnTo>
                  <a:pt x="3386203" y="3243674"/>
                </a:lnTo>
                <a:lnTo>
                  <a:pt x="3338954" y="3264822"/>
                </a:lnTo>
                <a:lnTo>
                  <a:pt x="3338529" y="3265691"/>
                </a:lnTo>
                <a:lnTo>
                  <a:pt x="3338102" y="3265203"/>
                </a:lnTo>
                <a:lnTo>
                  <a:pt x="3308414" y="3278492"/>
                </a:lnTo>
                <a:cubicBezTo>
                  <a:pt x="3259844" y="3297129"/>
                  <a:pt x="3210524" y="3315022"/>
                  <a:pt x="3165690" y="3335895"/>
                </a:cubicBezTo>
                <a:cubicBezTo>
                  <a:pt x="3159712" y="3341859"/>
                  <a:pt x="3147756" y="3353786"/>
                  <a:pt x="3141778" y="3353786"/>
                </a:cubicBezTo>
                <a:cubicBezTo>
                  <a:pt x="3141778" y="3353786"/>
                  <a:pt x="3135799" y="3347822"/>
                  <a:pt x="3135799" y="3347822"/>
                </a:cubicBezTo>
                <a:cubicBezTo>
                  <a:pt x="3123843" y="3353786"/>
                  <a:pt x="3099931" y="3377645"/>
                  <a:pt x="3081999" y="3371679"/>
                </a:cubicBezTo>
                <a:cubicBezTo>
                  <a:pt x="3076021" y="3371679"/>
                  <a:pt x="3081999" y="3365715"/>
                  <a:pt x="3081999" y="3365715"/>
                </a:cubicBezTo>
                <a:cubicBezTo>
                  <a:pt x="3076021" y="3365715"/>
                  <a:pt x="3076021" y="3371679"/>
                  <a:pt x="3064064" y="3365715"/>
                </a:cubicBezTo>
                <a:cubicBezTo>
                  <a:pt x="3070042" y="3371679"/>
                  <a:pt x="3081999" y="3377645"/>
                  <a:pt x="3076021" y="3383608"/>
                </a:cubicBezTo>
                <a:cubicBezTo>
                  <a:pt x="3070042" y="3371679"/>
                  <a:pt x="3070042" y="3389572"/>
                  <a:pt x="3058086" y="3383608"/>
                </a:cubicBezTo>
                <a:cubicBezTo>
                  <a:pt x="3052108" y="3383608"/>
                  <a:pt x="3052108" y="3389572"/>
                  <a:pt x="3058086" y="3389572"/>
                </a:cubicBezTo>
                <a:cubicBezTo>
                  <a:pt x="2896679" y="3455175"/>
                  <a:pt x="2723317" y="3532708"/>
                  <a:pt x="2549954" y="3610240"/>
                </a:cubicBezTo>
                <a:cubicBezTo>
                  <a:pt x="2514087" y="3622168"/>
                  <a:pt x="2478219" y="3634097"/>
                  <a:pt x="2442350" y="3651989"/>
                </a:cubicBezTo>
                <a:cubicBezTo>
                  <a:pt x="2310834" y="3711629"/>
                  <a:pt x="2185296" y="3771269"/>
                  <a:pt x="2059758" y="3830909"/>
                </a:cubicBezTo>
                <a:cubicBezTo>
                  <a:pt x="2083670" y="3848802"/>
                  <a:pt x="2113560" y="3807053"/>
                  <a:pt x="2131493" y="3818982"/>
                </a:cubicBezTo>
                <a:cubicBezTo>
                  <a:pt x="2137472" y="3789160"/>
                  <a:pt x="2191274" y="3801089"/>
                  <a:pt x="2197252" y="3777233"/>
                </a:cubicBezTo>
                <a:cubicBezTo>
                  <a:pt x="2197252" y="3783196"/>
                  <a:pt x="2203230" y="3783196"/>
                  <a:pt x="2197252" y="3789160"/>
                </a:cubicBezTo>
                <a:cubicBezTo>
                  <a:pt x="2203230" y="3783196"/>
                  <a:pt x="2215186" y="3777233"/>
                  <a:pt x="2215186" y="3765306"/>
                </a:cubicBezTo>
                <a:cubicBezTo>
                  <a:pt x="2221165" y="3765306"/>
                  <a:pt x="2227143" y="3759341"/>
                  <a:pt x="2233120" y="3759341"/>
                </a:cubicBezTo>
                <a:cubicBezTo>
                  <a:pt x="2227143" y="3777233"/>
                  <a:pt x="2245077" y="3765306"/>
                  <a:pt x="2257034" y="3759341"/>
                </a:cubicBezTo>
                <a:cubicBezTo>
                  <a:pt x="2263009" y="3759341"/>
                  <a:pt x="2257034" y="3753377"/>
                  <a:pt x="2257034" y="3747413"/>
                </a:cubicBezTo>
                <a:cubicBezTo>
                  <a:pt x="2274966" y="3741449"/>
                  <a:pt x="2286922" y="3747413"/>
                  <a:pt x="2304856" y="3741449"/>
                </a:cubicBezTo>
                <a:cubicBezTo>
                  <a:pt x="2304856" y="3741449"/>
                  <a:pt x="2310834" y="3729520"/>
                  <a:pt x="2304856" y="3729520"/>
                </a:cubicBezTo>
                <a:cubicBezTo>
                  <a:pt x="2376593" y="3687773"/>
                  <a:pt x="2472240" y="3651989"/>
                  <a:pt x="2549954" y="3616204"/>
                </a:cubicBezTo>
                <a:cubicBezTo>
                  <a:pt x="2549954" y="3622168"/>
                  <a:pt x="2555932" y="3616204"/>
                  <a:pt x="2555932" y="3622168"/>
                </a:cubicBezTo>
                <a:cubicBezTo>
                  <a:pt x="2561910" y="3598313"/>
                  <a:pt x="2603757" y="3598313"/>
                  <a:pt x="2627669" y="3586384"/>
                </a:cubicBezTo>
                <a:cubicBezTo>
                  <a:pt x="2627669" y="3592348"/>
                  <a:pt x="2633647" y="3592348"/>
                  <a:pt x="2633647" y="3598313"/>
                </a:cubicBezTo>
                <a:cubicBezTo>
                  <a:pt x="2639625" y="3592348"/>
                  <a:pt x="2639625" y="3598313"/>
                  <a:pt x="2645604" y="3598313"/>
                </a:cubicBezTo>
                <a:cubicBezTo>
                  <a:pt x="2645604" y="3592348"/>
                  <a:pt x="2633647" y="3592348"/>
                  <a:pt x="2633647" y="3580421"/>
                </a:cubicBezTo>
                <a:cubicBezTo>
                  <a:pt x="2639625" y="3580421"/>
                  <a:pt x="2651581" y="3574457"/>
                  <a:pt x="2657558" y="3574457"/>
                </a:cubicBezTo>
                <a:cubicBezTo>
                  <a:pt x="2657558" y="3574457"/>
                  <a:pt x="2657558" y="3580421"/>
                  <a:pt x="2657558" y="3580421"/>
                </a:cubicBezTo>
                <a:cubicBezTo>
                  <a:pt x="2663535" y="3580421"/>
                  <a:pt x="2663535" y="3574457"/>
                  <a:pt x="2663535" y="3568494"/>
                </a:cubicBezTo>
                <a:cubicBezTo>
                  <a:pt x="2705382" y="3556564"/>
                  <a:pt x="2729295" y="3532708"/>
                  <a:pt x="2765163" y="3532708"/>
                </a:cubicBezTo>
                <a:cubicBezTo>
                  <a:pt x="2765163" y="3532708"/>
                  <a:pt x="2759185" y="3532708"/>
                  <a:pt x="2759185" y="3532708"/>
                </a:cubicBezTo>
                <a:cubicBezTo>
                  <a:pt x="2771142" y="3526744"/>
                  <a:pt x="2795054" y="3502888"/>
                  <a:pt x="2818966" y="3514817"/>
                </a:cubicBezTo>
                <a:cubicBezTo>
                  <a:pt x="2807010" y="3496924"/>
                  <a:pt x="2836899" y="3508852"/>
                  <a:pt x="2836899" y="3490961"/>
                </a:cubicBezTo>
                <a:cubicBezTo>
                  <a:pt x="2842877" y="3490961"/>
                  <a:pt x="2842877" y="3496924"/>
                  <a:pt x="2842877" y="3502888"/>
                </a:cubicBezTo>
                <a:cubicBezTo>
                  <a:pt x="2848855" y="3490961"/>
                  <a:pt x="2866789" y="3502888"/>
                  <a:pt x="2878745" y="3484997"/>
                </a:cubicBezTo>
                <a:cubicBezTo>
                  <a:pt x="2878745" y="3484997"/>
                  <a:pt x="2872767" y="3479031"/>
                  <a:pt x="2872767" y="3479031"/>
                </a:cubicBezTo>
                <a:cubicBezTo>
                  <a:pt x="2878745" y="3473068"/>
                  <a:pt x="2914614" y="3490961"/>
                  <a:pt x="2908636" y="3467104"/>
                </a:cubicBezTo>
                <a:cubicBezTo>
                  <a:pt x="2914614" y="3467104"/>
                  <a:pt x="2914614" y="3473068"/>
                  <a:pt x="2920592" y="3473068"/>
                </a:cubicBezTo>
                <a:cubicBezTo>
                  <a:pt x="2920592" y="3449212"/>
                  <a:pt x="2950482" y="3455175"/>
                  <a:pt x="2956461" y="3443248"/>
                </a:cubicBezTo>
                <a:cubicBezTo>
                  <a:pt x="2962437" y="3443248"/>
                  <a:pt x="2962437" y="3449212"/>
                  <a:pt x="2962437" y="3455175"/>
                </a:cubicBezTo>
                <a:cubicBezTo>
                  <a:pt x="2980371" y="3449212"/>
                  <a:pt x="2974393" y="3437285"/>
                  <a:pt x="2980371" y="3431321"/>
                </a:cubicBezTo>
                <a:cubicBezTo>
                  <a:pt x="2980371" y="3443248"/>
                  <a:pt x="2992327" y="3431321"/>
                  <a:pt x="2998305" y="3431321"/>
                </a:cubicBezTo>
                <a:cubicBezTo>
                  <a:pt x="2998305" y="3431321"/>
                  <a:pt x="3004283" y="3431321"/>
                  <a:pt x="3004283" y="3437285"/>
                </a:cubicBezTo>
                <a:cubicBezTo>
                  <a:pt x="3010262" y="3431321"/>
                  <a:pt x="3016239" y="3419392"/>
                  <a:pt x="3022218" y="3431321"/>
                </a:cubicBezTo>
                <a:cubicBezTo>
                  <a:pt x="3028196" y="3425355"/>
                  <a:pt x="3016239" y="3425355"/>
                  <a:pt x="3016239" y="3419392"/>
                </a:cubicBezTo>
                <a:cubicBezTo>
                  <a:pt x="3022218" y="3419392"/>
                  <a:pt x="3028196" y="3419392"/>
                  <a:pt x="3028196" y="3413428"/>
                </a:cubicBezTo>
                <a:cubicBezTo>
                  <a:pt x="3034174" y="3419392"/>
                  <a:pt x="3034174" y="3419392"/>
                  <a:pt x="3034174" y="3425355"/>
                </a:cubicBezTo>
                <a:cubicBezTo>
                  <a:pt x="3046130" y="3413428"/>
                  <a:pt x="3070042" y="3407464"/>
                  <a:pt x="3087977" y="3395535"/>
                </a:cubicBezTo>
                <a:cubicBezTo>
                  <a:pt x="3087977" y="3401501"/>
                  <a:pt x="3093953" y="3401501"/>
                  <a:pt x="3099931" y="3401501"/>
                </a:cubicBezTo>
                <a:cubicBezTo>
                  <a:pt x="3099931" y="3401501"/>
                  <a:pt x="3093953" y="3395535"/>
                  <a:pt x="3093953" y="3395535"/>
                </a:cubicBezTo>
                <a:cubicBezTo>
                  <a:pt x="3105909" y="3389572"/>
                  <a:pt x="3111887" y="3383608"/>
                  <a:pt x="3123843" y="3383608"/>
                </a:cubicBezTo>
                <a:cubicBezTo>
                  <a:pt x="3123843" y="3389572"/>
                  <a:pt x="3123843" y="3389572"/>
                  <a:pt x="3129822" y="3389572"/>
                </a:cubicBezTo>
                <a:cubicBezTo>
                  <a:pt x="3129822" y="3389572"/>
                  <a:pt x="3135799" y="3383608"/>
                  <a:pt x="3129822" y="3377645"/>
                </a:cubicBezTo>
                <a:cubicBezTo>
                  <a:pt x="3225469" y="3335895"/>
                  <a:pt x="3315141" y="3306076"/>
                  <a:pt x="3404810" y="3270290"/>
                </a:cubicBezTo>
                <a:cubicBezTo>
                  <a:pt x="3440679" y="3252399"/>
                  <a:pt x="3494479" y="3222579"/>
                  <a:pt x="3530348" y="3222579"/>
                </a:cubicBezTo>
                <a:cubicBezTo>
                  <a:pt x="3554261" y="3198723"/>
                  <a:pt x="3590129" y="3192760"/>
                  <a:pt x="3620018" y="3180830"/>
                </a:cubicBezTo>
                <a:cubicBezTo>
                  <a:pt x="3679799" y="3156974"/>
                  <a:pt x="3739579" y="3121191"/>
                  <a:pt x="3793381" y="3109263"/>
                </a:cubicBezTo>
                <a:cubicBezTo>
                  <a:pt x="3793381" y="3109263"/>
                  <a:pt x="3793381" y="3109263"/>
                  <a:pt x="3799359" y="3109263"/>
                </a:cubicBezTo>
                <a:cubicBezTo>
                  <a:pt x="3954787" y="3031730"/>
                  <a:pt x="4086303" y="2989982"/>
                  <a:pt x="4223797" y="2930342"/>
                </a:cubicBezTo>
                <a:cubicBezTo>
                  <a:pt x="4229775" y="2924378"/>
                  <a:pt x="4229775" y="2930342"/>
                  <a:pt x="4229775" y="2930342"/>
                </a:cubicBezTo>
                <a:cubicBezTo>
                  <a:pt x="4259666" y="2906485"/>
                  <a:pt x="4301510" y="2894558"/>
                  <a:pt x="4337379" y="2888595"/>
                </a:cubicBezTo>
                <a:cubicBezTo>
                  <a:pt x="4364280" y="2873684"/>
                  <a:pt x="4394170" y="2858774"/>
                  <a:pt x="4426302" y="2845356"/>
                </a:cubicBezTo>
                <a:lnTo>
                  <a:pt x="4492276" y="2823255"/>
                </a:lnTo>
                <a:lnTo>
                  <a:pt x="4433027" y="2852811"/>
                </a:lnTo>
                <a:lnTo>
                  <a:pt x="4432207" y="2853972"/>
                </a:lnTo>
                <a:lnTo>
                  <a:pt x="4432186" y="2853649"/>
                </a:lnTo>
                <a:cubicBezTo>
                  <a:pt x="4431532" y="2853184"/>
                  <a:pt x="4430037" y="2852811"/>
                  <a:pt x="4427048" y="2852811"/>
                </a:cubicBezTo>
                <a:cubicBezTo>
                  <a:pt x="4409114" y="2846845"/>
                  <a:pt x="4391180" y="2870702"/>
                  <a:pt x="4379226" y="2876666"/>
                </a:cubicBezTo>
                <a:cubicBezTo>
                  <a:pt x="4283577" y="2900522"/>
                  <a:pt x="4164016" y="2972090"/>
                  <a:pt x="4080325" y="2989982"/>
                </a:cubicBezTo>
                <a:cubicBezTo>
                  <a:pt x="4014565" y="3031730"/>
                  <a:pt x="3930874" y="3049623"/>
                  <a:pt x="3871094" y="3091370"/>
                </a:cubicBezTo>
                <a:cubicBezTo>
                  <a:pt x="3853161" y="3085407"/>
                  <a:pt x="3835227" y="3103299"/>
                  <a:pt x="3811314" y="3109263"/>
                </a:cubicBezTo>
                <a:cubicBezTo>
                  <a:pt x="3811314" y="3115227"/>
                  <a:pt x="3823270" y="3103299"/>
                  <a:pt x="3823270" y="3115227"/>
                </a:cubicBezTo>
                <a:cubicBezTo>
                  <a:pt x="3805336" y="3109263"/>
                  <a:pt x="3793381" y="3115227"/>
                  <a:pt x="3787403" y="3127154"/>
                </a:cubicBezTo>
                <a:cubicBezTo>
                  <a:pt x="3781424" y="3127154"/>
                  <a:pt x="3781424" y="3121191"/>
                  <a:pt x="3787403" y="3121191"/>
                </a:cubicBezTo>
                <a:cubicBezTo>
                  <a:pt x="3781424" y="3115227"/>
                  <a:pt x="3781424" y="3133120"/>
                  <a:pt x="3775445" y="3127154"/>
                </a:cubicBezTo>
                <a:cubicBezTo>
                  <a:pt x="3775445" y="3127154"/>
                  <a:pt x="3775445" y="3133120"/>
                  <a:pt x="3775445" y="3133120"/>
                </a:cubicBezTo>
                <a:cubicBezTo>
                  <a:pt x="3769468" y="3139083"/>
                  <a:pt x="3769468" y="3127154"/>
                  <a:pt x="3763490" y="3127154"/>
                </a:cubicBezTo>
                <a:cubicBezTo>
                  <a:pt x="3757512" y="3127154"/>
                  <a:pt x="3763490" y="3139083"/>
                  <a:pt x="3763490" y="3139083"/>
                </a:cubicBezTo>
                <a:cubicBezTo>
                  <a:pt x="3751535" y="3139083"/>
                  <a:pt x="3757512" y="3139083"/>
                  <a:pt x="3751535" y="3145047"/>
                </a:cubicBezTo>
                <a:cubicBezTo>
                  <a:pt x="3751535" y="3139083"/>
                  <a:pt x="3745556" y="3139083"/>
                  <a:pt x="3745556" y="3139083"/>
                </a:cubicBezTo>
                <a:cubicBezTo>
                  <a:pt x="3745556" y="3139083"/>
                  <a:pt x="3751535" y="3151010"/>
                  <a:pt x="3739579" y="3151010"/>
                </a:cubicBezTo>
                <a:cubicBezTo>
                  <a:pt x="3745556" y="3145047"/>
                  <a:pt x="3745556" y="3139083"/>
                  <a:pt x="3733601" y="3139083"/>
                </a:cubicBezTo>
                <a:cubicBezTo>
                  <a:pt x="3733601" y="3145047"/>
                  <a:pt x="3739579" y="3151010"/>
                  <a:pt x="3727623" y="3151010"/>
                </a:cubicBezTo>
                <a:cubicBezTo>
                  <a:pt x="3727623" y="3151010"/>
                  <a:pt x="3733601" y="3145047"/>
                  <a:pt x="3727623" y="3145047"/>
                </a:cubicBezTo>
                <a:cubicBezTo>
                  <a:pt x="3721645" y="3145047"/>
                  <a:pt x="3721645" y="3151010"/>
                  <a:pt x="3721645" y="3156974"/>
                </a:cubicBezTo>
                <a:cubicBezTo>
                  <a:pt x="3721645" y="3156974"/>
                  <a:pt x="3715667" y="3151010"/>
                  <a:pt x="3715667" y="3151010"/>
                </a:cubicBezTo>
                <a:cubicBezTo>
                  <a:pt x="3709690" y="3151010"/>
                  <a:pt x="3709690" y="3156974"/>
                  <a:pt x="3709690" y="3156974"/>
                </a:cubicBezTo>
                <a:cubicBezTo>
                  <a:pt x="3703710" y="3156974"/>
                  <a:pt x="3721645" y="3174867"/>
                  <a:pt x="3715667" y="3180830"/>
                </a:cubicBezTo>
                <a:cubicBezTo>
                  <a:pt x="3718656" y="3179339"/>
                  <a:pt x="3720525" y="3177849"/>
                  <a:pt x="3721645" y="3176358"/>
                </a:cubicBezTo>
                <a:lnTo>
                  <a:pt x="3722077" y="3175065"/>
                </a:lnTo>
                <a:lnTo>
                  <a:pt x="3725101" y="3176451"/>
                </a:lnTo>
                <a:cubicBezTo>
                  <a:pt x="3727623" y="3175612"/>
                  <a:pt x="3727623" y="3168903"/>
                  <a:pt x="3727623" y="3168903"/>
                </a:cubicBezTo>
                <a:cubicBezTo>
                  <a:pt x="3733601" y="3168903"/>
                  <a:pt x="3727623" y="3174867"/>
                  <a:pt x="3733601" y="3180830"/>
                </a:cubicBezTo>
                <a:cubicBezTo>
                  <a:pt x="3739579" y="3180830"/>
                  <a:pt x="3733601" y="3168903"/>
                  <a:pt x="3733601" y="3162939"/>
                </a:cubicBezTo>
                <a:cubicBezTo>
                  <a:pt x="3739579" y="3180830"/>
                  <a:pt x="3757512" y="3162939"/>
                  <a:pt x="3769468" y="3162939"/>
                </a:cubicBezTo>
                <a:cubicBezTo>
                  <a:pt x="3769468" y="3156974"/>
                  <a:pt x="3769468" y="3151010"/>
                  <a:pt x="3775445" y="3151010"/>
                </a:cubicBezTo>
                <a:cubicBezTo>
                  <a:pt x="3775445" y="3151010"/>
                  <a:pt x="3769468" y="3145047"/>
                  <a:pt x="3769468" y="3151010"/>
                </a:cubicBezTo>
                <a:cubicBezTo>
                  <a:pt x="3763490" y="3145047"/>
                  <a:pt x="3781424" y="3139083"/>
                  <a:pt x="3781424" y="3151010"/>
                </a:cubicBezTo>
                <a:cubicBezTo>
                  <a:pt x="3775445" y="3156974"/>
                  <a:pt x="3775445" y="3162939"/>
                  <a:pt x="3769468" y="3168903"/>
                </a:cubicBezTo>
                <a:cubicBezTo>
                  <a:pt x="3715667" y="3186794"/>
                  <a:pt x="3679799" y="3210650"/>
                  <a:pt x="3631974" y="3228543"/>
                </a:cubicBezTo>
                <a:cubicBezTo>
                  <a:pt x="3625996" y="3228543"/>
                  <a:pt x="3631974" y="3216615"/>
                  <a:pt x="3625996" y="3216615"/>
                </a:cubicBezTo>
                <a:cubicBezTo>
                  <a:pt x="3620018" y="3216615"/>
                  <a:pt x="3620018" y="3228543"/>
                  <a:pt x="3620018" y="3234507"/>
                </a:cubicBezTo>
                <a:cubicBezTo>
                  <a:pt x="3608063" y="3234507"/>
                  <a:pt x="3596107" y="3246436"/>
                  <a:pt x="3590129" y="3234507"/>
                </a:cubicBezTo>
                <a:cubicBezTo>
                  <a:pt x="3584151" y="3246436"/>
                  <a:pt x="3566217" y="3246436"/>
                  <a:pt x="3548282" y="3258363"/>
                </a:cubicBezTo>
                <a:cubicBezTo>
                  <a:pt x="3548282" y="3252399"/>
                  <a:pt x="3548282" y="3252399"/>
                  <a:pt x="3548282" y="3252399"/>
                </a:cubicBezTo>
                <a:cubicBezTo>
                  <a:pt x="3548282" y="3252399"/>
                  <a:pt x="3548282" y="3252399"/>
                  <a:pt x="3548282" y="3246436"/>
                </a:cubicBezTo>
                <a:cubicBezTo>
                  <a:pt x="3542304" y="3252399"/>
                  <a:pt x="3548282" y="3258363"/>
                  <a:pt x="3536326" y="3258363"/>
                </a:cubicBezTo>
                <a:lnTo>
                  <a:pt x="3536326" y="3264327"/>
                </a:lnTo>
                <a:cubicBezTo>
                  <a:pt x="3524370" y="3270290"/>
                  <a:pt x="3518392" y="3264327"/>
                  <a:pt x="3518392" y="3252399"/>
                </a:cubicBezTo>
                <a:cubicBezTo>
                  <a:pt x="3506436" y="3258363"/>
                  <a:pt x="3518392" y="3264327"/>
                  <a:pt x="3518392" y="3270290"/>
                </a:cubicBezTo>
                <a:cubicBezTo>
                  <a:pt x="3506436" y="3270290"/>
                  <a:pt x="3500458" y="3276255"/>
                  <a:pt x="3488501" y="3270290"/>
                </a:cubicBezTo>
                <a:cubicBezTo>
                  <a:pt x="3488501" y="3276255"/>
                  <a:pt x="3488501" y="3282219"/>
                  <a:pt x="3488501" y="3282219"/>
                </a:cubicBezTo>
                <a:cubicBezTo>
                  <a:pt x="3470569" y="3294146"/>
                  <a:pt x="3458613" y="3300112"/>
                  <a:pt x="3440679" y="3306076"/>
                </a:cubicBezTo>
                <a:cubicBezTo>
                  <a:pt x="3434701" y="3306076"/>
                  <a:pt x="3416766" y="3329932"/>
                  <a:pt x="3416766" y="3312039"/>
                </a:cubicBezTo>
                <a:cubicBezTo>
                  <a:pt x="3398832" y="3329932"/>
                  <a:pt x="3386876" y="3323967"/>
                  <a:pt x="3374919" y="3335895"/>
                </a:cubicBezTo>
                <a:cubicBezTo>
                  <a:pt x="3374919" y="3335895"/>
                  <a:pt x="3374919" y="3335895"/>
                  <a:pt x="3374919" y="3329932"/>
                </a:cubicBezTo>
                <a:cubicBezTo>
                  <a:pt x="3368941" y="3335895"/>
                  <a:pt x="3362963" y="3335895"/>
                  <a:pt x="3362963" y="3335895"/>
                </a:cubicBezTo>
                <a:cubicBezTo>
                  <a:pt x="3356985" y="3335895"/>
                  <a:pt x="3362963" y="3341859"/>
                  <a:pt x="3356985" y="3347822"/>
                </a:cubicBezTo>
                <a:cubicBezTo>
                  <a:pt x="3356985" y="3329932"/>
                  <a:pt x="3351009" y="3353786"/>
                  <a:pt x="3333074" y="3353786"/>
                </a:cubicBezTo>
                <a:cubicBezTo>
                  <a:pt x="3333074" y="3347822"/>
                  <a:pt x="3339053" y="3347822"/>
                  <a:pt x="3333074" y="3341859"/>
                </a:cubicBezTo>
                <a:cubicBezTo>
                  <a:pt x="3327097" y="3347822"/>
                  <a:pt x="3327097" y="3371679"/>
                  <a:pt x="3321119" y="3353786"/>
                </a:cubicBezTo>
                <a:cubicBezTo>
                  <a:pt x="3309162" y="3371679"/>
                  <a:pt x="3285250" y="3371679"/>
                  <a:pt x="3261338" y="3383608"/>
                </a:cubicBezTo>
                <a:cubicBezTo>
                  <a:pt x="3255359" y="3377645"/>
                  <a:pt x="3249382" y="3383608"/>
                  <a:pt x="3255359" y="3377645"/>
                </a:cubicBezTo>
                <a:cubicBezTo>
                  <a:pt x="3237425" y="3401501"/>
                  <a:pt x="3213514" y="3401501"/>
                  <a:pt x="3195581" y="3383608"/>
                </a:cubicBezTo>
                <a:cubicBezTo>
                  <a:pt x="3201559" y="3395535"/>
                  <a:pt x="3189602" y="3395535"/>
                  <a:pt x="3195581" y="3401501"/>
                </a:cubicBezTo>
                <a:cubicBezTo>
                  <a:pt x="3201559" y="3407464"/>
                  <a:pt x="3207537" y="3389572"/>
                  <a:pt x="3213514" y="3401501"/>
                </a:cubicBezTo>
                <a:cubicBezTo>
                  <a:pt x="3189602" y="3419392"/>
                  <a:pt x="3165690" y="3413428"/>
                  <a:pt x="3153734" y="3425355"/>
                </a:cubicBezTo>
                <a:cubicBezTo>
                  <a:pt x="3147756" y="3425355"/>
                  <a:pt x="3147756" y="3425355"/>
                  <a:pt x="3147756" y="3413428"/>
                </a:cubicBezTo>
                <a:cubicBezTo>
                  <a:pt x="3141778" y="3419392"/>
                  <a:pt x="3141778" y="3425355"/>
                  <a:pt x="3147756" y="3431321"/>
                </a:cubicBezTo>
                <a:cubicBezTo>
                  <a:pt x="3129822" y="3437285"/>
                  <a:pt x="3123843" y="3425355"/>
                  <a:pt x="3117865" y="3443248"/>
                </a:cubicBezTo>
                <a:cubicBezTo>
                  <a:pt x="3111887" y="3437285"/>
                  <a:pt x="3105909" y="3443248"/>
                  <a:pt x="3093953" y="3443248"/>
                </a:cubicBezTo>
                <a:cubicBezTo>
                  <a:pt x="3099931" y="3449212"/>
                  <a:pt x="3105909" y="3443248"/>
                  <a:pt x="3105909" y="3443248"/>
                </a:cubicBezTo>
                <a:cubicBezTo>
                  <a:pt x="3105909" y="3461141"/>
                  <a:pt x="3099931" y="3449212"/>
                  <a:pt x="3087977" y="3455175"/>
                </a:cubicBezTo>
                <a:cubicBezTo>
                  <a:pt x="3087977" y="3449212"/>
                  <a:pt x="3087977" y="3443248"/>
                  <a:pt x="3087977" y="3437285"/>
                </a:cubicBezTo>
                <a:cubicBezTo>
                  <a:pt x="3087977" y="3449212"/>
                  <a:pt x="3064064" y="3455175"/>
                  <a:pt x="3064064" y="3473068"/>
                </a:cubicBezTo>
                <a:cubicBezTo>
                  <a:pt x="3058086" y="3473068"/>
                  <a:pt x="3040152" y="3473068"/>
                  <a:pt x="3040152" y="3484997"/>
                </a:cubicBezTo>
                <a:cubicBezTo>
                  <a:pt x="3010262" y="3490961"/>
                  <a:pt x="2986349" y="3502888"/>
                  <a:pt x="2956461" y="3520781"/>
                </a:cubicBezTo>
                <a:cubicBezTo>
                  <a:pt x="2950482" y="3502888"/>
                  <a:pt x="2968415" y="3502888"/>
                  <a:pt x="2950482" y="3496924"/>
                </a:cubicBezTo>
                <a:cubicBezTo>
                  <a:pt x="2950482" y="3502888"/>
                  <a:pt x="2950482" y="3514817"/>
                  <a:pt x="2950482" y="3520781"/>
                </a:cubicBezTo>
                <a:cubicBezTo>
                  <a:pt x="2932548" y="3526744"/>
                  <a:pt x="2914614" y="3532708"/>
                  <a:pt x="2902658" y="3538671"/>
                </a:cubicBezTo>
                <a:cubicBezTo>
                  <a:pt x="2902658" y="3526744"/>
                  <a:pt x="2908636" y="3526744"/>
                  <a:pt x="2914614" y="3520781"/>
                </a:cubicBezTo>
                <a:cubicBezTo>
                  <a:pt x="2902658" y="3508852"/>
                  <a:pt x="2908636" y="3538671"/>
                  <a:pt x="2896679" y="3520781"/>
                </a:cubicBezTo>
                <a:cubicBezTo>
                  <a:pt x="2896679" y="3526744"/>
                  <a:pt x="2908636" y="3538671"/>
                  <a:pt x="2890702" y="3544637"/>
                </a:cubicBezTo>
                <a:cubicBezTo>
                  <a:pt x="2890702" y="3538671"/>
                  <a:pt x="2890702" y="3538671"/>
                  <a:pt x="2890702" y="3538671"/>
                </a:cubicBezTo>
                <a:cubicBezTo>
                  <a:pt x="2866789" y="3556564"/>
                  <a:pt x="2818966" y="3568494"/>
                  <a:pt x="2795054" y="3586384"/>
                </a:cubicBezTo>
                <a:cubicBezTo>
                  <a:pt x="2789076" y="3574457"/>
                  <a:pt x="2801032" y="3574457"/>
                  <a:pt x="2801032" y="3568494"/>
                </a:cubicBezTo>
                <a:cubicBezTo>
                  <a:pt x="2795054" y="3568494"/>
                  <a:pt x="2777120" y="3580421"/>
                  <a:pt x="2789076" y="3598313"/>
                </a:cubicBezTo>
                <a:cubicBezTo>
                  <a:pt x="2783098" y="3592348"/>
                  <a:pt x="2783098" y="3598313"/>
                  <a:pt x="2771142" y="3598313"/>
                </a:cubicBezTo>
                <a:cubicBezTo>
                  <a:pt x="2777120" y="3598313"/>
                  <a:pt x="2771142" y="3598313"/>
                  <a:pt x="2771142" y="3592348"/>
                </a:cubicBezTo>
                <a:cubicBezTo>
                  <a:pt x="2765163" y="3592348"/>
                  <a:pt x="2765163" y="3598313"/>
                  <a:pt x="2759185" y="3598313"/>
                </a:cubicBezTo>
                <a:cubicBezTo>
                  <a:pt x="2759185" y="3598313"/>
                  <a:pt x="2759185" y="3604277"/>
                  <a:pt x="2759185" y="3610240"/>
                </a:cubicBezTo>
                <a:cubicBezTo>
                  <a:pt x="2753207" y="3604277"/>
                  <a:pt x="2753207" y="3592348"/>
                  <a:pt x="2741251" y="3604277"/>
                </a:cubicBezTo>
                <a:cubicBezTo>
                  <a:pt x="2741251" y="3604277"/>
                  <a:pt x="2741251" y="3610240"/>
                  <a:pt x="2741251" y="3616204"/>
                </a:cubicBezTo>
                <a:cubicBezTo>
                  <a:pt x="2729295" y="3622168"/>
                  <a:pt x="2711360" y="3622168"/>
                  <a:pt x="2693427" y="3622168"/>
                </a:cubicBezTo>
                <a:cubicBezTo>
                  <a:pt x="2699404" y="3628133"/>
                  <a:pt x="2705382" y="3622168"/>
                  <a:pt x="2705382" y="3634097"/>
                </a:cubicBezTo>
                <a:cubicBezTo>
                  <a:pt x="2681470" y="3628133"/>
                  <a:pt x="2681470" y="3646024"/>
                  <a:pt x="2657558" y="3651989"/>
                </a:cubicBezTo>
                <a:cubicBezTo>
                  <a:pt x="2657558" y="3651989"/>
                  <a:pt x="2651581" y="3646024"/>
                  <a:pt x="2651581" y="3646024"/>
                </a:cubicBezTo>
                <a:cubicBezTo>
                  <a:pt x="2645604" y="3646024"/>
                  <a:pt x="2645604" y="3651989"/>
                  <a:pt x="2651581" y="3657953"/>
                </a:cubicBezTo>
                <a:cubicBezTo>
                  <a:pt x="2591800" y="3675844"/>
                  <a:pt x="2532020" y="3705664"/>
                  <a:pt x="2478219" y="3729520"/>
                </a:cubicBezTo>
                <a:cubicBezTo>
                  <a:pt x="2472240" y="3729520"/>
                  <a:pt x="2472240" y="3723556"/>
                  <a:pt x="2466263" y="3723556"/>
                </a:cubicBezTo>
                <a:cubicBezTo>
                  <a:pt x="2460285" y="3729520"/>
                  <a:pt x="2466263" y="3729520"/>
                  <a:pt x="2466263" y="3735486"/>
                </a:cubicBezTo>
                <a:cubicBezTo>
                  <a:pt x="2460285" y="3735486"/>
                  <a:pt x="2448329" y="3735486"/>
                  <a:pt x="2430394" y="3747413"/>
                </a:cubicBezTo>
                <a:cubicBezTo>
                  <a:pt x="2430394" y="3747413"/>
                  <a:pt x="2424416" y="3759341"/>
                  <a:pt x="2424416" y="3759341"/>
                </a:cubicBezTo>
                <a:cubicBezTo>
                  <a:pt x="2418438" y="3759341"/>
                  <a:pt x="2406482" y="3747413"/>
                  <a:pt x="2424416" y="3741449"/>
                </a:cubicBezTo>
                <a:cubicBezTo>
                  <a:pt x="2424416" y="3735486"/>
                  <a:pt x="2418438" y="3741449"/>
                  <a:pt x="2412460" y="3735486"/>
                </a:cubicBezTo>
                <a:cubicBezTo>
                  <a:pt x="2412460" y="3741449"/>
                  <a:pt x="2412460" y="3747413"/>
                  <a:pt x="2400504" y="3753377"/>
                </a:cubicBezTo>
                <a:cubicBezTo>
                  <a:pt x="2406482" y="3759341"/>
                  <a:pt x="2412460" y="3759341"/>
                  <a:pt x="2406482" y="3771269"/>
                </a:cubicBezTo>
                <a:cubicBezTo>
                  <a:pt x="2400504" y="3753377"/>
                  <a:pt x="2370615" y="3783196"/>
                  <a:pt x="2352680" y="3777233"/>
                </a:cubicBezTo>
                <a:cubicBezTo>
                  <a:pt x="2346703" y="3783196"/>
                  <a:pt x="2358659" y="3783196"/>
                  <a:pt x="2358659" y="3789160"/>
                </a:cubicBezTo>
                <a:cubicBezTo>
                  <a:pt x="2352680" y="3795126"/>
                  <a:pt x="2352680" y="3789160"/>
                  <a:pt x="2346703" y="3789160"/>
                </a:cubicBezTo>
                <a:cubicBezTo>
                  <a:pt x="2346703" y="3789160"/>
                  <a:pt x="2346703" y="3783196"/>
                  <a:pt x="2346703" y="3777233"/>
                </a:cubicBezTo>
                <a:cubicBezTo>
                  <a:pt x="2334746" y="3771269"/>
                  <a:pt x="2328769" y="3789160"/>
                  <a:pt x="2334746" y="3795126"/>
                </a:cubicBezTo>
                <a:cubicBezTo>
                  <a:pt x="2322790" y="3795126"/>
                  <a:pt x="2298878" y="3813017"/>
                  <a:pt x="2286922" y="3824946"/>
                </a:cubicBezTo>
                <a:cubicBezTo>
                  <a:pt x="2239099" y="3830909"/>
                  <a:pt x="2203230" y="3860729"/>
                  <a:pt x="2149427" y="3890549"/>
                </a:cubicBezTo>
                <a:cubicBezTo>
                  <a:pt x="2119539" y="3884586"/>
                  <a:pt x="2071714" y="3944226"/>
                  <a:pt x="2059758" y="3920369"/>
                </a:cubicBezTo>
                <a:cubicBezTo>
                  <a:pt x="2053780" y="3920369"/>
                  <a:pt x="2047802" y="3926333"/>
                  <a:pt x="2041824" y="3926333"/>
                </a:cubicBezTo>
                <a:cubicBezTo>
                  <a:pt x="2047802" y="3932298"/>
                  <a:pt x="2035846" y="3932298"/>
                  <a:pt x="2035846" y="3944226"/>
                </a:cubicBezTo>
                <a:cubicBezTo>
                  <a:pt x="2029867" y="3944226"/>
                  <a:pt x="2017911" y="3956153"/>
                  <a:pt x="2023889" y="3944226"/>
                </a:cubicBezTo>
                <a:cubicBezTo>
                  <a:pt x="2017911" y="3956153"/>
                  <a:pt x="1999979" y="3956153"/>
                  <a:pt x="1999979" y="3962118"/>
                </a:cubicBezTo>
                <a:cubicBezTo>
                  <a:pt x="1940198" y="3980009"/>
                  <a:pt x="1898351" y="4021758"/>
                  <a:pt x="1844551" y="4033685"/>
                </a:cubicBezTo>
                <a:cubicBezTo>
                  <a:pt x="1844551" y="4039649"/>
                  <a:pt x="1802704" y="4069471"/>
                  <a:pt x="1796726" y="4051578"/>
                </a:cubicBezTo>
                <a:cubicBezTo>
                  <a:pt x="1790747" y="4051578"/>
                  <a:pt x="1796726" y="4063505"/>
                  <a:pt x="1796726" y="4069471"/>
                </a:cubicBezTo>
                <a:cubicBezTo>
                  <a:pt x="1784769" y="4075435"/>
                  <a:pt x="1778791" y="4081398"/>
                  <a:pt x="1766835" y="4081398"/>
                </a:cubicBezTo>
                <a:cubicBezTo>
                  <a:pt x="1766835" y="4075435"/>
                  <a:pt x="1766835" y="4075435"/>
                  <a:pt x="1766835" y="4069471"/>
                </a:cubicBezTo>
                <a:cubicBezTo>
                  <a:pt x="1766835" y="4069471"/>
                  <a:pt x="1772814" y="4069471"/>
                  <a:pt x="1772814" y="4075435"/>
                </a:cubicBezTo>
                <a:cubicBezTo>
                  <a:pt x="1772814" y="4069471"/>
                  <a:pt x="1772814" y="4069471"/>
                  <a:pt x="1778791" y="4063505"/>
                </a:cubicBezTo>
                <a:cubicBezTo>
                  <a:pt x="1772814" y="4057542"/>
                  <a:pt x="1766835" y="4069471"/>
                  <a:pt x="1760857" y="4063505"/>
                </a:cubicBezTo>
                <a:cubicBezTo>
                  <a:pt x="1760857" y="4069471"/>
                  <a:pt x="1754879" y="4087362"/>
                  <a:pt x="1748901" y="4075435"/>
                </a:cubicBezTo>
                <a:cubicBezTo>
                  <a:pt x="1748901" y="4075435"/>
                  <a:pt x="1748901" y="4081398"/>
                  <a:pt x="1736947" y="4087362"/>
                </a:cubicBezTo>
                <a:cubicBezTo>
                  <a:pt x="1748901" y="4087362"/>
                  <a:pt x="1760857" y="4081398"/>
                  <a:pt x="1760857" y="4081398"/>
                </a:cubicBezTo>
                <a:cubicBezTo>
                  <a:pt x="1760857" y="4087362"/>
                  <a:pt x="1736947" y="4099290"/>
                  <a:pt x="1719012" y="4105254"/>
                </a:cubicBezTo>
                <a:cubicBezTo>
                  <a:pt x="1707056" y="4117182"/>
                  <a:pt x="1689122" y="4117182"/>
                  <a:pt x="1677166" y="4129111"/>
                </a:cubicBezTo>
                <a:cubicBezTo>
                  <a:pt x="1671187" y="4117182"/>
                  <a:pt x="1653254" y="4129111"/>
                  <a:pt x="1641297" y="4129111"/>
                </a:cubicBezTo>
                <a:cubicBezTo>
                  <a:pt x="1647276" y="4141038"/>
                  <a:pt x="1653254" y="4129111"/>
                  <a:pt x="1653254" y="4135075"/>
                </a:cubicBezTo>
                <a:cubicBezTo>
                  <a:pt x="1629341" y="4152965"/>
                  <a:pt x="1611407" y="4158930"/>
                  <a:pt x="1581518" y="4164894"/>
                </a:cubicBezTo>
                <a:cubicBezTo>
                  <a:pt x="1581518" y="4188751"/>
                  <a:pt x="1503803" y="4200678"/>
                  <a:pt x="1491847" y="4212607"/>
                </a:cubicBezTo>
                <a:cubicBezTo>
                  <a:pt x="1467936" y="4218571"/>
                  <a:pt x="1432068" y="4260318"/>
                  <a:pt x="1408156" y="4248391"/>
                </a:cubicBezTo>
                <a:cubicBezTo>
                  <a:pt x="1402177" y="4254354"/>
                  <a:pt x="1396199" y="4260318"/>
                  <a:pt x="1396199" y="4266284"/>
                </a:cubicBezTo>
                <a:cubicBezTo>
                  <a:pt x="1318486" y="4302067"/>
                  <a:pt x="1252727" y="4337851"/>
                  <a:pt x="1169036" y="4367670"/>
                </a:cubicBezTo>
                <a:cubicBezTo>
                  <a:pt x="1175014" y="4355743"/>
                  <a:pt x="1175014" y="4349779"/>
                  <a:pt x="1186970" y="4343814"/>
                </a:cubicBezTo>
                <a:cubicBezTo>
                  <a:pt x="1175014" y="4349779"/>
                  <a:pt x="1175014" y="4343814"/>
                  <a:pt x="1163057" y="4349779"/>
                </a:cubicBezTo>
                <a:cubicBezTo>
                  <a:pt x="1157079" y="4349779"/>
                  <a:pt x="1163057" y="4355743"/>
                  <a:pt x="1169036" y="4355743"/>
                </a:cubicBezTo>
                <a:cubicBezTo>
                  <a:pt x="1163057" y="4361707"/>
                  <a:pt x="1163057" y="4361707"/>
                  <a:pt x="1151101" y="4361707"/>
                </a:cubicBezTo>
                <a:cubicBezTo>
                  <a:pt x="1151101" y="4355743"/>
                  <a:pt x="1163057" y="4355743"/>
                  <a:pt x="1157079" y="4349779"/>
                </a:cubicBezTo>
                <a:cubicBezTo>
                  <a:pt x="1157079" y="4343814"/>
                  <a:pt x="1151101" y="4361707"/>
                  <a:pt x="1145123" y="4349779"/>
                </a:cubicBezTo>
                <a:cubicBezTo>
                  <a:pt x="1139145" y="4337851"/>
                  <a:pt x="1163057" y="4337851"/>
                  <a:pt x="1169036" y="4331887"/>
                </a:cubicBezTo>
                <a:cubicBezTo>
                  <a:pt x="1169036" y="4331887"/>
                  <a:pt x="1169036" y="4331887"/>
                  <a:pt x="1169036" y="4325923"/>
                </a:cubicBezTo>
                <a:cubicBezTo>
                  <a:pt x="1157079" y="4331887"/>
                  <a:pt x="1145123" y="4337851"/>
                  <a:pt x="1133167" y="4337851"/>
                </a:cubicBezTo>
                <a:cubicBezTo>
                  <a:pt x="1133167" y="4325923"/>
                  <a:pt x="1121211" y="4343814"/>
                  <a:pt x="1109254" y="4337851"/>
                </a:cubicBezTo>
                <a:cubicBezTo>
                  <a:pt x="1115232" y="4325923"/>
                  <a:pt x="1133167" y="4325923"/>
                  <a:pt x="1145123" y="4331887"/>
                </a:cubicBezTo>
                <a:cubicBezTo>
                  <a:pt x="1145123" y="4325923"/>
                  <a:pt x="1145123" y="4325923"/>
                  <a:pt x="1151101" y="4319958"/>
                </a:cubicBezTo>
                <a:cubicBezTo>
                  <a:pt x="1145123" y="4319958"/>
                  <a:pt x="1139145" y="4319958"/>
                  <a:pt x="1133167" y="4319958"/>
                </a:cubicBezTo>
                <a:cubicBezTo>
                  <a:pt x="1133167" y="4319958"/>
                  <a:pt x="1133167" y="4313994"/>
                  <a:pt x="1133167" y="4313994"/>
                </a:cubicBezTo>
                <a:cubicBezTo>
                  <a:pt x="1133167" y="4308030"/>
                  <a:pt x="1133167" y="4319958"/>
                  <a:pt x="1121211" y="4319958"/>
                </a:cubicBezTo>
                <a:cubicBezTo>
                  <a:pt x="1121211" y="4319958"/>
                  <a:pt x="1127189" y="4313994"/>
                  <a:pt x="1121211" y="4308030"/>
                </a:cubicBezTo>
                <a:cubicBezTo>
                  <a:pt x="1109254" y="4325923"/>
                  <a:pt x="1103276" y="4325923"/>
                  <a:pt x="1091321" y="4331887"/>
                </a:cubicBezTo>
                <a:cubicBezTo>
                  <a:pt x="1109254" y="4290138"/>
                  <a:pt x="1169036" y="4284174"/>
                  <a:pt x="1210882" y="4254354"/>
                </a:cubicBezTo>
                <a:cubicBezTo>
                  <a:pt x="1175014" y="4266284"/>
                  <a:pt x="1121211" y="4284174"/>
                  <a:pt x="1085344" y="4290138"/>
                </a:cubicBezTo>
                <a:cubicBezTo>
                  <a:pt x="1103276" y="4278211"/>
                  <a:pt x="1109254" y="4272247"/>
                  <a:pt x="1115232" y="4254354"/>
                </a:cubicBezTo>
                <a:cubicBezTo>
                  <a:pt x="1121211" y="4260318"/>
                  <a:pt x="1121211" y="4248391"/>
                  <a:pt x="1127189" y="4260318"/>
                </a:cubicBezTo>
                <a:cubicBezTo>
                  <a:pt x="1127189" y="4254354"/>
                  <a:pt x="1127189" y="4248391"/>
                  <a:pt x="1121211" y="4254354"/>
                </a:cubicBezTo>
                <a:cubicBezTo>
                  <a:pt x="1121211" y="4248391"/>
                  <a:pt x="1133167" y="4248391"/>
                  <a:pt x="1127189" y="4242427"/>
                </a:cubicBezTo>
                <a:cubicBezTo>
                  <a:pt x="1127189" y="4242427"/>
                  <a:pt x="1115232" y="4260318"/>
                  <a:pt x="1109254" y="4242427"/>
                </a:cubicBezTo>
                <a:cubicBezTo>
                  <a:pt x="1115232" y="4242427"/>
                  <a:pt x="1121211" y="4248391"/>
                  <a:pt x="1121211" y="4242427"/>
                </a:cubicBezTo>
                <a:cubicBezTo>
                  <a:pt x="1121211" y="4236461"/>
                  <a:pt x="1109254" y="4248391"/>
                  <a:pt x="1103276" y="4236461"/>
                </a:cubicBezTo>
                <a:cubicBezTo>
                  <a:pt x="1085344" y="4242427"/>
                  <a:pt x="1073388" y="4254354"/>
                  <a:pt x="1055454" y="4254354"/>
                </a:cubicBezTo>
                <a:cubicBezTo>
                  <a:pt x="1055454" y="4248391"/>
                  <a:pt x="1067410" y="4242427"/>
                  <a:pt x="1061432" y="4242427"/>
                </a:cubicBezTo>
                <a:cubicBezTo>
                  <a:pt x="1085344" y="4206642"/>
                  <a:pt x="1151101" y="4188751"/>
                  <a:pt x="1186970" y="4152965"/>
                </a:cubicBezTo>
                <a:lnTo>
                  <a:pt x="1175879" y="4150803"/>
                </a:lnTo>
                <a:lnTo>
                  <a:pt x="1172666" y="4151490"/>
                </a:lnTo>
                <a:lnTo>
                  <a:pt x="1163804" y="4155948"/>
                </a:lnTo>
                <a:cubicBezTo>
                  <a:pt x="1160442" y="4158184"/>
                  <a:pt x="1157265" y="4160422"/>
                  <a:pt x="1154183" y="4161353"/>
                </a:cubicBezTo>
                <a:lnTo>
                  <a:pt x="1150783" y="4160444"/>
                </a:lnTo>
                <a:lnTo>
                  <a:pt x="1149492" y="4161049"/>
                </a:lnTo>
                <a:lnTo>
                  <a:pt x="1149492" y="4160099"/>
                </a:lnTo>
                <a:lnTo>
                  <a:pt x="1145123" y="4158930"/>
                </a:lnTo>
                <a:cubicBezTo>
                  <a:pt x="1142134" y="4164894"/>
                  <a:pt x="1139145" y="4169367"/>
                  <a:pt x="1135409" y="4172349"/>
                </a:cubicBezTo>
                <a:lnTo>
                  <a:pt x="1124337" y="4175837"/>
                </a:lnTo>
                <a:lnTo>
                  <a:pt x="1127189" y="4170858"/>
                </a:lnTo>
                <a:cubicBezTo>
                  <a:pt x="1115232" y="4170858"/>
                  <a:pt x="1103276" y="4182787"/>
                  <a:pt x="1085344" y="4182787"/>
                </a:cubicBezTo>
                <a:lnTo>
                  <a:pt x="1088520" y="4178349"/>
                </a:lnTo>
                <a:lnTo>
                  <a:pt x="1097298" y="4176821"/>
                </a:lnTo>
                <a:cubicBezTo>
                  <a:pt x="1094310" y="4176821"/>
                  <a:pt x="1091321" y="4176821"/>
                  <a:pt x="1089080" y="4177567"/>
                </a:cubicBezTo>
                <a:lnTo>
                  <a:pt x="1088520" y="4178349"/>
                </a:lnTo>
                <a:lnTo>
                  <a:pt x="1081234" y="4179617"/>
                </a:lnTo>
                <a:cubicBezTo>
                  <a:pt x="1066663" y="4184649"/>
                  <a:pt x="1055454" y="4194714"/>
                  <a:pt x="1037519" y="4194714"/>
                </a:cubicBezTo>
                <a:cubicBezTo>
                  <a:pt x="1055454" y="4188751"/>
                  <a:pt x="1061432" y="4164894"/>
                  <a:pt x="1073388" y="4152965"/>
                </a:cubicBezTo>
                <a:cubicBezTo>
                  <a:pt x="1067410" y="4147002"/>
                  <a:pt x="1049476" y="4147002"/>
                  <a:pt x="1055454" y="4135075"/>
                </a:cubicBezTo>
                <a:cubicBezTo>
                  <a:pt x="1049476" y="4129111"/>
                  <a:pt x="1043497" y="4135075"/>
                  <a:pt x="1043497" y="4135075"/>
                </a:cubicBezTo>
                <a:cubicBezTo>
                  <a:pt x="1043497" y="4141038"/>
                  <a:pt x="1031541" y="4141038"/>
                  <a:pt x="1037519" y="4135075"/>
                </a:cubicBezTo>
                <a:cubicBezTo>
                  <a:pt x="1031541" y="4135075"/>
                  <a:pt x="1031541" y="4135075"/>
                  <a:pt x="1031541" y="4135075"/>
                </a:cubicBezTo>
                <a:cubicBezTo>
                  <a:pt x="1025563" y="4141038"/>
                  <a:pt x="1031541" y="4141038"/>
                  <a:pt x="1031541" y="4147002"/>
                </a:cubicBezTo>
                <a:cubicBezTo>
                  <a:pt x="1037519" y="4152965"/>
                  <a:pt x="1037519" y="4147002"/>
                  <a:pt x="1043497" y="4147002"/>
                </a:cubicBezTo>
                <a:cubicBezTo>
                  <a:pt x="1043497" y="4152965"/>
                  <a:pt x="1037519" y="4152965"/>
                  <a:pt x="1037519" y="4152965"/>
                </a:cubicBezTo>
                <a:cubicBezTo>
                  <a:pt x="1025563" y="4147002"/>
                  <a:pt x="1031541" y="4147002"/>
                  <a:pt x="1013607" y="4147002"/>
                </a:cubicBezTo>
                <a:cubicBezTo>
                  <a:pt x="1019585" y="4141038"/>
                  <a:pt x="1019585" y="4123145"/>
                  <a:pt x="1031541" y="4129111"/>
                </a:cubicBezTo>
                <a:cubicBezTo>
                  <a:pt x="1031541" y="4123145"/>
                  <a:pt x="1025563" y="4117182"/>
                  <a:pt x="1037519" y="4111218"/>
                </a:cubicBezTo>
                <a:cubicBezTo>
                  <a:pt x="1025563" y="4111218"/>
                  <a:pt x="1013607" y="4117182"/>
                  <a:pt x="995672" y="4117182"/>
                </a:cubicBezTo>
                <a:cubicBezTo>
                  <a:pt x="995672" y="4099290"/>
                  <a:pt x="1013607" y="4111218"/>
                  <a:pt x="1019585" y="4105254"/>
                </a:cubicBezTo>
                <a:cubicBezTo>
                  <a:pt x="1025563" y="4105254"/>
                  <a:pt x="1019585" y="4087362"/>
                  <a:pt x="1025563" y="4105254"/>
                </a:cubicBezTo>
                <a:cubicBezTo>
                  <a:pt x="1031541" y="4093325"/>
                  <a:pt x="1013607" y="4093325"/>
                  <a:pt x="1019585" y="4081398"/>
                </a:cubicBezTo>
                <a:lnTo>
                  <a:pt x="1013607" y="4090169"/>
                </a:lnTo>
                <a:lnTo>
                  <a:pt x="1013607" y="4075435"/>
                </a:lnTo>
                <a:cubicBezTo>
                  <a:pt x="1007629" y="4075435"/>
                  <a:pt x="1007629" y="4081398"/>
                  <a:pt x="1007629" y="4087362"/>
                </a:cubicBezTo>
                <a:cubicBezTo>
                  <a:pt x="1001651" y="4087362"/>
                  <a:pt x="1007629" y="4075435"/>
                  <a:pt x="1001651" y="4069471"/>
                </a:cubicBezTo>
                <a:cubicBezTo>
                  <a:pt x="1007629" y="4075435"/>
                  <a:pt x="1013607" y="4069471"/>
                  <a:pt x="1019585" y="4063505"/>
                </a:cubicBezTo>
                <a:cubicBezTo>
                  <a:pt x="1019585" y="4057542"/>
                  <a:pt x="1013607" y="4045614"/>
                  <a:pt x="1007629" y="4045614"/>
                </a:cubicBezTo>
                <a:cubicBezTo>
                  <a:pt x="1007629" y="4039649"/>
                  <a:pt x="1001651" y="4033685"/>
                  <a:pt x="1001651" y="4027722"/>
                </a:cubicBezTo>
                <a:cubicBezTo>
                  <a:pt x="995672" y="4027722"/>
                  <a:pt x="1001651" y="4027722"/>
                  <a:pt x="1001651" y="4033685"/>
                </a:cubicBezTo>
                <a:cubicBezTo>
                  <a:pt x="989695" y="4027722"/>
                  <a:pt x="989695" y="4033685"/>
                  <a:pt x="983716" y="4027722"/>
                </a:cubicBezTo>
                <a:cubicBezTo>
                  <a:pt x="983716" y="4027722"/>
                  <a:pt x="983716" y="4033685"/>
                  <a:pt x="983716" y="4033685"/>
                </a:cubicBezTo>
                <a:cubicBezTo>
                  <a:pt x="989695" y="4033685"/>
                  <a:pt x="989695" y="4039649"/>
                  <a:pt x="1001651" y="4039649"/>
                </a:cubicBezTo>
                <a:cubicBezTo>
                  <a:pt x="1001651" y="4039649"/>
                  <a:pt x="995672" y="4039649"/>
                  <a:pt x="989695" y="4045614"/>
                </a:cubicBezTo>
                <a:cubicBezTo>
                  <a:pt x="995672" y="4051578"/>
                  <a:pt x="1001651" y="4039649"/>
                  <a:pt x="1001651" y="4051578"/>
                </a:cubicBezTo>
                <a:cubicBezTo>
                  <a:pt x="1001651" y="4051578"/>
                  <a:pt x="989695" y="4051578"/>
                  <a:pt x="983716" y="4057542"/>
                </a:cubicBezTo>
                <a:cubicBezTo>
                  <a:pt x="983716" y="4051578"/>
                  <a:pt x="989695" y="4039649"/>
                  <a:pt x="977738" y="4045614"/>
                </a:cubicBezTo>
                <a:cubicBezTo>
                  <a:pt x="977738" y="4033685"/>
                  <a:pt x="977738" y="4033685"/>
                  <a:pt x="983716" y="4021758"/>
                </a:cubicBezTo>
                <a:cubicBezTo>
                  <a:pt x="971761" y="4015795"/>
                  <a:pt x="971761" y="4033685"/>
                  <a:pt x="959804" y="4033685"/>
                </a:cubicBezTo>
                <a:cubicBezTo>
                  <a:pt x="965782" y="4021758"/>
                  <a:pt x="977738" y="4015795"/>
                  <a:pt x="983716" y="4009829"/>
                </a:cubicBezTo>
                <a:cubicBezTo>
                  <a:pt x="971761" y="4009829"/>
                  <a:pt x="965782" y="4003866"/>
                  <a:pt x="953828" y="4009829"/>
                </a:cubicBezTo>
                <a:cubicBezTo>
                  <a:pt x="953828" y="3991938"/>
                  <a:pt x="971761" y="3985974"/>
                  <a:pt x="983716" y="3974045"/>
                </a:cubicBezTo>
                <a:cubicBezTo>
                  <a:pt x="977738" y="3968082"/>
                  <a:pt x="977738" y="3980009"/>
                  <a:pt x="971761" y="3980009"/>
                </a:cubicBezTo>
                <a:cubicBezTo>
                  <a:pt x="971761" y="3968082"/>
                  <a:pt x="971761" y="3968082"/>
                  <a:pt x="971761" y="3962118"/>
                </a:cubicBezTo>
                <a:cubicBezTo>
                  <a:pt x="965782" y="3956153"/>
                  <a:pt x="953828" y="3962118"/>
                  <a:pt x="947850" y="3962118"/>
                </a:cubicBezTo>
                <a:lnTo>
                  <a:pt x="956127" y="3951107"/>
                </a:lnTo>
                <a:lnTo>
                  <a:pt x="959804" y="3950189"/>
                </a:lnTo>
                <a:lnTo>
                  <a:pt x="960119" y="3945795"/>
                </a:lnTo>
                <a:lnTo>
                  <a:pt x="965782" y="3938262"/>
                </a:lnTo>
                <a:cubicBezTo>
                  <a:pt x="965782" y="3935279"/>
                  <a:pt x="962794" y="3936771"/>
                  <a:pt x="960552" y="3939753"/>
                </a:cubicBezTo>
                <a:lnTo>
                  <a:pt x="960119" y="3945795"/>
                </a:lnTo>
                <a:lnTo>
                  <a:pt x="956127" y="3951107"/>
                </a:lnTo>
                <a:lnTo>
                  <a:pt x="935894" y="3956153"/>
                </a:lnTo>
                <a:cubicBezTo>
                  <a:pt x="935894" y="3950189"/>
                  <a:pt x="947850" y="3950189"/>
                  <a:pt x="941872" y="3938262"/>
                </a:cubicBezTo>
                <a:cubicBezTo>
                  <a:pt x="947850" y="3932298"/>
                  <a:pt x="965782" y="3932298"/>
                  <a:pt x="965782" y="3920369"/>
                </a:cubicBezTo>
                <a:cubicBezTo>
                  <a:pt x="953828" y="3920369"/>
                  <a:pt x="935894" y="3926333"/>
                  <a:pt x="917959" y="3938262"/>
                </a:cubicBezTo>
                <a:cubicBezTo>
                  <a:pt x="923937" y="3926333"/>
                  <a:pt x="935894" y="3926333"/>
                  <a:pt x="947850" y="3914405"/>
                </a:cubicBezTo>
                <a:cubicBezTo>
                  <a:pt x="941872" y="3908442"/>
                  <a:pt x="941872" y="3920369"/>
                  <a:pt x="935894" y="3920369"/>
                </a:cubicBezTo>
                <a:cubicBezTo>
                  <a:pt x="929916" y="3914405"/>
                  <a:pt x="917959" y="3920369"/>
                  <a:pt x="911981" y="3920369"/>
                </a:cubicBezTo>
                <a:cubicBezTo>
                  <a:pt x="917959" y="3908442"/>
                  <a:pt x="929916" y="3914405"/>
                  <a:pt x="935894" y="3914405"/>
                </a:cubicBezTo>
                <a:cubicBezTo>
                  <a:pt x="941872" y="3902478"/>
                  <a:pt x="947850" y="3896513"/>
                  <a:pt x="947850" y="3890549"/>
                </a:cubicBezTo>
                <a:cubicBezTo>
                  <a:pt x="941872" y="3878622"/>
                  <a:pt x="941872" y="3902478"/>
                  <a:pt x="929916" y="3896513"/>
                </a:cubicBezTo>
                <a:cubicBezTo>
                  <a:pt x="935894" y="3884586"/>
                  <a:pt x="941872" y="3878622"/>
                  <a:pt x="953828" y="3866693"/>
                </a:cubicBezTo>
                <a:cubicBezTo>
                  <a:pt x="935894" y="3866693"/>
                  <a:pt x="917959" y="3872657"/>
                  <a:pt x="906003" y="3872657"/>
                </a:cubicBezTo>
                <a:cubicBezTo>
                  <a:pt x="900025" y="3866693"/>
                  <a:pt x="906003" y="3866693"/>
                  <a:pt x="906003" y="3860729"/>
                </a:cubicBezTo>
                <a:cubicBezTo>
                  <a:pt x="894047" y="3854765"/>
                  <a:pt x="906003" y="3866693"/>
                  <a:pt x="894047" y="3866693"/>
                </a:cubicBezTo>
                <a:cubicBezTo>
                  <a:pt x="894047" y="3860729"/>
                  <a:pt x="894047" y="3854765"/>
                  <a:pt x="906003" y="3848802"/>
                </a:cubicBezTo>
                <a:cubicBezTo>
                  <a:pt x="906003" y="3848802"/>
                  <a:pt x="906003" y="3848802"/>
                  <a:pt x="900025" y="3842836"/>
                </a:cubicBezTo>
                <a:cubicBezTo>
                  <a:pt x="894047" y="3848802"/>
                  <a:pt x="894047" y="3854765"/>
                  <a:pt x="882091" y="3854765"/>
                </a:cubicBezTo>
                <a:cubicBezTo>
                  <a:pt x="882091" y="3842836"/>
                  <a:pt x="900025" y="3842836"/>
                  <a:pt x="900025" y="3836873"/>
                </a:cubicBezTo>
                <a:cubicBezTo>
                  <a:pt x="900025" y="3830909"/>
                  <a:pt x="894047" y="3836873"/>
                  <a:pt x="888069" y="3836873"/>
                </a:cubicBezTo>
                <a:cubicBezTo>
                  <a:pt x="888069" y="3824946"/>
                  <a:pt x="882091" y="3830909"/>
                  <a:pt x="876113" y="3830909"/>
                </a:cubicBezTo>
                <a:cubicBezTo>
                  <a:pt x="876113" y="3818982"/>
                  <a:pt x="882091" y="3807053"/>
                  <a:pt x="894047" y="3795126"/>
                </a:cubicBezTo>
                <a:cubicBezTo>
                  <a:pt x="888069" y="3789160"/>
                  <a:pt x="882091" y="3801089"/>
                  <a:pt x="876113" y="3801089"/>
                </a:cubicBezTo>
                <a:cubicBezTo>
                  <a:pt x="870135" y="3789160"/>
                  <a:pt x="870135" y="3777233"/>
                  <a:pt x="852201" y="3783196"/>
                </a:cubicBezTo>
                <a:cubicBezTo>
                  <a:pt x="852201" y="3771269"/>
                  <a:pt x="858178" y="3759341"/>
                  <a:pt x="840244" y="3765306"/>
                </a:cubicBezTo>
                <a:cubicBezTo>
                  <a:pt x="840244" y="3759341"/>
                  <a:pt x="852201" y="3753377"/>
                  <a:pt x="858178" y="3753377"/>
                </a:cubicBezTo>
                <a:cubicBezTo>
                  <a:pt x="852201" y="3753377"/>
                  <a:pt x="858178" y="3747413"/>
                  <a:pt x="852201" y="3747413"/>
                </a:cubicBezTo>
                <a:cubicBezTo>
                  <a:pt x="858178" y="3735486"/>
                  <a:pt x="882091" y="3729520"/>
                  <a:pt x="882091" y="3717593"/>
                </a:cubicBezTo>
                <a:cubicBezTo>
                  <a:pt x="876113" y="3723556"/>
                  <a:pt x="864157" y="3723556"/>
                  <a:pt x="852201" y="3729520"/>
                </a:cubicBezTo>
                <a:lnTo>
                  <a:pt x="852673" y="3721656"/>
                </a:lnTo>
                <a:lnTo>
                  <a:pt x="846932" y="3727904"/>
                </a:lnTo>
                <a:cubicBezTo>
                  <a:pt x="844690" y="3730887"/>
                  <a:pt x="843195" y="3733869"/>
                  <a:pt x="843195" y="3736852"/>
                </a:cubicBezTo>
                <a:cubicBezTo>
                  <a:pt x="765482" y="3772636"/>
                  <a:pt x="699723" y="3808419"/>
                  <a:pt x="616032" y="3838239"/>
                </a:cubicBezTo>
                <a:cubicBezTo>
                  <a:pt x="622010" y="3826312"/>
                  <a:pt x="622010" y="3820348"/>
                  <a:pt x="633965" y="3814383"/>
                </a:cubicBezTo>
                <a:cubicBezTo>
                  <a:pt x="622010" y="3820348"/>
                  <a:pt x="622010" y="3814383"/>
                  <a:pt x="610053" y="3820348"/>
                </a:cubicBezTo>
                <a:cubicBezTo>
                  <a:pt x="604075" y="3820348"/>
                  <a:pt x="610053" y="3826312"/>
                  <a:pt x="616032" y="3826312"/>
                </a:cubicBezTo>
                <a:cubicBezTo>
                  <a:pt x="610053" y="3832276"/>
                  <a:pt x="610053" y="3832276"/>
                  <a:pt x="598097" y="3832276"/>
                </a:cubicBezTo>
                <a:cubicBezTo>
                  <a:pt x="598097" y="3826312"/>
                  <a:pt x="610053" y="3826312"/>
                  <a:pt x="604075" y="3820348"/>
                </a:cubicBezTo>
                <a:cubicBezTo>
                  <a:pt x="604075" y="3814383"/>
                  <a:pt x="598097" y="3832276"/>
                  <a:pt x="592119" y="3820348"/>
                </a:cubicBezTo>
                <a:cubicBezTo>
                  <a:pt x="586141" y="3808419"/>
                  <a:pt x="610053" y="3808419"/>
                  <a:pt x="616032" y="3802455"/>
                </a:cubicBezTo>
                <a:cubicBezTo>
                  <a:pt x="616032" y="3802455"/>
                  <a:pt x="616032" y="3802455"/>
                  <a:pt x="616032" y="3796491"/>
                </a:cubicBezTo>
                <a:cubicBezTo>
                  <a:pt x="604075" y="3802455"/>
                  <a:pt x="592119" y="3808419"/>
                  <a:pt x="580163" y="3808419"/>
                </a:cubicBezTo>
                <a:cubicBezTo>
                  <a:pt x="580163" y="3796491"/>
                  <a:pt x="568207" y="3814383"/>
                  <a:pt x="556250" y="3808419"/>
                </a:cubicBezTo>
                <a:cubicBezTo>
                  <a:pt x="562228" y="3796491"/>
                  <a:pt x="580163" y="3796491"/>
                  <a:pt x="592119" y="3802455"/>
                </a:cubicBezTo>
                <a:cubicBezTo>
                  <a:pt x="592119" y="3796491"/>
                  <a:pt x="592119" y="3796491"/>
                  <a:pt x="598097" y="3790526"/>
                </a:cubicBezTo>
                <a:cubicBezTo>
                  <a:pt x="592119" y="3790526"/>
                  <a:pt x="586141" y="3790526"/>
                  <a:pt x="580163" y="3790526"/>
                </a:cubicBezTo>
                <a:cubicBezTo>
                  <a:pt x="580163" y="3790526"/>
                  <a:pt x="580163" y="3784562"/>
                  <a:pt x="580163" y="3784562"/>
                </a:cubicBezTo>
                <a:cubicBezTo>
                  <a:pt x="580163" y="3778599"/>
                  <a:pt x="580163" y="3790526"/>
                  <a:pt x="568207" y="3790526"/>
                </a:cubicBezTo>
                <a:cubicBezTo>
                  <a:pt x="568207" y="3790526"/>
                  <a:pt x="574185" y="3784562"/>
                  <a:pt x="568207" y="3778599"/>
                </a:cubicBezTo>
                <a:cubicBezTo>
                  <a:pt x="556250" y="3796491"/>
                  <a:pt x="550272" y="3796491"/>
                  <a:pt x="538317" y="3802455"/>
                </a:cubicBezTo>
                <a:cubicBezTo>
                  <a:pt x="556250" y="3760706"/>
                  <a:pt x="616032" y="3754743"/>
                  <a:pt x="657878" y="3724922"/>
                </a:cubicBezTo>
                <a:cubicBezTo>
                  <a:pt x="622010" y="3736852"/>
                  <a:pt x="568207" y="3754743"/>
                  <a:pt x="532340" y="3760706"/>
                </a:cubicBezTo>
                <a:cubicBezTo>
                  <a:pt x="550272" y="3748779"/>
                  <a:pt x="556250" y="3742815"/>
                  <a:pt x="562228" y="3724922"/>
                </a:cubicBezTo>
                <a:cubicBezTo>
                  <a:pt x="568207" y="3730886"/>
                  <a:pt x="568207" y="3718959"/>
                  <a:pt x="574185" y="3730886"/>
                </a:cubicBezTo>
                <a:cubicBezTo>
                  <a:pt x="574185" y="3724922"/>
                  <a:pt x="574185" y="3718959"/>
                  <a:pt x="568207" y="3724922"/>
                </a:cubicBezTo>
                <a:cubicBezTo>
                  <a:pt x="568207" y="3718959"/>
                  <a:pt x="580163" y="3718959"/>
                  <a:pt x="574185" y="3712996"/>
                </a:cubicBezTo>
                <a:cubicBezTo>
                  <a:pt x="574185" y="3712996"/>
                  <a:pt x="562228" y="3730886"/>
                  <a:pt x="556250" y="3712996"/>
                </a:cubicBezTo>
                <a:cubicBezTo>
                  <a:pt x="562228" y="3712996"/>
                  <a:pt x="568207" y="3718959"/>
                  <a:pt x="568207" y="3712996"/>
                </a:cubicBezTo>
                <a:cubicBezTo>
                  <a:pt x="568207" y="3707030"/>
                  <a:pt x="556250" y="3718959"/>
                  <a:pt x="550272" y="3707030"/>
                </a:cubicBezTo>
                <a:cubicBezTo>
                  <a:pt x="532340" y="3712996"/>
                  <a:pt x="520384" y="3724922"/>
                  <a:pt x="502450" y="3724922"/>
                </a:cubicBezTo>
                <a:cubicBezTo>
                  <a:pt x="502450" y="3718959"/>
                  <a:pt x="514405" y="3712996"/>
                  <a:pt x="508428" y="3712996"/>
                </a:cubicBezTo>
                <a:cubicBezTo>
                  <a:pt x="532340" y="3677210"/>
                  <a:pt x="598097" y="3659319"/>
                  <a:pt x="633965" y="3623534"/>
                </a:cubicBezTo>
                <a:lnTo>
                  <a:pt x="622875" y="3621372"/>
                </a:lnTo>
                <a:lnTo>
                  <a:pt x="619662" y="3622059"/>
                </a:lnTo>
                <a:lnTo>
                  <a:pt x="610800" y="3626516"/>
                </a:lnTo>
                <a:cubicBezTo>
                  <a:pt x="607438" y="3628753"/>
                  <a:pt x="604262" y="3630990"/>
                  <a:pt x="601179" y="3631922"/>
                </a:cubicBezTo>
                <a:lnTo>
                  <a:pt x="597779" y="3631012"/>
                </a:lnTo>
                <a:lnTo>
                  <a:pt x="596488" y="3631618"/>
                </a:lnTo>
                <a:lnTo>
                  <a:pt x="596488" y="3630667"/>
                </a:lnTo>
                <a:lnTo>
                  <a:pt x="592119" y="3629499"/>
                </a:lnTo>
                <a:cubicBezTo>
                  <a:pt x="589130" y="3635463"/>
                  <a:pt x="586141" y="3639935"/>
                  <a:pt x="582405" y="3642917"/>
                </a:cubicBezTo>
                <a:lnTo>
                  <a:pt x="571333" y="3646405"/>
                </a:lnTo>
                <a:lnTo>
                  <a:pt x="574185" y="3641427"/>
                </a:lnTo>
                <a:cubicBezTo>
                  <a:pt x="562228" y="3641427"/>
                  <a:pt x="550272" y="3653356"/>
                  <a:pt x="532340" y="3653356"/>
                </a:cubicBezTo>
                <a:lnTo>
                  <a:pt x="535516" y="3648918"/>
                </a:lnTo>
                <a:lnTo>
                  <a:pt x="544295" y="3647390"/>
                </a:lnTo>
                <a:cubicBezTo>
                  <a:pt x="541306" y="3647390"/>
                  <a:pt x="538317" y="3647390"/>
                  <a:pt x="536076" y="3648135"/>
                </a:cubicBezTo>
                <a:lnTo>
                  <a:pt x="535516" y="3648918"/>
                </a:lnTo>
                <a:lnTo>
                  <a:pt x="528230" y="3650185"/>
                </a:lnTo>
                <a:cubicBezTo>
                  <a:pt x="513659" y="3655218"/>
                  <a:pt x="502450" y="3665282"/>
                  <a:pt x="484515" y="3665282"/>
                </a:cubicBezTo>
                <a:cubicBezTo>
                  <a:pt x="502450" y="3659319"/>
                  <a:pt x="508428" y="3635463"/>
                  <a:pt x="520384" y="3623534"/>
                </a:cubicBezTo>
                <a:cubicBezTo>
                  <a:pt x="514405" y="3617570"/>
                  <a:pt x="496472" y="3617570"/>
                  <a:pt x="502450" y="3605643"/>
                </a:cubicBezTo>
                <a:cubicBezTo>
                  <a:pt x="496472" y="3599679"/>
                  <a:pt x="490493" y="3605643"/>
                  <a:pt x="490493" y="3605643"/>
                </a:cubicBezTo>
                <a:cubicBezTo>
                  <a:pt x="490493" y="3611606"/>
                  <a:pt x="478537" y="3611606"/>
                  <a:pt x="484515" y="3605643"/>
                </a:cubicBezTo>
                <a:cubicBezTo>
                  <a:pt x="478537" y="3605643"/>
                  <a:pt x="478537" y="3605643"/>
                  <a:pt x="478537" y="3605643"/>
                </a:cubicBezTo>
                <a:cubicBezTo>
                  <a:pt x="472559" y="3611606"/>
                  <a:pt x="478537" y="3611606"/>
                  <a:pt x="478537" y="3617570"/>
                </a:cubicBezTo>
                <a:cubicBezTo>
                  <a:pt x="484515" y="3623534"/>
                  <a:pt x="484515" y="3617570"/>
                  <a:pt x="490493" y="3617570"/>
                </a:cubicBezTo>
                <a:cubicBezTo>
                  <a:pt x="490493" y="3623534"/>
                  <a:pt x="484515" y="3623534"/>
                  <a:pt x="484515" y="3623534"/>
                </a:cubicBezTo>
                <a:cubicBezTo>
                  <a:pt x="472559" y="3617570"/>
                  <a:pt x="478537" y="3617570"/>
                  <a:pt x="460603" y="3617570"/>
                </a:cubicBezTo>
                <a:cubicBezTo>
                  <a:pt x="466581" y="3611606"/>
                  <a:pt x="466581" y="3593714"/>
                  <a:pt x="478537" y="3599679"/>
                </a:cubicBezTo>
                <a:cubicBezTo>
                  <a:pt x="478537" y="3593714"/>
                  <a:pt x="472559" y="3587750"/>
                  <a:pt x="484515" y="3581787"/>
                </a:cubicBezTo>
                <a:cubicBezTo>
                  <a:pt x="472559" y="3581787"/>
                  <a:pt x="460603" y="3587750"/>
                  <a:pt x="442668" y="3587750"/>
                </a:cubicBezTo>
                <a:cubicBezTo>
                  <a:pt x="442668" y="3569859"/>
                  <a:pt x="460603" y="3581787"/>
                  <a:pt x="466581" y="3575823"/>
                </a:cubicBezTo>
                <a:cubicBezTo>
                  <a:pt x="472559" y="3575823"/>
                  <a:pt x="466581" y="3557930"/>
                  <a:pt x="472559" y="3575823"/>
                </a:cubicBezTo>
                <a:cubicBezTo>
                  <a:pt x="478537" y="3563894"/>
                  <a:pt x="460603" y="3563894"/>
                  <a:pt x="466581" y="3551966"/>
                </a:cubicBezTo>
                <a:lnTo>
                  <a:pt x="460603" y="3560737"/>
                </a:lnTo>
                <a:lnTo>
                  <a:pt x="460603" y="3546003"/>
                </a:lnTo>
                <a:cubicBezTo>
                  <a:pt x="454625" y="3546003"/>
                  <a:pt x="454625" y="3551966"/>
                  <a:pt x="454625" y="3557930"/>
                </a:cubicBezTo>
                <a:cubicBezTo>
                  <a:pt x="448647" y="3557930"/>
                  <a:pt x="454625" y="3546003"/>
                  <a:pt x="448647" y="3540039"/>
                </a:cubicBezTo>
                <a:cubicBezTo>
                  <a:pt x="454625" y="3546003"/>
                  <a:pt x="460603" y="3540039"/>
                  <a:pt x="466581" y="3534074"/>
                </a:cubicBezTo>
                <a:cubicBezTo>
                  <a:pt x="466581" y="3528110"/>
                  <a:pt x="460603" y="3516183"/>
                  <a:pt x="454625" y="3516183"/>
                </a:cubicBezTo>
                <a:cubicBezTo>
                  <a:pt x="454625" y="3510218"/>
                  <a:pt x="448647" y="3504254"/>
                  <a:pt x="448647" y="3498290"/>
                </a:cubicBezTo>
                <a:cubicBezTo>
                  <a:pt x="442668" y="3498290"/>
                  <a:pt x="448647" y="3498290"/>
                  <a:pt x="448647" y="3504254"/>
                </a:cubicBezTo>
                <a:cubicBezTo>
                  <a:pt x="436690" y="3498290"/>
                  <a:pt x="436690" y="3504254"/>
                  <a:pt x="430712" y="3498290"/>
                </a:cubicBezTo>
                <a:cubicBezTo>
                  <a:pt x="430712" y="3498290"/>
                  <a:pt x="430712" y="3504254"/>
                  <a:pt x="430712" y="3504254"/>
                </a:cubicBezTo>
                <a:cubicBezTo>
                  <a:pt x="436690" y="3504254"/>
                  <a:pt x="436690" y="3510218"/>
                  <a:pt x="448647" y="3510218"/>
                </a:cubicBezTo>
                <a:cubicBezTo>
                  <a:pt x="448647" y="3510218"/>
                  <a:pt x="442668" y="3510218"/>
                  <a:pt x="436690" y="3516183"/>
                </a:cubicBezTo>
                <a:cubicBezTo>
                  <a:pt x="442668" y="3522147"/>
                  <a:pt x="448647" y="3510218"/>
                  <a:pt x="448647" y="3522147"/>
                </a:cubicBezTo>
                <a:cubicBezTo>
                  <a:pt x="448647" y="3522147"/>
                  <a:pt x="436690" y="3522147"/>
                  <a:pt x="430712" y="3528110"/>
                </a:cubicBezTo>
                <a:cubicBezTo>
                  <a:pt x="430712" y="3522147"/>
                  <a:pt x="436690" y="3510218"/>
                  <a:pt x="424734" y="3516183"/>
                </a:cubicBezTo>
                <a:cubicBezTo>
                  <a:pt x="424734" y="3504254"/>
                  <a:pt x="424734" y="3504254"/>
                  <a:pt x="430712" y="3492327"/>
                </a:cubicBezTo>
                <a:cubicBezTo>
                  <a:pt x="418757" y="3486363"/>
                  <a:pt x="418757" y="3504254"/>
                  <a:pt x="406800" y="3504254"/>
                </a:cubicBezTo>
                <a:cubicBezTo>
                  <a:pt x="412778" y="3492327"/>
                  <a:pt x="424734" y="3486363"/>
                  <a:pt x="430712" y="3480397"/>
                </a:cubicBezTo>
                <a:cubicBezTo>
                  <a:pt x="418757" y="3480397"/>
                  <a:pt x="412778" y="3474434"/>
                  <a:pt x="400824" y="3480397"/>
                </a:cubicBezTo>
                <a:cubicBezTo>
                  <a:pt x="400824" y="3462507"/>
                  <a:pt x="418757" y="3456543"/>
                  <a:pt x="430712" y="3444614"/>
                </a:cubicBezTo>
                <a:cubicBezTo>
                  <a:pt x="424734" y="3438650"/>
                  <a:pt x="424734" y="3450578"/>
                  <a:pt x="418757" y="3450578"/>
                </a:cubicBezTo>
                <a:cubicBezTo>
                  <a:pt x="418757" y="3438650"/>
                  <a:pt x="418757" y="3438650"/>
                  <a:pt x="418757" y="3432687"/>
                </a:cubicBezTo>
                <a:cubicBezTo>
                  <a:pt x="412778" y="3426721"/>
                  <a:pt x="400824" y="3432687"/>
                  <a:pt x="394845" y="3432687"/>
                </a:cubicBezTo>
                <a:lnTo>
                  <a:pt x="403123" y="3421676"/>
                </a:lnTo>
                <a:lnTo>
                  <a:pt x="406800" y="3420757"/>
                </a:lnTo>
                <a:lnTo>
                  <a:pt x="407115" y="3416363"/>
                </a:lnTo>
                <a:lnTo>
                  <a:pt x="412778" y="3408830"/>
                </a:lnTo>
                <a:cubicBezTo>
                  <a:pt x="412778" y="3405848"/>
                  <a:pt x="409790" y="3407339"/>
                  <a:pt x="407548" y="3410322"/>
                </a:cubicBezTo>
                <a:lnTo>
                  <a:pt x="407115" y="3416363"/>
                </a:lnTo>
                <a:lnTo>
                  <a:pt x="403123" y="3421676"/>
                </a:lnTo>
                <a:lnTo>
                  <a:pt x="382890" y="3426721"/>
                </a:lnTo>
                <a:cubicBezTo>
                  <a:pt x="382890" y="3420757"/>
                  <a:pt x="394845" y="3420757"/>
                  <a:pt x="388868" y="3408830"/>
                </a:cubicBezTo>
                <a:cubicBezTo>
                  <a:pt x="394845" y="3402867"/>
                  <a:pt x="412778" y="3402867"/>
                  <a:pt x="412778" y="3390938"/>
                </a:cubicBezTo>
                <a:cubicBezTo>
                  <a:pt x="400824" y="3390938"/>
                  <a:pt x="382890" y="3396902"/>
                  <a:pt x="364955" y="3408830"/>
                </a:cubicBezTo>
                <a:cubicBezTo>
                  <a:pt x="370933" y="3396902"/>
                  <a:pt x="382890" y="3396902"/>
                  <a:pt x="394845" y="3384974"/>
                </a:cubicBezTo>
                <a:cubicBezTo>
                  <a:pt x="388868" y="3379011"/>
                  <a:pt x="388868" y="3390938"/>
                  <a:pt x="382890" y="3390938"/>
                </a:cubicBezTo>
                <a:cubicBezTo>
                  <a:pt x="376912" y="3384974"/>
                  <a:pt x="364955" y="3390938"/>
                  <a:pt x="358977" y="3390938"/>
                </a:cubicBezTo>
                <a:cubicBezTo>
                  <a:pt x="364955" y="3379011"/>
                  <a:pt x="376912" y="3384974"/>
                  <a:pt x="382890" y="3384974"/>
                </a:cubicBezTo>
                <a:cubicBezTo>
                  <a:pt x="388868" y="3373047"/>
                  <a:pt x="394845" y="3367081"/>
                  <a:pt x="394845" y="3361118"/>
                </a:cubicBezTo>
                <a:cubicBezTo>
                  <a:pt x="388868" y="3349190"/>
                  <a:pt x="388868" y="3373047"/>
                  <a:pt x="376912" y="3367081"/>
                </a:cubicBezTo>
                <a:cubicBezTo>
                  <a:pt x="382890" y="3355154"/>
                  <a:pt x="388868" y="3349190"/>
                  <a:pt x="400824" y="3337262"/>
                </a:cubicBezTo>
                <a:cubicBezTo>
                  <a:pt x="382890" y="3337262"/>
                  <a:pt x="364955" y="3343225"/>
                  <a:pt x="352999" y="3343225"/>
                </a:cubicBezTo>
                <a:cubicBezTo>
                  <a:pt x="347021" y="3337262"/>
                  <a:pt x="352999" y="3337262"/>
                  <a:pt x="352999" y="3331298"/>
                </a:cubicBezTo>
                <a:cubicBezTo>
                  <a:pt x="341043" y="3325334"/>
                  <a:pt x="352999" y="3337262"/>
                  <a:pt x="341043" y="3337262"/>
                </a:cubicBezTo>
                <a:cubicBezTo>
                  <a:pt x="341043" y="3331298"/>
                  <a:pt x="341043" y="3325334"/>
                  <a:pt x="352999" y="3319371"/>
                </a:cubicBezTo>
                <a:cubicBezTo>
                  <a:pt x="352999" y="3319371"/>
                  <a:pt x="352999" y="3319371"/>
                  <a:pt x="347021" y="3313405"/>
                </a:cubicBezTo>
                <a:cubicBezTo>
                  <a:pt x="341043" y="3319371"/>
                  <a:pt x="341043" y="3325334"/>
                  <a:pt x="329087" y="3325334"/>
                </a:cubicBezTo>
                <a:cubicBezTo>
                  <a:pt x="329087" y="3313405"/>
                  <a:pt x="347021" y="3313405"/>
                  <a:pt x="347021" y="3307441"/>
                </a:cubicBezTo>
                <a:cubicBezTo>
                  <a:pt x="347021" y="3301478"/>
                  <a:pt x="341043" y="3307441"/>
                  <a:pt x="335065" y="3307441"/>
                </a:cubicBezTo>
                <a:cubicBezTo>
                  <a:pt x="335065" y="3295514"/>
                  <a:pt x="329087" y="3301478"/>
                  <a:pt x="323109" y="3301478"/>
                </a:cubicBezTo>
                <a:cubicBezTo>
                  <a:pt x="323109" y="3289550"/>
                  <a:pt x="329087" y="3277622"/>
                  <a:pt x="341043" y="3265695"/>
                </a:cubicBezTo>
                <a:cubicBezTo>
                  <a:pt x="335065" y="3259729"/>
                  <a:pt x="329087" y="3271658"/>
                  <a:pt x="323109" y="3271658"/>
                </a:cubicBezTo>
                <a:cubicBezTo>
                  <a:pt x="317130" y="3259729"/>
                  <a:pt x="317130" y="3247802"/>
                  <a:pt x="299197" y="3253765"/>
                </a:cubicBezTo>
                <a:cubicBezTo>
                  <a:pt x="299197" y="3241838"/>
                  <a:pt x="305175" y="3229909"/>
                  <a:pt x="287240" y="3235874"/>
                </a:cubicBezTo>
                <a:cubicBezTo>
                  <a:pt x="287240" y="3229909"/>
                  <a:pt x="299197" y="3223945"/>
                  <a:pt x="305175" y="3223945"/>
                </a:cubicBezTo>
                <a:cubicBezTo>
                  <a:pt x="299197" y="3223945"/>
                  <a:pt x="305175" y="3217982"/>
                  <a:pt x="299197" y="3217982"/>
                </a:cubicBezTo>
                <a:cubicBezTo>
                  <a:pt x="305175" y="3206055"/>
                  <a:pt x="329087" y="3200089"/>
                  <a:pt x="329087" y="3188162"/>
                </a:cubicBezTo>
                <a:cubicBezTo>
                  <a:pt x="323109" y="3194125"/>
                  <a:pt x="311152" y="3194125"/>
                  <a:pt x="299197" y="3200089"/>
                </a:cubicBezTo>
                <a:cubicBezTo>
                  <a:pt x="305175" y="3182198"/>
                  <a:pt x="287240" y="3188162"/>
                  <a:pt x="281262" y="3194125"/>
                </a:cubicBezTo>
                <a:cubicBezTo>
                  <a:pt x="281262" y="3182198"/>
                  <a:pt x="287240" y="3176232"/>
                  <a:pt x="287240" y="3164305"/>
                </a:cubicBezTo>
                <a:cubicBezTo>
                  <a:pt x="293218" y="3164305"/>
                  <a:pt x="293218" y="3176232"/>
                  <a:pt x="293218" y="3176232"/>
                </a:cubicBezTo>
                <a:cubicBezTo>
                  <a:pt x="299197" y="3164305"/>
                  <a:pt x="287240" y="3164305"/>
                  <a:pt x="287240" y="3158342"/>
                </a:cubicBezTo>
                <a:cubicBezTo>
                  <a:pt x="299197" y="3152378"/>
                  <a:pt x="293218" y="3140449"/>
                  <a:pt x="293218" y="3140449"/>
                </a:cubicBezTo>
                <a:cubicBezTo>
                  <a:pt x="293218" y="3134486"/>
                  <a:pt x="287240" y="3140449"/>
                  <a:pt x="287240" y="3140449"/>
                </a:cubicBezTo>
                <a:cubicBezTo>
                  <a:pt x="293218" y="3128522"/>
                  <a:pt x="287240" y="3122558"/>
                  <a:pt x="281262" y="3122558"/>
                </a:cubicBezTo>
                <a:cubicBezTo>
                  <a:pt x="275286" y="3116593"/>
                  <a:pt x="281262" y="3104665"/>
                  <a:pt x="269308" y="3110629"/>
                </a:cubicBezTo>
                <a:cubicBezTo>
                  <a:pt x="269308" y="3104665"/>
                  <a:pt x="275286" y="3104665"/>
                  <a:pt x="281262" y="3098702"/>
                </a:cubicBezTo>
                <a:cubicBezTo>
                  <a:pt x="281262" y="3092736"/>
                  <a:pt x="263329" y="3098702"/>
                  <a:pt x="269308" y="3086773"/>
                </a:cubicBezTo>
                <a:cubicBezTo>
                  <a:pt x="275286" y="3086773"/>
                  <a:pt x="275286" y="3092736"/>
                  <a:pt x="275286" y="3092736"/>
                </a:cubicBezTo>
                <a:cubicBezTo>
                  <a:pt x="281262" y="3086773"/>
                  <a:pt x="275286" y="3086773"/>
                  <a:pt x="275286" y="3080809"/>
                </a:cubicBezTo>
                <a:cubicBezTo>
                  <a:pt x="263329" y="3086773"/>
                  <a:pt x="257351" y="3104665"/>
                  <a:pt x="251373" y="3086773"/>
                </a:cubicBezTo>
                <a:cubicBezTo>
                  <a:pt x="263329" y="3086773"/>
                  <a:pt x="263329" y="3074846"/>
                  <a:pt x="275286" y="3074846"/>
                </a:cubicBezTo>
                <a:cubicBezTo>
                  <a:pt x="275286" y="3068882"/>
                  <a:pt x="269308" y="3062916"/>
                  <a:pt x="263329" y="3056953"/>
                </a:cubicBezTo>
                <a:cubicBezTo>
                  <a:pt x="251373" y="3062916"/>
                  <a:pt x="257351" y="3062916"/>
                  <a:pt x="245395" y="3068882"/>
                </a:cubicBezTo>
                <a:cubicBezTo>
                  <a:pt x="245395" y="3062916"/>
                  <a:pt x="251373" y="3062916"/>
                  <a:pt x="251373" y="3062916"/>
                </a:cubicBezTo>
                <a:cubicBezTo>
                  <a:pt x="251373" y="3050989"/>
                  <a:pt x="251373" y="3050989"/>
                  <a:pt x="257351" y="3050989"/>
                </a:cubicBezTo>
                <a:cubicBezTo>
                  <a:pt x="257351" y="3045025"/>
                  <a:pt x="257351" y="3045025"/>
                  <a:pt x="251373" y="3039062"/>
                </a:cubicBezTo>
                <a:cubicBezTo>
                  <a:pt x="245395" y="3045025"/>
                  <a:pt x="245395" y="3050989"/>
                  <a:pt x="239417" y="3045025"/>
                </a:cubicBezTo>
                <a:cubicBezTo>
                  <a:pt x="245395" y="3039062"/>
                  <a:pt x="239417" y="3033096"/>
                  <a:pt x="245395" y="3027133"/>
                </a:cubicBezTo>
                <a:cubicBezTo>
                  <a:pt x="245395" y="3021169"/>
                  <a:pt x="239417" y="3015206"/>
                  <a:pt x="227461" y="3021169"/>
                </a:cubicBezTo>
                <a:cubicBezTo>
                  <a:pt x="227461" y="3021169"/>
                  <a:pt x="227461" y="3021169"/>
                  <a:pt x="233439" y="3015206"/>
                </a:cubicBezTo>
                <a:cubicBezTo>
                  <a:pt x="221483" y="3003277"/>
                  <a:pt x="221483" y="2991349"/>
                  <a:pt x="215505" y="2979420"/>
                </a:cubicBezTo>
                <a:cubicBezTo>
                  <a:pt x="203548" y="2967493"/>
                  <a:pt x="191592" y="2955566"/>
                  <a:pt x="179636" y="2931709"/>
                </a:cubicBezTo>
                <a:cubicBezTo>
                  <a:pt x="173658" y="2919780"/>
                  <a:pt x="155724" y="2913816"/>
                  <a:pt x="149746" y="2901889"/>
                </a:cubicBezTo>
                <a:cubicBezTo>
                  <a:pt x="143769" y="2883997"/>
                  <a:pt x="149746" y="2866104"/>
                  <a:pt x="143769" y="2842248"/>
                </a:cubicBezTo>
                <a:cubicBezTo>
                  <a:pt x="137791" y="2812428"/>
                  <a:pt x="131813" y="2776644"/>
                  <a:pt x="113879" y="2752788"/>
                </a:cubicBezTo>
                <a:cubicBezTo>
                  <a:pt x="119857" y="2693148"/>
                  <a:pt x="113879" y="2621579"/>
                  <a:pt x="101923" y="2561939"/>
                </a:cubicBezTo>
                <a:cubicBezTo>
                  <a:pt x="101923" y="2561939"/>
                  <a:pt x="95945" y="2555975"/>
                  <a:pt x="89966" y="2555975"/>
                </a:cubicBezTo>
                <a:cubicBezTo>
                  <a:pt x="101923" y="2550012"/>
                  <a:pt x="95945" y="2532119"/>
                  <a:pt x="107901" y="2526155"/>
                </a:cubicBezTo>
                <a:cubicBezTo>
                  <a:pt x="107901" y="2520192"/>
                  <a:pt x="101923" y="2520192"/>
                  <a:pt x="101923" y="2514227"/>
                </a:cubicBezTo>
                <a:cubicBezTo>
                  <a:pt x="95945" y="2520192"/>
                  <a:pt x="89966" y="2526155"/>
                  <a:pt x="78010" y="2532119"/>
                </a:cubicBezTo>
                <a:cubicBezTo>
                  <a:pt x="83988" y="2526155"/>
                  <a:pt x="89966" y="2520192"/>
                  <a:pt x="89966" y="2514227"/>
                </a:cubicBezTo>
                <a:cubicBezTo>
                  <a:pt x="72033" y="2478443"/>
                  <a:pt x="83988" y="2448623"/>
                  <a:pt x="54098" y="2412839"/>
                </a:cubicBezTo>
                <a:cubicBezTo>
                  <a:pt x="60076" y="2406875"/>
                  <a:pt x="66054" y="2400910"/>
                  <a:pt x="66054" y="2394947"/>
                </a:cubicBezTo>
                <a:cubicBezTo>
                  <a:pt x="30186" y="2406875"/>
                  <a:pt x="18229" y="2341270"/>
                  <a:pt x="36164" y="2317414"/>
                </a:cubicBezTo>
                <a:cubicBezTo>
                  <a:pt x="297" y="2257774"/>
                  <a:pt x="-17637" y="2168314"/>
                  <a:pt x="24208" y="2132531"/>
                </a:cubicBezTo>
                <a:cubicBezTo>
                  <a:pt x="18229" y="2126567"/>
                  <a:pt x="297" y="2144458"/>
                  <a:pt x="297" y="2126567"/>
                </a:cubicBezTo>
                <a:cubicBezTo>
                  <a:pt x="89966" y="2084818"/>
                  <a:pt x="137791" y="2037105"/>
                  <a:pt x="227461" y="1995358"/>
                </a:cubicBezTo>
                <a:cubicBezTo>
                  <a:pt x="227461" y="1995358"/>
                  <a:pt x="233439" y="2001322"/>
                  <a:pt x="233439" y="2001322"/>
                </a:cubicBezTo>
                <a:cubicBezTo>
                  <a:pt x="239417" y="1995358"/>
                  <a:pt x="239417" y="1995358"/>
                  <a:pt x="239417" y="1995358"/>
                </a:cubicBezTo>
                <a:cubicBezTo>
                  <a:pt x="227461" y="1983429"/>
                  <a:pt x="257351" y="1989394"/>
                  <a:pt x="257351" y="1977465"/>
                </a:cubicBezTo>
                <a:cubicBezTo>
                  <a:pt x="275286" y="1977465"/>
                  <a:pt x="275286" y="1965538"/>
                  <a:pt x="293218" y="1953609"/>
                </a:cubicBezTo>
                <a:cubicBezTo>
                  <a:pt x="299197" y="1953609"/>
                  <a:pt x="299197" y="1959575"/>
                  <a:pt x="299197" y="1959575"/>
                </a:cubicBezTo>
                <a:cubicBezTo>
                  <a:pt x="317130" y="1947646"/>
                  <a:pt x="323109" y="1929753"/>
                  <a:pt x="352999" y="1929753"/>
                </a:cubicBezTo>
                <a:cubicBezTo>
                  <a:pt x="364955" y="1929753"/>
                  <a:pt x="347021" y="1917825"/>
                  <a:pt x="358977" y="1917825"/>
                </a:cubicBezTo>
                <a:cubicBezTo>
                  <a:pt x="358977" y="1923789"/>
                  <a:pt x="361966" y="1923789"/>
                  <a:pt x="364955" y="1921553"/>
                </a:cubicBezTo>
                <a:lnTo>
                  <a:pt x="368410" y="1915953"/>
                </a:lnTo>
                <a:lnTo>
                  <a:pt x="366609" y="1909314"/>
                </a:lnTo>
                <a:cubicBezTo>
                  <a:pt x="363246" y="1900927"/>
                  <a:pt x="358389" y="1892354"/>
                  <a:pt x="350916" y="1883408"/>
                </a:cubicBezTo>
                <a:cubicBezTo>
                  <a:pt x="356894" y="1877444"/>
                  <a:pt x="362872" y="1871479"/>
                  <a:pt x="362872" y="1865515"/>
                </a:cubicBezTo>
                <a:cubicBezTo>
                  <a:pt x="327003" y="1877444"/>
                  <a:pt x="315048" y="1811839"/>
                  <a:pt x="332982" y="1787983"/>
                </a:cubicBezTo>
                <a:cubicBezTo>
                  <a:pt x="297115" y="1728343"/>
                  <a:pt x="279181" y="1638883"/>
                  <a:pt x="321026" y="1603099"/>
                </a:cubicBezTo>
                <a:cubicBezTo>
                  <a:pt x="315048" y="1597136"/>
                  <a:pt x="297115" y="1615026"/>
                  <a:pt x="297115" y="1597136"/>
                </a:cubicBezTo>
                <a:cubicBezTo>
                  <a:pt x="386785" y="1555386"/>
                  <a:pt x="434610" y="1507674"/>
                  <a:pt x="524279" y="1465927"/>
                </a:cubicBezTo>
                <a:cubicBezTo>
                  <a:pt x="524279" y="1465927"/>
                  <a:pt x="530257" y="1471890"/>
                  <a:pt x="530257" y="1471890"/>
                </a:cubicBezTo>
                <a:cubicBezTo>
                  <a:pt x="536235" y="1465927"/>
                  <a:pt x="536235" y="1465927"/>
                  <a:pt x="536235" y="1465927"/>
                </a:cubicBezTo>
                <a:cubicBezTo>
                  <a:pt x="524279" y="1453998"/>
                  <a:pt x="554169" y="1459963"/>
                  <a:pt x="554169" y="1448034"/>
                </a:cubicBezTo>
                <a:cubicBezTo>
                  <a:pt x="572103" y="1448034"/>
                  <a:pt x="572103" y="1436107"/>
                  <a:pt x="590036" y="1424178"/>
                </a:cubicBezTo>
                <a:cubicBezTo>
                  <a:pt x="596015" y="1424178"/>
                  <a:pt x="596015" y="1430143"/>
                  <a:pt x="596015" y="1430143"/>
                </a:cubicBezTo>
                <a:cubicBezTo>
                  <a:pt x="613948" y="1418214"/>
                  <a:pt x="619927" y="1400322"/>
                  <a:pt x="649817" y="1400322"/>
                </a:cubicBezTo>
                <a:cubicBezTo>
                  <a:pt x="661773" y="1400322"/>
                  <a:pt x="643839" y="1388395"/>
                  <a:pt x="655795" y="1388395"/>
                </a:cubicBezTo>
                <a:cubicBezTo>
                  <a:pt x="655795" y="1400322"/>
                  <a:pt x="667751" y="1388395"/>
                  <a:pt x="667751" y="1382431"/>
                </a:cubicBezTo>
                <a:cubicBezTo>
                  <a:pt x="673730" y="1382431"/>
                  <a:pt x="667751" y="1388395"/>
                  <a:pt x="673730" y="1388395"/>
                </a:cubicBezTo>
                <a:cubicBezTo>
                  <a:pt x="679707" y="1388395"/>
                  <a:pt x="679707" y="1382431"/>
                  <a:pt x="679707" y="1376467"/>
                </a:cubicBezTo>
                <a:cubicBezTo>
                  <a:pt x="697642" y="1376467"/>
                  <a:pt x="691663" y="1370501"/>
                  <a:pt x="703618" y="1370501"/>
                </a:cubicBezTo>
                <a:cubicBezTo>
                  <a:pt x="703618" y="1370501"/>
                  <a:pt x="703618" y="1364538"/>
                  <a:pt x="703618" y="1364538"/>
                </a:cubicBezTo>
                <a:cubicBezTo>
                  <a:pt x="709596" y="1358574"/>
                  <a:pt x="709596" y="1364538"/>
                  <a:pt x="715575" y="1358574"/>
                </a:cubicBezTo>
                <a:cubicBezTo>
                  <a:pt x="721552" y="1364538"/>
                  <a:pt x="721552" y="1370501"/>
                  <a:pt x="721552" y="1370501"/>
                </a:cubicBezTo>
                <a:cubicBezTo>
                  <a:pt x="721552" y="1358574"/>
                  <a:pt x="727530" y="1358574"/>
                  <a:pt x="733508" y="1346647"/>
                </a:cubicBezTo>
                <a:cubicBezTo>
                  <a:pt x="739486" y="1346647"/>
                  <a:pt x="745465" y="1346647"/>
                  <a:pt x="751443" y="1346647"/>
                </a:cubicBezTo>
                <a:cubicBezTo>
                  <a:pt x="757421" y="1334718"/>
                  <a:pt x="769377" y="1334718"/>
                  <a:pt x="775355" y="1322791"/>
                </a:cubicBezTo>
                <a:cubicBezTo>
                  <a:pt x="775355" y="1322791"/>
                  <a:pt x="775355" y="1322791"/>
                  <a:pt x="781333" y="1328755"/>
                </a:cubicBezTo>
                <a:cubicBezTo>
                  <a:pt x="781333" y="1328755"/>
                  <a:pt x="787311" y="1328755"/>
                  <a:pt x="787311" y="1322791"/>
                </a:cubicBezTo>
                <a:cubicBezTo>
                  <a:pt x="793290" y="1310862"/>
                  <a:pt x="817202" y="1298934"/>
                  <a:pt x="835135" y="1298934"/>
                </a:cubicBezTo>
                <a:cubicBezTo>
                  <a:pt x="847090" y="1292971"/>
                  <a:pt x="853068" y="1281042"/>
                  <a:pt x="865025" y="1292971"/>
                </a:cubicBezTo>
                <a:cubicBezTo>
                  <a:pt x="871003" y="1287005"/>
                  <a:pt x="865025" y="1281042"/>
                  <a:pt x="871003" y="1281042"/>
                </a:cubicBezTo>
                <a:cubicBezTo>
                  <a:pt x="871003" y="1281042"/>
                  <a:pt x="865025" y="1275078"/>
                  <a:pt x="865025" y="1281042"/>
                </a:cubicBezTo>
                <a:cubicBezTo>
                  <a:pt x="865025" y="1269115"/>
                  <a:pt x="871003" y="1275078"/>
                  <a:pt x="876981" y="1269115"/>
                </a:cubicBezTo>
                <a:cubicBezTo>
                  <a:pt x="876981" y="1275078"/>
                  <a:pt x="882959" y="1275078"/>
                  <a:pt x="882959" y="1275078"/>
                </a:cubicBezTo>
                <a:cubicBezTo>
                  <a:pt x="888937" y="1275078"/>
                  <a:pt x="894915" y="1269115"/>
                  <a:pt x="888937" y="1263151"/>
                </a:cubicBezTo>
                <a:cubicBezTo>
                  <a:pt x="906871" y="1263151"/>
                  <a:pt x="924805" y="1245258"/>
                  <a:pt x="936762" y="1239294"/>
                </a:cubicBezTo>
                <a:cubicBezTo>
                  <a:pt x="948718" y="1245258"/>
                  <a:pt x="960674" y="1227365"/>
                  <a:pt x="960674" y="1221402"/>
                </a:cubicBezTo>
                <a:cubicBezTo>
                  <a:pt x="966650" y="1221402"/>
                  <a:pt x="960674" y="1233329"/>
                  <a:pt x="972628" y="1233329"/>
                </a:cubicBezTo>
                <a:cubicBezTo>
                  <a:pt x="972628" y="1233329"/>
                  <a:pt x="972628" y="1227365"/>
                  <a:pt x="972628" y="1221402"/>
                </a:cubicBezTo>
                <a:cubicBezTo>
                  <a:pt x="1008497" y="1209475"/>
                  <a:pt x="1038387" y="1179655"/>
                  <a:pt x="1068278" y="1173689"/>
                </a:cubicBezTo>
                <a:cubicBezTo>
                  <a:pt x="1074256" y="1167725"/>
                  <a:pt x="1086212" y="1167725"/>
                  <a:pt x="1092190" y="1173689"/>
                </a:cubicBezTo>
                <a:cubicBezTo>
                  <a:pt x="1098166" y="1173689"/>
                  <a:pt x="1092190" y="1161762"/>
                  <a:pt x="1098166" y="1155798"/>
                </a:cubicBezTo>
                <a:cubicBezTo>
                  <a:pt x="1116101" y="1149833"/>
                  <a:pt x="1151970" y="1131942"/>
                  <a:pt x="1169903" y="1114049"/>
                </a:cubicBezTo>
                <a:cubicBezTo>
                  <a:pt x="1175882" y="1125978"/>
                  <a:pt x="1163925" y="1120013"/>
                  <a:pt x="1169903" y="1131942"/>
                </a:cubicBezTo>
                <a:cubicBezTo>
                  <a:pt x="1181860" y="1137906"/>
                  <a:pt x="1187838" y="1108085"/>
                  <a:pt x="1199794" y="1120013"/>
                </a:cubicBezTo>
                <a:cubicBezTo>
                  <a:pt x="1199794" y="1114049"/>
                  <a:pt x="1199794" y="1108085"/>
                  <a:pt x="1193816" y="1108085"/>
                </a:cubicBezTo>
                <a:cubicBezTo>
                  <a:pt x="1199794" y="1096158"/>
                  <a:pt x="1217728" y="1120013"/>
                  <a:pt x="1211750" y="1096158"/>
                </a:cubicBezTo>
                <a:cubicBezTo>
                  <a:pt x="1229683" y="1084229"/>
                  <a:pt x="1241639" y="1096158"/>
                  <a:pt x="1259573" y="1090193"/>
                </a:cubicBezTo>
                <a:cubicBezTo>
                  <a:pt x="1277507" y="1078266"/>
                  <a:pt x="1289463" y="1042482"/>
                  <a:pt x="1319354" y="1054409"/>
                </a:cubicBezTo>
                <a:cubicBezTo>
                  <a:pt x="1325332" y="1036516"/>
                  <a:pt x="1349245" y="1042482"/>
                  <a:pt x="1355221" y="1030553"/>
                </a:cubicBezTo>
                <a:cubicBezTo>
                  <a:pt x="1361198" y="1030553"/>
                  <a:pt x="1367177" y="1042482"/>
                  <a:pt x="1367177" y="1042482"/>
                </a:cubicBezTo>
                <a:cubicBezTo>
                  <a:pt x="1385111" y="1030553"/>
                  <a:pt x="1385111" y="1036516"/>
                  <a:pt x="1397067" y="1024589"/>
                </a:cubicBezTo>
                <a:cubicBezTo>
                  <a:pt x="1391090" y="1018626"/>
                  <a:pt x="1391090" y="1024589"/>
                  <a:pt x="1379133" y="1030553"/>
                </a:cubicBezTo>
                <a:cubicBezTo>
                  <a:pt x="1373155" y="1024589"/>
                  <a:pt x="1373155" y="1024589"/>
                  <a:pt x="1373155" y="1018626"/>
                </a:cubicBezTo>
                <a:cubicBezTo>
                  <a:pt x="1379133" y="1012662"/>
                  <a:pt x="1403045" y="1018626"/>
                  <a:pt x="1409023" y="1000733"/>
                </a:cubicBezTo>
                <a:cubicBezTo>
                  <a:pt x="1403045" y="1000733"/>
                  <a:pt x="1403045" y="1000733"/>
                  <a:pt x="1397067" y="1000733"/>
                </a:cubicBezTo>
                <a:cubicBezTo>
                  <a:pt x="1432936" y="988806"/>
                  <a:pt x="1486737" y="953021"/>
                  <a:pt x="1528583" y="947057"/>
                </a:cubicBezTo>
                <a:cubicBezTo>
                  <a:pt x="1534561" y="947057"/>
                  <a:pt x="1528583" y="958986"/>
                  <a:pt x="1540540" y="953021"/>
                </a:cubicBezTo>
                <a:cubicBezTo>
                  <a:pt x="1546518" y="958986"/>
                  <a:pt x="1522605" y="964949"/>
                  <a:pt x="1516627" y="964949"/>
                </a:cubicBezTo>
                <a:cubicBezTo>
                  <a:pt x="1522605" y="976877"/>
                  <a:pt x="1522605" y="976877"/>
                  <a:pt x="1534561" y="976877"/>
                </a:cubicBezTo>
                <a:cubicBezTo>
                  <a:pt x="1522605" y="982842"/>
                  <a:pt x="1528583" y="982842"/>
                  <a:pt x="1522605" y="988806"/>
                </a:cubicBezTo>
                <a:cubicBezTo>
                  <a:pt x="1522605" y="988806"/>
                  <a:pt x="1522605" y="982842"/>
                  <a:pt x="1516627" y="982842"/>
                </a:cubicBezTo>
                <a:cubicBezTo>
                  <a:pt x="1510649" y="982842"/>
                  <a:pt x="1504671" y="988806"/>
                  <a:pt x="1498693" y="994769"/>
                </a:cubicBezTo>
                <a:cubicBezTo>
                  <a:pt x="1498693" y="988806"/>
                  <a:pt x="1492715" y="988806"/>
                  <a:pt x="1492715" y="982842"/>
                </a:cubicBezTo>
                <a:lnTo>
                  <a:pt x="1488530" y="983439"/>
                </a:lnTo>
                <a:lnTo>
                  <a:pt x="1490473" y="977623"/>
                </a:lnTo>
                <a:cubicBezTo>
                  <a:pt x="1492715" y="975386"/>
                  <a:pt x="1495704" y="973895"/>
                  <a:pt x="1498693" y="970913"/>
                </a:cubicBezTo>
                <a:cubicBezTo>
                  <a:pt x="1474782" y="958986"/>
                  <a:pt x="1450870" y="994769"/>
                  <a:pt x="1426958" y="1006697"/>
                </a:cubicBezTo>
                <a:cubicBezTo>
                  <a:pt x="1438914" y="1006697"/>
                  <a:pt x="1456848" y="1000733"/>
                  <a:pt x="1456848" y="988806"/>
                </a:cubicBezTo>
                <a:cubicBezTo>
                  <a:pt x="1462826" y="988806"/>
                  <a:pt x="1468805" y="988806"/>
                  <a:pt x="1480760" y="982842"/>
                </a:cubicBezTo>
                <a:cubicBezTo>
                  <a:pt x="1474782" y="994769"/>
                  <a:pt x="1480760" y="1006697"/>
                  <a:pt x="1462826" y="1012662"/>
                </a:cubicBezTo>
                <a:cubicBezTo>
                  <a:pt x="1462826" y="1006697"/>
                  <a:pt x="1462826" y="1006697"/>
                  <a:pt x="1456848" y="1006697"/>
                </a:cubicBezTo>
                <a:cubicBezTo>
                  <a:pt x="1438914" y="1012662"/>
                  <a:pt x="1420980" y="1018626"/>
                  <a:pt x="1415001" y="1036516"/>
                </a:cubicBezTo>
                <a:cubicBezTo>
                  <a:pt x="1403045" y="1024589"/>
                  <a:pt x="1361198" y="1060373"/>
                  <a:pt x="1337288" y="1066337"/>
                </a:cubicBezTo>
                <a:cubicBezTo>
                  <a:pt x="1331310" y="1066337"/>
                  <a:pt x="1331310" y="1072302"/>
                  <a:pt x="1331310" y="1078266"/>
                </a:cubicBezTo>
                <a:cubicBezTo>
                  <a:pt x="1319354" y="1072302"/>
                  <a:pt x="1307398" y="1102122"/>
                  <a:pt x="1283485" y="1096158"/>
                </a:cubicBezTo>
                <a:lnTo>
                  <a:pt x="1289323" y="1101981"/>
                </a:lnTo>
                <a:lnTo>
                  <a:pt x="1289330" y="1101979"/>
                </a:lnTo>
                <a:lnTo>
                  <a:pt x="1289326" y="1101985"/>
                </a:lnTo>
                <a:lnTo>
                  <a:pt x="1295441" y="1108085"/>
                </a:lnTo>
                <a:cubicBezTo>
                  <a:pt x="1295441" y="1108085"/>
                  <a:pt x="1289463" y="1108085"/>
                  <a:pt x="1295441" y="1114049"/>
                </a:cubicBezTo>
                <a:cubicBezTo>
                  <a:pt x="1277507" y="1114049"/>
                  <a:pt x="1259573" y="1120013"/>
                  <a:pt x="1253595" y="1137906"/>
                </a:cubicBezTo>
                <a:cubicBezTo>
                  <a:pt x="1247617" y="1131942"/>
                  <a:pt x="1241639" y="1149833"/>
                  <a:pt x="1229683" y="1149833"/>
                </a:cubicBezTo>
                <a:cubicBezTo>
                  <a:pt x="1235661" y="1143869"/>
                  <a:pt x="1229683" y="1143869"/>
                  <a:pt x="1223705" y="1149833"/>
                </a:cubicBezTo>
                <a:cubicBezTo>
                  <a:pt x="1217728" y="1131942"/>
                  <a:pt x="1229683" y="1137906"/>
                  <a:pt x="1241639" y="1131942"/>
                </a:cubicBezTo>
                <a:cubicBezTo>
                  <a:pt x="1247617" y="1131942"/>
                  <a:pt x="1247617" y="1125978"/>
                  <a:pt x="1247617" y="1125978"/>
                </a:cubicBezTo>
                <a:cubicBezTo>
                  <a:pt x="1229683" y="1120013"/>
                  <a:pt x="1217728" y="1137906"/>
                  <a:pt x="1193816" y="1143869"/>
                </a:cubicBezTo>
                <a:cubicBezTo>
                  <a:pt x="1199794" y="1155798"/>
                  <a:pt x="1205772" y="1155798"/>
                  <a:pt x="1199794" y="1167725"/>
                </a:cubicBezTo>
                <a:cubicBezTo>
                  <a:pt x="1205772" y="1173689"/>
                  <a:pt x="1211750" y="1167725"/>
                  <a:pt x="1217728" y="1167725"/>
                </a:cubicBezTo>
                <a:cubicBezTo>
                  <a:pt x="1199794" y="1179655"/>
                  <a:pt x="1223705" y="1179655"/>
                  <a:pt x="1235661" y="1167725"/>
                </a:cubicBezTo>
                <a:cubicBezTo>
                  <a:pt x="1217728" y="1155798"/>
                  <a:pt x="1283485" y="1125978"/>
                  <a:pt x="1307398" y="1120013"/>
                </a:cubicBezTo>
                <a:cubicBezTo>
                  <a:pt x="1301420" y="1131942"/>
                  <a:pt x="1277507" y="1125978"/>
                  <a:pt x="1283485" y="1143869"/>
                </a:cubicBezTo>
                <a:cubicBezTo>
                  <a:pt x="1289463" y="1137906"/>
                  <a:pt x="1295441" y="1131942"/>
                  <a:pt x="1307398" y="1131942"/>
                </a:cubicBezTo>
                <a:cubicBezTo>
                  <a:pt x="1307398" y="1137906"/>
                  <a:pt x="1295441" y="1137906"/>
                  <a:pt x="1301420" y="1143869"/>
                </a:cubicBezTo>
                <a:cubicBezTo>
                  <a:pt x="1307398" y="1143869"/>
                  <a:pt x="1343266" y="1120013"/>
                  <a:pt x="1337288" y="1131942"/>
                </a:cubicBezTo>
                <a:cubicBezTo>
                  <a:pt x="1331310" y="1137906"/>
                  <a:pt x="1331310" y="1137906"/>
                  <a:pt x="1319354" y="1143869"/>
                </a:cubicBezTo>
                <a:cubicBezTo>
                  <a:pt x="1319354" y="1143869"/>
                  <a:pt x="1325332" y="1143869"/>
                  <a:pt x="1325332" y="1143869"/>
                </a:cubicBezTo>
                <a:cubicBezTo>
                  <a:pt x="1313376" y="1161762"/>
                  <a:pt x="1277507" y="1167725"/>
                  <a:pt x="1253595" y="1179655"/>
                </a:cubicBezTo>
                <a:cubicBezTo>
                  <a:pt x="1253595" y="1173689"/>
                  <a:pt x="1259573" y="1173689"/>
                  <a:pt x="1265551" y="1167725"/>
                </a:cubicBezTo>
                <a:cubicBezTo>
                  <a:pt x="1259573" y="1161762"/>
                  <a:pt x="1253595" y="1167725"/>
                  <a:pt x="1247617" y="1167725"/>
                </a:cubicBezTo>
                <a:cubicBezTo>
                  <a:pt x="1247617" y="1161762"/>
                  <a:pt x="1253595" y="1161762"/>
                  <a:pt x="1259573" y="1155798"/>
                </a:cubicBezTo>
                <a:cubicBezTo>
                  <a:pt x="1253595" y="1149833"/>
                  <a:pt x="1229683" y="1167725"/>
                  <a:pt x="1241639" y="1167725"/>
                </a:cubicBezTo>
                <a:cubicBezTo>
                  <a:pt x="1235661" y="1179655"/>
                  <a:pt x="1223705" y="1179655"/>
                  <a:pt x="1217728" y="1191582"/>
                </a:cubicBezTo>
                <a:cubicBezTo>
                  <a:pt x="1217728" y="1197546"/>
                  <a:pt x="1223705" y="1191582"/>
                  <a:pt x="1229683" y="1191582"/>
                </a:cubicBezTo>
                <a:cubicBezTo>
                  <a:pt x="1217728" y="1209475"/>
                  <a:pt x="1187838" y="1221402"/>
                  <a:pt x="1157947" y="1233329"/>
                </a:cubicBezTo>
                <a:cubicBezTo>
                  <a:pt x="1157947" y="1239294"/>
                  <a:pt x="1157947" y="1239294"/>
                  <a:pt x="1157947" y="1245258"/>
                </a:cubicBezTo>
                <a:cubicBezTo>
                  <a:pt x="1169903" y="1245258"/>
                  <a:pt x="1169903" y="1239294"/>
                  <a:pt x="1175882" y="1233329"/>
                </a:cubicBezTo>
                <a:cubicBezTo>
                  <a:pt x="1175882" y="1239294"/>
                  <a:pt x="1181860" y="1245258"/>
                  <a:pt x="1175882" y="1245258"/>
                </a:cubicBezTo>
                <a:cubicBezTo>
                  <a:pt x="1181860" y="1251222"/>
                  <a:pt x="1181860" y="1251222"/>
                  <a:pt x="1187838" y="1251222"/>
                </a:cubicBezTo>
                <a:cubicBezTo>
                  <a:pt x="1193816" y="1245258"/>
                  <a:pt x="1181860" y="1239294"/>
                  <a:pt x="1181860" y="1233329"/>
                </a:cubicBezTo>
                <a:cubicBezTo>
                  <a:pt x="1199794" y="1227365"/>
                  <a:pt x="1217728" y="1215438"/>
                  <a:pt x="1229683" y="1209475"/>
                </a:cubicBezTo>
                <a:cubicBezTo>
                  <a:pt x="1223705" y="1227365"/>
                  <a:pt x="1247617" y="1209475"/>
                  <a:pt x="1259573" y="1215438"/>
                </a:cubicBezTo>
                <a:cubicBezTo>
                  <a:pt x="1265551" y="1209475"/>
                  <a:pt x="1253595" y="1203509"/>
                  <a:pt x="1253595" y="1197546"/>
                </a:cubicBezTo>
                <a:cubicBezTo>
                  <a:pt x="1283485" y="1191582"/>
                  <a:pt x="1307398" y="1155798"/>
                  <a:pt x="1349245" y="1149833"/>
                </a:cubicBezTo>
                <a:cubicBezTo>
                  <a:pt x="1361198" y="1137906"/>
                  <a:pt x="1391090" y="1114049"/>
                  <a:pt x="1415001" y="1120013"/>
                </a:cubicBezTo>
                <a:cubicBezTo>
                  <a:pt x="1403045" y="1120013"/>
                  <a:pt x="1397067" y="1125978"/>
                  <a:pt x="1397067" y="1131942"/>
                </a:cubicBezTo>
                <a:cubicBezTo>
                  <a:pt x="1420980" y="1131942"/>
                  <a:pt x="1415001" y="1108085"/>
                  <a:pt x="1438914" y="1102122"/>
                </a:cubicBezTo>
                <a:cubicBezTo>
                  <a:pt x="1438914" y="1102122"/>
                  <a:pt x="1438914" y="1108085"/>
                  <a:pt x="1432936" y="1108085"/>
                </a:cubicBezTo>
                <a:cubicBezTo>
                  <a:pt x="1450870" y="1108085"/>
                  <a:pt x="1474782" y="1102122"/>
                  <a:pt x="1492715" y="1084229"/>
                </a:cubicBezTo>
                <a:cubicBezTo>
                  <a:pt x="1498693" y="1108085"/>
                  <a:pt x="1444892" y="1102122"/>
                  <a:pt x="1432936" y="1125978"/>
                </a:cubicBezTo>
                <a:cubicBezTo>
                  <a:pt x="1468805" y="1114049"/>
                  <a:pt x="1500188" y="1097648"/>
                  <a:pt x="1532320" y="1080502"/>
                </a:cubicBezTo>
                <a:lnTo>
                  <a:pt x="1634435" y="1031397"/>
                </a:lnTo>
                <a:lnTo>
                  <a:pt x="1641419" y="1032789"/>
                </a:lnTo>
                <a:cubicBezTo>
                  <a:pt x="1645155" y="1032045"/>
                  <a:pt x="1648143" y="1030553"/>
                  <a:pt x="1648143" y="1030553"/>
                </a:cubicBezTo>
                <a:cubicBezTo>
                  <a:pt x="1648143" y="1018626"/>
                  <a:pt x="1642165" y="1024589"/>
                  <a:pt x="1642165" y="1024589"/>
                </a:cubicBezTo>
                <a:cubicBezTo>
                  <a:pt x="1666078" y="1006697"/>
                  <a:pt x="1684012" y="988806"/>
                  <a:pt x="1719881" y="976877"/>
                </a:cubicBezTo>
                <a:cubicBezTo>
                  <a:pt x="1719881" y="982842"/>
                  <a:pt x="1713903" y="982842"/>
                  <a:pt x="1719881" y="994769"/>
                </a:cubicBezTo>
                <a:cubicBezTo>
                  <a:pt x="1725858" y="988806"/>
                  <a:pt x="1731836" y="988806"/>
                  <a:pt x="1737815" y="988806"/>
                </a:cubicBezTo>
                <a:cubicBezTo>
                  <a:pt x="1731836" y="964949"/>
                  <a:pt x="1749769" y="970913"/>
                  <a:pt x="1767703" y="970913"/>
                </a:cubicBezTo>
                <a:cubicBezTo>
                  <a:pt x="1773681" y="970913"/>
                  <a:pt x="1767703" y="958986"/>
                  <a:pt x="1767703" y="958986"/>
                </a:cubicBezTo>
                <a:cubicBezTo>
                  <a:pt x="1779660" y="964949"/>
                  <a:pt x="1803572" y="929166"/>
                  <a:pt x="1821506" y="947057"/>
                </a:cubicBezTo>
                <a:cubicBezTo>
                  <a:pt x="1827484" y="947057"/>
                  <a:pt x="1827484" y="941093"/>
                  <a:pt x="1833463" y="941093"/>
                </a:cubicBezTo>
                <a:cubicBezTo>
                  <a:pt x="1833463" y="935130"/>
                  <a:pt x="1833463" y="935130"/>
                  <a:pt x="1827484" y="941093"/>
                </a:cubicBezTo>
                <a:cubicBezTo>
                  <a:pt x="1843177" y="904564"/>
                  <a:pt x="1886330" y="913696"/>
                  <a:pt x="1908887" y="892577"/>
                </a:cubicBezTo>
                <a:lnTo>
                  <a:pt x="1913355" y="886564"/>
                </a:lnTo>
                <a:lnTo>
                  <a:pt x="1927616" y="880987"/>
                </a:lnTo>
                <a:cubicBezTo>
                  <a:pt x="1946671" y="872880"/>
                  <a:pt x="1972451" y="860579"/>
                  <a:pt x="1994869" y="851633"/>
                </a:cubicBezTo>
                <a:cubicBezTo>
                  <a:pt x="1994869" y="857597"/>
                  <a:pt x="1994869" y="857597"/>
                  <a:pt x="1994869" y="857597"/>
                </a:cubicBezTo>
                <a:cubicBezTo>
                  <a:pt x="2018779" y="845669"/>
                  <a:pt x="2036714" y="833741"/>
                  <a:pt x="2054648" y="827777"/>
                </a:cubicBezTo>
                <a:cubicBezTo>
                  <a:pt x="2078560" y="821814"/>
                  <a:pt x="2096495" y="797957"/>
                  <a:pt x="2120407" y="791993"/>
                </a:cubicBezTo>
                <a:cubicBezTo>
                  <a:pt x="2120407" y="797957"/>
                  <a:pt x="2114429" y="797957"/>
                  <a:pt x="2114429" y="803921"/>
                </a:cubicBezTo>
                <a:cubicBezTo>
                  <a:pt x="2126385" y="803921"/>
                  <a:pt x="2144318" y="791993"/>
                  <a:pt x="2150296" y="786029"/>
                </a:cubicBezTo>
                <a:cubicBezTo>
                  <a:pt x="2144318" y="780064"/>
                  <a:pt x="2132363" y="797957"/>
                  <a:pt x="2126385" y="791993"/>
                </a:cubicBezTo>
                <a:cubicBezTo>
                  <a:pt x="2138339" y="774101"/>
                  <a:pt x="2162252" y="786029"/>
                  <a:pt x="2174208" y="774101"/>
                </a:cubicBezTo>
                <a:cubicBezTo>
                  <a:pt x="2180186" y="774101"/>
                  <a:pt x="2180186" y="780064"/>
                  <a:pt x="2186164" y="780064"/>
                </a:cubicBezTo>
                <a:cubicBezTo>
                  <a:pt x="2192142" y="774101"/>
                  <a:pt x="2192142" y="768137"/>
                  <a:pt x="2204098" y="768137"/>
                </a:cubicBezTo>
                <a:cubicBezTo>
                  <a:pt x="2192142" y="768137"/>
                  <a:pt x="2186164" y="768137"/>
                  <a:pt x="2174208" y="768137"/>
                </a:cubicBezTo>
                <a:cubicBezTo>
                  <a:pt x="2168230" y="756208"/>
                  <a:pt x="2198121" y="756208"/>
                  <a:pt x="2192142" y="744281"/>
                </a:cubicBezTo>
                <a:cubicBezTo>
                  <a:pt x="2186164" y="744281"/>
                  <a:pt x="2186164" y="756208"/>
                  <a:pt x="2180186" y="738317"/>
                </a:cubicBezTo>
                <a:cubicBezTo>
                  <a:pt x="2192142" y="744281"/>
                  <a:pt x="2198121" y="726388"/>
                  <a:pt x="2204098" y="714461"/>
                </a:cubicBezTo>
                <a:cubicBezTo>
                  <a:pt x="2198121" y="708497"/>
                  <a:pt x="2198121" y="726388"/>
                  <a:pt x="2192142" y="720424"/>
                </a:cubicBezTo>
                <a:cubicBezTo>
                  <a:pt x="2198121" y="714461"/>
                  <a:pt x="2192142" y="714461"/>
                  <a:pt x="2180186" y="720424"/>
                </a:cubicBezTo>
                <a:cubicBezTo>
                  <a:pt x="2180186" y="714461"/>
                  <a:pt x="2186164" y="708497"/>
                  <a:pt x="2186164" y="702534"/>
                </a:cubicBezTo>
                <a:cubicBezTo>
                  <a:pt x="2180186" y="702534"/>
                  <a:pt x="2174208" y="696568"/>
                  <a:pt x="2168230" y="696568"/>
                </a:cubicBezTo>
                <a:cubicBezTo>
                  <a:pt x="2174208" y="678677"/>
                  <a:pt x="2198121" y="684641"/>
                  <a:pt x="2210076" y="678677"/>
                </a:cubicBezTo>
                <a:cubicBezTo>
                  <a:pt x="2216055" y="678677"/>
                  <a:pt x="2210076" y="684641"/>
                  <a:pt x="2204098" y="684641"/>
                </a:cubicBezTo>
                <a:cubicBezTo>
                  <a:pt x="2216055" y="684641"/>
                  <a:pt x="2216055" y="690605"/>
                  <a:pt x="2210076" y="696568"/>
                </a:cubicBezTo>
                <a:cubicBezTo>
                  <a:pt x="2228011" y="696568"/>
                  <a:pt x="2222033" y="684641"/>
                  <a:pt x="2228011" y="678677"/>
                </a:cubicBezTo>
                <a:cubicBezTo>
                  <a:pt x="2233989" y="690605"/>
                  <a:pt x="2251923" y="678677"/>
                  <a:pt x="2257901" y="684641"/>
                </a:cubicBezTo>
                <a:cubicBezTo>
                  <a:pt x="2251923" y="696568"/>
                  <a:pt x="2239967" y="690605"/>
                  <a:pt x="2228011" y="702534"/>
                </a:cubicBezTo>
                <a:cubicBezTo>
                  <a:pt x="2233989" y="708497"/>
                  <a:pt x="2233989" y="702534"/>
                  <a:pt x="2245945" y="696568"/>
                </a:cubicBezTo>
                <a:cubicBezTo>
                  <a:pt x="2239967" y="708497"/>
                  <a:pt x="2222033" y="720424"/>
                  <a:pt x="2204098" y="732353"/>
                </a:cubicBezTo>
                <a:cubicBezTo>
                  <a:pt x="2216055" y="738317"/>
                  <a:pt x="2245945" y="744281"/>
                  <a:pt x="2239967" y="720424"/>
                </a:cubicBezTo>
                <a:cubicBezTo>
                  <a:pt x="2239967" y="720424"/>
                  <a:pt x="2239967" y="726388"/>
                  <a:pt x="2245945" y="726388"/>
                </a:cubicBezTo>
                <a:cubicBezTo>
                  <a:pt x="2245945" y="714461"/>
                  <a:pt x="2269856" y="720424"/>
                  <a:pt x="2269856" y="702534"/>
                </a:cubicBezTo>
                <a:cubicBezTo>
                  <a:pt x="2281812" y="708497"/>
                  <a:pt x="2281812" y="708497"/>
                  <a:pt x="2281812" y="720424"/>
                </a:cubicBezTo>
                <a:cubicBezTo>
                  <a:pt x="2317681" y="708497"/>
                  <a:pt x="2353549" y="696568"/>
                  <a:pt x="2383440" y="672712"/>
                </a:cubicBezTo>
                <a:cubicBezTo>
                  <a:pt x="2389418" y="684641"/>
                  <a:pt x="2389418" y="678677"/>
                  <a:pt x="2389418" y="684641"/>
                </a:cubicBezTo>
                <a:cubicBezTo>
                  <a:pt x="2401372" y="666748"/>
                  <a:pt x="2413328" y="654821"/>
                  <a:pt x="2431262" y="660784"/>
                </a:cubicBezTo>
                <a:cubicBezTo>
                  <a:pt x="2443218" y="648857"/>
                  <a:pt x="2473109" y="630965"/>
                  <a:pt x="2485065" y="636928"/>
                </a:cubicBezTo>
                <a:cubicBezTo>
                  <a:pt x="2491043" y="636928"/>
                  <a:pt x="2491043" y="630965"/>
                  <a:pt x="2491043" y="630965"/>
                </a:cubicBezTo>
                <a:cubicBezTo>
                  <a:pt x="2497021" y="625001"/>
                  <a:pt x="2497021" y="630965"/>
                  <a:pt x="2503000" y="630965"/>
                </a:cubicBezTo>
                <a:cubicBezTo>
                  <a:pt x="2514956" y="607108"/>
                  <a:pt x="2550824" y="601144"/>
                  <a:pt x="2574736" y="595181"/>
                </a:cubicBezTo>
                <a:cubicBezTo>
                  <a:pt x="2574736" y="595181"/>
                  <a:pt x="2574736" y="577288"/>
                  <a:pt x="2568758" y="583252"/>
                </a:cubicBezTo>
                <a:cubicBezTo>
                  <a:pt x="2568758" y="571325"/>
                  <a:pt x="2580713" y="595181"/>
                  <a:pt x="2580713" y="595181"/>
                </a:cubicBezTo>
                <a:cubicBezTo>
                  <a:pt x="2586691" y="589215"/>
                  <a:pt x="2592669" y="583252"/>
                  <a:pt x="2598647" y="583252"/>
                </a:cubicBezTo>
                <a:cubicBezTo>
                  <a:pt x="2604625" y="589215"/>
                  <a:pt x="2598647" y="595181"/>
                  <a:pt x="2598647" y="601144"/>
                </a:cubicBezTo>
                <a:cubicBezTo>
                  <a:pt x="2604625" y="595181"/>
                  <a:pt x="2598647" y="583252"/>
                  <a:pt x="2604625" y="577288"/>
                </a:cubicBezTo>
                <a:cubicBezTo>
                  <a:pt x="2610603" y="583252"/>
                  <a:pt x="2616581" y="607108"/>
                  <a:pt x="2622559" y="619037"/>
                </a:cubicBezTo>
                <a:cubicBezTo>
                  <a:pt x="2616581" y="613072"/>
                  <a:pt x="2610603" y="607108"/>
                  <a:pt x="2604625" y="619037"/>
                </a:cubicBezTo>
                <a:lnTo>
                  <a:pt x="2608813" y="620080"/>
                </a:lnTo>
                <a:lnTo>
                  <a:pt x="2609090" y="619864"/>
                </a:lnTo>
                <a:lnTo>
                  <a:pt x="2609500" y="620252"/>
                </a:lnTo>
                <a:lnTo>
                  <a:pt x="2628538" y="625001"/>
                </a:lnTo>
                <a:cubicBezTo>
                  <a:pt x="2628538" y="636928"/>
                  <a:pt x="2616581" y="630965"/>
                  <a:pt x="2616581" y="636928"/>
                </a:cubicBezTo>
                <a:cubicBezTo>
                  <a:pt x="2622559" y="642892"/>
                  <a:pt x="2628538" y="630965"/>
                  <a:pt x="2634516" y="630965"/>
                </a:cubicBezTo>
                <a:cubicBezTo>
                  <a:pt x="2628538" y="625001"/>
                  <a:pt x="2628538" y="625001"/>
                  <a:pt x="2628538" y="619037"/>
                </a:cubicBezTo>
                <a:cubicBezTo>
                  <a:pt x="2634516" y="619037"/>
                  <a:pt x="2652449" y="625001"/>
                  <a:pt x="2652449" y="607108"/>
                </a:cubicBezTo>
                <a:cubicBezTo>
                  <a:pt x="2664406" y="613072"/>
                  <a:pt x="2664406" y="613072"/>
                  <a:pt x="2676362" y="613072"/>
                </a:cubicBezTo>
                <a:cubicBezTo>
                  <a:pt x="2682340" y="619037"/>
                  <a:pt x="2670384" y="625001"/>
                  <a:pt x="2676362" y="625001"/>
                </a:cubicBezTo>
                <a:cubicBezTo>
                  <a:pt x="2676362" y="630965"/>
                  <a:pt x="2670384" y="625001"/>
                  <a:pt x="2664406" y="630965"/>
                </a:cubicBezTo>
                <a:cubicBezTo>
                  <a:pt x="2664406" y="625001"/>
                  <a:pt x="2664406" y="625001"/>
                  <a:pt x="2664406" y="619037"/>
                </a:cubicBezTo>
                <a:cubicBezTo>
                  <a:pt x="2664406" y="630965"/>
                  <a:pt x="2658428" y="630965"/>
                  <a:pt x="2658428" y="642892"/>
                </a:cubicBezTo>
                <a:cubicBezTo>
                  <a:pt x="2658428" y="636928"/>
                  <a:pt x="2646471" y="630965"/>
                  <a:pt x="2652449" y="636928"/>
                </a:cubicBezTo>
                <a:cubicBezTo>
                  <a:pt x="2652449" y="642892"/>
                  <a:pt x="2640494" y="642892"/>
                  <a:pt x="2640494" y="642892"/>
                </a:cubicBezTo>
                <a:cubicBezTo>
                  <a:pt x="2652449" y="648857"/>
                  <a:pt x="2640494" y="642892"/>
                  <a:pt x="2640494" y="654821"/>
                </a:cubicBezTo>
                <a:cubicBezTo>
                  <a:pt x="2640494" y="654821"/>
                  <a:pt x="2652449" y="642892"/>
                  <a:pt x="2652449" y="642892"/>
                </a:cubicBezTo>
                <a:cubicBezTo>
                  <a:pt x="2664406" y="648857"/>
                  <a:pt x="2640494" y="648857"/>
                  <a:pt x="2652449" y="660784"/>
                </a:cubicBezTo>
                <a:cubicBezTo>
                  <a:pt x="2652449" y="654821"/>
                  <a:pt x="2658428" y="654821"/>
                  <a:pt x="2664406" y="642892"/>
                </a:cubicBezTo>
                <a:cubicBezTo>
                  <a:pt x="2664406" y="648857"/>
                  <a:pt x="2694296" y="630965"/>
                  <a:pt x="2682340" y="613072"/>
                </a:cubicBezTo>
                <a:cubicBezTo>
                  <a:pt x="2700274" y="613072"/>
                  <a:pt x="2688318" y="601144"/>
                  <a:pt x="2694296" y="601144"/>
                </a:cubicBezTo>
                <a:cubicBezTo>
                  <a:pt x="2691307" y="595181"/>
                  <a:pt x="2691307" y="590707"/>
                  <a:pt x="2690559" y="585490"/>
                </a:cubicBezTo>
                <a:lnTo>
                  <a:pt x="2682664" y="566153"/>
                </a:lnTo>
                <a:lnTo>
                  <a:pt x="2683087" y="559396"/>
                </a:lnTo>
                <a:cubicBezTo>
                  <a:pt x="2689811" y="554923"/>
                  <a:pt x="2700274" y="550451"/>
                  <a:pt x="2706251" y="547468"/>
                </a:cubicBezTo>
                <a:cubicBezTo>
                  <a:pt x="2712229" y="553432"/>
                  <a:pt x="2706251" y="553432"/>
                  <a:pt x="2706251" y="559396"/>
                </a:cubicBezTo>
                <a:cubicBezTo>
                  <a:pt x="2718207" y="553432"/>
                  <a:pt x="2718207" y="547468"/>
                  <a:pt x="2718207" y="541504"/>
                </a:cubicBezTo>
                <a:cubicBezTo>
                  <a:pt x="2718207" y="529575"/>
                  <a:pt x="2706251" y="547468"/>
                  <a:pt x="2706251" y="535541"/>
                </a:cubicBezTo>
                <a:cubicBezTo>
                  <a:pt x="2718207" y="529575"/>
                  <a:pt x="2724185" y="529575"/>
                  <a:pt x="2742119" y="517648"/>
                </a:cubicBezTo>
                <a:cubicBezTo>
                  <a:pt x="2742119" y="523612"/>
                  <a:pt x="2742119" y="523612"/>
                  <a:pt x="2748098" y="529575"/>
                </a:cubicBezTo>
                <a:cubicBezTo>
                  <a:pt x="2754076" y="529575"/>
                  <a:pt x="2777988" y="517648"/>
                  <a:pt x="2801900" y="505719"/>
                </a:cubicBezTo>
                <a:cubicBezTo>
                  <a:pt x="2795922" y="499756"/>
                  <a:pt x="2789944" y="505719"/>
                  <a:pt x="2789944" y="499756"/>
                </a:cubicBezTo>
                <a:cubicBezTo>
                  <a:pt x="2795922" y="505719"/>
                  <a:pt x="2795922" y="481865"/>
                  <a:pt x="2795922" y="499756"/>
                </a:cubicBezTo>
                <a:cubicBezTo>
                  <a:pt x="2801900" y="493792"/>
                  <a:pt x="2801900" y="493792"/>
                  <a:pt x="2801900" y="487828"/>
                </a:cubicBezTo>
                <a:cubicBezTo>
                  <a:pt x="2825813" y="487828"/>
                  <a:pt x="2843745" y="469935"/>
                  <a:pt x="2855701" y="463972"/>
                </a:cubicBezTo>
                <a:cubicBezTo>
                  <a:pt x="2861679" y="481865"/>
                  <a:pt x="2849723" y="469935"/>
                  <a:pt x="2837767" y="481865"/>
                </a:cubicBezTo>
                <a:cubicBezTo>
                  <a:pt x="2843745" y="481865"/>
                  <a:pt x="2843745" y="487828"/>
                  <a:pt x="2849723" y="487828"/>
                </a:cubicBezTo>
                <a:cubicBezTo>
                  <a:pt x="2873636" y="475899"/>
                  <a:pt x="2903526" y="458008"/>
                  <a:pt x="2921460" y="458008"/>
                </a:cubicBezTo>
                <a:cubicBezTo>
                  <a:pt x="2927438" y="458008"/>
                  <a:pt x="2921460" y="458008"/>
                  <a:pt x="2921460" y="463972"/>
                </a:cubicBezTo>
                <a:cubicBezTo>
                  <a:pt x="2921460" y="463972"/>
                  <a:pt x="2921460" y="463972"/>
                  <a:pt x="2921460" y="469935"/>
                </a:cubicBezTo>
                <a:cubicBezTo>
                  <a:pt x="2909504" y="452045"/>
                  <a:pt x="2903526" y="487828"/>
                  <a:pt x="2897548" y="475899"/>
                </a:cubicBezTo>
                <a:cubicBezTo>
                  <a:pt x="2897548" y="481865"/>
                  <a:pt x="2867658" y="487828"/>
                  <a:pt x="2885591" y="487828"/>
                </a:cubicBezTo>
                <a:cubicBezTo>
                  <a:pt x="2885591" y="493792"/>
                  <a:pt x="2879613" y="493792"/>
                  <a:pt x="2873636" y="493792"/>
                </a:cubicBezTo>
                <a:cubicBezTo>
                  <a:pt x="2873636" y="493792"/>
                  <a:pt x="2867658" y="487828"/>
                  <a:pt x="2867658" y="481865"/>
                </a:cubicBezTo>
                <a:cubicBezTo>
                  <a:pt x="2867658" y="487828"/>
                  <a:pt x="2861679" y="499756"/>
                  <a:pt x="2867658" y="499756"/>
                </a:cubicBezTo>
                <a:cubicBezTo>
                  <a:pt x="2873636" y="505719"/>
                  <a:pt x="2867658" y="505719"/>
                  <a:pt x="2867658" y="505719"/>
                </a:cubicBezTo>
                <a:cubicBezTo>
                  <a:pt x="2861679" y="505719"/>
                  <a:pt x="2861679" y="505719"/>
                  <a:pt x="2861679" y="505719"/>
                </a:cubicBezTo>
                <a:cubicBezTo>
                  <a:pt x="2861679" y="499756"/>
                  <a:pt x="2861679" y="499756"/>
                  <a:pt x="2861679" y="493792"/>
                </a:cubicBezTo>
                <a:cubicBezTo>
                  <a:pt x="2849723" y="493792"/>
                  <a:pt x="2855701" y="499756"/>
                  <a:pt x="2855701" y="511685"/>
                </a:cubicBezTo>
                <a:cubicBezTo>
                  <a:pt x="2849723" y="511685"/>
                  <a:pt x="2849723" y="505719"/>
                  <a:pt x="2849723" y="499756"/>
                </a:cubicBezTo>
                <a:cubicBezTo>
                  <a:pt x="2843745" y="511685"/>
                  <a:pt x="2849723" y="517648"/>
                  <a:pt x="2849723" y="523612"/>
                </a:cubicBezTo>
                <a:cubicBezTo>
                  <a:pt x="2867658" y="499756"/>
                  <a:pt x="2897548" y="505719"/>
                  <a:pt x="2903526" y="487828"/>
                </a:cubicBezTo>
                <a:cubicBezTo>
                  <a:pt x="2915482" y="487828"/>
                  <a:pt x="2927438" y="475899"/>
                  <a:pt x="2939394" y="475899"/>
                </a:cubicBezTo>
                <a:cubicBezTo>
                  <a:pt x="2927438" y="475899"/>
                  <a:pt x="2945373" y="469935"/>
                  <a:pt x="2939394" y="463972"/>
                </a:cubicBezTo>
                <a:cubicBezTo>
                  <a:pt x="2936405" y="460989"/>
                  <a:pt x="2939394" y="462481"/>
                  <a:pt x="2942382" y="463227"/>
                </a:cubicBezTo>
                <a:lnTo>
                  <a:pt x="2944712" y="459160"/>
                </a:lnTo>
                <a:lnTo>
                  <a:pt x="2938856" y="459160"/>
                </a:lnTo>
                <a:cubicBezTo>
                  <a:pt x="2938856" y="453420"/>
                  <a:pt x="2938856" y="453420"/>
                  <a:pt x="2938856" y="453420"/>
                </a:cubicBezTo>
                <a:cubicBezTo>
                  <a:pt x="2932541" y="447681"/>
                  <a:pt x="2919914" y="447681"/>
                  <a:pt x="2913600" y="441942"/>
                </a:cubicBezTo>
                <a:cubicBezTo>
                  <a:pt x="2932541" y="441942"/>
                  <a:pt x="2926227" y="430462"/>
                  <a:pt x="2945168" y="430462"/>
                </a:cubicBezTo>
                <a:cubicBezTo>
                  <a:pt x="2945168" y="430462"/>
                  <a:pt x="2945168" y="436202"/>
                  <a:pt x="2945168" y="436202"/>
                </a:cubicBezTo>
                <a:cubicBezTo>
                  <a:pt x="2945168" y="441942"/>
                  <a:pt x="2938856" y="436202"/>
                  <a:pt x="2932541" y="441942"/>
                </a:cubicBezTo>
                <a:cubicBezTo>
                  <a:pt x="2932541" y="447681"/>
                  <a:pt x="2938856" y="447681"/>
                  <a:pt x="2945168" y="447681"/>
                </a:cubicBezTo>
                <a:lnTo>
                  <a:pt x="2945168" y="458363"/>
                </a:lnTo>
                <a:lnTo>
                  <a:pt x="2945373" y="458008"/>
                </a:lnTo>
                <a:cubicBezTo>
                  <a:pt x="2957329" y="463972"/>
                  <a:pt x="2945373" y="463972"/>
                  <a:pt x="2945373" y="469935"/>
                </a:cubicBezTo>
                <a:cubicBezTo>
                  <a:pt x="2951351" y="475899"/>
                  <a:pt x="2969283" y="469935"/>
                  <a:pt x="2963307" y="458008"/>
                </a:cubicBezTo>
                <a:cubicBezTo>
                  <a:pt x="2975261" y="458008"/>
                  <a:pt x="2975261" y="463972"/>
                  <a:pt x="2969283" y="469935"/>
                </a:cubicBezTo>
                <a:cubicBezTo>
                  <a:pt x="3011129" y="458008"/>
                  <a:pt x="3064932" y="422223"/>
                  <a:pt x="3106778" y="410296"/>
                </a:cubicBezTo>
                <a:lnTo>
                  <a:pt x="3106802" y="410676"/>
                </a:lnTo>
                <a:lnTo>
                  <a:pt x="3120939" y="402196"/>
                </a:lnTo>
                <a:cubicBezTo>
                  <a:pt x="3125961" y="400688"/>
                  <a:pt x="3131700" y="399182"/>
                  <a:pt x="3140309" y="393155"/>
                </a:cubicBezTo>
                <a:cubicBezTo>
                  <a:pt x="3140309" y="399182"/>
                  <a:pt x="3140309" y="399182"/>
                  <a:pt x="3140309" y="405209"/>
                </a:cubicBezTo>
                <a:cubicBezTo>
                  <a:pt x="3134569" y="405209"/>
                  <a:pt x="3134569" y="399182"/>
                  <a:pt x="3128829" y="405209"/>
                </a:cubicBezTo>
                <a:cubicBezTo>
                  <a:pt x="3128829" y="411234"/>
                  <a:pt x="3128829" y="411234"/>
                  <a:pt x="3134569" y="417261"/>
                </a:cubicBezTo>
                <a:cubicBezTo>
                  <a:pt x="3123090" y="417261"/>
                  <a:pt x="3128829" y="411234"/>
                  <a:pt x="3123090" y="405209"/>
                </a:cubicBezTo>
                <a:cubicBezTo>
                  <a:pt x="3123090" y="411234"/>
                  <a:pt x="3123090" y="411234"/>
                  <a:pt x="3117350" y="411234"/>
                </a:cubicBezTo>
                <a:lnTo>
                  <a:pt x="3116419" y="416773"/>
                </a:lnTo>
                <a:lnTo>
                  <a:pt x="3106875" y="411762"/>
                </a:lnTo>
                <a:lnTo>
                  <a:pt x="3107526" y="421478"/>
                </a:lnTo>
                <a:cubicBezTo>
                  <a:pt x="3108273" y="423714"/>
                  <a:pt x="3109767" y="425206"/>
                  <a:pt x="3112756" y="428189"/>
                </a:cubicBezTo>
                <a:cubicBezTo>
                  <a:pt x="3106778" y="428189"/>
                  <a:pt x="3100800" y="428189"/>
                  <a:pt x="3100800" y="416259"/>
                </a:cubicBezTo>
                <a:cubicBezTo>
                  <a:pt x="3094823" y="434152"/>
                  <a:pt x="3094823" y="428189"/>
                  <a:pt x="3094823" y="434152"/>
                </a:cubicBezTo>
                <a:cubicBezTo>
                  <a:pt x="3088845" y="428189"/>
                  <a:pt x="3088845" y="422223"/>
                  <a:pt x="3094823" y="422223"/>
                </a:cubicBezTo>
                <a:cubicBezTo>
                  <a:pt x="3088845" y="416259"/>
                  <a:pt x="3088845" y="434152"/>
                  <a:pt x="3082867" y="428189"/>
                </a:cubicBezTo>
                <a:cubicBezTo>
                  <a:pt x="3082867" y="434152"/>
                  <a:pt x="3082867" y="434152"/>
                  <a:pt x="3088845" y="428189"/>
                </a:cubicBezTo>
                <a:cubicBezTo>
                  <a:pt x="3082867" y="434152"/>
                  <a:pt x="3082867" y="440116"/>
                  <a:pt x="3070911" y="446080"/>
                </a:cubicBezTo>
                <a:cubicBezTo>
                  <a:pt x="3070911" y="440116"/>
                  <a:pt x="3076889" y="434152"/>
                  <a:pt x="3076889" y="434152"/>
                </a:cubicBezTo>
                <a:cubicBezTo>
                  <a:pt x="3076889" y="428189"/>
                  <a:pt x="3076889" y="434152"/>
                  <a:pt x="3070911" y="434152"/>
                </a:cubicBezTo>
                <a:cubicBezTo>
                  <a:pt x="3064932" y="434152"/>
                  <a:pt x="3064932" y="440116"/>
                  <a:pt x="3064932" y="446080"/>
                </a:cubicBezTo>
                <a:cubicBezTo>
                  <a:pt x="3058954" y="452045"/>
                  <a:pt x="3046998" y="446080"/>
                  <a:pt x="3046998" y="463972"/>
                </a:cubicBezTo>
                <a:cubicBezTo>
                  <a:pt x="3041020" y="463972"/>
                  <a:pt x="3046998" y="452045"/>
                  <a:pt x="3046998" y="446080"/>
                </a:cubicBezTo>
                <a:cubicBezTo>
                  <a:pt x="3052976" y="446080"/>
                  <a:pt x="3052976" y="446080"/>
                  <a:pt x="3064932" y="440116"/>
                </a:cubicBezTo>
                <a:cubicBezTo>
                  <a:pt x="3052976" y="434152"/>
                  <a:pt x="3029064" y="458008"/>
                  <a:pt x="3017107" y="458008"/>
                </a:cubicBezTo>
                <a:cubicBezTo>
                  <a:pt x="3017107" y="463972"/>
                  <a:pt x="3020098" y="465464"/>
                  <a:pt x="3023086" y="466208"/>
                </a:cubicBezTo>
                <a:lnTo>
                  <a:pt x="3027743" y="469111"/>
                </a:lnTo>
                <a:lnTo>
                  <a:pt x="3032627" y="462746"/>
                </a:lnTo>
                <a:cubicBezTo>
                  <a:pt x="3034532" y="461671"/>
                  <a:pt x="3036821" y="462029"/>
                  <a:pt x="3039868" y="464900"/>
                </a:cubicBezTo>
                <a:cubicBezTo>
                  <a:pt x="3033771" y="470639"/>
                  <a:pt x="3027672" y="476378"/>
                  <a:pt x="3027672" y="487857"/>
                </a:cubicBezTo>
                <a:cubicBezTo>
                  <a:pt x="3015475" y="493597"/>
                  <a:pt x="3009378" y="476378"/>
                  <a:pt x="3003279" y="493597"/>
                </a:cubicBezTo>
                <a:cubicBezTo>
                  <a:pt x="2997181" y="493597"/>
                  <a:pt x="3015475" y="476378"/>
                  <a:pt x="2997181" y="487857"/>
                </a:cubicBezTo>
                <a:cubicBezTo>
                  <a:pt x="2991083" y="476378"/>
                  <a:pt x="3009378" y="482118"/>
                  <a:pt x="3003279" y="476378"/>
                </a:cubicBezTo>
                <a:cubicBezTo>
                  <a:pt x="3009378" y="476378"/>
                  <a:pt x="3009378" y="482118"/>
                  <a:pt x="3015475" y="482118"/>
                </a:cubicBezTo>
                <a:lnTo>
                  <a:pt x="3025125" y="471901"/>
                </a:lnTo>
                <a:lnTo>
                  <a:pt x="3017107" y="475899"/>
                </a:lnTo>
                <a:cubicBezTo>
                  <a:pt x="3011129" y="475899"/>
                  <a:pt x="3023086" y="469935"/>
                  <a:pt x="3017107" y="463972"/>
                </a:cubicBezTo>
                <a:cubicBezTo>
                  <a:pt x="3005151" y="452045"/>
                  <a:pt x="2999173" y="475899"/>
                  <a:pt x="2987218" y="469935"/>
                </a:cubicBezTo>
                <a:cubicBezTo>
                  <a:pt x="2981239" y="475899"/>
                  <a:pt x="2993196" y="475899"/>
                  <a:pt x="2993196" y="481865"/>
                </a:cubicBezTo>
                <a:cubicBezTo>
                  <a:pt x="2987218" y="481865"/>
                  <a:pt x="2981239" y="481865"/>
                  <a:pt x="2975261" y="475899"/>
                </a:cubicBezTo>
                <a:cubicBezTo>
                  <a:pt x="2972273" y="475899"/>
                  <a:pt x="2969283" y="475899"/>
                  <a:pt x="2967790" y="477391"/>
                </a:cubicBezTo>
                <a:lnTo>
                  <a:pt x="2969119" y="486677"/>
                </a:lnTo>
                <a:lnTo>
                  <a:pt x="2979603" y="482118"/>
                </a:lnTo>
                <a:cubicBezTo>
                  <a:pt x="2979603" y="499336"/>
                  <a:pt x="2962385" y="487857"/>
                  <a:pt x="2950906" y="499336"/>
                </a:cubicBezTo>
                <a:cubicBezTo>
                  <a:pt x="2950906" y="493597"/>
                  <a:pt x="2950906" y="493597"/>
                  <a:pt x="2950906" y="487857"/>
                </a:cubicBezTo>
                <a:cubicBezTo>
                  <a:pt x="2953776" y="490726"/>
                  <a:pt x="2958080" y="490726"/>
                  <a:pt x="2963102" y="489292"/>
                </a:cubicBezTo>
                <a:lnTo>
                  <a:pt x="2968378" y="486998"/>
                </a:lnTo>
                <a:lnTo>
                  <a:pt x="2960317" y="479627"/>
                </a:lnTo>
                <a:cubicBezTo>
                  <a:pt x="2957329" y="478882"/>
                  <a:pt x="2954339" y="478882"/>
                  <a:pt x="2951351" y="475899"/>
                </a:cubicBezTo>
                <a:cubicBezTo>
                  <a:pt x="2945373" y="481865"/>
                  <a:pt x="2951351" y="487828"/>
                  <a:pt x="2945373" y="487828"/>
                </a:cubicBezTo>
                <a:cubicBezTo>
                  <a:pt x="2951351" y="499756"/>
                  <a:pt x="2939394" y="493792"/>
                  <a:pt x="2939394" y="505719"/>
                </a:cubicBezTo>
                <a:cubicBezTo>
                  <a:pt x="2939394" y="511685"/>
                  <a:pt x="2945373" y="505719"/>
                  <a:pt x="2945373" y="505719"/>
                </a:cubicBezTo>
                <a:cubicBezTo>
                  <a:pt x="2951351" y="511685"/>
                  <a:pt x="2939394" y="511685"/>
                  <a:pt x="2945373" y="517648"/>
                </a:cubicBezTo>
                <a:cubicBezTo>
                  <a:pt x="2945373" y="517648"/>
                  <a:pt x="2951351" y="523612"/>
                  <a:pt x="2957329" y="517648"/>
                </a:cubicBezTo>
                <a:cubicBezTo>
                  <a:pt x="2951351" y="523612"/>
                  <a:pt x="2946867" y="526595"/>
                  <a:pt x="2941636" y="525104"/>
                </a:cubicBezTo>
                <a:lnTo>
                  <a:pt x="2928754" y="512730"/>
                </a:lnTo>
                <a:lnTo>
                  <a:pt x="2925797" y="512730"/>
                </a:lnTo>
                <a:lnTo>
                  <a:pt x="2926142" y="510218"/>
                </a:lnTo>
                <a:lnTo>
                  <a:pt x="2921460" y="505719"/>
                </a:lnTo>
                <a:cubicBezTo>
                  <a:pt x="2915482" y="511685"/>
                  <a:pt x="2915482" y="517648"/>
                  <a:pt x="2909504" y="523612"/>
                </a:cubicBezTo>
                <a:cubicBezTo>
                  <a:pt x="2915482" y="505719"/>
                  <a:pt x="2891569" y="535541"/>
                  <a:pt x="2873636" y="535541"/>
                </a:cubicBezTo>
                <a:cubicBezTo>
                  <a:pt x="2873636" y="541504"/>
                  <a:pt x="2885591" y="529575"/>
                  <a:pt x="2885591" y="541504"/>
                </a:cubicBezTo>
                <a:lnTo>
                  <a:pt x="2873636" y="541504"/>
                </a:lnTo>
                <a:lnTo>
                  <a:pt x="2861679" y="541504"/>
                </a:lnTo>
                <a:cubicBezTo>
                  <a:pt x="2855701" y="541504"/>
                  <a:pt x="2867658" y="541504"/>
                  <a:pt x="2867658" y="553432"/>
                </a:cubicBezTo>
                <a:cubicBezTo>
                  <a:pt x="2861679" y="559396"/>
                  <a:pt x="2873636" y="565361"/>
                  <a:pt x="2861679" y="571325"/>
                </a:cubicBezTo>
                <a:cubicBezTo>
                  <a:pt x="2861679" y="559396"/>
                  <a:pt x="2861679" y="553432"/>
                  <a:pt x="2855701" y="541504"/>
                </a:cubicBezTo>
                <a:cubicBezTo>
                  <a:pt x="2861679" y="547468"/>
                  <a:pt x="2855701" y="565361"/>
                  <a:pt x="2849723" y="547468"/>
                </a:cubicBezTo>
                <a:cubicBezTo>
                  <a:pt x="2843745" y="559396"/>
                  <a:pt x="2861679" y="559396"/>
                  <a:pt x="2861679" y="571325"/>
                </a:cubicBezTo>
                <a:lnTo>
                  <a:pt x="2852713" y="571325"/>
                </a:lnTo>
                <a:lnTo>
                  <a:pt x="2855701" y="565361"/>
                </a:lnTo>
                <a:cubicBezTo>
                  <a:pt x="2849723" y="565361"/>
                  <a:pt x="2849723" y="565361"/>
                  <a:pt x="2849723" y="559396"/>
                </a:cubicBezTo>
                <a:lnTo>
                  <a:pt x="2849723" y="571325"/>
                </a:lnTo>
                <a:lnTo>
                  <a:pt x="2852713" y="571325"/>
                </a:lnTo>
                <a:lnTo>
                  <a:pt x="2849723" y="577288"/>
                </a:lnTo>
                <a:cubicBezTo>
                  <a:pt x="2837767" y="577288"/>
                  <a:pt x="2843745" y="565361"/>
                  <a:pt x="2843745" y="559396"/>
                </a:cubicBezTo>
                <a:cubicBezTo>
                  <a:pt x="2831791" y="565361"/>
                  <a:pt x="2837767" y="565361"/>
                  <a:pt x="2843745" y="577288"/>
                </a:cubicBezTo>
                <a:cubicBezTo>
                  <a:pt x="2837767" y="571325"/>
                  <a:pt x="2831791" y="577288"/>
                  <a:pt x="2825813" y="565361"/>
                </a:cubicBezTo>
                <a:cubicBezTo>
                  <a:pt x="2819834" y="583252"/>
                  <a:pt x="2807878" y="565361"/>
                  <a:pt x="2807878" y="595181"/>
                </a:cubicBezTo>
                <a:cubicBezTo>
                  <a:pt x="2801900" y="595181"/>
                  <a:pt x="2807878" y="583252"/>
                  <a:pt x="2807878" y="577288"/>
                </a:cubicBezTo>
                <a:cubicBezTo>
                  <a:pt x="2801900" y="571325"/>
                  <a:pt x="2801900" y="589215"/>
                  <a:pt x="2795922" y="577288"/>
                </a:cubicBezTo>
                <a:cubicBezTo>
                  <a:pt x="2807878" y="595181"/>
                  <a:pt x="2783966" y="589215"/>
                  <a:pt x="2783966" y="601144"/>
                </a:cubicBezTo>
                <a:cubicBezTo>
                  <a:pt x="2777988" y="607108"/>
                  <a:pt x="2783966" y="589215"/>
                  <a:pt x="2783966" y="583252"/>
                </a:cubicBezTo>
                <a:cubicBezTo>
                  <a:pt x="2777988" y="589215"/>
                  <a:pt x="2777988" y="607108"/>
                  <a:pt x="2772009" y="589215"/>
                </a:cubicBezTo>
                <a:cubicBezTo>
                  <a:pt x="2760054" y="601144"/>
                  <a:pt x="2777988" y="595181"/>
                  <a:pt x="2772009" y="613072"/>
                </a:cubicBezTo>
                <a:cubicBezTo>
                  <a:pt x="2772009" y="607108"/>
                  <a:pt x="2766031" y="601144"/>
                  <a:pt x="2760054" y="601144"/>
                </a:cubicBezTo>
                <a:cubicBezTo>
                  <a:pt x="2754076" y="607108"/>
                  <a:pt x="2766031" y="601144"/>
                  <a:pt x="2766031" y="613072"/>
                </a:cubicBezTo>
                <a:cubicBezTo>
                  <a:pt x="2742119" y="625001"/>
                  <a:pt x="2706251" y="630965"/>
                  <a:pt x="2688318" y="648857"/>
                </a:cubicBezTo>
                <a:cubicBezTo>
                  <a:pt x="2688318" y="648857"/>
                  <a:pt x="2682340" y="625001"/>
                  <a:pt x="2694296" y="630965"/>
                </a:cubicBezTo>
                <a:cubicBezTo>
                  <a:pt x="2688318" y="619037"/>
                  <a:pt x="2688318" y="636928"/>
                  <a:pt x="2676362" y="642892"/>
                </a:cubicBezTo>
                <a:cubicBezTo>
                  <a:pt x="2676362" y="642892"/>
                  <a:pt x="2682340" y="642892"/>
                  <a:pt x="2682340" y="642892"/>
                </a:cubicBezTo>
                <a:cubicBezTo>
                  <a:pt x="2682340" y="654821"/>
                  <a:pt x="2652449" y="648857"/>
                  <a:pt x="2658428" y="666748"/>
                </a:cubicBezTo>
                <a:cubicBezTo>
                  <a:pt x="2652449" y="666748"/>
                  <a:pt x="2646471" y="660784"/>
                  <a:pt x="2646471" y="666748"/>
                </a:cubicBezTo>
                <a:cubicBezTo>
                  <a:pt x="2652449" y="654821"/>
                  <a:pt x="2616581" y="672712"/>
                  <a:pt x="2628538" y="672712"/>
                </a:cubicBezTo>
                <a:cubicBezTo>
                  <a:pt x="2616581" y="678677"/>
                  <a:pt x="2610603" y="672712"/>
                  <a:pt x="2604625" y="684641"/>
                </a:cubicBezTo>
                <a:cubicBezTo>
                  <a:pt x="2598647" y="684641"/>
                  <a:pt x="2592669" y="678677"/>
                  <a:pt x="2598647" y="672712"/>
                </a:cubicBezTo>
                <a:cubicBezTo>
                  <a:pt x="2598647" y="672712"/>
                  <a:pt x="2592669" y="666748"/>
                  <a:pt x="2586691" y="672712"/>
                </a:cubicBezTo>
                <a:cubicBezTo>
                  <a:pt x="2586691" y="678677"/>
                  <a:pt x="2592669" y="678677"/>
                  <a:pt x="2598647" y="672712"/>
                </a:cubicBezTo>
                <a:cubicBezTo>
                  <a:pt x="2592669" y="678677"/>
                  <a:pt x="2592669" y="690605"/>
                  <a:pt x="2586691" y="696568"/>
                </a:cubicBezTo>
                <a:cubicBezTo>
                  <a:pt x="2580713" y="696568"/>
                  <a:pt x="2580713" y="690605"/>
                  <a:pt x="2574736" y="690605"/>
                </a:cubicBezTo>
                <a:cubicBezTo>
                  <a:pt x="2574736" y="690605"/>
                  <a:pt x="2574736" y="696568"/>
                  <a:pt x="2574736" y="696568"/>
                </a:cubicBezTo>
                <a:cubicBezTo>
                  <a:pt x="2562780" y="690605"/>
                  <a:pt x="2574736" y="702534"/>
                  <a:pt x="2568758" y="702534"/>
                </a:cubicBezTo>
                <a:cubicBezTo>
                  <a:pt x="2562780" y="696568"/>
                  <a:pt x="2562780" y="702534"/>
                  <a:pt x="2562780" y="690605"/>
                </a:cubicBezTo>
                <a:cubicBezTo>
                  <a:pt x="2556802" y="690605"/>
                  <a:pt x="2562780" y="702534"/>
                  <a:pt x="2556802" y="702534"/>
                </a:cubicBezTo>
                <a:cubicBezTo>
                  <a:pt x="2556802" y="702534"/>
                  <a:pt x="2562780" y="702534"/>
                  <a:pt x="2562780" y="702534"/>
                </a:cubicBezTo>
                <a:cubicBezTo>
                  <a:pt x="2562780" y="708497"/>
                  <a:pt x="2550824" y="702534"/>
                  <a:pt x="2544846" y="708497"/>
                </a:cubicBezTo>
                <a:cubicBezTo>
                  <a:pt x="2544846" y="708497"/>
                  <a:pt x="2544846" y="708497"/>
                  <a:pt x="2550824" y="702534"/>
                </a:cubicBezTo>
                <a:cubicBezTo>
                  <a:pt x="2550824" y="702534"/>
                  <a:pt x="2544846" y="708497"/>
                  <a:pt x="2538868" y="702534"/>
                </a:cubicBezTo>
                <a:cubicBezTo>
                  <a:pt x="2538868" y="705514"/>
                  <a:pt x="2535878" y="708497"/>
                  <a:pt x="2534385" y="710733"/>
                </a:cubicBezTo>
                <a:lnTo>
                  <a:pt x="2534453" y="710791"/>
                </a:lnTo>
                <a:lnTo>
                  <a:pt x="2532889" y="713716"/>
                </a:lnTo>
                <a:cubicBezTo>
                  <a:pt x="2532889" y="717444"/>
                  <a:pt x="2532889" y="720424"/>
                  <a:pt x="2526911" y="720424"/>
                </a:cubicBezTo>
                <a:cubicBezTo>
                  <a:pt x="2520934" y="714461"/>
                  <a:pt x="2526911" y="714461"/>
                  <a:pt x="2526911" y="708497"/>
                </a:cubicBezTo>
                <a:cubicBezTo>
                  <a:pt x="2520934" y="708497"/>
                  <a:pt x="2520934" y="708497"/>
                  <a:pt x="2514956" y="714461"/>
                </a:cubicBezTo>
                <a:cubicBezTo>
                  <a:pt x="2520934" y="714461"/>
                  <a:pt x="2520934" y="714461"/>
                  <a:pt x="2520934" y="720424"/>
                </a:cubicBezTo>
                <a:cubicBezTo>
                  <a:pt x="2514956" y="714461"/>
                  <a:pt x="2514956" y="714461"/>
                  <a:pt x="2503000" y="720424"/>
                </a:cubicBezTo>
                <a:cubicBezTo>
                  <a:pt x="2497021" y="726388"/>
                  <a:pt x="2508978" y="720424"/>
                  <a:pt x="2508978" y="726388"/>
                </a:cubicBezTo>
                <a:cubicBezTo>
                  <a:pt x="2503000" y="726388"/>
                  <a:pt x="2479087" y="732353"/>
                  <a:pt x="2485065" y="744281"/>
                </a:cubicBezTo>
                <a:cubicBezTo>
                  <a:pt x="2479087" y="738317"/>
                  <a:pt x="2449196" y="744281"/>
                  <a:pt x="2449196" y="756208"/>
                </a:cubicBezTo>
                <a:cubicBezTo>
                  <a:pt x="2443218" y="750244"/>
                  <a:pt x="2443218" y="768137"/>
                  <a:pt x="2437241" y="756208"/>
                </a:cubicBezTo>
                <a:cubicBezTo>
                  <a:pt x="2431262" y="756208"/>
                  <a:pt x="2437241" y="762174"/>
                  <a:pt x="2431262" y="768137"/>
                </a:cubicBezTo>
                <a:cubicBezTo>
                  <a:pt x="2431262" y="762174"/>
                  <a:pt x="2425284" y="762174"/>
                  <a:pt x="2425284" y="756208"/>
                </a:cubicBezTo>
                <a:cubicBezTo>
                  <a:pt x="2413328" y="774101"/>
                  <a:pt x="2395396" y="786029"/>
                  <a:pt x="2377461" y="780064"/>
                </a:cubicBezTo>
                <a:cubicBezTo>
                  <a:pt x="2377461" y="786029"/>
                  <a:pt x="2377461" y="786029"/>
                  <a:pt x="2377461" y="791993"/>
                </a:cubicBezTo>
                <a:cubicBezTo>
                  <a:pt x="2341593" y="791993"/>
                  <a:pt x="2317681" y="821814"/>
                  <a:pt x="2275834" y="827777"/>
                </a:cubicBezTo>
                <a:cubicBezTo>
                  <a:pt x="2281812" y="821814"/>
                  <a:pt x="2275834" y="821814"/>
                  <a:pt x="2269856" y="815850"/>
                </a:cubicBezTo>
                <a:cubicBezTo>
                  <a:pt x="2269856" y="827777"/>
                  <a:pt x="2269856" y="833741"/>
                  <a:pt x="2251923" y="833741"/>
                </a:cubicBezTo>
                <a:cubicBezTo>
                  <a:pt x="2248934" y="833741"/>
                  <a:pt x="2250428" y="833741"/>
                  <a:pt x="2252670" y="835232"/>
                </a:cubicBezTo>
                <a:lnTo>
                  <a:pt x="2256705" y="843284"/>
                </a:lnTo>
                <a:lnTo>
                  <a:pt x="2251923" y="845669"/>
                </a:lnTo>
                <a:lnTo>
                  <a:pt x="2239967" y="844178"/>
                </a:lnTo>
                <a:cubicBezTo>
                  <a:pt x="2235484" y="847161"/>
                  <a:pt x="2230999" y="851633"/>
                  <a:pt x="2228011" y="851633"/>
                </a:cubicBezTo>
                <a:cubicBezTo>
                  <a:pt x="2228011" y="851633"/>
                  <a:pt x="2233989" y="851633"/>
                  <a:pt x="2233989" y="851633"/>
                </a:cubicBezTo>
                <a:cubicBezTo>
                  <a:pt x="2228011" y="863560"/>
                  <a:pt x="2222033" y="857597"/>
                  <a:pt x="2222033" y="851633"/>
                </a:cubicBezTo>
                <a:cubicBezTo>
                  <a:pt x="2204098" y="863560"/>
                  <a:pt x="2180186" y="875490"/>
                  <a:pt x="2156274" y="881453"/>
                </a:cubicBezTo>
                <a:cubicBezTo>
                  <a:pt x="2156274" y="881453"/>
                  <a:pt x="2162252" y="875490"/>
                  <a:pt x="2168230" y="875490"/>
                </a:cubicBezTo>
                <a:cubicBezTo>
                  <a:pt x="2162252" y="875490"/>
                  <a:pt x="2156274" y="875490"/>
                  <a:pt x="2150296" y="875490"/>
                </a:cubicBezTo>
                <a:cubicBezTo>
                  <a:pt x="2144318" y="881453"/>
                  <a:pt x="2150296" y="881453"/>
                  <a:pt x="2150296" y="887417"/>
                </a:cubicBezTo>
                <a:cubicBezTo>
                  <a:pt x="2144318" y="887417"/>
                  <a:pt x="2144318" y="881453"/>
                  <a:pt x="2144318" y="893381"/>
                </a:cubicBezTo>
                <a:cubicBezTo>
                  <a:pt x="2138339" y="893381"/>
                  <a:pt x="2138339" y="887417"/>
                  <a:pt x="2138339" y="887417"/>
                </a:cubicBezTo>
                <a:cubicBezTo>
                  <a:pt x="2138339" y="905309"/>
                  <a:pt x="2078560" y="911273"/>
                  <a:pt x="2060626" y="929166"/>
                </a:cubicBezTo>
                <a:cubicBezTo>
                  <a:pt x="2042692" y="935130"/>
                  <a:pt x="1959000" y="970913"/>
                  <a:pt x="1935088" y="988806"/>
                </a:cubicBezTo>
                <a:cubicBezTo>
                  <a:pt x="1923132" y="994769"/>
                  <a:pt x="1929110" y="988806"/>
                  <a:pt x="1923132" y="988806"/>
                </a:cubicBezTo>
                <a:cubicBezTo>
                  <a:pt x="1911176" y="988806"/>
                  <a:pt x="1911176" y="1000733"/>
                  <a:pt x="1899219" y="1006697"/>
                </a:cubicBezTo>
                <a:cubicBezTo>
                  <a:pt x="1893241" y="1012662"/>
                  <a:pt x="1863353" y="1018626"/>
                  <a:pt x="1863353" y="1024589"/>
                </a:cubicBezTo>
                <a:cubicBezTo>
                  <a:pt x="1863353" y="1036516"/>
                  <a:pt x="1851396" y="1024589"/>
                  <a:pt x="1839440" y="1036516"/>
                </a:cubicBezTo>
                <a:cubicBezTo>
                  <a:pt x="1815528" y="1066337"/>
                  <a:pt x="1779660" y="1072302"/>
                  <a:pt x="1743793" y="1090193"/>
                </a:cubicBezTo>
                <a:cubicBezTo>
                  <a:pt x="1695968" y="1120013"/>
                  <a:pt x="1648143" y="1143869"/>
                  <a:pt x="1606298" y="1155798"/>
                </a:cubicBezTo>
                <a:cubicBezTo>
                  <a:pt x="1606298" y="1161762"/>
                  <a:pt x="1612277" y="1167725"/>
                  <a:pt x="1612277" y="1161762"/>
                </a:cubicBezTo>
                <a:cubicBezTo>
                  <a:pt x="1624231" y="1167725"/>
                  <a:pt x="1600321" y="1161762"/>
                  <a:pt x="1606298" y="1173689"/>
                </a:cubicBezTo>
                <a:cubicBezTo>
                  <a:pt x="1603309" y="1173689"/>
                  <a:pt x="1600321" y="1170707"/>
                  <a:pt x="1599574" y="1167725"/>
                </a:cubicBezTo>
                <a:lnTo>
                  <a:pt x="1600356" y="1163909"/>
                </a:lnTo>
                <a:lnTo>
                  <a:pt x="1606298" y="1161762"/>
                </a:lnTo>
                <a:cubicBezTo>
                  <a:pt x="1603309" y="1161762"/>
                  <a:pt x="1601441" y="1162507"/>
                  <a:pt x="1600414" y="1163625"/>
                </a:cubicBezTo>
                <a:lnTo>
                  <a:pt x="1600356" y="1163909"/>
                </a:lnTo>
                <a:lnTo>
                  <a:pt x="1562958" y="1177417"/>
                </a:lnTo>
                <a:cubicBezTo>
                  <a:pt x="1549507" y="1184127"/>
                  <a:pt x="1537551" y="1191582"/>
                  <a:pt x="1528583" y="1197546"/>
                </a:cubicBezTo>
                <a:cubicBezTo>
                  <a:pt x="1474782" y="1209475"/>
                  <a:pt x="1420980" y="1269115"/>
                  <a:pt x="1367177" y="1287005"/>
                </a:cubicBezTo>
                <a:cubicBezTo>
                  <a:pt x="1373155" y="1292971"/>
                  <a:pt x="1379133" y="1292971"/>
                  <a:pt x="1385111" y="1298934"/>
                </a:cubicBezTo>
                <a:cubicBezTo>
                  <a:pt x="1403045" y="1275078"/>
                  <a:pt x="1444892" y="1245258"/>
                  <a:pt x="1468805" y="1245258"/>
                </a:cubicBezTo>
                <a:cubicBezTo>
                  <a:pt x="1462826" y="1245258"/>
                  <a:pt x="1450870" y="1251222"/>
                  <a:pt x="1450870" y="1257186"/>
                </a:cubicBezTo>
                <a:cubicBezTo>
                  <a:pt x="1474782" y="1245258"/>
                  <a:pt x="1528583" y="1227365"/>
                  <a:pt x="1540540" y="1209475"/>
                </a:cubicBezTo>
                <a:cubicBezTo>
                  <a:pt x="1540540" y="1209475"/>
                  <a:pt x="1540540" y="1209475"/>
                  <a:pt x="1540540" y="1215438"/>
                </a:cubicBezTo>
                <a:cubicBezTo>
                  <a:pt x="1600321" y="1191582"/>
                  <a:pt x="1672056" y="1143869"/>
                  <a:pt x="1725858" y="1120013"/>
                </a:cubicBezTo>
                <a:cubicBezTo>
                  <a:pt x="1731836" y="1114049"/>
                  <a:pt x="1731836" y="1125978"/>
                  <a:pt x="1731836" y="1125978"/>
                </a:cubicBezTo>
                <a:cubicBezTo>
                  <a:pt x="1731836" y="1125978"/>
                  <a:pt x="1725858" y="1131942"/>
                  <a:pt x="1725858" y="1131942"/>
                </a:cubicBezTo>
                <a:cubicBezTo>
                  <a:pt x="1748275" y="1136414"/>
                  <a:pt x="1767330" y="1120759"/>
                  <a:pt x="1788067" y="1115168"/>
                </a:cubicBezTo>
                <a:lnTo>
                  <a:pt x="1798249" y="1114638"/>
                </a:lnTo>
                <a:lnTo>
                  <a:pt x="1798528" y="1114888"/>
                </a:lnTo>
                <a:lnTo>
                  <a:pt x="1798711" y="1114614"/>
                </a:lnTo>
                <a:lnTo>
                  <a:pt x="1809550" y="1114049"/>
                </a:lnTo>
                <a:cubicBezTo>
                  <a:pt x="1803572" y="1114049"/>
                  <a:pt x="1803572" y="1114049"/>
                  <a:pt x="1803572" y="1114049"/>
                </a:cubicBezTo>
                <a:cubicBezTo>
                  <a:pt x="1803572" y="1108085"/>
                  <a:pt x="1802078" y="1109577"/>
                  <a:pt x="1800583" y="1111813"/>
                </a:cubicBezTo>
                <a:lnTo>
                  <a:pt x="1798711" y="1114614"/>
                </a:lnTo>
                <a:lnTo>
                  <a:pt x="1798249" y="1114638"/>
                </a:lnTo>
                <a:lnTo>
                  <a:pt x="1797594" y="1114049"/>
                </a:lnTo>
                <a:cubicBezTo>
                  <a:pt x="1803572" y="1084229"/>
                  <a:pt x="1851396" y="1102122"/>
                  <a:pt x="1857375" y="1066337"/>
                </a:cubicBezTo>
                <a:cubicBezTo>
                  <a:pt x="1887263" y="1066337"/>
                  <a:pt x="1917154" y="1042482"/>
                  <a:pt x="1941066" y="1036516"/>
                </a:cubicBezTo>
                <a:cubicBezTo>
                  <a:pt x="1929110" y="1048446"/>
                  <a:pt x="1941066" y="1048446"/>
                  <a:pt x="1947044" y="1054409"/>
                </a:cubicBezTo>
                <a:cubicBezTo>
                  <a:pt x="1947044" y="1060373"/>
                  <a:pt x="1929110" y="1060373"/>
                  <a:pt x="1935088" y="1072302"/>
                </a:cubicBezTo>
                <a:cubicBezTo>
                  <a:pt x="1959000" y="1066337"/>
                  <a:pt x="1976935" y="1054409"/>
                  <a:pt x="2000847" y="1042482"/>
                </a:cubicBezTo>
                <a:lnTo>
                  <a:pt x="1995980" y="1037186"/>
                </a:lnTo>
                <a:lnTo>
                  <a:pt x="1992414" y="1038846"/>
                </a:lnTo>
                <a:lnTo>
                  <a:pt x="1992414" y="1033026"/>
                </a:lnTo>
                <a:lnTo>
                  <a:pt x="1988891" y="1024589"/>
                </a:lnTo>
                <a:cubicBezTo>
                  <a:pt x="1982913" y="1024589"/>
                  <a:pt x="1988891" y="1036516"/>
                  <a:pt x="1988891" y="1036516"/>
                </a:cubicBezTo>
                <a:cubicBezTo>
                  <a:pt x="1982913" y="1042482"/>
                  <a:pt x="1976935" y="1042482"/>
                  <a:pt x="1970956" y="1042482"/>
                </a:cubicBezTo>
                <a:cubicBezTo>
                  <a:pt x="1976935" y="1024589"/>
                  <a:pt x="1994869" y="1012662"/>
                  <a:pt x="2018779" y="1012662"/>
                </a:cubicBezTo>
                <a:cubicBezTo>
                  <a:pt x="2018779" y="1006697"/>
                  <a:pt x="2018779" y="1012662"/>
                  <a:pt x="2012801" y="1012662"/>
                </a:cubicBezTo>
                <a:cubicBezTo>
                  <a:pt x="2018779" y="1000733"/>
                  <a:pt x="2018779" y="1006697"/>
                  <a:pt x="2012801" y="1000733"/>
                </a:cubicBezTo>
                <a:cubicBezTo>
                  <a:pt x="1976935" y="1012662"/>
                  <a:pt x="1982913" y="1042482"/>
                  <a:pt x="1959000" y="1036516"/>
                </a:cubicBezTo>
                <a:cubicBezTo>
                  <a:pt x="1964978" y="1024589"/>
                  <a:pt x="1982913" y="1030553"/>
                  <a:pt x="1976935" y="1012662"/>
                </a:cubicBezTo>
                <a:cubicBezTo>
                  <a:pt x="1988891" y="1006697"/>
                  <a:pt x="1994869" y="1000733"/>
                  <a:pt x="2006823" y="994769"/>
                </a:cubicBezTo>
                <a:cubicBezTo>
                  <a:pt x="2006823" y="988806"/>
                  <a:pt x="2006823" y="994769"/>
                  <a:pt x="2000847" y="994769"/>
                </a:cubicBezTo>
                <a:cubicBezTo>
                  <a:pt x="2000847" y="982842"/>
                  <a:pt x="2012801" y="994769"/>
                  <a:pt x="2018779" y="988806"/>
                </a:cubicBezTo>
                <a:cubicBezTo>
                  <a:pt x="2018779" y="988806"/>
                  <a:pt x="2018779" y="994769"/>
                  <a:pt x="2012801" y="994769"/>
                </a:cubicBezTo>
                <a:cubicBezTo>
                  <a:pt x="2036714" y="1000733"/>
                  <a:pt x="2072582" y="964949"/>
                  <a:pt x="2114429" y="953021"/>
                </a:cubicBezTo>
                <a:cubicBezTo>
                  <a:pt x="2120407" y="956003"/>
                  <a:pt x="2115924" y="960476"/>
                  <a:pt x="2111440" y="963458"/>
                </a:cubicBezTo>
                <a:lnTo>
                  <a:pt x="2107978" y="965365"/>
                </a:lnTo>
                <a:lnTo>
                  <a:pt x="2108451" y="964949"/>
                </a:lnTo>
                <a:cubicBezTo>
                  <a:pt x="2105462" y="966440"/>
                  <a:pt x="2105088" y="966813"/>
                  <a:pt x="2106023" y="966440"/>
                </a:cubicBezTo>
                <a:lnTo>
                  <a:pt x="2107978" y="965365"/>
                </a:lnTo>
                <a:lnTo>
                  <a:pt x="2098456" y="973710"/>
                </a:lnTo>
                <a:cubicBezTo>
                  <a:pt x="2094813" y="975387"/>
                  <a:pt x="2090890" y="976132"/>
                  <a:pt x="2086780" y="976877"/>
                </a:cubicBezTo>
                <a:lnTo>
                  <a:pt x="2077389" y="981161"/>
                </a:lnTo>
                <a:lnTo>
                  <a:pt x="2078560" y="976877"/>
                </a:lnTo>
                <a:cubicBezTo>
                  <a:pt x="2072582" y="982842"/>
                  <a:pt x="2060626" y="988806"/>
                  <a:pt x="2060626" y="988806"/>
                </a:cubicBezTo>
                <a:lnTo>
                  <a:pt x="2077389" y="981161"/>
                </a:lnTo>
                <a:lnTo>
                  <a:pt x="2076318" y="985078"/>
                </a:lnTo>
                <a:cubicBezTo>
                  <a:pt x="2074077" y="987315"/>
                  <a:pt x="2072582" y="988806"/>
                  <a:pt x="2078560" y="988806"/>
                </a:cubicBezTo>
                <a:cubicBezTo>
                  <a:pt x="2072582" y="994769"/>
                  <a:pt x="2066604" y="988806"/>
                  <a:pt x="2060626" y="1000733"/>
                </a:cubicBezTo>
                <a:cubicBezTo>
                  <a:pt x="2060626" y="1006697"/>
                  <a:pt x="2066604" y="1000733"/>
                  <a:pt x="2072582" y="994769"/>
                </a:cubicBezTo>
                <a:cubicBezTo>
                  <a:pt x="2078560" y="1000733"/>
                  <a:pt x="2048670" y="1006697"/>
                  <a:pt x="2048670" y="1012662"/>
                </a:cubicBezTo>
                <a:cubicBezTo>
                  <a:pt x="2102473" y="1006697"/>
                  <a:pt x="2150296" y="964949"/>
                  <a:pt x="2204098" y="953021"/>
                </a:cubicBezTo>
                <a:cubicBezTo>
                  <a:pt x="2198121" y="964949"/>
                  <a:pt x="2186164" y="958986"/>
                  <a:pt x="2198121" y="976877"/>
                </a:cubicBezTo>
                <a:cubicBezTo>
                  <a:pt x="2192142" y="982842"/>
                  <a:pt x="2192142" y="970913"/>
                  <a:pt x="2192142" y="964949"/>
                </a:cubicBezTo>
                <a:cubicBezTo>
                  <a:pt x="2186164" y="976877"/>
                  <a:pt x="2174208" y="964949"/>
                  <a:pt x="2162252" y="982842"/>
                </a:cubicBezTo>
                <a:cubicBezTo>
                  <a:pt x="2162252" y="982842"/>
                  <a:pt x="2162252" y="988806"/>
                  <a:pt x="2162252" y="994769"/>
                </a:cubicBezTo>
                <a:cubicBezTo>
                  <a:pt x="2156274" y="988806"/>
                  <a:pt x="2162252" y="994769"/>
                  <a:pt x="2156274" y="994769"/>
                </a:cubicBezTo>
                <a:cubicBezTo>
                  <a:pt x="2150296" y="988806"/>
                  <a:pt x="2162252" y="988806"/>
                  <a:pt x="2162252" y="976877"/>
                </a:cubicBezTo>
                <a:cubicBezTo>
                  <a:pt x="2156274" y="976877"/>
                  <a:pt x="2132363" y="982842"/>
                  <a:pt x="2132363" y="994769"/>
                </a:cubicBezTo>
                <a:cubicBezTo>
                  <a:pt x="2126385" y="994769"/>
                  <a:pt x="2120407" y="994769"/>
                  <a:pt x="2114429" y="994769"/>
                </a:cubicBezTo>
                <a:cubicBezTo>
                  <a:pt x="2132363" y="1000733"/>
                  <a:pt x="2090516" y="1000733"/>
                  <a:pt x="2102473" y="1012662"/>
                </a:cubicBezTo>
                <a:cubicBezTo>
                  <a:pt x="2099483" y="1009679"/>
                  <a:pt x="2095000" y="1011171"/>
                  <a:pt x="2090516" y="1014152"/>
                </a:cubicBezTo>
                <a:lnTo>
                  <a:pt x="2085240" y="1018758"/>
                </a:lnTo>
                <a:lnTo>
                  <a:pt x="2101464" y="1018758"/>
                </a:lnTo>
                <a:cubicBezTo>
                  <a:pt x="2101464" y="1021626"/>
                  <a:pt x="2097160" y="1024497"/>
                  <a:pt x="2092854" y="1025215"/>
                </a:cubicBezTo>
                <a:lnTo>
                  <a:pt x="2084780" y="1019159"/>
                </a:lnTo>
                <a:lnTo>
                  <a:pt x="2078560" y="1024589"/>
                </a:lnTo>
                <a:cubicBezTo>
                  <a:pt x="2078560" y="1018626"/>
                  <a:pt x="2084538" y="1018626"/>
                  <a:pt x="2084538" y="1012662"/>
                </a:cubicBezTo>
                <a:cubicBezTo>
                  <a:pt x="2078560" y="1018626"/>
                  <a:pt x="2072582" y="1018626"/>
                  <a:pt x="2066604" y="1024589"/>
                </a:cubicBezTo>
                <a:cubicBezTo>
                  <a:pt x="2066604" y="1030553"/>
                  <a:pt x="2078560" y="1018626"/>
                  <a:pt x="2078560" y="1030553"/>
                </a:cubicBezTo>
                <a:cubicBezTo>
                  <a:pt x="2072582" y="1030553"/>
                  <a:pt x="2072582" y="1036516"/>
                  <a:pt x="2066604" y="1036516"/>
                </a:cubicBezTo>
                <a:cubicBezTo>
                  <a:pt x="2054648" y="1018626"/>
                  <a:pt x="2024758" y="1042482"/>
                  <a:pt x="2006823" y="1060373"/>
                </a:cubicBezTo>
                <a:cubicBezTo>
                  <a:pt x="1994869" y="1066337"/>
                  <a:pt x="1994869" y="1072302"/>
                  <a:pt x="1976935" y="1078266"/>
                </a:cubicBezTo>
                <a:cubicBezTo>
                  <a:pt x="1964978" y="1078266"/>
                  <a:pt x="1982913" y="1072302"/>
                  <a:pt x="1982913" y="1072302"/>
                </a:cubicBezTo>
                <a:cubicBezTo>
                  <a:pt x="1976935" y="1066337"/>
                  <a:pt x="1941066" y="1096158"/>
                  <a:pt x="1929110" y="1096158"/>
                </a:cubicBezTo>
                <a:cubicBezTo>
                  <a:pt x="1929110" y="1108085"/>
                  <a:pt x="1947044" y="1108085"/>
                  <a:pt x="1947044" y="1108085"/>
                </a:cubicBezTo>
                <a:cubicBezTo>
                  <a:pt x="1959000" y="1114049"/>
                  <a:pt x="1923132" y="1114049"/>
                  <a:pt x="1941066" y="1125978"/>
                </a:cubicBezTo>
                <a:lnTo>
                  <a:pt x="1940484" y="1126269"/>
                </a:lnTo>
                <a:lnTo>
                  <a:pt x="1942394" y="1129207"/>
                </a:lnTo>
                <a:cubicBezTo>
                  <a:pt x="1943828" y="1132077"/>
                  <a:pt x="1945264" y="1134946"/>
                  <a:pt x="1948133" y="1132077"/>
                </a:cubicBezTo>
                <a:cubicBezTo>
                  <a:pt x="1948133" y="1137816"/>
                  <a:pt x="1936654" y="1137816"/>
                  <a:pt x="1936654" y="1137816"/>
                </a:cubicBezTo>
                <a:cubicBezTo>
                  <a:pt x="1936654" y="1134946"/>
                  <a:pt x="1936654" y="1133511"/>
                  <a:pt x="1936654" y="1132077"/>
                </a:cubicBezTo>
                <a:lnTo>
                  <a:pt x="1936654" y="1128179"/>
                </a:lnTo>
                <a:lnTo>
                  <a:pt x="1935088" y="1128960"/>
                </a:lnTo>
                <a:cubicBezTo>
                  <a:pt x="1933594" y="1130451"/>
                  <a:pt x="1932099" y="1131942"/>
                  <a:pt x="1929110" y="1131942"/>
                </a:cubicBezTo>
                <a:cubicBezTo>
                  <a:pt x="1926121" y="1128960"/>
                  <a:pt x="1921638" y="1130451"/>
                  <a:pt x="1917901" y="1133433"/>
                </a:cubicBezTo>
                <a:lnTo>
                  <a:pt x="1913449" y="1140342"/>
                </a:lnTo>
                <a:lnTo>
                  <a:pt x="1923740" y="1137132"/>
                </a:lnTo>
                <a:cubicBezTo>
                  <a:pt x="1923740" y="1143147"/>
                  <a:pt x="1905661" y="1149159"/>
                  <a:pt x="1905661" y="1155172"/>
                </a:cubicBezTo>
                <a:cubicBezTo>
                  <a:pt x="1905661" y="1155172"/>
                  <a:pt x="1899634" y="1155172"/>
                  <a:pt x="1899634" y="1149159"/>
                </a:cubicBezTo>
                <a:lnTo>
                  <a:pt x="1907088" y="1144047"/>
                </a:lnTo>
                <a:lnTo>
                  <a:pt x="1893989" y="1144614"/>
                </a:lnTo>
                <a:cubicBezTo>
                  <a:pt x="1888758" y="1145360"/>
                  <a:pt x="1884274" y="1146851"/>
                  <a:pt x="1881285" y="1149833"/>
                </a:cubicBezTo>
                <a:cubicBezTo>
                  <a:pt x="1878297" y="1151324"/>
                  <a:pt x="1875682" y="1154307"/>
                  <a:pt x="1873067" y="1157941"/>
                </a:cubicBezTo>
                <a:lnTo>
                  <a:pt x="1869363" y="1163357"/>
                </a:lnTo>
                <a:lnTo>
                  <a:pt x="1893607" y="1149159"/>
                </a:lnTo>
                <a:cubicBezTo>
                  <a:pt x="1893607" y="1155172"/>
                  <a:pt x="1899634" y="1161184"/>
                  <a:pt x="1905661" y="1155172"/>
                </a:cubicBezTo>
                <a:cubicBezTo>
                  <a:pt x="1917713" y="1155172"/>
                  <a:pt x="1923740" y="1143147"/>
                  <a:pt x="1941819" y="1149159"/>
                </a:cubicBezTo>
                <a:cubicBezTo>
                  <a:pt x="1941819" y="1143147"/>
                  <a:pt x="1953872" y="1131120"/>
                  <a:pt x="1965924" y="1137132"/>
                </a:cubicBezTo>
                <a:cubicBezTo>
                  <a:pt x="1965924" y="1137132"/>
                  <a:pt x="1971951" y="1131120"/>
                  <a:pt x="1971951" y="1131120"/>
                </a:cubicBezTo>
                <a:cubicBezTo>
                  <a:pt x="1965924" y="1125108"/>
                  <a:pt x="1959899" y="1131120"/>
                  <a:pt x="1953872" y="1131120"/>
                </a:cubicBezTo>
                <a:cubicBezTo>
                  <a:pt x="1958392" y="1122102"/>
                  <a:pt x="1973082" y="1119847"/>
                  <a:pt x="1982686" y="1114210"/>
                </a:cubicBezTo>
                <a:lnTo>
                  <a:pt x="1985944" y="1111043"/>
                </a:lnTo>
                <a:lnTo>
                  <a:pt x="1985359" y="1111396"/>
                </a:lnTo>
                <a:cubicBezTo>
                  <a:pt x="1974896" y="1115970"/>
                  <a:pt x="1964433" y="1119019"/>
                  <a:pt x="1952476" y="1122068"/>
                </a:cubicBezTo>
                <a:cubicBezTo>
                  <a:pt x="1946498" y="1103773"/>
                  <a:pt x="1964434" y="1097675"/>
                  <a:pt x="1970412" y="1103773"/>
                </a:cubicBezTo>
                <a:cubicBezTo>
                  <a:pt x="1970412" y="1091576"/>
                  <a:pt x="1976390" y="1103773"/>
                  <a:pt x="1976390" y="1091576"/>
                </a:cubicBezTo>
                <a:cubicBezTo>
                  <a:pt x="1982370" y="1091576"/>
                  <a:pt x="1982370" y="1097675"/>
                  <a:pt x="1982370" y="1103773"/>
                </a:cubicBezTo>
                <a:cubicBezTo>
                  <a:pt x="1970412" y="1103773"/>
                  <a:pt x="1964434" y="1109871"/>
                  <a:pt x="1958454" y="1109871"/>
                </a:cubicBezTo>
                <a:cubicBezTo>
                  <a:pt x="1970412" y="1115969"/>
                  <a:pt x="1988349" y="1103773"/>
                  <a:pt x="2000307" y="1091576"/>
                </a:cubicBezTo>
                <a:cubicBezTo>
                  <a:pt x="1994327" y="1085479"/>
                  <a:pt x="1994327" y="1097675"/>
                  <a:pt x="1988349" y="1091576"/>
                </a:cubicBezTo>
                <a:lnTo>
                  <a:pt x="2008676" y="1081208"/>
                </a:lnTo>
                <a:lnTo>
                  <a:pt x="2006284" y="1085479"/>
                </a:lnTo>
                <a:cubicBezTo>
                  <a:pt x="2006284" y="1091576"/>
                  <a:pt x="2012263" y="1073282"/>
                  <a:pt x="2018242" y="1091576"/>
                </a:cubicBezTo>
                <a:lnTo>
                  <a:pt x="1990611" y="1108230"/>
                </a:lnTo>
                <a:lnTo>
                  <a:pt x="1994550" y="1116089"/>
                </a:lnTo>
                <a:cubicBezTo>
                  <a:pt x="1994550" y="1119095"/>
                  <a:pt x="1993043" y="1122102"/>
                  <a:pt x="1990030" y="1125108"/>
                </a:cubicBezTo>
                <a:cubicBezTo>
                  <a:pt x="2002084" y="1137132"/>
                  <a:pt x="1996057" y="1107071"/>
                  <a:pt x="2008111" y="1119095"/>
                </a:cubicBezTo>
                <a:cubicBezTo>
                  <a:pt x="2017149" y="1110077"/>
                  <a:pt x="2026190" y="1107071"/>
                  <a:pt x="2034476" y="1104062"/>
                </a:cubicBezTo>
                <a:lnTo>
                  <a:pt x="2055313" y="1089724"/>
                </a:lnTo>
                <a:lnTo>
                  <a:pt x="2042835" y="1089031"/>
                </a:lnTo>
                <a:cubicBezTo>
                  <a:pt x="2042835" y="1083292"/>
                  <a:pt x="2055750" y="1083292"/>
                  <a:pt x="2062207" y="1077552"/>
                </a:cubicBezTo>
                <a:cubicBezTo>
                  <a:pt x="2062207" y="1083292"/>
                  <a:pt x="2063821" y="1086161"/>
                  <a:pt x="2065435" y="1088313"/>
                </a:cubicBezTo>
                <a:lnTo>
                  <a:pt x="2068662" y="1094769"/>
                </a:lnTo>
                <a:lnTo>
                  <a:pt x="2072966" y="1084727"/>
                </a:lnTo>
                <a:cubicBezTo>
                  <a:pt x="2074401" y="1081856"/>
                  <a:pt x="2074401" y="1080421"/>
                  <a:pt x="2068662" y="1083292"/>
                </a:cubicBezTo>
                <a:cubicBezTo>
                  <a:pt x="2068662" y="1077552"/>
                  <a:pt x="2068662" y="1077552"/>
                  <a:pt x="2068662" y="1071813"/>
                </a:cubicBezTo>
                <a:cubicBezTo>
                  <a:pt x="2068662" y="1071813"/>
                  <a:pt x="2074401" y="1071813"/>
                  <a:pt x="2080141" y="1071813"/>
                </a:cubicBezTo>
                <a:cubicBezTo>
                  <a:pt x="2080141" y="1077552"/>
                  <a:pt x="2085880" y="1083292"/>
                  <a:pt x="2085880" y="1089031"/>
                </a:cubicBezTo>
                <a:cubicBezTo>
                  <a:pt x="2091620" y="1089031"/>
                  <a:pt x="2091620" y="1083292"/>
                  <a:pt x="2091620" y="1077552"/>
                </a:cubicBezTo>
                <a:cubicBezTo>
                  <a:pt x="2091620" y="1077552"/>
                  <a:pt x="2085880" y="1077552"/>
                  <a:pt x="2085880" y="1071813"/>
                </a:cubicBezTo>
                <a:cubicBezTo>
                  <a:pt x="2085880" y="1071813"/>
                  <a:pt x="2091620" y="1066073"/>
                  <a:pt x="2091620" y="1066073"/>
                </a:cubicBezTo>
                <a:cubicBezTo>
                  <a:pt x="2097359" y="1077552"/>
                  <a:pt x="2097359" y="1071813"/>
                  <a:pt x="2097359" y="1083292"/>
                </a:cubicBezTo>
                <a:cubicBezTo>
                  <a:pt x="2114578" y="1077552"/>
                  <a:pt x="2091620" y="1066073"/>
                  <a:pt x="2097359" y="1060334"/>
                </a:cubicBezTo>
                <a:cubicBezTo>
                  <a:pt x="2100229" y="1063204"/>
                  <a:pt x="2103098" y="1064639"/>
                  <a:pt x="2105969" y="1064639"/>
                </a:cubicBezTo>
                <a:lnTo>
                  <a:pt x="2108896" y="1063175"/>
                </a:lnTo>
                <a:lnTo>
                  <a:pt x="2108121" y="1064370"/>
                </a:lnTo>
                <a:cubicBezTo>
                  <a:pt x="2108480" y="1065356"/>
                  <a:pt x="2110274" y="1066073"/>
                  <a:pt x="2114578" y="1066073"/>
                </a:cubicBezTo>
                <a:cubicBezTo>
                  <a:pt x="2111708" y="1071813"/>
                  <a:pt x="2107403" y="1077552"/>
                  <a:pt x="2103099" y="1083292"/>
                </a:cubicBezTo>
                <a:lnTo>
                  <a:pt x="2095474" y="1094729"/>
                </a:lnTo>
                <a:lnTo>
                  <a:pt x="2098736" y="1096158"/>
                </a:lnTo>
                <a:cubicBezTo>
                  <a:pt x="2100978" y="1097649"/>
                  <a:pt x="2102473" y="1099140"/>
                  <a:pt x="2102473" y="1096158"/>
                </a:cubicBezTo>
                <a:cubicBezTo>
                  <a:pt x="2108451" y="1090193"/>
                  <a:pt x="2108451" y="1102122"/>
                  <a:pt x="2108451" y="1102122"/>
                </a:cubicBezTo>
                <a:lnTo>
                  <a:pt x="2108780" y="1101707"/>
                </a:lnTo>
                <a:lnTo>
                  <a:pt x="2108480" y="1097359"/>
                </a:lnTo>
                <a:cubicBezTo>
                  <a:pt x="2110785" y="1095130"/>
                  <a:pt x="2115397" y="1093644"/>
                  <a:pt x="2121546" y="1090671"/>
                </a:cubicBezTo>
                <a:cubicBezTo>
                  <a:pt x="2109249" y="1078783"/>
                  <a:pt x="2115397" y="1072837"/>
                  <a:pt x="2121546" y="1060948"/>
                </a:cubicBezTo>
                <a:cubicBezTo>
                  <a:pt x="2121546" y="1072837"/>
                  <a:pt x="2139996" y="1072837"/>
                  <a:pt x="2133846" y="1055005"/>
                </a:cubicBezTo>
                <a:cubicBezTo>
                  <a:pt x="2127696" y="1049059"/>
                  <a:pt x="2121546" y="1066894"/>
                  <a:pt x="2121546" y="1055005"/>
                </a:cubicBezTo>
                <a:cubicBezTo>
                  <a:pt x="2127696" y="1055005"/>
                  <a:pt x="2127696" y="1049059"/>
                  <a:pt x="2133846" y="1043115"/>
                </a:cubicBezTo>
                <a:cubicBezTo>
                  <a:pt x="2139996" y="1060948"/>
                  <a:pt x="2133846" y="1060948"/>
                  <a:pt x="2146146" y="1072837"/>
                </a:cubicBezTo>
                <a:cubicBezTo>
                  <a:pt x="2139996" y="1078783"/>
                  <a:pt x="2127696" y="1078783"/>
                  <a:pt x="2133846" y="1084727"/>
                </a:cubicBezTo>
                <a:cubicBezTo>
                  <a:pt x="2127696" y="1084727"/>
                  <a:pt x="2127696" y="1078783"/>
                  <a:pt x="2127696" y="1072837"/>
                </a:cubicBezTo>
                <a:cubicBezTo>
                  <a:pt x="2115397" y="1072837"/>
                  <a:pt x="2127696" y="1084727"/>
                  <a:pt x="2121546" y="1084727"/>
                </a:cubicBezTo>
                <a:lnTo>
                  <a:pt x="2129689" y="1088894"/>
                </a:lnTo>
                <a:lnTo>
                  <a:pt x="2138713" y="1085348"/>
                </a:lnTo>
                <a:cubicBezTo>
                  <a:pt x="2142076" y="1083484"/>
                  <a:pt x="2144318" y="1081248"/>
                  <a:pt x="2144318" y="1078266"/>
                </a:cubicBezTo>
                <a:cubicBezTo>
                  <a:pt x="2150296" y="1072302"/>
                  <a:pt x="2150296" y="1078266"/>
                  <a:pt x="2150296" y="1084229"/>
                </a:cubicBezTo>
                <a:lnTo>
                  <a:pt x="2152125" y="1082654"/>
                </a:lnTo>
                <a:lnTo>
                  <a:pt x="2153768" y="1078270"/>
                </a:lnTo>
                <a:lnTo>
                  <a:pt x="2157013" y="1077761"/>
                </a:lnTo>
                <a:lnTo>
                  <a:pt x="2159263" y="1073047"/>
                </a:lnTo>
                <a:cubicBezTo>
                  <a:pt x="2160010" y="1071182"/>
                  <a:pt x="2160757" y="1069505"/>
                  <a:pt x="2162065" y="1068294"/>
                </a:cubicBezTo>
                <a:lnTo>
                  <a:pt x="2167912" y="1066438"/>
                </a:lnTo>
                <a:lnTo>
                  <a:pt x="2166234" y="1063921"/>
                </a:lnTo>
                <a:cubicBezTo>
                  <a:pt x="2164799" y="1061769"/>
                  <a:pt x="2163364" y="1060334"/>
                  <a:pt x="2163364" y="1066073"/>
                </a:cubicBezTo>
                <a:cubicBezTo>
                  <a:pt x="2157624" y="1066073"/>
                  <a:pt x="2157624" y="1054595"/>
                  <a:pt x="2163364" y="1054595"/>
                </a:cubicBezTo>
                <a:cubicBezTo>
                  <a:pt x="2157624" y="1054595"/>
                  <a:pt x="2140406" y="1060334"/>
                  <a:pt x="2151885" y="1071813"/>
                </a:cubicBezTo>
                <a:cubicBezTo>
                  <a:pt x="2146146" y="1077552"/>
                  <a:pt x="2140406" y="1054595"/>
                  <a:pt x="2146146" y="1048855"/>
                </a:cubicBezTo>
                <a:cubicBezTo>
                  <a:pt x="2151885" y="1048855"/>
                  <a:pt x="2163364" y="1060334"/>
                  <a:pt x="2163364" y="1043115"/>
                </a:cubicBezTo>
                <a:cubicBezTo>
                  <a:pt x="2169104" y="1048855"/>
                  <a:pt x="2174842" y="1060334"/>
                  <a:pt x="2169104" y="1066073"/>
                </a:cubicBezTo>
                <a:lnTo>
                  <a:pt x="2168230" y="1066860"/>
                </a:lnTo>
                <a:lnTo>
                  <a:pt x="2168230" y="1071556"/>
                </a:lnTo>
                <a:cubicBezTo>
                  <a:pt x="2168230" y="1072302"/>
                  <a:pt x="2168230" y="1072302"/>
                  <a:pt x="2168230" y="1072302"/>
                </a:cubicBezTo>
                <a:lnTo>
                  <a:pt x="2168904" y="1072009"/>
                </a:lnTo>
                <a:lnTo>
                  <a:pt x="2169104" y="1071813"/>
                </a:lnTo>
                <a:lnTo>
                  <a:pt x="2169048" y="1071946"/>
                </a:lnTo>
                <a:lnTo>
                  <a:pt x="2180679" y="1066888"/>
                </a:lnTo>
                <a:lnTo>
                  <a:pt x="2180580" y="1066073"/>
                </a:lnTo>
                <a:lnTo>
                  <a:pt x="2181693" y="1066447"/>
                </a:lnTo>
                <a:lnTo>
                  <a:pt x="2197373" y="1059628"/>
                </a:lnTo>
                <a:cubicBezTo>
                  <a:pt x="2207087" y="1055900"/>
                  <a:pt x="2216055" y="1051427"/>
                  <a:pt x="2222033" y="1042482"/>
                </a:cubicBezTo>
                <a:lnTo>
                  <a:pt x="2232081" y="1043735"/>
                </a:lnTo>
                <a:lnTo>
                  <a:pt x="2233672" y="1042182"/>
                </a:lnTo>
                <a:cubicBezTo>
                  <a:pt x="2239411" y="1038236"/>
                  <a:pt x="2246586" y="1035079"/>
                  <a:pt x="2252325" y="1028766"/>
                </a:cubicBezTo>
                <a:lnTo>
                  <a:pt x="2252856" y="1030326"/>
                </a:lnTo>
                <a:lnTo>
                  <a:pt x="2263412" y="1027758"/>
                </a:lnTo>
                <a:cubicBezTo>
                  <a:pt x="2267803" y="1027198"/>
                  <a:pt x="2272472" y="1026826"/>
                  <a:pt x="2276582" y="1026080"/>
                </a:cubicBezTo>
                <a:lnTo>
                  <a:pt x="2282624" y="1023669"/>
                </a:lnTo>
                <a:lnTo>
                  <a:pt x="2281741" y="1023026"/>
                </a:lnTo>
                <a:cubicBezTo>
                  <a:pt x="2279588" y="1021591"/>
                  <a:pt x="2278153" y="1020157"/>
                  <a:pt x="2278153" y="1017287"/>
                </a:cubicBezTo>
                <a:lnTo>
                  <a:pt x="2286661" y="1020325"/>
                </a:lnTo>
                <a:lnTo>
                  <a:pt x="2287790" y="1012662"/>
                </a:lnTo>
                <a:cubicBezTo>
                  <a:pt x="2293768" y="1012662"/>
                  <a:pt x="2293768" y="1018626"/>
                  <a:pt x="2293768" y="1018626"/>
                </a:cubicBezTo>
                <a:cubicBezTo>
                  <a:pt x="2296757" y="1014152"/>
                  <a:pt x="2300120" y="1010797"/>
                  <a:pt x="2303763" y="1008189"/>
                </a:cubicBezTo>
                <a:lnTo>
                  <a:pt x="2310904" y="1004541"/>
                </a:lnTo>
                <a:lnTo>
                  <a:pt x="2311871" y="999351"/>
                </a:lnTo>
                <a:cubicBezTo>
                  <a:pt x="2312589" y="995764"/>
                  <a:pt x="2312589" y="991460"/>
                  <a:pt x="2306849" y="982850"/>
                </a:cubicBezTo>
                <a:cubicBezTo>
                  <a:pt x="2312588" y="982850"/>
                  <a:pt x="2312588" y="994329"/>
                  <a:pt x="2318328" y="994329"/>
                </a:cubicBezTo>
                <a:cubicBezTo>
                  <a:pt x="2315458" y="997199"/>
                  <a:pt x="2314023" y="1000069"/>
                  <a:pt x="2314023" y="1002221"/>
                </a:cubicBezTo>
                <a:lnTo>
                  <a:pt x="2314564" y="1002671"/>
                </a:lnTo>
                <a:lnTo>
                  <a:pt x="2315438" y="1002224"/>
                </a:lnTo>
                <a:cubicBezTo>
                  <a:pt x="2323658" y="999242"/>
                  <a:pt x="2332626" y="997751"/>
                  <a:pt x="2341593" y="994769"/>
                </a:cubicBezTo>
                <a:cubicBezTo>
                  <a:pt x="2341593" y="1000733"/>
                  <a:pt x="2335615" y="1000733"/>
                  <a:pt x="2329636" y="1000733"/>
                </a:cubicBezTo>
                <a:cubicBezTo>
                  <a:pt x="2335615" y="1006697"/>
                  <a:pt x="2340098" y="1003716"/>
                  <a:pt x="2343087" y="1000734"/>
                </a:cubicBezTo>
                <a:lnTo>
                  <a:pt x="2346316" y="997513"/>
                </a:lnTo>
                <a:lnTo>
                  <a:pt x="2344587" y="994070"/>
                </a:lnTo>
                <a:cubicBezTo>
                  <a:pt x="2343080" y="992570"/>
                  <a:pt x="2341574" y="991070"/>
                  <a:pt x="2341574" y="988069"/>
                </a:cubicBezTo>
                <a:cubicBezTo>
                  <a:pt x="2347600" y="988069"/>
                  <a:pt x="2347600" y="982070"/>
                  <a:pt x="2353627" y="982070"/>
                </a:cubicBezTo>
                <a:cubicBezTo>
                  <a:pt x="2353627" y="985069"/>
                  <a:pt x="2353627" y="986569"/>
                  <a:pt x="2353627" y="988069"/>
                </a:cubicBezTo>
                <a:lnTo>
                  <a:pt x="2353627" y="993117"/>
                </a:lnTo>
                <a:lnTo>
                  <a:pt x="2358686" y="986755"/>
                </a:lnTo>
                <a:lnTo>
                  <a:pt x="2364120" y="984420"/>
                </a:lnTo>
                <a:lnTo>
                  <a:pt x="2365491" y="983100"/>
                </a:lnTo>
                <a:lnTo>
                  <a:pt x="2368262" y="982640"/>
                </a:lnTo>
                <a:lnTo>
                  <a:pt x="2370777" y="981560"/>
                </a:lnTo>
                <a:lnTo>
                  <a:pt x="2356640" y="973818"/>
                </a:lnTo>
                <a:cubicBezTo>
                  <a:pt x="2352120" y="971568"/>
                  <a:pt x="2347600" y="970068"/>
                  <a:pt x="2341574" y="970068"/>
                </a:cubicBezTo>
                <a:cubicBezTo>
                  <a:pt x="2350614" y="965568"/>
                  <a:pt x="2342703" y="964443"/>
                  <a:pt x="2338183" y="959099"/>
                </a:cubicBezTo>
                <a:lnTo>
                  <a:pt x="2335795" y="952732"/>
                </a:lnTo>
                <a:lnTo>
                  <a:pt x="2334280" y="954476"/>
                </a:lnTo>
                <a:cubicBezTo>
                  <a:pt x="2331263" y="951462"/>
                  <a:pt x="2329754" y="948448"/>
                  <a:pt x="2327493" y="946943"/>
                </a:cubicBezTo>
                <a:lnTo>
                  <a:pt x="2318413" y="948153"/>
                </a:lnTo>
                <a:lnTo>
                  <a:pt x="2331076" y="938468"/>
                </a:lnTo>
                <a:cubicBezTo>
                  <a:pt x="2354267" y="927732"/>
                  <a:pt x="2382552" y="928862"/>
                  <a:pt x="2400652" y="906264"/>
                </a:cubicBezTo>
                <a:cubicBezTo>
                  <a:pt x="2400652" y="906264"/>
                  <a:pt x="2406686" y="906264"/>
                  <a:pt x="2406686" y="906264"/>
                </a:cubicBezTo>
                <a:cubicBezTo>
                  <a:pt x="2409703" y="903251"/>
                  <a:pt x="2417245" y="895718"/>
                  <a:pt x="2424787" y="891198"/>
                </a:cubicBezTo>
                <a:lnTo>
                  <a:pt x="2429312" y="889691"/>
                </a:lnTo>
                <a:lnTo>
                  <a:pt x="2418753" y="900237"/>
                </a:lnTo>
                <a:cubicBezTo>
                  <a:pt x="2412719" y="900237"/>
                  <a:pt x="2418753" y="900237"/>
                  <a:pt x="2418753" y="912291"/>
                </a:cubicBezTo>
                <a:cubicBezTo>
                  <a:pt x="2400652" y="925850"/>
                  <a:pt x="2365581" y="929240"/>
                  <a:pt x="2346631" y="940257"/>
                </a:cubicBezTo>
                <a:lnTo>
                  <a:pt x="2336390" y="952047"/>
                </a:lnTo>
                <a:lnTo>
                  <a:pt x="2347506" y="951785"/>
                </a:lnTo>
                <a:cubicBezTo>
                  <a:pt x="2361913" y="947566"/>
                  <a:pt x="2382253" y="934066"/>
                  <a:pt x="2395812" y="934066"/>
                </a:cubicBezTo>
                <a:cubicBezTo>
                  <a:pt x="2383760" y="952067"/>
                  <a:pt x="2365679" y="946067"/>
                  <a:pt x="2347600" y="958067"/>
                </a:cubicBezTo>
                <a:cubicBezTo>
                  <a:pt x="2353627" y="970068"/>
                  <a:pt x="2371706" y="946067"/>
                  <a:pt x="2371706" y="964068"/>
                </a:cubicBezTo>
                <a:cubicBezTo>
                  <a:pt x="2377733" y="964068"/>
                  <a:pt x="2377733" y="958067"/>
                  <a:pt x="2371706" y="952067"/>
                </a:cubicBezTo>
                <a:cubicBezTo>
                  <a:pt x="2383760" y="952067"/>
                  <a:pt x="2383760" y="946067"/>
                  <a:pt x="2389785" y="946067"/>
                </a:cubicBezTo>
                <a:cubicBezTo>
                  <a:pt x="2389785" y="952067"/>
                  <a:pt x="2389785" y="970068"/>
                  <a:pt x="2377733" y="970068"/>
                </a:cubicBezTo>
                <a:cubicBezTo>
                  <a:pt x="2380746" y="970068"/>
                  <a:pt x="2382253" y="971568"/>
                  <a:pt x="2383006" y="973818"/>
                </a:cubicBezTo>
                <a:lnTo>
                  <a:pt x="2383284" y="976855"/>
                </a:lnTo>
                <a:lnTo>
                  <a:pt x="2398850" y="972218"/>
                </a:lnTo>
                <a:cubicBezTo>
                  <a:pt x="2405108" y="970168"/>
                  <a:pt x="2410339" y="967932"/>
                  <a:pt x="2413328" y="964949"/>
                </a:cubicBezTo>
                <a:cubicBezTo>
                  <a:pt x="2413328" y="964949"/>
                  <a:pt x="2413328" y="970913"/>
                  <a:pt x="2419306" y="970913"/>
                </a:cubicBezTo>
                <a:cubicBezTo>
                  <a:pt x="2419306" y="958986"/>
                  <a:pt x="2443218" y="947057"/>
                  <a:pt x="2461153" y="953021"/>
                </a:cubicBezTo>
                <a:cubicBezTo>
                  <a:pt x="2467131" y="941093"/>
                  <a:pt x="2449196" y="947057"/>
                  <a:pt x="2455175" y="935130"/>
                </a:cubicBezTo>
                <a:cubicBezTo>
                  <a:pt x="2473109" y="947057"/>
                  <a:pt x="2485065" y="935130"/>
                  <a:pt x="2503000" y="929166"/>
                </a:cubicBezTo>
                <a:cubicBezTo>
                  <a:pt x="2503000" y="929166"/>
                  <a:pt x="2508978" y="917237"/>
                  <a:pt x="2503000" y="923200"/>
                </a:cubicBezTo>
                <a:lnTo>
                  <a:pt x="2506358" y="919966"/>
                </a:lnTo>
                <a:lnTo>
                  <a:pt x="2506386" y="919807"/>
                </a:lnTo>
                <a:cubicBezTo>
                  <a:pt x="2505580" y="911467"/>
                  <a:pt x="2499123" y="903933"/>
                  <a:pt x="2499123" y="899629"/>
                </a:cubicBezTo>
                <a:cubicBezTo>
                  <a:pt x="2510601" y="893889"/>
                  <a:pt x="2504862" y="905368"/>
                  <a:pt x="2510601" y="916847"/>
                </a:cubicBezTo>
                <a:cubicBezTo>
                  <a:pt x="2523515" y="903933"/>
                  <a:pt x="2523515" y="907162"/>
                  <a:pt x="2529972" y="907162"/>
                </a:cubicBezTo>
                <a:lnTo>
                  <a:pt x="2533117" y="906557"/>
                </a:lnTo>
                <a:lnTo>
                  <a:pt x="2532889" y="905309"/>
                </a:lnTo>
                <a:cubicBezTo>
                  <a:pt x="2541857" y="905309"/>
                  <a:pt x="2540736" y="905309"/>
                  <a:pt x="2544659" y="902794"/>
                </a:cubicBezTo>
                <a:lnTo>
                  <a:pt x="2550630" y="899454"/>
                </a:lnTo>
                <a:lnTo>
                  <a:pt x="2552822" y="892634"/>
                </a:lnTo>
                <a:cubicBezTo>
                  <a:pt x="2554147" y="889943"/>
                  <a:pt x="2556040" y="887637"/>
                  <a:pt x="2559070" y="886100"/>
                </a:cubicBezTo>
                <a:cubicBezTo>
                  <a:pt x="2540893" y="886100"/>
                  <a:pt x="2534835" y="898398"/>
                  <a:pt x="2516661" y="904548"/>
                </a:cubicBezTo>
                <a:cubicBezTo>
                  <a:pt x="2510601" y="898398"/>
                  <a:pt x="2516661" y="898398"/>
                  <a:pt x="2516661" y="892250"/>
                </a:cubicBezTo>
                <a:cubicBezTo>
                  <a:pt x="2528778" y="892250"/>
                  <a:pt x="2534835" y="879950"/>
                  <a:pt x="2546952" y="873800"/>
                </a:cubicBezTo>
                <a:cubicBezTo>
                  <a:pt x="2553011" y="873800"/>
                  <a:pt x="2556040" y="876875"/>
                  <a:pt x="2558312" y="880719"/>
                </a:cubicBezTo>
                <a:lnTo>
                  <a:pt x="2563748" y="889916"/>
                </a:lnTo>
                <a:lnTo>
                  <a:pt x="2568758" y="887417"/>
                </a:lnTo>
                <a:cubicBezTo>
                  <a:pt x="2568758" y="893381"/>
                  <a:pt x="2562780" y="893381"/>
                  <a:pt x="2562780" y="899346"/>
                </a:cubicBezTo>
                <a:cubicBezTo>
                  <a:pt x="2574736" y="911273"/>
                  <a:pt x="2568758" y="887417"/>
                  <a:pt x="2574736" y="899346"/>
                </a:cubicBezTo>
                <a:cubicBezTo>
                  <a:pt x="2580713" y="893381"/>
                  <a:pt x="2568758" y="893381"/>
                  <a:pt x="2574736" y="887417"/>
                </a:cubicBezTo>
                <a:cubicBezTo>
                  <a:pt x="2574736" y="887417"/>
                  <a:pt x="2580713" y="881453"/>
                  <a:pt x="2580713" y="881453"/>
                </a:cubicBezTo>
                <a:cubicBezTo>
                  <a:pt x="2586691" y="887417"/>
                  <a:pt x="2580713" y="893381"/>
                  <a:pt x="2586691" y="893381"/>
                </a:cubicBezTo>
                <a:cubicBezTo>
                  <a:pt x="2592669" y="893381"/>
                  <a:pt x="2586691" y="887417"/>
                  <a:pt x="2592669" y="893381"/>
                </a:cubicBezTo>
                <a:cubicBezTo>
                  <a:pt x="2586691" y="887417"/>
                  <a:pt x="2598647" y="881453"/>
                  <a:pt x="2598647" y="893381"/>
                </a:cubicBezTo>
                <a:cubicBezTo>
                  <a:pt x="2604625" y="881453"/>
                  <a:pt x="2586691" y="887417"/>
                  <a:pt x="2592669" y="875490"/>
                </a:cubicBezTo>
                <a:cubicBezTo>
                  <a:pt x="2604625" y="875490"/>
                  <a:pt x="2616581" y="875490"/>
                  <a:pt x="2622559" y="863560"/>
                </a:cubicBezTo>
                <a:cubicBezTo>
                  <a:pt x="2628538" y="863560"/>
                  <a:pt x="2622559" y="881453"/>
                  <a:pt x="2634516" y="875490"/>
                </a:cubicBezTo>
                <a:cubicBezTo>
                  <a:pt x="2634516" y="869526"/>
                  <a:pt x="2628538" y="869526"/>
                  <a:pt x="2628538" y="869526"/>
                </a:cubicBezTo>
                <a:cubicBezTo>
                  <a:pt x="2634516" y="866543"/>
                  <a:pt x="2640494" y="862070"/>
                  <a:pt x="2646471" y="859088"/>
                </a:cubicBezTo>
                <a:lnTo>
                  <a:pt x="2649403" y="858113"/>
                </a:lnTo>
                <a:lnTo>
                  <a:pt x="2646138" y="854430"/>
                </a:lnTo>
                <a:cubicBezTo>
                  <a:pt x="2643806" y="852277"/>
                  <a:pt x="2640697" y="850842"/>
                  <a:pt x="2634479" y="850842"/>
                </a:cubicBezTo>
                <a:cubicBezTo>
                  <a:pt x="2634479" y="845103"/>
                  <a:pt x="2634479" y="850842"/>
                  <a:pt x="2628261" y="839363"/>
                </a:cubicBezTo>
                <a:cubicBezTo>
                  <a:pt x="2634479" y="839363"/>
                  <a:pt x="2634479" y="839363"/>
                  <a:pt x="2640698" y="839363"/>
                </a:cubicBezTo>
                <a:cubicBezTo>
                  <a:pt x="2634479" y="845103"/>
                  <a:pt x="2640698" y="845103"/>
                  <a:pt x="2646915" y="850842"/>
                </a:cubicBezTo>
                <a:cubicBezTo>
                  <a:pt x="2653133" y="850842"/>
                  <a:pt x="2653133" y="845103"/>
                  <a:pt x="2653133" y="839363"/>
                </a:cubicBezTo>
                <a:cubicBezTo>
                  <a:pt x="2659351" y="842233"/>
                  <a:pt x="2659351" y="846538"/>
                  <a:pt x="2657797" y="850842"/>
                </a:cubicBezTo>
                <a:lnTo>
                  <a:pt x="2655645" y="856141"/>
                </a:lnTo>
                <a:lnTo>
                  <a:pt x="2664406" y="857597"/>
                </a:lnTo>
                <a:cubicBezTo>
                  <a:pt x="2664406" y="851633"/>
                  <a:pt x="2664406" y="851633"/>
                  <a:pt x="2664406" y="845669"/>
                </a:cubicBezTo>
                <a:cubicBezTo>
                  <a:pt x="2718207" y="827777"/>
                  <a:pt x="2783966" y="797957"/>
                  <a:pt x="2831791" y="768137"/>
                </a:cubicBezTo>
                <a:cubicBezTo>
                  <a:pt x="2831791" y="768137"/>
                  <a:pt x="2831791" y="774101"/>
                  <a:pt x="2831791" y="774101"/>
                </a:cubicBezTo>
                <a:cubicBezTo>
                  <a:pt x="2873636" y="738317"/>
                  <a:pt x="2921460" y="738317"/>
                  <a:pt x="2951351" y="708497"/>
                </a:cubicBezTo>
                <a:cubicBezTo>
                  <a:pt x="2954340" y="709988"/>
                  <a:pt x="2956208" y="711852"/>
                  <a:pt x="2957422" y="713902"/>
                </a:cubicBezTo>
                <a:lnTo>
                  <a:pt x="2957505" y="714154"/>
                </a:lnTo>
                <a:lnTo>
                  <a:pt x="2956645" y="714566"/>
                </a:lnTo>
                <a:lnTo>
                  <a:pt x="2957721" y="714809"/>
                </a:lnTo>
                <a:lnTo>
                  <a:pt x="2959571" y="720424"/>
                </a:lnTo>
                <a:cubicBezTo>
                  <a:pt x="2960318" y="724898"/>
                  <a:pt x="2960318" y="729371"/>
                  <a:pt x="2963307" y="732353"/>
                </a:cubicBezTo>
                <a:cubicBezTo>
                  <a:pt x="2963307" y="738317"/>
                  <a:pt x="2957329" y="726388"/>
                  <a:pt x="2951351" y="732353"/>
                </a:cubicBezTo>
                <a:cubicBezTo>
                  <a:pt x="2951351" y="726388"/>
                  <a:pt x="2957329" y="726388"/>
                  <a:pt x="2957329" y="726388"/>
                </a:cubicBezTo>
                <a:cubicBezTo>
                  <a:pt x="2951351" y="714461"/>
                  <a:pt x="2951351" y="732353"/>
                  <a:pt x="2945373" y="726388"/>
                </a:cubicBezTo>
                <a:cubicBezTo>
                  <a:pt x="2948362" y="729371"/>
                  <a:pt x="2949856" y="732353"/>
                  <a:pt x="2950604" y="736080"/>
                </a:cubicBezTo>
                <a:lnTo>
                  <a:pt x="2951099" y="745476"/>
                </a:lnTo>
                <a:lnTo>
                  <a:pt x="2953258" y="744663"/>
                </a:lnTo>
                <a:cubicBezTo>
                  <a:pt x="2958280" y="743228"/>
                  <a:pt x="2964019" y="741793"/>
                  <a:pt x="2964019" y="738923"/>
                </a:cubicBezTo>
                <a:cubicBezTo>
                  <a:pt x="2964019" y="738923"/>
                  <a:pt x="2964019" y="744663"/>
                  <a:pt x="2964019" y="744663"/>
                </a:cubicBezTo>
                <a:cubicBezTo>
                  <a:pt x="2961150" y="744663"/>
                  <a:pt x="2958280" y="744663"/>
                  <a:pt x="2955410" y="745380"/>
                </a:cubicBezTo>
                <a:lnTo>
                  <a:pt x="2951223" y="747823"/>
                </a:lnTo>
                <a:lnTo>
                  <a:pt x="2951351" y="750244"/>
                </a:lnTo>
                <a:lnTo>
                  <a:pt x="2948087" y="749653"/>
                </a:lnTo>
                <a:lnTo>
                  <a:pt x="2946801" y="750402"/>
                </a:lnTo>
                <a:lnTo>
                  <a:pt x="2946877" y="749433"/>
                </a:lnTo>
                <a:lnTo>
                  <a:pt x="2943131" y="748753"/>
                </a:lnTo>
                <a:cubicBezTo>
                  <a:pt x="2940889" y="747263"/>
                  <a:pt x="2939394" y="744281"/>
                  <a:pt x="2939394" y="738317"/>
                </a:cubicBezTo>
                <a:cubicBezTo>
                  <a:pt x="2933416" y="744281"/>
                  <a:pt x="2945373" y="756208"/>
                  <a:pt x="2927438" y="756208"/>
                </a:cubicBezTo>
                <a:cubicBezTo>
                  <a:pt x="2933416" y="750244"/>
                  <a:pt x="2933416" y="750244"/>
                  <a:pt x="2933416" y="744281"/>
                </a:cubicBezTo>
                <a:cubicBezTo>
                  <a:pt x="2927438" y="744281"/>
                  <a:pt x="2927438" y="744281"/>
                  <a:pt x="2921460" y="732353"/>
                </a:cubicBezTo>
                <a:cubicBezTo>
                  <a:pt x="2915482" y="744281"/>
                  <a:pt x="2927438" y="744281"/>
                  <a:pt x="2927438" y="756208"/>
                </a:cubicBezTo>
                <a:lnTo>
                  <a:pt x="2926756" y="759206"/>
                </a:lnTo>
                <a:lnTo>
                  <a:pt x="2929585" y="761881"/>
                </a:lnTo>
                <a:cubicBezTo>
                  <a:pt x="2916957" y="756142"/>
                  <a:pt x="2904330" y="767621"/>
                  <a:pt x="2898016" y="773360"/>
                </a:cubicBezTo>
                <a:cubicBezTo>
                  <a:pt x="2898016" y="770491"/>
                  <a:pt x="2899989" y="767621"/>
                  <a:pt x="2902949" y="765110"/>
                </a:cubicBezTo>
                <a:lnTo>
                  <a:pt x="2908668" y="761895"/>
                </a:lnTo>
                <a:lnTo>
                  <a:pt x="2900537" y="759190"/>
                </a:lnTo>
                <a:cubicBezTo>
                  <a:pt x="2897548" y="759190"/>
                  <a:pt x="2894559" y="759190"/>
                  <a:pt x="2891569" y="756208"/>
                </a:cubicBezTo>
                <a:cubicBezTo>
                  <a:pt x="2885591" y="762174"/>
                  <a:pt x="2897548" y="762174"/>
                  <a:pt x="2897548" y="762174"/>
                </a:cubicBezTo>
                <a:cubicBezTo>
                  <a:pt x="2897548" y="768137"/>
                  <a:pt x="2885591" y="762174"/>
                  <a:pt x="2885591" y="768137"/>
                </a:cubicBezTo>
                <a:cubicBezTo>
                  <a:pt x="2882604" y="768137"/>
                  <a:pt x="2884096" y="765154"/>
                  <a:pt x="2885591" y="761427"/>
                </a:cubicBezTo>
                <a:lnTo>
                  <a:pt x="2885591" y="756208"/>
                </a:lnTo>
                <a:lnTo>
                  <a:pt x="2885591" y="750244"/>
                </a:lnTo>
                <a:cubicBezTo>
                  <a:pt x="2879613" y="750244"/>
                  <a:pt x="2873636" y="762174"/>
                  <a:pt x="2885591" y="756208"/>
                </a:cubicBezTo>
                <a:cubicBezTo>
                  <a:pt x="2879613" y="768137"/>
                  <a:pt x="2873636" y="780064"/>
                  <a:pt x="2861679" y="791993"/>
                </a:cubicBezTo>
                <a:cubicBezTo>
                  <a:pt x="2867658" y="786029"/>
                  <a:pt x="2861679" y="780064"/>
                  <a:pt x="2867658" y="780064"/>
                </a:cubicBezTo>
                <a:lnTo>
                  <a:pt x="2867658" y="774101"/>
                </a:lnTo>
                <a:cubicBezTo>
                  <a:pt x="2855701" y="780064"/>
                  <a:pt x="2867658" y="762174"/>
                  <a:pt x="2861679" y="762174"/>
                </a:cubicBezTo>
                <a:cubicBezTo>
                  <a:pt x="2855701" y="768137"/>
                  <a:pt x="2867658" y="774101"/>
                  <a:pt x="2855701" y="774101"/>
                </a:cubicBezTo>
                <a:cubicBezTo>
                  <a:pt x="2867658" y="786029"/>
                  <a:pt x="2849723" y="780064"/>
                  <a:pt x="2861679" y="786029"/>
                </a:cubicBezTo>
                <a:cubicBezTo>
                  <a:pt x="2861679" y="791993"/>
                  <a:pt x="2855701" y="791993"/>
                  <a:pt x="2855701" y="797957"/>
                </a:cubicBezTo>
                <a:lnTo>
                  <a:pt x="2852063" y="792312"/>
                </a:lnTo>
                <a:lnTo>
                  <a:pt x="2850665" y="792731"/>
                </a:lnTo>
                <a:cubicBezTo>
                  <a:pt x="2847078" y="793449"/>
                  <a:pt x="2843490" y="793449"/>
                  <a:pt x="2843490" y="790578"/>
                </a:cubicBezTo>
                <a:lnTo>
                  <a:pt x="2848329" y="787192"/>
                </a:lnTo>
                <a:lnTo>
                  <a:pt x="2843091" y="784538"/>
                </a:lnTo>
                <a:cubicBezTo>
                  <a:pt x="2841129" y="784166"/>
                  <a:pt x="2839261" y="784538"/>
                  <a:pt x="2837767" y="786029"/>
                </a:cubicBezTo>
                <a:cubicBezTo>
                  <a:pt x="2840757" y="786029"/>
                  <a:pt x="2843745" y="789011"/>
                  <a:pt x="2844493" y="792738"/>
                </a:cubicBezTo>
                <a:lnTo>
                  <a:pt x="2842857" y="795457"/>
                </a:lnTo>
                <a:lnTo>
                  <a:pt x="2843490" y="796318"/>
                </a:lnTo>
                <a:lnTo>
                  <a:pt x="2842051" y="796798"/>
                </a:lnTo>
                <a:lnTo>
                  <a:pt x="2841782" y="797245"/>
                </a:lnTo>
                <a:lnTo>
                  <a:pt x="2841269" y="797059"/>
                </a:lnTo>
                <a:lnTo>
                  <a:pt x="2834881" y="799188"/>
                </a:lnTo>
                <a:lnTo>
                  <a:pt x="2831791" y="800218"/>
                </a:lnTo>
                <a:lnTo>
                  <a:pt x="2831791" y="803921"/>
                </a:lnTo>
                <a:lnTo>
                  <a:pt x="2827966" y="801493"/>
                </a:lnTo>
                <a:lnTo>
                  <a:pt x="2826272" y="802058"/>
                </a:lnTo>
                <a:lnTo>
                  <a:pt x="2826359" y="800472"/>
                </a:lnTo>
                <a:lnTo>
                  <a:pt x="2825626" y="800007"/>
                </a:lnTo>
                <a:cubicBezTo>
                  <a:pt x="2818340" y="800566"/>
                  <a:pt x="2809373" y="812867"/>
                  <a:pt x="2813856" y="821814"/>
                </a:cubicBezTo>
                <a:cubicBezTo>
                  <a:pt x="2807878" y="821814"/>
                  <a:pt x="2807878" y="809884"/>
                  <a:pt x="2807878" y="809884"/>
                </a:cubicBezTo>
                <a:cubicBezTo>
                  <a:pt x="2798911" y="805411"/>
                  <a:pt x="2800032" y="807648"/>
                  <a:pt x="2796109" y="811562"/>
                </a:cubicBezTo>
                <a:lnTo>
                  <a:pt x="2790856" y="815215"/>
                </a:lnTo>
                <a:lnTo>
                  <a:pt x="2797575" y="816405"/>
                </a:lnTo>
                <a:cubicBezTo>
                  <a:pt x="2794500" y="816405"/>
                  <a:pt x="2791425" y="817482"/>
                  <a:pt x="2788254" y="819096"/>
                </a:cubicBezTo>
                <a:lnTo>
                  <a:pt x="2787660" y="819451"/>
                </a:lnTo>
                <a:lnTo>
                  <a:pt x="2789944" y="821814"/>
                </a:lnTo>
                <a:lnTo>
                  <a:pt x="2786983" y="819857"/>
                </a:lnTo>
                <a:lnTo>
                  <a:pt x="2778358" y="825014"/>
                </a:lnTo>
                <a:cubicBezTo>
                  <a:pt x="2774899" y="827167"/>
                  <a:pt x="2771247" y="829319"/>
                  <a:pt x="2767308" y="830933"/>
                </a:cubicBezTo>
                <a:lnTo>
                  <a:pt x="2762527" y="831940"/>
                </a:lnTo>
                <a:lnTo>
                  <a:pt x="2760054" y="839704"/>
                </a:lnTo>
                <a:cubicBezTo>
                  <a:pt x="2758559" y="838213"/>
                  <a:pt x="2758185" y="836722"/>
                  <a:pt x="2758372" y="835231"/>
                </a:cubicBezTo>
                <a:lnTo>
                  <a:pt x="2759359" y="832607"/>
                </a:lnTo>
                <a:lnTo>
                  <a:pt x="2754584" y="833612"/>
                </a:lnTo>
                <a:lnTo>
                  <a:pt x="2754076" y="839704"/>
                </a:lnTo>
                <a:lnTo>
                  <a:pt x="2749269" y="838893"/>
                </a:lnTo>
                <a:lnTo>
                  <a:pt x="2749507" y="841515"/>
                </a:lnTo>
                <a:cubicBezTo>
                  <a:pt x="2747355" y="843668"/>
                  <a:pt x="2743051" y="845103"/>
                  <a:pt x="2737311" y="845103"/>
                </a:cubicBezTo>
                <a:cubicBezTo>
                  <a:pt x="2737311" y="839363"/>
                  <a:pt x="2743051" y="839363"/>
                  <a:pt x="2743051" y="833624"/>
                </a:cubicBezTo>
                <a:cubicBezTo>
                  <a:pt x="2743051" y="833624"/>
                  <a:pt x="2743051" y="833624"/>
                  <a:pt x="2743768" y="833624"/>
                </a:cubicBezTo>
                <a:lnTo>
                  <a:pt x="2744783" y="833624"/>
                </a:lnTo>
                <a:lnTo>
                  <a:pt x="2742119" y="827777"/>
                </a:lnTo>
                <a:cubicBezTo>
                  <a:pt x="2730163" y="839704"/>
                  <a:pt x="2730163" y="839704"/>
                  <a:pt x="2718207" y="839704"/>
                </a:cubicBezTo>
                <a:lnTo>
                  <a:pt x="2727537" y="842808"/>
                </a:lnTo>
                <a:lnTo>
                  <a:pt x="2737311" y="839363"/>
                </a:lnTo>
                <a:lnTo>
                  <a:pt x="2733527" y="845282"/>
                </a:lnTo>
                <a:lnTo>
                  <a:pt x="2734180" y="845576"/>
                </a:lnTo>
                <a:cubicBezTo>
                  <a:pt x="2735394" y="846787"/>
                  <a:pt x="2736141" y="848651"/>
                  <a:pt x="2736141" y="851633"/>
                </a:cubicBezTo>
                <a:lnTo>
                  <a:pt x="2730865" y="849001"/>
                </a:lnTo>
                <a:lnTo>
                  <a:pt x="2720936" y="855395"/>
                </a:lnTo>
                <a:lnTo>
                  <a:pt x="2720448" y="856852"/>
                </a:lnTo>
                <a:cubicBezTo>
                  <a:pt x="2716712" y="859088"/>
                  <a:pt x="2712229" y="860580"/>
                  <a:pt x="2712229" y="863560"/>
                </a:cubicBezTo>
                <a:cubicBezTo>
                  <a:pt x="2710735" y="863560"/>
                  <a:pt x="2710361" y="862815"/>
                  <a:pt x="2710735" y="861697"/>
                </a:cubicBezTo>
                <a:lnTo>
                  <a:pt x="2711994" y="859969"/>
                </a:lnTo>
                <a:lnTo>
                  <a:pt x="2703201" y="863495"/>
                </a:lnTo>
                <a:lnTo>
                  <a:pt x="2704108" y="863792"/>
                </a:lnTo>
                <a:cubicBezTo>
                  <a:pt x="2698369" y="869532"/>
                  <a:pt x="2692630" y="863792"/>
                  <a:pt x="2681151" y="875271"/>
                </a:cubicBezTo>
                <a:cubicBezTo>
                  <a:pt x="2679716" y="873836"/>
                  <a:pt x="2680434" y="872042"/>
                  <a:pt x="2682317" y="870248"/>
                </a:cubicBezTo>
                <a:lnTo>
                  <a:pt x="2687121" y="867292"/>
                </a:lnTo>
                <a:lnTo>
                  <a:pt x="2682785" y="868061"/>
                </a:lnTo>
                <a:lnTo>
                  <a:pt x="2687097" y="863398"/>
                </a:lnTo>
                <a:lnTo>
                  <a:pt x="2677109" y="862070"/>
                </a:lnTo>
                <a:cubicBezTo>
                  <a:pt x="2673373" y="862070"/>
                  <a:pt x="2670384" y="863562"/>
                  <a:pt x="2670384" y="869526"/>
                </a:cubicBezTo>
                <a:cubicBezTo>
                  <a:pt x="2670384" y="869526"/>
                  <a:pt x="2670384" y="869526"/>
                  <a:pt x="2670384" y="863560"/>
                </a:cubicBezTo>
                <a:lnTo>
                  <a:pt x="2651032" y="875234"/>
                </a:lnTo>
                <a:lnTo>
                  <a:pt x="2651398" y="875033"/>
                </a:lnTo>
                <a:cubicBezTo>
                  <a:pt x="2653012" y="874248"/>
                  <a:pt x="2654088" y="873800"/>
                  <a:pt x="2654088" y="873800"/>
                </a:cubicBezTo>
                <a:cubicBezTo>
                  <a:pt x="2648348" y="873800"/>
                  <a:pt x="2648348" y="888150"/>
                  <a:pt x="2648348" y="888150"/>
                </a:cubicBezTo>
                <a:cubicBezTo>
                  <a:pt x="2642609" y="888150"/>
                  <a:pt x="2642609" y="888150"/>
                  <a:pt x="2636870" y="888150"/>
                </a:cubicBezTo>
                <a:cubicBezTo>
                  <a:pt x="2636870" y="886356"/>
                  <a:pt x="2637946" y="884562"/>
                  <a:pt x="2639560" y="882881"/>
                </a:cubicBezTo>
                <a:lnTo>
                  <a:pt x="2643750" y="879627"/>
                </a:lnTo>
                <a:lnTo>
                  <a:pt x="2638251" y="882944"/>
                </a:lnTo>
                <a:cubicBezTo>
                  <a:pt x="2628538" y="887417"/>
                  <a:pt x="2619570" y="890399"/>
                  <a:pt x="2610603" y="893381"/>
                </a:cubicBezTo>
                <a:cubicBezTo>
                  <a:pt x="2607614" y="893381"/>
                  <a:pt x="2607614" y="893381"/>
                  <a:pt x="2608361" y="894126"/>
                </a:cubicBezTo>
                <a:lnTo>
                  <a:pt x="2610439" y="898964"/>
                </a:lnTo>
                <a:lnTo>
                  <a:pt x="2616782" y="893889"/>
                </a:lnTo>
                <a:cubicBezTo>
                  <a:pt x="2616782" y="893889"/>
                  <a:pt x="2616782" y="899629"/>
                  <a:pt x="2616782" y="899629"/>
                </a:cubicBezTo>
                <a:cubicBezTo>
                  <a:pt x="2616782" y="899629"/>
                  <a:pt x="2611043" y="899629"/>
                  <a:pt x="2611043" y="905368"/>
                </a:cubicBezTo>
                <a:lnTo>
                  <a:pt x="2609673" y="899887"/>
                </a:lnTo>
                <a:lnTo>
                  <a:pt x="2605503" y="902314"/>
                </a:lnTo>
                <a:lnTo>
                  <a:pt x="2606021" y="903216"/>
                </a:lnTo>
                <a:cubicBezTo>
                  <a:pt x="2606738" y="906803"/>
                  <a:pt x="2605303" y="911108"/>
                  <a:pt x="2599564" y="911108"/>
                </a:cubicBezTo>
                <a:cubicBezTo>
                  <a:pt x="2599564" y="908238"/>
                  <a:pt x="2599564" y="906803"/>
                  <a:pt x="2599564" y="905368"/>
                </a:cubicBezTo>
                <a:lnTo>
                  <a:pt x="2599564" y="904737"/>
                </a:lnTo>
                <a:lnTo>
                  <a:pt x="2592669" y="905309"/>
                </a:lnTo>
                <a:lnTo>
                  <a:pt x="2595746" y="901011"/>
                </a:lnTo>
                <a:lnTo>
                  <a:pt x="2597231" y="900016"/>
                </a:lnTo>
                <a:lnTo>
                  <a:pt x="2599564" y="899805"/>
                </a:lnTo>
                <a:lnTo>
                  <a:pt x="2599564" y="899629"/>
                </a:lnTo>
                <a:lnTo>
                  <a:pt x="2602798" y="899125"/>
                </a:lnTo>
                <a:lnTo>
                  <a:pt x="2599207" y="898692"/>
                </a:lnTo>
                <a:lnTo>
                  <a:pt x="2597231" y="900016"/>
                </a:lnTo>
                <a:lnTo>
                  <a:pt x="2596405" y="900091"/>
                </a:lnTo>
                <a:lnTo>
                  <a:pt x="2595746" y="901011"/>
                </a:lnTo>
                <a:lnTo>
                  <a:pt x="2592669" y="903073"/>
                </a:lnTo>
                <a:cubicBezTo>
                  <a:pt x="2590427" y="904936"/>
                  <a:pt x="2588185" y="906986"/>
                  <a:pt x="2586130" y="908571"/>
                </a:cubicBezTo>
                <a:lnTo>
                  <a:pt x="2583148" y="910058"/>
                </a:lnTo>
                <a:lnTo>
                  <a:pt x="2588085" y="916847"/>
                </a:lnTo>
                <a:cubicBezTo>
                  <a:pt x="2585216" y="916847"/>
                  <a:pt x="2582345" y="918282"/>
                  <a:pt x="2579476" y="919717"/>
                </a:cubicBezTo>
                <a:lnTo>
                  <a:pt x="2573305" y="921774"/>
                </a:lnTo>
                <a:lnTo>
                  <a:pt x="2574736" y="923200"/>
                </a:lnTo>
                <a:lnTo>
                  <a:pt x="2566367" y="925587"/>
                </a:lnTo>
                <a:lnTo>
                  <a:pt x="2570591" y="921372"/>
                </a:lnTo>
                <a:lnTo>
                  <a:pt x="2569916" y="918392"/>
                </a:lnTo>
                <a:lnTo>
                  <a:pt x="2568758" y="917237"/>
                </a:lnTo>
                <a:cubicBezTo>
                  <a:pt x="2565768" y="917237"/>
                  <a:pt x="2562780" y="917237"/>
                  <a:pt x="2562780" y="911273"/>
                </a:cubicBezTo>
                <a:lnTo>
                  <a:pt x="2554260" y="918961"/>
                </a:lnTo>
                <a:lnTo>
                  <a:pt x="2564867" y="916847"/>
                </a:lnTo>
                <a:cubicBezTo>
                  <a:pt x="2567867" y="919717"/>
                  <a:pt x="2567867" y="921152"/>
                  <a:pt x="2567117" y="922586"/>
                </a:cubicBezTo>
                <a:lnTo>
                  <a:pt x="2565887" y="925724"/>
                </a:lnTo>
                <a:lnTo>
                  <a:pt x="2566367" y="925587"/>
                </a:lnTo>
                <a:lnTo>
                  <a:pt x="2565667" y="926285"/>
                </a:lnTo>
                <a:lnTo>
                  <a:pt x="2564867" y="928326"/>
                </a:lnTo>
                <a:lnTo>
                  <a:pt x="2564231" y="927718"/>
                </a:lnTo>
                <a:lnTo>
                  <a:pt x="2562780" y="929166"/>
                </a:lnTo>
                <a:cubicBezTo>
                  <a:pt x="2561285" y="929166"/>
                  <a:pt x="2560911" y="928793"/>
                  <a:pt x="2561285" y="928234"/>
                </a:cubicBezTo>
                <a:lnTo>
                  <a:pt x="2563315" y="926842"/>
                </a:lnTo>
                <a:lnTo>
                  <a:pt x="2559617" y="923304"/>
                </a:lnTo>
                <a:cubicBezTo>
                  <a:pt x="2558867" y="921152"/>
                  <a:pt x="2558867" y="919717"/>
                  <a:pt x="2558867" y="922586"/>
                </a:cubicBezTo>
                <a:cubicBezTo>
                  <a:pt x="2558867" y="934066"/>
                  <a:pt x="2528864" y="939805"/>
                  <a:pt x="2522863" y="951284"/>
                </a:cubicBezTo>
                <a:cubicBezTo>
                  <a:pt x="2522863" y="945544"/>
                  <a:pt x="2510863" y="939805"/>
                  <a:pt x="2510863" y="945544"/>
                </a:cubicBezTo>
                <a:cubicBezTo>
                  <a:pt x="2509363" y="945544"/>
                  <a:pt x="2508988" y="944827"/>
                  <a:pt x="2509269" y="943571"/>
                </a:cubicBezTo>
                <a:lnTo>
                  <a:pt x="2510463" y="940921"/>
                </a:lnTo>
                <a:lnTo>
                  <a:pt x="2500011" y="946312"/>
                </a:lnTo>
                <a:lnTo>
                  <a:pt x="2498453" y="947699"/>
                </a:lnTo>
                <a:lnTo>
                  <a:pt x="2498156" y="954229"/>
                </a:lnTo>
                <a:cubicBezTo>
                  <a:pt x="2496577" y="956636"/>
                  <a:pt x="2493815" y="958519"/>
                  <a:pt x="2490659" y="959774"/>
                </a:cubicBezTo>
                <a:lnTo>
                  <a:pt x="2483434" y="961077"/>
                </a:lnTo>
                <a:lnTo>
                  <a:pt x="2479087" y="964949"/>
                </a:lnTo>
                <a:lnTo>
                  <a:pt x="2467595" y="960049"/>
                </a:lnTo>
                <a:lnTo>
                  <a:pt x="2468273" y="962762"/>
                </a:lnTo>
                <a:cubicBezTo>
                  <a:pt x="2468991" y="964197"/>
                  <a:pt x="2470426" y="965631"/>
                  <a:pt x="2473295" y="965631"/>
                </a:cubicBezTo>
                <a:cubicBezTo>
                  <a:pt x="2467556" y="971371"/>
                  <a:pt x="2456077" y="977111"/>
                  <a:pt x="2450338" y="965631"/>
                </a:cubicBezTo>
                <a:cubicBezTo>
                  <a:pt x="2453208" y="965631"/>
                  <a:pt x="2456077" y="964197"/>
                  <a:pt x="2458947" y="962762"/>
                </a:cubicBezTo>
                <a:lnTo>
                  <a:pt x="2467010" y="960074"/>
                </a:lnTo>
                <a:lnTo>
                  <a:pt x="2458164" y="961221"/>
                </a:lnTo>
                <a:cubicBezTo>
                  <a:pt x="2452186" y="963458"/>
                  <a:pt x="2446208" y="967932"/>
                  <a:pt x="2437241" y="970913"/>
                </a:cubicBezTo>
                <a:lnTo>
                  <a:pt x="2438552" y="973530"/>
                </a:lnTo>
                <a:lnTo>
                  <a:pt x="2444599" y="971371"/>
                </a:lnTo>
                <a:cubicBezTo>
                  <a:pt x="2444599" y="971371"/>
                  <a:pt x="2450338" y="977111"/>
                  <a:pt x="2450338" y="971371"/>
                </a:cubicBezTo>
                <a:cubicBezTo>
                  <a:pt x="2450338" y="977111"/>
                  <a:pt x="2444599" y="977111"/>
                  <a:pt x="2444599" y="977111"/>
                </a:cubicBezTo>
                <a:cubicBezTo>
                  <a:pt x="2444599" y="977111"/>
                  <a:pt x="2444599" y="982850"/>
                  <a:pt x="2444599" y="982850"/>
                </a:cubicBezTo>
                <a:cubicBezTo>
                  <a:pt x="2438859" y="988590"/>
                  <a:pt x="2438859" y="977111"/>
                  <a:pt x="2433119" y="982850"/>
                </a:cubicBezTo>
                <a:lnTo>
                  <a:pt x="2432060" y="979737"/>
                </a:lnTo>
                <a:lnTo>
                  <a:pt x="2423043" y="979859"/>
                </a:lnTo>
                <a:cubicBezTo>
                  <a:pt x="2418185" y="980605"/>
                  <a:pt x="2413515" y="982095"/>
                  <a:pt x="2410432" y="984518"/>
                </a:cubicBezTo>
                <a:lnTo>
                  <a:pt x="2409261" y="988414"/>
                </a:lnTo>
                <a:lnTo>
                  <a:pt x="2409322" y="988908"/>
                </a:lnTo>
                <a:cubicBezTo>
                  <a:pt x="2410080" y="990422"/>
                  <a:pt x="2411595" y="991938"/>
                  <a:pt x="2414625" y="994968"/>
                </a:cubicBezTo>
                <a:cubicBezTo>
                  <a:pt x="2414625" y="988908"/>
                  <a:pt x="2414625" y="988908"/>
                  <a:pt x="2416140" y="989665"/>
                </a:cubicBezTo>
                <a:lnTo>
                  <a:pt x="2422841" y="989188"/>
                </a:lnTo>
                <a:lnTo>
                  <a:pt x="2420682" y="992695"/>
                </a:lnTo>
                <a:cubicBezTo>
                  <a:pt x="2414625" y="996482"/>
                  <a:pt x="2408565" y="1001025"/>
                  <a:pt x="2414625" y="1007084"/>
                </a:cubicBezTo>
                <a:cubicBezTo>
                  <a:pt x="2408565" y="1007084"/>
                  <a:pt x="2402508" y="1007084"/>
                  <a:pt x="2402508" y="1013142"/>
                </a:cubicBezTo>
                <a:cubicBezTo>
                  <a:pt x="2396450" y="1013142"/>
                  <a:pt x="2402508" y="1007084"/>
                  <a:pt x="2408565" y="1001025"/>
                </a:cubicBezTo>
                <a:cubicBezTo>
                  <a:pt x="2408565" y="994968"/>
                  <a:pt x="2396450" y="1007084"/>
                  <a:pt x="2396450" y="1001025"/>
                </a:cubicBezTo>
                <a:cubicBezTo>
                  <a:pt x="2384333" y="1007084"/>
                  <a:pt x="2378274" y="1001025"/>
                  <a:pt x="2378274" y="1019201"/>
                </a:cubicBezTo>
                <a:cubicBezTo>
                  <a:pt x="2372216" y="1013142"/>
                  <a:pt x="2372216" y="1007084"/>
                  <a:pt x="2372216" y="1007084"/>
                </a:cubicBezTo>
                <a:lnTo>
                  <a:pt x="2370811" y="1007787"/>
                </a:lnTo>
                <a:lnTo>
                  <a:pt x="2363147" y="1017323"/>
                </a:lnTo>
                <a:lnTo>
                  <a:pt x="2360647" y="1017524"/>
                </a:lnTo>
                <a:lnTo>
                  <a:pt x="2360856" y="1019201"/>
                </a:lnTo>
                <a:cubicBezTo>
                  <a:pt x="2361614" y="1020715"/>
                  <a:pt x="2363129" y="1022230"/>
                  <a:pt x="2366158" y="1025259"/>
                </a:cubicBezTo>
                <a:cubicBezTo>
                  <a:pt x="2347982" y="1013142"/>
                  <a:pt x="2354041" y="1037376"/>
                  <a:pt x="2335867" y="1037376"/>
                </a:cubicBezTo>
                <a:cubicBezTo>
                  <a:pt x="2332837" y="1037376"/>
                  <a:pt x="2331322" y="1035861"/>
                  <a:pt x="2330564" y="1033589"/>
                </a:cubicBezTo>
                <a:lnTo>
                  <a:pt x="2330345" y="1031179"/>
                </a:lnTo>
                <a:lnTo>
                  <a:pt x="2327421" y="1033513"/>
                </a:lnTo>
                <a:lnTo>
                  <a:pt x="2328787" y="1034953"/>
                </a:lnTo>
                <a:cubicBezTo>
                  <a:pt x="2329438" y="1036279"/>
                  <a:pt x="2329809" y="1038172"/>
                  <a:pt x="2329809" y="1041201"/>
                </a:cubicBezTo>
                <a:cubicBezTo>
                  <a:pt x="2317919" y="1041201"/>
                  <a:pt x="2317919" y="1047260"/>
                  <a:pt x="2311976" y="1047260"/>
                </a:cubicBezTo>
                <a:cubicBezTo>
                  <a:pt x="2311976" y="1041201"/>
                  <a:pt x="2317919" y="1041201"/>
                  <a:pt x="2317919" y="1035144"/>
                </a:cubicBezTo>
                <a:cubicBezTo>
                  <a:pt x="2317919" y="1029084"/>
                  <a:pt x="2311976" y="1035144"/>
                  <a:pt x="2311976" y="1035144"/>
                </a:cubicBezTo>
                <a:cubicBezTo>
                  <a:pt x="2306032" y="1035144"/>
                  <a:pt x="2300086" y="1047260"/>
                  <a:pt x="2306032" y="1035144"/>
                </a:cubicBezTo>
                <a:cubicBezTo>
                  <a:pt x="2288197" y="1065435"/>
                  <a:pt x="2276308" y="1065435"/>
                  <a:pt x="2252531" y="1077552"/>
                </a:cubicBezTo>
                <a:cubicBezTo>
                  <a:pt x="2252531" y="1074523"/>
                  <a:pt x="2251045" y="1073008"/>
                  <a:pt x="2250302" y="1071493"/>
                </a:cubicBezTo>
                <a:lnTo>
                  <a:pt x="2251971" y="1066960"/>
                </a:lnTo>
                <a:lnTo>
                  <a:pt x="2247907" y="1066244"/>
                </a:lnTo>
                <a:lnTo>
                  <a:pt x="2246346" y="1061572"/>
                </a:lnTo>
                <a:lnTo>
                  <a:pt x="2243486" y="1064264"/>
                </a:lnTo>
                <a:lnTo>
                  <a:pt x="2236698" y="1075004"/>
                </a:lnTo>
                <a:cubicBezTo>
                  <a:pt x="2232307" y="1077706"/>
                  <a:pt x="2226890" y="1078638"/>
                  <a:pt x="2221285" y="1079011"/>
                </a:cubicBezTo>
                <a:lnTo>
                  <a:pt x="2216266" y="1079209"/>
                </a:lnTo>
                <a:lnTo>
                  <a:pt x="2216408" y="1079705"/>
                </a:lnTo>
                <a:cubicBezTo>
                  <a:pt x="2217170" y="1081857"/>
                  <a:pt x="2217170" y="1083292"/>
                  <a:pt x="2211071" y="1083292"/>
                </a:cubicBezTo>
                <a:cubicBezTo>
                  <a:pt x="2211071" y="1094771"/>
                  <a:pt x="2217171" y="1089031"/>
                  <a:pt x="2217171" y="1100510"/>
                </a:cubicBezTo>
                <a:cubicBezTo>
                  <a:pt x="2211071" y="1094771"/>
                  <a:pt x="2211071" y="1100510"/>
                  <a:pt x="2204974" y="1106250"/>
                </a:cubicBezTo>
                <a:lnTo>
                  <a:pt x="2193845" y="1093179"/>
                </a:lnTo>
                <a:lnTo>
                  <a:pt x="2190647" y="1095413"/>
                </a:lnTo>
                <a:cubicBezTo>
                  <a:pt x="2189153" y="1096158"/>
                  <a:pt x="2189153" y="1096158"/>
                  <a:pt x="2192142" y="1096158"/>
                </a:cubicBezTo>
                <a:cubicBezTo>
                  <a:pt x="2187658" y="1100631"/>
                  <a:pt x="2183175" y="1091685"/>
                  <a:pt x="2183735" y="1086932"/>
                </a:cubicBezTo>
                <a:lnTo>
                  <a:pt x="2186135" y="1084262"/>
                </a:lnTo>
                <a:lnTo>
                  <a:pt x="2185917" y="1084009"/>
                </a:lnTo>
                <a:lnTo>
                  <a:pt x="2185411" y="1083069"/>
                </a:lnTo>
                <a:lnTo>
                  <a:pt x="2185136" y="1082645"/>
                </a:lnTo>
                <a:cubicBezTo>
                  <a:pt x="2183175" y="1083484"/>
                  <a:pt x="2178692" y="1090193"/>
                  <a:pt x="2174208" y="1090193"/>
                </a:cubicBezTo>
                <a:cubicBezTo>
                  <a:pt x="2174208" y="1090193"/>
                  <a:pt x="2174208" y="1091685"/>
                  <a:pt x="2174208" y="1093176"/>
                </a:cubicBezTo>
                <a:lnTo>
                  <a:pt x="2174208" y="1094867"/>
                </a:lnTo>
                <a:lnTo>
                  <a:pt x="2174841" y="1095058"/>
                </a:lnTo>
                <a:lnTo>
                  <a:pt x="2173929" y="1102243"/>
                </a:lnTo>
                <a:lnTo>
                  <a:pt x="2174208" y="1102122"/>
                </a:lnTo>
                <a:lnTo>
                  <a:pt x="2173843" y="1102925"/>
                </a:lnTo>
                <a:lnTo>
                  <a:pt x="2173407" y="1106358"/>
                </a:lnTo>
                <a:cubicBezTo>
                  <a:pt x="2174841" y="1110124"/>
                  <a:pt x="2177711" y="1113137"/>
                  <a:pt x="2180580" y="1113137"/>
                </a:cubicBezTo>
                <a:lnTo>
                  <a:pt x="2186987" y="1112016"/>
                </a:lnTo>
                <a:lnTo>
                  <a:pt x="2190424" y="1107719"/>
                </a:lnTo>
                <a:lnTo>
                  <a:pt x="2192444" y="1112770"/>
                </a:lnTo>
                <a:lnTo>
                  <a:pt x="2193494" y="1113137"/>
                </a:lnTo>
                <a:lnTo>
                  <a:pt x="2196077" y="1116753"/>
                </a:lnTo>
                <a:lnTo>
                  <a:pt x="2206340" y="1112558"/>
                </a:lnTo>
                <a:lnTo>
                  <a:pt x="2224678" y="1100565"/>
                </a:lnTo>
                <a:lnTo>
                  <a:pt x="2223627" y="1100510"/>
                </a:lnTo>
                <a:cubicBezTo>
                  <a:pt x="2223627" y="1094771"/>
                  <a:pt x="2240846" y="1094771"/>
                  <a:pt x="2235106" y="1089031"/>
                </a:cubicBezTo>
                <a:cubicBezTo>
                  <a:pt x="2237976" y="1089031"/>
                  <a:pt x="2239411" y="1089031"/>
                  <a:pt x="2240846" y="1089031"/>
                </a:cubicBezTo>
                <a:lnTo>
                  <a:pt x="2243991" y="1089031"/>
                </a:lnTo>
                <a:lnTo>
                  <a:pt x="2249009" y="1086315"/>
                </a:lnTo>
                <a:lnTo>
                  <a:pt x="2251787" y="1083202"/>
                </a:lnTo>
                <a:cubicBezTo>
                  <a:pt x="2253760" y="1082036"/>
                  <a:pt x="2255912" y="1081498"/>
                  <a:pt x="2258064" y="1081140"/>
                </a:cubicBezTo>
                <a:lnTo>
                  <a:pt x="2259262" y="1080765"/>
                </a:lnTo>
                <a:lnTo>
                  <a:pt x="2263880" y="1078266"/>
                </a:lnTo>
                <a:lnTo>
                  <a:pt x="2264887" y="1079007"/>
                </a:lnTo>
                <a:lnTo>
                  <a:pt x="2269543" y="1077552"/>
                </a:lnTo>
                <a:lnTo>
                  <a:pt x="2267154" y="1080678"/>
                </a:lnTo>
                <a:lnTo>
                  <a:pt x="2273873" y="1085628"/>
                </a:lnTo>
                <a:cubicBezTo>
                  <a:pt x="2284801" y="1087585"/>
                  <a:pt x="2298252" y="1075283"/>
                  <a:pt x="2311702" y="1066337"/>
                </a:cubicBezTo>
                <a:cubicBezTo>
                  <a:pt x="2317681" y="1066337"/>
                  <a:pt x="2311702" y="1066337"/>
                  <a:pt x="2311702" y="1060373"/>
                </a:cubicBezTo>
                <a:cubicBezTo>
                  <a:pt x="2320669" y="1069320"/>
                  <a:pt x="2329637" y="1058137"/>
                  <a:pt x="2338604" y="1054503"/>
                </a:cubicBezTo>
                <a:lnTo>
                  <a:pt x="2340640" y="1054482"/>
                </a:lnTo>
                <a:lnTo>
                  <a:pt x="2329809" y="1047752"/>
                </a:lnTo>
                <a:cubicBezTo>
                  <a:pt x="2347983" y="1035832"/>
                  <a:pt x="2354043" y="1029872"/>
                  <a:pt x="2384335" y="1023913"/>
                </a:cubicBezTo>
                <a:cubicBezTo>
                  <a:pt x="2381305" y="1011991"/>
                  <a:pt x="2385849" y="1013481"/>
                  <a:pt x="2392664" y="1015716"/>
                </a:cubicBezTo>
                <a:lnTo>
                  <a:pt x="2399753" y="1017181"/>
                </a:lnTo>
                <a:lnTo>
                  <a:pt x="2399692" y="1017042"/>
                </a:lnTo>
                <a:cubicBezTo>
                  <a:pt x="2399505" y="1015644"/>
                  <a:pt x="2399878" y="1014153"/>
                  <a:pt x="2401372" y="1012662"/>
                </a:cubicBezTo>
                <a:lnTo>
                  <a:pt x="2407786" y="1015861"/>
                </a:lnTo>
                <a:lnTo>
                  <a:pt x="2414626" y="1011991"/>
                </a:lnTo>
                <a:cubicBezTo>
                  <a:pt x="2414626" y="1017951"/>
                  <a:pt x="2414626" y="1016461"/>
                  <a:pt x="2415384" y="1013481"/>
                </a:cubicBezTo>
                <a:lnTo>
                  <a:pt x="2416647" y="1010079"/>
                </a:lnTo>
                <a:lnTo>
                  <a:pt x="2416417" y="1009611"/>
                </a:lnTo>
                <a:lnTo>
                  <a:pt x="2416963" y="1009231"/>
                </a:lnTo>
                <a:lnTo>
                  <a:pt x="2417182" y="1008638"/>
                </a:lnTo>
                <a:cubicBezTo>
                  <a:pt x="2418034" y="1007148"/>
                  <a:pt x="2419170" y="1006030"/>
                  <a:pt x="2420684" y="1006030"/>
                </a:cubicBezTo>
                <a:lnTo>
                  <a:pt x="2420847" y="1006749"/>
                </a:lnTo>
                <a:lnTo>
                  <a:pt x="2431485" y="1001540"/>
                </a:lnTo>
                <a:cubicBezTo>
                  <a:pt x="2431485" y="1007279"/>
                  <a:pt x="2429810" y="1010149"/>
                  <a:pt x="2427299" y="1011584"/>
                </a:cubicBezTo>
                <a:lnTo>
                  <a:pt x="2422130" y="1012389"/>
                </a:lnTo>
                <a:lnTo>
                  <a:pt x="2422293" y="1013108"/>
                </a:lnTo>
                <a:cubicBezTo>
                  <a:pt x="2422009" y="1014971"/>
                  <a:pt x="2421063" y="1016461"/>
                  <a:pt x="2419927" y="1017951"/>
                </a:cubicBezTo>
                <a:lnTo>
                  <a:pt x="2419115" y="1019778"/>
                </a:lnTo>
                <a:lnTo>
                  <a:pt x="2422389" y="1018439"/>
                </a:lnTo>
                <a:cubicBezTo>
                  <a:pt x="2434998" y="1011171"/>
                  <a:pt x="2441724" y="1002224"/>
                  <a:pt x="2455175" y="1006697"/>
                </a:cubicBezTo>
                <a:lnTo>
                  <a:pt x="2467314" y="998047"/>
                </a:lnTo>
                <a:lnTo>
                  <a:pt x="2466749" y="993343"/>
                </a:lnTo>
                <a:cubicBezTo>
                  <a:pt x="2468632" y="988231"/>
                  <a:pt x="2476166" y="987155"/>
                  <a:pt x="2467556" y="982850"/>
                </a:cubicBezTo>
                <a:cubicBezTo>
                  <a:pt x="2471861" y="978546"/>
                  <a:pt x="2476166" y="987155"/>
                  <a:pt x="2480470" y="991728"/>
                </a:cubicBezTo>
                <a:lnTo>
                  <a:pt x="2481103" y="992111"/>
                </a:lnTo>
                <a:lnTo>
                  <a:pt x="2491043" y="988806"/>
                </a:lnTo>
                <a:lnTo>
                  <a:pt x="2494851" y="978578"/>
                </a:lnTo>
                <a:lnTo>
                  <a:pt x="2493383" y="977111"/>
                </a:lnTo>
                <a:lnTo>
                  <a:pt x="2495772" y="976105"/>
                </a:lnTo>
                <a:lnTo>
                  <a:pt x="2495900" y="975760"/>
                </a:lnTo>
                <a:cubicBezTo>
                  <a:pt x="2498889" y="972777"/>
                  <a:pt x="2502999" y="970913"/>
                  <a:pt x="2507483" y="969423"/>
                </a:cubicBezTo>
                <a:lnTo>
                  <a:pt x="2512691" y="967877"/>
                </a:lnTo>
                <a:lnTo>
                  <a:pt x="2516341" y="965631"/>
                </a:lnTo>
                <a:lnTo>
                  <a:pt x="2516009" y="966893"/>
                </a:lnTo>
                <a:lnTo>
                  <a:pt x="2521307" y="965322"/>
                </a:lnTo>
                <a:lnTo>
                  <a:pt x="2522477" y="964682"/>
                </a:lnTo>
                <a:lnTo>
                  <a:pt x="2522440" y="964402"/>
                </a:lnTo>
                <a:cubicBezTo>
                  <a:pt x="2528537" y="958255"/>
                  <a:pt x="2534636" y="958255"/>
                  <a:pt x="2546833" y="952105"/>
                </a:cubicBezTo>
                <a:cubicBezTo>
                  <a:pt x="2546833" y="952105"/>
                  <a:pt x="2546833" y="945955"/>
                  <a:pt x="2540734" y="945955"/>
                </a:cubicBezTo>
                <a:cubicBezTo>
                  <a:pt x="2543784" y="942880"/>
                  <a:pt x="2548357" y="942880"/>
                  <a:pt x="2552930" y="945187"/>
                </a:cubicBezTo>
                <a:lnTo>
                  <a:pt x="2562274" y="955198"/>
                </a:lnTo>
                <a:lnTo>
                  <a:pt x="2569225" y="950132"/>
                </a:lnTo>
                <a:cubicBezTo>
                  <a:pt x="2573615" y="947057"/>
                  <a:pt x="2577724" y="944075"/>
                  <a:pt x="2580713" y="941093"/>
                </a:cubicBezTo>
                <a:cubicBezTo>
                  <a:pt x="2580713" y="947057"/>
                  <a:pt x="2580713" y="947057"/>
                  <a:pt x="2580713" y="953021"/>
                </a:cubicBezTo>
                <a:cubicBezTo>
                  <a:pt x="2586691" y="935130"/>
                  <a:pt x="2592669" y="947057"/>
                  <a:pt x="2598647" y="929166"/>
                </a:cubicBezTo>
                <a:cubicBezTo>
                  <a:pt x="2598647" y="941093"/>
                  <a:pt x="2604625" y="929166"/>
                  <a:pt x="2610603" y="923200"/>
                </a:cubicBezTo>
                <a:cubicBezTo>
                  <a:pt x="2606120" y="936620"/>
                  <a:pt x="2615087" y="926556"/>
                  <a:pt x="2622373" y="925717"/>
                </a:cubicBezTo>
                <a:lnTo>
                  <a:pt x="2623245" y="926205"/>
                </a:lnTo>
                <a:lnTo>
                  <a:pt x="2625212" y="920434"/>
                </a:lnTo>
                <a:cubicBezTo>
                  <a:pt x="2624316" y="918282"/>
                  <a:pt x="2622522" y="916847"/>
                  <a:pt x="2622522" y="916847"/>
                </a:cubicBezTo>
                <a:cubicBezTo>
                  <a:pt x="2629697" y="911108"/>
                  <a:pt x="2636871" y="911108"/>
                  <a:pt x="2636871" y="911108"/>
                </a:cubicBezTo>
                <a:lnTo>
                  <a:pt x="2635083" y="919690"/>
                </a:lnTo>
                <a:lnTo>
                  <a:pt x="2640494" y="917237"/>
                </a:lnTo>
                <a:cubicBezTo>
                  <a:pt x="2640494" y="923200"/>
                  <a:pt x="2646471" y="923200"/>
                  <a:pt x="2646471" y="929166"/>
                </a:cubicBezTo>
                <a:cubicBezTo>
                  <a:pt x="2646471" y="917237"/>
                  <a:pt x="2646471" y="905309"/>
                  <a:pt x="2658428" y="899346"/>
                </a:cubicBezTo>
                <a:cubicBezTo>
                  <a:pt x="2658428" y="905309"/>
                  <a:pt x="2652449" y="911273"/>
                  <a:pt x="2658428" y="911273"/>
                </a:cubicBezTo>
                <a:cubicBezTo>
                  <a:pt x="2676362" y="906801"/>
                  <a:pt x="2684209" y="898972"/>
                  <a:pt x="2694576" y="897854"/>
                </a:cubicBezTo>
                <a:lnTo>
                  <a:pt x="2700163" y="898568"/>
                </a:lnTo>
                <a:lnTo>
                  <a:pt x="2700004" y="898398"/>
                </a:lnTo>
                <a:lnTo>
                  <a:pt x="2707897" y="897861"/>
                </a:lnTo>
                <a:lnTo>
                  <a:pt x="2714978" y="891476"/>
                </a:lnTo>
                <a:lnTo>
                  <a:pt x="2712999" y="891384"/>
                </a:lnTo>
                <a:cubicBezTo>
                  <a:pt x="2712435" y="890711"/>
                  <a:pt x="2712058" y="889175"/>
                  <a:pt x="2712058" y="886100"/>
                </a:cubicBezTo>
                <a:cubicBezTo>
                  <a:pt x="2715071" y="883025"/>
                  <a:pt x="2718084" y="883025"/>
                  <a:pt x="2720343" y="884563"/>
                </a:cubicBezTo>
                <a:lnTo>
                  <a:pt x="2721617" y="887162"/>
                </a:lnTo>
                <a:lnTo>
                  <a:pt x="2723965" y="885739"/>
                </a:lnTo>
                <a:lnTo>
                  <a:pt x="2722415" y="881872"/>
                </a:lnTo>
                <a:cubicBezTo>
                  <a:pt x="2722227" y="880719"/>
                  <a:pt x="2722603" y="879950"/>
                  <a:pt x="2724109" y="879950"/>
                </a:cubicBezTo>
                <a:lnTo>
                  <a:pt x="2725831" y="880201"/>
                </a:lnTo>
                <a:lnTo>
                  <a:pt x="2725831" y="873083"/>
                </a:lnTo>
                <a:cubicBezTo>
                  <a:pt x="2727266" y="868420"/>
                  <a:pt x="2728701" y="863757"/>
                  <a:pt x="2725831" y="863757"/>
                </a:cubicBezTo>
                <a:cubicBezTo>
                  <a:pt x="2731570" y="857538"/>
                  <a:pt x="2760267" y="857538"/>
                  <a:pt x="2766007" y="845103"/>
                </a:cubicBezTo>
                <a:cubicBezTo>
                  <a:pt x="2766007" y="854429"/>
                  <a:pt x="2757398" y="859093"/>
                  <a:pt x="2748071" y="863757"/>
                </a:cubicBezTo>
                <a:lnTo>
                  <a:pt x="2728075" y="880528"/>
                </a:lnTo>
                <a:lnTo>
                  <a:pt x="2729384" y="880718"/>
                </a:lnTo>
                <a:lnTo>
                  <a:pt x="2729491" y="881485"/>
                </a:lnTo>
                <a:lnTo>
                  <a:pt x="2736141" y="875490"/>
                </a:lnTo>
                <a:cubicBezTo>
                  <a:pt x="2742119" y="875490"/>
                  <a:pt x="2736141" y="875490"/>
                  <a:pt x="2742119" y="881453"/>
                </a:cubicBezTo>
                <a:cubicBezTo>
                  <a:pt x="2766031" y="863560"/>
                  <a:pt x="2783966" y="851633"/>
                  <a:pt x="2807878" y="845669"/>
                </a:cubicBezTo>
                <a:cubicBezTo>
                  <a:pt x="2807878" y="839704"/>
                  <a:pt x="2807878" y="833741"/>
                  <a:pt x="2807878" y="827777"/>
                </a:cubicBezTo>
                <a:cubicBezTo>
                  <a:pt x="2813856" y="833741"/>
                  <a:pt x="2813856" y="833741"/>
                  <a:pt x="2813856" y="845669"/>
                </a:cubicBezTo>
                <a:cubicBezTo>
                  <a:pt x="2825813" y="833741"/>
                  <a:pt x="2831791" y="833741"/>
                  <a:pt x="2843745" y="815850"/>
                </a:cubicBezTo>
                <a:cubicBezTo>
                  <a:pt x="2843745" y="821814"/>
                  <a:pt x="2843745" y="821814"/>
                  <a:pt x="2837767" y="827777"/>
                </a:cubicBezTo>
                <a:cubicBezTo>
                  <a:pt x="2840756" y="827777"/>
                  <a:pt x="2842250" y="827777"/>
                  <a:pt x="2844492" y="827777"/>
                </a:cubicBezTo>
                <a:lnTo>
                  <a:pt x="2849947" y="827777"/>
                </a:lnTo>
                <a:lnTo>
                  <a:pt x="2849947" y="826270"/>
                </a:lnTo>
                <a:lnTo>
                  <a:pt x="2852176" y="825265"/>
                </a:lnTo>
                <a:lnTo>
                  <a:pt x="2850470" y="824050"/>
                </a:lnTo>
                <a:cubicBezTo>
                  <a:pt x="2849723" y="823304"/>
                  <a:pt x="2849723" y="821814"/>
                  <a:pt x="2849723" y="815850"/>
                </a:cubicBezTo>
                <a:cubicBezTo>
                  <a:pt x="2855701" y="815850"/>
                  <a:pt x="2861679" y="821814"/>
                  <a:pt x="2855701" y="809884"/>
                </a:cubicBezTo>
                <a:cubicBezTo>
                  <a:pt x="2861679" y="809884"/>
                  <a:pt x="2861679" y="815850"/>
                  <a:pt x="2861679" y="815850"/>
                </a:cubicBezTo>
                <a:cubicBezTo>
                  <a:pt x="2861679" y="815850"/>
                  <a:pt x="2867658" y="809884"/>
                  <a:pt x="2867658" y="815850"/>
                </a:cubicBezTo>
                <a:cubicBezTo>
                  <a:pt x="2873636" y="815850"/>
                  <a:pt x="2873636" y="809884"/>
                  <a:pt x="2873636" y="803921"/>
                </a:cubicBezTo>
                <a:cubicBezTo>
                  <a:pt x="2873636" y="809884"/>
                  <a:pt x="2873636" y="809884"/>
                  <a:pt x="2879613" y="809884"/>
                </a:cubicBezTo>
                <a:cubicBezTo>
                  <a:pt x="2885591" y="815850"/>
                  <a:pt x="2897548" y="797957"/>
                  <a:pt x="2903526" y="791993"/>
                </a:cubicBezTo>
                <a:cubicBezTo>
                  <a:pt x="2909504" y="791993"/>
                  <a:pt x="2909504" y="791993"/>
                  <a:pt x="2909504" y="797957"/>
                </a:cubicBezTo>
                <a:cubicBezTo>
                  <a:pt x="2921460" y="797957"/>
                  <a:pt x="2903526" y="786029"/>
                  <a:pt x="2915482" y="786029"/>
                </a:cubicBezTo>
                <a:cubicBezTo>
                  <a:pt x="2915482" y="791993"/>
                  <a:pt x="2915482" y="786029"/>
                  <a:pt x="2921460" y="791993"/>
                </a:cubicBezTo>
                <a:cubicBezTo>
                  <a:pt x="2921460" y="791993"/>
                  <a:pt x="2927438" y="786029"/>
                  <a:pt x="2933416" y="786029"/>
                </a:cubicBezTo>
                <a:cubicBezTo>
                  <a:pt x="2933416" y="786029"/>
                  <a:pt x="2933416" y="780064"/>
                  <a:pt x="2933416" y="774101"/>
                </a:cubicBezTo>
                <a:cubicBezTo>
                  <a:pt x="2933416" y="774101"/>
                  <a:pt x="2936405" y="775592"/>
                  <a:pt x="2939394" y="776337"/>
                </a:cubicBezTo>
                <a:lnTo>
                  <a:pt x="2942444" y="775196"/>
                </a:lnTo>
                <a:lnTo>
                  <a:pt x="2945373" y="780064"/>
                </a:lnTo>
                <a:cubicBezTo>
                  <a:pt x="2945373" y="780064"/>
                  <a:pt x="2951351" y="774101"/>
                  <a:pt x="2963307" y="774101"/>
                </a:cubicBezTo>
                <a:cubicBezTo>
                  <a:pt x="2951351" y="768137"/>
                  <a:pt x="2963307" y="768137"/>
                  <a:pt x="2969283" y="774101"/>
                </a:cubicBezTo>
                <a:cubicBezTo>
                  <a:pt x="2969283" y="768137"/>
                  <a:pt x="2969283" y="768137"/>
                  <a:pt x="2969283" y="762174"/>
                </a:cubicBezTo>
                <a:cubicBezTo>
                  <a:pt x="2975261" y="768137"/>
                  <a:pt x="2999173" y="768137"/>
                  <a:pt x="3005151" y="744281"/>
                </a:cubicBezTo>
                <a:cubicBezTo>
                  <a:pt x="3005151" y="744281"/>
                  <a:pt x="3011129" y="750244"/>
                  <a:pt x="3011129" y="756208"/>
                </a:cubicBezTo>
                <a:cubicBezTo>
                  <a:pt x="3023086" y="756208"/>
                  <a:pt x="3011129" y="744281"/>
                  <a:pt x="3023086" y="744281"/>
                </a:cubicBezTo>
                <a:cubicBezTo>
                  <a:pt x="3029064" y="750244"/>
                  <a:pt x="3029064" y="738317"/>
                  <a:pt x="3035042" y="744281"/>
                </a:cubicBezTo>
                <a:cubicBezTo>
                  <a:pt x="3035042" y="738317"/>
                  <a:pt x="3029064" y="738317"/>
                  <a:pt x="3029064" y="732353"/>
                </a:cubicBezTo>
                <a:cubicBezTo>
                  <a:pt x="3035042" y="726388"/>
                  <a:pt x="3041020" y="732353"/>
                  <a:pt x="3041020" y="744281"/>
                </a:cubicBezTo>
                <a:cubicBezTo>
                  <a:pt x="3046998" y="738317"/>
                  <a:pt x="3046998" y="732353"/>
                  <a:pt x="3041020" y="726388"/>
                </a:cubicBezTo>
                <a:cubicBezTo>
                  <a:pt x="3058954" y="720424"/>
                  <a:pt x="3064932" y="714461"/>
                  <a:pt x="3082867" y="720424"/>
                </a:cubicBezTo>
                <a:cubicBezTo>
                  <a:pt x="3088845" y="714461"/>
                  <a:pt x="3082867" y="708497"/>
                  <a:pt x="3082867" y="702534"/>
                </a:cubicBezTo>
                <a:cubicBezTo>
                  <a:pt x="3082867" y="702534"/>
                  <a:pt x="3088845" y="714461"/>
                  <a:pt x="3094823" y="714461"/>
                </a:cubicBezTo>
                <a:cubicBezTo>
                  <a:pt x="3100800" y="714461"/>
                  <a:pt x="3094823" y="714461"/>
                  <a:pt x="3094823" y="708497"/>
                </a:cubicBezTo>
                <a:cubicBezTo>
                  <a:pt x="3100800" y="708497"/>
                  <a:pt x="3100800" y="708497"/>
                  <a:pt x="3100800" y="708497"/>
                </a:cubicBezTo>
                <a:cubicBezTo>
                  <a:pt x="3106778" y="708497"/>
                  <a:pt x="3106778" y="690605"/>
                  <a:pt x="3106778" y="708497"/>
                </a:cubicBezTo>
                <a:cubicBezTo>
                  <a:pt x="3106778" y="702534"/>
                  <a:pt x="3124711" y="696568"/>
                  <a:pt x="3124711" y="696568"/>
                </a:cubicBezTo>
                <a:cubicBezTo>
                  <a:pt x="3124711" y="696568"/>
                  <a:pt x="3118733" y="690605"/>
                  <a:pt x="3124711" y="684641"/>
                </a:cubicBezTo>
                <a:cubicBezTo>
                  <a:pt x="3130689" y="684641"/>
                  <a:pt x="3130689" y="702534"/>
                  <a:pt x="3124711" y="708497"/>
                </a:cubicBezTo>
                <a:cubicBezTo>
                  <a:pt x="3130689" y="714461"/>
                  <a:pt x="3136667" y="696568"/>
                  <a:pt x="3130689" y="690605"/>
                </a:cubicBezTo>
                <a:cubicBezTo>
                  <a:pt x="3142646" y="690605"/>
                  <a:pt x="3148624" y="690605"/>
                  <a:pt x="3142646" y="678677"/>
                </a:cubicBezTo>
                <a:cubicBezTo>
                  <a:pt x="3148624" y="678677"/>
                  <a:pt x="3148624" y="684641"/>
                  <a:pt x="3148624" y="690605"/>
                </a:cubicBezTo>
                <a:cubicBezTo>
                  <a:pt x="3154602" y="684641"/>
                  <a:pt x="3160580" y="678677"/>
                  <a:pt x="3166558" y="672712"/>
                </a:cubicBezTo>
                <a:cubicBezTo>
                  <a:pt x="3160580" y="690605"/>
                  <a:pt x="3172536" y="672712"/>
                  <a:pt x="3172536" y="678677"/>
                </a:cubicBezTo>
                <a:cubicBezTo>
                  <a:pt x="3178514" y="684641"/>
                  <a:pt x="3166558" y="684641"/>
                  <a:pt x="3160580" y="690605"/>
                </a:cubicBezTo>
                <a:cubicBezTo>
                  <a:pt x="3172536" y="702534"/>
                  <a:pt x="3184492" y="684641"/>
                  <a:pt x="3172536" y="666748"/>
                </a:cubicBezTo>
                <a:cubicBezTo>
                  <a:pt x="3172536" y="654821"/>
                  <a:pt x="3178514" y="672712"/>
                  <a:pt x="3178514" y="678677"/>
                </a:cubicBezTo>
                <a:cubicBezTo>
                  <a:pt x="3184492" y="672712"/>
                  <a:pt x="3178514" y="660784"/>
                  <a:pt x="3184492" y="672712"/>
                </a:cubicBezTo>
                <a:cubicBezTo>
                  <a:pt x="3190471" y="666748"/>
                  <a:pt x="3184492" y="660784"/>
                  <a:pt x="3184492" y="654821"/>
                </a:cubicBezTo>
                <a:cubicBezTo>
                  <a:pt x="3190471" y="654821"/>
                  <a:pt x="3190471" y="660784"/>
                  <a:pt x="3190471" y="672712"/>
                </a:cubicBezTo>
                <a:cubicBezTo>
                  <a:pt x="3202427" y="666748"/>
                  <a:pt x="3196449" y="648857"/>
                  <a:pt x="3202427" y="660784"/>
                </a:cubicBezTo>
                <a:cubicBezTo>
                  <a:pt x="3202427" y="654821"/>
                  <a:pt x="3226338" y="654821"/>
                  <a:pt x="3226338" y="648857"/>
                </a:cubicBezTo>
                <a:cubicBezTo>
                  <a:pt x="3232316" y="648857"/>
                  <a:pt x="3238293" y="654821"/>
                  <a:pt x="3244271" y="654821"/>
                </a:cubicBezTo>
                <a:cubicBezTo>
                  <a:pt x="3244271" y="648857"/>
                  <a:pt x="3238293" y="648857"/>
                  <a:pt x="3238293" y="636928"/>
                </a:cubicBezTo>
                <a:cubicBezTo>
                  <a:pt x="3244271" y="636928"/>
                  <a:pt x="3244271" y="625001"/>
                  <a:pt x="3256227" y="630965"/>
                </a:cubicBezTo>
                <a:cubicBezTo>
                  <a:pt x="3256227" y="636928"/>
                  <a:pt x="3250249" y="636928"/>
                  <a:pt x="3244271" y="636928"/>
                </a:cubicBezTo>
                <a:cubicBezTo>
                  <a:pt x="3244271" y="639910"/>
                  <a:pt x="3247260" y="642892"/>
                  <a:pt x="3250997" y="644384"/>
                </a:cubicBezTo>
                <a:lnTo>
                  <a:pt x="3256479" y="643654"/>
                </a:lnTo>
                <a:lnTo>
                  <a:pt x="3258528" y="645070"/>
                </a:lnTo>
                <a:cubicBezTo>
                  <a:pt x="3259497" y="645035"/>
                  <a:pt x="3260711" y="644383"/>
                  <a:pt x="3262206" y="642892"/>
                </a:cubicBezTo>
                <a:cubicBezTo>
                  <a:pt x="3256227" y="648857"/>
                  <a:pt x="3268184" y="648857"/>
                  <a:pt x="3268184" y="654821"/>
                </a:cubicBezTo>
                <a:cubicBezTo>
                  <a:pt x="3256227" y="642892"/>
                  <a:pt x="3244271" y="678677"/>
                  <a:pt x="3238293" y="660784"/>
                </a:cubicBezTo>
                <a:cubicBezTo>
                  <a:pt x="3232316" y="660784"/>
                  <a:pt x="3232316" y="666748"/>
                  <a:pt x="3232316" y="672712"/>
                </a:cubicBezTo>
                <a:cubicBezTo>
                  <a:pt x="3220361" y="666748"/>
                  <a:pt x="3226338" y="678677"/>
                  <a:pt x="3214383" y="678677"/>
                </a:cubicBezTo>
                <a:cubicBezTo>
                  <a:pt x="3214383" y="678677"/>
                  <a:pt x="3214383" y="678677"/>
                  <a:pt x="3214383" y="684641"/>
                </a:cubicBezTo>
                <a:cubicBezTo>
                  <a:pt x="3220361" y="678677"/>
                  <a:pt x="3220361" y="690605"/>
                  <a:pt x="3232316" y="684641"/>
                </a:cubicBezTo>
                <a:cubicBezTo>
                  <a:pt x="3238293" y="678677"/>
                  <a:pt x="3238293" y="678677"/>
                  <a:pt x="3244271" y="672712"/>
                </a:cubicBezTo>
                <a:cubicBezTo>
                  <a:pt x="3244271" y="666748"/>
                  <a:pt x="3244271" y="678677"/>
                  <a:pt x="3250249" y="684641"/>
                </a:cubicBezTo>
                <a:cubicBezTo>
                  <a:pt x="3254733" y="680168"/>
                  <a:pt x="3255853" y="682405"/>
                  <a:pt x="3261178" y="676254"/>
                </a:cubicBezTo>
                <a:lnTo>
                  <a:pt x="3263745" y="672771"/>
                </a:lnTo>
                <a:lnTo>
                  <a:pt x="3268184" y="678677"/>
                </a:lnTo>
                <a:cubicBezTo>
                  <a:pt x="3268184" y="672712"/>
                  <a:pt x="3268184" y="666748"/>
                  <a:pt x="3274162" y="660784"/>
                </a:cubicBezTo>
                <a:cubicBezTo>
                  <a:pt x="3274162" y="660784"/>
                  <a:pt x="3274162" y="672712"/>
                  <a:pt x="3274162" y="672712"/>
                </a:cubicBezTo>
                <a:cubicBezTo>
                  <a:pt x="3274162" y="678677"/>
                  <a:pt x="3274162" y="672712"/>
                  <a:pt x="3280140" y="672712"/>
                </a:cubicBezTo>
                <a:cubicBezTo>
                  <a:pt x="3286118" y="672712"/>
                  <a:pt x="3286118" y="666748"/>
                  <a:pt x="3280140" y="660784"/>
                </a:cubicBezTo>
                <a:cubicBezTo>
                  <a:pt x="3298074" y="660784"/>
                  <a:pt x="3292096" y="654821"/>
                  <a:pt x="3304052" y="660784"/>
                </a:cubicBezTo>
                <a:cubicBezTo>
                  <a:pt x="3310031" y="654821"/>
                  <a:pt x="3310031" y="648857"/>
                  <a:pt x="3310031" y="660784"/>
                </a:cubicBezTo>
                <a:cubicBezTo>
                  <a:pt x="3316009" y="660784"/>
                  <a:pt x="3316009" y="648857"/>
                  <a:pt x="3310031" y="648857"/>
                </a:cubicBezTo>
                <a:cubicBezTo>
                  <a:pt x="3310031" y="636928"/>
                  <a:pt x="3321987" y="648857"/>
                  <a:pt x="3316009" y="642892"/>
                </a:cubicBezTo>
                <a:cubicBezTo>
                  <a:pt x="3321987" y="642892"/>
                  <a:pt x="3321987" y="648857"/>
                  <a:pt x="3321987" y="648857"/>
                </a:cubicBezTo>
                <a:cubicBezTo>
                  <a:pt x="3321987" y="654821"/>
                  <a:pt x="3333943" y="636928"/>
                  <a:pt x="3333943" y="642892"/>
                </a:cubicBezTo>
                <a:cubicBezTo>
                  <a:pt x="3339921" y="642892"/>
                  <a:pt x="3333943" y="642892"/>
                  <a:pt x="3333943" y="636928"/>
                </a:cubicBezTo>
                <a:cubicBezTo>
                  <a:pt x="3339921" y="630965"/>
                  <a:pt x="3339921" y="636928"/>
                  <a:pt x="3339921" y="642892"/>
                </a:cubicBezTo>
                <a:cubicBezTo>
                  <a:pt x="3345899" y="636928"/>
                  <a:pt x="3351877" y="636928"/>
                  <a:pt x="3345899" y="625001"/>
                </a:cubicBezTo>
                <a:cubicBezTo>
                  <a:pt x="3351877" y="625001"/>
                  <a:pt x="3351877" y="636928"/>
                  <a:pt x="3351877" y="642892"/>
                </a:cubicBezTo>
                <a:cubicBezTo>
                  <a:pt x="3351877" y="636928"/>
                  <a:pt x="3351877" y="630965"/>
                  <a:pt x="3357853" y="630965"/>
                </a:cubicBezTo>
                <a:cubicBezTo>
                  <a:pt x="3357853" y="642892"/>
                  <a:pt x="3357853" y="636928"/>
                  <a:pt x="3369809" y="636928"/>
                </a:cubicBezTo>
                <a:cubicBezTo>
                  <a:pt x="3360842" y="632455"/>
                  <a:pt x="3368689" y="634692"/>
                  <a:pt x="3370650" y="628541"/>
                </a:cubicBezTo>
                <a:lnTo>
                  <a:pt x="3370324" y="624864"/>
                </a:lnTo>
                <a:lnTo>
                  <a:pt x="3381018" y="622019"/>
                </a:lnTo>
                <a:cubicBezTo>
                  <a:pt x="3383260" y="620528"/>
                  <a:pt x="3384755" y="619037"/>
                  <a:pt x="3387744" y="619037"/>
                </a:cubicBezTo>
                <a:cubicBezTo>
                  <a:pt x="3393722" y="619037"/>
                  <a:pt x="3393722" y="607108"/>
                  <a:pt x="3393722" y="601144"/>
                </a:cubicBezTo>
                <a:cubicBezTo>
                  <a:pt x="3393722" y="607108"/>
                  <a:pt x="3405678" y="607108"/>
                  <a:pt x="3399700" y="595181"/>
                </a:cubicBezTo>
                <a:cubicBezTo>
                  <a:pt x="3405678" y="595181"/>
                  <a:pt x="3405678" y="607108"/>
                  <a:pt x="3393722" y="613072"/>
                </a:cubicBezTo>
                <a:cubicBezTo>
                  <a:pt x="3393722" y="619037"/>
                  <a:pt x="3399700" y="613072"/>
                  <a:pt x="3405678" y="613072"/>
                </a:cubicBezTo>
                <a:cubicBezTo>
                  <a:pt x="3411656" y="601144"/>
                  <a:pt x="3405678" y="601144"/>
                  <a:pt x="3405678" y="589215"/>
                </a:cubicBezTo>
                <a:cubicBezTo>
                  <a:pt x="3411656" y="595181"/>
                  <a:pt x="3417634" y="589215"/>
                  <a:pt x="3417634" y="601144"/>
                </a:cubicBezTo>
                <a:cubicBezTo>
                  <a:pt x="3423612" y="583252"/>
                  <a:pt x="3435569" y="589215"/>
                  <a:pt x="3447525" y="571325"/>
                </a:cubicBezTo>
                <a:cubicBezTo>
                  <a:pt x="3441547" y="571325"/>
                  <a:pt x="3435569" y="577288"/>
                  <a:pt x="3429591" y="577288"/>
                </a:cubicBezTo>
                <a:cubicBezTo>
                  <a:pt x="3423612" y="577288"/>
                  <a:pt x="3429591" y="571325"/>
                  <a:pt x="3429591" y="565361"/>
                </a:cubicBezTo>
                <a:cubicBezTo>
                  <a:pt x="3423612" y="571325"/>
                  <a:pt x="3417634" y="577288"/>
                  <a:pt x="3411656" y="589215"/>
                </a:cubicBezTo>
                <a:cubicBezTo>
                  <a:pt x="3405678" y="583252"/>
                  <a:pt x="3417634" y="577288"/>
                  <a:pt x="3417634" y="577288"/>
                </a:cubicBezTo>
                <a:cubicBezTo>
                  <a:pt x="3411656" y="571325"/>
                  <a:pt x="3411656" y="583252"/>
                  <a:pt x="3405678" y="583252"/>
                </a:cubicBezTo>
                <a:cubicBezTo>
                  <a:pt x="3405678" y="571325"/>
                  <a:pt x="3411656" y="565361"/>
                  <a:pt x="3411656" y="559396"/>
                </a:cubicBezTo>
                <a:cubicBezTo>
                  <a:pt x="3435569" y="553432"/>
                  <a:pt x="3423612" y="565361"/>
                  <a:pt x="3435569" y="553432"/>
                </a:cubicBezTo>
                <a:cubicBezTo>
                  <a:pt x="3435569" y="553432"/>
                  <a:pt x="3435569" y="559396"/>
                  <a:pt x="3429591" y="559396"/>
                </a:cubicBezTo>
                <a:cubicBezTo>
                  <a:pt x="3435569" y="565361"/>
                  <a:pt x="3441547" y="559396"/>
                  <a:pt x="3441547" y="565361"/>
                </a:cubicBezTo>
                <a:cubicBezTo>
                  <a:pt x="3441547" y="565361"/>
                  <a:pt x="3441547" y="565361"/>
                  <a:pt x="3447525" y="559396"/>
                </a:cubicBezTo>
                <a:cubicBezTo>
                  <a:pt x="3447525" y="577288"/>
                  <a:pt x="3447525" y="571325"/>
                  <a:pt x="3453503" y="583252"/>
                </a:cubicBezTo>
                <a:cubicBezTo>
                  <a:pt x="3453503" y="589215"/>
                  <a:pt x="3459481" y="583252"/>
                  <a:pt x="3465459" y="589215"/>
                </a:cubicBezTo>
                <a:cubicBezTo>
                  <a:pt x="3465459" y="589215"/>
                  <a:pt x="3465459" y="571325"/>
                  <a:pt x="3471437" y="589215"/>
                </a:cubicBezTo>
                <a:cubicBezTo>
                  <a:pt x="3471437" y="583252"/>
                  <a:pt x="3465459" y="571325"/>
                  <a:pt x="3459481" y="571325"/>
                </a:cubicBezTo>
                <a:cubicBezTo>
                  <a:pt x="3462470" y="571325"/>
                  <a:pt x="3466953" y="572815"/>
                  <a:pt x="3470690" y="572070"/>
                </a:cubicBezTo>
                <a:lnTo>
                  <a:pt x="3475264" y="568937"/>
                </a:lnTo>
                <a:lnTo>
                  <a:pt x="3475173" y="569088"/>
                </a:lnTo>
                <a:cubicBezTo>
                  <a:pt x="3472931" y="572815"/>
                  <a:pt x="3471437" y="577288"/>
                  <a:pt x="3477415" y="583252"/>
                </a:cubicBezTo>
                <a:cubicBezTo>
                  <a:pt x="3483393" y="577288"/>
                  <a:pt x="3477415" y="565361"/>
                  <a:pt x="3489369" y="577288"/>
                </a:cubicBezTo>
                <a:cubicBezTo>
                  <a:pt x="3489369" y="577288"/>
                  <a:pt x="3489369" y="571325"/>
                  <a:pt x="3489369" y="565361"/>
                </a:cubicBezTo>
                <a:cubicBezTo>
                  <a:pt x="3498337" y="578779"/>
                  <a:pt x="3500578" y="568715"/>
                  <a:pt x="3508705" y="565360"/>
                </a:cubicBezTo>
                <a:lnTo>
                  <a:pt x="3513283" y="565361"/>
                </a:lnTo>
                <a:lnTo>
                  <a:pt x="3519114" y="559542"/>
                </a:lnTo>
                <a:lnTo>
                  <a:pt x="3519114" y="559104"/>
                </a:lnTo>
                <a:lnTo>
                  <a:pt x="3513282" y="547468"/>
                </a:lnTo>
                <a:cubicBezTo>
                  <a:pt x="3507304" y="553432"/>
                  <a:pt x="3513282" y="559396"/>
                  <a:pt x="3507304" y="559396"/>
                </a:cubicBezTo>
                <a:cubicBezTo>
                  <a:pt x="3501326" y="559396"/>
                  <a:pt x="3501326" y="559396"/>
                  <a:pt x="3501326" y="559396"/>
                </a:cubicBezTo>
                <a:cubicBezTo>
                  <a:pt x="3495347" y="559396"/>
                  <a:pt x="3495347" y="541504"/>
                  <a:pt x="3501326" y="547468"/>
                </a:cubicBezTo>
                <a:cubicBezTo>
                  <a:pt x="3501326" y="547468"/>
                  <a:pt x="3501326" y="541504"/>
                  <a:pt x="3495347" y="541504"/>
                </a:cubicBezTo>
                <a:cubicBezTo>
                  <a:pt x="3495347" y="547468"/>
                  <a:pt x="3489369" y="553432"/>
                  <a:pt x="3489369" y="559396"/>
                </a:cubicBezTo>
                <a:cubicBezTo>
                  <a:pt x="3483393" y="553432"/>
                  <a:pt x="3453503" y="559396"/>
                  <a:pt x="3459481" y="571325"/>
                </a:cubicBezTo>
                <a:cubicBezTo>
                  <a:pt x="3453503" y="571325"/>
                  <a:pt x="3453503" y="565361"/>
                  <a:pt x="3459481" y="565361"/>
                </a:cubicBezTo>
                <a:cubicBezTo>
                  <a:pt x="3453503" y="565361"/>
                  <a:pt x="3453503" y="565361"/>
                  <a:pt x="3453503" y="571325"/>
                </a:cubicBezTo>
                <a:cubicBezTo>
                  <a:pt x="3447525" y="565361"/>
                  <a:pt x="3453503" y="559396"/>
                  <a:pt x="3459481" y="553432"/>
                </a:cubicBezTo>
                <a:cubicBezTo>
                  <a:pt x="3453503" y="547468"/>
                  <a:pt x="3459481" y="541504"/>
                  <a:pt x="3453503" y="541504"/>
                </a:cubicBezTo>
                <a:cubicBezTo>
                  <a:pt x="3459481" y="535541"/>
                  <a:pt x="3471437" y="541504"/>
                  <a:pt x="3477415" y="529575"/>
                </a:cubicBezTo>
                <a:cubicBezTo>
                  <a:pt x="3477415" y="529575"/>
                  <a:pt x="3477415" y="535541"/>
                  <a:pt x="3483393" y="541504"/>
                </a:cubicBezTo>
                <a:cubicBezTo>
                  <a:pt x="3489369" y="535541"/>
                  <a:pt x="3501326" y="529575"/>
                  <a:pt x="3501326" y="541504"/>
                </a:cubicBezTo>
                <a:cubicBezTo>
                  <a:pt x="3507304" y="529575"/>
                  <a:pt x="3507304" y="529575"/>
                  <a:pt x="3501326" y="523612"/>
                </a:cubicBezTo>
                <a:cubicBezTo>
                  <a:pt x="3501326" y="535541"/>
                  <a:pt x="3495347" y="529575"/>
                  <a:pt x="3489369" y="529575"/>
                </a:cubicBezTo>
                <a:cubicBezTo>
                  <a:pt x="3495347" y="523612"/>
                  <a:pt x="3507304" y="523612"/>
                  <a:pt x="3507304" y="511685"/>
                </a:cubicBezTo>
                <a:cubicBezTo>
                  <a:pt x="3510293" y="511685"/>
                  <a:pt x="3511787" y="516157"/>
                  <a:pt x="3513282" y="519885"/>
                </a:cubicBezTo>
                <a:lnTo>
                  <a:pt x="3519114" y="523522"/>
                </a:lnTo>
                <a:lnTo>
                  <a:pt x="3519114" y="519424"/>
                </a:lnTo>
                <a:cubicBezTo>
                  <a:pt x="3524853" y="519424"/>
                  <a:pt x="3524853" y="513684"/>
                  <a:pt x="3524853" y="513684"/>
                </a:cubicBezTo>
                <a:lnTo>
                  <a:pt x="3527590" y="519158"/>
                </a:lnTo>
                <a:lnTo>
                  <a:pt x="3531216" y="505719"/>
                </a:lnTo>
                <a:lnTo>
                  <a:pt x="3536332" y="511553"/>
                </a:lnTo>
                <a:lnTo>
                  <a:pt x="3536332" y="499336"/>
                </a:lnTo>
                <a:cubicBezTo>
                  <a:pt x="3542071" y="499336"/>
                  <a:pt x="3542071" y="505793"/>
                  <a:pt x="3542071" y="512251"/>
                </a:cubicBezTo>
                <a:cubicBezTo>
                  <a:pt x="3547811" y="505793"/>
                  <a:pt x="3547811" y="505793"/>
                  <a:pt x="3542071" y="499336"/>
                </a:cubicBezTo>
                <a:cubicBezTo>
                  <a:pt x="3553551" y="499336"/>
                  <a:pt x="3547811" y="512251"/>
                  <a:pt x="3547811" y="518708"/>
                </a:cubicBezTo>
                <a:cubicBezTo>
                  <a:pt x="3544942" y="515479"/>
                  <a:pt x="3543507" y="517094"/>
                  <a:pt x="3542071" y="519514"/>
                </a:cubicBezTo>
                <a:lnTo>
                  <a:pt x="3540784" y="520781"/>
                </a:lnTo>
                <a:lnTo>
                  <a:pt x="3543172" y="522867"/>
                </a:lnTo>
                <a:cubicBezTo>
                  <a:pt x="3544667" y="522120"/>
                  <a:pt x="3546162" y="520631"/>
                  <a:pt x="3549151" y="523612"/>
                </a:cubicBezTo>
                <a:cubicBezTo>
                  <a:pt x="3549151" y="523612"/>
                  <a:pt x="3555129" y="517648"/>
                  <a:pt x="3555129" y="511685"/>
                </a:cubicBezTo>
                <a:cubicBezTo>
                  <a:pt x="3561107" y="499756"/>
                  <a:pt x="3573063" y="511685"/>
                  <a:pt x="3567085" y="499756"/>
                </a:cubicBezTo>
                <a:cubicBezTo>
                  <a:pt x="3573063" y="499756"/>
                  <a:pt x="3579041" y="499756"/>
                  <a:pt x="3579041" y="505719"/>
                </a:cubicBezTo>
                <a:cubicBezTo>
                  <a:pt x="3585019" y="502738"/>
                  <a:pt x="3592491" y="498265"/>
                  <a:pt x="3598468" y="496775"/>
                </a:cubicBezTo>
                <a:lnTo>
                  <a:pt x="3607721" y="504685"/>
                </a:lnTo>
                <a:lnTo>
                  <a:pt x="3590249" y="519140"/>
                </a:lnTo>
                <a:lnTo>
                  <a:pt x="3580506" y="523689"/>
                </a:lnTo>
                <a:lnTo>
                  <a:pt x="3579041" y="523612"/>
                </a:lnTo>
                <a:lnTo>
                  <a:pt x="3579041" y="524373"/>
                </a:lnTo>
                <a:lnTo>
                  <a:pt x="3555129" y="535541"/>
                </a:lnTo>
                <a:cubicBezTo>
                  <a:pt x="3555129" y="529575"/>
                  <a:pt x="3555129" y="523612"/>
                  <a:pt x="3561107" y="523612"/>
                </a:cubicBezTo>
                <a:cubicBezTo>
                  <a:pt x="3555129" y="511685"/>
                  <a:pt x="3549151" y="529575"/>
                  <a:pt x="3549151" y="535541"/>
                </a:cubicBezTo>
                <a:cubicBezTo>
                  <a:pt x="3549151" y="541504"/>
                  <a:pt x="3555129" y="541504"/>
                  <a:pt x="3555129" y="541504"/>
                </a:cubicBezTo>
                <a:cubicBezTo>
                  <a:pt x="3567085" y="541504"/>
                  <a:pt x="3567085" y="529575"/>
                  <a:pt x="3567085" y="541504"/>
                </a:cubicBezTo>
                <a:cubicBezTo>
                  <a:pt x="3567085" y="541504"/>
                  <a:pt x="3573063" y="535541"/>
                  <a:pt x="3579041" y="541504"/>
                </a:cubicBezTo>
                <a:lnTo>
                  <a:pt x="3579041" y="524373"/>
                </a:lnTo>
                <a:lnTo>
                  <a:pt x="3580506" y="523689"/>
                </a:lnTo>
                <a:lnTo>
                  <a:pt x="3593238" y="524359"/>
                </a:lnTo>
                <a:cubicBezTo>
                  <a:pt x="3596975" y="523612"/>
                  <a:pt x="3599964" y="523612"/>
                  <a:pt x="3602953" y="529575"/>
                </a:cubicBezTo>
                <a:cubicBezTo>
                  <a:pt x="3602953" y="526595"/>
                  <a:pt x="3601458" y="523612"/>
                  <a:pt x="3601458" y="520631"/>
                </a:cubicBezTo>
                <a:lnTo>
                  <a:pt x="3603807" y="517818"/>
                </a:lnTo>
                <a:lnTo>
                  <a:pt x="3610424" y="519140"/>
                </a:lnTo>
                <a:cubicBezTo>
                  <a:pt x="3611920" y="517648"/>
                  <a:pt x="3611920" y="514666"/>
                  <a:pt x="3608931" y="511685"/>
                </a:cubicBezTo>
                <a:cubicBezTo>
                  <a:pt x="3614907" y="511685"/>
                  <a:pt x="3614907" y="517648"/>
                  <a:pt x="3620886" y="511685"/>
                </a:cubicBezTo>
                <a:cubicBezTo>
                  <a:pt x="3614907" y="523612"/>
                  <a:pt x="3626864" y="523612"/>
                  <a:pt x="3626864" y="511685"/>
                </a:cubicBezTo>
                <a:cubicBezTo>
                  <a:pt x="3620886" y="505719"/>
                  <a:pt x="3620886" y="505719"/>
                  <a:pt x="3620886" y="493792"/>
                </a:cubicBezTo>
                <a:cubicBezTo>
                  <a:pt x="3626864" y="493792"/>
                  <a:pt x="3632842" y="511685"/>
                  <a:pt x="3626864" y="517648"/>
                </a:cubicBezTo>
                <a:cubicBezTo>
                  <a:pt x="3632842" y="511685"/>
                  <a:pt x="3632842" y="511685"/>
                  <a:pt x="3638820" y="511685"/>
                </a:cubicBezTo>
                <a:cubicBezTo>
                  <a:pt x="3638820" y="505719"/>
                  <a:pt x="3632842" y="511685"/>
                  <a:pt x="3632842" y="511685"/>
                </a:cubicBezTo>
                <a:cubicBezTo>
                  <a:pt x="3632842" y="505719"/>
                  <a:pt x="3638820" y="499756"/>
                  <a:pt x="3638820" y="493792"/>
                </a:cubicBezTo>
                <a:cubicBezTo>
                  <a:pt x="3644798" y="493792"/>
                  <a:pt x="3638820" y="499756"/>
                  <a:pt x="3638820" y="505719"/>
                </a:cubicBezTo>
                <a:cubicBezTo>
                  <a:pt x="3650776" y="505719"/>
                  <a:pt x="3644798" y="499756"/>
                  <a:pt x="3656754" y="511685"/>
                </a:cubicBezTo>
                <a:cubicBezTo>
                  <a:pt x="3662732" y="499756"/>
                  <a:pt x="3668711" y="493792"/>
                  <a:pt x="3668711" y="481865"/>
                </a:cubicBezTo>
                <a:cubicBezTo>
                  <a:pt x="3671700" y="481865"/>
                  <a:pt x="3673194" y="486338"/>
                  <a:pt x="3673194" y="490064"/>
                </a:cubicBezTo>
                <a:lnTo>
                  <a:pt x="3672337" y="493411"/>
                </a:lnTo>
                <a:lnTo>
                  <a:pt x="3668711" y="493792"/>
                </a:lnTo>
                <a:cubicBezTo>
                  <a:pt x="3670205" y="495283"/>
                  <a:pt x="3671326" y="495283"/>
                  <a:pt x="3672073" y="494444"/>
                </a:cubicBezTo>
                <a:lnTo>
                  <a:pt x="3672337" y="493411"/>
                </a:lnTo>
                <a:lnTo>
                  <a:pt x="3682908" y="492301"/>
                </a:lnTo>
                <a:cubicBezTo>
                  <a:pt x="3688140" y="490810"/>
                  <a:pt x="3692623" y="487828"/>
                  <a:pt x="3692623" y="481865"/>
                </a:cubicBezTo>
                <a:cubicBezTo>
                  <a:pt x="3698601" y="475899"/>
                  <a:pt x="3692623" y="487828"/>
                  <a:pt x="3692623" y="493792"/>
                </a:cubicBezTo>
                <a:cubicBezTo>
                  <a:pt x="3698601" y="481865"/>
                  <a:pt x="3716534" y="481865"/>
                  <a:pt x="3728491" y="475899"/>
                </a:cubicBezTo>
                <a:cubicBezTo>
                  <a:pt x="3740448" y="469935"/>
                  <a:pt x="3734470" y="463972"/>
                  <a:pt x="3734470" y="452045"/>
                </a:cubicBezTo>
                <a:cubicBezTo>
                  <a:pt x="3740448" y="452045"/>
                  <a:pt x="3740448" y="463972"/>
                  <a:pt x="3740448" y="469935"/>
                </a:cubicBezTo>
                <a:cubicBezTo>
                  <a:pt x="3746424" y="463972"/>
                  <a:pt x="3746424" y="463972"/>
                  <a:pt x="3758380" y="463972"/>
                </a:cubicBezTo>
                <a:cubicBezTo>
                  <a:pt x="3758380" y="458008"/>
                  <a:pt x="3764358" y="458008"/>
                  <a:pt x="3758380" y="446080"/>
                </a:cubicBezTo>
                <a:cubicBezTo>
                  <a:pt x="3764358" y="440116"/>
                  <a:pt x="3764358" y="452045"/>
                  <a:pt x="3764358" y="458008"/>
                </a:cubicBezTo>
                <a:cubicBezTo>
                  <a:pt x="3776314" y="452045"/>
                  <a:pt x="3764358" y="440116"/>
                  <a:pt x="3770336" y="440116"/>
                </a:cubicBezTo>
                <a:cubicBezTo>
                  <a:pt x="3776314" y="446080"/>
                  <a:pt x="3770336" y="446080"/>
                  <a:pt x="3770336" y="452045"/>
                </a:cubicBezTo>
                <a:cubicBezTo>
                  <a:pt x="3770336" y="458008"/>
                  <a:pt x="3776314" y="452045"/>
                  <a:pt x="3782292" y="452045"/>
                </a:cubicBezTo>
                <a:lnTo>
                  <a:pt x="3779901" y="448466"/>
                </a:lnTo>
                <a:lnTo>
                  <a:pt x="3784085" y="444292"/>
                </a:lnTo>
                <a:lnTo>
                  <a:pt x="3786775" y="450553"/>
                </a:lnTo>
                <a:cubicBezTo>
                  <a:pt x="3791260" y="452045"/>
                  <a:pt x="3797239" y="452045"/>
                  <a:pt x="3800226" y="452045"/>
                </a:cubicBezTo>
                <a:cubicBezTo>
                  <a:pt x="3794248" y="452045"/>
                  <a:pt x="3789765" y="449062"/>
                  <a:pt x="3788270" y="446080"/>
                </a:cubicBezTo>
                <a:lnTo>
                  <a:pt x="3792455" y="441905"/>
                </a:lnTo>
                <a:lnTo>
                  <a:pt x="3794248" y="446080"/>
                </a:lnTo>
                <a:cubicBezTo>
                  <a:pt x="3800226" y="446080"/>
                  <a:pt x="3812183" y="434152"/>
                  <a:pt x="3818161" y="440116"/>
                </a:cubicBezTo>
                <a:cubicBezTo>
                  <a:pt x="3818161" y="428189"/>
                  <a:pt x="3842073" y="440116"/>
                  <a:pt x="3842073" y="416259"/>
                </a:cubicBezTo>
                <a:cubicBezTo>
                  <a:pt x="3848051" y="428189"/>
                  <a:pt x="3848051" y="416259"/>
                  <a:pt x="3848051" y="422223"/>
                </a:cubicBezTo>
                <a:cubicBezTo>
                  <a:pt x="3854030" y="428189"/>
                  <a:pt x="3848051" y="404332"/>
                  <a:pt x="3860008" y="416259"/>
                </a:cubicBezTo>
                <a:lnTo>
                  <a:pt x="3860008" y="410296"/>
                </a:lnTo>
                <a:cubicBezTo>
                  <a:pt x="3860008" y="410296"/>
                  <a:pt x="3865985" y="416259"/>
                  <a:pt x="3865985" y="416259"/>
                </a:cubicBezTo>
                <a:cubicBezTo>
                  <a:pt x="3871963" y="416259"/>
                  <a:pt x="3871963" y="416259"/>
                  <a:pt x="3871963" y="410296"/>
                </a:cubicBezTo>
                <a:cubicBezTo>
                  <a:pt x="3865985" y="410296"/>
                  <a:pt x="3877940" y="404332"/>
                  <a:pt x="3883918" y="410296"/>
                </a:cubicBezTo>
                <a:cubicBezTo>
                  <a:pt x="3883918" y="404332"/>
                  <a:pt x="3883918" y="398368"/>
                  <a:pt x="3889896" y="398368"/>
                </a:cubicBezTo>
                <a:cubicBezTo>
                  <a:pt x="3883918" y="398368"/>
                  <a:pt x="3865985" y="404332"/>
                  <a:pt x="3871963" y="386440"/>
                </a:cubicBezTo>
                <a:cubicBezTo>
                  <a:pt x="3877940" y="386440"/>
                  <a:pt x="3871963" y="392403"/>
                  <a:pt x="3877940" y="398368"/>
                </a:cubicBezTo>
                <a:cubicBezTo>
                  <a:pt x="3883918" y="386440"/>
                  <a:pt x="3877940" y="386440"/>
                  <a:pt x="3877940" y="374512"/>
                </a:cubicBezTo>
                <a:cubicBezTo>
                  <a:pt x="3877940" y="380476"/>
                  <a:pt x="3889896" y="392403"/>
                  <a:pt x="3883918" y="392403"/>
                </a:cubicBezTo>
                <a:cubicBezTo>
                  <a:pt x="3883918" y="392403"/>
                  <a:pt x="3889896" y="392403"/>
                  <a:pt x="3889896" y="386440"/>
                </a:cubicBezTo>
                <a:cubicBezTo>
                  <a:pt x="3889896" y="380476"/>
                  <a:pt x="3883918" y="386440"/>
                  <a:pt x="3883918" y="374512"/>
                </a:cubicBezTo>
                <a:cubicBezTo>
                  <a:pt x="3889896" y="380476"/>
                  <a:pt x="3895874" y="380476"/>
                  <a:pt x="3895874" y="392403"/>
                </a:cubicBezTo>
                <a:lnTo>
                  <a:pt x="3901852" y="380476"/>
                </a:lnTo>
                <a:lnTo>
                  <a:pt x="3904842" y="383458"/>
                </a:lnTo>
                <a:cubicBezTo>
                  <a:pt x="3906338" y="383458"/>
                  <a:pt x="3907830" y="383458"/>
                  <a:pt x="3907830" y="386440"/>
                </a:cubicBezTo>
                <a:cubicBezTo>
                  <a:pt x="3907830" y="386440"/>
                  <a:pt x="3907830" y="392403"/>
                  <a:pt x="3907830" y="392403"/>
                </a:cubicBezTo>
                <a:cubicBezTo>
                  <a:pt x="3901852" y="398368"/>
                  <a:pt x="3901852" y="392403"/>
                  <a:pt x="3901852" y="386440"/>
                </a:cubicBezTo>
                <a:cubicBezTo>
                  <a:pt x="3895874" y="392403"/>
                  <a:pt x="3895874" y="398368"/>
                  <a:pt x="3895874" y="398368"/>
                </a:cubicBezTo>
                <a:cubicBezTo>
                  <a:pt x="3895874" y="398368"/>
                  <a:pt x="3925765" y="398368"/>
                  <a:pt x="3913808" y="374512"/>
                </a:cubicBezTo>
                <a:cubicBezTo>
                  <a:pt x="3919786" y="380476"/>
                  <a:pt x="3919786" y="368549"/>
                  <a:pt x="3925765" y="368549"/>
                </a:cubicBezTo>
                <a:cubicBezTo>
                  <a:pt x="3931743" y="368549"/>
                  <a:pt x="3925765" y="380476"/>
                  <a:pt x="3919786" y="386440"/>
                </a:cubicBezTo>
                <a:cubicBezTo>
                  <a:pt x="3925765" y="386440"/>
                  <a:pt x="3925765" y="392403"/>
                  <a:pt x="3931743" y="386440"/>
                </a:cubicBezTo>
                <a:cubicBezTo>
                  <a:pt x="3931743" y="392403"/>
                  <a:pt x="3931743" y="398368"/>
                  <a:pt x="3931743" y="404332"/>
                </a:cubicBezTo>
                <a:cubicBezTo>
                  <a:pt x="3925765" y="410296"/>
                  <a:pt x="3925765" y="398368"/>
                  <a:pt x="3925765" y="398368"/>
                </a:cubicBezTo>
                <a:cubicBezTo>
                  <a:pt x="3895874" y="404332"/>
                  <a:pt x="3836094" y="446080"/>
                  <a:pt x="3818161" y="452045"/>
                </a:cubicBezTo>
                <a:cubicBezTo>
                  <a:pt x="3824139" y="458008"/>
                  <a:pt x="3824139" y="452045"/>
                  <a:pt x="3830117" y="458008"/>
                </a:cubicBezTo>
                <a:cubicBezTo>
                  <a:pt x="3836094" y="452045"/>
                  <a:pt x="3854030" y="434152"/>
                  <a:pt x="3865985" y="446080"/>
                </a:cubicBezTo>
                <a:cubicBezTo>
                  <a:pt x="3860008" y="434152"/>
                  <a:pt x="3877940" y="422223"/>
                  <a:pt x="3883918" y="428189"/>
                </a:cubicBezTo>
                <a:cubicBezTo>
                  <a:pt x="3883918" y="422223"/>
                  <a:pt x="3883918" y="416259"/>
                  <a:pt x="3889896" y="416259"/>
                </a:cubicBezTo>
                <a:lnTo>
                  <a:pt x="3893439" y="423328"/>
                </a:lnTo>
                <a:lnTo>
                  <a:pt x="3889896" y="428189"/>
                </a:lnTo>
                <a:lnTo>
                  <a:pt x="3894495" y="425435"/>
                </a:lnTo>
                <a:lnTo>
                  <a:pt x="3895874" y="428189"/>
                </a:lnTo>
                <a:cubicBezTo>
                  <a:pt x="3898863" y="425206"/>
                  <a:pt x="3898863" y="423714"/>
                  <a:pt x="3897369" y="423714"/>
                </a:cubicBezTo>
                <a:lnTo>
                  <a:pt x="3894495" y="425435"/>
                </a:lnTo>
                <a:lnTo>
                  <a:pt x="3893439" y="423328"/>
                </a:lnTo>
                <a:lnTo>
                  <a:pt x="3895874" y="419987"/>
                </a:lnTo>
                <a:cubicBezTo>
                  <a:pt x="3898864" y="419242"/>
                  <a:pt x="3901852" y="419242"/>
                  <a:pt x="3901852" y="416259"/>
                </a:cubicBezTo>
                <a:cubicBezTo>
                  <a:pt x="3907830" y="416259"/>
                  <a:pt x="3907830" y="422223"/>
                  <a:pt x="3907830" y="422223"/>
                </a:cubicBezTo>
                <a:cubicBezTo>
                  <a:pt x="3913808" y="416259"/>
                  <a:pt x="3913808" y="404332"/>
                  <a:pt x="3919786" y="404332"/>
                </a:cubicBezTo>
                <a:cubicBezTo>
                  <a:pt x="3919786" y="404332"/>
                  <a:pt x="3919786" y="410296"/>
                  <a:pt x="3925765" y="410296"/>
                </a:cubicBezTo>
                <a:cubicBezTo>
                  <a:pt x="3955654" y="404332"/>
                  <a:pt x="3979568" y="386440"/>
                  <a:pt x="3997501" y="374512"/>
                </a:cubicBezTo>
                <a:cubicBezTo>
                  <a:pt x="4003479" y="368549"/>
                  <a:pt x="4009456" y="374512"/>
                  <a:pt x="4015434" y="374512"/>
                </a:cubicBezTo>
                <a:cubicBezTo>
                  <a:pt x="4021412" y="368549"/>
                  <a:pt x="4015434" y="368549"/>
                  <a:pt x="4015434" y="362583"/>
                </a:cubicBezTo>
                <a:cubicBezTo>
                  <a:pt x="4027390" y="362583"/>
                  <a:pt x="4015434" y="368549"/>
                  <a:pt x="4027390" y="356619"/>
                </a:cubicBezTo>
                <a:cubicBezTo>
                  <a:pt x="4027390" y="362583"/>
                  <a:pt x="4033368" y="362583"/>
                  <a:pt x="4033368" y="368549"/>
                </a:cubicBezTo>
                <a:cubicBezTo>
                  <a:pt x="4039346" y="356619"/>
                  <a:pt x="4051303" y="350656"/>
                  <a:pt x="4057281" y="356619"/>
                </a:cubicBezTo>
                <a:cubicBezTo>
                  <a:pt x="4069236" y="350656"/>
                  <a:pt x="4063259" y="344692"/>
                  <a:pt x="4075214" y="338727"/>
                </a:cubicBezTo>
                <a:cubicBezTo>
                  <a:pt x="4069236" y="338727"/>
                  <a:pt x="4063259" y="338727"/>
                  <a:pt x="4063259" y="338727"/>
                </a:cubicBezTo>
                <a:cubicBezTo>
                  <a:pt x="4075214" y="326800"/>
                  <a:pt x="4123039" y="314873"/>
                  <a:pt x="4146950" y="302943"/>
                </a:cubicBezTo>
                <a:cubicBezTo>
                  <a:pt x="4158906" y="308907"/>
                  <a:pt x="4134994" y="308907"/>
                  <a:pt x="4129016" y="314873"/>
                </a:cubicBezTo>
                <a:cubicBezTo>
                  <a:pt x="4134994" y="314873"/>
                  <a:pt x="4140972" y="314873"/>
                  <a:pt x="4134994" y="320836"/>
                </a:cubicBezTo>
                <a:cubicBezTo>
                  <a:pt x="4158906" y="302943"/>
                  <a:pt x="4200753" y="296980"/>
                  <a:pt x="4218688" y="273123"/>
                </a:cubicBezTo>
                <a:close/>
                <a:moveTo>
                  <a:pt x="4308292" y="272626"/>
                </a:moveTo>
                <a:cubicBezTo>
                  <a:pt x="4308292" y="278941"/>
                  <a:pt x="4308292" y="278941"/>
                  <a:pt x="4308292" y="278941"/>
                </a:cubicBezTo>
                <a:cubicBezTo>
                  <a:pt x="4308292" y="285253"/>
                  <a:pt x="4294900" y="297880"/>
                  <a:pt x="4294900" y="297880"/>
                </a:cubicBezTo>
                <a:cubicBezTo>
                  <a:pt x="4294900" y="304194"/>
                  <a:pt x="4288203" y="304194"/>
                  <a:pt x="4288203" y="304194"/>
                </a:cubicBezTo>
                <a:cubicBezTo>
                  <a:pt x="4288203" y="297880"/>
                  <a:pt x="4288203" y="297880"/>
                  <a:pt x="4288203" y="297880"/>
                </a:cubicBezTo>
                <a:cubicBezTo>
                  <a:pt x="4301596" y="291567"/>
                  <a:pt x="4294900" y="278941"/>
                  <a:pt x="4308292" y="272626"/>
                </a:cubicBezTo>
                <a:close/>
                <a:moveTo>
                  <a:pt x="4204980" y="272626"/>
                </a:moveTo>
                <a:cubicBezTo>
                  <a:pt x="4204980" y="286976"/>
                  <a:pt x="4193500" y="286976"/>
                  <a:pt x="4187761" y="286976"/>
                </a:cubicBezTo>
                <a:cubicBezTo>
                  <a:pt x="4193500" y="279801"/>
                  <a:pt x="4199240" y="286976"/>
                  <a:pt x="4204980" y="272626"/>
                </a:cubicBezTo>
                <a:close/>
                <a:moveTo>
                  <a:pt x="3333516" y="268282"/>
                </a:moveTo>
                <a:lnTo>
                  <a:pt x="3333456" y="268893"/>
                </a:lnTo>
                <a:lnTo>
                  <a:pt x="3332901" y="268610"/>
                </a:lnTo>
                <a:close/>
                <a:moveTo>
                  <a:pt x="4277394" y="267619"/>
                </a:moveTo>
                <a:lnTo>
                  <a:pt x="4272488" y="273123"/>
                </a:lnTo>
                <a:lnTo>
                  <a:pt x="4271619" y="270088"/>
                </a:lnTo>
                <a:close/>
                <a:moveTo>
                  <a:pt x="4278466" y="267160"/>
                </a:moveTo>
                <a:lnTo>
                  <a:pt x="4277394" y="267619"/>
                </a:lnTo>
                <a:lnTo>
                  <a:pt x="4277739" y="267232"/>
                </a:lnTo>
                <a:close/>
                <a:moveTo>
                  <a:pt x="4431689" y="266887"/>
                </a:moveTo>
                <a:cubicBezTo>
                  <a:pt x="4425950" y="273583"/>
                  <a:pt x="4408732" y="286976"/>
                  <a:pt x="4397252" y="286976"/>
                </a:cubicBezTo>
                <a:cubicBezTo>
                  <a:pt x="4402992" y="266887"/>
                  <a:pt x="4414471" y="266887"/>
                  <a:pt x="4431689" y="266887"/>
                </a:cubicBezTo>
                <a:close/>
                <a:moveTo>
                  <a:pt x="3237880" y="266887"/>
                </a:moveTo>
                <a:cubicBezTo>
                  <a:pt x="3237880" y="273583"/>
                  <a:pt x="3226400" y="286976"/>
                  <a:pt x="3226400" y="273583"/>
                </a:cubicBezTo>
                <a:cubicBezTo>
                  <a:pt x="3232140" y="280280"/>
                  <a:pt x="3232140" y="266887"/>
                  <a:pt x="3237880" y="266887"/>
                </a:cubicBezTo>
                <a:close/>
                <a:moveTo>
                  <a:pt x="4303076" y="266067"/>
                </a:moveTo>
                <a:lnTo>
                  <a:pt x="4308357" y="267160"/>
                </a:lnTo>
                <a:cubicBezTo>
                  <a:pt x="4305368" y="267160"/>
                  <a:pt x="4303873" y="267160"/>
                  <a:pt x="4303126" y="266414"/>
                </a:cubicBezTo>
                <a:close/>
                <a:moveTo>
                  <a:pt x="3136811" y="262133"/>
                </a:moveTo>
                <a:cubicBezTo>
                  <a:pt x="3138874" y="262582"/>
                  <a:pt x="3140309" y="264017"/>
                  <a:pt x="3140309" y="266887"/>
                </a:cubicBezTo>
                <a:cubicBezTo>
                  <a:pt x="3134569" y="266887"/>
                  <a:pt x="3128829" y="272626"/>
                  <a:pt x="3123090" y="272626"/>
                </a:cubicBezTo>
                <a:cubicBezTo>
                  <a:pt x="3120221" y="269755"/>
                  <a:pt x="3124525" y="265451"/>
                  <a:pt x="3129547" y="263300"/>
                </a:cubicBezTo>
                <a:cubicBezTo>
                  <a:pt x="3132059" y="262224"/>
                  <a:pt x="3134749" y="261685"/>
                  <a:pt x="3136811" y="262133"/>
                </a:cubicBezTo>
                <a:close/>
                <a:moveTo>
                  <a:pt x="4175501" y="261147"/>
                </a:moveTo>
                <a:lnTo>
                  <a:pt x="4181503" y="261147"/>
                </a:lnTo>
                <a:cubicBezTo>
                  <a:pt x="4169501" y="267605"/>
                  <a:pt x="4151501" y="274062"/>
                  <a:pt x="4139498" y="286976"/>
                </a:cubicBezTo>
                <a:cubicBezTo>
                  <a:pt x="4127498" y="280519"/>
                  <a:pt x="4157500" y="274062"/>
                  <a:pt x="4157500" y="267605"/>
                </a:cubicBezTo>
                <a:cubicBezTo>
                  <a:pt x="4169501" y="261147"/>
                  <a:pt x="4169501" y="267605"/>
                  <a:pt x="4175501" y="261147"/>
                </a:cubicBezTo>
                <a:close/>
                <a:moveTo>
                  <a:pt x="3918008" y="261147"/>
                </a:moveTo>
                <a:cubicBezTo>
                  <a:pt x="3912268" y="274062"/>
                  <a:pt x="3895050" y="280519"/>
                  <a:pt x="3877832" y="286976"/>
                </a:cubicBezTo>
                <a:cubicBezTo>
                  <a:pt x="3883571" y="280519"/>
                  <a:pt x="3906528" y="261147"/>
                  <a:pt x="3918008" y="261147"/>
                </a:cubicBezTo>
                <a:close/>
                <a:moveTo>
                  <a:pt x="3925625" y="260717"/>
                </a:moveTo>
                <a:lnTo>
                  <a:pt x="3924226" y="261147"/>
                </a:lnTo>
                <a:cubicBezTo>
                  <a:pt x="3922671" y="261147"/>
                  <a:pt x="3923060" y="261147"/>
                  <a:pt x="3924421" y="260968"/>
                </a:cubicBezTo>
                <a:close/>
                <a:moveTo>
                  <a:pt x="3348663" y="260229"/>
                </a:moveTo>
                <a:lnTo>
                  <a:pt x="3333516" y="268282"/>
                </a:lnTo>
                <a:lnTo>
                  <a:pt x="3333731" y="266066"/>
                </a:lnTo>
                <a:cubicBezTo>
                  <a:pt x="3339077" y="260981"/>
                  <a:pt x="3350690" y="257780"/>
                  <a:pt x="3348663" y="260229"/>
                </a:cubicBezTo>
                <a:close/>
                <a:moveTo>
                  <a:pt x="3930810" y="259121"/>
                </a:moveTo>
                <a:lnTo>
                  <a:pt x="3930444" y="259712"/>
                </a:lnTo>
                <a:lnTo>
                  <a:pt x="3925625" y="260717"/>
                </a:lnTo>
                <a:close/>
                <a:moveTo>
                  <a:pt x="4263522" y="258960"/>
                </a:moveTo>
                <a:lnTo>
                  <a:pt x="4264119" y="259407"/>
                </a:lnTo>
                <a:lnTo>
                  <a:pt x="4260532" y="261196"/>
                </a:lnTo>
                <a:cubicBezTo>
                  <a:pt x="4260532" y="261196"/>
                  <a:pt x="4262027" y="259705"/>
                  <a:pt x="4263522" y="258960"/>
                </a:cubicBezTo>
                <a:close/>
                <a:moveTo>
                  <a:pt x="4705351" y="258756"/>
                </a:moveTo>
                <a:lnTo>
                  <a:pt x="4702905" y="261196"/>
                </a:lnTo>
                <a:lnTo>
                  <a:pt x="4700958" y="260787"/>
                </a:lnTo>
                <a:close/>
                <a:moveTo>
                  <a:pt x="4284320" y="255466"/>
                </a:moveTo>
                <a:lnTo>
                  <a:pt x="4278466" y="266415"/>
                </a:lnTo>
                <a:lnTo>
                  <a:pt x="4277739" y="267232"/>
                </a:lnTo>
                <a:lnTo>
                  <a:pt x="4270994" y="267905"/>
                </a:lnTo>
                <a:lnTo>
                  <a:pt x="4271619" y="270088"/>
                </a:lnTo>
                <a:lnTo>
                  <a:pt x="4268005" y="271632"/>
                </a:lnTo>
                <a:cubicBezTo>
                  <a:pt x="4266510" y="276106"/>
                  <a:pt x="4266510" y="282070"/>
                  <a:pt x="4266510" y="285052"/>
                </a:cubicBezTo>
                <a:cubicBezTo>
                  <a:pt x="4266510" y="296980"/>
                  <a:pt x="4266510" y="273123"/>
                  <a:pt x="4260532" y="279087"/>
                </a:cubicBezTo>
                <a:cubicBezTo>
                  <a:pt x="4254556" y="285052"/>
                  <a:pt x="4266510" y="279087"/>
                  <a:pt x="4266510" y="291016"/>
                </a:cubicBezTo>
                <a:cubicBezTo>
                  <a:pt x="4260532" y="285052"/>
                  <a:pt x="4260532" y="291016"/>
                  <a:pt x="4254556" y="291016"/>
                </a:cubicBezTo>
                <a:cubicBezTo>
                  <a:pt x="4254556" y="291016"/>
                  <a:pt x="4254556" y="285052"/>
                  <a:pt x="4254556" y="279087"/>
                </a:cubicBezTo>
                <a:cubicBezTo>
                  <a:pt x="4254556" y="285052"/>
                  <a:pt x="4254556" y="285052"/>
                  <a:pt x="4248578" y="285052"/>
                </a:cubicBezTo>
                <a:cubicBezTo>
                  <a:pt x="4251566" y="291016"/>
                  <a:pt x="4251566" y="293997"/>
                  <a:pt x="4250819" y="296980"/>
                </a:cubicBezTo>
                <a:lnTo>
                  <a:pt x="4249617" y="303375"/>
                </a:lnTo>
                <a:lnTo>
                  <a:pt x="4248578" y="302943"/>
                </a:lnTo>
                <a:cubicBezTo>
                  <a:pt x="4248578" y="302943"/>
                  <a:pt x="4248578" y="308907"/>
                  <a:pt x="4248578" y="308907"/>
                </a:cubicBezTo>
                <a:lnTo>
                  <a:pt x="4249617" y="303375"/>
                </a:lnTo>
                <a:lnTo>
                  <a:pt x="4257544" y="306671"/>
                </a:lnTo>
                <a:cubicBezTo>
                  <a:pt x="4259039" y="308907"/>
                  <a:pt x="4260534" y="311889"/>
                  <a:pt x="4266510" y="314873"/>
                </a:cubicBezTo>
                <a:cubicBezTo>
                  <a:pt x="4248578" y="308907"/>
                  <a:pt x="4242599" y="314873"/>
                  <a:pt x="4224665" y="320836"/>
                </a:cubicBezTo>
                <a:cubicBezTo>
                  <a:pt x="4218688" y="314873"/>
                  <a:pt x="4218688" y="308907"/>
                  <a:pt x="4218688" y="302943"/>
                </a:cubicBezTo>
                <a:cubicBezTo>
                  <a:pt x="4224665" y="302943"/>
                  <a:pt x="4224665" y="308907"/>
                  <a:pt x="4224665" y="314873"/>
                </a:cubicBezTo>
                <a:cubicBezTo>
                  <a:pt x="4230643" y="314873"/>
                  <a:pt x="4230643" y="308907"/>
                  <a:pt x="4230643" y="302943"/>
                </a:cubicBezTo>
                <a:cubicBezTo>
                  <a:pt x="4230643" y="308907"/>
                  <a:pt x="4236621" y="308907"/>
                  <a:pt x="4242599" y="308907"/>
                </a:cubicBezTo>
                <a:lnTo>
                  <a:pt x="4242599" y="296980"/>
                </a:lnTo>
                <a:cubicBezTo>
                  <a:pt x="4244094" y="295489"/>
                  <a:pt x="4244094" y="294371"/>
                  <a:pt x="4243440" y="293439"/>
                </a:cubicBezTo>
                <a:lnTo>
                  <a:pt x="4242599" y="292778"/>
                </a:lnTo>
                <a:lnTo>
                  <a:pt x="4242599" y="285052"/>
                </a:lnTo>
                <a:cubicBezTo>
                  <a:pt x="4236621" y="288034"/>
                  <a:pt x="4238116" y="289525"/>
                  <a:pt x="4240358" y="291016"/>
                </a:cubicBezTo>
                <a:lnTo>
                  <a:pt x="4242599" y="292778"/>
                </a:lnTo>
                <a:lnTo>
                  <a:pt x="4242599" y="296980"/>
                </a:lnTo>
                <a:cubicBezTo>
                  <a:pt x="4230643" y="296980"/>
                  <a:pt x="4230643" y="296980"/>
                  <a:pt x="4218688" y="285052"/>
                </a:cubicBezTo>
                <a:cubicBezTo>
                  <a:pt x="4236621" y="279087"/>
                  <a:pt x="4236621" y="267160"/>
                  <a:pt x="4248578" y="261196"/>
                </a:cubicBezTo>
                <a:cubicBezTo>
                  <a:pt x="4248578" y="261196"/>
                  <a:pt x="4248578" y="267160"/>
                  <a:pt x="4248578" y="267160"/>
                </a:cubicBezTo>
                <a:cubicBezTo>
                  <a:pt x="4248578" y="273123"/>
                  <a:pt x="4254556" y="261196"/>
                  <a:pt x="4260532" y="273123"/>
                </a:cubicBezTo>
                <a:cubicBezTo>
                  <a:pt x="4266510" y="267160"/>
                  <a:pt x="4254556" y="261196"/>
                  <a:pt x="4266510" y="261196"/>
                </a:cubicBezTo>
                <a:lnTo>
                  <a:pt x="4264119" y="259407"/>
                </a:lnTo>
                <a:lnTo>
                  <a:pt x="4270993" y="255977"/>
                </a:lnTo>
                <a:close/>
                <a:moveTo>
                  <a:pt x="3243619" y="255408"/>
                </a:moveTo>
                <a:cubicBezTo>
                  <a:pt x="3249359" y="255408"/>
                  <a:pt x="3220662" y="272626"/>
                  <a:pt x="3220662" y="261147"/>
                </a:cubicBezTo>
                <a:cubicBezTo>
                  <a:pt x="3226400" y="261147"/>
                  <a:pt x="3232140" y="255408"/>
                  <a:pt x="3243619" y="255408"/>
                </a:cubicBezTo>
                <a:close/>
                <a:moveTo>
                  <a:pt x="3154658" y="255408"/>
                </a:moveTo>
                <a:cubicBezTo>
                  <a:pt x="3154658" y="255408"/>
                  <a:pt x="3154658" y="255408"/>
                  <a:pt x="3154658" y="261147"/>
                </a:cubicBezTo>
                <a:cubicBezTo>
                  <a:pt x="3154658" y="261147"/>
                  <a:pt x="3140309" y="266887"/>
                  <a:pt x="3140309" y="261147"/>
                </a:cubicBezTo>
                <a:cubicBezTo>
                  <a:pt x="3147483" y="255408"/>
                  <a:pt x="3147483" y="255408"/>
                  <a:pt x="3154658" y="255408"/>
                </a:cubicBezTo>
                <a:close/>
                <a:moveTo>
                  <a:pt x="3011171" y="255408"/>
                </a:moveTo>
                <a:cubicBezTo>
                  <a:pt x="3011171" y="261865"/>
                  <a:pt x="3007942" y="265094"/>
                  <a:pt x="3003100" y="268322"/>
                </a:cubicBezTo>
                <a:lnTo>
                  <a:pt x="2987886" y="279387"/>
                </a:lnTo>
                <a:lnTo>
                  <a:pt x="3004072" y="276612"/>
                </a:lnTo>
                <a:cubicBezTo>
                  <a:pt x="3009964" y="273583"/>
                  <a:pt x="3015853" y="270554"/>
                  <a:pt x="3021744" y="273583"/>
                </a:cubicBezTo>
                <a:cubicBezTo>
                  <a:pt x="3027634" y="273583"/>
                  <a:pt x="3021744" y="273583"/>
                  <a:pt x="3021744" y="267525"/>
                </a:cubicBezTo>
                <a:cubicBezTo>
                  <a:pt x="3027634" y="261466"/>
                  <a:pt x="3027634" y="267525"/>
                  <a:pt x="3033525" y="267525"/>
                </a:cubicBezTo>
                <a:cubicBezTo>
                  <a:pt x="3027634" y="261466"/>
                  <a:pt x="3045307" y="255408"/>
                  <a:pt x="3051197" y="255408"/>
                </a:cubicBezTo>
                <a:cubicBezTo>
                  <a:pt x="3057087" y="261466"/>
                  <a:pt x="3045307" y="255408"/>
                  <a:pt x="3045307" y="261466"/>
                </a:cubicBezTo>
                <a:cubicBezTo>
                  <a:pt x="3045307" y="261466"/>
                  <a:pt x="3045307" y="267525"/>
                  <a:pt x="3051197" y="267525"/>
                </a:cubicBezTo>
                <a:cubicBezTo>
                  <a:pt x="3039417" y="273583"/>
                  <a:pt x="3027634" y="279642"/>
                  <a:pt x="3009964" y="285700"/>
                </a:cubicBezTo>
                <a:cubicBezTo>
                  <a:pt x="3009964" y="285700"/>
                  <a:pt x="3015853" y="279642"/>
                  <a:pt x="3015853" y="279642"/>
                </a:cubicBezTo>
                <a:cubicBezTo>
                  <a:pt x="3009964" y="273583"/>
                  <a:pt x="3009964" y="285700"/>
                  <a:pt x="3004072" y="285700"/>
                </a:cubicBezTo>
                <a:cubicBezTo>
                  <a:pt x="3004072" y="285700"/>
                  <a:pt x="3004072" y="285700"/>
                  <a:pt x="3009964" y="285700"/>
                </a:cubicBezTo>
                <a:cubicBezTo>
                  <a:pt x="3004072" y="285700"/>
                  <a:pt x="2986400" y="303874"/>
                  <a:pt x="2980511" y="303874"/>
                </a:cubicBezTo>
                <a:cubicBezTo>
                  <a:pt x="2974620" y="297817"/>
                  <a:pt x="2986400" y="297817"/>
                  <a:pt x="2986400" y="291759"/>
                </a:cubicBezTo>
                <a:cubicBezTo>
                  <a:pt x="2974620" y="285700"/>
                  <a:pt x="2974620" y="303874"/>
                  <a:pt x="2974620" y="309934"/>
                </a:cubicBezTo>
                <a:cubicBezTo>
                  <a:pt x="2968730" y="303874"/>
                  <a:pt x="2956947" y="291759"/>
                  <a:pt x="2951058" y="303874"/>
                </a:cubicBezTo>
                <a:cubicBezTo>
                  <a:pt x="2945167" y="297817"/>
                  <a:pt x="2956947" y="297817"/>
                  <a:pt x="2962838" y="291759"/>
                </a:cubicBezTo>
                <a:cubicBezTo>
                  <a:pt x="2968730" y="297817"/>
                  <a:pt x="2992291" y="279642"/>
                  <a:pt x="2986400" y="279642"/>
                </a:cubicBezTo>
                <a:lnTo>
                  <a:pt x="2986438" y="279634"/>
                </a:lnTo>
                <a:lnTo>
                  <a:pt x="2995836" y="265900"/>
                </a:lnTo>
                <a:cubicBezTo>
                  <a:pt x="3001485" y="261865"/>
                  <a:pt x="3007942" y="258636"/>
                  <a:pt x="3011171" y="255408"/>
                </a:cubicBezTo>
                <a:close/>
                <a:moveTo>
                  <a:pt x="4661059" y="255233"/>
                </a:moveTo>
                <a:lnTo>
                  <a:pt x="4661059" y="261196"/>
                </a:lnTo>
                <a:cubicBezTo>
                  <a:pt x="4661059" y="255233"/>
                  <a:pt x="4661059" y="267160"/>
                  <a:pt x="4655081" y="261196"/>
                </a:cubicBezTo>
                <a:cubicBezTo>
                  <a:pt x="4655081" y="261196"/>
                  <a:pt x="4655081" y="261196"/>
                  <a:pt x="4661059" y="255233"/>
                </a:cubicBezTo>
                <a:close/>
                <a:moveTo>
                  <a:pt x="4625192" y="255233"/>
                </a:moveTo>
                <a:cubicBezTo>
                  <a:pt x="4625192" y="267160"/>
                  <a:pt x="4583345" y="279087"/>
                  <a:pt x="4577368" y="279087"/>
                </a:cubicBezTo>
                <a:lnTo>
                  <a:pt x="4577368" y="300957"/>
                </a:lnTo>
                <a:lnTo>
                  <a:pt x="4564095" y="305369"/>
                </a:lnTo>
                <a:lnTo>
                  <a:pt x="4563697" y="309932"/>
                </a:lnTo>
                <a:lnTo>
                  <a:pt x="4561104" y="306365"/>
                </a:lnTo>
                <a:lnTo>
                  <a:pt x="4553454" y="308907"/>
                </a:lnTo>
                <a:cubicBezTo>
                  <a:pt x="4541499" y="314873"/>
                  <a:pt x="4529543" y="332763"/>
                  <a:pt x="4523565" y="320836"/>
                </a:cubicBezTo>
                <a:cubicBezTo>
                  <a:pt x="4529543" y="320836"/>
                  <a:pt x="4529543" y="314873"/>
                  <a:pt x="4535521" y="314873"/>
                </a:cubicBezTo>
                <a:cubicBezTo>
                  <a:pt x="4523565" y="308907"/>
                  <a:pt x="4523565" y="314873"/>
                  <a:pt x="4523565" y="302943"/>
                </a:cubicBezTo>
                <a:cubicBezTo>
                  <a:pt x="4517586" y="296980"/>
                  <a:pt x="4505632" y="302943"/>
                  <a:pt x="4499654" y="302943"/>
                </a:cubicBezTo>
                <a:cubicBezTo>
                  <a:pt x="4529543" y="291016"/>
                  <a:pt x="4589323" y="267160"/>
                  <a:pt x="4625192" y="255233"/>
                </a:cubicBezTo>
                <a:close/>
                <a:moveTo>
                  <a:pt x="4290423" y="255233"/>
                </a:moveTo>
                <a:cubicBezTo>
                  <a:pt x="4290423" y="255233"/>
                  <a:pt x="4290423" y="255233"/>
                  <a:pt x="4284445" y="261196"/>
                </a:cubicBezTo>
                <a:cubicBezTo>
                  <a:pt x="4284445" y="267160"/>
                  <a:pt x="4296401" y="249267"/>
                  <a:pt x="4302379" y="261196"/>
                </a:cubicBezTo>
                <a:lnTo>
                  <a:pt x="4303076" y="266067"/>
                </a:lnTo>
                <a:lnTo>
                  <a:pt x="4299741" y="265377"/>
                </a:lnTo>
                <a:cubicBezTo>
                  <a:pt x="4296448" y="263316"/>
                  <a:pt x="4292945" y="261149"/>
                  <a:pt x="4289862" y="262966"/>
                </a:cubicBezTo>
                <a:lnTo>
                  <a:pt x="4284521" y="272984"/>
                </a:lnTo>
                <a:lnTo>
                  <a:pt x="4288203" y="271908"/>
                </a:lnTo>
                <a:cubicBezTo>
                  <a:pt x="4291073" y="273583"/>
                  <a:pt x="4293942" y="276931"/>
                  <a:pt x="4293942" y="280280"/>
                </a:cubicBezTo>
                <a:cubicBezTo>
                  <a:pt x="4293942" y="286976"/>
                  <a:pt x="4288203" y="286976"/>
                  <a:pt x="4282463" y="286976"/>
                </a:cubicBezTo>
                <a:cubicBezTo>
                  <a:pt x="4282463" y="280280"/>
                  <a:pt x="4282463" y="273583"/>
                  <a:pt x="4288203" y="273583"/>
                </a:cubicBezTo>
                <a:cubicBezTo>
                  <a:pt x="4288203" y="273583"/>
                  <a:pt x="4288203" y="273583"/>
                  <a:pt x="4282463" y="273583"/>
                </a:cubicBezTo>
                <a:lnTo>
                  <a:pt x="4284408" y="273015"/>
                </a:lnTo>
                <a:lnTo>
                  <a:pt x="4282203" y="266415"/>
                </a:lnTo>
                <a:lnTo>
                  <a:pt x="4284399" y="255462"/>
                </a:lnTo>
                <a:close/>
                <a:moveTo>
                  <a:pt x="4284445" y="255233"/>
                </a:moveTo>
                <a:lnTo>
                  <a:pt x="4284399" y="255462"/>
                </a:lnTo>
                <a:lnTo>
                  <a:pt x="4284320" y="255466"/>
                </a:lnTo>
                <a:close/>
                <a:moveTo>
                  <a:pt x="4474734" y="249668"/>
                </a:moveTo>
                <a:cubicBezTo>
                  <a:pt x="4468995" y="255408"/>
                  <a:pt x="4457516" y="261147"/>
                  <a:pt x="4451777" y="261147"/>
                </a:cubicBezTo>
                <a:cubicBezTo>
                  <a:pt x="4457516" y="261147"/>
                  <a:pt x="4463256" y="249668"/>
                  <a:pt x="4474734" y="249668"/>
                </a:cubicBezTo>
                <a:close/>
                <a:moveTo>
                  <a:pt x="3936661" y="249668"/>
                </a:moveTo>
                <a:cubicBezTo>
                  <a:pt x="3942880" y="249668"/>
                  <a:pt x="3942880" y="255408"/>
                  <a:pt x="3942880" y="249668"/>
                </a:cubicBezTo>
                <a:cubicBezTo>
                  <a:pt x="3949097" y="249668"/>
                  <a:pt x="3947544" y="252537"/>
                  <a:pt x="3942880" y="255408"/>
                </a:cubicBezTo>
                <a:lnTo>
                  <a:pt x="3930810" y="259121"/>
                </a:lnTo>
                <a:close/>
                <a:moveTo>
                  <a:pt x="3082916" y="249668"/>
                </a:moveTo>
                <a:cubicBezTo>
                  <a:pt x="3082916" y="255408"/>
                  <a:pt x="3076220" y="255408"/>
                  <a:pt x="3062827" y="261147"/>
                </a:cubicBezTo>
                <a:cubicBezTo>
                  <a:pt x="3062827" y="249668"/>
                  <a:pt x="3076220" y="249668"/>
                  <a:pt x="3082916" y="249668"/>
                </a:cubicBezTo>
                <a:close/>
                <a:moveTo>
                  <a:pt x="4738774" y="243303"/>
                </a:moveTo>
                <a:lnTo>
                  <a:pt x="4705351" y="258756"/>
                </a:lnTo>
                <a:lnTo>
                  <a:pt x="4714115" y="250014"/>
                </a:lnTo>
                <a:cubicBezTo>
                  <a:pt x="4722334" y="247778"/>
                  <a:pt x="4732796" y="246286"/>
                  <a:pt x="4738774" y="243303"/>
                </a:cubicBezTo>
                <a:close/>
                <a:moveTo>
                  <a:pt x="4655081" y="243303"/>
                </a:moveTo>
                <a:lnTo>
                  <a:pt x="4656169" y="243569"/>
                </a:lnTo>
                <a:lnTo>
                  <a:pt x="4652742" y="244860"/>
                </a:lnTo>
                <a:close/>
                <a:moveTo>
                  <a:pt x="3972533" y="238190"/>
                </a:moveTo>
                <a:cubicBezTo>
                  <a:pt x="3972533" y="243929"/>
                  <a:pt x="3949574" y="255408"/>
                  <a:pt x="3949574" y="243929"/>
                </a:cubicBezTo>
                <a:cubicBezTo>
                  <a:pt x="3955313" y="238190"/>
                  <a:pt x="3961053" y="243929"/>
                  <a:pt x="3972533" y="238190"/>
                </a:cubicBezTo>
                <a:close/>
                <a:moveTo>
                  <a:pt x="3232142" y="238190"/>
                </a:moveTo>
                <a:cubicBezTo>
                  <a:pt x="3232142" y="249668"/>
                  <a:pt x="3225446" y="243929"/>
                  <a:pt x="3212053" y="249668"/>
                </a:cubicBezTo>
                <a:cubicBezTo>
                  <a:pt x="3212053" y="243929"/>
                  <a:pt x="3225446" y="243929"/>
                  <a:pt x="3232142" y="238190"/>
                </a:cubicBezTo>
                <a:close/>
                <a:moveTo>
                  <a:pt x="3417698" y="233957"/>
                </a:moveTo>
                <a:cubicBezTo>
                  <a:pt x="3421385" y="233957"/>
                  <a:pt x="3424335" y="235463"/>
                  <a:pt x="3427284" y="238477"/>
                </a:cubicBezTo>
                <a:lnTo>
                  <a:pt x="3387122" y="261272"/>
                </a:lnTo>
                <a:lnTo>
                  <a:pt x="3387823" y="267006"/>
                </a:lnTo>
                <a:cubicBezTo>
                  <a:pt x="3388541" y="269517"/>
                  <a:pt x="3389977" y="271191"/>
                  <a:pt x="3392845" y="267843"/>
                </a:cubicBezTo>
                <a:cubicBezTo>
                  <a:pt x="3392845" y="274541"/>
                  <a:pt x="3381366" y="274541"/>
                  <a:pt x="3375627" y="281236"/>
                </a:cubicBezTo>
                <a:cubicBezTo>
                  <a:pt x="3375627" y="274541"/>
                  <a:pt x="3381366" y="274541"/>
                  <a:pt x="3381366" y="274541"/>
                </a:cubicBezTo>
                <a:lnTo>
                  <a:pt x="3387032" y="261322"/>
                </a:lnTo>
                <a:lnTo>
                  <a:pt x="3374193" y="268610"/>
                </a:lnTo>
                <a:cubicBezTo>
                  <a:pt x="3368295" y="268610"/>
                  <a:pt x="3368295" y="256556"/>
                  <a:pt x="3368295" y="262582"/>
                </a:cubicBezTo>
                <a:cubicBezTo>
                  <a:pt x="3356498" y="262582"/>
                  <a:pt x="3362397" y="274637"/>
                  <a:pt x="3356498" y="274637"/>
                </a:cubicBezTo>
                <a:cubicBezTo>
                  <a:pt x="3362397" y="280661"/>
                  <a:pt x="3356498" y="280661"/>
                  <a:pt x="3362397" y="286688"/>
                </a:cubicBezTo>
                <a:cubicBezTo>
                  <a:pt x="3356498" y="292715"/>
                  <a:pt x="3350597" y="292715"/>
                  <a:pt x="3344699" y="292715"/>
                </a:cubicBezTo>
                <a:cubicBezTo>
                  <a:pt x="3344699" y="286688"/>
                  <a:pt x="3356498" y="292715"/>
                  <a:pt x="3356498" y="280661"/>
                </a:cubicBezTo>
                <a:cubicBezTo>
                  <a:pt x="3332901" y="274637"/>
                  <a:pt x="3344699" y="280661"/>
                  <a:pt x="3327001" y="280661"/>
                </a:cubicBezTo>
                <a:cubicBezTo>
                  <a:pt x="3327001" y="274637"/>
                  <a:pt x="3332901" y="274637"/>
                  <a:pt x="3332901" y="274637"/>
                </a:cubicBezTo>
                <a:lnTo>
                  <a:pt x="3333456" y="268893"/>
                </a:lnTo>
                <a:lnTo>
                  <a:pt x="3344699" y="274637"/>
                </a:lnTo>
                <a:cubicBezTo>
                  <a:pt x="3344699" y="250529"/>
                  <a:pt x="3403688" y="262582"/>
                  <a:pt x="3403688" y="238477"/>
                </a:cubicBezTo>
                <a:cubicBezTo>
                  <a:pt x="3409587" y="235463"/>
                  <a:pt x="3414011" y="233957"/>
                  <a:pt x="3417698" y="233957"/>
                </a:cubicBezTo>
                <a:close/>
                <a:moveTo>
                  <a:pt x="3068565" y="232450"/>
                </a:moveTo>
                <a:cubicBezTo>
                  <a:pt x="3062824" y="243929"/>
                  <a:pt x="3039867" y="249668"/>
                  <a:pt x="3022648" y="261147"/>
                </a:cubicBezTo>
                <a:cubicBezTo>
                  <a:pt x="3022648" y="243929"/>
                  <a:pt x="3051346" y="249668"/>
                  <a:pt x="3068565" y="232450"/>
                </a:cubicBezTo>
                <a:close/>
                <a:moveTo>
                  <a:pt x="3221470" y="227787"/>
                </a:moveTo>
                <a:cubicBezTo>
                  <a:pt x="3224430" y="228145"/>
                  <a:pt x="3226402" y="229580"/>
                  <a:pt x="3226402" y="232450"/>
                </a:cubicBezTo>
                <a:cubicBezTo>
                  <a:pt x="3213775" y="226710"/>
                  <a:pt x="3201149" y="238190"/>
                  <a:pt x="3194835" y="243929"/>
                </a:cubicBezTo>
                <a:cubicBezTo>
                  <a:pt x="3194835" y="238190"/>
                  <a:pt x="3202726" y="232450"/>
                  <a:pt x="3210619" y="229579"/>
                </a:cubicBezTo>
                <a:cubicBezTo>
                  <a:pt x="3214565" y="228145"/>
                  <a:pt x="3218511" y="227428"/>
                  <a:pt x="3221470" y="227787"/>
                </a:cubicBezTo>
                <a:close/>
                <a:moveTo>
                  <a:pt x="3332581" y="226710"/>
                </a:moveTo>
                <a:cubicBezTo>
                  <a:pt x="3326842" y="238190"/>
                  <a:pt x="3303884" y="249668"/>
                  <a:pt x="3298145" y="249668"/>
                </a:cubicBezTo>
                <a:cubicBezTo>
                  <a:pt x="3303884" y="232450"/>
                  <a:pt x="3321103" y="238190"/>
                  <a:pt x="3332581" y="226710"/>
                </a:cubicBezTo>
                <a:close/>
                <a:moveTo>
                  <a:pt x="4624537" y="225868"/>
                </a:moveTo>
                <a:cubicBezTo>
                  <a:pt x="4624537" y="238021"/>
                  <a:pt x="4606457" y="225868"/>
                  <a:pt x="4600432" y="238021"/>
                </a:cubicBezTo>
                <a:cubicBezTo>
                  <a:pt x="4558246" y="250176"/>
                  <a:pt x="4528114" y="274484"/>
                  <a:pt x="4497982" y="268407"/>
                </a:cubicBezTo>
                <a:cubicBezTo>
                  <a:pt x="4528114" y="262329"/>
                  <a:pt x="4582351" y="238021"/>
                  <a:pt x="4624537" y="225868"/>
                </a:cubicBezTo>
                <a:close/>
                <a:moveTo>
                  <a:pt x="4708883" y="225410"/>
                </a:moveTo>
                <a:lnTo>
                  <a:pt x="4702309" y="231973"/>
                </a:lnTo>
                <a:lnTo>
                  <a:pt x="4694305" y="236698"/>
                </a:lnTo>
                <a:lnTo>
                  <a:pt x="4687027" y="234917"/>
                </a:lnTo>
                <a:cubicBezTo>
                  <a:pt x="4679928" y="236781"/>
                  <a:pt x="4672082" y="243862"/>
                  <a:pt x="4664981" y="245726"/>
                </a:cubicBezTo>
                <a:lnTo>
                  <a:pt x="4656169" y="243569"/>
                </a:lnTo>
                <a:lnTo>
                  <a:pt x="4664795" y="240320"/>
                </a:lnTo>
                <a:cubicBezTo>
                  <a:pt x="4676005" y="235848"/>
                  <a:pt x="4687961" y="231376"/>
                  <a:pt x="4708883" y="225410"/>
                </a:cubicBezTo>
                <a:close/>
                <a:moveTo>
                  <a:pt x="3134569" y="220971"/>
                </a:moveTo>
                <a:cubicBezTo>
                  <a:pt x="3134569" y="226710"/>
                  <a:pt x="3117350" y="226710"/>
                  <a:pt x="3117350" y="232450"/>
                </a:cubicBezTo>
                <a:cubicBezTo>
                  <a:pt x="3117350" y="232450"/>
                  <a:pt x="3117350" y="226710"/>
                  <a:pt x="3117350" y="226710"/>
                </a:cubicBezTo>
                <a:cubicBezTo>
                  <a:pt x="3117350" y="220971"/>
                  <a:pt x="3128829" y="220971"/>
                  <a:pt x="3134569" y="220971"/>
                </a:cubicBezTo>
                <a:close/>
                <a:moveTo>
                  <a:pt x="4665423" y="220934"/>
                </a:moveTo>
                <a:lnTo>
                  <a:pt x="4665027" y="221310"/>
                </a:lnTo>
                <a:lnTo>
                  <a:pt x="4664793" y="221228"/>
                </a:lnTo>
                <a:close/>
                <a:moveTo>
                  <a:pt x="4385776" y="215231"/>
                </a:moveTo>
                <a:cubicBezTo>
                  <a:pt x="4379626" y="226710"/>
                  <a:pt x="4355028" y="220971"/>
                  <a:pt x="4342728" y="232450"/>
                </a:cubicBezTo>
                <a:lnTo>
                  <a:pt x="4343267" y="231801"/>
                </a:lnTo>
                <a:lnTo>
                  <a:pt x="4344225" y="231376"/>
                </a:lnTo>
                <a:lnTo>
                  <a:pt x="4343701" y="231278"/>
                </a:lnTo>
                <a:lnTo>
                  <a:pt x="4350320" y="223303"/>
                </a:lnTo>
                <a:cubicBezTo>
                  <a:pt x="4360409" y="217384"/>
                  <a:pt x="4376552" y="219536"/>
                  <a:pt x="4385776" y="215231"/>
                </a:cubicBezTo>
                <a:close/>
                <a:moveTo>
                  <a:pt x="3480911" y="214424"/>
                </a:moveTo>
                <a:cubicBezTo>
                  <a:pt x="3481450" y="214873"/>
                  <a:pt x="3481808" y="216667"/>
                  <a:pt x="3481808" y="220971"/>
                </a:cubicBezTo>
                <a:cubicBezTo>
                  <a:pt x="3476068" y="220971"/>
                  <a:pt x="3470329" y="220971"/>
                  <a:pt x="3464589" y="226710"/>
                </a:cubicBezTo>
                <a:cubicBezTo>
                  <a:pt x="3453111" y="226710"/>
                  <a:pt x="3476068" y="220971"/>
                  <a:pt x="3470329" y="215231"/>
                </a:cubicBezTo>
                <a:cubicBezTo>
                  <a:pt x="3470329" y="215231"/>
                  <a:pt x="3470329" y="215231"/>
                  <a:pt x="3476068" y="215231"/>
                </a:cubicBezTo>
                <a:cubicBezTo>
                  <a:pt x="3476068" y="223839"/>
                  <a:pt x="3479297" y="213078"/>
                  <a:pt x="3480911" y="214424"/>
                </a:cubicBezTo>
                <a:close/>
                <a:moveTo>
                  <a:pt x="4480474" y="209492"/>
                </a:moveTo>
                <a:lnTo>
                  <a:pt x="4486214" y="209492"/>
                </a:lnTo>
                <a:cubicBezTo>
                  <a:pt x="4480474" y="209492"/>
                  <a:pt x="4480474" y="215231"/>
                  <a:pt x="4474734" y="215231"/>
                </a:cubicBezTo>
                <a:cubicBezTo>
                  <a:pt x="4474734" y="209492"/>
                  <a:pt x="4474734" y="209492"/>
                  <a:pt x="4480474" y="209492"/>
                </a:cubicBezTo>
                <a:close/>
                <a:moveTo>
                  <a:pt x="3260837" y="209492"/>
                </a:moveTo>
                <a:cubicBezTo>
                  <a:pt x="3260837" y="209492"/>
                  <a:pt x="3260837" y="215231"/>
                  <a:pt x="3260837" y="215231"/>
                </a:cubicBezTo>
                <a:cubicBezTo>
                  <a:pt x="3255098" y="215231"/>
                  <a:pt x="3249359" y="215231"/>
                  <a:pt x="3243619" y="220971"/>
                </a:cubicBezTo>
                <a:cubicBezTo>
                  <a:pt x="3237880" y="215231"/>
                  <a:pt x="3260837" y="215231"/>
                  <a:pt x="3260837" y="209492"/>
                </a:cubicBezTo>
                <a:close/>
                <a:moveTo>
                  <a:pt x="3160398" y="209492"/>
                </a:moveTo>
                <a:cubicBezTo>
                  <a:pt x="3153702" y="215231"/>
                  <a:pt x="3153702" y="220971"/>
                  <a:pt x="3147006" y="226710"/>
                </a:cubicBezTo>
                <a:cubicBezTo>
                  <a:pt x="3147006" y="220971"/>
                  <a:pt x="3140309" y="215231"/>
                  <a:pt x="3140309" y="220971"/>
                </a:cubicBezTo>
                <a:cubicBezTo>
                  <a:pt x="3140309" y="209492"/>
                  <a:pt x="3147006" y="209492"/>
                  <a:pt x="3160398" y="209492"/>
                </a:cubicBezTo>
                <a:close/>
                <a:moveTo>
                  <a:pt x="3128829" y="209492"/>
                </a:moveTo>
                <a:cubicBezTo>
                  <a:pt x="3128829" y="220971"/>
                  <a:pt x="3117350" y="215231"/>
                  <a:pt x="3111611" y="220971"/>
                </a:cubicBezTo>
                <a:cubicBezTo>
                  <a:pt x="3111611" y="215231"/>
                  <a:pt x="3123090" y="215231"/>
                  <a:pt x="3128829" y="209492"/>
                </a:cubicBezTo>
                <a:close/>
                <a:moveTo>
                  <a:pt x="4690895" y="209051"/>
                </a:moveTo>
                <a:lnTo>
                  <a:pt x="4684801" y="213713"/>
                </a:lnTo>
                <a:lnTo>
                  <a:pt x="4684069" y="212236"/>
                </a:lnTo>
                <a:close/>
                <a:moveTo>
                  <a:pt x="4666722" y="207635"/>
                </a:moveTo>
                <a:cubicBezTo>
                  <a:pt x="4666722" y="213713"/>
                  <a:pt x="4660695" y="213713"/>
                  <a:pt x="4660695" y="219791"/>
                </a:cubicBezTo>
                <a:lnTo>
                  <a:pt x="4664793" y="221228"/>
                </a:lnTo>
                <a:lnTo>
                  <a:pt x="4622278" y="241060"/>
                </a:lnTo>
                <a:cubicBezTo>
                  <a:pt x="4583859" y="256252"/>
                  <a:pt x="4543180" y="271446"/>
                  <a:pt x="4497982" y="292715"/>
                </a:cubicBezTo>
                <a:cubicBezTo>
                  <a:pt x="4491955" y="286638"/>
                  <a:pt x="4504009" y="286638"/>
                  <a:pt x="4504009" y="280561"/>
                </a:cubicBezTo>
                <a:cubicBezTo>
                  <a:pt x="4528114" y="274484"/>
                  <a:pt x="4576326" y="256252"/>
                  <a:pt x="4600432" y="238021"/>
                </a:cubicBezTo>
                <a:cubicBezTo>
                  <a:pt x="4618510" y="244099"/>
                  <a:pt x="4630563" y="225868"/>
                  <a:pt x="4630563" y="219791"/>
                </a:cubicBezTo>
                <a:cubicBezTo>
                  <a:pt x="4648643" y="213713"/>
                  <a:pt x="4648643" y="219791"/>
                  <a:pt x="4666722" y="207635"/>
                </a:cubicBezTo>
                <a:close/>
                <a:moveTo>
                  <a:pt x="3177614" y="203752"/>
                </a:moveTo>
                <a:cubicBezTo>
                  <a:pt x="3177614" y="209492"/>
                  <a:pt x="3177614" y="209492"/>
                  <a:pt x="3171875" y="215231"/>
                </a:cubicBezTo>
                <a:cubicBezTo>
                  <a:pt x="3171875" y="209492"/>
                  <a:pt x="3166136" y="209492"/>
                  <a:pt x="3166136" y="209492"/>
                </a:cubicBezTo>
                <a:cubicBezTo>
                  <a:pt x="3160395" y="209492"/>
                  <a:pt x="3177614" y="203752"/>
                  <a:pt x="3177614" y="203752"/>
                </a:cubicBezTo>
                <a:close/>
                <a:moveTo>
                  <a:pt x="4678774" y="201558"/>
                </a:moveTo>
                <a:lnTo>
                  <a:pt x="4684069" y="212236"/>
                </a:lnTo>
                <a:lnTo>
                  <a:pt x="4665423" y="220934"/>
                </a:lnTo>
                <a:lnTo>
                  <a:pt x="4668229" y="218271"/>
                </a:lnTo>
                <a:cubicBezTo>
                  <a:pt x="4669735" y="215232"/>
                  <a:pt x="4669735" y="210674"/>
                  <a:pt x="4666722" y="207635"/>
                </a:cubicBezTo>
                <a:cubicBezTo>
                  <a:pt x="4678774" y="201558"/>
                  <a:pt x="4666722" y="219791"/>
                  <a:pt x="4672749" y="213713"/>
                </a:cubicBezTo>
                <a:cubicBezTo>
                  <a:pt x="4684801" y="213713"/>
                  <a:pt x="4666722" y="207635"/>
                  <a:pt x="4678774" y="201558"/>
                </a:cubicBezTo>
                <a:close/>
                <a:moveTo>
                  <a:pt x="4750730" y="201556"/>
                </a:moveTo>
                <a:cubicBezTo>
                  <a:pt x="4756708" y="207520"/>
                  <a:pt x="4756708" y="213483"/>
                  <a:pt x="4762686" y="207520"/>
                </a:cubicBezTo>
                <a:cubicBezTo>
                  <a:pt x="4750730" y="225410"/>
                  <a:pt x="4702905" y="243303"/>
                  <a:pt x="4678993" y="255233"/>
                </a:cubicBezTo>
                <a:cubicBezTo>
                  <a:pt x="4678993" y="261196"/>
                  <a:pt x="4683476" y="259705"/>
                  <a:pt x="4688708" y="258213"/>
                </a:cubicBezTo>
                <a:lnTo>
                  <a:pt x="4700958" y="260787"/>
                </a:lnTo>
                <a:lnTo>
                  <a:pt x="4677500" y="271632"/>
                </a:lnTo>
                <a:cubicBezTo>
                  <a:pt x="4653587" y="277597"/>
                  <a:pt x="4628180" y="282070"/>
                  <a:pt x="4607257" y="291016"/>
                </a:cubicBezTo>
                <a:lnTo>
                  <a:pt x="4579144" y="300365"/>
                </a:lnTo>
                <a:lnTo>
                  <a:pt x="4585587" y="291016"/>
                </a:lnTo>
                <a:cubicBezTo>
                  <a:pt x="4587828" y="288034"/>
                  <a:pt x="4589323" y="285052"/>
                  <a:pt x="4589323" y="279087"/>
                </a:cubicBezTo>
                <a:cubicBezTo>
                  <a:pt x="4601279" y="279087"/>
                  <a:pt x="4595301" y="291016"/>
                  <a:pt x="4595301" y="291016"/>
                </a:cubicBezTo>
                <a:cubicBezTo>
                  <a:pt x="4601279" y="296980"/>
                  <a:pt x="4601279" y="279087"/>
                  <a:pt x="4607257" y="285052"/>
                </a:cubicBezTo>
                <a:cubicBezTo>
                  <a:pt x="4607257" y="273123"/>
                  <a:pt x="4595301" y="291016"/>
                  <a:pt x="4595301" y="279087"/>
                </a:cubicBezTo>
                <a:cubicBezTo>
                  <a:pt x="4601279" y="279087"/>
                  <a:pt x="4601279" y="273123"/>
                  <a:pt x="4613236" y="273123"/>
                </a:cubicBezTo>
                <a:cubicBezTo>
                  <a:pt x="4613236" y="273123"/>
                  <a:pt x="4613236" y="279087"/>
                  <a:pt x="4613236" y="285052"/>
                </a:cubicBezTo>
                <a:cubicBezTo>
                  <a:pt x="4625192" y="279087"/>
                  <a:pt x="4631170" y="279087"/>
                  <a:pt x="4637148" y="279087"/>
                </a:cubicBezTo>
                <a:cubicBezTo>
                  <a:pt x="4637148" y="279087"/>
                  <a:pt x="4637148" y="273123"/>
                  <a:pt x="4643126" y="273123"/>
                </a:cubicBezTo>
                <a:cubicBezTo>
                  <a:pt x="4637148" y="267160"/>
                  <a:pt x="4631170" y="273123"/>
                  <a:pt x="4637148" y="279087"/>
                </a:cubicBezTo>
                <a:cubicBezTo>
                  <a:pt x="4631170" y="273123"/>
                  <a:pt x="4625192" y="273123"/>
                  <a:pt x="4613236" y="273123"/>
                </a:cubicBezTo>
                <a:cubicBezTo>
                  <a:pt x="4613236" y="267160"/>
                  <a:pt x="4625192" y="267160"/>
                  <a:pt x="4625192" y="261196"/>
                </a:cubicBezTo>
                <a:cubicBezTo>
                  <a:pt x="4625192" y="261196"/>
                  <a:pt x="4631170" y="267160"/>
                  <a:pt x="4631170" y="267160"/>
                </a:cubicBezTo>
                <a:cubicBezTo>
                  <a:pt x="4631170" y="267160"/>
                  <a:pt x="4631170" y="255233"/>
                  <a:pt x="4637148" y="267160"/>
                </a:cubicBezTo>
                <a:cubicBezTo>
                  <a:pt x="4643126" y="255233"/>
                  <a:pt x="4625192" y="261196"/>
                  <a:pt x="4625192" y="255233"/>
                </a:cubicBezTo>
                <a:lnTo>
                  <a:pt x="4652742" y="244860"/>
                </a:lnTo>
                <a:lnTo>
                  <a:pt x="4637148" y="255233"/>
                </a:lnTo>
                <a:cubicBezTo>
                  <a:pt x="4640136" y="261196"/>
                  <a:pt x="4641631" y="264177"/>
                  <a:pt x="4643126" y="266415"/>
                </a:cubicBezTo>
                <a:lnTo>
                  <a:pt x="4643754" y="267118"/>
                </a:lnTo>
                <a:lnTo>
                  <a:pt x="4643126" y="267160"/>
                </a:lnTo>
                <a:lnTo>
                  <a:pt x="4644157" y="267571"/>
                </a:lnTo>
                <a:lnTo>
                  <a:pt x="4649103" y="273123"/>
                </a:lnTo>
                <a:cubicBezTo>
                  <a:pt x="4652092" y="273123"/>
                  <a:pt x="4652092" y="271632"/>
                  <a:pt x="4650597" y="270141"/>
                </a:cubicBezTo>
                <a:lnTo>
                  <a:pt x="4644157" y="267571"/>
                </a:lnTo>
                <a:lnTo>
                  <a:pt x="4643754" y="267118"/>
                </a:lnTo>
                <a:lnTo>
                  <a:pt x="4654334" y="266415"/>
                </a:lnTo>
                <a:cubicBezTo>
                  <a:pt x="4658071" y="268651"/>
                  <a:pt x="4661059" y="270142"/>
                  <a:pt x="4661059" y="261196"/>
                </a:cubicBezTo>
                <a:lnTo>
                  <a:pt x="4661059" y="267160"/>
                </a:lnTo>
                <a:cubicBezTo>
                  <a:pt x="4667037" y="267160"/>
                  <a:pt x="4667037" y="261196"/>
                  <a:pt x="4673014" y="261196"/>
                </a:cubicBezTo>
                <a:cubicBezTo>
                  <a:pt x="4673014" y="261196"/>
                  <a:pt x="4667037" y="261196"/>
                  <a:pt x="4667037" y="255233"/>
                </a:cubicBezTo>
                <a:cubicBezTo>
                  <a:pt x="4673014" y="255233"/>
                  <a:pt x="4678993" y="249267"/>
                  <a:pt x="4673014" y="249267"/>
                </a:cubicBezTo>
                <a:lnTo>
                  <a:pt x="4694305" y="236698"/>
                </a:lnTo>
                <a:lnTo>
                  <a:pt x="4696928" y="237340"/>
                </a:lnTo>
                <a:lnTo>
                  <a:pt x="4702309" y="231973"/>
                </a:lnTo>
                <a:lnTo>
                  <a:pt x="4709632" y="227648"/>
                </a:lnTo>
                <a:cubicBezTo>
                  <a:pt x="4720839" y="217956"/>
                  <a:pt x="4732796" y="207520"/>
                  <a:pt x="4750730" y="201556"/>
                </a:cubicBezTo>
                <a:close/>
                <a:moveTo>
                  <a:pt x="3453739" y="199402"/>
                </a:moveTo>
                <a:cubicBezTo>
                  <a:pt x="3455622" y="199626"/>
                  <a:pt x="3457415" y="200523"/>
                  <a:pt x="3458850" y="202317"/>
                </a:cubicBezTo>
                <a:cubicBezTo>
                  <a:pt x="3453111" y="202317"/>
                  <a:pt x="3447371" y="209492"/>
                  <a:pt x="3441632" y="209492"/>
                </a:cubicBezTo>
                <a:cubicBezTo>
                  <a:pt x="3441632" y="205904"/>
                  <a:pt x="3444502" y="202317"/>
                  <a:pt x="3448089" y="200524"/>
                </a:cubicBezTo>
                <a:cubicBezTo>
                  <a:pt x="3449882" y="199626"/>
                  <a:pt x="3451855" y="199178"/>
                  <a:pt x="3453739" y="199402"/>
                </a:cubicBezTo>
                <a:close/>
                <a:moveTo>
                  <a:pt x="3147962" y="195142"/>
                </a:moveTo>
                <a:cubicBezTo>
                  <a:pt x="3154658" y="209492"/>
                  <a:pt x="3141267" y="209492"/>
                  <a:pt x="3134569" y="209492"/>
                </a:cubicBezTo>
                <a:cubicBezTo>
                  <a:pt x="3141267" y="202317"/>
                  <a:pt x="3141267" y="195142"/>
                  <a:pt x="3147962" y="195142"/>
                </a:cubicBezTo>
                <a:close/>
                <a:moveTo>
                  <a:pt x="4465934" y="190746"/>
                </a:moveTo>
                <a:cubicBezTo>
                  <a:pt x="4469390" y="191118"/>
                  <a:pt x="4472752" y="192609"/>
                  <a:pt x="4475741" y="195591"/>
                </a:cubicBezTo>
                <a:cubicBezTo>
                  <a:pt x="4469763" y="201556"/>
                  <a:pt x="4457808" y="203046"/>
                  <a:pt x="4447346" y="206028"/>
                </a:cubicBezTo>
                <a:lnTo>
                  <a:pt x="4432402" y="220938"/>
                </a:lnTo>
                <a:lnTo>
                  <a:pt x="4430907" y="216466"/>
                </a:lnTo>
                <a:cubicBezTo>
                  <a:pt x="4430907" y="217956"/>
                  <a:pt x="4430907" y="222430"/>
                  <a:pt x="4427917" y="225410"/>
                </a:cubicBezTo>
                <a:lnTo>
                  <a:pt x="4432402" y="220938"/>
                </a:lnTo>
                <a:lnTo>
                  <a:pt x="4433895" y="225410"/>
                </a:lnTo>
                <a:cubicBezTo>
                  <a:pt x="4439873" y="225410"/>
                  <a:pt x="4445851" y="213483"/>
                  <a:pt x="4445851" y="219447"/>
                </a:cubicBezTo>
                <a:cubicBezTo>
                  <a:pt x="4445851" y="207520"/>
                  <a:pt x="4469763" y="213483"/>
                  <a:pt x="4469763" y="201556"/>
                </a:cubicBezTo>
                <a:cubicBezTo>
                  <a:pt x="4475741" y="207520"/>
                  <a:pt x="4469763" y="207520"/>
                  <a:pt x="4469763" y="213483"/>
                </a:cubicBezTo>
                <a:cubicBezTo>
                  <a:pt x="4409983" y="231376"/>
                  <a:pt x="4362159" y="261196"/>
                  <a:pt x="4338248" y="267160"/>
                </a:cubicBezTo>
                <a:cubicBezTo>
                  <a:pt x="4326291" y="267160"/>
                  <a:pt x="4332270" y="279087"/>
                  <a:pt x="4326291" y="285052"/>
                </a:cubicBezTo>
                <a:cubicBezTo>
                  <a:pt x="4326291" y="279087"/>
                  <a:pt x="4326291" y="279087"/>
                  <a:pt x="4326291" y="279087"/>
                </a:cubicBezTo>
                <a:cubicBezTo>
                  <a:pt x="4326291" y="279087"/>
                  <a:pt x="4314335" y="285052"/>
                  <a:pt x="4308357" y="273123"/>
                </a:cubicBezTo>
                <a:cubicBezTo>
                  <a:pt x="4314335" y="273123"/>
                  <a:pt x="4314335" y="273123"/>
                  <a:pt x="4320313" y="279087"/>
                </a:cubicBezTo>
                <a:cubicBezTo>
                  <a:pt x="4326291" y="267160"/>
                  <a:pt x="4326291" y="261196"/>
                  <a:pt x="4338248" y="261196"/>
                </a:cubicBezTo>
                <a:cubicBezTo>
                  <a:pt x="4338248" y="261196"/>
                  <a:pt x="4332270" y="261196"/>
                  <a:pt x="4332270" y="261196"/>
                </a:cubicBezTo>
                <a:cubicBezTo>
                  <a:pt x="4320313" y="255233"/>
                  <a:pt x="4356181" y="249267"/>
                  <a:pt x="4350203" y="261196"/>
                </a:cubicBezTo>
                <a:cubicBezTo>
                  <a:pt x="4362159" y="243303"/>
                  <a:pt x="4368137" y="255233"/>
                  <a:pt x="4374116" y="237340"/>
                </a:cubicBezTo>
                <a:cubicBezTo>
                  <a:pt x="4380094" y="237340"/>
                  <a:pt x="4368137" y="243303"/>
                  <a:pt x="4374116" y="249267"/>
                </a:cubicBezTo>
                <a:cubicBezTo>
                  <a:pt x="4380094" y="243303"/>
                  <a:pt x="4386070" y="243303"/>
                  <a:pt x="4392048" y="231376"/>
                </a:cubicBezTo>
                <a:cubicBezTo>
                  <a:pt x="4392048" y="237340"/>
                  <a:pt x="4392048" y="237340"/>
                  <a:pt x="4392048" y="237340"/>
                </a:cubicBezTo>
                <a:cubicBezTo>
                  <a:pt x="4409983" y="225410"/>
                  <a:pt x="4421939" y="231376"/>
                  <a:pt x="4427917" y="213483"/>
                </a:cubicBezTo>
                <a:cubicBezTo>
                  <a:pt x="4398026" y="219447"/>
                  <a:pt x="4332270" y="249267"/>
                  <a:pt x="4302379" y="261196"/>
                </a:cubicBezTo>
                <a:cubicBezTo>
                  <a:pt x="4308357" y="255233"/>
                  <a:pt x="4296401" y="255233"/>
                  <a:pt x="4296401" y="255233"/>
                </a:cubicBezTo>
                <a:cubicBezTo>
                  <a:pt x="4296401" y="243303"/>
                  <a:pt x="4314335" y="243303"/>
                  <a:pt x="4314335" y="249267"/>
                </a:cubicBezTo>
                <a:cubicBezTo>
                  <a:pt x="4314335" y="243303"/>
                  <a:pt x="4320313" y="237340"/>
                  <a:pt x="4320313" y="231376"/>
                </a:cubicBezTo>
                <a:cubicBezTo>
                  <a:pt x="4326292" y="231376"/>
                  <a:pt x="4329281" y="229885"/>
                  <a:pt x="4332270" y="229139"/>
                </a:cubicBezTo>
                <a:lnTo>
                  <a:pt x="4343701" y="231278"/>
                </a:lnTo>
                <a:lnTo>
                  <a:pt x="4343267" y="231801"/>
                </a:lnTo>
                <a:lnTo>
                  <a:pt x="4337500" y="234358"/>
                </a:lnTo>
                <a:cubicBezTo>
                  <a:pt x="4333764" y="234358"/>
                  <a:pt x="4329280" y="234358"/>
                  <a:pt x="4326291" y="237340"/>
                </a:cubicBezTo>
                <a:cubicBezTo>
                  <a:pt x="4326291" y="237340"/>
                  <a:pt x="4326291" y="243303"/>
                  <a:pt x="4320313" y="243303"/>
                </a:cubicBezTo>
                <a:cubicBezTo>
                  <a:pt x="4362159" y="237340"/>
                  <a:pt x="4404005" y="207520"/>
                  <a:pt x="4439873" y="207520"/>
                </a:cubicBezTo>
                <a:cubicBezTo>
                  <a:pt x="4442863" y="201556"/>
                  <a:pt x="4448841" y="195591"/>
                  <a:pt x="4455566" y="192610"/>
                </a:cubicBezTo>
                <a:cubicBezTo>
                  <a:pt x="4458928" y="191118"/>
                  <a:pt x="4462478" y="190373"/>
                  <a:pt x="4465934" y="190746"/>
                </a:cubicBezTo>
                <a:close/>
                <a:moveTo>
                  <a:pt x="4733012" y="189405"/>
                </a:moveTo>
                <a:lnTo>
                  <a:pt x="4690895" y="209051"/>
                </a:lnTo>
                <a:lnTo>
                  <a:pt x="4706647" y="197000"/>
                </a:lnTo>
                <a:cubicBezTo>
                  <a:pt x="4714934" y="192444"/>
                  <a:pt x="4723974" y="189405"/>
                  <a:pt x="4733012" y="189405"/>
                </a:cubicBezTo>
                <a:close/>
                <a:moveTo>
                  <a:pt x="4509955" y="184239"/>
                </a:moveTo>
                <a:cubicBezTo>
                  <a:pt x="4509955" y="184239"/>
                  <a:pt x="4509955" y="190551"/>
                  <a:pt x="4515956" y="196865"/>
                </a:cubicBezTo>
                <a:cubicBezTo>
                  <a:pt x="4557958" y="177924"/>
                  <a:pt x="4503955" y="209492"/>
                  <a:pt x="4491953" y="209492"/>
                </a:cubicBezTo>
                <a:cubicBezTo>
                  <a:pt x="4491953" y="196865"/>
                  <a:pt x="4503955" y="203177"/>
                  <a:pt x="4509955" y="184239"/>
                </a:cubicBezTo>
                <a:close/>
                <a:moveTo>
                  <a:pt x="4497333" y="183967"/>
                </a:moveTo>
                <a:lnTo>
                  <a:pt x="4480476" y="195144"/>
                </a:lnTo>
                <a:cubicBezTo>
                  <a:pt x="4483442" y="192274"/>
                  <a:pt x="4489373" y="187969"/>
                  <a:pt x="4496046" y="184383"/>
                </a:cubicBezTo>
                <a:close/>
                <a:moveTo>
                  <a:pt x="3536333" y="183665"/>
                </a:moveTo>
                <a:cubicBezTo>
                  <a:pt x="3530117" y="203037"/>
                  <a:pt x="3511464" y="203037"/>
                  <a:pt x="3499026" y="209494"/>
                </a:cubicBezTo>
                <a:cubicBezTo>
                  <a:pt x="3499026" y="203037"/>
                  <a:pt x="3511464" y="203037"/>
                  <a:pt x="3517680" y="190123"/>
                </a:cubicBezTo>
                <a:cubicBezTo>
                  <a:pt x="3517680" y="190123"/>
                  <a:pt x="3523898" y="196580"/>
                  <a:pt x="3523898" y="196580"/>
                </a:cubicBezTo>
                <a:cubicBezTo>
                  <a:pt x="3523898" y="196580"/>
                  <a:pt x="3530117" y="190123"/>
                  <a:pt x="3536333" y="183665"/>
                </a:cubicBezTo>
                <a:close/>
                <a:moveTo>
                  <a:pt x="4514579" y="182230"/>
                </a:moveTo>
                <a:lnTo>
                  <a:pt x="4520540" y="183384"/>
                </a:lnTo>
                <a:lnTo>
                  <a:pt x="4516061" y="189405"/>
                </a:lnTo>
                <a:cubicBezTo>
                  <a:pt x="4513096" y="183665"/>
                  <a:pt x="4513096" y="182230"/>
                  <a:pt x="4514579" y="182230"/>
                </a:cubicBezTo>
                <a:close/>
                <a:moveTo>
                  <a:pt x="4521716" y="181803"/>
                </a:moveTo>
                <a:lnTo>
                  <a:pt x="4521991" y="183665"/>
                </a:lnTo>
                <a:lnTo>
                  <a:pt x="4520540" y="183384"/>
                </a:lnTo>
                <a:close/>
                <a:moveTo>
                  <a:pt x="4773187" y="177924"/>
                </a:moveTo>
                <a:cubicBezTo>
                  <a:pt x="4773187" y="183663"/>
                  <a:pt x="4755968" y="183663"/>
                  <a:pt x="4750229" y="183663"/>
                </a:cubicBezTo>
                <a:cubicBezTo>
                  <a:pt x="4750229" y="177924"/>
                  <a:pt x="4767448" y="177924"/>
                  <a:pt x="4773187" y="177924"/>
                </a:cubicBezTo>
                <a:close/>
                <a:moveTo>
                  <a:pt x="3226402" y="177924"/>
                </a:moveTo>
                <a:cubicBezTo>
                  <a:pt x="3226402" y="184381"/>
                  <a:pt x="3195314" y="203752"/>
                  <a:pt x="3189095" y="190838"/>
                </a:cubicBezTo>
                <a:cubicBezTo>
                  <a:pt x="3201532" y="184381"/>
                  <a:pt x="3213967" y="184381"/>
                  <a:pt x="3226402" y="177924"/>
                </a:cubicBezTo>
                <a:close/>
                <a:moveTo>
                  <a:pt x="3200572" y="172184"/>
                </a:moveTo>
                <a:cubicBezTo>
                  <a:pt x="3206311" y="183663"/>
                  <a:pt x="3183354" y="183663"/>
                  <a:pt x="3177614" y="189403"/>
                </a:cubicBezTo>
                <a:cubicBezTo>
                  <a:pt x="3177614" y="177924"/>
                  <a:pt x="3194833" y="183663"/>
                  <a:pt x="3200572" y="172184"/>
                </a:cubicBezTo>
                <a:close/>
                <a:moveTo>
                  <a:pt x="3568348" y="170660"/>
                </a:moveTo>
                <a:cubicBezTo>
                  <a:pt x="3570769" y="171467"/>
                  <a:pt x="3570769" y="177924"/>
                  <a:pt x="3570769" y="177924"/>
                </a:cubicBezTo>
                <a:cubicBezTo>
                  <a:pt x="3559290" y="177924"/>
                  <a:pt x="3565029" y="183663"/>
                  <a:pt x="3547811" y="183663"/>
                </a:cubicBezTo>
                <a:cubicBezTo>
                  <a:pt x="3547811" y="177924"/>
                  <a:pt x="3565029" y="177924"/>
                  <a:pt x="3565029" y="172184"/>
                </a:cubicBezTo>
                <a:cubicBezTo>
                  <a:pt x="3566464" y="170750"/>
                  <a:pt x="3567540" y="170391"/>
                  <a:pt x="3568348" y="170660"/>
                </a:cubicBezTo>
                <a:close/>
                <a:moveTo>
                  <a:pt x="3254918" y="165817"/>
                </a:moveTo>
                <a:cubicBezTo>
                  <a:pt x="3257609" y="168239"/>
                  <a:pt x="3252228" y="177924"/>
                  <a:pt x="3243619" y="177924"/>
                </a:cubicBezTo>
                <a:cubicBezTo>
                  <a:pt x="3243619" y="177924"/>
                  <a:pt x="3249359" y="172184"/>
                  <a:pt x="3249359" y="172184"/>
                </a:cubicBezTo>
                <a:cubicBezTo>
                  <a:pt x="3243619" y="172184"/>
                  <a:pt x="3249359" y="172184"/>
                  <a:pt x="3249359" y="166445"/>
                </a:cubicBezTo>
                <a:cubicBezTo>
                  <a:pt x="3252228" y="165010"/>
                  <a:pt x="3254022" y="165010"/>
                  <a:pt x="3254918" y="165817"/>
                </a:cubicBezTo>
                <a:close/>
                <a:moveTo>
                  <a:pt x="4569438" y="154968"/>
                </a:moveTo>
                <a:cubicBezTo>
                  <a:pt x="4564990" y="163577"/>
                  <a:pt x="4540526" y="165729"/>
                  <a:pt x="4526069" y="175953"/>
                </a:cubicBezTo>
                <a:lnTo>
                  <a:pt x="4521716" y="181803"/>
                </a:lnTo>
                <a:lnTo>
                  <a:pt x="4521250" y="178643"/>
                </a:lnTo>
                <a:cubicBezTo>
                  <a:pt x="4520509" y="177926"/>
                  <a:pt x="4519026" y="177926"/>
                  <a:pt x="4516061" y="177926"/>
                </a:cubicBezTo>
                <a:lnTo>
                  <a:pt x="4497333" y="183967"/>
                </a:lnTo>
                <a:lnTo>
                  <a:pt x="4520509" y="168600"/>
                </a:lnTo>
                <a:cubicBezTo>
                  <a:pt x="4538303" y="162142"/>
                  <a:pt x="4557578" y="157837"/>
                  <a:pt x="4569438" y="154968"/>
                </a:cubicBezTo>
                <a:close/>
                <a:moveTo>
                  <a:pt x="3303884" y="143487"/>
                </a:moveTo>
                <a:cubicBezTo>
                  <a:pt x="3297667" y="160706"/>
                  <a:pt x="3279014" y="160706"/>
                  <a:pt x="3266577" y="160706"/>
                </a:cubicBezTo>
                <a:cubicBezTo>
                  <a:pt x="3272796" y="149226"/>
                  <a:pt x="3291449" y="154966"/>
                  <a:pt x="3303884" y="143487"/>
                </a:cubicBezTo>
                <a:close/>
                <a:moveTo>
                  <a:pt x="3679820" y="132010"/>
                </a:moveTo>
                <a:cubicBezTo>
                  <a:pt x="3673763" y="137750"/>
                  <a:pt x="3637412" y="149228"/>
                  <a:pt x="3625295" y="154968"/>
                </a:cubicBezTo>
                <a:cubicBezTo>
                  <a:pt x="3637412" y="143489"/>
                  <a:pt x="3661646" y="137750"/>
                  <a:pt x="3679820" y="132010"/>
                </a:cubicBezTo>
                <a:close/>
                <a:moveTo>
                  <a:pt x="3338321" y="126268"/>
                </a:moveTo>
                <a:cubicBezTo>
                  <a:pt x="3344061" y="143487"/>
                  <a:pt x="3326842" y="132008"/>
                  <a:pt x="3326842" y="137748"/>
                </a:cubicBezTo>
                <a:cubicBezTo>
                  <a:pt x="3315363" y="137748"/>
                  <a:pt x="3338321" y="132008"/>
                  <a:pt x="3338321" y="126268"/>
                </a:cubicBezTo>
                <a:close/>
                <a:moveTo>
                  <a:pt x="3383071" y="111024"/>
                </a:moveTo>
                <a:cubicBezTo>
                  <a:pt x="3385493" y="110621"/>
                  <a:pt x="3387107" y="111024"/>
                  <a:pt x="3387107" y="112639"/>
                </a:cubicBezTo>
                <a:cubicBezTo>
                  <a:pt x="3374193" y="106182"/>
                  <a:pt x="3374193" y="132010"/>
                  <a:pt x="3361279" y="125553"/>
                </a:cubicBezTo>
                <a:cubicBezTo>
                  <a:pt x="3361279" y="120710"/>
                  <a:pt x="3375808" y="112235"/>
                  <a:pt x="3383071" y="111024"/>
                </a:cubicBezTo>
                <a:close/>
                <a:moveTo>
                  <a:pt x="4216460" y="83224"/>
                </a:moveTo>
                <a:cubicBezTo>
                  <a:pt x="4204981" y="94702"/>
                  <a:pt x="4199242" y="88963"/>
                  <a:pt x="4187762" y="94702"/>
                </a:cubicBezTo>
                <a:cubicBezTo>
                  <a:pt x="4187762" y="88963"/>
                  <a:pt x="4204981" y="88963"/>
                  <a:pt x="4216460" y="83224"/>
                </a:cubicBezTo>
                <a:close/>
                <a:moveTo>
                  <a:pt x="4229374" y="77484"/>
                </a:moveTo>
                <a:cubicBezTo>
                  <a:pt x="4229374" y="77484"/>
                  <a:pt x="4235831" y="83224"/>
                  <a:pt x="4242288" y="83224"/>
                </a:cubicBezTo>
                <a:cubicBezTo>
                  <a:pt x="4242288" y="88963"/>
                  <a:pt x="4222917" y="77484"/>
                  <a:pt x="4229374" y="88963"/>
                </a:cubicBezTo>
                <a:cubicBezTo>
                  <a:pt x="4222917" y="83224"/>
                  <a:pt x="4216460" y="88963"/>
                  <a:pt x="4216460" y="83224"/>
                </a:cubicBezTo>
                <a:cubicBezTo>
                  <a:pt x="4222917" y="77484"/>
                  <a:pt x="4229374" y="83224"/>
                  <a:pt x="4229374" y="77484"/>
                </a:cubicBezTo>
                <a:close/>
                <a:moveTo>
                  <a:pt x="3702776" y="0"/>
                </a:moveTo>
                <a:cubicBezTo>
                  <a:pt x="3708516" y="11480"/>
                  <a:pt x="3702776" y="5740"/>
                  <a:pt x="3697037" y="11480"/>
                </a:cubicBezTo>
                <a:cubicBezTo>
                  <a:pt x="3691298" y="5740"/>
                  <a:pt x="3697037" y="0"/>
                  <a:pt x="3702776" y="0"/>
                </a:cubicBezTo>
                <a:close/>
              </a:path>
            </a:pathLst>
          </a:custGeom>
          <a:solidFill>
            <a:schemeClr val="bg1">
              <a:lumMod val="95000"/>
            </a:schemeClr>
          </a:solidFill>
        </p:spPr>
        <p:txBody>
          <a:bodyPr wrap="square">
            <a:noAutofit/>
          </a:bodyPr>
          <a:lstStyle>
            <a:lvl1pPr>
              <a:defRPr sz="1838"/>
            </a:lvl1pPr>
          </a:lstStyle>
          <a:p>
            <a:endParaRPr lang="en-US"/>
          </a:p>
        </p:txBody>
      </p:sp>
    </p:spTree>
    <p:extLst>
      <p:ext uri="{BB962C8B-B14F-4D97-AF65-F5344CB8AC3E}">
        <p14:creationId xmlns:p14="http://schemas.microsoft.com/office/powerpoint/2010/main" val="147744573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2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07CB002C-6F1C-4E84-83CA-CF5E769BE3A8}"/>
              </a:ext>
            </a:extLst>
          </p:cNvPr>
          <p:cNvSpPr>
            <a:spLocks noGrp="1"/>
          </p:cNvSpPr>
          <p:nvPr>
            <p:ph type="pic" sz="quarter" idx="16"/>
          </p:nvPr>
        </p:nvSpPr>
        <p:spPr>
          <a:xfrm>
            <a:off x="8292348" y="316415"/>
            <a:ext cx="7031935" cy="8368295"/>
          </a:xfrm>
          <a:custGeom>
            <a:avLst/>
            <a:gdLst>
              <a:gd name="connsiteX0" fmla="*/ 1739407 w 5291521"/>
              <a:gd name="connsiteY0" fmla="*/ 5371210 h 6375844"/>
              <a:gd name="connsiteX1" fmla="*/ 1685589 w 5291521"/>
              <a:gd name="connsiteY1" fmla="*/ 5485095 h 6375844"/>
              <a:gd name="connsiteX2" fmla="*/ 1739407 w 5291521"/>
              <a:gd name="connsiteY2" fmla="*/ 5371210 h 6375844"/>
              <a:gd name="connsiteX3" fmla="*/ 1543779 w 5291521"/>
              <a:gd name="connsiteY3" fmla="*/ 5270235 h 6375844"/>
              <a:gd name="connsiteX4" fmla="*/ 1522189 w 5291521"/>
              <a:gd name="connsiteY4" fmla="*/ 5340732 h 6375844"/>
              <a:gd name="connsiteX5" fmla="*/ 1543779 w 5291521"/>
              <a:gd name="connsiteY5" fmla="*/ 5270235 h 6375844"/>
              <a:gd name="connsiteX6" fmla="*/ 1855751 w 5291521"/>
              <a:gd name="connsiteY6" fmla="*/ 5143501 h 6375844"/>
              <a:gd name="connsiteX7" fmla="*/ 1786163 w 5291521"/>
              <a:gd name="connsiteY7" fmla="*/ 5226860 h 6375844"/>
              <a:gd name="connsiteX8" fmla="*/ 1773158 w 5291521"/>
              <a:gd name="connsiteY8" fmla="*/ 5215412 h 6375844"/>
              <a:gd name="connsiteX9" fmla="*/ 1855751 w 5291521"/>
              <a:gd name="connsiteY9" fmla="*/ 5143501 h 6375844"/>
              <a:gd name="connsiteX10" fmla="*/ 2170765 w 5291521"/>
              <a:gd name="connsiteY10" fmla="*/ 4691191 h 6375844"/>
              <a:gd name="connsiteX11" fmla="*/ 2105053 w 5291521"/>
              <a:gd name="connsiteY11" fmla="*/ 4793884 h 6375844"/>
              <a:gd name="connsiteX12" fmla="*/ 2170765 w 5291521"/>
              <a:gd name="connsiteY12" fmla="*/ 4691191 h 6375844"/>
              <a:gd name="connsiteX13" fmla="*/ 2282008 w 5291521"/>
              <a:gd name="connsiteY13" fmla="*/ 4614728 h 6375844"/>
              <a:gd name="connsiteX14" fmla="*/ 2286186 w 5291521"/>
              <a:gd name="connsiteY14" fmla="*/ 4621038 h 6375844"/>
              <a:gd name="connsiteX15" fmla="*/ 2193290 w 5291521"/>
              <a:gd name="connsiteY15" fmla="*/ 4710322 h 6375844"/>
              <a:gd name="connsiteX16" fmla="*/ 2192040 w 5291521"/>
              <a:gd name="connsiteY16" fmla="*/ 4668554 h 6375844"/>
              <a:gd name="connsiteX17" fmla="*/ 2245524 w 5291521"/>
              <a:gd name="connsiteY17" fmla="*/ 4626980 h 6375844"/>
              <a:gd name="connsiteX18" fmla="*/ 2263302 w 5291521"/>
              <a:gd name="connsiteY18" fmla="*/ 4619121 h 6375844"/>
              <a:gd name="connsiteX19" fmla="*/ 2282008 w 5291521"/>
              <a:gd name="connsiteY19" fmla="*/ 4614728 h 6375844"/>
              <a:gd name="connsiteX20" fmla="*/ 2647124 w 5291521"/>
              <a:gd name="connsiteY20" fmla="*/ 4380379 h 6375844"/>
              <a:gd name="connsiteX21" fmla="*/ 2586007 w 5291521"/>
              <a:gd name="connsiteY21" fmla="*/ 4438520 h 6375844"/>
              <a:gd name="connsiteX22" fmla="*/ 2585243 w 5291521"/>
              <a:gd name="connsiteY22" fmla="*/ 4415616 h 6375844"/>
              <a:gd name="connsiteX23" fmla="*/ 2588157 w 5291521"/>
              <a:gd name="connsiteY23" fmla="*/ 4410188 h 6375844"/>
              <a:gd name="connsiteX24" fmla="*/ 2588435 w 5291521"/>
              <a:gd name="connsiteY24" fmla="*/ 4406518 h 6375844"/>
              <a:gd name="connsiteX25" fmla="*/ 2591233 w 5291521"/>
              <a:gd name="connsiteY25" fmla="*/ 4404455 h 6375844"/>
              <a:gd name="connsiteX26" fmla="*/ 2594242 w 5291521"/>
              <a:gd name="connsiteY26" fmla="*/ 4398849 h 6375844"/>
              <a:gd name="connsiteX27" fmla="*/ 2614401 w 5291521"/>
              <a:gd name="connsiteY27" fmla="*/ 4387381 h 6375844"/>
              <a:gd name="connsiteX28" fmla="*/ 2647124 w 5291521"/>
              <a:gd name="connsiteY28" fmla="*/ 4380379 h 6375844"/>
              <a:gd name="connsiteX29" fmla="*/ 2590130 w 5291521"/>
              <a:gd name="connsiteY29" fmla="*/ 4360717 h 6375844"/>
              <a:gd name="connsiteX30" fmla="*/ 2596645 w 5291521"/>
              <a:gd name="connsiteY30" fmla="*/ 4366410 h 6375844"/>
              <a:gd name="connsiteX31" fmla="*/ 2581279 w 5291521"/>
              <a:gd name="connsiteY31" fmla="*/ 4392842 h 6375844"/>
              <a:gd name="connsiteX32" fmla="*/ 2570252 w 5291521"/>
              <a:gd name="connsiteY32" fmla="*/ 4435468 h 6375844"/>
              <a:gd name="connsiteX33" fmla="*/ 2551939 w 5291521"/>
              <a:gd name="connsiteY33" fmla="*/ 4460210 h 6375844"/>
              <a:gd name="connsiteX34" fmla="*/ 2508025 w 5291521"/>
              <a:gd name="connsiteY34" fmla="*/ 4491811 h 6375844"/>
              <a:gd name="connsiteX35" fmla="*/ 2498412 w 5291521"/>
              <a:gd name="connsiteY35" fmla="*/ 4474553 h 6375844"/>
              <a:gd name="connsiteX36" fmla="*/ 2418819 w 5291521"/>
              <a:gd name="connsiteY36" fmla="*/ 4503317 h 6375844"/>
              <a:gd name="connsiteX37" fmla="*/ 2590130 w 5291521"/>
              <a:gd name="connsiteY37" fmla="*/ 4360717 h 6375844"/>
              <a:gd name="connsiteX38" fmla="*/ 2652764 w 5291521"/>
              <a:gd name="connsiteY38" fmla="*/ 4306596 h 6375844"/>
              <a:gd name="connsiteX39" fmla="*/ 2667078 w 5291521"/>
              <a:gd name="connsiteY39" fmla="*/ 4307255 h 6375844"/>
              <a:gd name="connsiteX40" fmla="*/ 2602853 w 5291521"/>
              <a:gd name="connsiteY40" fmla="*/ 4371689 h 6375844"/>
              <a:gd name="connsiteX41" fmla="*/ 2617813 w 5291521"/>
              <a:gd name="connsiteY41" fmla="*/ 4349576 h 6375844"/>
              <a:gd name="connsiteX42" fmla="*/ 2626049 w 5291521"/>
              <a:gd name="connsiteY42" fmla="*/ 4331585 h 6375844"/>
              <a:gd name="connsiteX43" fmla="*/ 2626628 w 5291521"/>
              <a:gd name="connsiteY43" fmla="*/ 4330645 h 6375844"/>
              <a:gd name="connsiteX44" fmla="*/ 2628645 w 5291521"/>
              <a:gd name="connsiteY44" fmla="*/ 4326253 h 6375844"/>
              <a:gd name="connsiteX45" fmla="*/ 2631170 w 5291521"/>
              <a:gd name="connsiteY45" fmla="*/ 4323256 h 6375844"/>
              <a:gd name="connsiteX46" fmla="*/ 2636273 w 5291521"/>
              <a:gd name="connsiteY46" fmla="*/ 4314958 h 6375844"/>
              <a:gd name="connsiteX47" fmla="*/ 2639577 w 5291521"/>
              <a:gd name="connsiteY47" fmla="*/ 4313282 h 6375844"/>
              <a:gd name="connsiteX48" fmla="*/ 2642259 w 5291521"/>
              <a:gd name="connsiteY48" fmla="*/ 4310100 h 6375844"/>
              <a:gd name="connsiteX49" fmla="*/ 2803958 w 5291521"/>
              <a:gd name="connsiteY49" fmla="*/ 4285884 h 6375844"/>
              <a:gd name="connsiteX50" fmla="*/ 2709672 w 5291521"/>
              <a:gd name="connsiteY50" fmla="*/ 4345465 h 6375844"/>
              <a:gd name="connsiteX51" fmla="*/ 2714684 w 5291521"/>
              <a:gd name="connsiteY51" fmla="*/ 4323799 h 6375844"/>
              <a:gd name="connsiteX52" fmla="*/ 2716875 w 5291521"/>
              <a:gd name="connsiteY52" fmla="*/ 4320406 h 6375844"/>
              <a:gd name="connsiteX53" fmla="*/ 2717676 w 5291521"/>
              <a:gd name="connsiteY53" fmla="*/ 4317621 h 6375844"/>
              <a:gd name="connsiteX54" fmla="*/ 2720757 w 5291521"/>
              <a:gd name="connsiteY54" fmla="*/ 4314389 h 6375844"/>
              <a:gd name="connsiteX55" fmla="*/ 2725620 w 5291521"/>
              <a:gd name="connsiteY55" fmla="*/ 4306851 h 6375844"/>
              <a:gd name="connsiteX56" fmla="*/ 2733076 w 5291521"/>
              <a:gd name="connsiteY56" fmla="*/ 4301467 h 6375844"/>
              <a:gd name="connsiteX57" fmla="*/ 2736166 w 5291521"/>
              <a:gd name="connsiteY57" fmla="*/ 4298227 h 6375844"/>
              <a:gd name="connsiteX58" fmla="*/ 2739039 w 5291521"/>
              <a:gd name="connsiteY58" fmla="*/ 4297162 h 6375844"/>
              <a:gd name="connsiteX59" fmla="*/ 2742407 w 5291521"/>
              <a:gd name="connsiteY59" fmla="*/ 4294731 h 6375844"/>
              <a:gd name="connsiteX60" fmla="*/ 2764980 w 5291521"/>
              <a:gd name="connsiteY60" fmla="*/ 4287557 h 6375844"/>
              <a:gd name="connsiteX61" fmla="*/ 2803958 w 5291521"/>
              <a:gd name="connsiteY61" fmla="*/ 4285884 h 6375844"/>
              <a:gd name="connsiteX62" fmla="*/ 2915573 w 5291521"/>
              <a:gd name="connsiteY62" fmla="*/ 4183638 h 6375844"/>
              <a:gd name="connsiteX63" fmla="*/ 2809958 w 5291521"/>
              <a:gd name="connsiteY63" fmla="*/ 4281443 h 6375844"/>
              <a:gd name="connsiteX64" fmla="*/ 2915573 w 5291521"/>
              <a:gd name="connsiteY64" fmla="*/ 4183638 h 6375844"/>
              <a:gd name="connsiteX65" fmla="*/ 3165170 w 5291521"/>
              <a:gd name="connsiteY65" fmla="*/ 3998119 h 6375844"/>
              <a:gd name="connsiteX66" fmla="*/ 3175226 w 5291521"/>
              <a:gd name="connsiteY66" fmla="*/ 4007741 h 6375844"/>
              <a:gd name="connsiteX67" fmla="*/ 3134393 w 5291521"/>
              <a:gd name="connsiteY67" fmla="*/ 4050706 h 6375844"/>
              <a:gd name="connsiteX68" fmla="*/ 3121396 w 5291521"/>
              <a:gd name="connsiteY68" fmla="*/ 4039408 h 6375844"/>
              <a:gd name="connsiteX69" fmla="*/ 3165170 w 5291521"/>
              <a:gd name="connsiteY69" fmla="*/ 3998119 h 6375844"/>
              <a:gd name="connsiteX70" fmla="*/ 3077477 w 5291521"/>
              <a:gd name="connsiteY70" fmla="*/ 3961697 h 6375844"/>
              <a:gd name="connsiteX71" fmla="*/ 3072615 w 5291521"/>
              <a:gd name="connsiteY71" fmla="*/ 4027712 h 6375844"/>
              <a:gd name="connsiteX72" fmla="*/ 3049556 w 5291521"/>
              <a:gd name="connsiteY72" fmla="*/ 4016468 h 6375844"/>
              <a:gd name="connsiteX73" fmla="*/ 3077477 w 5291521"/>
              <a:gd name="connsiteY73" fmla="*/ 3961697 h 6375844"/>
              <a:gd name="connsiteX74" fmla="*/ 2486504 w 5291521"/>
              <a:gd name="connsiteY74" fmla="*/ 3875579 h 6375844"/>
              <a:gd name="connsiteX75" fmla="*/ 2497152 w 5291521"/>
              <a:gd name="connsiteY75" fmla="*/ 3887759 h 6375844"/>
              <a:gd name="connsiteX76" fmla="*/ 2431386 w 5291521"/>
              <a:gd name="connsiteY76" fmla="*/ 3945473 h 6375844"/>
              <a:gd name="connsiteX77" fmla="*/ 2417815 w 5291521"/>
              <a:gd name="connsiteY77" fmla="*/ 3931570 h 6375844"/>
              <a:gd name="connsiteX78" fmla="*/ 2486504 w 5291521"/>
              <a:gd name="connsiteY78" fmla="*/ 3875579 h 6375844"/>
              <a:gd name="connsiteX79" fmla="*/ 3525363 w 5291521"/>
              <a:gd name="connsiteY79" fmla="*/ 3682042 h 6375844"/>
              <a:gd name="connsiteX80" fmla="*/ 3415598 w 5291521"/>
              <a:gd name="connsiteY80" fmla="*/ 3746467 h 6375844"/>
              <a:gd name="connsiteX81" fmla="*/ 3423888 w 5291521"/>
              <a:gd name="connsiteY81" fmla="*/ 3721440 h 6375844"/>
              <a:gd name="connsiteX82" fmla="*/ 3426360 w 5291521"/>
              <a:gd name="connsiteY82" fmla="*/ 3717861 h 6375844"/>
              <a:gd name="connsiteX83" fmla="*/ 3427599 w 5291521"/>
              <a:gd name="connsiteY83" fmla="*/ 3714569 h 6375844"/>
              <a:gd name="connsiteX84" fmla="*/ 3430942 w 5291521"/>
              <a:gd name="connsiteY84" fmla="*/ 3711228 h 6375844"/>
              <a:gd name="connsiteX85" fmla="*/ 3436679 w 5291521"/>
              <a:gd name="connsiteY85" fmla="*/ 3702923 h 6375844"/>
              <a:gd name="connsiteX86" fmla="*/ 3444760 w 5291521"/>
              <a:gd name="connsiteY86" fmla="*/ 3697423 h 6375844"/>
              <a:gd name="connsiteX87" fmla="*/ 3448229 w 5291521"/>
              <a:gd name="connsiteY87" fmla="*/ 3693957 h 6375844"/>
              <a:gd name="connsiteX88" fmla="*/ 3451375 w 5291521"/>
              <a:gd name="connsiteY88" fmla="*/ 3692920 h 6375844"/>
              <a:gd name="connsiteX89" fmla="*/ 3455028 w 5291521"/>
              <a:gd name="connsiteY89" fmla="*/ 3690434 h 6375844"/>
              <a:gd name="connsiteX90" fmla="*/ 3479985 w 5291521"/>
              <a:gd name="connsiteY90" fmla="*/ 3683494 h 6375844"/>
              <a:gd name="connsiteX91" fmla="*/ 3525363 w 5291521"/>
              <a:gd name="connsiteY91" fmla="*/ 3682042 h 6375844"/>
              <a:gd name="connsiteX92" fmla="*/ 3648742 w 5291521"/>
              <a:gd name="connsiteY92" fmla="*/ 3646847 h 6375844"/>
              <a:gd name="connsiteX93" fmla="*/ 3656478 w 5291521"/>
              <a:gd name="connsiteY93" fmla="*/ 3657042 h 6375844"/>
              <a:gd name="connsiteX94" fmla="*/ 3591578 w 5291521"/>
              <a:gd name="connsiteY94" fmla="*/ 3713694 h 6375844"/>
              <a:gd name="connsiteX95" fmla="*/ 3583840 w 5291521"/>
              <a:gd name="connsiteY95" fmla="*/ 3703498 h 6375844"/>
              <a:gd name="connsiteX96" fmla="*/ 3648742 w 5291521"/>
              <a:gd name="connsiteY96" fmla="*/ 3646847 h 6375844"/>
              <a:gd name="connsiteX97" fmla="*/ 2813676 w 5291521"/>
              <a:gd name="connsiteY97" fmla="*/ 3646818 h 6375844"/>
              <a:gd name="connsiteX98" fmla="*/ 2726669 w 5291521"/>
              <a:gd name="connsiteY98" fmla="*/ 3720150 h 6375844"/>
              <a:gd name="connsiteX99" fmla="*/ 2731217 w 5291521"/>
              <a:gd name="connsiteY99" fmla="*/ 3695098 h 6375844"/>
              <a:gd name="connsiteX100" fmla="*/ 2732704 w 5291521"/>
              <a:gd name="connsiteY100" fmla="*/ 3691748 h 6375844"/>
              <a:gd name="connsiteX101" fmla="*/ 2733423 w 5291521"/>
              <a:gd name="connsiteY101" fmla="*/ 3688368 h 6375844"/>
              <a:gd name="connsiteX102" fmla="*/ 2735635 w 5291521"/>
              <a:gd name="connsiteY102" fmla="*/ 3685152 h 6375844"/>
              <a:gd name="connsiteX103" fmla="*/ 2739260 w 5291521"/>
              <a:gd name="connsiteY103" fmla="*/ 3676992 h 6375844"/>
              <a:gd name="connsiteX104" fmla="*/ 2745081 w 5291521"/>
              <a:gd name="connsiteY104" fmla="*/ 3671416 h 6375844"/>
              <a:gd name="connsiteX105" fmla="*/ 2747424 w 5291521"/>
              <a:gd name="connsiteY105" fmla="*/ 3668009 h 6375844"/>
              <a:gd name="connsiteX106" fmla="*/ 2749950 w 5291521"/>
              <a:gd name="connsiteY106" fmla="*/ 3666753 h 6375844"/>
              <a:gd name="connsiteX107" fmla="*/ 2752539 w 5291521"/>
              <a:gd name="connsiteY107" fmla="*/ 3664272 h 6375844"/>
              <a:gd name="connsiteX108" fmla="*/ 2772797 w 5291521"/>
              <a:gd name="connsiteY108" fmla="*/ 3655388 h 6375844"/>
              <a:gd name="connsiteX109" fmla="*/ 2772798 w 5291521"/>
              <a:gd name="connsiteY109" fmla="*/ 3655388 h 6375844"/>
              <a:gd name="connsiteX110" fmla="*/ 2813676 w 5291521"/>
              <a:gd name="connsiteY110" fmla="*/ 3646818 h 6375844"/>
              <a:gd name="connsiteX111" fmla="*/ 2929957 w 5291521"/>
              <a:gd name="connsiteY111" fmla="*/ 3575402 h 6375844"/>
              <a:gd name="connsiteX112" fmla="*/ 2853849 w 5291521"/>
              <a:gd name="connsiteY112" fmla="*/ 3635741 h 6375844"/>
              <a:gd name="connsiteX113" fmla="*/ 2853380 w 5291521"/>
              <a:gd name="connsiteY113" fmla="*/ 3616562 h 6375844"/>
              <a:gd name="connsiteX114" fmla="*/ 2855070 w 5291521"/>
              <a:gd name="connsiteY114" fmla="*/ 3612959 h 6375844"/>
              <a:gd name="connsiteX115" fmla="*/ 2855198 w 5291521"/>
              <a:gd name="connsiteY115" fmla="*/ 3610530 h 6375844"/>
              <a:gd name="connsiteX116" fmla="*/ 2857897 w 5291521"/>
              <a:gd name="connsiteY116" fmla="*/ 3606930 h 6375844"/>
              <a:gd name="connsiteX117" fmla="*/ 2861456 w 5291521"/>
              <a:gd name="connsiteY117" fmla="*/ 3599340 h 6375844"/>
              <a:gd name="connsiteX118" fmla="*/ 2868204 w 5291521"/>
              <a:gd name="connsiteY118" fmla="*/ 3593171 h 6375844"/>
              <a:gd name="connsiteX119" fmla="*/ 2870813 w 5291521"/>
              <a:gd name="connsiteY119" fmla="*/ 3589688 h 6375844"/>
              <a:gd name="connsiteX120" fmla="*/ 2873421 w 5291521"/>
              <a:gd name="connsiteY120" fmla="*/ 3588402 h 6375844"/>
              <a:gd name="connsiteX121" fmla="*/ 2876510 w 5291521"/>
              <a:gd name="connsiteY121" fmla="*/ 3585580 h 6375844"/>
              <a:gd name="connsiteX122" fmla="*/ 2896972 w 5291521"/>
              <a:gd name="connsiteY122" fmla="*/ 3576789 h 6375844"/>
              <a:gd name="connsiteX123" fmla="*/ 2929957 w 5291521"/>
              <a:gd name="connsiteY123" fmla="*/ 3575402 h 6375844"/>
              <a:gd name="connsiteX124" fmla="*/ 35384 w 5291521"/>
              <a:gd name="connsiteY124" fmla="*/ 3020262 h 6375844"/>
              <a:gd name="connsiteX125" fmla="*/ 45946 w 5291521"/>
              <a:gd name="connsiteY125" fmla="*/ 3022405 h 6375844"/>
              <a:gd name="connsiteX126" fmla="*/ 38343 w 5291521"/>
              <a:gd name="connsiteY126" fmla="*/ 3059256 h 6375844"/>
              <a:gd name="connsiteX127" fmla="*/ 30276 w 5291521"/>
              <a:gd name="connsiteY127" fmla="*/ 3103688 h 6375844"/>
              <a:gd name="connsiteX128" fmla="*/ 31984 w 5291521"/>
              <a:gd name="connsiteY128" fmla="*/ 3100745 h 6375844"/>
              <a:gd name="connsiteX129" fmla="*/ 20651 w 5291521"/>
              <a:gd name="connsiteY129" fmla="*/ 3123675 h 6375844"/>
              <a:gd name="connsiteX130" fmla="*/ 12420 w 5291521"/>
              <a:gd name="connsiteY130" fmla="*/ 3120907 h 6375844"/>
              <a:gd name="connsiteX131" fmla="*/ 35384 w 5291521"/>
              <a:gd name="connsiteY131" fmla="*/ 3020262 h 6375844"/>
              <a:gd name="connsiteX132" fmla="*/ 4539813 w 5291521"/>
              <a:gd name="connsiteY132" fmla="*/ 2790924 h 6375844"/>
              <a:gd name="connsiteX133" fmla="*/ 4551150 w 5291521"/>
              <a:gd name="connsiteY133" fmla="*/ 2805362 h 6375844"/>
              <a:gd name="connsiteX134" fmla="*/ 4551151 w 5291521"/>
              <a:gd name="connsiteY134" fmla="*/ 2805363 h 6375844"/>
              <a:gd name="connsiteX135" fmla="*/ 4256713 w 5291521"/>
              <a:gd name="connsiteY135" fmla="*/ 3016577 h 6375844"/>
              <a:gd name="connsiteX136" fmla="*/ 4251894 w 5291521"/>
              <a:gd name="connsiteY136" fmla="*/ 3007882 h 6375844"/>
              <a:gd name="connsiteX137" fmla="*/ 4251893 w 5291521"/>
              <a:gd name="connsiteY137" fmla="*/ 3007881 h 6375844"/>
              <a:gd name="connsiteX138" fmla="*/ 4539813 w 5291521"/>
              <a:gd name="connsiteY138" fmla="*/ 2790924 h 6375844"/>
              <a:gd name="connsiteX139" fmla="*/ 124561 w 5291521"/>
              <a:gd name="connsiteY139" fmla="*/ 2709960 h 6375844"/>
              <a:gd name="connsiteX140" fmla="*/ 142689 w 5291521"/>
              <a:gd name="connsiteY140" fmla="*/ 2712592 h 6375844"/>
              <a:gd name="connsiteX141" fmla="*/ 134897 w 5291521"/>
              <a:gd name="connsiteY141" fmla="*/ 2767110 h 6375844"/>
              <a:gd name="connsiteX142" fmla="*/ 136117 w 5291521"/>
              <a:gd name="connsiteY142" fmla="*/ 2836687 h 6375844"/>
              <a:gd name="connsiteX143" fmla="*/ 92067 w 5291521"/>
              <a:gd name="connsiteY143" fmla="*/ 2885938 h 6375844"/>
              <a:gd name="connsiteX144" fmla="*/ 112922 w 5291521"/>
              <a:gd name="connsiteY144" fmla="*/ 2777990 h 6375844"/>
              <a:gd name="connsiteX145" fmla="*/ 124561 w 5291521"/>
              <a:gd name="connsiteY145" fmla="*/ 2709960 h 6375844"/>
              <a:gd name="connsiteX146" fmla="*/ 316827 w 5291521"/>
              <a:gd name="connsiteY146" fmla="*/ 2621289 h 6375844"/>
              <a:gd name="connsiteX147" fmla="*/ 328574 w 5291521"/>
              <a:gd name="connsiteY147" fmla="*/ 2628128 h 6375844"/>
              <a:gd name="connsiteX148" fmla="*/ 328573 w 5291521"/>
              <a:gd name="connsiteY148" fmla="*/ 2628129 h 6375844"/>
              <a:gd name="connsiteX149" fmla="*/ 328574 w 5291521"/>
              <a:gd name="connsiteY149" fmla="*/ 2628131 h 6375844"/>
              <a:gd name="connsiteX150" fmla="*/ 258363 w 5291521"/>
              <a:gd name="connsiteY150" fmla="*/ 2726838 h 6375844"/>
              <a:gd name="connsiteX151" fmla="*/ 243681 w 5291521"/>
              <a:gd name="connsiteY151" fmla="*/ 2718291 h 6375844"/>
              <a:gd name="connsiteX152" fmla="*/ 243682 w 5291521"/>
              <a:gd name="connsiteY152" fmla="*/ 2718287 h 6375844"/>
              <a:gd name="connsiteX153" fmla="*/ 243679 w 5291521"/>
              <a:gd name="connsiteY153" fmla="*/ 2718285 h 6375844"/>
              <a:gd name="connsiteX154" fmla="*/ 316827 w 5291521"/>
              <a:gd name="connsiteY154" fmla="*/ 2621289 h 6375844"/>
              <a:gd name="connsiteX155" fmla="*/ 4973045 w 5291521"/>
              <a:gd name="connsiteY155" fmla="*/ 2523846 h 6375844"/>
              <a:gd name="connsiteX156" fmla="*/ 4973044 w 5291521"/>
              <a:gd name="connsiteY156" fmla="*/ 2523850 h 6375844"/>
              <a:gd name="connsiteX157" fmla="*/ 4973046 w 5291521"/>
              <a:gd name="connsiteY157" fmla="*/ 2523850 h 6375844"/>
              <a:gd name="connsiteX158" fmla="*/ 4850607 w 5291521"/>
              <a:gd name="connsiteY158" fmla="*/ 2670979 h 6375844"/>
              <a:gd name="connsiteX159" fmla="*/ 4599759 w 5291521"/>
              <a:gd name="connsiteY159" fmla="*/ 2850028 h 6375844"/>
              <a:gd name="connsiteX160" fmla="*/ 4499285 w 5291521"/>
              <a:gd name="connsiteY160" fmla="*/ 2949021 h 6375844"/>
              <a:gd name="connsiteX161" fmla="*/ 4442469 w 5291521"/>
              <a:gd name="connsiteY161" fmla="*/ 3006494 h 6375844"/>
              <a:gd name="connsiteX162" fmla="*/ 4409943 w 5291521"/>
              <a:gd name="connsiteY162" fmla="*/ 3015209 h 6375844"/>
              <a:gd name="connsiteX163" fmla="*/ 4398029 w 5291521"/>
              <a:gd name="connsiteY163" fmla="*/ 3035799 h 6375844"/>
              <a:gd name="connsiteX164" fmla="*/ 4322140 w 5291521"/>
              <a:gd name="connsiteY164" fmla="*/ 3068558 h 6375844"/>
              <a:gd name="connsiteX165" fmla="*/ 4284992 w 5291521"/>
              <a:gd name="connsiteY165" fmla="*/ 3115791 h 6375844"/>
              <a:gd name="connsiteX166" fmla="*/ 4268269 w 5291521"/>
              <a:gd name="connsiteY166" fmla="*/ 3127729 h 6375844"/>
              <a:gd name="connsiteX167" fmla="*/ 4235445 w 5291521"/>
              <a:gd name="connsiteY167" fmla="*/ 3153921 h 6375844"/>
              <a:gd name="connsiteX168" fmla="*/ 4139753 w 5291521"/>
              <a:gd name="connsiteY168" fmla="*/ 3224296 h 6375844"/>
              <a:gd name="connsiteX169" fmla="*/ 4113735 w 5291521"/>
              <a:gd name="connsiteY169" fmla="*/ 3238724 h 6375844"/>
              <a:gd name="connsiteX170" fmla="*/ 4010939 w 5291521"/>
              <a:gd name="connsiteY170" fmla="*/ 3338341 h 6375844"/>
              <a:gd name="connsiteX171" fmla="*/ 3977168 w 5291521"/>
              <a:gd name="connsiteY171" fmla="*/ 3342419 h 6375844"/>
              <a:gd name="connsiteX172" fmla="*/ 3974684 w 5291521"/>
              <a:gd name="connsiteY172" fmla="*/ 3333144 h 6375844"/>
              <a:gd name="connsiteX173" fmla="*/ 3942021 w 5291521"/>
              <a:gd name="connsiteY173" fmla="*/ 3369233 h 6375844"/>
              <a:gd name="connsiteX174" fmla="*/ 3895095 w 5291521"/>
              <a:gd name="connsiteY174" fmla="*/ 3389264 h 6375844"/>
              <a:gd name="connsiteX175" fmla="*/ 3865674 w 5291521"/>
              <a:gd name="connsiteY175" fmla="*/ 3409573 h 6375844"/>
              <a:gd name="connsiteX176" fmla="*/ 3815072 w 5291521"/>
              <a:gd name="connsiteY176" fmla="*/ 3490235 h 6375844"/>
              <a:gd name="connsiteX177" fmla="*/ 3764443 w 5291521"/>
              <a:gd name="connsiteY177" fmla="*/ 3533624 h 6375844"/>
              <a:gd name="connsiteX178" fmla="*/ 3751420 w 5291521"/>
              <a:gd name="connsiteY178" fmla="*/ 3522202 h 6375844"/>
              <a:gd name="connsiteX179" fmla="*/ 3783599 w 5291521"/>
              <a:gd name="connsiteY179" fmla="*/ 3456418 h 6375844"/>
              <a:gd name="connsiteX180" fmla="*/ 3667455 w 5291521"/>
              <a:gd name="connsiteY180" fmla="*/ 3524818 h 6375844"/>
              <a:gd name="connsiteX181" fmla="*/ 3652326 w 5291521"/>
              <a:gd name="connsiteY181" fmla="*/ 3598460 h 6375844"/>
              <a:gd name="connsiteX182" fmla="*/ 3595918 w 5291521"/>
              <a:gd name="connsiteY182" fmla="*/ 3573810 h 6375844"/>
              <a:gd name="connsiteX183" fmla="*/ 3402832 w 5291521"/>
              <a:gd name="connsiteY183" fmla="*/ 3717503 h 6375844"/>
              <a:gd name="connsiteX184" fmla="*/ 3371735 w 5291521"/>
              <a:gd name="connsiteY184" fmla="*/ 3778026 h 6375844"/>
              <a:gd name="connsiteX185" fmla="*/ 3298980 w 5291521"/>
              <a:gd name="connsiteY185" fmla="*/ 3859653 h 6375844"/>
              <a:gd name="connsiteX186" fmla="*/ 3278232 w 5291521"/>
              <a:gd name="connsiteY186" fmla="*/ 3875153 h 6375844"/>
              <a:gd name="connsiteX187" fmla="*/ 3173246 w 5291521"/>
              <a:gd name="connsiteY187" fmla="*/ 3948019 h 6375844"/>
              <a:gd name="connsiteX188" fmla="*/ 3206045 w 5291521"/>
              <a:gd name="connsiteY188" fmla="*/ 3884555 h 6375844"/>
              <a:gd name="connsiteX189" fmla="*/ 3194726 w 5291521"/>
              <a:gd name="connsiteY189" fmla="*/ 3870191 h 6375844"/>
              <a:gd name="connsiteX190" fmla="*/ 3208154 w 5291521"/>
              <a:gd name="connsiteY190" fmla="*/ 3799490 h 6375844"/>
              <a:gd name="connsiteX191" fmla="*/ 3789300 w 5291521"/>
              <a:gd name="connsiteY191" fmla="*/ 3412641 h 6375844"/>
              <a:gd name="connsiteX192" fmla="*/ 3947574 w 5291521"/>
              <a:gd name="connsiteY192" fmla="*/ 3307478 h 6375844"/>
              <a:gd name="connsiteX193" fmla="*/ 4103174 w 5291521"/>
              <a:gd name="connsiteY193" fmla="*/ 3199304 h 6375844"/>
              <a:gd name="connsiteX194" fmla="*/ 4328301 w 5291521"/>
              <a:gd name="connsiteY194" fmla="*/ 3017204 h 6375844"/>
              <a:gd name="connsiteX195" fmla="*/ 4821619 w 5291521"/>
              <a:gd name="connsiteY195" fmla="*/ 2646435 h 6375844"/>
              <a:gd name="connsiteX196" fmla="*/ 4973045 w 5291521"/>
              <a:gd name="connsiteY196" fmla="*/ 2523846 h 6375844"/>
              <a:gd name="connsiteX197" fmla="*/ 464140 w 5291521"/>
              <a:gd name="connsiteY197" fmla="*/ 2500328 h 6375844"/>
              <a:gd name="connsiteX198" fmla="*/ 473042 w 5291521"/>
              <a:gd name="connsiteY198" fmla="*/ 2505373 h 6375844"/>
              <a:gd name="connsiteX199" fmla="*/ 473038 w 5291521"/>
              <a:gd name="connsiteY199" fmla="*/ 2505378 h 6375844"/>
              <a:gd name="connsiteX200" fmla="*/ 473044 w 5291521"/>
              <a:gd name="connsiteY200" fmla="*/ 2505382 h 6375844"/>
              <a:gd name="connsiteX201" fmla="*/ 431058 w 5291521"/>
              <a:gd name="connsiteY201" fmla="*/ 2583492 h 6375844"/>
              <a:gd name="connsiteX202" fmla="*/ 416842 w 5291521"/>
              <a:gd name="connsiteY202" fmla="*/ 2577397 h 6375844"/>
              <a:gd name="connsiteX203" fmla="*/ 416844 w 5291521"/>
              <a:gd name="connsiteY203" fmla="*/ 2577393 h 6375844"/>
              <a:gd name="connsiteX204" fmla="*/ 416841 w 5291521"/>
              <a:gd name="connsiteY204" fmla="*/ 2577393 h 6375844"/>
              <a:gd name="connsiteX205" fmla="*/ 464140 w 5291521"/>
              <a:gd name="connsiteY205" fmla="*/ 2500328 h 6375844"/>
              <a:gd name="connsiteX206" fmla="*/ 418435 w 5291521"/>
              <a:gd name="connsiteY206" fmla="*/ 2499394 h 6375844"/>
              <a:gd name="connsiteX207" fmla="*/ 427922 w 5291521"/>
              <a:gd name="connsiteY207" fmla="*/ 2506934 h 6375844"/>
              <a:gd name="connsiteX208" fmla="*/ 427918 w 5291521"/>
              <a:gd name="connsiteY208" fmla="*/ 2506936 h 6375844"/>
              <a:gd name="connsiteX209" fmla="*/ 427924 w 5291521"/>
              <a:gd name="connsiteY209" fmla="*/ 2506942 h 6375844"/>
              <a:gd name="connsiteX210" fmla="*/ 362399 w 5291521"/>
              <a:gd name="connsiteY210" fmla="*/ 2587512 h 6375844"/>
              <a:gd name="connsiteX211" fmla="*/ 350590 w 5291521"/>
              <a:gd name="connsiteY211" fmla="*/ 2580595 h 6375844"/>
              <a:gd name="connsiteX212" fmla="*/ 350593 w 5291521"/>
              <a:gd name="connsiteY212" fmla="*/ 2580592 h 6375844"/>
              <a:gd name="connsiteX213" fmla="*/ 350589 w 5291521"/>
              <a:gd name="connsiteY213" fmla="*/ 2580590 h 6375844"/>
              <a:gd name="connsiteX214" fmla="*/ 418435 w 5291521"/>
              <a:gd name="connsiteY214" fmla="*/ 2499394 h 6375844"/>
              <a:gd name="connsiteX215" fmla="*/ 5282063 w 5291521"/>
              <a:gd name="connsiteY215" fmla="*/ 2264886 h 6375844"/>
              <a:gd name="connsiteX216" fmla="*/ 5291520 w 5291521"/>
              <a:gd name="connsiteY216" fmla="*/ 2272297 h 6375844"/>
              <a:gd name="connsiteX217" fmla="*/ 5291519 w 5291521"/>
              <a:gd name="connsiteY217" fmla="*/ 2272300 h 6375844"/>
              <a:gd name="connsiteX218" fmla="*/ 5291521 w 5291521"/>
              <a:gd name="connsiteY218" fmla="*/ 2272300 h 6375844"/>
              <a:gd name="connsiteX219" fmla="*/ 5011163 w 5291521"/>
              <a:gd name="connsiteY219" fmla="*/ 2536405 h 6375844"/>
              <a:gd name="connsiteX220" fmla="*/ 5011164 w 5291521"/>
              <a:gd name="connsiteY220" fmla="*/ 2536399 h 6375844"/>
              <a:gd name="connsiteX221" fmla="*/ 5011162 w 5291521"/>
              <a:gd name="connsiteY221" fmla="*/ 2536401 h 6375844"/>
              <a:gd name="connsiteX222" fmla="*/ 5282063 w 5291521"/>
              <a:gd name="connsiteY222" fmla="*/ 2264886 h 6375844"/>
              <a:gd name="connsiteX223" fmla="*/ 5051368 w 5291521"/>
              <a:gd name="connsiteY223" fmla="*/ 2239218 h 6375844"/>
              <a:gd name="connsiteX224" fmla="*/ 5051366 w 5291521"/>
              <a:gd name="connsiteY224" fmla="*/ 2239225 h 6375844"/>
              <a:gd name="connsiteX225" fmla="*/ 5051370 w 5291521"/>
              <a:gd name="connsiteY225" fmla="*/ 2239220 h 6375844"/>
              <a:gd name="connsiteX226" fmla="*/ 4903185 w 5291521"/>
              <a:gd name="connsiteY226" fmla="*/ 2383185 h 6375844"/>
              <a:gd name="connsiteX227" fmla="*/ 4896056 w 5291521"/>
              <a:gd name="connsiteY227" fmla="*/ 2375167 h 6375844"/>
              <a:gd name="connsiteX228" fmla="*/ 4896057 w 5291521"/>
              <a:gd name="connsiteY228" fmla="*/ 2375165 h 6375844"/>
              <a:gd name="connsiteX229" fmla="*/ 4896055 w 5291521"/>
              <a:gd name="connsiteY229" fmla="*/ 2375163 h 6375844"/>
              <a:gd name="connsiteX230" fmla="*/ 5051368 w 5291521"/>
              <a:gd name="connsiteY230" fmla="*/ 2239218 h 6375844"/>
              <a:gd name="connsiteX231" fmla="*/ 948071 w 5291521"/>
              <a:gd name="connsiteY231" fmla="*/ 2104620 h 6375844"/>
              <a:gd name="connsiteX232" fmla="*/ 948068 w 5291521"/>
              <a:gd name="connsiteY232" fmla="*/ 2104626 h 6375844"/>
              <a:gd name="connsiteX233" fmla="*/ 948072 w 5291521"/>
              <a:gd name="connsiteY233" fmla="*/ 2104623 h 6375844"/>
              <a:gd name="connsiteX234" fmla="*/ 795492 w 5291521"/>
              <a:gd name="connsiteY234" fmla="*/ 2249763 h 6375844"/>
              <a:gd name="connsiteX235" fmla="*/ 785428 w 5291521"/>
              <a:gd name="connsiteY235" fmla="*/ 2240046 h 6375844"/>
              <a:gd name="connsiteX236" fmla="*/ 785427 w 5291521"/>
              <a:gd name="connsiteY236" fmla="*/ 2240045 h 6375844"/>
              <a:gd name="connsiteX237" fmla="*/ 948071 w 5291521"/>
              <a:gd name="connsiteY237" fmla="*/ 2104620 h 6375844"/>
              <a:gd name="connsiteX238" fmla="*/ 4342726 w 5291521"/>
              <a:gd name="connsiteY238" fmla="*/ 1327293 h 6375844"/>
              <a:gd name="connsiteX239" fmla="*/ 4326582 w 5291521"/>
              <a:gd name="connsiteY239" fmla="*/ 1343196 h 6375844"/>
              <a:gd name="connsiteX240" fmla="*/ 4326610 w 5291521"/>
              <a:gd name="connsiteY240" fmla="*/ 1343201 h 6375844"/>
              <a:gd name="connsiteX241" fmla="*/ 4341097 w 5291521"/>
              <a:gd name="connsiteY241" fmla="*/ 1329570 h 6375844"/>
              <a:gd name="connsiteX242" fmla="*/ 2111196 w 5291521"/>
              <a:gd name="connsiteY242" fmla="*/ 1253002 h 6375844"/>
              <a:gd name="connsiteX243" fmla="*/ 2111186 w 5291521"/>
              <a:gd name="connsiteY243" fmla="*/ 1253009 h 6375844"/>
              <a:gd name="connsiteX244" fmla="*/ 2111197 w 5291521"/>
              <a:gd name="connsiteY244" fmla="*/ 1253006 h 6375844"/>
              <a:gd name="connsiteX245" fmla="*/ 1741289 w 5291521"/>
              <a:gd name="connsiteY245" fmla="*/ 1487030 h 6375844"/>
              <a:gd name="connsiteX246" fmla="*/ 1741295 w 5291521"/>
              <a:gd name="connsiteY246" fmla="*/ 1487024 h 6375844"/>
              <a:gd name="connsiteX247" fmla="*/ 1741289 w 5291521"/>
              <a:gd name="connsiteY247" fmla="*/ 1487027 h 6375844"/>
              <a:gd name="connsiteX248" fmla="*/ 2111196 w 5291521"/>
              <a:gd name="connsiteY248" fmla="*/ 1253002 h 6375844"/>
              <a:gd name="connsiteX249" fmla="*/ 5133780 w 5291521"/>
              <a:gd name="connsiteY249" fmla="*/ 1217685 h 6375844"/>
              <a:gd name="connsiteX250" fmla="*/ 5170663 w 5291521"/>
              <a:gd name="connsiteY250" fmla="*/ 1262105 h 6375844"/>
              <a:gd name="connsiteX251" fmla="*/ 5170662 w 5291521"/>
              <a:gd name="connsiteY251" fmla="*/ 1262106 h 6375844"/>
              <a:gd name="connsiteX252" fmla="*/ 5170664 w 5291521"/>
              <a:gd name="connsiteY252" fmla="*/ 1262108 h 6375844"/>
              <a:gd name="connsiteX253" fmla="*/ 5156835 w 5291521"/>
              <a:gd name="connsiteY253" fmla="*/ 1331351 h 6375844"/>
              <a:gd name="connsiteX254" fmla="*/ 5156833 w 5291521"/>
              <a:gd name="connsiteY254" fmla="*/ 1331347 h 6375844"/>
              <a:gd name="connsiteX255" fmla="*/ 5133780 w 5291521"/>
              <a:gd name="connsiteY255" fmla="*/ 1217685 h 6375844"/>
              <a:gd name="connsiteX256" fmla="*/ 4416588 w 5291521"/>
              <a:gd name="connsiteY256" fmla="*/ 1208458 h 6375844"/>
              <a:gd name="connsiteX257" fmla="*/ 4398587 w 5291521"/>
              <a:gd name="connsiteY257" fmla="*/ 1209628 h 6375844"/>
              <a:gd name="connsiteX258" fmla="*/ 4376810 w 5291521"/>
              <a:gd name="connsiteY258" fmla="*/ 1216706 h 6375844"/>
              <a:gd name="connsiteX259" fmla="*/ 4355686 w 5291521"/>
              <a:gd name="connsiteY259" fmla="*/ 1250639 h 6375844"/>
              <a:gd name="connsiteX260" fmla="*/ 4348516 w 5291521"/>
              <a:gd name="connsiteY260" fmla="*/ 1267672 h 6375844"/>
              <a:gd name="connsiteX261" fmla="*/ 4350509 w 5291521"/>
              <a:gd name="connsiteY261" fmla="*/ 1266016 h 6375844"/>
              <a:gd name="connsiteX262" fmla="*/ 4663389 w 5291521"/>
              <a:gd name="connsiteY262" fmla="*/ 1098063 h 6375844"/>
              <a:gd name="connsiteX263" fmla="*/ 4706234 w 5291521"/>
              <a:gd name="connsiteY263" fmla="*/ 1165534 h 6375844"/>
              <a:gd name="connsiteX264" fmla="*/ 4720264 w 5291521"/>
              <a:gd name="connsiteY264" fmla="*/ 1208653 h 6375844"/>
              <a:gd name="connsiteX265" fmla="*/ 4692536 w 5291521"/>
              <a:gd name="connsiteY265" fmla="*/ 1216083 h 6375844"/>
              <a:gd name="connsiteX266" fmla="*/ 4692533 w 5291521"/>
              <a:gd name="connsiteY266" fmla="*/ 1216079 h 6375844"/>
              <a:gd name="connsiteX267" fmla="*/ 4692490 w 5291521"/>
              <a:gd name="connsiteY267" fmla="*/ 1216090 h 6375844"/>
              <a:gd name="connsiteX268" fmla="*/ 4668712 w 5291521"/>
              <a:gd name="connsiteY268" fmla="*/ 1173385 h 6375844"/>
              <a:gd name="connsiteX269" fmla="*/ 4668774 w 5291521"/>
              <a:gd name="connsiteY269" fmla="*/ 1173363 h 6375844"/>
              <a:gd name="connsiteX270" fmla="*/ 4668646 w 5291521"/>
              <a:gd name="connsiteY270" fmla="*/ 1173139 h 6375844"/>
              <a:gd name="connsiteX271" fmla="*/ 4700058 w 5291521"/>
              <a:gd name="connsiteY271" fmla="*/ 1162281 h 6375844"/>
              <a:gd name="connsiteX272" fmla="*/ 4682762 w 5291521"/>
              <a:gd name="connsiteY272" fmla="*/ 1134886 h 6375844"/>
              <a:gd name="connsiteX273" fmla="*/ 4689133 w 5291521"/>
              <a:gd name="connsiteY273" fmla="*/ 1130708 h 6375844"/>
              <a:gd name="connsiteX274" fmla="*/ 4662941 w 5291521"/>
              <a:gd name="connsiteY274" fmla="*/ 1098179 h 6375844"/>
              <a:gd name="connsiteX275" fmla="*/ 4663692 w 5291521"/>
              <a:gd name="connsiteY275" fmla="*/ 1098441 h 6375844"/>
              <a:gd name="connsiteX276" fmla="*/ 5115872 w 5291521"/>
              <a:gd name="connsiteY276" fmla="*/ 1085870 h 6375844"/>
              <a:gd name="connsiteX277" fmla="*/ 5191712 w 5291521"/>
              <a:gd name="connsiteY277" fmla="*/ 1155116 h 6375844"/>
              <a:gd name="connsiteX278" fmla="*/ 5231582 w 5291521"/>
              <a:gd name="connsiteY278" fmla="*/ 1201658 h 6375844"/>
              <a:gd name="connsiteX279" fmla="*/ 5260785 w 5291521"/>
              <a:gd name="connsiteY279" fmla="*/ 1256035 h 6375844"/>
              <a:gd name="connsiteX280" fmla="*/ 5260785 w 5291521"/>
              <a:gd name="connsiteY280" fmla="*/ 1256036 h 6375844"/>
              <a:gd name="connsiteX281" fmla="*/ 5260785 w 5291521"/>
              <a:gd name="connsiteY281" fmla="*/ 1256038 h 6375844"/>
              <a:gd name="connsiteX282" fmla="*/ 5267331 w 5291521"/>
              <a:gd name="connsiteY282" fmla="*/ 1316483 h 6375844"/>
              <a:gd name="connsiteX283" fmla="*/ 5278233 w 5291521"/>
              <a:gd name="connsiteY283" fmla="*/ 1375762 h 6375844"/>
              <a:gd name="connsiteX284" fmla="*/ 5253853 w 5291521"/>
              <a:gd name="connsiteY284" fmla="*/ 1489278 h 6375844"/>
              <a:gd name="connsiteX285" fmla="*/ 5238407 w 5291521"/>
              <a:gd name="connsiteY285" fmla="*/ 1543177 h 6375844"/>
              <a:gd name="connsiteX286" fmla="*/ 5215420 w 5291521"/>
              <a:gd name="connsiteY286" fmla="*/ 1507353 h 6375844"/>
              <a:gd name="connsiteX287" fmla="*/ 5215419 w 5291521"/>
              <a:gd name="connsiteY287" fmla="*/ 1507352 h 6375844"/>
              <a:gd name="connsiteX288" fmla="*/ 5215419 w 5291521"/>
              <a:gd name="connsiteY288" fmla="*/ 1507349 h 6375844"/>
              <a:gd name="connsiteX289" fmla="*/ 5219421 w 5291521"/>
              <a:gd name="connsiteY289" fmla="*/ 1491931 h 6375844"/>
              <a:gd name="connsiteX290" fmla="*/ 5233230 w 5291521"/>
              <a:gd name="connsiteY290" fmla="*/ 1477386 h 6375844"/>
              <a:gd name="connsiteX291" fmla="*/ 5220819 w 5291521"/>
              <a:gd name="connsiteY291" fmla="*/ 1467225 h 6375844"/>
              <a:gd name="connsiteX292" fmla="*/ 5213707 w 5291521"/>
              <a:gd name="connsiteY292" fmla="*/ 1456806 h 6375844"/>
              <a:gd name="connsiteX293" fmla="*/ 5213707 w 5291521"/>
              <a:gd name="connsiteY293" fmla="*/ 1456805 h 6375844"/>
              <a:gd name="connsiteX294" fmla="*/ 5213705 w 5291521"/>
              <a:gd name="connsiteY294" fmla="*/ 1456804 h 6375844"/>
              <a:gd name="connsiteX295" fmla="*/ 5225897 w 5291521"/>
              <a:gd name="connsiteY295" fmla="*/ 1422127 h 6375844"/>
              <a:gd name="connsiteX296" fmla="*/ 5236299 w 5291521"/>
              <a:gd name="connsiteY296" fmla="*/ 1275035 h 6375844"/>
              <a:gd name="connsiteX297" fmla="*/ 5230418 w 5291521"/>
              <a:gd name="connsiteY297" fmla="*/ 1244444 h 6375844"/>
              <a:gd name="connsiteX298" fmla="*/ 5219811 w 5291521"/>
              <a:gd name="connsiteY298" fmla="*/ 1217566 h 6375844"/>
              <a:gd name="connsiteX299" fmla="*/ 5115871 w 5291521"/>
              <a:gd name="connsiteY299" fmla="*/ 1085872 h 6375844"/>
              <a:gd name="connsiteX300" fmla="*/ 5115878 w 5291521"/>
              <a:gd name="connsiteY300" fmla="*/ 1085877 h 6375844"/>
              <a:gd name="connsiteX301" fmla="*/ 4980883 w 5291521"/>
              <a:gd name="connsiteY301" fmla="*/ 1036955 h 6375844"/>
              <a:gd name="connsiteX302" fmla="*/ 5037413 w 5291521"/>
              <a:gd name="connsiteY302" fmla="*/ 1071563 h 6375844"/>
              <a:gd name="connsiteX303" fmla="*/ 5069948 w 5291521"/>
              <a:gd name="connsiteY303" fmla="*/ 1100162 h 6375844"/>
              <a:gd name="connsiteX304" fmla="*/ 5136763 w 5291521"/>
              <a:gd name="connsiteY304" fmla="*/ 1191720 h 6375844"/>
              <a:gd name="connsiteX305" fmla="*/ 5136764 w 5291521"/>
              <a:gd name="connsiteY305" fmla="*/ 1191723 h 6375844"/>
              <a:gd name="connsiteX306" fmla="*/ 4980884 w 5291521"/>
              <a:gd name="connsiteY306" fmla="*/ 1036958 h 6375844"/>
              <a:gd name="connsiteX307" fmla="*/ 4980890 w 5291521"/>
              <a:gd name="connsiteY307" fmla="*/ 1036961 h 6375844"/>
              <a:gd name="connsiteX308" fmla="*/ 4819390 w 5291521"/>
              <a:gd name="connsiteY308" fmla="*/ 1001132 h 6375844"/>
              <a:gd name="connsiteX309" fmla="*/ 4908183 w 5291521"/>
              <a:gd name="connsiteY309" fmla="*/ 1074233 h 6375844"/>
              <a:gd name="connsiteX310" fmla="*/ 4908183 w 5291521"/>
              <a:gd name="connsiteY310" fmla="*/ 1074235 h 6375844"/>
              <a:gd name="connsiteX311" fmla="*/ 4908185 w 5291521"/>
              <a:gd name="connsiteY311" fmla="*/ 1074236 h 6375844"/>
              <a:gd name="connsiteX312" fmla="*/ 4902508 w 5291521"/>
              <a:gd name="connsiteY312" fmla="*/ 1080727 h 6375844"/>
              <a:gd name="connsiteX313" fmla="*/ 4812651 w 5291521"/>
              <a:gd name="connsiteY313" fmla="*/ 1012880 h 6375844"/>
              <a:gd name="connsiteX314" fmla="*/ 4812652 w 5291521"/>
              <a:gd name="connsiteY314" fmla="*/ 1012878 h 6375844"/>
              <a:gd name="connsiteX315" fmla="*/ 4812649 w 5291521"/>
              <a:gd name="connsiteY315" fmla="*/ 1012875 h 6375844"/>
              <a:gd name="connsiteX316" fmla="*/ 4819390 w 5291521"/>
              <a:gd name="connsiteY316" fmla="*/ 1001132 h 6375844"/>
              <a:gd name="connsiteX317" fmla="*/ 4394322 w 5291521"/>
              <a:gd name="connsiteY317" fmla="*/ 992113 h 6375844"/>
              <a:gd name="connsiteX318" fmla="*/ 4376075 w 5291521"/>
              <a:gd name="connsiteY318" fmla="*/ 1016478 h 6375844"/>
              <a:gd name="connsiteX319" fmla="*/ 3791924 w 5291521"/>
              <a:gd name="connsiteY319" fmla="*/ 1530978 h 6375844"/>
              <a:gd name="connsiteX320" fmla="*/ 3370712 w 5291521"/>
              <a:gd name="connsiteY320" fmla="*/ 1845202 h 6375844"/>
              <a:gd name="connsiteX321" fmla="*/ 3163679 w 5291521"/>
              <a:gd name="connsiteY321" fmla="*/ 1994296 h 6375844"/>
              <a:gd name="connsiteX322" fmla="*/ 3222263 w 5291521"/>
              <a:gd name="connsiteY322" fmla="*/ 2095051 h 6375844"/>
              <a:gd name="connsiteX323" fmla="*/ 3226234 w 5291521"/>
              <a:gd name="connsiteY323" fmla="*/ 2109174 h 6375844"/>
              <a:gd name="connsiteX324" fmla="*/ 3242972 w 5291521"/>
              <a:gd name="connsiteY324" fmla="*/ 2093220 h 6375844"/>
              <a:gd name="connsiteX325" fmla="*/ 3350254 w 5291521"/>
              <a:gd name="connsiteY325" fmla="*/ 2019727 h 6375844"/>
              <a:gd name="connsiteX326" fmla="*/ 3601954 w 5291521"/>
              <a:gd name="connsiteY326" fmla="*/ 1825503 h 6375844"/>
              <a:gd name="connsiteX327" fmla="*/ 3723010 w 5291521"/>
              <a:gd name="connsiteY327" fmla="*/ 1738371 h 6375844"/>
              <a:gd name="connsiteX328" fmla="*/ 4163428 w 5291521"/>
              <a:gd name="connsiteY328" fmla="*/ 1421489 h 6375844"/>
              <a:gd name="connsiteX329" fmla="*/ 4289851 w 5291521"/>
              <a:gd name="connsiteY329" fmla="*/ 1316425 h 6375844"/>
              <a:gd name="connsiteX330" fmla="*/ 4237505 w 5291521"/>
              <a:gd name="connsiteY330" fmla="*/ 1338539 h 6375844"/>
              <a:gd name="connsiteX331" fmla="*/ 4237431 w 5291521"/>
              <a:gd name="connsiteY331" fmla="*/ 1338475 h 6375844"/>
              <a:gd name="connsiteX332" fmla="*/ 4237388 w 5291521"/>
              <a:gd name="connsiteY332" fmla="*/ 1338493 h 6375844"/>
              <a:gd name="connsiteX333" fmla="*/ 4230872 w 5291521"/>
              <a:gd name="connsiteY333" fmla="*/ 1332781 h 6375844"/>
              <a:gd name="connsiteX334" fmla="*/ 4257676 w 5291521"/>
              <a:gd name="connsiteY334" fmla="*/ 1293273 h 6375844"/>
              <a:gd name="connsiteX335" fmla="*/ 4345246 w 5291521"/>
              <a:gd name="connsiteY335" fmla="*/ 1220079 h 6375844"/>
              <a:gd name="connsiteX336" fmla="*/ 4355310 w 5291521"/>
              <a:gd name="connsiteY336" fmla="*/ 1192518 h 6375844"/>
              <a:gd name="connsiteX337" fmla="*/ 4403344 w 5291521"/>
              <a:gd name="connsiteY337" fmla="*/ 1129915 h 6375844"/>
              <a:gd name="connsiteX338" fmla="*/ 4416339 w 5291521"/>
              <a:gd name="connsiteY338" fmla="*/ 1038274 h 6375844"/>
              <a:gd name="connsiteX339" fmla="*/ 4407043 w 5291521"/>
              <a:gd name="connsiteY339" fmla="*/ 1009975 h 6375844"/>
              <a:gd name="connsiteX340" fmla="*/ 3505364 w 5291521"/>
              <a:gd name="connsiteY340" fmla="*/ 754859 h 6375844"/>
              <a:gd name="connsiteX341" fmla="*/ 3504678 w 5291521"/>
              <a:gd name="connsiteY341" fmla="*/ 755452 h 6375844"/>
              <a:gd name="connsiteX342" fmla="*/ 3504964 w 5291521"/>
              <a:gd name="connsiteY342" fmla="*/ 755397 h 6375844"/>
              <a:gd name="connsiteX343" fmla="*/ 3433942 w 5291521"/>
              <a:gd name="connsiteY343" fmla="*/ 816615 h 6375844"/>
              <a:gd name="connsiteX344" fmla="*/ 3425971 w 5291521"/>
              <a:gd name="connsiteY344" fmla="*/ 823509 h 6375844"/>
              <a:gd name="connsiteX345" fmla="*/ 3425961 w 5291521"/>
              <a:gd name="connsiteY345" fmla="*/ 823496 h 6375844"/>
              <a:gd name="connsiteX346" fmla="*/ 3425944 w 5291521"/>
              <a:gd name="connsiteY346" fmla="*/ 823510 h 6375844"/>
              <a:gd name="connsiteX347" fmla="*/ 3418249 w 5291521"/>
              <a:gd name="connsiteY347" fmla="*/ 813303 h 6375844"/>
              <a:gd name="connsiteX348" fmla="*/ 3418269 w 5291521"/>
              <a:gd name="connsiteY348" fmla="*/ 813265 h 6375844"/>
              <a:gd name="connsiteX349" fmla="*/ 3418221 w 5291521"/>
              <a:gd name="connsiteY349" fmla="*/ 813202 h 6375844"/>
              <a:gd name="connsiteX350" fmla="*/ 3428120 w 5291521"/>
              <a:gd name="connsiteY350" fmla="*/ 792211 h 6375844"/>
              <a:gd name="connsiteX351" fmla="*/ 3431425 w 5291521"/>
              <a:gd name="connsiteY351" fmla="*/ 788671 h 6375844"/>
              <a:gd name="connsiteX352" fmla="*/ 3432374 w 5291521"/>
              <a:gd name="connsiteY352" fmla="*/ 786898 h 6375844"/>
              <a:gd name="connsiteX353" fmla="*/ 3435106 w 5291521"/>
              <a:gd name="connsiteY353" fmla="*/ 784727 h 6375844"/>
              <a:gd name="connsiteX354" fmla="*/ 3442248 w 5291521"/>
              <a:gd name="connsiteY354" fmla="*/ 777074 h 6375844"/>
              <a:gd name="connsiteX355" fmla="*/ 3448156 w 5291521"/>
              <a:gd name="connsiteY355" fmla="*/ 774360 h 6375844"/>
              <a:gd name="connsiteX356" fmla="*/ 3453495 w 5291521"/>
              <a:gd name="connsiteY356" fmla="*/ 770120 h 6375844"/>
              <a:gd name="connsiteX357" fmla="*/ 3474957 w 5291521"/>
              <a:gd name="connsiteY357" fmla="*/ 762047 h 6375844"/>
              <a:gd name="connsiteX358" fmla="*/ 3479990 w 5291521"/>
              <a:gd name="connsiteY358" fmla="*/ 759735 h 6375844"/>
              <a:gd name="connsiteX359" fmla="*/ 3614496 w 5291521"/>
              <a:gd name="connsiteY359" fmla="*/ 624391 h 6375844"/>
              <a:gd name="connsiteX360" fmla="*/ 3614541 w 5291521"/>
              <a:gd name="connsiteY360" fmla="*/ 624912 h 6375844"/>
              <a:gd name="connsiteX361" fmla="*/ 3617079 w 5291521"/>
              <a:gd name="connsiteY361" fmla="*/ 654970 h 6375844"/>
              <a:gd name="connsiteX362" fmla="*/ 3617078 w 5291521"/>
              <a:gd name="connsiteY362" fmla="*/ 655012 h 6375844"/>
              <a:gd name="connsiteX363" fmla="*/ 3617082 w 5291521"/>
              <a:gd name="connsiteY363" fmla="*/ 655065 h 6375844"/>
              <a:gd name="connsiteX364" fmla="*/ 3612903 w 5291521"/>
              <a:gd name="connsiteY364" fmla="*/ 674507 h 6375844"/>
              <a:gd name="connsiteX365" fmla="*/ 3562055 w 5291521"/>
              <a:gd name="connsiteY365" fmla="*/ 714840 h 6375844"/>
              <a:gd name="connsiteX366" fmla="*/ 3511162 w 5291521"/>
              <a:gd name="connsiteY366" fmla="*/ 750325 h 6375844"/>
              <a:gd name="connsiteX367" fmla="*/ 3509596 w 5291521"/>
              <a:gd name="connsiteY367" fmla="*/ 754046 h 6375844"/>
              <a:gd name="connsiteX368" fmla="*/ 3509304 w 5291521"/>
              <a:gd name="connsiteY368" fmla="*/ 754101 h 6375844"/>
              <a:gd name="connsiteX369" fmla="*/ 3509145 w 5291521"/>
              <a:gd name="connsiteY369" fmla="*/ 754482 h 6375844"/>
              <a:gd name="connsiteX370" fmla="*/ 3509173 w 5291521"/>
              <a:gd name="connsiteY370" fmla="*/ 754587 h 6375844"/>
              <a:gd name="connsiteX371" fmla="*/ 3504964 w 5291521"/>
              <a:gd name="connsiteY371" fmla="*/ 755397 h 6375844"/>
              <a:gd name="connsiteX372" fmla="*/ 3505652 w 5291521"/>
              <a:gd name="connsiteY372" fmla="*/ 754803 h 6375844"/>
              <a:gd name="connsiteX373" fmla="*/ 3505364 w 5291521"/>
              <a:gd name="connsiteY373" fmla="*/ 754859 h 6375844"/>
              <a:gd name="connsiteX374" fmla="*/ 3508977 w 5291521"/>
              <a:gd name="connsiteY374" fmla="*/ 751735 h 6375844"/>
              <a:gd name="connsiteX375" fmla="*/ 3510854 w 5291521"/>
              <a:gd name="connsiteY375" fmla="*/ 750425 h 6375844"/>
              <a:gd name="connsiteX376" fmla="*/ 3525335 w 5291521"/>
              <a:gd name="connsiteY376" fmla="*/ 716061 h 6375844"/>
              <a:gd name="connsiteX377" fmla="*/ 3549855 w 5291521"/>
              <a:gd name="connsiteY377" fmla="*/ 683326 h 6375844"/>
              <a:gd name="connsiteX378" fmla="*/ 3559363 w 5291521"/>
              <a:gd name="connsiteY378" fmla="*/ 674657 h 6375844"/>
              <a:gd name="connsiteX379" fmla="*/ 3564716 w 5291521"/>
              <a:gd name="connsiteY379" fmla="*/ 668121 h 6375844"/>
              <a:gd name="connsiteX380" fmla="*/ 3614383 w 5291521"/>
              <a:gd name="connsiteY380" fmla="*/ 624495 h 6375844"/>
              <a:gd name="connsiteX381" fmla="*/ 3593216 w 5291521"/>
              <a:gd name="connsiteY381" fmla="*/ 572569 h 6375844"/>
              <a:gd name="connsiteX382" fmla="*/ 3601608 w 5291521"/>
              <a:gd name="connsiteY382" fmla="*/ 585233 h 6375844"/>
              <a:gd name="connsiteX383" fmla="*/ 3601608 w 5291521"/>
              <a:gd name="connsiteY383" fmla="*/ 585234 h 6375844"/>
              <a:gd name="connsiteX384" fmla="*/ 3601609 w 5291521"/>
              <a:gd name="connsiteY384" fmla="*/ 585236 h 6375844"/>
              <a:gd name="connsiteX385" fmla="*/ 3535682 w 5291521"/>
              <a:gd name="connsiteY385" fmla="*/ 637700 h 6375844"/>
              <a:gd name="connsiteX386" fmla="*/ 3524957 w 5291521"/>
              <a:gd name="connsiteY386" fmla="*/ 625658 h 6375844"/>
              <a:gd name="connsiteX387" fmla="*/ 3524959 w 5291521"/>
              <a:gd name="connsiteY387" fmla="*/ 625659 h 6375844"/>
              <a:gd name="connsiteX388" fmla="*/ 3524957 w 5291521"/>
              <a:gd name="connsiteY388" fmla="*/ 625655 h 6375844"/>
              <a:gd name="connsiteX389" fmla="*/ 3593216 w 5291521"/>
              <a:gd name="connsiteY389" fmla="*/ 572569 h 6375844"/>
              <a:gd name="connsiteX390" fmla="*/ 3755882 w 5291521"/>
              <a:gd name="connsiteY390" fmla="*/ 436817 h 6375844"/>
              <a:gd name="connsiteX391" fmla="*/ 3759203 w 5291521"/>
              <a:gd name="connsiteY391" fmla="*/ 446889 h 6375844"/>
              <a:gd name="connsiteX392" fmla="*/ 3759203 w 5291521"/>
              <a:gd name="connsiteY392" fmla="*/ 446890 h 6375844"/>
              <a:gd name="connsiteX393" fmla="*/ 3759204 w 5291521"/>
              <a:gd name="connsiteY393" fmla="*/ 446892 h 6375844"/>
              <a:gd name="connsiteX394" fmla="*/ 3758568 w 5291521"/>
              <a:gd name="connsiteY394" fmla="*/ 456145 h 6375844"/>
              <a:gd name="connsiteX395" fmla="*/ 3615457 w 5291521"/>
              <a:gd name="connsiteY395" fmla="*/ 582192 h 6375844"/>
              <a:gd name="connsiteX396" fmla="*/ 3604725 w 5291521"/>
              <a:gd name="connsiteY396" fmla="*/ 570034 h 6375844"/>
              <a:gd name="connsiteX397" fmla="*/ 3604725 w 5291521"/>
              <a:gd name="connsiteY397" fmla="*/ 570032 h 6375844"/>
              <a:gd name="connsiteX398" fmla="*/ 3604724 w 5291521"/>
              <a:gd name="connsiteY398" fmla="*/ 570031 h 6375844"/>
              <a:gd name="connsiteX399" fmla="*/ 3689461 w 5291521"/>
              <a:gd name="connsiteY399" fmla="*/ 477166 h 6375844"/>
              <a:gd name="connsiteX400" fmla="*/ 3755882 w 5291521"/>
              <a:gd name="connsiteY400" fmla="*/ 436817 h 6375844"/>
              <a:gd name="connsiteX401" fmla="*/ 4517937 w 5291521"/>
              <a:gd name="connsiteY401" fmla="*/ 354749 h 6375844"/>
              <a:gd name="connsiteX402" fmla="*/ 4554820 w 5291521"/>
              <a:gd name="connsiteY402" fmla="*/ 399170 h 6375844"/>
              <a:gd name="connsiteX403" fmla="*/ 4554819 w 5291521"/>
              <a:gd name="connsiteY403" fmla="*/ 399171 h 6375844"/>
              <a:gd name="connsiteX404" fmla="*/ 4554820 w 5291521"/>
              <a:gd name="connsiteY404" fmla="*/ 399173 h 6375844"/>
              <a:gd name="connsiteX405" fmla="*/ 4540992 w 5291521"/>
              <a:gd name="connsiteY405" fmla="*/ 468416 h 6375844"/>
              <a:gd name="connsiteX406" fmla="*/ 4540990 w 5291521"/>
              <a:gd name="connsiteY406" fmla="*/ 468411 h 6375844"/>
              <a:gd name="connsiteX407" fmla="*/ 4517937 w 5291521"/>
              <a:gd name="connsiteY407" fmla="*/ 354749 h 6375844"/>
              <a:gd name="connsiteX408" fmla="*/ 4047546 w 5291521"/>
              <a:gd name="connsiteY408" fmla="*/ 235129 h 6375844"/>
              <a:gd name="connsiteX409" fmla="*/ 4090391 w 5291521"/>
              <a:gd name="connsiteY409" fmla="*/ 302599 h 6375844"/>
              <a:gd name="connsiteX410" fmla="*/ 4104420 w 5291521"/>
              <a:gd name="connsiteY410" fmla="*/ 345719 h 6375844"/>
              <a:gd name="connsiteX411" fmla="*/ 4076692 w 5291521"/>
              <a:gd name="connsiteY411" fmla="*/ 353148 h 6375844"/>
              <a:gd name="connsiteX412" fmla="*/ 4076690 w 5291521"/>
              <a:gd name="connsiteY412" fmla="*/ 353144 h 6375844"/>
              <a:gd name="connsiteX413" fmla="*/ 4076647 w 5291521"/>
              <a:gd name="connsiteY413" fmla="*/ 353155 h 6375844"/>
              <a:gd name="connsiteX414" fmla="*/ 4052869 w 5291521"/>
              <a:gd name="connsiteY414" fmla="*/ 310450 h 6375844"/>
              <a:gd name="connsiteX415" fmla="*/ 4052932 w 5291521"/>
              <a:gd name="connsiteY415" fmla="*/ 310428 h 6375844"/>
              <a:gd name="connsiteX416" fmla="*/ 4052803 w 5291521"/>
              <a:gd name="connsiteY416" fmla="*/ 310204 h 6375844"/>
              <a:gd name="connsiteX417" fmla="*/ 4084215 w 5291521"/>
              <a:gd name="connsiteY417" fmla="*/ 299346 h 6375844"/>
              <a:gd name="connsiteX418" fmla="*/ 4066920 w 5291521"/>
              <a:gd name="connsiteY418" fmla="*/ 271951 h 6375844"/>
              <a:gd name="connsiteX419" fmla="*/ 4073290 w 5291521"/>
              <a:gd name="connsiteY419" fmla="*/ 267773 h 6375844"/>
              <a:gd name="connsiteX420" fmla="*/ 4047098 w 5291521"/>
              <a:gd name="connsiteY420" fmla="*/ 235243 h 6375844"/>
              <a:gd name="connsiteX421" fmla="*/ 4047848 w 5291521"/>
              <a:gd name="connsiteY421" fmla="*/ 235505 h 6375844"/>
              <a:gd name="connsiteX422" fmla="*/ 4500029 w 5291521"/>
              <a:gd name="connsiteY422" fmla="*/ 222935 h 6375844"/>
              <a:gd name="connsiteX423" fmla="*/ 4575870 w 5291521"/>
              <a:gd name="connsiteY423" fmla="*/ 292181 h 6375844"/>
              <a:gd name="connsiteX424" fmla="*/ 4615739 w 5291521"/>
              <a:gd name="connsiteY424" fmla="*/ 338723 h 6375844"/>
              <a:gd name="connsiteX425" fmla="*/ 4644942 w 5291521"/>
              <a:gd name="connsiteY425" fmla="*/ 393100 h 6375844"/>
              <a:gd name="connsiteX426" fmla="*/ 4644942 w 5291521"/>
              <a:gd name="connsiteY426" fmla="*/ 393101 h 6375844"/>
              <a:gd name="connsiteX427" fmla="*/ 4644943 w 5291521"/>
              <a:gd name="connsiteY427" fmla="*/ 393103 h 6375844"/>
              <a:gd name="connsiteX428" fmla="*/ 4651488 w 5291521"/>
              <a:gd name="connsiteY428" fmla="*/ 453548 h 6375844"/>
              <a:gd name="connsiteX429" fmla="*/ 4662390 w 5291521"/>
              <a:gd name="connsiteY429" fmla="*/ 512828 h 6375844"/>
              <a:gd name="connsiteX430" fmla="*/ 4638011 w 5291521"/>
              <a:gd name="connsiteY430" fmla="*/ 626343 h 6375844"/>
              <a:gd name="connsiteX431" fmla="*/ 4622564 w 5291521"/>
              <a:gd name="connsiteY431" fmla="*/ 680242 h 6375844"/>
              <a:gd name="connsiteX432" fmla="*/ 4599577 w 5291521"/>
              <a:gd name="connsiteY432" fmla="*/ 644416 h 6375844"/>
              <a:gd name="connsiteX433" fmla="*/ 4599576 w 5291521"/>
              <a:gd name="connsiteY433" fmla="*/ 644414 h 6375844"/>
              <a:gd name="connsiteX434" fmla="*/ 4603578 w 5291521"/>
              <a:gd name="connsiteY434" fmla="*/ 628995 h 6375844"/>
              <a:gd name="connsiteX435" fmla="*/ 4617386 w 5291521"/>
              <a:gd name="connsiteY435" fmla="*/ 614451 h 6375844"/>
              <a:gd name="connsiteX436" fmla="*/ 4604976 w 5291521"/>
              <a:gd name="connsiteY436" fmla="*/ 604290 h 6375844"/>
              <a:gd name="connsiteX437" fmla="*/ 4597864 w 5291521"/>
              <a:gd name="connsiteY437" fmla="*/ 593872 h 6375844"/>
              <a:gd name="connsiteX438" fmla="*/ 4597864 w 5291521"/>
              <a:gd name="connsiteY438" fmla="*/ 593869 h 6375844"/>
              <a:gd name="connsiteX439" fmla="*/ 4597863 w 5291521"/>
              <a:gd name="connsiteY439" fmla="*/ 593869 h 6375844"/>
              <a:gd name="connsiteX440" fmla="*/ 4610054 w 5291521"/>
              <a:gd name="connsiteY440" fmla="*/ 559192 h 6375844"/>
              <a:gd name="connsiteX441" fmla="*/ 4620456 w 5291521"/>
              <a:gd name="connsiteY441" fmla="*/ 412100 h 6375844"/>
              <a:gd name="connsiteX442" fmla="*/ 4614575 w 5291521"/>
              <a:gd name="connsiteY442" fmla="*/ 381508 h 6375844"/>
              <a:gd name="connsiteX443" fmla="*/ 4603968 w 5291521"/>
              <a:gd name="connsiteY443" fmla="*/ 354631 h 6375844"/>
              <a:gd name="connsiteX444" fmla="*/ 4500029 w 5291521"/>
              <a:gd name="connsiteY444" fmla="*/ 222937 h 6375844"/>
              <a:gd name="connsiteX445" fmla="*/ 4500035 w 5291521"/>
              <a:gd name="connsiteY445" fmla="*/ 222943 h 6375844"/>
              <a:gd name="connsiteX446" fmla="*/ 4365040 w 5291521"/>
              <a:gd name="connsiteY446" fmla="*/ 174020 h 6375844"/>
              <a:gd name="connsiteX447" fmla="*/ 4421570 w 5291521"/>
              <a:gd name="connsiteY447" fmla="*/ 208628 h 6375844"/>
              <a:gd name="connsiteX448" fmla="*/ 4454105 w 5291521"/>
              <a:gd name="connsiteY448" fmla="*/ 237227 h 6375844"/>
              <a:gd name="connsiteX449" fmla="*/ 4520920 w 5291521"/>
              <a:gd name="connsiteY449" fmla="*/ 328786 h 6375844"/>
              <a:gd name="connsiteX450" fmla="*/ 4520920 w 5291521"/>
              <a:gd name="connsiteY450" fmla="*/ 328788 h 6375844"/>
              <a:gd name="connsiteX451" fmla="*/ 4365041 w 5291521"/>
              <a:gd name="connsiteY451" fmla="*/ 174023 h 6375844"/>
              <a:gd name="connsiteX452" fmla="*/ 4365047 w 5291521"/>
              <a:gd name="connsiteY452" fmla="*/ 174026 h 6375844"/>
              <a:gd name="connsiteX453" fmla="*/ 4139318 w 5291521"/>
              <a:gd name="connsiteY453" fmla="*/ 170059 h 6375844"/>
              <a:gd name="connsiteX454" fmla="*/ 4214926 w 5291521"/>
              <a:gd name="connsiteY454" fmla="*/ 192061 h 6375844"/>
              <a:gd name="connsiteX455" fmla="*/ 4315484 w 5291521"/>
              <a:gd name="connsiteY455" fmla="*/ 418684 h 6375844"/>
              <a:gd name="connsiteX456" fmla="*/ 4298448 w 5291521"/>
              <a:gd name="connsiteY456" fmla="*/ 234315 h 6375844"/>
              <a:gd name="connsiteX457" fmla="*/ 4359324 w 5291521"/>
              <a:gd name="connsiteY457" fmla="*/ 424338 h 6375844"/>
              <a:gd name="connsiteX458" fmla="*/ 4341718 w 5291521"/>
              <a:gd name="connsiteY458" fmla="*/ 488719 h 6375844"/>
              <a:gd name="connsiteX459" fmla="*/ 4302811 w 5291521"/>
              <a:gd name="connsiteY459" fmla="*/ 640843 h 6375844"/>
              <a:gd name="connsiteX460" fmla="*/ 4316911 w 5291521"/>
              <a:gd name="connsiteY460" fmla="*/ 647009 h 6375844"/>
              <a:gd name="connsiteX461" fmla="*/ 4349666 w 5291521"/>
              <a:gd name="connsiteY461" fmla="*/ 546252 h 6375844"/>
              <a:gd name="connsiteX462" fmla="*/ 4366029 w 5291521"/>
              <a:gd name="connsiteY462" fmla="*/ 477233 h 6375844"/>
              <a:gd name="connsiteX463" fmla="*/ 4406535 w 5291521"/>
              <a:gd name="connsiteY463" fmla="*/ 386827 h 6375844"/>
              <a:gd name="connsiteX464" fmla="*/ 4416806 w 5291521"/>
              <a:gd name="connsiteY464" fmla="*/ 443740 h 6375844"/>
              <a:gd name="connsiteX465" fmla="*/ 4348189 w 5291521"/>
              <a:gd name="connsiteY465" fmla="*/ 633656 h 6375844"/>
              <a:gd name="connsiteX466" fmla="*/ 4221161 w 5291521"/>
              <a:gd name="connsiteY466" fmla="*/ 805352 h 6375844"/>
              <a:gd name="connsiteX467" fmla="*/ 4147078 w 5291521"/>
              <a:gd name="connsiteY467" fmla="*/ 882352 h 6375844"/>
              <a:gd name="connsiteX468" fmla="*/ 4148873 w 5291521"/>
              <a:gd name="connsiteY468" fmla="*/ 884247 h 6375844"/>
              <a:gd name="connsiteX469" fmla="*/ 4150262 w 5291521"/>
              <a:gd name="connsiteY469" fmla="*/ 884349 h 6375844"/>
              <a:gd name="connsiteX470" fmla="*/ 4150191 w 5291521"/>
              <a:gd name="connsiteY470" fmla="*/ 884524 h 6375844"/>
              <a:gd name="connsiteX471" fmla="*/ 4150475 w 5291521"/>
              <a:gd name="connsiteY471" fmla="*/ 884545 h 6375844"/>
              <a:gd name="connsiteX472" fmla="*/ 4150595 w 5291521"/>
              <a:gd name="connsiteY472" fmla="*/ 884338 h 6375844"/>
              <a:gd name="connsiteX473" fmla="*/ 4156612 w 5291521"/>
              <a:gd name="connsiteY473" fmla="*/ 885859 h 6375844"/>
              <a:gd name="connsiteX474" fmla="*/ 4156183 w 5291521"/>
              <a:gd name="connsiteY474" fmla="*/ 885938 h 6375844"/>
              <a:gd name="connsiteX475" fmla="*/ 4156419 w 5291521"/>
              <a:gd name="connsiteY475" fmla="*/ 885998 h 6375844"/>
              <a:gd name="connsiteX476" fmla="*/ 4151371 w 5291521"/>
              <a:gd name="connsiteY476" fmla="*/ 886886 h 6375844"/>
              <a:gd name="connsiteX477" fmla="*/ 4151324 w 5291521"/>
              <a:gd name="connsiteY477" fmla="*/ 886833 h 6375844"/>
              <a:gd name="connsiteX478" fmla="*/ 4148890 w 5291521"/>
              <a:gd name="connsiteY478" fmla="*/ 887281 h 6375844"/>
              <a:gd name="connsiteX479" fmla="*/ 4149760 w 5291521"/>
              <a:gd name="connsiteY479" fmla="*/ 885782 h 6375844"/>
              <a:gd name="connsiteX480" fmla="*/ 4149701 w 5291521"/>
              <a:gd name="connsiteY480" fmla="*/ 885736 h 6375844"/>
              <a:gd name="connsiteX481" fmla="*/ 4149792 w 5291521"/>
              <a:gd name="connsiteY481" fmla="*/ 885511 h 6375844"/>
              <a:gd name="connsiteX482" fmla="*/ 4149868 w 5291521"/>
              <a:gd name="connsiteY482" fmla="*/ 885591 h 6375844"/>
              <a:gd name="connsiteX483" fmla="*/ 4149975 w 5291521"/>
              <a:gd name="connsiteY483" fmla="*/ 885410 h 6375844"/>
              <a:gd name="connsiteX484" fmla="*/ 4149875 w 5291521"/>
              <a:gd name="connsiteY484" fmla="*/ 885305 h 6375844"/>
              <a:gd name="connsiteX485" fmla="*/ 4149792 w 5291521"/>
              <a:gd name="connsiteY485" fmla="*/ 885511 h 6375844"/>
              <a:gd name="connsiteX486" fmla="*/ 4148754 w 5291521"/>
              <a:gd name="connsiteY486" fmla="*/ 884418 h 6375844"/>
              <a:gd name="connsiteX487" fmla="*/ 4145334 w 5291521"/>
              <a:gd name="connsiteY487" fmla="*/ 884164 h 6375844"/>
              <a:gd name="connsiteX488" fmla="*/ 4074136 w 5291521"/>
              <a:gd name="connsiteY488" fmla="*/ 958167 h 6375844"/>
              <a:gd name="connsiteX489" fmla="*/ 3561964 w 5291521"/>
              <a:gd name="connsiteY489" fmla="*/ 1416089 h 6375844"/>
              <a:gd name="connsiteX490" fmla="*/ 3452521 w 5291521"/>
              <a:gd name="connsiteY490" fmla="*/ 1500102 h 6375844"/>
              <a:gd name="connsiteX491" fmla="*/ 3458572 w 5291521"/>
              <a:gd name="connsiteY491" fmla="*/ 1513398 h 6375844"/>
              <a:gd name="connsiteX492" fmla="*/ 3592813 w 5291521"/>
              <a:gd name="connsiteY492" fmla="*/ 1447596 h 6375844"/>
              <a:gd name="connsiteX493" fmla="*/ 3696826 w 5291521"/>
              <a:gd name="connsiteY493" fmla="*/ 1352610 h 6375844"/>
              <a:gd name="connsiteX494" fmla="*/ 3897615 w 5291521"/>
              <a:gd name="connsiteY494" fmla="*/ 1219259 h 6375844"/>
              <a:gd name="connsiteX495" fmla="*/ 3990501 w 5291521"/>
              <a:gd name="connsiteY495" fmla="*/ 1157081 h 6375844"/>
              <a:gd name="connsiteX496" fmla="*/ 4014484 w 5291521"/>
              <a:gd name="connsiteY496" fmla="*/ 1125794 h 6375844"/>
              <a:gd name="connsiteX497" fmla="*/ 4022990 w 5291521"/>
              <a:gd name="connsiteY497" fmla="*/ 1111086 h 6375844"/>
              <a:gd name="connsiteX498" fmla="*/ 4140614 w 5291521"/>
              <a:gd name="connsiteY498" fmla="*/ 992559 h 6375844"/>
              <a:gd name="connsiteX499" fmla="*/ 4213815 w 5291521"/>
              <a:gd name="connsiteY499" fmla="*/ 900498 h 6375844"/>
              <a:gd name="connsiteX500" fmla="*/ 4156419 w 5291521"/>
              <a:gd name="connsiteY500" fmla="*/ 885998 h 6375844"/>
              <a:gd name="connsiteX501" fmla="*/ 4156856 w 5291521"/>
              <a:gd name="connsiteY501" fmla="*/ 885920 h 6375844"/>
              <a:gd name="connsiteX502" fmla="*/ 4156612 w 5291521"/>
              <a:gd name="connsiteY502" fmla="*/ 885859 h 6375844"/>
              <a:gd name="connsiteX503" fmla="*/ 4171160 w 5291521"/>
              <a:gd name="connsiteY503" fmla="*/ 883180 h 6375844"/>
              <a:gd name="connsiteX504" fmla="*/ 4192617 w 5291521"/>
              <a:gd name="connsiteY504" fmla="*/ 883025 h 6375844"/>
              <a:gd name="connsiteX505" fmla="*/ 4222488 w 5291521"/>
              <a:gd name="connsiteY505" fmla="*/ 889590 h 6375844"/>
              <a:gd name="connsiteX506" fmla="*/ 4248619 w 5291521"/>
              <a:gd name="connsiteY506" fmla="*/ 856725 h 6375844"/>
              <a:gd name="connsiteX507" fmla="*/ 4536416 w 5291521"/>
              <a:gd name="connsiteY507" fmla="*/ 481298 h 6375844"/>
              <a:gd name="connsiteX508" fmla="*/ 4555458 w 5291521"/>
              <a:gd name="connsiteY508" fmla="*/ 468737 h 6375844"/>
              <a:gd name="connsiteX509" fmla="*/ 4554735 w 5291521"/>
              <a:gd name="connsiteY509" fmla="*/ 531081 h 6375844"/>
              <a:gd name="connsiteX510" fmla="*/ 4459944 w 5291521"/>
              <a:gd name="connsiteY510" fmla="*/ 725523 h 6375844"/>
              <a:gd name="connsiteX511" fmla="*/ 4354262 w 5291521"/>
              <a:gd name="connsiteY511" fmla="*/ 860736 h 6375844"/>
              <a:gd name="connsiteX512" fmla="*/ 4329199 w 5291521"/>
              <a:gd name="connsiteY512" fmla="*/ 897283 h 6375844"/>
              <a:gd name="connsiteX513" fmla="*/ 4447473 w 5291521"/>
              <a:gd name="connsiteY513" fmla="*/ 818358 h 6375844"/>
              <a:gd name="connsiteX514" fmla="*/ 4456307 w 5291521"/>
              <a:gd name="connsiteY514" fmla="*/ 823448 h 6375844"/>
              <a:gd name="connsiteX515" fmla="*/ 4429868 w 5291521"/>
              <a:gd name="connsiteY515" fmla="*/ 882737 h 6375844"/>
              <a:gd name="connsiteX516" fmla="*/ 4491476 w 5291521"/>
              <a:gd name="connsiteY516" fmla="*/ 833912 h 6375844"/>
              <a:gd name="connsiteX517" fmla="*/ 4500931 w 5291521"/>
              <a:gd name="connsiteY517" fmla="*/ 841322 h 6375844"/>
              <a:gd name="connsiteX518" fmla="*/ 4440711 w 5291521"/>
              <a:gd name="connsiteY518" fmla="*/ 930173 h 6375844"/>
              <a:gd name="connsiteX519" fmla="*/ 4421837 w 5291521"/>
              <a:gd name="connsiteY519" fmla="*/ 955373 h 6375844"/>
              <a:gd name="connsiteX520" fmla="*/ 4425915 w 5291521"/>
              <a:gd name="connsiteY520" fmla="*/ 962400 h 6375844"/>
              <a:gd name="connsiteX521" fmla="*/ 4517095 w 5291521"/>
              <a:gd name="connsiteY521" fmla="*/ 1014894 h 6375844"/>
              <a:gd name="connsiteX522" fmla="*/ 4526300 w 5291521"/>
              <a:gd name="connsiteY522" fmla="*/ 1027152 h 6375844"/>
              <a:gd name="connsiteX523" fmla="*/ 4526314 w 5291521"/>
              <a:gd name="connsiteY523" fmla="*/ 1027252 h 6375844"/>
              <a:gd name="connsiteX524" fmla="*/ 4526357 w 5291521"/>
              <a:gd name="connsiteY524" fmla="*/ 1027309 h 6375844"/>
              <a:gd name="connsiteX525" fmla="*/ 4526330 w 5291521"/>
              <a:gd name="connsiteY525" fmla="*/ 1049297 h 6375844"/>
              <a:gd name="connsiteX526" fmla="*/ 4526635 w 5291521"/>
              <a:gd name="connsiteY526" fmla="*/ 1059703 h 6375844"/>
              <a:gd name="connsiteX527" fmla="*/ 4537160 w 5291521"/>
              <a:gd name="connsiteY527" fmla="*/ 1080616 h 6375844"/>
              <a:gd name="connsiteX528" fmla="*/ 4588796 w 5291521"/>
              <a:gd name="connsiteY528" fmla="*/ 1115036 h 6375844"/>
              <a:gd name="connsiteX529" fmla="*/ 4612055 w 5291521"/>
              <a:gd name="connsiteY529" fmla="*/ 1144858 h 6375844"/>
              <a:gd name="connsiteX530" fmla="*/ 4612060 w 5291521"/>
              <a:gd name="connsiteY530" fmla="*/ 1144919 h 6375844"/>
              <a:gd name="connsiteX531" fmla="*/ 4612084 w 5291521"/>
              <a:gd name="connsiteY531" fmla="*/ 1144965 h 6375844"/>
              <a:gd name="connsiteX532" fmla="*/ 4609178 w 5291521"/>
              <a:gd name="connsiteY532" fmla="*/ 1181783 h 6375844"/>
              <a:gd name="connsiteX533" fmla="*/ 4461236 w 5291521"/>
              <a:gd name="connsiteY533" fmla="*/ 1382984 h 6375844"/>
              <a:gd name="connsiteX534" fmla="*/ 4402207 w 5291521"/>
              <a:gd name="connsiteY534" fmla="*/ 1450998 h 6375844"/>
              <a:gd name="connsiteX535" fmla="*/ 4342236 w 5291521"/>
              <a:gd name="connsiteY535" fmla="*/ 1496894 h 6375844"/>
              <a:gd name="connsiteX536" fmla="*/ 4342231 w 5291521"/>
              <a:gd name="connsiteY536" fmla="*/ 1496865 h 6375844"/>
              <a:gd name="connsiteX537" fmla="*/ 4342153 w 5291521"/>
              <a:gd name="connsiteY537" fmla="*/ 1496913 h 6375844"/>
              <a:gd name="connsiteX538" fmla="*/ 4341080 w 5291521"/>
              <a:gd name="connsiteY538" fmla="*/ 1491478 h 6375844"/>
              <a:gd name="connsiteX539" fmla="*/ 4334676 w 5291521"/>
              <a:gd name="connsiteY539" fmla="*/ 1496513 h 6375844"/>
              <a:gd name="connsiteX540" fmla="*/ 4287342 w 5291521"/>
              <a:gd name="connsiteY540" fmla="*/ 1520250 h 6375844"/>
              <a:gd name="connsiteX541" fmla="*/ 4280213 w 5291521"/>
              <a:gd name="connsiteY541" fmla="*/ 1512232 h 6375844"/>
              <a:gd name="connsiteX542" fmla="*/ 4280214 w 5291521"/>
              <a:gd name="connsiteY542" fmla="*/ 1512230 h 6375844"/>
              <a:gd name="connsiteX543" fmla="*/ 4280212 w 5291521"/>
              <a:gd name="connsiteY543" fmla="*/ 1512227 h 6375844"/>
              <a:gd name="connsiteX544" fmla="*/ 4394673 w 5291521"/>
              <a:gd name="connsiteY544" fmla="*/ 1412041 h 6375844"/>
              <a:gd name="connsiteX545" fmla="*/ 4412178 w 5291521"/>
              <a:gd name="connsiteY545" fmla="*/ 1386147 h 6375844"/>
              <a:gd name="connsiteX546" fmla="*/ 4462077 w 5291521"/>
              <a:gd name="connsiteY546" fmla="*/ 1330506 h 6375844"/>
              <a:gd name="connsiteX547" fmla="*/ 4485773 w 5291521"/>
              <a:gd name="connsiteY547" fmla="*/ 1279399 h 6375844"/>
              <a:gd name="connsiteX548" fmla="*/ 4531625 w 5291521"/>
              <a:gd name="connsiteY548" fmla="*/ 1227343 h 6375844"/>
              <a:gd name="connsiteX549" fmla="*/ 4512570 w 5291521"/>
              <a:gd name="connsiteY549" fmla="*/ 1209533 h 6375844"/>
              <a:gd name="connsiteX550" fmla="*/ 4489035 w 5291521"/>
              <a:gd name="connsiteY550" fmla="*/ 1189120 h 6375844"/>
              <a:gd name="connsiteX551" fmla="*/ 4464882 w 5291521"/>
              <a:gd name="connsiteY551" fmla="*/ 1247789 h 6375844"/>
              <a:gd name="connsiteX552" fmla="*/ 4451218 w 5291521"/>
              <a:gd name="connsiteY552" fmla="*/ 1242129 h 6375844"/>
              <a:gd name="connsiteX553" fmla="*/ 4435434 w 5291521"/>
              <a:gd name="connsiteY553" fmla="*/ 1235972 h 6375844"/>
              <a:gd name="connsiteX554" fmla="*/ 4368651 w 5291521"/>
              <a:gd name="connsiteY554" fmla="*/ 1301757 h 6375844"/>
              <a:gd name="connsiteX555" fmla="*/ 4371725 w 5291521"/>
              <a:gd name="connsiteY555" fmla="*/ 1299752 h 6375844"/>
              <a:gd name="connsiteX556" fmla="*/ 4375045 w 5291521"/>
              <a:gd name="connsiteY556" fmla="*/ 1309824 h 6375844"/>
              <a:gd name="connsiteX557" fmla="*/ 4375047 w 5291521"/>
              <a:gd name="connsiteY557" fmla="*/ 1309824 h 6375844"/>
              <a:gd name="connsiteX558" fmla="*/ 4375047 w 5291521"/>
              <a:gd name="connsiteY558" fmla="*/ 1309826 h 6375844"/>
              <a:gd name="connsiteX559" fmla="*/ 4374412 w 5291521"/>
              <a:gd name="connsiteY559" fmla="*/ 1319081 h 6375844"/>
              <a:gd name="connsiteX560" fmla="*/ 4231300 w 5291521"/>
              <a:gd name="connsiteY560" fmla="*/ 1445127 h 6375844"/>
              <a:gd name="connsiteX561" fmla="*/ 4227489 w 5291521"/>
              <a:gd name="connsiteY561" fmla="*/ 1440808 h 6375844"/>
              <a:gd name="connsiteX562" fmla="*/ 4198844 w 5291521"/>
              <a:gd name="connsiteY562" fmla="*/ 1469026 h 6375844"/>
              <a:gd name="connsiteX563" fmla="*/ 4190316 w 5291521"/>
              <a:gd name="connsiteY563" fmla="*/ 1482163 h 6375844"/>
              <a:gd name="connsiteX564" fmla="*/ 4151526 w 5291521"/>
              <a:gd name="connsiteY564" fmla="*/ 1500636 h 6375844"/>
              <a:gd name="connsiteX565" fmla="*/ 4150711 w 5291521"/>
              <a:gd name="connsiteY565" fmla="*/ 1499719 h 6375844"/>
              <a:gd name="connsiteX566" fmla="*/ 4128498 w 5291521"/>
              <a:gd name="connsiteY566" fmla="*/ 1514134 h 6375844"/>
              <a:gd name="connsiteX567" fmla="*/ 4096777 w 5291521"/>
              <a:gd name="connsiteY567" fmla="*/ 1553706 h 6375844"/>
              <a:gd name="connsiteX568" fmla="*/ 4059772 w 5291521"/>
              <a:gd name="connsiteY568" fmla="*/ 1573563 h 6375844"/>
              <a:gd name="connsiteX569" fmla="*/ 4052020 w 5291521"/>
              <a:gd name="connsiteY569" fmla="*/ 1563213 h 6375844"/>
              <a:gd name="connsiteX570" fmla="*/ 4033466 w 5291521"/>
              <a:gd name="connsiteY570" fmla="*/ 1605469 h 6375844"/>
              <a:gd name="connsiteX571" fmla="*/ 3978827 w 5291521"/>
              <a:gd name="connsiteY571" fmla="*/ 1652427 h 6375844"/>
              <a:gd name="connsiteX572" fmla="*/ 3859013 w 5291521"/>
              <a:gd name="connsiteY572" fmla="*/ 1744196 h 6375844"/>
              <a:gd name="connsiteX573" fmla="*/ 3827440 w 5291521"/>
              <a:gd name="connsiteY573" fmla="*/ 1775027 h 6375844"/>
              <a:gd name="connsiteX574" fmla="*/ 3812290 w 5291521"/>
              <a:gd name="connsiteY574" fmla="*/ 1811406 h 6375844"/>
              <a:gd name="connsiteX575" fmla="*/ 3724835 w 5291521"/>
              <a:gd name="connsiteY575" fmla="*/ 1884558 h 6375844"/>
              <a:gd name="connsiteX576" fmla="*/ 3718161 w 5291521"/>
              <a:gd name="connsiteY576" fmla="*/ 1868942 h 6375844"/>
              <a:gd name="connsiteX577" fmla="*/ 3435835 w 5291521"/>
              <a:gd name="connsiteY577" fmla="*/ 2116119 h 6375844"/>
              <a:gd name="connsiteX578" fmla="*/ 3434723 w 5291521"/>
              <a:gd name="connsiteY578" fmla="*/ 2084101 h 6375844"/>
              <a:gd name="connsiteX579" fmla="*/ 3359046 w 5291521"/>
              <a:gd name="connsiteY579" fmla="*/ 2164041 h 6375844"/>
              <a:gd name="connsiteX580" fmla="*/ 3262726 w 5291521"/>
              <a:gd name="connsiteY580" fmla="*/ 2194821 h 6375844"/>
              <a:gd name="connsiteX581" fmla="*/ 3241392 w 5291521"/>
              <a:gd name="connsiteY581" fmla="*/ 2245283 h 6375844"/>
              <a:gd name="connsiteX582" fmla="*/ 3253790 w 5291521"/>
              <a:gd name="connsiteY582" fmla="*/ 2254390 h 6375844"/>
              <a:gd name="connsiteX583" fmla="*/ 3751652 w 5291521"/>
              <a:gd name="connsiteY583" fmla="*/ 1910309 h 6375844"/>
              <a:gd name="connsiteX584" fmla="*/ 4038001 w 5291521"/>
              <a:gd name="connsiteY584" fmla="*/ 1681422 h 6375844"/>
              <a:gd name="connsiteX585" fmla="*/ 4034093 w 5291521"/>
              <a:gd name="connsiteY585" fmla="*/ 1676238 h 6375844"/>
              <a:gd name="connsiteX586" fmla="*/ 4034112 w 5291521"/>
              <a:gd name="connsiteY586" fmla="*/ 1676200 h 6375844"/>
              <a:gd name="connsiteX587" fmla="*/ 4034065 w 5291521"/>
              <a:gd name="connsiteY587" fmla="*/ 1676137 h 6375844"/>
              <a:gd name="connsiteX588" fmla="*/ 4043963 w 5291521"/>
              <a:gd name="connsiteY588" fmla="*/ 1655146 h 6375844"/>
              <a:gd name="connsiteX589" fmla="*/ 4047268 w 5291521"/>
              <a:gd name="connsiteY589" fmla="*/ 1651606 h 6375844"/>
              <a:gd name="connsiteX590" fmla="*/ 4048217 w 5291521"/>
              <a:gd name="connsiteY590" fmla="*/ 1649833 h 6375844"/>
              <a:gd name="connsiteX591" fmla="*/ 4050949 w 5291521"/>
              <a:gd name="connsiteY591" fmla="*/ 1647662 h 6375844"/>
              <a:gd name="connsiteX592" fmla="*/ 4058092 w 5291521"/>
              <a:gd name="connsiteY592" fmla="*/ 1640009 h 6375844"/>
              <a:gd name="connsiteX593" fmla="*/ 4063999 w 5291521"/>
              <a:gd name="connsiteY593" fmla="*/ 1637295 h 6375844"/>
              <a:gd name="connsiteX594" fmla="*/ 4069338 w 5291521"/>
              <a:gd name="connsiteY594" fmla="*/ 1633054 h 6375844"/>
              <a:gd name="connsiteX595" fmla="*/ 4090800 w 5291521"/>
              <a:gd name="connsiteY595" fmla="*/ 1624982 h 6375844"/>
              <a:gd name="connsiteX596" fmla="*/ 4095833 w 5291521"/>
              <a:gd name="connsiteY596" fmla="*/ 1622670 h 6375844"/>
              <a:gd name="connsiteX597" fmla="*/ 4116462 w 5291521"/>
              <a:gd name="connsiteY597" fmla="*/ 1618706 h 6375844"/>
              <a:gd name="connsiteX598" fmla="*/ 4128499 w 5291521"/>
              <a:gd name="connsiteY598" fmla="*/ 1609084 h 6375844"/>
              <a:gd name="connsiteX599" fmla="*/ 4141177 w 5291521"/>
              <a:gd name="connsiteY599" fmla="*/ 1578996 h 6375844"/>
              <a:gd name="connsiteX600" fmla="*/ 4165698 w 5291521"/>
              <a:gd name="connsiteY600" fmla="*/ 1546261 h 6375844"/>
              <a:gd name="connsiteX601" fmla="*/ 4175206 w 5291521"/>
              <a:gd name="connsiteY601" fmla="*/ 1537592 h 6375844"/>
              <a:gd name="connsiteX602" fmla="*/ 4180559 w 5291521"/>
              <a:gd name="connsiteY602" fmla="*/ 1531056 h 6375844"/>
              <a:gd name="connsiteX603" fmla="*/ 4230226 w 5291521"/>
              <a:gd name="connsiteY603" fmla="*/ 1487430 h 6375844"/>
              <a:gd name="connsiteX604" fmla="*/ 4230340 w 5291521"/>
              <a:gd name="connsiteY604" fmla="*/ 1487326 h 6375844"/>
              <a:gd name="connsiteX605" fmla="*/ 4230384 w 5291521"/>
              <a:gd name="connsiteY605" fmla="*/ 1487847 h 6375844"/>
              <a:gd name="connsiteX606" fmla="*/ 4232922 w 5291521"/>
              <a:gd name="connsiteY606" fmla="*/ 1517905 h 6375844"/>
              <a:gd name="connsiteX607" fmla="*/ 4232921 w 5291521"/>
              <a:gd name="connsiteY607" fmla="*/ 1517947 h 6375844"/>
              <a:gd name="connsiteX608" fmla="*/ 4232925 w 5291521"/>
              <a:gd name="connsiteY608" fmla="*/ 1518000 h 6375844"/>
              <a:gd name="connsiteX609" fmla="*/ 4228823 w 5291521"/>
              <a:gd name="connsiteY609" fmla="*/ 1537082 h 6375844"/>
              <a:gd name="connsiteX610" fmla="*/ 4238562 w 5291521"/>
              <a:gd name="connsiteY610" fmla="*/ 1552067 h 6375844"/>
              <a:gd name="connsiteX611" fmla="*/ 4254011 w 5291521"/>
              <a:gd name="connsiteY611" fmla="*/ 1573717 h 6375844"/>
              <a:gd name="connsiteX612" fmla="*/ 3540234 w 5291521"/>
              <a:gd name="connsiteY612" fmla="*/ 2115491 h 6375844"/>
              <a:gd name="connsiteX613" fmla="*/ 3542108 w 5291521"/>
              <a:gd name="connsiteY613" fmla="*/ 2117602 h 6375844"/>
              <a:gd name="connsiteX614" fmla="*/ 3594764 w 5291521"/>
              <a:gd name="connsiteY614" fmla="*/ 2083560 h 6375844"/>
              <a:gd name="connsiteX615" fmla="*/ 3623368 w 5291521"/>
              <a:gd name="connsiteY615" fmla="*/ 2063384 h 6375844"/>
              <a:gd name="connsiteX616" fmla="*/ 3963932 w 5291521"/>
              <a:gd name="connsiteY616" fmla="*/ 1810547 h 6375844"/>
              <a:gd name="connsiteX617" fmla="*/ 4007904 w 5291521"/>
              <a:gd name="connsiteY617" fmla="*/ 1788821 h 6375844"/>
              <a:gd name="connsiteX618" fmla="*/ 4000065 w 5291521"/>
              <a:gd name="connsiteY618" fmla="*/ 1808681 h 6375844"/>
              <a:gd name="connsiteX619" fmla="*/ 4020500 w 5291521"/>
              <a:gd name="connsiteY619" fmla="*/ 1794157 h 6375844"/>
              <a:gd name="connsiteX620" fmla="*/ 4559007 w 5291521"/>
              <a:gd name="connsiteY620" fmla="*/ 1341605 h 6375844"/>
              <a:gd name="connsiteX621" fmla="*/ 4606974 w 5291521"/>
              <a:gd name="connsiteY621" fmla="*/ 1279033 h 6375844"/>
              <a:gd name="connsiteX622" fmla="*/ 4643784 w 5291521"/>
              <a:gd name="connsiteY622" fmla="*/ 1211993 h 6375844"/>
              <a:gd name="connsiteX623" fmla="*/ 4654217 w 5291521"/>
              <a:gd name="connsiteY623" fmla="*/ 1278805 h 6375844"/>
              <a:gd name="connsiteX624" fmla="*/ 4711210 w 5291521"/>
              <a:gd name="connsiteY624" fmla="*/ 1268505 h 6375844"/>
              <a:gd name="connsiteX625" fmla="*/ 4651762 w 5291521"/>
              <a:gd name="connsiteY625" fmla="*/ 1306809 h 6375844"/>
              <a:gd name="connsiteX626" fmla="*/ 4658629 w 5291521"/>
              <a:gd name="connsiteY626" fmla="*/ 1369604 h 6375844"/>
              <a:gd name="connsiteX627" fmla="*/ 4730701 w 5291521"/>
              <a:gd name="connsiteY627" fmla="*/ 1424872 h 6375844"/>
              <a:gd name="connsiteX628" fmla="*/ 4744150 w 5291521"/>
              <a:gd name="connsiteY628" fmla="*/ 1391436 h 6375844"/>
              <a:gd name="connsiteX629" fmla="*/ 4756386 w 5291521"/>
              <a:gd name="connsiteY629" fmla="*/ 1390644 h 6375844"/>
              <a:gd name="connsiteX630" fmla="*/ 4762009 w 5291521"/>
              <a:gd name="connsiteY630" fmla="*/ 1448800 h 6375844"/>
              <a:gd name="connsiteX631" fmla="*/ 4720522 w 5291521"/>
              <a:gd name="connsiteY631" fmla="*/ 1479804 h 6375844"/>
              <a:gd name="connsiteX632" fmla="*/ 4692353 w 5291521"/>
              <a:gd name="connsiteY632" fmla="*/ 1504753 h 6375844"/>
              <a:gd name="connsiteX633" fmla="*/ 4639415 w 5291521"/>
              <a:gd name="connsiteY633" fmla="*/ 1548769 h 6375844"/>
              <a:gd name="connsiteX634" fmla="*/ 4620995 w 5291521"/>
              <a:gd name="connsiteY634" fmla="*/ 1563649 h 6375844"/>
              <a:gd name="connsiteX635" fmla="*/ 4630317 w 5291521"/>
              <a:gd name="connsiteY635" fmla="*/ 1598440 h 6375844"/>
              <a:gd name="connsiteX636" fmla="*/ 4604143 w 5291521"/>
              <a:gd name="connsiteY636" fmla="*/ 1602968 h 6375844"/>
              <a:gd name="connsiteX637" fmla="*/ 4587261 w 5291521"/>
              <a:gd name="connsiteY637" fmla="*/ 1605005 h 6375844"/>
              <a:gd name="connsiteX638" fmla="*/ 4466235 w 5291521"/>
              <a:gd name="connsiteY638" fmla="*/ 1729413 h 6375844"/>
              <a:gd name="connsiteX639" fmla="*/ 4865010 w 5291521"/>
              <a:gd name="connsiteY639" fmla="*/ 1257126 h 6375844"/>
              <a:gd name="connsiteX640" fmla="*/ 4846296 w 5291521"/>
              <a:gd name="connsiteY640" fmla="*/ 1289486 h 6375844"/>
              <a:gd name="connsiteX641" fmla="*/ 4794366 w 5291521"/>
              <a:gd name="connsiteY641" fmla="*/ 1430186 h 6375844"/>
              <a:gd name="connsiteX642" fmla="*/ 4781509 w 5291521"/>
              <a:gd name="connsiteY642" fmla="*/ 1428659 h 6375844"/>
              <a:gd name="connsiteX643" fmla="*/ 4758383 w 5291521"/>
              <a:gd name="connsiteY643" fmla="*/ 1370221 h 6375844"/>
              <a:gd name="connsiteX644" fmla="*/ 4799084 w 5291521"/>
              <a:gd name="connsiteY644" fmla="*/ 1326997 h 6375844"/>
              <a:gd name="connsiteX645" fmla="*/ 4813449 w 5291521"/>
              <a:gd name="connsiteY645" fmla="*/ 1278400 h 6375844"/>
              <a:gd name="connsiteX646" fmla="*/ 4773012 w 5291521"/>
              <a:gd name="connsiteY646" fmla="*/ 1266860 h 6375844"/>
              <a:gd name="connsiteX647" fmla="*/ 4818889 w 5291521"/>
              <a:gd name="connsiteY647" fmla="*/ 1112870 h 6375844"/>
              <a:gd name="connsiteX648" fmla="*/ 4755162 w 5291521"/>
              <a:gd name="connsiteY648" fmla="*/ 1032994 h 6375844"/>
              <a:gd name="connsiteX649" fmla="*/ 4830769 w 5291521"/>
              <a:gd name="connsiteY649" fmla="*/ 1054996 h 6375844"/>
              <a:gd name="connsiteX650" fmla="*/ 4931326 w 5291521"/>
              <a:gd name="connsiteY650" fmla="*/ 1281620 h 6375844"/>
              <a:gd name="connsiteX651" fmla="*/ 4914292 w 5291521"/>
              <a:gd name="connsiteY651" fmla="*/ 1097250 h 6375844"/>
              <a:gd name="connsiteX652" fmla="*/ 4975168 w 5291521"/>
              <a:gd name="connsiteY652" fmla="*/ 1287273 h 6375844"/>
              <a:gd name="connsiteX653" fmla="*/ 4957562 w 5291521"/>
              <a:gd name="connsiteY653" fmla="*/ 1351654 h 6375844"/>
              <a:gd name="connsiteX654" fmla="*/ 4918654 w 5291521"/>
              <a:gd name="connsiteY654" fmla="*/ 1503778 h 6375844"/>
              <a:gd name="connsiteX655" fmla="*/ 4932754 w 5291521"/>
              <a:gd name="connsiteY655" fmla="*/ 1509945 h 6375844"/>
              <a:gd name="connsiteX656" fmla="*/ 4965509 w 5291521"/>
              <a:gd name="connsiteY656" fmla="*/ 1409187 h 6375844"/>
              <a:gd name="connsiteX657" fmla="*/ 4981871 w 5291521"/>
              <a:gd name="connsiteY657" fmla="*/ 1340169 h 6375844"/>
              <a:gd name="connsiteX658" fmla="*/ 5022379 w 5291521"/>
              <a:gd name="connsiteY658" fmla="*/ 1249762 h 6375844"/>
              <a:gd name="connsiteX659" fmla="*/ 5032650 w 5291521"/>
              <a:gd name="connsiteY659" fmla="*/ 1306675 h 6375844"/>
              <a:gd name="connsiteX660" fmla="*/ 4964032 w 5291521"/>
              <a:gd name="connsiteY660" fmla="*/ 1496592 h 6375844"/>
              <a:gd name="connsiteX661" fmla="*/ 4689979 w 5291521"/>
              <a:gd name="connsiteY661" fmla="*/ 1821103 h 6375844"/>
              <a:gd name="connsiteX662" fmla="*/ 4177807 w 5291521"/>
              <a:gd name="connsiteY662" fmla="*/ 2279023 h 6375844"/>
              <a:gd name="connsiteX663" fmla="*/ 4068364 w 5291521"/>
              <a:gd name="connsiteY663" fmla="*/ 2363037 h 6375844"/>
              <a:gd name="connsiteX664" fmla="*/ 4074416 w 5291521"/>
              <a:gd name="connsiteY664" fmla="*/ 2376333 h 6375844"/>
              <a:gd name="connsiteX665" fmla="*/ 4208656 w 5291521"/>
              <a:gd name="connsiteY665" fmla="*/ 2310531 h 6375844"/>
              <a:gd name="connsiteX666" fmla="*/ 4312669 w 5291521"/>
              <a:gd name="connsiteY666" fmla="*/ 2215545 h 6375844"/>
              <a:gd name="connsiteX667" fmla="*/ 4513458 w 5291521"/>
              <a:gd name="connsiteY667" fmla="*/ 2082194 h 6375844"/>
              <a:gd name="connsiteX668" fmla="*/ 4606344 w 5291521"/>
              <a:gd name="connsiteY668" fmla="*/ 2020015 h 6375844"/>
              <a:gd name="connsiteX669" fmla="*/ 4630327 w 5291521"/>
              <a:gd name="connsiteY669" fmla="*/ 1988729 h 6375844"/>
              <a:gd name="connsiteX670" fmla="*/ 4638834 w 5291521"/>
              <a:gd name="connsiteY670" fmla="*/ 1974021 h 6375844"/>
              <a:gd name="connsiteX671" fmla="*/ 4756458 w 5291521"/>
              <a:gd name="connsiteY671" fmla="*/ 1855494 h 6375844"/>
              <a:gd name="connsiteX672" fmla="*/ 4864461 w 5291521"/>
              <a:gd name="connsiteY672" fmla="*/ 1719660 h 6375844"/>
              <a:gd name="connsiteX673" fmla="*/ 5152259 w 5291521"/>
              <a:gd name="connsiteY673" fmla="*/ 1344233 h 6375844"/>
              <a:gd name="connsiteX674" fmla="*/ 5171301 w 5291521"/>
              <a:gd name="connsiteY674" fmla="*/ 1331672 h 6375844"/>
              <a:gd name="connsiteX675" fmla="*/ 5170578 w 5291521"/>
              <a:gd name="connsiteY675" fmla="*/ 1394016 h 6375844"/>
              <a:gd name="connsiteX676" fmla="*/ 5075786 w 5291521"/>
              <a:gd name="connsiteY676" fmla="*/ 1588458 h 6375844"/>
              <a:gd name="connsiteX677" fmla="*/ 4970105 w 5291521"/>
              <a:gd name="connsiteY677" fmla="*/ 1723670 h 6375844"/>
              <a:gd name="connsiteX678" fmla="*/ 4945042 w 5291521"/>
              <a:gd name="connsiteY678" fmla="*/ 1760218 h 6375844"/>
              <a:gd name="connsiteX679" fmla="*/ 5063316 w 5291521"/>
              <a:gd name="connsiteY679" fmla="*/ 1681293 h 6375844"/>
              <a:gd name="connsiteX680" fmla="*/ 5072149 w 5291521"/>
              <a:gd name="connsiteY680" fmla="*/ 1686383 h 6375844"/>
              <a:gd name="connsiteX681" fmla="*/ 5045712 w 5291521"/>
              <a:gd name="connsiteY681" fmla="*/ 1745673 h 6375844"/>
              <a:gd name="connsiteX682" fmla="*/ 5107319 w 5291521"/>
              <a:gd name="connsiteY682" fmla="*/ 1696847 h 6375844"/>
              <a:gd name="connsiteX683" fmla="*/ 5116774 w 5291521"/>
              <a:gd name="connsiteY683" fmla="*/ 1704258 h 6375844"/>
              <a:gd name="connsiteX684" fmla="*/ 4991917 w 5291521"/>
              <a:gd name="connsiteY684" fmla="*/ 1879413 h 6375844"/>
              <a:gd name="connsiteX685" fmla="*/ 4407766 w 5291521"/>
              <a:gd name="connsiteY685" fmla="*/ 2393913 h 6375844"/>
              <a:gd name="connsiteX686" fmla="*/ 3986555 w 5291521"/>
              <a:gd name="connsiteY686" fmla="*/ 2708137 h 6375844"/>
              <a:gd name="connsiteX687" fmla="*/ 3535766 w 5291521"/>
              <a:gd name="connsiteY687" fmla="*/ 3032773 h 6375844"/>
              <a:gd name="connsiteX688" fmla="*/ 3106178 w 5291521"/>
              <a:gd name="connsiteY688" fmla="*/ 3334322 h 6375844"/>
              <a:gd name="connsiteX689" fmla="*/ 2571175 w 5291521"/>
              <a:gd name="connsiteY689" fmla="*/ 3716324 h 6375844"/>
              <a:gd name="connsiteX690" fmla="*/ 1930682 w 5291521"/>
              <a:gd name="connsiteY690" fmla="*/ 4280722 h 6375844"/>
              <a:gd name="connsiteX691" fmla="*/ 1914126 w 5291521"/>
              <a:gd name="connsiteY691" fmla="*/ 4302561 h 6375844"/>
              <a:gd name="connsiteX692" fmla="*/ 1953615 w 5291521"/>
              <a:gd name="connsiteY692" fmla="*/ 4291980 h 6375844"/>
              <a:gd name="connsiteX693" fmla="*/ 2030995 w 5291521"/>
              <a:gd name="connsiteY693" fmla="*/ 4209097 h 6375844"/>
              <a:gd name="connsiteX694" fmla="*/ 2052819 w 5291521"/>
              <a:gd name="connsiteY694" fmla="*/ 4188333 h 6375844"/>
              <a:gd name="connsiteX695" fmla="*/ 2345710 w 5291521"/>
              <a:gd name="connsiteY695" fmla="*/ 3980585 h 6375844"/>
              <a:gd name="connsiteX696" fmla="*/ 2398811 w 5291521"/>
              <a:gd name="connsiteY696" fmla="*/ 3946468 h 6375844"/>
              <a:gd name="connsiteX697" fmla="*/ 2370049 w 5291521"/>
              <a:gd name="connsiteY697" fmla="*/ 4006381 h 6375844"/>
              <a:gd name="connsiteX698" fmla="*/ 2540181 w 5291521"/>
              <a:gd name="connsiteY698" fmla="*/ 3888701 h 6375844"/>
              <a:gd name="connsiteX699" fmla="*/ 2851657 w 5291521"/>
              <a:gd name="connsiteY699" fmla="*/ 3675972 h 6375844"/>
              <a:gd name="connsiteX700" fmla="*/ 3483734 w 5291521"/>
              <a:gd name="connsiteY700" fmla="*/ 3238129 h 6375844"/>
              <a:gd name="connsiteX701" fmla="*/ 3538709 w 5291521"/>
              <a:gd name="connsiteY701" fmla="*/ 3198227 h 6375844"/>
              <a:gd name="connsiteX702" fmla="*/ 3588157 w 5291521"/>
              <a:gd name="connsiteY702" fmla="*/ 3159643 h 6375844"/>
              <a:gd name="connsiteX703" fmla="*/ 3530946 w 5291521"/>
              <a:gd name="connsiteY703" fmla="*/ 3191534 h 6375844"/>
              <a:gd name="connsiteX704" fmla="*/ 3493321 w 5291521"/>
              <a:gd name="connsiteY704" fmla="*/ 3209142 h 6375844"/>
              <a:gd name="connsiteX705" fmla="*/ 3580148 w 5291521"/>
              <a:gd name="connsiteY705" fmla="*/ 3105587 h 6375844"/>
              <a:gd name="connsiteX706" fmla="*/ 3593649 w 5291521"/>
              <a:gd name="connsiteY706" fmla="*/ 3109496 h 6375844"/>
              <a:gd name="connsiteX707" fmla="*/ 3592273 w 5291521"/>
              <a:gd name="connsiteY707" fmla="*/ 3159248 h 6375844"/>
              <a:gd name="connsiteX708" fmla="*/ 3823838 w 5291521"/>
              <a:gd name="connsiteY708" fmla="*/ 2992872 h 6375844"/>
              <a:gd name="connsiteX709" fmla="*/ 3858815 w 5291521"/>
              <a:gd name="connsiteY709" fmla="*/ 2956155 h 6375844"/>
              <a:gd name="connsiteX710" fmla="*/ 3966097 w 5291521"/>
              <a:gd name="connsiteY710" fmla="*/ 2882661 h 6375844"/>
              <a:gd name="connsiteX711" fmla="*/ 4217797 w 5291521"/>
              <a:gd name="connsiteY711" fmla="*/ 2688438 h 6375844"/>
              <a:gd name="connsiteX712" fmla="*/ 4338852 w 5291521"/>
              <a:gd name="connsiteY712" fmla="*/ 2601307 h 6375844"/>
              <a:gd name="connsiteX713" fmla="*/ 4779271 w 5291521"/>
              <a:gd name="connsiteY713" fmla="*/ 2284424 h 6375844"/>
              <a:gd name="connsiteX714" fmla="*/ 5150294 w 5291521"/>
              <a:gd name="connsiteY714" fmla="*/ 1968730 h 6375844"/>
              <a:gd name="connsiteX715" fmla="*/ 5170579 w 5291521"/>
              <a:gd name="connsiteY715" fmla="*/ 1960808 h 6375844"/>
              <a:gd name="connsiteX716" fmla="*/ 5074482 w 5291521"/>
              <a:gd name="connsiteY716" fmla="*/ 2076048 h 6375844"/>
              <a:gd name="connsiteX717" fmla="*/ 4814471 w 5291521"/>
              <a:gd name="connsiteY717" fmla="*/ 2332173 h 6375844"/>
              <a:gd name="connsiteX718" fmla="*/ 4786760 w 5291521"/>
              <a:gd name="connsiteY718" fmla="*/ 2349543 h 6375844"/>
              <a:gd name="connsiteX719" fmla="*/ 4712619 w 5291521"/>
              <a:gd name="connsiteY719" fmla="*/ 2416641 h 6375844"/>
              <a:gd name="connsiteX720" fmla="*/ 4675615 w 5291521"/>
              <a:gd name="connsiteY720" fmla="*/ 2436498 h 6375844"/>
              <a:gd name="connsiteX721" fmla="*/ 4667863 w 5291521"/>
              <a:gd name="connsiteY721" fmla="*/ 2426148 h 6375844"/>
              <a:gd name="connsiteX722" fmla="*/ 4649308 w 5291521"/>
              <a:gd name="connsiteY722" fmla="*/ 2468404 h 6375844"/>
              <a:gd name="connsiteX723" fmla="*/ 4594670 w 5291521"/>
              <a:gd name="connsiteY723" fmla="*/ 2515361 h 6375844"/>
              <a:gd name="connsiteX724" fmla="*/ 4474856 w 5291521"/>
              <a:gd name="connsiteY724" fmla="*/ 2607130 h 6375844"/>
              <a:gd name="connsiteX725" fmla="*/ 4443283 w 5291521"/>
              <a:gd name="connsiteY725" fmla="*/ 2637962 h 6375844"/>
              <a:gd name="connsiteX726" fmla="*/ 4428133 w 5291521"/>
              <a:gd name="connsiteY726" fmla="*/ 2674340 h 6375844"/>
              <a:gd name="connsiteX727" fmla="*/ 4340678 w 5291521"/>
              <a:gd name="connsiteY727" fmla="*/ 2747493 h 6375844"/>
              <a:gd name="connsiteX728" fmla="*/ 4334004 w 5291521"/>
              <a:gd name="connsiteY728" fmla="*/ 2731877 h 6375844"/>
              <a:gd name="connsiteX729" fmla="*/ 4051678 w 5291521"/>
              <a:gd name="connsiteY729" fmla="*/ 2979054 h 6375844"/>
              <a:gd name="connsiteX730" fmla="*/ 4050567 w 5291521"/>
              <a:gd name="connsiteY730" fmla="*/ 2947036 h 6375844"/>
              <a:gd name="connsiteX731" fmla="*/ 3974889 w 5291521"/>
              <a:gd name="connsiteY731" fmla="*/ 3026976 h 6375844"/>
              <a:gd name="connsiteX732" fmla="*/ 3878568 w 5291521"/>
              <a:gd name="connsiteY732" fmla="*/ 3057756 h 6375844"/>
              <a:gd name="connsiteX733" fmla="*/ 3857235 w 5291521"/>
              <a:gd name="connsiteY733" fmla="*/ 3108218 h 6375844"/>
              <a:gd name="connsiteX734" fmla="*/ 3869634 w 5291521"/>
              <a:gd name="connsiteY734" fmla="*/ 3117325 h 6375844"/>
              <a:gd name="connsiteX735" fmla="*/ 4841164 w 5291521"/>
              <a:gd name="connsiteY735" fmla="*/ 2394626 h 6375844"/>
              <a:gd name="connsiteX736" fmla="*/ 4869854 w 5291521"/>
              <a:gd name="connsiteY736" fmla="*/ 2436651 h 6375844"/>
              <a:gd name="connsiteX737" fmla="*/ 4156077 w 5291521"/>
              <a:gd name="connsiteY737" fmla="*/ 2978426 h 6375844"/>
              <a:gd name="connsiteX738" fmla="*/ 4159642 w 5291521"/>
              <a:gd name="connsiteY738" fmla="*/ 2982442 h 6375844"/>
              <a:gd name="connsiteX739" fmla="*/ 4239212 w 5291521"/>
              <a:gd name="connsiteY739" fmla="*/ 2926319 h 6375844"/>
              <a:gd name="connsiteX740" fmla="*/ 4579775 w 5291521"/>
              <a:gd name="connsiteY740" fmla="*/ 2673482 h 6375844"/>
              <a:gd name="connsiteX741" fmla="*/ 4623745 w 5291521"/>
              <a:gd name="connsiteY741" fmla="*/ 2651757 h 6375844"/>
              <a:gd name="connsiteX742" fmla="*/ 4553957 w 5291521"/>
              <a:gd name="connsiteY742" fmla="*/ 2735089 h 6375844"/>
              <a:gd name="connsiteX743" fmla="*/ 4421154 w 5291521"/>
              <a:gd name="connsiteY743" fmla="*/ 2852710 h 6375844"/>
              <a:gd name="connsiteX744" fmla="*/ 4296072 w 5291521"/>
              <a:gd name="connsiteY744" fmla="*/ 2943401 h 6375844"/>
              <a:gd name="connsiteX745" fmla="*/ 4219120 w 5291521"/>
              <a:gd name="connsiteY745" fmla="*/ 2981421 h 6375844"/>
              <a:gd name="connsiteX746" fmla="*/ 4151522 w 5291521"/>
              <a:gd name="connsiteY746" fmla="*/ 3091511 h 6375844"/>
              <a:gd name="connsiteX747" fmla="*/ 4087265 w 5291521"/>
              <a:gd name="connsiteY747" fmla="*/ 3121159 h 6375844"/>
              <a:gd name="connsiteX748" fmla="*/ 4102415 w 5291521"/>
              <a:gd name="connsiteY748" fmla="*/ 3084782 h 6375844"/>
              <a:gd name="connsiteX749" fmla="*/ 4025656 w 5291521"/>
              <a:gd name="connsiteY749" fmla="*/ 3169984 h 6375844"/>
              <a:gd name="connsiteX750" fmla="*/ 3957538 w 5291521"/>
              <a:gd name="connsiteY750" fmla="*/ 3213094 h 6375844"/>
              <a:gd name="connsiteX751" fmla="*/ 3889878 w 5291521"/>
              <a:gd name="connsiteY751" fmla="*/ 3248626 h 6375844"/>
              <a:gd name="connsiteX752" fmla="*/ 3704564 w 5291521"/>
              <a:gd name="connsiteY752" fmla="*/ 3365400 h 6375844"/>
              <a:gd name="connsiteX753" fmla="*/ 3764471 w 5291521"/>
              <a:gd name="connsiteY753" fmla="*/ 3319518 h 6375844"/>
              <a:gd name="connsiteX754" fmla="*/ 3586584 w 5291521"/>
              <a:gd name="connsiteY754" fmla="*/ 3426844 h 6375844"/>
              <a:gd name="connsiteX755" fmla="*/ 3647734 w 5291521"/>
              <a:gd name="connsiteY755" fmla="*/ 3385599 h 6375844"/>
              <a:gd name="connsiteX756" fmla="*/ 3433955 w 5291521"/>
              <a:gd name="connsiteY756" fmla="*/ 3544806 h 6375844"/>
              <a:gd name="connsiteX757" fmla="*/ 3476195 w 5291521"/>
              <a:gd name="connsiteY757" fmla="*/ 3488740 h 6375844"/>
              <a:gd name="connsiteX758" fmla="*/ 3217068 w 5291521"/>
              <a:gd name="connsiteY758" fmla="*/ 3692414 h 6375844"/>
              <a:gd name="connsiteX759" fmla="*/ 3051448 w 5291521"/>
              <a:gd name="connsiteY759" fmla="*/ 3836229 h 6375844"/>
              <a:gd name="connsiteX760" fmla="*/ 3035289 w 5291521"/>
              <a:gd name="connsiteY760" fmla="*/ 3775924 h 6375844"/>
              <a:gd name="connsiteX761" fmla="*/ 2860705 w 5291521"/>
              <a:gd name="connsiteY761" fmla="*/ 3942030 h 6375844"/>
              <a:gd name="connsiteX762" fmla="*/ 2576647 w 5291521"/>
              <a:gd name="connsiteY762" fmla="*/ 4154870 h 6375844"/>
              <a:gd name="connsiteX763" fmla="*/ 2565490 w 5291521"/>
              <a:gd name="connsiteY763" fmla="*/ 4150402 h 6375844"/>
              <a:gd name="connsiteX764" fmla="*/ 2578613 w 5291521"/>
              <a:gd name="connsiteY764" fmla="*/ 4097166 h 6375844"/>
              <a:gd name="connsiteX765" fmla="*/ 2468906 w 5291521"/>
              <a:gd name="connsiteY765" fmla="*/ 4235944 h 6375844"/>
              <a:gd name="connsiteX766" fmla="*/ 3156306 w 5291521"/>
              <a:gd name="connsiteY766" fmla="*/ 3828020 h 6375844"/>
              <a:gd name="connsiteX767" fmla="*/ 3128949 w 5291521"/>
              <a:gd name="connsiteY767" fmla="*/ 3902471 h 6375844"/>
              <a:gd name="connsiteX768" fmla="*/ 3002953 w 5291521"/>
              <a:gd name="connsiteY768" fmla="*/ 4008325 h 6375844"/>
              <a:gd name="connsiteX769" fmla="*/ 2980080 w 5291521"/>
              <a:gd name="connsiteY769" fmla="*/ 4071630 h 6375844"/>
              <a:gd name="connsiteX770" fmla="*/ 2944910 w 5291521"/>
              <a:gd name="connsiteY770" fmla="*/ 4061166 h 6375844"/>
              <a:gd name="connsiteX771" fmla="*/ 2814135 w 5291521"/>
              <a:gd name="connsiteY771" fmla="*/ 4195645 h 6375844"/>
              <a:gd name="connsiteX772" fmla="*/ 2823588 w 5291521"/>
              <a:gd name="connsiteY772" fmla="*/ 4203056 h 6375844"/>
              <a:gd name="connsiteX773" fmla="*/ 2791099 w 5291521"/>
              <a:gd name="connsiteY773" fmla="*/ 4249050 h 6375844"/>
              <a:gd name="connsiteX774" fmla="*/ 2758578 w 5291521"/>
              <a:gd name="connsiteY774" fmla="*/ 4257764 h 6375844"/>
              <a:gd name="connsiteX775" fmla="*/ 2586387 w 5291521"/>
              <a:gd name="connsiteY775" fmla="*/ 4321304 h 6375844"/>
              <a:gd name="connsiteX776" fmla="*/ 2396000 w 5291521"/>
              <a:gd name="connsiteY776" fmla="*/ 4484186 h 6375844"/>
              <a:gd name="connsiteX777" fmla="*/ 2390305 w 5291521"/>
              <a:gd name="connsiteY777" fmla="*/ 4527973 h 6375844"/>
              <a:gd name="connsiteX778" fmla="*/ 2400248 w 5291521"/>
              <a:gd name="connsiteY778" fmla="*/ 4565083 h 6375844"/>
              <a:gd name="connsiteX779" fmla="*/ 2367269 w 5291521"/>
              <a:gd name="connsiteY779" fmla="*/ 4581379 h 6375844"/>
              <a:gd name="connsiteX780" fmla="*/ 2363673 w 5291521"/>
              <a:gd name="connsiteY780" fmla="*/ 4540081 h 6375844"/>
              <a:gd name="connsiteX781" fmla="*/ 2259926 w 5291521"/>
              <a:gd name="connsiteY781" fmla="*/ 4580310 h 6375844"/>
              <a:gd name="connsiteX782" fmla="*/ 2197238 w 5291521"/>
              <a:gd name="connsiteY782" fmla="*/ 4634396 h 6375844"/>
              <a:gd name="connsiteX783" fmla="*/ 2085636 w 5291521"/>
              <a:gd name="connsiteY783" fmla="*/ 4728934 h 6375844"/>
              <a:gd name="connsiteX784" fmla="*/ 2076538 w 5291521"/>
              <a:gd name="connsiteY784" fmla="*/ 4778605 h 6375844"/>
              <a:gd name="connsiteX785" fmla="*/ 2085370 w 5291521"/>
              <a:gd name="connsiteY785" fmla="*/ 4783696 h 6375844"/>
              <a:gd name="connsiteX786" fmla="*/ 2009530 w 5291521"/>
              <a:gd name="connsiteY786" fmla="*/ 4853736 h 6375844"/>
              <a:gd name="connsiteX787" fmla="*/ 2038262 w 5291521"/>
              <a:gd name="connsiteY787" fmla="*/ 4756544 h 6375844"/>
              <a:gd name="connsiteX788" fmla="*/ 1972527 w 5291521"/>
              <a:gd name="connsiteY788" fmla="*/ 4873595 h 6375844"/>
              <a:gd name="connsiteX789" fmla="*/ 1938274 w 5291521"/>
              <a:gd name="connsiteY789" fmla="*/ 4847970 h 6375844"/>
              <a:gd name="connsiteX790" fmla="*/ 1900027 w 5291521"/>
              <a:gd name="connsiteY790" fmla="*/ 4863190 h 6375844"/>
              <a:gd name="connsiteX791" fmla="*/ 1899569 w 5291521"/>
              <a:gd name="connsiteY791" fmla="*/ 4870772 h 6375844"/>
              <a:gd name="connsiteX792" fmla="*/ 1931335 w 5291521"/>
              <a:gd name="connsiteY792" fmla="*/ 4887118 h 6375844"/>
              <a:gd name="connsiteX793" fmla="*/ 1946842 w 5291521"/>
              <a:gd name="connsiteY793" fmla="*/ 4907823 h 6375844"/>
              <a:gd name="connsiteX794" fmla="*/ 1930286 w 5291521"/>
              <a:gd name="connsiteY794" fmla="*/ 4929661 h 6375844"/>
              <a:gd name="connsiteX795" fmla="*/ 1888637 w 5291521"/>
              <a:gd name="connsiteY795" fmla="*/ 4950764 h 6375844"/>
              <a:gd name="connsiteX796" fmla="*/ 1867303 w 5291521"/>
              <a:gd name="connsiteY796" fmla="*/ 5001228 h 6375844"/>
              <a:gd name="connsiteX797" fmla="*/ 1835923 w 5291521"/>
              <a:gd name="connsiteY797" fmla="*/ 5079243 h 6375844"/>
              <a:gd name="connsiteX798" fmla="*/ 1823494 w 5291521"/>
              <a:gd name="connsiteY798" fmla="*/ 5032854 h 6375844"/>
              <a:gd name="connsiteX799" fmla="*/ 1805073 w 5291521"/>
              <a:gd name="connsiteY799" fmla="*/ 5047734 h 6375844"/>
              <a:gd name="connsiteX800" fmla="*/ 1821232 w 5291521"/>
              <a:gd name="connsiteY800" fmla="*/ 5108038 h 6375844"/>
              <a:gd name="connsiteX801" fmla="*/ 1798002 w 5291521"/>
              <a:gd name="connsiteY801" fmla="*/ 5114263 h 6375844"/>
              <a:gd name="connsiteX802" fmla="*/ 1782170 w 5291521"/>
              <a:gd name="connsiteY802" fmla="*/ 5073758 h 6375844"/>
              <a:gd name="connsiteX803" fmla="*/ 1741071 w 5291521"/>
              <a:gd name="connsiteY803" fmla="*/ 5199123 h 6375844"/>
              <a:gd name="connsiteX804" fmla="*/ 1625639 w 5291521"/>
              <a:gd name="connsiteY804" fmla="*/ 5344407 h 6375844"/>
              <a:gd name="connsiteX805" fmla="*/ 1621848 w 5291521"/>
              <a:gd name="connsiteY805" fmla="*/ 5255929 h 6375844"/>
              <a:gd name="connsiteX806" fmla="*/ 1616092 w 5291521"/>
              <a:gd name="connsiteY806" fmla="*/ 5225155 h 6375844"/>
              <a:gd name="connsiteX807" fmla="*/ 1566883 w 5291521"/>
              <a:gd name="connsiteY807" fmla="*/ 5283087 h 6375844"/>
              <a:gd name="connsiteX808" fmla="*/ 1555106 w 5291521"/>
              <a:gd name="connsiteY808" fmla="*/ 5276298 h 6375844"/>
              <a:gd name="connsiteX809" fmla="*/ 1636774 w 5291521"/>
              <a:gd name="connsiteY809" fmla="*/ 5135090 h 6375844"/>
              <a:gd name="connsiteX810" fmla="*/ 1630265 w 5291521"/>
              <a:gd name="connsiteY810" fmla="*/ 5129377 h 6375844"/>
              <a:gd name="connsiteX811" fmla="*/ 1549348 w 5291521"/>
              <a:gd name="connsiteY811" fmla="*/ 5245524 h 6375844"/>
              <a:gd name="connsiteX812" fmla="*/ 1479886 w 5291521"/>
              <a:gd name="connsiteY812" fmla="*/ 5348659 h 6375844"/>
              <a:gd name="connsiteX813" fmla="*/ 1545284 w 5291521"/>
              <a:gd name="connsiteY813" fmla="*/ 5388312 h 6375844"/>
              <a:gd name="connsiteX814" fmla="*/ 1574137 w 5291521"/>
              <a:gd name="connsiteY814" fmla="*/ 5440244 h 6375844"/>
              <a:gd name="connsiteX815" fmla="*/ 1592161 w 5291521"/>
              <a:gd name="connsiteY815" fmla="*/ 5507507 h 6375844"/>
              <a:gd name="connsiteX816" fmla="*/ 1552702 w 5291521"/>
              <a:gd name="connsiteY816" fmla="*/ 5555369 h 6375844"/>
              <a:gd name="connsiteX817" fmla="*/ 1522340 w 5291521"/>
              <a:gd name="connsiteY817" fmla="*/ 5553560 h 6375844"/>
              <a:gd name="connsiteX818" fmla="*/ 1507710 w 5291521"/>
              <a:gd name="connsiteY818" fmla="*/ 5656918 h 6375844"/>
              <a:gd name="connsiteX819" fmla="*/ 1448099 w 5291521"/>
              <a:gd name="connsiteY819" fmla="*/ 5685321 h 6375844"/>
              <a:gd name="connsiteX820" fmla="*/ 1489514 w 5291521"/>
              <a:gd name="connsiteY820" fmla="*/ 5756260 h 6375844"/>
              <a:gd name="connsiteX821" fmla="*/ 1529849 w 5291521"/>
              <a:gd name="connsiteY821" fmla="*/ 5832460 h 6375844"/>
              <a:gd name="connsiteX822" fmla="*/ 1518164 w 5291521"/>
              <a:gd name="connsiteY822" fmla="*/ 5937515 h 6375844"/>
              <a:gd name="connsiteX823" fmla="*/ 1526407 w 5291521"/>
              <a:gd name="connsiteY823" fmla="*/ 5977567 h 6375844"/>
              <a:gd name="connsiteX824" fmla="*/ 1540109 w 5291521"/>
              <a:gd name="connsiteY824" fmla="*/ 6065876 h 6375844"/>
              <a:gd name="connsiteX825" fmla="*/ 1468813 w 5291521"/>
              <a:gd name="connsiteY825" fmla="*/ 6199333 h 6375844"/>
              <a:gd name="connsiteX826" fmla="*/ 1454712 w 5291521"/>
              <a:gd name="connsiteY826" fmla="*/ 6193169 h 6375844"/>
              <a:gd name="connsiteX827" fmla="*/ 1460570 w 5291521"/>
              <a:gd name="connsiteY827" fmla="*/ 6159281 h 6375844"/>
              <a:gd name="connsiteX828" fmla="*/ 1430342 w 5291521"/>
              <a:gd name="connsiteY828" fmla="*/ 6130091 h 6375844"/>
              <a:gd name="connsiteX829" fmla="*/ 1407112 w 5291521"/>
              <a:gd name="connsiteY829" fmla="*/ 6136315 h 6375844"/>
              <a:gd name="connsiteX830" fmla="*/ 1388529 w 5291521"/>
              <a:gd name="connsiteY830" fmla="*/ 6141295 h 6375844"/>
              <a:gd name="connsiteX831" fmla="*/ 1377180 w 5291521"/>
              <a:gd name="connsiteY831" fmla="*/ 6089645 h 6375844"/>
              <a:gd name="connsiteX832" fmla="*/ 1381336 w 5291521"/>
              <a:gd name="connsiteY832" fmla="*/ 6058700 h 6375844"/>
              <a:gd name="connsiteX833" fmla="*/ 1338770 w 5291521"/>
              <a:gd name="connsiteY833" fmla="*/ 6094966 h 6375844"/>
              <a:gd name="connsiteX834" fmla="*/ 1301053 w 5291521"/>
              <a:gd name="connsiteY834" fmla="*/ 6000662 h 6375844"/>
              <a:gd name="connsiteX835" fmla="*/ 1289438 w 5291521"/>
              <a:gd name="connsiteY835" fmla="*/ 6003773 h 6375844"/>
              <a:gd name="connsiteX836" fmla="*/ 1320023 w 5291521"/>
              <a:gd name="connsiteY836" fmla="*/ 6090044 h 6375844"/>
              <a:gd name="connsiteX837" fmla="*/ 1265159 w 5291521"/>
              <a:gd name="connsiteY837" fmla="*/ 6052541 h 6375844"/>
              <a:gd name="connsiteX838" fmla="*/ 1268756 w 5291521"/>
              <a:gd name="connsiteY838" fmla="*/ 6093838 h 6375844"/>
              <a:gd name="connsiteX839" fmla="*/ 1264110 w 5291521"/>
              <a:gd name="connsiteY839" fmla="*/ 6095082 h 6375844"/>
              <a:gd name="connsiteX840" fmla="*/ 1228553 w 5291521"/>
              <a:gd name="connsiteY840" fmla="*/ 5990256 h 6375844"/>
              <a:gd name="connsiteX841" fmla="*/ 1219262 w 5291521"/>
              <a:gd name="connsiteY841" fmla="*/ 5992747 h 6375844"/>
              <a:gd name="connsiteX842" fmla="*/ 1245752 w 5291521"/>
              <a:gd name="connsiteY842" fmla="*/ 6184524 h 6375844"/>
              <a:gd name="connsiteX843" fmla="*/ 1251018 w 5291521"/>
              <a:gd name="connsiteY843" fmla="*/ 6185599 h 6375844"/>
              <a:gd name="connsiteX844" fmla="*/ 1253149 w 5291521"/>
              <a:gd name="connsiteY844" fmla="*/ 6137795 h 6375844"/>
              <a:gd name="connsiteX845" fmla="*/ 1300025 w 5291521"/>
              <a:gd name="connsiteY845" fmla="*/ 6256989 h 6375844"/>
              <a:gd name="connsiteX846" fmla="*/ 1309937 w 5291521"/>
              <a:gd name="connsiteY846" fmla="*/ 6256820 h 6375844"/>
              <a:gd name="connsiteX847" fmla="*/ 1303854 w 5291521"/>
              <a:gd name="connsiteY847" fmla="*/ 6206245 h 6375844"/>
              <a:gd name="connsiteX848" fmla="*/ 1308502 w 5291521"/>
              <a:gd name="connsiteY848" fmla="*/ 6205000 h 6375844"/>
              <a:gd name="connsiteX849" fmla="*/ 1375397 w 5291521"/>
              <a:gd name="connsiteY849" fmla="*/ 6371035 h 6375844"/>
              <a:gd name="connsiteX850" fmla="*/ 1366726 w 5291521"/>
              <a:gd name="connsiteY850" fmla="*/ 6375844 h 6375844"/>
              <a:gd name="connsiteX851" fmla="*/ 1256938 w 5291521"/>
              <a:gd name="connsiteY851" fmla="*/ 6226274 h 6375844"/>
              <a:gd name="connsiteX852" fmla="*/ 1056403 w 5291521"/>
              <a:gd name="connsiteY852" fmla="*/ 5914573 h 6375844"/>
              <a:gd name="connsiteX853" fmla="*/ 864934 w 5291521"/>
              <a:gd name="connsiteY853" fmla="*/ 5515920 h 6375844"/>
              <a:gd name="connsiteX854" fmla="*/ 778556 w 5291521"/>
              <a:gd name="connsiteY854" fmla="*/ 5276787 h 6375844"/>
              <a:gd name="connsiteX855" fmla="*/ 772686 w 5291521"/>
              <a:gd name="connsiteY855" fmla="*/ 5278360 h 6375844"/>
              <a:gd name="connsiteX856" fmla="*/ 756325 w 5291521"/>
              <a:gd name="connsiteY856" fmla="*/ 5254466 h 6375844"/>
              <a:gd name="connsiteX857" fmla="*/ 759819 w 5291521"/>
              <a:gd name="connsiteY857" fmla="*/ 5235122 h 6375844"/>
              <a:gd name="connsiteX858" fmla="*/ 752288 w 5291521"/>
              <a:gd name="connsiteY858" fmla="*/ 5207016 h 6375844"/>
              <a:gd name="connsiteX859" fmla="*/ 722927 w 5291521"/>
              <a:gd name="connsiteY859" fmla="*/ 5232031 h 6375844"/>
              <a:gd name="connsiteX860" fmla="*/ 685210 w 5291521"/>
              <a:gd name="connsiteY860" fmla="*/ 5137727 h 6375844"/>
              <a:gd name="connsiteX861" fmla="*/ 673595 w 5291521"/>
              <a:gd name="connsiteY861" fmla="*/ 5140838 h 6375844"/>
              <a:gd name="connsiteX862" fmla="*/ 704181 w 5291521"/>
              <a:gd name="connsiteY862" fmla="*/ 5227109 h 6375844"/>
              <a:gd name="connsiteX863" fmla="*/ 649317 w 5291521"/>
              <a:gd name="connsiteY863" fmla="*/ 5189605 h 6375844"/>
              <a:gd name="connsiteX864" fmla="*/ 652913 w 5291521"/>
              <a:gd name="connsiteY864" fmla="*/ 5230903 h 6375844"/>
              <a:gd name="connsiteX865" fmla="*/ 648268 w 5291521"/>
              <a:gd name="connsiteY865" fmla="*/ 5232147 h 6375844"/>
              <a:gd name="connsiteX866" fmla="*/ 612710 w 5291521"/>
              <a:gd name="connsiteY866" fmla="*/ 5127321 h 6375844"/>
              <a:gd name="connsiteX867" fmla="*/ 603418 w 5291521"/>
              <a:gd name="connsiteY867" fmla="*/ 5129812 h 6375844"/>
              <a:gd name="connsiteX868" fmla="*/ 629909 w 5291521"/>
              <a:gd name="connsiteY868" fmla="*/ 5321589 h 6375844"/>
              <a:gd name="connsiteX869" fmla="*/ 635175 w 5291521"/>
              <a:gd name="connsiteY869" fmla="*/ 5322664 h 6375844"/>
              <a:gd name="connsiteX870" fmla="*/ 637305 w 5291521"/>
              <a:gd name="connsiteY870" fmla="*/ 5274861 h 6375844"/>
              <a:gd name="connsiteX871" fmla="*/ 684181 w 5291521"/>
              <a:gd name="connsiteY871" fmla="*/ 5394055 h 6375844"/>
              <a:gd name="connsiteX872" fmla="*/ 694095 w 5291521"/>
              <a:gd name="connsiteY872" fmla="*/ 5393885 h 6375844"/>
              <a:gd name="connsiteX873" fmla="*/ 688012 w 5291521"/>
              <a:gd name="connsiteY873" fmla="*/ 5343310 h 6375844"/>
              <a:gd name="connsiteX874" fmla="*/ 692658 w 5291521"/>
              <a:gd name="connsiteY874" fmla="*/ 5342065 h 6375844"/>
              <a:gd name="connsiteX875" fmla="*/ 759555 w 5291521"/>
              <a:gd name="connsiteY875" fmla="*/ 5508100 h 6375844"/>
              <a:gd name="connsiteX876" fmla="*/ 750884 w 5291521"/>
              <a:gd name="connsiteY876" fmla="*/ 5512909 h 6375844"/>
              <a:gd name="connsiteX877" fmla="*/ 641095 w 5291521"/>
              <a:gd name="connsiteY877" fmla="*/ 5363338 h 6375844"/>
              <a:gd name="connsiteX878" fmla="*/ 440560 w 5291521"/>
              <a:gd name="connsiteY878" fmla="*/ 5051638 h 6375844"/>
              <a:gd name="connsiteX879" fmla="*/ 249091 w 5291521"/>
              <a:gd name="connsiteY879" fmla="*/ 4652985 h 6375844"/>
              <a:gd name="connsiteX880" fmla="*/ 162308 w 5291521"/>
              <a:gd name="connsiteY880" fmla="*/ 4412728 h 6375844"/>
              <a:gd name="connsiteX881" fmla="*/ 150367 w 5291521"/>
              <a:gd name="connsiteY881" fmla="*/ 4396041 h 6375844"/>
              <a:gd name="connsiteX882" fmla="*/ 78896 w 5291521"/>
              <a:gd name="connsiteY882" fmla="*/ 4129308 h 6375844"/>
              <a:gd name="connsiteX883" fmla="*/ 74679 w 5291521"/>
              <a:gd name="connsiteY883" fmla="*/ 4085691 h 6375844"/>
              <a:gd name="connsiteX884" fmla="*/ 30919 w 5291521"/>
              <a:gd name="connsiteY884" fmla="*/ 3801588 h 6375844"/>
              <a:gd name="connsiteX885" fmla="*/ 2310 w 5291521"/>
              <a:gd name="connsiteY885" fmla="*/ 3481109 h 6375844"/>
              <a:gd name="connsiteX886" fmla="*/ 30369 w 5291521"/>
              <a:gd name="connsiteY886" fmla="*/ 3130533 h 6375844"/>
              <a:gd name="connsiteX887" fmla="*/ 32202 w 5291521"/>
              <a:gd name="connsiteY887" fmla="*/ 3100211 h 6375844"/>
              <a:gd name="connsiteX888" fmla="*/ 30501 w 5291521"/>
              <a:gd name="connsiteY888" fmla="*/ 3103154 h 6375844"/>
              <a:gd name="connsiteX889" fmla="*/ 88320 w 5291521"/>
              <a:gd name="connsiteY889" fmla="*/ 2965852 h 6375844"/>
              <a:gd name="connsiteX890" fmla="*/ 91661 w 5291521"/>
              <a:gd name="connsiteY890" fmla="*/ 2885408 h 6375844"/>
              <a:gd name="connsiteX891" fmla="*/ 123785 w 5291521"/>
              <a:gd name="connsiteY891" fmla="*/ 2958834 h 6375844"/>
              <a:gd name="connsiteX892" fmla="*/ 233431 w 5291521"/>
              <a:gd name="connsiteY892" fmla="*/ 2745498 h 6375844"/>
              <a:gd name="connsiteX893" fmla="*/ 242264 w 5291521"/>
              <a:gd name="connsiteY893" fmla="*/ 2750589 h 6375844"/>
              <a:gd name="connsiteX894" fmla="*/ 223253 w 5291521"/>
              <a:gd name="connsiteY894" fmla="*/ 2800430 h 6375844"/>
              <a:gd name="connsiteX895" fmla="*/ 207186 w 5291521"/>
              <a:gd name="connsiteY895" fmla="*/ 2851965 h 6375844"/>
              <a:gd name="connsiteX896" fmla="*/ 223345 w 5291521"/>
              <a:gd name="connsiteY896" fmla="*/ 2912270 h 6375844"/>
              <a:gd name="connsiteX897" fmla="*/ 408403 w 5291521"/>
              <a:gd name="connsiteY897" fmla="*/ 2673754 h 6375844"/>
              <a:gd name="connsiteX898" fmla="*/ 820098 w 5291521"/>
              <a:gd name="connsiteY898" fmla="*/ 2277556 h 6375844"/>
              <a:gd name="connsiteX899" fmla="*/ 1114395 w 5291521"/>
              <a:gd name="connsiteY899" fmla="*/ 2084342 h 6375844"/>
              <a:gd name="connsiteX900" fmla="*/ 1228350 w 5291521"/>
              <a:gd name="connsiteY900" fmla="*/ 2026465 h 6375844"/>
              <a:gd name="connsiteX901" fmla="*/ 1255573 w 5291521"/>
              <a:gd name="connsiteY901" fmla="*/ 1979396 h 6375844"/>
              <a:gd name="connsiteX902" fmla="*/ 1264376 w 5291521"/>
              <a:gd name="connsiteY902" fmla="*/ 1947206 h 6375844"/>
              <a:gd name="connsiteX903" fmla="*/ 1293524 w 5291521"/>
              <a:gd name="connsiteY903" fmla="*/ 1981656 h 6375844"/>
              <a:gd name="connsiteX904" fmla="*/ 1292251 w 5291521"/>
              <a:gd name="connsiteY904" fmla="*/ 1939738 h 6375844"/>
              <a:gd name="connsiteX905" fmla="*/ 1328959 w 5291521"/>
              <a:gd name="connsiteY905" fmla="*/ 1937359 h 6375844"/>
              <a:gd name="connsiteX906" fmla="*/ 1328470 w 5291521"/>
              <a:gd name="connsiteY906" fmla="*/ 1907659 h 6375844"/>
              <a:gd name="connsiteX907" fmla="*/ 1393644 w 5291521"/>
              <a:gd name="connsiteY907" fmla="*/ 1862850 h 6375844"/>
              <a:gd name="connsiteX908" fmla="*/ 1489934 w 5291521"/>
              <a:gd name="connsiteY908" fmla="*/ 1794788 h 6375844"/>
              <a:gd name="connsiteX909" fmla="*/ 1654177 w 5291521"/>
              <a:gd name="connsiteY909" fmla="*/ 1673715 h 6375844"/>
              <a:gd name="connsiteX910" fmla="*/ 1863637 w 5291521"/>
              <a:gd name="connsiteY910" fmla="*/ 1535554 h 6375844"/>
              <a:gd name="connsiteX911" fmla="*/ 1874956 w 5291521"/>
              <a:gd name="connsiteY911" fmla="*/ 1549923 h 6375844"/>
              <a:gd name="connsiteX912" fmla="*/ 1413175 w 5291521"/>
              <a:gd name="connsiteY912" fmla="*/ 1879990 h 6375844"/>
              <a:gd name="connsiteX913" fmla="*/ 1421549 w 5291521"/>
              <a:gd name="connsiteY913" fmla="*/ 1892662 h 6375844"/>
              <a:gd name="connsiteX914" fmla="*/ 1524808 w 5291521"/>
              <a:gd name="connsiteY914" fmla="*/ 1822734 h 6375844"/>
              <a:gd name="connsiteX915" fmla="*/ 1892297 w 5291521"/>
              <a:gd name="connsiteY915" fmla="*/ 1540304 h 6375844"/>
              <a:gd name="connsiteX916" fmla="*/ 1993690 w 5291521"/>
              <a:gd name="connsiteY916" fmla="*/ 1463418 h 6375844"/>
              <a:gd name="connsiteX917" fmla="*/ 2034881 w 5291521"/>
              <a:gd name="connsiteY917" fmla="*/ 1449895 h 6375844"/>
              <a:gd name="connsiteX918" fmla="*/ 2073881 w 5291521"/>
              <a:gd name="connsiteY918" fmla="*/ 1409613 h 6375844"/>
              <a:gd name="connsiteX919" fmla="*/ 2088867 w 5291521"/>
              <a:gd name="connsiteY919" fmla="*/ 1363337 h 6375844"/>
              <a:gd name="connsiteX920" fmla="*/ 2050000 w 5291521"/>
              <a:gd name="connsiteY920" fmla="*/ 1376237 h 6375844"/>
              <a:gd name="connsiteX921" fmla="*/ 1687126 w 5291521"/>
              <a:gd name="connsiteY921" fmla="*/ 1620139 h 6375844"/>
              <a:gd name="connsiteX922" fmla="*/ 1169758 w 5291521"/>
              <a:gd name="connsiteY922" fmla="*/ 1975045 h 6375844"/>
              <a:gd name="connsiteX923" fmla="*/ 1018370 w 5291521"/>
              <a:gd name="connsiteY923" fmla="*/ 2097643 h 6375844"/>
              <a:gd name="connsiteX924" fmla="*/ 988173 w 5291521"/>
              <a:gd name="connsiteY924" fmla="*/ 2105734 h 6375844"/>
              <a:gd name="connsiteX925" fmla="*/ 1002243 w 5291521"/>
              <a:gd name="connsiteY925" fmla="*/ 2074621 h 6375844"/>
              <a:gd name="connsiteX926" fmla="*/ 1475771 w 5291521"/>
              <a:gd name="connsiteY926" fmla="*/ 1714060 h 6375844"/>
              <a:gd name="connsiteX927" fmla="*/ 1815253 w 5291521"/>
              <a:gd name="connsiteY927" fmla="*/ 1466483 h 6375844"/>
              <a:gd name="connsiteX928" fmla="*/ 2073168 w 5291521"/>
              <a:gd name="connsiteY928" fmla="*/ 1295451 h 6375844"/>
              <a:gd name="connsiteX929" fmla="*/ 2521765 w 5291521"/>
              <a:gd name="connsiteY929" fmla="*/ 944057 h 6375844"/>
              <a:gd name="connsiteX930" fmla="*/ 2658033 w 5291521"/>
              <a:gd name="connsiteY930" fmla="*/ 895114 h 6375844"/>
              <a:gd name="connsiteX931" fmla="*/ 2675078 w 5291521"/>
              <a:gd name="connsiteY931" fmla="*/ 902977 h 6375844"/>
              <a:gd name="connsiteX932" fmla="*/ 2446770 w 5291521"/>
              <a:gd name="connsiteY932" fmla="*/ 1100879 h 6375844"/>
              <a:gd name="connsiteX933" fmla="*/ 2451579 w 5291521"/>
              <a:gd name="connsiteY933" fmla="*/ 1109534 h 6375844"/>
              <a:gd name="connsiteX934" fmla="*/ 2586899 w 5291521"/>
              <a:gd name="connsiteY934" fmla="*/ 1038473 h 6375844"/>
              <a:gd name="connsiteX935" fmla="*/ 2606135 w 5291521"/>
              <a:gd name="connsiteY935" fmla="*/ 1073093 h 6375844"/>
              <a:gd name="connsiteX936" fmla="*/ 2546391 w 5291521"/>
              <a:gd name="connsiteY936" fmla="*/ 1128877 h 6375844"/>
              <a:gd name="connsiteX937" fmla="*/ 2606420 w 5291521"/>
              <a:gd name="connsiteY937" fmla="*/ 1232116 h 6375844"/>
              <a:gd name="connsiteX938" fmla="*/ 2579685 w 5291521"/>
              <a:gd name="connsiteY938" fmla="*/ 1308886 h 6375844"/>
              <a:gd name="connsiteX939" fmla="*/ 2523507 w 5291521"/>
              <a:gd name="connsiteY939" fmla="*/ 1368686 h 6375844"/>
              <a:gd name="connsiteX940" fmla="*/ 2611025 w 5291521"/>
              <a:gd name="connsiteY940" fmla="*/ 1370094 h 6375844"/>
              <a:gd name="connsiteX941" fmla="*/ 2551740 w 5291521"/>
              <a:gd name="connsiteY941" fmla="*/ 1418297 h 6375844"/>
              <a:gd name="connsiteX942" fmla="*/ 2619430 w 5291521"/>
              <a:gd name="connsiteY942" fmla="*/ 1420047 h 6375844"/>
              <a:gd name="connsiteX943" fmla="*/ 2618676 w 5291521"/>
              <a:gd name="connsiteY943" fmla="*/ 1445109 h 6375844"/>
              <a:gd name="connsiteX944" fmla="*/ 2637259 w 5291521"/>
              <a:gd name="connsiteY944" fmla="*/ 1440130 h 6375844"/>
              <a:gd name="connsiteX945" fmla="*/ 3087456 w 5291521"/>
              <a:gd name="connsiteY945" fmla="*/ 1150456 h 6375844"/>
              <a:gd name="connsiteX946" fmla="*/ 3404657 w 5291521"/>
              <a:gd name="connsiteY946" fmla="*/ 931222 h 6375844"/>
              <a:gd name="connsiteX947" fmla="*/ 3943165 w 5291521"/>
              <a:gd name="connsiteY947" fmla="*/ 478670 h 6375844"/>
              <a:gd name="connsiteX948" fmla="*/ 3991131 w 5291521"/>
              <a:gd name="connsiteY948" fmla="*/ 416098 h 6375844"/>
              <a:gd name="connsiteX949" fmla="*/ 4027941 w 5291521"/>
              <a:gd name="connsiteY949" fmla="*/ 349059 h 6375844"/>
              <a:gd name="connsiteX950" fmla="*/ 4038374 w 5291521"/>
              <a:gd name="connsiteY950" fmla="*/ 415870 h 6375844"/>
              <a:gd name="connsiteX951" fmla="*/ 4095367 w 5291521"/>
              <a:gd name="connsiteY951" fmla="*/ 405570 h 6375844"/>
              <a:gd name="connsiteX952" fmla="*/ 4035918 w 5291521"/>
              <a:gd name="connsiteY952" fmla="*/ 443873 h 6375844"/>
              <a:gd name="connsiteX953" fmla="*/ 4042786 w 5291521"/>
              <a:gd name="connsiteY953" fmla="*/ 506669 h 6375844"/>
              <a:gd name="connsiteX954" fmla="*/ 4114858 w 5291521"/>
              <a:gd name="connsiteY954" fmla="*/ 561936 h 6375844"/>
              <a:gd name="connsiteX955" fmla="*/ 4128307 w 5291521"/>
              <a:gd name="connsiteY955" fmla="*/ 528501 h 6375844"/>
              <a:gd name="connsiteX956" fmla="*/ 4140543 w 5291521"/>
              <a:gd name="connsiteY956" fmla="*/ 527709 h 6375844"/>
              <a:gd name="connsiteX957" fmla="*/ 4146166 w 5291521"/>
              <a:gd name="connsiteY957" fmla="*/ 585865 h 6375844"/>
              <a:gd name="connsiteX958" fmla="*/ 4104680 w 5291521"/>
              <a:gd name="connsiteY958" fmla="*/ 616869 h 6375844"/>
              <a:gd name="connsiteX959" fmla="*/ 4076509 w 5291521"/>
              <a:gd name="connsiteY959" fmla="*/ 641818 h 6375844"/>
              <a:gd name="connsiteX960" fmla="*/ 4023572 w 5291521"/>
              <a:gd name="connsiteY960" fmla="*/ 685834 h 6375844"/>
              <a:gd name="connsiteX961" fmla="*/ 4005152 w 5291521"/>
              <a:gd name="connsiteY961" fmla="*/ 700714 h 6375844"/>
              <a:gd name="connsiteX962" fmla="*/ 4014474 w 5291521"/>
              <a:gd name="connsiteY962" fmla="*/ 735505 h 6375844"/>
              <a:gd name="connsiteX963" fmla="*/ 3988300 w 5291521"/>
              <a:gd name="connsiteY963" fmla="*/ 740033 h 6375844"/>
              <a:gd name="connsiteX964" fmla="*/ 3971418 w 5291521"/>
              <a:gd name="connsiteY964" fmla="*/ 742070 h 6375844"/>
              <a:gd name="connsiteX965" fmla="*/ 3850393 w 5291521"/>
              <a:gd name="connsiteY965" fmla="*/ 866478 h 6375844"/>
              <a:gd name="connsiteX966" fmla="*/ 4249168 w 5291521"/>
              <a:gd name="connsiteY966" fmla="*/ 394191 h 6375844"/>
              <a:gd name="connsiteX967" fmla="*/ 4230453 w 5291521"/>
              <a:gd name="connsiteY967" fmla="*/ 426551 h 6375844"/>
              <a:gd name="connsiteX968" fmla="*/ 4178524 w 5291521"/>
              <a:gd name="connsiteY968" fmla="*/ 567251 h 6375844"/>
              <a:gd name="connsiteX969" fmla="*/ 4165667 w 5291521"/>
              <a:gd name="connsiteY969" fmla="*/ 565724 h 6375844"/>
              <a:gd name="connsiteX970" fmla="*/ 4142540 w 5291521"/>
              <a:gd name="connsiteY970" fmla="*/ 507286 h 6375844"/>
              <a:gd name="connsiteX971" fmla="*/ 4183241 w 5291521"/>
              <a:gd name="connsiteY971" fmla="*/ 464062 h 6375844"/>
              <a:gd name="connsiteX972" fmla="*/ 4197606 w 5291521"/>
              <a:gd name="connsiteY972" fmla="*/ 415465 h 6375844"/>
              <a:gd name="connsiteX973" fmla="*/ 4157169 w 5291521"/>
              <a:gd name="connsiteY973" fmla="*/ 403926 h 6375844"/>
              <a:gd name="connsiteX974" fmla="*/ 4203046 w 5291521"/>
              <a:gd name="connsiteY974" fmla="*/ 249935 h 6375844"/>
              <a:gd name="connsiteX975" fmla="*/ 4139318 w 5291521"/>
              <a:gd name="connsiteY975" fmla="*/ 170059 h 6375844"/>
              <a:gd name="connsiteX976" fmla="*/ 4203547 w 5291521"/>
              <a:gd name="connsiteY976" fmla="*/ 138198 h 6375844"/>
              <a:gd name="connsiteX977" fmla="*/ 4292341 w 5291521"/>
              <a:gd name="connsiteY977" fmla="*/ 211298 h 6375844"/>
              <a:gd name="connsiteX978" fmla="*/ 4292340 w 5291521"/>
              <a:gd name="connsiteY978" fmla="*/ 211300 h 6375844"/>
              <a:gd name="connsiteX979" fmla="*/ 4292342 w 5291521"/>
              <a:gd name="connsiteY979" fmla="*/ 211302 h 6375844"/>
              <a:gd name="connsiteX980" fmla="*/ 4286665 w 5291521"/>
              <a:gd name="connsiteY980" fmla="*/ 217792 h 6375844"/>
              <a:gd name="connsiteX981" fmla="*/ 4196807 w 5291521"/>
              <a:gd name="connsiteY981" fmla="*/ 149945 h 6375844"/>
              <a:gd name="connsiteX982" fmla="*/ 4196809 w 5291521"/>
              <a:gd name="connsiteY982" fmla="*/ 149942 h 6375844"/>
              <a:gd name="connsiteX983" fmla="*/ 4196807 w 5291521"/>
              <a:gd name="connsiteY983" fmla="*/ 149940 h 6375844"/>
              <a:gd name="connsiteX984" fmla="*/ 4203547 w 5291521"/>
              <a:gd name="connsiteY984" fmla="*/ 138198 h 6375844"/>
              <a:gd name="connsiteX985" fmla="*/ 3576774 w 5291521"/>
              <a:gd name="connsiteY985" fmla="*/ 20090 h 6375844"/>
              <a:gd name="connsiteX986" fmla="*/ 3780714 w 5291521"/>
              <a:gd name="connsiteY986" fmla="*/ 64904 h 6375844"/>
              <a:gd name="connsiteX987" fmla="*/ 3791260 w 5291521"/>
              <a:gd name="connsiteY987" fmla="*/ 67052 h 6375844"/>
              <a:gd name="connsiteX988" fmla="*/ 3901253 w 5291521"/>
              <a:gd name="connsiteY988" fmla="*/ 151959 h 6375844"/>
              <a:gd name="connsiteX989" fmla="*/ 3910457 w 5291521"/>
              <a:gd name="connsiteY989" fmla="*/ 164217 h 6375844"/>
              <a:gd name="connsiteX990" fmla="*/ 3910471 w 5291521"/>
              <a:gd name="connsiteY990" fmla="*/ 164317 h 6375844"/>
              <a:gd name="connsiteX991" fmla="*/ 3910514 w 5291521"/>
              <a:gd name="connsiteY991" fmla="*/ 164374 h 6375844"/>
              <a:gd name="connsiteX992" fmla="*/ 3910487 w 5291521"/>
              <a:gd name="connsiteY992" fmla="*/ 186362 h 6375844"/>
              <a:gd name="connsiteX993" fmla="*/ 3910792 w 5291521"/>
              <a:gd name="connsiteY993" fmla="*/ 196768 h 6375844"/>
              <a:gd name="connsiteX994" fmla="*/ 3921317 w 5291521"/>
              <a:gd name="connsiteY994" fmla="*/ 217681 h 6375844"/>
              <a:gd name="connsiteX995" fmla="*/ 3972952 w 5291521"/>
              <a:gd name="connsiteY995" fmla="*/ 252100 h 6375844"/>
              <a:gd name="connsiteX996" fmla="*/ 3996212 w 5291521"/>
              <a:gd name="connsiteY996" fmla="*/ 281923 h 6375844"/>
              <a:gd name="connsiteX997" fmla="*/ 3996217 w 5291521"/>
              <a:gd name="connsiteY997" fmla="*/ 281984 h 6375844"/>
              <a:gd name="connsiteX998" fmla="*/ 3996240 w 5291521"/>
              <a:gd name="connsiteY998" fmla="*/ 282031 h 6375844"/>
              <a:gd name="connsiteX999" fmla="*/ 3993335 w 5291521"/>
              <a:gd name="connsiteY999" fmla="*/ 318848 h 6375844"/>
              <a:gd name="connsiteX1000" fmla="*/ 3845393 w 5291521"/>
              <a:gd name="connsiteY1000" fmla="*/ 520049 h 6375844"/>
              <a:gd name="connsiteX1001" fmla="*/ 3786364 w 5291521"/>
              <a:gd name="connsiteY1001" fmla="*/ 588063 h 6375844"/>
              <a:gd name="connsiteX1002" fmla="*/ 3726393 w 5291521"/>
              <a:gd name="connsiteY1002" fmla="*/ 633959 h 6375844"/>
              <a:gd name="connsiteX1003" fmla="*/ 3726388 w 5291521"/>
              <a:gd name="connsiteY1003" fmla="*/ 633929 h 6375844"/>
              <a:gd name="connsiteX1004" fmla="*/ 3726310 w 5291521"/>
              <a:gd name="connsiteY1004" fmla="*/ 633978 h 6375844"/>
              <a:gd name="connsiteX1005" fmla="*/ 3753413 w 5291521"/>
              <a:gd name="connsiteY1005" fmla="*/ 576984 h 6375844"/>
              <a:gd name="connsiteX1006" fmla="*/ 3796335 w 5291521"/>
              <a:gd name="connsiteY1006" fmla="*/ 523212 h 6375844"/>
              <a:gd name="connsiteX1007" fmla="*/ 3846234 w 5291521"/>
              <a:gd name="connsiteY1007" fmla="*/ 467571 h 6375844"/>
              <a:gd name="connsiteX1008" fmla="*/ 3869929 w 5291521"/>
              <a:gd name="connsiteY1008" fmla="*/ 416464 h 6375844"/>
              <a:gd name="connsiteX1009" fmla="*/ 3915782 w 5291521"/>
              <a:gd name="connsiteY1009" fmla="*/ 364409 h 6375844"/>
              <a:gd name="connsiteX1010" fmla="*/ 3896728 w 5291521"/>
              <a:gd name="connsiteY1010" fmla="*/ 346598 h 6375844"/>
              <a:gd name="connsiteX1011" fmla="*/ 3873192 w 5291521"/>
              <a:gd name="connsiteY1011" fmla="*/ 326185 h 6375844"/>
              <a:gd name="connsiteX1012" fmla="*/ 3849039 w 5291521"/>
              <a:gd name="connsiteY1012" fmla="*/ 384853 h 6375844"/>
              <a:gd name="connsiteX1013" fmla="*/ 3815546 w 5291521"/>
              <a:gd name="connsiteY1013" fmla="*/ 371458 h 6375844"/>
              <a:gd name="connsiteX1014" fmla="*/ 3798348 w 5291521"/>
              <a:gd name="connsiteY1014" fmla="*/ 390979 h 6375844"/>
              <a:gd name="connsiteX1015" fmla="*/ 3788887 w 5291521"/>
              <a:gd name="connsiteY1015" fmla="*/ 383572 h 6375844"/>
              <a:gd name="connsiteX1016" fmla="*/ 3788894 w 5291521"/>
              <a:gd name="connsiteY1016" fmla="*/ 383562 h 6375844"/>
              <a:gd name="connsiteX1017" fmla="*/ 3788810 w 5291521"/>
              <a:gd name="connsiteY1017" fmla="*/ 383497 h 6375844"/>
              <a:gd name="connsiteX1018" fmla="*/ 3798259 w 5291521"/>
              <a:gd name="connsiteY1018" fmla="*/ 367599 h 6375844"/>
              <a:gd name="connsiteX1019" fmla="*/ 3813222 w 5291521"/>
              <a:gd name="connsiteY1019" fmla="*/ 344712 h 6375844"/>
              <a:gd name="connsiteX1020" fmla="*/ 3782744 w 5291521"/>
              <a:gd name="connsiteY1020" fmla="*/ 346693 h 6375844"/>
              <a:gd name="connsiteX1021" fmla="*/ 3760966 w 5291521"/>
              <a:gd name="connsiteY1021" fmla="*/ 353770 h 6375844"/>
              <a:gd name="connsiteX1022" fmla="*/ 3720238 w 5291521"/>
              <a:gd name="connsiteY1022" fmla="*/ 434279 h 6375844"/>
              <a:gd name="connsiteX1023" fmla="*/ 3621662 w 5291521"/>
              <a:gd name="connsiteY1023" fmla="*/ 475604 h 6375844"/>
              <a:gd name="connsiteX1024" fmla="*/ 3621588 w 5291521"/>
              <a:gd name="connsiteY1024" fmla="*/ 475540 h 6375844"/>
              <a:gd name="connsiteX1025" fmla="*/ 3621545 w 5291521"/>
              <a:gd name="connsiteY1025" fmla="*/ 475558 h 6375844"/>
              <a:gd name="connsiteX1026" fmla="*/ 3615029 w 5291521"/>
              <a:gd name="connsiteY1026" fmla="*/ 469845 h 6375844"/>
              <a:gd name="connsiteX1027" fmla="*/ 3641833 w 5291521"/>
              <a:gd name="connsiteY1027" fmla="*/ 430338 h 6375844"/>
              <a:gd name="connsiteX1028" fmla="*/ 3729404 w 5291521"/>
              <a:gd name="connsiteY1028" fmla="*/ 357144 h 6375844"/>
              <a:gd name="connsiteX1029" fmla="*/ 3739467 w 5291521"/>
              <a:gd name="connsiteY1029" fmla="*/ 329583 h 6375844"/>
              <a:gd name="connsiteX1030" fmla="*/ 3787501 w 5291521"/>
              <a:gd name="connsiteY1030" fmla="*/ 266980 h 6375844"/>
              <a:gd name="connsiteX1031" fmla="*/ 3800496 w 5291521"/>
              <a:gd name="connsiteY1031" fmla="*/ 175338 h 6375844"/>
              <a:gd name="connsiteX1032" fmla="*/ 3791200 w 5291521"/>
              <a:gd name="connsiteY1032" fmla="*/ 147040 h 6375844"/>
              <a:gd name="connsiteX1033" fmla="*/ 3756861 w 5291521"/>
              <a:gd name="connsiteY1033" fmla="*/ 98824 h 6375844"/>
              <a:gd name="connsiteX1034" fmla="*/ 3706706 w 5291521"/>
              <a:gd name="connsiteY1034" fmla="*/ 67563 h 6375844"/>
              <a:gd name="connsiteX1035" fmla="*/ 3621445 w 5291521"/>
              <a:gd name="connsiteY1035" fmla="*/ 43493 h 6375844"/>
              <a:gd name="connsiteX1036" fmla="*/ 3540575 w 5291521"/>
              <a:gd name="connsiteY1036" fmla="*/ 23063 h 6375844"/>
              <a:gd name="connsiteX1037" fmla="*/ 3541013 w 5291521"/>
              <a:gd name="connsiteY1037" fmla="*/ 22985 h 6375844"/>
              <a:gd name="connsiteX1038" fmla="*/ 3540770 w 5291521"/>
              <a:gd name="connsiteY1038" fmla="*/ 22924 h 6375844"/>
              <a:gd name="connsiteX1039" fmla="*/ 3555317 w 5291521"/>
              <a:gd name="connsiteY1039" fmla="*/ 20245 h 6375844"/>
              <a:gd name="connsiteX1040" fmla="*/ 3576774 w 5291521"/>
              <a:gd name="connsiteY1040" fmla="*/ 20090 h 6375844"/>
              <a:gd name="connsiteX1041" fmla="*/ 3399550 w 5291521"/>
              <a:gd name="connsiteY1041" fmla="*/ 648 h 6375844"/>
              <a:gd name="connsiteX1042" fmla="*/ 3519107 w 5291521"/>
              <a:gd name="connsiteY1042" fmla="*/ 10671 h 6375844"/>
              <a:gd name="connsiteX1043" fmla="*/ 3519374 w 5291521"/>
              <a:gd name="connsiteY1043" fmla="*/ 10817 h 6375844"/>
              <a:gd name="connsiteX1044" fmla="*/ 3519554 w 5291521"/>
              <a:gd name="connsiteY1044" fmla="*/ 10832 h 6375844"/>
              <a:gd name="connsiteX1045" fmla="*/ 3526843 w 5291521"/>
              <a:gd name="connsiteY1045" fmla="*/ 14781 h 6375844"/>
              <a:gd name="connsiteX1046" fmla="*/ 3533030 w 5291521"/>
              <a:gd name="connsiteY1046" fmla="*/ 21312 h 6375844"/>
              <a:gd name="connsiteX1047" fmla="*/ 3534419 w 5291521"/>
              <a:gd name="connsiteY1047" fmla="*/ 21413 h 6375844"/>
              <a:gd name="connsiteX1048" fmla="*/ 3534348 w 5291521"/>
              <a:gd name="connsiteY1048" fmla="*/ 21589 h 6375844"/>
              <a:gd name="connsiteX1049" fmla="*/ 3534632 w 5291521"/>
              <a:gd name="connsiteY1049" fmla="*/ 21610 h 6375844"/>
              <a:gd name="connsiteX1050" fmla="*/ 3534751 w 5291521"/>
              <a:gd name="connsiteY1050" fmla="*/ 21403 h 6375844"/>
              <a:gd name="connsiteX1051" fmla="*/ 3540770 w 5291521"/>
              <a:gd name="connsiteY1051" fmla="*/ 22924 h 6375844"/>
              <a:gd name="connsiteX1052" fmla="*/ 3540340 w 5291521"/>
              <a:gd name="connsiteY1052" fmla="*/ 23003 h 6375844"/>
              <a:gd name="connsiteX1053" fmla="*/ 3540575 w 5291521"/>
              <a:gd name="connsiteY1053" fmla="*/ 23063 h 6375844"/>
              <a:gd name="connsiteX1054" fmla="*/ 3535529 w 5291521"/>
              <a:gd name="connsiteY1054" fmla="*/ 23950 h 6375844"/>
              <a:gd name="connsiteX1055" fmla="*/ 3535481 w 5291521"/>
              <a:gd name="connsiteY1055" fmla="*/ 23898 h 6375844"/>
              <a:gd name="connsiteX1056" fmla="*/ 3533048 w 5291521"/>
              <a:gd name="connsiteY1056" fmla="*/ 24346 h 6375844"/>
              <a:gd name="connsiteX1057" fmla="*/ 3533917 w 5291521"/>
              <a:gd name="connsiteY1057" fmla="*/ 22847 h 6375844"/>
              <a:gd name="connsiteX1058" fmla="*/ 3533858 w 5291521"/>
              <a:gd name="connsiteY1058" fmla="*/ 22801 h 6375844"/>
              <a:gd name="connsiteX1059" fmla="*/ 3533949 w 5291521"/>
              <a:gd name="connsiteY1059" fmla="*/ 22577 h 6375844"/>
              <a:gd name="connsiteX1060" fmla="*/ 3534026 w 5291521"/>
              <a:gd name="connsiteY1060" fmla="*/ 22656 h 6375844"/>
              <a:gd name="connsiteX1061" fmla="*/ 3534132 w 5291521"/>
              <a:gd name="connsiteY1061" fmla="*/ 22475 h 6375844"/>
              <a:gd name="connsiteX1062" fmla="*/ 3534033 w 5291521"/>
              <a:gd name="connsiteY1062" fmla="*/ 22370 h 6375844"/>
              <a:gd name="connsiteX1063" fmla="*/ 3533949 w 5291521"/>
              <a:gd name="connsiteY1063" fmla="*/ 22577 h 6375844"/>
              <a:gd name="connsiteX1064" fmla="*/ 3532911 w 5291521"/>
              <a:gd name="connsiteY1064" fmla="*/ 21483 h 6375844"/>
              <a:gd name="connsiteX1065" fmla="*/ 3331501 w 5291521"/>
              <a:gd name="connsiteY1065" fmla="*/ 6539 h 6375844"/>
              <a:gd name="connsiteX1066" fmla="*/ 3331507 w 5291521"/>
              <a:gd name="connsiteY1066" fmla="*/ 6513 h 6375844"/>
              <a:gd name="connsiteX1067" fmla="*/ 3331495 w 5291521"/>
              <a:gd name="connsiteY1067" fmla="*/ 6513 h 6375844"/>
              <a:gd name="connsiteX1068" fmla="*/ 3332578 w 5291521"/>
              <a:gd name="connsiteY1068" fmla="*/ 1274 h 6375844"/>
              <a:gd name="connsiteX1069" fmla="*/ 3399550 w 5291521"/>
              <a:gd name="connsiteY1069" fmla="*/ 648 h 637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Lst>
            <a:rect l="l" t="t" r="r" b="b"/>
            <a:pathLst>
              <a:path w="5291521" h="6375844">
                <a:moveTo>
                  <a:pt x="1739407" y="5371210"/>
                </a:moveTo>
                <a:cubicBezTo>
                  <a:pt x="1720961" y="5413451"/>
                  <a:pt x="1702964" y="5448113"/>
                  <a:pt x="1685589" y="5485095"/>
                </a:cubicBezTo>
                <a:cubicBezTo>
                  <a:pt x="1654815" y="5453556"/>
                  <a:pt x="1683415" y="5393672"/>
                  <a:pt x="1739407" y="5371210"/>
                </a:cubicBezTo>
                <a:close/>
                <a:moveTo>
                  <a:pt x="1543779" y="5270235"/>
                </a:moveTo>
                <a:cubicBezTo>
                  <a:pt x="1569764" y="5310563"/>
                  <a:pt x="1542061" y="5320475"/>
                  <a:pt x="1522189" y="5340732"/>
                </a:cubicBezTo>
                <a:cubicBezTo>
                  <a:pt x="1500431" y="5306739"/>
                  <a:pt x="1535838" y="5297252"/>
                  <a:pt x="1543779" y="5270235"/>
                </a:cubicBezTo>
                <a:close/>
                <a:moveTo>
                  <a:pt x="1855751" y="5143501"/>
                </a:moveTo>
                <a:cubicBezTo>
                  <a:pt x="1850726" y="5189648"/>
                  <a:pt x="1822007" y="5212278"/>
                  <a:pt x="1786163" y="5226860"/>
                </a:cubicBezTo>
                <a:cubicBezTo>
                  <a:pt x="1782600" y="5222836"/>
                  <a:pt x="1776719" y="5219434"/>
                  <a:pt x="1773158" y="5215412"/>
                </a:cubicBezTo>
                <a:cubicBezTo>
                  <a:pt x="1801254" y="5190461"/>
                  <a:pt x="1827033" y="5166130"/>
                  <a:pt x="1855751" y="5143501"/>
                </a:cubicBezTo>
                <a:close/>
                <a:moveTo>
                  <a:pt x="2170765" y="4691191"/>
                </a:moveTo>
                <a:cubicBezTo>
                  <a:pt x="2183429" y="4747857"/>
                  <a:pt x="2128733" y="4760012"/>
                  <a:pt x="2105053" y="4793884"/>
                </a:cubicBezTo>
                <a:cubicBezTo>
                  <a:pt x="2090967" y="4760121"/>
                  <a:pt x="2117472" y="4717984"/>
                  <a:pt x="2170765" y="4691191"/>
                </a:cubicBezTo>
                <a:close/>
                <a:moveTo>
                  <a:pt x="2282008" y="4614728"/>
                </a:moveTo>
                <a:cubicBezTo>
                  <a:pt x="2282628" y="4617038"/>
                  <a:pt x="2283247" y="4619348"/>
                  <a:pt x="2286186" y="4621038"/>
                </a:cubicBezTo>
                <a:cubicBezTo>
                  <a:pt x="2254653" y="4651777"/>
                  <a:pt x="2224821" y="4679584"/>
                  <a:pt x="2193290" y="4710322"/>
                </a:cubicBezTo>
                <a:cubicBezTo>
                  <a:pt x="2175041" y="4697875"/>
                  <a:pt x="2169627" y="4686943"/>
                  <a:pt x="2192040" y="4668554"/>
                </a:cubicBezTo>
                <a:cubicBezTo>
                  <a:pt x="2211053" y="4656029"/>
                  <a:pt x="2226510" y="4639504"/>
                  <a:pt x="2245524" y="4626980"/>
                </a:cubicBezTo>
                <a:cubicBezTo>
                  <a:pt x="2250702" y="4623116"/>
                  <a:pt x="2256925" y="4620830"/>
                  <a:pt x="2263302" y="4619121"/>
                </a:cubicBezTo>
                <a:cubicBezTo>
                  <a:pt x="2269679" y="4617412"/>
                  <a:pt x="2276212" y="4616281"/>
                  <a:pt x="2282008" y="4614728"/>
                </a:cubicBezTo>
                <a:close/>
                <a:moveTo>
                  <a:pt x="2647124" y="4380379"/>
                </a:moveTo>
                <a:cubicBezTo>
                  <a:pt x="2623724" y="4403847"/>
                  <a:pt x="2606019" y="4420874"/>
                  <a:pt x="2586007" y="4438520"/>
                </a:cubicBezTo>
                <a:cubicBezTo>
                  <a:pt x="2584281" y="4429769"/>
                  <a:pt x="2583949" y="4422181"/>
                  <a:pt x="2585243" y="4415616"/>
                </a:cubicBezTo>
                <a:lnTo>
                  <a:pt x="2588157" y="4410188"/>
                </a:lnTo>
                <a:lnTo>
                  <a:pt x="2588435" y="4406518"/>
                </a:lnTo>
                <a:lnTo>
                  <a:pt x="2591233" y="4404455"/>
                </a:lnTo>
                <a:lnTo>
                  <a:pt x="2594242" y="4398849"/>
                </a:lnTo>
                <a:cubicBezTo>
                  <a:pt x="2599023" y="4394189"/>
                  <a:pt x="2605667" y="4390413"/>
                  <a:pt x="2614401" y="4387381"/>
                </a:cubicBezTo>
                <a:cubicBezTo>
                  <a:pt x="2623138" y="4384349"/>
                  <a:pt x="2633967" y="4382062"/>
                  <a:pt x="2647124" y="4380379"/>
                </a:cubicBezTo>
                <a:close/>
                <a:moveTo>
                  <a:pt x="2590130" y="4360717"/>
                </a:moveTo>
                <a:cubicBezTo>
                  <a:pt x="2593079" y="4362408"/>
                  <a:pt x="2593698" y="4364720"/>
                  <a:pt x="2596645" y="4366410"/>
                </a:cubicBezTo>
                <a:cubicBezTo>
                  <a:pt x="2591523" y="4375221"/>
                  <a:pt x="2588728" y="4383408"/>
                  <a:pt x="2581279" y="4392842"/>
                </a:cubicBezTo>
                <a:cubicBezTo>
                  <a:pt x="2572122" y="4405214"/>
                  <a:pt x="2554744" y="4414829"/>
                  <a:pt x="2570252" y="4435468"/>
                </a:cubicBezTo>
                <a:cubicBezTo>
                  <a:pt x="2573198" y="4437157"/>
                  <a:pt x="2560626" y="4455403"/>
                  <a:pt x="2551939" y="4460210"/>
                </a:cubicBezTo>
                <a:cubicBezTo>
                  <a:pt x="2537507" y="4471515"/>
                  <a:pt x="2522456" y="4480507"/>
                  <a:pt x="2508025" y="4491811"/>
                </a:cubicBezTo>
                <a:cubicBezTo>
                  <a:pt x="2504459" y="4487808"/>
                  <a:pt x="2500271" y="4481492"/>
                  <a:pt x="2498412" y="4474553"/>
                </a:cubicBezTo>
                <a:cubicBezTo>
                  <a:pt x="2468006" y="4472782"/>
                  <a:pt x="2470159" y="4536669"/>
                  <a:pt x="2418819" y="4503317"/>
                </a:cubicBezTo>
                <a:cubicBezTo>
                  <a:pt x="2478250" y="4455160"/>
                  <a:pt x="2533027" y="4408252"/>
                  <a:pt x="2590130" y="4360717"/>
                </a:cubicBezTo>
                <a:close/>
                <a:moveTo>
                  <a:pt x="2652764" y="4306596"/>
                </a:moveTo>
                <a:cubicBezTo>
                  <a:pt x="2656846" y="4306075"/>
                  <a:pt x="2661561" y="4306248"/>
                  <a:pt x="2667078" y="4307255"/>
                </a:cubicBezTo>
                <a:cubicBezTo>
                  <a:pt x="2666380" y="4332298"/>
                  <a:pt x="2647068" y="4352385"/>
                  <a:pt x="2602853" y="4371689"/>
                </a:cubicBezTo>
                <a:lnTo>
                  <a:pt x="2617813" y="4349576"/>
                </a:lnTo>
                <a:lnTo>
                  <a:pt x="2626049" y="4331585"/>
                </a:lnTo>
                <a:lnTo>
                  <a:pt x="2626628" y="4330645"/>
                </a:lnTo>
                <a:lnTo>
                  <a:pt x="2628645" y="4326253"/>
                </a:lnTo>
                <a:lnTo>
                  <a:pt x="2631170" y="4323256"/>
                </a:lnTo>
                <a:lnTo>
                  <a:pt x="2636273" y="4314958"/>
                </a:lnTo>
                <a:lnTo>
                  <a:pt x="2639577" y="4313282"/>
                </a:lnTo>
                <a:lnTo>
                  <a:pt x="2642259" y="4310100"/>
                </a:lnTo>
                <a:close/>
                <a:moveTo>
                  <a:pt x="2803958" y="4285884"/>
                </a:moveTo>
                <a:cubicBezTo>
                  <a:pt x="2770228" y="4309629"/>
                  <a:pt x="2742289" y="4326921"/>
                  <a:pt x="2709672" y="4345465"/>
                </a:cubicBezTo>
                <a:cubicBezTo>
                  <a:pt x="2710348" y="4337471"/>
                  <a:pt x="2712024" y="4330242"/>
                  <a:pt x="2714684" y="4323799"/>
                </a:cubicBezTo>
                <a:lnTo>
                  <a:pt x="2716875" y="4320406"/>
                </a:lnTo>
                <a:lnTo>
                  <a:pt x="2717676" y="4317621"/>
                </a:lnTo>
                <a:lnTo>
                  <a:pt x="2720757" y="4314389"/>
                </a:lnTo>
                <a:lnTo>
                  <a:pt x="2725620" y="4306851"/>
                </a:lnTo>
                <a:lnTo>
                  <a:pt x="2733076" y="4301467"/>
                </a:lnTo>
                <a:lnTo>
                  <a:pt x="2736166" y="4298227"/>
                </a:lnTo>
                <a:lnTo>
                  <a:pt x="2739039" y="4297162"/>
                </a:lnTo>
                <a:lnTo>
                  <a:pt x="2742407" y="4294731"/>
                </a:lnTo>
                <a:cubicBezTo>
                  <a:pt x="2748972" y="4291509"/>
                  <a:pt x="2756500" y="4289111"/>
                  <a:pt x="2764980" y="4287557"/>
                </a:cubicBezTo>
                <a:cubicBezTo>
                  <a:pt x="2776288" y="4285484"/>
                  <a:pt x="2789289" y="4284911"/>
                  <a:pt x="2803958" y="4285884"/>
                </a:cubicBezTo>
                <a:close/>
                <a:moveTo>
                  <a:pt x="2915573" y="4183638"/>
                </a:moveTo>
                <a:cubicBezTo>
                  <a:pt x="2894876" y="4236349"/>
                  <a:pt x="2840720" y="4238448"/>
                  <a:pt x="2809958" y="4281443"/>
                </a:cubicBezTo>
                <a:cubicBezTo>
                  <a:pt x="2813332" y="4238340"/>
                  <a:pt x="2833434" y="4220541"/>
                  <a:pt x="2915573" y="4183638"/>
                </a:cubicBezTo>
                <a:close/>
                <a:moveTo>
                  <a:pt x="3165170" y="3998119"/>
                </a:moveTo>
                <a:cubicBezTo>
                  <a:pt x="3168727" y="4002093"/>
                  <a:pt x="3171668" y="4003768"/>
                  <a:pt x="3175226" y="4007741"/>
                </a:cubicBezTo>
                <a:cubicBezTo>
                  <a:pt x="3161410" y="4021297"/>
                  <a:pt x="3147594" y="4034852"/>
                  <a:pt x="3134393" y="4050706"/>
                </a:cubicBezTo>
                <a:cubicBezTo>
                  <a:pt x="3130836" y="4046733"/>
                  <a:pt x="3127279" y="4042759"/>
                  <a:pt x="3121396" y="4039408"/>
                </a:cubicBezTo>
                <a:cubicBezTo>
                  <a:pt x="3118657" y="4010582"/>
                  <a:pt x="3145471" y="4008324"/>
                  <a:pt x="3165170" y="3998119"/>
                </a:cubicBezTo>
                <a:close/>
                <a:moveTo>
                  <a:pt x="3077477" y="3961697"/>
                </a:moveTo>
                <a:cubicBezTo>
                  <a:pt x="3091335" y="3985362"/>
                  <a:pt x="3095220" y="4009211"/>
                  <a:pt x="3072615" y="4027712"/>
                </a:cubicBezTo>
                <a:cubicBezTo>
                  <a:pt x="3067939" y="4028965"/>
                  <a:pt x="3053761" y="4022809"/>
                  <a:pt x="3049556" y="4016468"/>
                </a:cubicBezTo>
                <a:cubicBezTo>
                  <a:pt x="3037414" y="3989855"/>
                  <a:pt x="3047708" y="3972163"/>
                  <a:pt x="3077477" y="3961697"/>
                </a:cubicBezTo>
                <a:close/>
                <a:moveTo>
                  <a:pt x="2486504" y="3875579"/>
                </a:moveTo>
                <a:cubicBezTo>
                  <a:pt x="2490053" y="3879640"/>
                  <a:pt x="2493603" y="3883700"/>
                  <a:pt x="2497152" y="3887759"/>
                </a:cubicBezTo>
                <a:cubicBezTo>
                  <a:pt x="2475021" y="3906219"/>
                  <a:pt x="2453517" y="3927015"/>
                  <a:pt x="2431386" y="3945473"/>
                </a:cubicBezTo>
                <a:cubicBezTo>
                  <a:pt x="2427836" y="3941413"/>
                  <a:pt x="2421991" y="3937968"/>
                  <a:pt x="2417815" y="3931570"/>
                </a:cubicBezTo>
                <a:cubicBezTo>
                  <a:pt x="2442242" y="3912496"/>
                  <a:pt x="2464373" y="3894038"/>
                  <a:pt x="2486504" y="3875579"/>
                </a:cubicBezTo>
                <a:close/>
                <a:moveTo>
                  <a:pt x="3525363" y="3682042"/>
                </a:moveTo>
                <a:cubicBezTo>
                  <a:pt x="3488982" y="3704295"/>
                  <a:pt x="3454302" y="3723592"/>
                  <a:pt x="3415598" y="3746467"/>
                </a:cubicBezTo>
                <a:cubicBezTo>
                  <a:pt x="3417727" y="3736987"/>
                  <a:pt x="3420432" y="3728671"/>
                  <a:pt x="3423888" y="3721440"/>
                </a:cubicBezTo>
                <a:lnTo>
                  <a:pt x="3426360" y="3717861"/>
                </a:lnTo>
                <a:lnTo>
                  <a:pt x="3427599" y="3714569"/>
                </a:lnTo>
                <a:lnTo>
                  <a:pt x="3430942" y="3711228"/>
                </a:lnTo>
                <a:lnTo>
                  <a:pt x="3436679" y="3702923"/>
                </a:lnTo>
                <a:lnTo>
                  <a:pt x="3444760" y="3697423"/>
                </a:lnTo>
                <a:lnTo>
                  <a:pt x="3448229" y="3693957"/>
                </a:lnTo>
                <a:lnTo>
                  <a:pt x="3451375" y="3692920"/>
                </a:lnTo>
                <a:lnTo>
                  <a:pt x="3455028" y="3690434"/>
                </a:lnTo>
                <a:lnTo>
                  <a:pt x="3479985" y="3683494"/>
                </a:lnTo>
                <a:cubicBezTo>
                  <a:pt x="3492702" y="3681571"/>
                  <a:pt x="3507688" y="3681150"/>
                  <a:pt x="3525363" y="3682042"/>
                </a:cubicBezTo>
                <a:close/>
                <a:moveTo>
                  <a:pt x="3648742" y="3646847"/>
                </a:moveTo>
                <a:cubicBezTo>
                  <a:pt x="3652303" y="3650800"/>
                  <a:pt x="3653530" y="3655380"/>
                  <a:pt x="3656478" y="3657042"/>
                </a:cubicBezTo>
                <a:cubicBezTo>
                  <a:pt x="3648108" y="3691185"/>
                  <a:pt x="3624266" y="3704935"/>
                  <a:pt x="3591578" y="3713694"/>
                </a:cubicBezTo>
                <a:cubicBezTo>
                  <a:pt x="3590351" y="3709115"/>
                  <a:pt x="3587403" y="3707452"/>
                  <a:pt x="3583840" y="3703498"/>
                </a:cubicBezTo>
                <a:cubicBezTo>
                  <a:pt x="3606457" y="3685169"/>
                  <a:pt x="3626125" y="3665176"/>
                  <a:pt x="3648742" y="3646847"/>
                </a:cubicBezTo>
                <a:close/>
                <a:moveTo>
                  <a:pt x="2813676" y="3646818"/>
                </a:moveTo>
                <a:cubicBezTo>
                  <a:pt x="2783339" y="3672453"/>
                  <a:pt x="2759320" y="3693894"/>
                  <a:pt x="2726669" y="3720150"/>
                </a:cubicBezTo>
                <a:cubicBezTo>
                  <a:pt x="2727796" y="3710469"/>
                  <a:pt x="2729215" y="3702205"/>
                  <a:pt x="2731217" y="3695098"/>
                </a:cubicBezTo>
                <a:lnTo>
                  <a:pt x="2732704" y="3691748"/>
                </a:lnTo>
                <a:lnTo>
                  <a:pt x="2733423" y="3688368"/>
                </a:lnTo>
                <a:lnTo>
                  <a:pt x="2735635" y="3685152"/>
                </a:lnTo>
                <a:lnTo>
                  <a:pt x="2739260" y="3676992"/>
                </a:lnTo>
                <a:lnTo>
                  <a:pt x="2745081" y="3671416"/>
                </a:lnTo>
                <a:lnTo>
                  <a:pt x="2747424" y="3668009"/>
                </a:lnTo>
                <a:lnTo>
                  <a:pt x="2749950" y="3666753"/>
                </a:lnTo>
                <a:lnTo>
                  <a:pt x="2752539" y="3664272"/>
                </a:lnTo>
                <a:lnTo>
                  <a:pt x="2772797" y="3655388"/>
                </a:lnTo>
                <a:lnTo>
                  <a:pt x="2772798" y="3655388"/>
                </a:lnTo>
                <a:cubicBezTo>
                  <a:pt x="2783611" y="3652060"/>
                  <a:pt x="2797007" y="3649408"/>
                  <a:pt x="2813676" y="3646818"/>
                </a:cubicBezTo>
                <a:close/>
                <a:moveTo>
                  <a:pt x="2929957" y="3575402"/>
                </a:moveTo>
                <a:cubicBezTo>
                  <a:pt x="2902828" y="3595154"/>
                  <a:pt x="2880353" y="3613659"/>
                  <a:pt x="2853849" y="3635741"/>
                </a:cubicBezTo>
                <a:cubicBezTo>
                  <a:pt x="2852094" y="3629189"/>
                  <a:pt x="2852024" y="3622712"/>
                  <a:pt x="2853380" y="3616562"/>
                </a:cubicBezTo>
                <a:lnTo>
                  <a:pt x="2855070" y="3612959"/>
                </a:lnTo>
                <a:lnTo>
                  <a:pt x="2855198" y="3610530"/>
                </a:lnTo>
                <a:lnTo>
                  <a:pt x="2857897" y="3606930"/>
                </a:lnTo>
                <a:lnTo>
                  <a:pt x="2861456" y="3599340"/>
                </a:lnTo>
                <a:lnTo>
                  <a:pt x="2868204" y="3593171"/>
                </a:lnTo>
                <a:lnTo>
                  <a:pt x="2870813" y="3589688"/>
                </a:lnTo>
                <a:lnTo>
                  <a:pt x="2873421" y="3588402"/>
                </a:lnTo>
                <a:lnTo>
                  <a:pt x="2876510" y="3585580"/>
                </a:lnTo>
                <a:cubicBezTo>
                  <a:pt x="2882516" y="3581737"/>
                  <a:pt x="2889424" y="3578724"/>
                  <a:pt x="2896972" y="3576789"/>
                </a:cubicBezTo>
                <a:cubicBezTo>
                  <a:pt x="2907035" y="3574210"/>
                  <a:pt x="2918238" y="3573549"/>
                  <a:pt x="2929957" y="3575402"/>
                </a:cubicBezTo>
                <a:close/>
                <a:moveTo>
                  <a:pt x="35384" y="3020262"/>
                </a:moveTo>
                <a:cubicBezTo>
                  <a:pt x="38336" y="3021957"/>
                  <a:pt x="42994" y="3020709"/>
                  <a:pt x="45946" y="3022405"/>
                </a:cubicBezTo>
                <a:cubicBezTo>
                  <a:pt x="44396" y="3035254"/>
                  <a:pt x="39893" y="3046406"/>
                  <a:pt x="38343" y="3059256"/>
                </a:cubicBezTo>
                <a:cubicBezTo>
                  <a:pt x="37414" y="3074424"/>
                  <a:pt x="33534" y="3087897"/>
                  <a:pt x="30276" y="3103688"/>
                </a:cubicBezTo>
                <a:cubicBezTo>
                  <a:pt x="30276" y="3103688"/>
                  <a:pt x="31984" y="3100745"/>
                  <a:pt x="31984" y="3100745"/>
                </a:cubicBezTo>
                <a:cubicBezTo>
                  <a:pt x="26861" y="3109578"/>
                  <a:pt x="23445" y="3115467"/>
                  <a:pt x="20651" y="3123675"/>
                </a:cubicBezTo>
                <a:cubicBezTo>
                  <a:pt x="17700" y="3121979"/>
                  <a:pt x="15371" y="3122604"/>
                  <a:pt x="12420" y="3120907"/>
                </a:cubicBezTo>
                <a:cubicBezTo>
                  <a:pt x="18315" y="3087001"/>
                  <a:pt x="27160" y="3054793"/>
                  <a:pt x="35384" y="3020262"/>
                </a:cubicBezTo>
                <a:close/>
                <a:moveTo>
                  <a:pt x="4539813" y="2790924"/>
                </a:moveTo>
                <a:cubicBezTo>
                  <a:pt x="4543384" y="2794961"/>
                  <a:pt x="4546955" y="2798998"/>
                  <a:pt x="4551150" y="2805362"/>
                </a:cubicBezTo>
                <a:lnTo>
                  <a:pt x="4551151" y="2805363"/>
                </a:lnTo>
                <a:cubicBezTo>
                  <a:pt x="4452589" y="2874216"/>
                  <a:pt x="4354651" y="2945397"/>
                  <a:pt x="4256713" y="3016577"/>
                </a:cubicBezTo>
                <a:cubicBezTo>
                  <a:pt x="4255465" y="3011918"/>
                  <a:pt x="4252518" y="3010211"/>
                  <a:pt x="4251894" y="3007882"/>
                </a:cubicBezTo>
                <a:lnTo>
                  <a:pt x="4251893" y="3007881"/>
                </a:lnTo>
                <a:cubicBezTo>
                  <a:pt x="4334923" y="2918225"/>
                  <a:pt x="4448393" y="2867848"/>
                  <a:pt x="4539813" y="2790924"/>
                </a:cubicBezTo>
                <a:close/>
                <a:moveTo>
                  <a:pt x="124561" y="2709960"/>
                </a:moveTo>
                <a:cubicBezTo>
                  <a:pt x="132152" y="2710422"/>
                  <a:pt x="137420" y="2711507"/>
                  <a:pt x="142689" y="2712592"/>
                </a:cubicBezTo>
                <a:cubicBezTo>
                  <a:pt x="140092" y="2730765"/>
                  <a:pt x="137494" y="2748938"/>
                  <a:pt x="134897" y="2767110"/>
                </a:cubicBezTo>
                <a:cubicBezTo>
                  <a:pt x="133546" y="2789939"/>
                  <a:pt x="135144" y="2814479"/>
                  <a:pt x="136117" y="2836687"/>
                </a:cubicBezTo>
                <a:cubicBezTo>
                  <a:pt x="140210" y="2870542"/>
                  <a:pt x="127699" y="2888873"/>
                  <a:pt x="92067" y="2885938"/>
                </a:cubicBezTo>
                <a:cubicBezTo>
                  <a:pt x="100209" y="2851302"/>
                  <a:pt x="105404" y="2814956"/>
                  <a:pt x="112922" y="2777990"/>
                </a:cubicBezTo>
                <a:cubicBezTo>
                  <a:pt x="116594" y="2754538"/>
                  <a:pt x="120265" y="2731084"/>
                  <a:pt x="124561" y="2709960"/>
                </a:cubicBezTo>
                <a:close/>
                <a:moveTo>
                  <a:pt x="316827" y="2621289"/>
                </a:moveTo>
                <a:cubicBezTo>
                  <a:pt x="322076" y="2622379"/>
                  <a:pt x="325638" y="2626417"/>
                  <a:pt x="328574" y="2628128"/>
                </a:cubicBezTo>
                <a:lnTo>
                  <a:pt x="328573" y="2628129"/>
                </a:lnTo>
                <a:lnTo>
                  <a:pt x="328574" y="2628131"/>
                </a:lnTo>
                <a:cubicBezTo>
                  <a:pt x="305379" y="2661811"/>
                  <a:pt x="282184" y="2695491"/>
                  <a:pt x="258363" y="2726838"/>
                </a:cubicBezTo>
                <a:cubicBezTo>
                  <a:pt x="252490" y="2723419"/>
                  <a:pt x="247240" y="2722329"/>
                  <a:pt x="243681" y="2718291"/>
                </a:cubicBezTo>
                <a:lnTo>
                  <a:pt x="243682" y="2718287"/>
                </a:lnTo>
                <a:lnTo>
                  <a:pt x="243679" y="2718285"/>
                </a:lnTo>
                <a:cubicBezTo>
                  <a:pt x="267499" y="2686936"/>
                  <a:pt x="293007" y="2652636"/>
                  <a:pt x="316827" y="2621289"/>
                </a:cubicBezTo>
                <a:close/>
                <a:moveTo>
                  <a:pt x="4973045" y="2523846"/>
                </a:moveTo>
                <a:lnTo>
                  <a:pt x="4973044" y="2523850"/>
                </a:lnTo>
                <a:lnTo>
                  <a:pt x="4973046" y="2523850"/>
                </a:lnTo>
                <a:cubicBezTo>
                  <a:pt x="4953107" y="2588838"/>
                  <a:pt x="4902478" y="2632226"/>
                  <a:pt x="4850607" y="2670979"/>
                </a:cubicBezTo>
                <a:cubicBezTo>
                  <a:pt x="4767613" y="2732980"/>
                  <a:pt x="4680431" y="2788648"/>
                  <a:pt x="4599759" y="2850028"/>
                </a:cubicBezTo>
                <a:cubicBezTo>
                  <a:pt x="4562289" y="2877465"/>
                  <a:pt x="4532571" y="2915251"/>
                  <a:pt x="4499285" y="2949021"/>
                </a:cubicBezTo>
                <a:cubicBezTo>
                  <a:pt x="4479780" y="2969160"/>
                  <a:pt x="4462597" y="2988674"/>
                  <a:pt x="4442469" y="3006494"/>
                </a:cubicBezTo>
                <a:cubicBezTo>
                  <a:pt x="4436122" y="3010681"/>
                  <a:pt x="4426207" y="3010851"/>
                  <a:pt x="4409943" y="3015209"/>
                </a:cubicBezTo>
                <a:cubicBezTo>
                  <a:pt x="4409943" y="3015209"/>
                  <a:pt x="4404837" y="3024034"/>
                  <a:pt x="4398029" y="3035799"/>
                </a:cubicBezTo>
                <a:cubicBezTo>
                  <a:pt x="4356803" y="3012053"/>
                  <a:pt x="4341647" y="3048422"/>
                  <a:pt x="4322140" y="3068558"/>
                </a:cubicBezTo>
                <a:cubicBezTo>
                  <a:pt x="4308362" y="3082192"/>
                  <a:pt x="4298150" y="3099841"/>
                  <a:pt x="4284992" y="3115791"/>
                </a:cubicBezTo>
                <a:cubicBezTo>
                  <a:pt x="4281588" y="3121673"/>
                  <a:pt x="4271214" y="3129425"/>
                  <a:pt x="4268269" y="3127729"/>
                </a:cubicBezTo>
                <a:cubicBezTo>
                  <a:pt x="4238823" y="3110765"/>
                  <a:pt x="4235580" y="3126547"/>
                  <a:pt x="4235445" y="3153921"/>
                </a:cubicBezTo>
                <a:cubicBezTo>
                  <a:pt x="4234067" y="3176658"/>
                  <a:pt x="4166553" y="3222085"/>
                  <a:pt x="4139753" y="3224296"/>
                </a:cubicBezTo>
                <a:cubicBezTo>
                  <a:pt x="4132162" y="3223846"/>
                  <a:pt x="4121787" y="3231596"/>
                  <a:pt x="4113735" y="3238724"/>
                </a:cubicBezTo>
                <a:cubicBezTo>
                  <a:pt x="4080453" y="3272494"/>
                  <a:pt x="4047168" y="3306266"/>
                  <a:pt x="4010939" y="3338341"/>
                </a:cubicBezTo>
                <a:cubicBezTo>
                  <a:pt x="4002888" y="3345469"/>
                  <a:pt x="3987084" y="3342248"/>
                  <a:pt x="3977168" y="3342419"/>
                </a:cubicBezTo>
                <a:cubicBezTo>
                  <a:pt x="3976548" y="3340100"/>
                  <a:pt x="3975304" y="3335462"/>
                  <a:pt x="3974684" y="3333144"/>
                </a:cubicBezTo>
                <a:cubicBezTo>
                  <a:pt x="3963230" y="3346154"/>
                  <a:pt x="3954098" y="3358542"/>
                  <a:pt x="3942021" y="3369233"/>
                </a:cubicBezTo>
                <a:cubicBezTo>
                  <a:pt x="3929322" y="3377606"/>
                  <a:pt x="3922218" y="3406849"/>
                  <a:pt x="3895095" y="3389264"/>
                </a:cubicBezTo>
                <a:cubicBezTo>
                  <a:pt x="3891527" y="3385249"/>
                  <a:pt x="3873102" y="3400126"/>
                  <a:pt x="3865674" y="3409573"/>
                </a:cubicBezTo>
                <a:cubicBezTo>
                  <a:pt x="3847409" y="3434349"/>
                  <a:pt x="3835657" y="3464836"/>
                  <a:pt x="3815072" y="3490235"/>
                </a:cubicBezTo>
                <a:cubicBezTo>
                  <a:pt x="3801914" y="3506187"/>
                  <a:pt x="3782868" y="3518747"/>
                  <a:pt x="3764443" y="3533624"/>
                </a:cubicBezTo>
                <a:cubicBezTo>
                  <a:pt x="3760877" y="3529610"/>
                  <a:pt x="3754988" y="3526217"/>
                  <a:pt x="3751420" y="3522202"/>
                </a:cubicBezTo>
                <a:cubicBezTo>
                  <a:pt x="3760391" y="3499916"/>
                  <a:pt x="3772305" y="3479326"/>
                  <a:pt x="3783599" y="3456418"/>
                </a:cubicBezTo>
                <a:cubicBezTo>
                  <a:pt x="3734646" y="3459594"/>
                  <a:pt x="3701983" y="3495685"/>
                  <a:pt x="3667455" y="3524818"/>
                </a:cubicBezTo>
                <a:cubicBezTo>
                  <a:pt x="3690716" y="3555864"/>
                  <a:pt x="3672453" y="3580641"/>
                  <a:pt x="3652326" y="3598460"/>
                </a:cubicBezTo>
                <a:cubicBezTo>
                  <a:pt x="3646598" y="3604966"/>
                  <a:pt x="3618232" y="3582742"/>
                  <a:pt x="3595918" y="3573810"/>
                </a:cubicBezTo>
                <a:cubicBezTo>
                  <a:pt x="3533051" y="3617994"/>
                  <a:pt x="3469103" y="3667436"/>
                  <a:pt x="3402832" y="3717503"/>
                </a:cubicBezTo>
                <a:cubicBezTo>
                  <a:pt x="3379761" y="3733625"/>
                  <a:pt x="3357309" y="3752069"/>
                  <a:pt x="3371735" y="3778026"/>
                </a:cubicBezTo>
                <a:cubicBezTo>
                  <a:pt x="3344801" y="3807611"/>
                  <a:pt x="3321890" y="3833632"/>
                  <a:pt x="3298980" y="3859653"/>
                </a:cubicBezTo>
                <a:cubicBezTo>
                  <a:pt x="3292632" y="3863839"/>
                  <a:pt x="3285202" y="3873286"/>
                  <a:pt x="3278232" y="3875153"/>
                </a:cubicBezTo>
                <a:cubicBezTo>
                  <a:pt x="3228658" y="3876010"/>
                  <a:pt x="3205449" y="3919508"/>
                  <a:pt x="3173246" y="3948019"/>
                </a:cubicBezTo>
                <a:cubicBezTo>
                  <a:pt x="3141774" y="3914203"/>
                  <a:pt x="3146880" y="3905379"/>
                  <a:pt x="3206045" y="3884555"/>
                </a:cubicBezTo>
                <a:cubicBezTo>
                  <a:pt x="3201858" y="3878221"/>
                  <a:pt x="3198292" y="3874206"/>
                  <a:pt x="3194726" y="3870191"/>
                </a:cubicBezTo>
                <a:cubicBezTo>
                  <a:pt x="3176734" y="3840218"/>
                  <a:pt x="3177031" y="3822741"/>
                  <a:pt x="3208154" y="3799490"/>
                </a:cubicBezTo>
                <a:cubicBezTo>
                  <a:pt x="3403265" y="3672651"/>
                  <a:pt x="3594810" y="3541798"/>
                  <a:pt x="3789300" y="3412641"/>
                </a:cubicBezTo>
                <a:cubicBezTo>
                  <a:pt x="3842103" y="3377367"/>
                  <a:pt x="3895062" y="3342674"/>
                  <a:pt x="3947574" y="3307478"/>
                </a:cubicBezTo>
                <a:cubicBezTo>
                  <a:pt x="4000086" y="3272282"/>
                  <a:pt x="4052154" y="3236586"/>
                  <a:pt x="4103174" y="3199304"/>
                </a:cubicBezTo>
                <a:cubicBezTo>
                  <a:pt x="4180441" y="3143806"/>
                  <a:pt x="4252277" y="3077338"/>
                  <a:pt x="4328301" y="3017204"/>
                </a:cubicBezTo>
                <a:cubicBezTo>
                  <a:pt x="4491966" y="2893821"/>
                  <a:pt x="4658575" y="2772136"/>
                  <a:pt x="4821619" y="2646435"/>
                </a:cubicBezTo>
                <a:cubicBezTo>
                  <a:pt x="4873490" y="2607684"/>
                  <a:pt x="4921794" y="2564917"/>
                  <a:pt x="4973045" y="2523846"/>
                </a:cubicBezTo>
                <a:close/>
                <a:moveTo>
                  <a:pt x="464140" y="2500328"/>
                </a:moveTo>
                <a:cubicBezTo>
                  <a:pt x="467107" y="2502009"/>
                  <a:pt x="470075" y="2503691"/>
                  <a:pt x="473042" y="2505373"/>
                </a:cubicBezTo>
                <a:lnTo>
                  <a:pt x="473038" y="2505378"/>
                </a:lnTo>
                <a:lnTo>
                  <a:pt x="473044" y="2505382"/>
                </a:lnTo>
                <a:cubicBezTo>
                  <a:pt x="459832" y="2531209"/>
                  <a:pt x="444271" y="2557666"/>
                  <a:pt x="431058" y="2583492"/>
                </a:cubicBezTo>
                <a:cubicBezTo>
                  <a:pt x="425125" y="2580131"/>
                  <a:pt x="422158" y="2578450"/>
                  <a:pt x="416842" y="2577397"/>
                </a:cubicBezTo>
                <a:lnTo>
                  <a:pt x="416844" y="2577393"/>
                </a:lnTo>
                <a:lnTo>
                  <a:pt x="416841" y="2577393"/>
                </a:lnTo>
                <a:cubicBezTo>
                  <a:pt x="432401" y="2550934"/>
                  <a:pt x="447961" y="2524475"/>
                  <a:pt x="464140" y="2500328"/>
                </a:cubicBezTo>
                <a:close/>
                <a:moveTo>
                  <a:pt x="418435" y="2499394"/>
                </a:moveTo>
                <a:cubicBezTo>
                  <a:pt x="422017" y="2503474"/>
                  <a:pt x="424970" y="2505205"/>
                  <a:pt x="427922" y="2506934"/>
                </a:cubicBezTo>
                <a:lnTo>
                  <a:pt x="427918" y="2506936"/>
                </a:lnTo>
                <a:lnTo>
                  <a:pt x="427924" y="2506942"/>
                </a:lnTo>
                <a:cubicBezTo>
                  <a:pt x="405729" y="2535574"/>
                  <a:pt x="382903" y="2561855"/>
                  <a:pt x="362399" y="2587512"/>
                </a:cubicBezTo>
                <a:cubicBezTo>
                  <a:pt x="357125" y="2586405"/>
                  <a:pt x="353543" y="2582325"/>
                  <a:pt x="350590" y="2580595"/>
                </a:cubicBezTo>
                <a:lnTo>
                  <a:pt x="350593" y="2580592"/>
                </a:lnTo>
                <a:lnTo>
                  <a:pt x="350589" y="2580590"/>
                </a:lnTo>
                <a:cubicBezTo>
                  <a:pt x="373414" y="2554308"/>
                  <a:pt x="395609" y="2525675"/>
                  <a:pt x="418435" y="2499394"/>
                </a:cubicBezTo>
                <a:close/>
                <a:moveTo>
                  <a:pt x="5282063" y="2264886"/>
                </a:moveTo>
                <a:cubicBezTo>
                  <a:pt x="5285008" y="2266583"/>
                  <a:pt x="5288575" y="2270601"/>
                  <a:pt x="5291520" y="2272297"/>
                </a:cubicBezTo>
                <a:lnTo>
                  <a:pt x="5291519" y="2272300"/>
                </a:lnTo>
                <a:lnTo>
                  <a:pt x="5291521" y="2272300"/>
                </a:lnTo>
                <a:cubicBezTo>
                  <a:pt x="5197860" y="2359557"/>
                  <a:pt x="5104823" y="2449144"/>
                  <a:pt x="5011163" y="2536405"/>
                </a:cubicBezTo>
                <a:lnTo>
                  <a:pt x="5011164" y="2536399"/>
                </a:lnTo>
                <a:lnTo>
                  <a:pt x="5011162" y="2536401"/>
                </a:lnTo>
                <a:cubicBezTo>
                  <a:pt x="5028771" y="2472005"/>
                  <a:pt x="5173513" y="2333755"/>
                  <a:pt x="5282063" y="2264886"/>
                </a:cubicBezTo>
                <a:close/>
                <a:moveTo>
                  <a:pt x="5051368" y="2239218"/>
                </a:moveTo>
                <a:lnTo>
                  <a:pt x="5051366" y="2239225"/>
                </a:lnTo>
                <a:lnTo>
                  <a:pt x="5051370" y="2239220"/>
                </a:lnTo>
                <a:cubicBezTo>
                  <a:pt x="5038847" y="2294709"/>
                  <a:pt x="4964674" y="2361745"/>
                  <a:pt x="4903185" y="2383185"/>
                </a:cubicBezTo>
                <a:cubicBezTo>
                  <a:pt x="4900241" y="2381491"/>
                  <a:pt x="4896677" y="2377482"/>
                  <a:pt x="4896056" y="2375167"/>
                </a:cubicBezTo>
                <a:lnTo>
                  <a:pt x="4896057" y="2375165"/>
                </a:lnTo>
                <a:lnTo>
                  <a:pt x="4896055" y="2375163"/>
                </a:lnTo>
                <a:cubicBezTo>
                  <a:pt x="4946071" y="2329492"/>
                  <a:pt x="4998409" y="2283196"/>
                  <a:pt x="5051368" y="2239218"/>
                </a:cubicBezTo>
                <a:close/>
                <a:moveTo>
                  <a:pt x="948071" y="2104620"/>
                </a:moveTo>
                <a:lnTo>
                  <a:pt x="948068" y="2104626"/>
                </a:lnTo>
                <a:lnTo>
                  <a:pt x="948072" y="2104623"/>
                </a:lnTo>
                <a:cubicBezTo>
                  <a:pt x="949636" y="2129022"/>
                  <a:pt x="864148" y="2209023"/>
                  <a:pt x="795492" y="2249763"/>
                </a:cubicBezTo>
                <a:cubicBezTo>
                  <a:pt x="791930" y="2245751"/>
                  <a:pt x="788368" y="2241739"/>
                  <a:pt x="785428" y="2240046"/>
                </a:cubicBezTo>
                <a:lnTo>
                  <a:pt x="785427" y="2240045"/>
                </a:lnTo>
                <a:cubicBezTo>
                  <a:pt x="840623" y="2195467"/>
                  <a:pt x="893496" y="2151511"/>
                  <a:pt x="948071" y="2104620"/>
                </a:cubicBezTo>
                <a:close/>
                <a:moveTo>
                  <a:pt x="4342726" y="1327293"/>
                </a:moveTo>
                <a:lnTo>
                  <a:pt x="4326582" y="1343196"/>
                </a:lnTo>
                <a:lnTo>
                  <a:pt x="4326610" y="1343201"/>
                </a:lnTo>
                <a:cubicBezTo>
                  <a:pt x="4332269" y="1340784"/>
                  <a:pt x="4336791" y="1335579"/>
                  <a:pt x="4341097" y="1329570"/>
                </a:cubicBezTo>
                <a:close/>
                <a:moveTo>
                  <a:pt x="2111196" y="1253002"/>
                </a:moveTo>
                <a:lnTo>
                  <a:pt x="2111186" y="1253009"/>
                </a:lnTo>
                <a:lnTo>
                  <a:pt x="2111197" y="1253006"/>
                </a:lnTo>
                <a:cubicBezTo>
                  <a:pt x="1987895" y="1331015"/>
                  <a:pt x="1864592" y="1409022"/>
                  <a:pt x="1741289" y="1487030"/>
                </a:cubicBezTo>
                <a:lnTo>
                  <a:pt x="1741295" y="1487024"/>
                </a:lnTo>
                <a:lnTo>
                  <a:pt x="1741289" y="1487027"/>
                </a:lnTo>
                <a:cubicBezTo>
                  <a:pt x="1767786" y="1437456"/>
                  <a:pt x="2045441" y="1258129"/>
                  <a:pt x="2111196" y="1253002"/>
                </a:cubicBezTo>
                <a:close/>
                <a:moveTo>
                  <a:pt x="5133780" y="1217685"/>
                </a:moveTo>
                <a:cubicBezTo>
                  <a:pt x="5154263" y="1229673"/>
                  <a:pt x="5166688" y="1243821"/>
                  <a:pt x="5170663" y="1262105"/>
                </a:cubicBezTo>
                <a:lnTo>
                  <a:pt x="5170662" y="1262106"/>
                </a:lnTo>
                <a:lnTo>
                  <a:pt x="5170664" y="1262108"/>
                </a:lnTo>
                <a:cubicBezTo>
                  <a:pt x="5174637" y="1280392"/>
                  <a:pt x="5170159" y="1302813"/>
                  <a:pt x="5156835" y="1331351"/>
                </a:cubicBezTo>
                <a:lnTo>
                  <a:pt x="5156833" y="1331347"/>
                </a:lnTo>
                <a:cubicBezTo>
                  <a:pt x="5147900" y="1288801"/>
                  <a:pt x="5140840" y="1253243"/>
                  <a:pt x="5133780" y="1217685"/>
                </a:cubicBezTo>
                <a:close/>
                <a:moveTo>
                  <a:pt x="4416588" y="1208458"/>
                </a:moveTo>
                <a:lnTo>
                  <a:pt x="4398587" y="1209628"/>
                </a:lnTo>
                <a:cubicBezTo>
                  <a:pt x="4388820" y="1210380"/>
                  <a:pt x="4380527" y="1211981"/>
                  <a:pt x="4376810" y="1216706"/>
                </a:cubicBezTo>
                <a:cubicBezTo>
                  <a:pt x="4368211" y="1226466"/>
                  <a:pt x="4361822" y="1237499"/>
                  <a:pt x="4355686" y="1250639"/>
                </a:cubicBezTo>
                <a:lnTo>
                  <a:pt x="4348516" y="1267672"/>
                </a:lnTo>
                <a:lnTo>
                  <a:pt x="4350509" y="1266016"/>
                </a:lnTo>
                <a:close/>
                <a:moveTo>
                  <a:pt x="4663389" y="1098063"/>
                </a:moveTo>
                <a:cubicBezTo>
                  <a:pt x="4721626" y="1112065"/>
                  <a:pt x="4733034" y="1136149"/>
                  <a:pt x="4706234" y="1165534"/>
                </a:cubicBezTo>
                <a:cubicBezTo>
                  <a:pt x="4709934" y="1179346"/>
                  <a:pt x="4716563" y="1194842"/>
                  <a:pt x="4720264" y="1208653"/>
                </a:cubicBezTo>
                <a:cubicBezTo>
                  <a:pt x="4713333" y="1210510"/>
                  <a:pt x="4704089" y="1212987"/>
                  <a:pt x="4692536" y="1216083"/>
                </a:cubicBezTo>
                <a:lnTo>
                  <a:pt x="4692533" y="1216079"/>
                </a:lnTo>
                <a:lnTo>
                  <a:pt x="4692490" y="1216090"/>
                </a:lnTo>
                <a:cubicBezTo>
                  <a:pt x="4686508" y="1202970"/>
                  <a:pt x="4678224" y="1190467"/>
                  <a:pt x="4668712" y="1173385"/>
                </a:cubicBezTo>
                <a:lnTo>
                  <a:pt x="4668774" y="1173363"/>
                </a:lnTo>
                <a:lnTo>
                  <a:pt x="4668646" y="1173139"/>
                </a:lnTo>
                <a:lnTo>
                  <a:pt x="4700058" y="1162281"/>
                </a:lnTo>
                <a:lnTo>
                  <a:pt x="4682762" y="1134886"/>
                </a:lnTo>
                <a:cubicBezTo>
                  <a:pt x="4684473" y="1131956"/>
                  <a:pt x="4686804" y="1131332"/>
                  <a:pt x="4689133" y="1130708"/>
                </a:cubicBezTo>
                <a:cubicBezTo>
                  <a:pt x="4679055" y="1121049"/>
                  <a:pt x="4670689" y="1108461"/>
                  <a:pt x="4662941" y="1098179"/>
                </a:cubicBezTo>
                <a:lnTo>
                  <a:pt x="4663692" y="1098441"/>
                </a:lnTo>
                <a:close/>
                <a:moveTo>
                  <a:pt x="5115872" y="1085870"/>
                </a:moveTo>
                <a:cubicBezTo>
                  <a:pt x="5141927" y="1108744"/>
                  <a:pt x="5167982" y="1131618"/>
                  <a:pt x="5191712" y="1155116"/>
                </a:cubicBezTo>
                <a:cubicBezTo>
                  <a:pt x="5207686" y="1168251"/>
                  <a:pt x="5219634" y="1184954"/>
                  <a:pt x="5231582" y="1201658"/>
                </a:cubicBezTo>
                <a:cubicBezTo>
                  <a:pt x="5245003" y="1219211"/>
                  <a:pt x="5254782" y="1237116"/>
                  <a:pt x="5260785" y="1256035"/>
                </a:cubicBezTo>
                <a:lnTo>
                  <a:pt x="5260785" y="1256036"/>
                </a:lnTo>
                <a:lnTo>
                  <a:pt x="5260785" y="1256038"/>
                </a:lnTo>
                <a:cubicBezTo>
                  <a:pt x="5266789" y="1274954"/>
                  <a:pt x="5269016" y="1294884"/>
                  <a:pt x="5267331" y="1316483"/>
                </a:cubicBezTo>
                <a:cubicBezTo>
                  <a:pt x="5264713" y="1334601"/>
                  <a:pt x="5280851" y="1357644"/>
                  <a:pt x="5278233" y="1375762"/>
                </a:cubicBezTo>
                <a:cubicBezTo>
                  <a:pt x="5273620" y="1414318"/>
                  <a:pt x="5263737" y="1451798"/>
                  <a:pt x="5253853" y="1489278"/>
                </a:cubicBezTo>
                <a:cubicBezTo>
                  <a:pt x="5248289" y="1505698"/>
                  <a:pt x="5243348" y="1524437"/>
                  <a:pt x="5238407" y="1543177"/>
                </a:cubicBezTo>
                <a:cubicBezTo>
                  <a:pt x="5223595" y="1529730"/>
                  <a:pt x="5216107" y="1518052"/>
                  <a:pt x="5215420" y="1507353"/>
                </a:cubicBezTo>
                <a:lnTo>
                  <a:pt x="5215419" y="1507352"/>
                </a:lnTo>
                <a:lnTo>
                  <a:pt x="5215419" y="1507349"/>
                </a:lnTo>
                <a:cubicBezTo>
                  <a:pt x="5215075" y="1501998"/>
                  <a:pt x="5216431" y="1496892"/>
                  <a:pt x="5219421" y="1491931"/>
                </a:cubicBezTo>
                <a:lnTo>
                  <a:pt x="5233230" y="1477386"/>
                </a:lnTo>
                <a:lnTo>
                  <a:pt x="5220819" y="1467225"/>
                </a:lnTo>
                <a:cubicBezTo>
                  <a:pt x="5217418" y="1463976"/>
                  <a:pt x="5214902" y="1460685"/>
                  <a:pt x="5213707" y="1456806"/>
                </a:cubicBezTo>
                <a:lnTo>
                  <a:pt x="5213707" y="1456805"/>
                </a:lnTo>
                <a:lnTo>
                  <a:pt x="5213705" y="1456804"/>
                </a:lnTo>
                <a:cubicBezTo>
                  <a:pt x="5211317" y="1449047"/>
                  <a:pt x="5214212" y="1438941"/>
                  <a:pt x="5225897" y="1422127"/>
                </a:cubicBezTo>
                <a:cubicBezTo>
                  <a:pt x="5253291" y="1384930"/>
                  <a:pt x="5243011" y="1327972"/>
                  <a:pt x="5236299" y="1275035"/>
                </a:cubicBezTo>
                <a:lnTo>
                  <a:pt x="5230418" y="1244444"/>
                </a:lnTo>
                <a:lnTo>
                  <a:pt x="5219811" y="1217566"/>
                </a:lnTo>
                <a:cubicBezTo>
                  <a:pt x="5194572" y="1166948"/>
                  <a:pt x="5147297" y="1133432"/>
                  <a:pt x="5115871" y="1085872"/>
                </a:cubicBezTo>
                <a:lnTo>
                  <a:pt x="5115878" y="1085877"/>
                </a:lnTo>
                <a:close/>
                <a:moveTo>
                  <a:pt x="4980883" y="1036955"/>
                </a:moveTo>
                <a:cubicBezTo>
                  <a:pt x="5001481" y="1048850"/>
                  <a:pt x="5019136" y="1059046"/>
                  <a:pt x="5037413" y="1071563"/>
                </a:cubicBezTo>
                <a:cubicBezTo>
                  <a:pt x="5049806" y="1080681"/>
                  <a:pt x="5059422" y="1098007"/>
                  <a:pt x="5069948" y="1100162"/>
                </a:cubicBezTo>
                <a:cubicBezTo>
                  <a:pt x="5130618" y="1103807"/>
                  <a:pt x="5119850" y="1156448"/>
                  <a:pt x="5136763" y="1191720"/>
                </a:cubicBezTo>
                <a:lnTo>
                  <a:pt x="5136764" y="1191723"/>
                </a:lnTo>
                <a:cubicBezTo>
                  <a:pt x="5085785" y="1140701"/>
                  <a:pt x="5034806" y="1089679"/>
                  <a:pt x="4980884" y="1036958"/>
                </a:cubicBezTo>
                <a:lnTo>
                  <a:pt x="4980890" y="1036961"/>
                </a:lnTo>
                <a:close/>
                <a:moveTo>
                  <a:pt x="4819390" y="1001132"/>
                </a:moveTo>
                <a:cubicBezTo>
                  <a:pt x="4848219" y="1025705"/>
                  <a:pt x="4879354" y="1049660"/>
                  <a:pt x="4908183" y="1074233"/>
                </a:cubicBezTo>
                <a:lnTo>
                  <a:pt x="4908183" y="1074235"/>
                </a:lnTo>
                <a:lnTo>
                  <a:pt x="4908185" y="1074236"/>
                </a:lnTo>
                <a:cubicBezTo>
                  <a:pt x="4905878" y="1074855"/>
                  <a:pt x="4904194" y="1077791"/>
                  <a:pt x="4902508" y="1080727"/>
                </a:cubicBezTo>
                <a:cubicBezTo>
                  <a:pt x="4871994" y="1059090"/>
                  <a:pt x="4840859" y="1035135"/>
                  <a:pt x="4812651" y="1012880"/>
                </a:cubicBezTo>
                <a:lnTo>
                  <a:pt x="4812652" y="1012878"/>
                </a:lnTo>
                <a:lnTo>
                  <a:pt x="4812649" y="1012875"/>
                </a:lnTo>
                <a:cubicBezTo>
                  <a:pt x="4814335" y="1009940"/>
                  <a:pt x="4816020" y="1007004"/>
                  <a:pt x="4819390" y="1001132"/>
                </a:cubicBezTo>
                <a:close/>
                <a:moveTo>
                  <a:pt x="4394322" y="992113"/>
                </a:moveTo>
                <a:lnTo>
                  <a:pt x="4376075" y="1016478"/>
                </a:lnTo>
                <a:cubicBezTo>
                  <a:pt x="4205544" y="1216299"/>
                  <a:pt x="4001677" y="1375332"/>
                  <a:pt x="3791924" y="1530978"/>
                </a:cubicBezTo>
                <a:cubicBezTo>
                  <a:pt x="3653068" y="1635309"/>
                  <a:pt x="3512511" y="1742572"/>
                  <a:pt x="3370712" y="1845202"/>
                </a:cubicBezTo>
                <a:lnTo>
                  <a:pt x="3163679" y="1994296"/>
                </a:lnTo>
                <a:lnTo>
                  <a:pt x="3222263" y="2095051"/>
                </a:lnTo>
                <a:lnTo>
                  <a:pt x="3226234" y="2109174"/>
                </a:lnTo>
                <a:lnTo>
                  <a:pt x="3242972" y="2093220"/>
                </a:lnTo>
                <a:cubicBezTo>
                  <a:pt x="3278111" y="2066404"/>
                  <a:pt x="3317437" y="2045922"/>
                  <a:pt x="3350254" y="2019727"/>
                </a:cubicBezTo>
                <a:cubicBezTo>
                  <a:pt x="3435550" y="1957097"/>
                  <a:pt x="3519603" y="1889831"/>
                  <a:pt x="3601954" y="1825503"/>
                </a:cubicBezTo>
                <a:cubicBezTo>
                  <a:pt x="3641117" y="1795122"/>
                  <a:pt x="3683847" y="1768756"/>
                  <a:pt x="3723010" y="1738371"/>
                </a:cubicBezTo>
                <a:cubicBezTo>
                  <a:pt x="3871778" y="1633878"/>
                  <a:pt x="4021170" y="1531705"/>
                  <a:pt x="4163428" y="1421489"/>
                </a:cubicBezTo>
                <a:lnTo>
                  <a:pt x="4289851" y="1316425"/>
                </a:lnTo>
                <a:lnTo>
                  <a:pt x="4237505" y="1338539"/>
                </a:lnTo>
                <a:lnTo>
                  <a:pt x="4237431" y="1338475"/>
                </a:lnTo>
                <a:lnTo>
                  <a:pt x="4237388" y="1338493"/>
                </a:lnTo>
                <a:cubicBezTo>
                  <a:pt x="4236767" y="1336174"/>
                  <a:pt x="4233820" y="1334478"/>
                  <a:pt x="4230872" y="1332781"/>
                </a:cubicBezTo>
                <a:cubicBezTo>
                  <a:pt x="4240014" y="1320384"/>
                  <a:pt x="4245587" y="1303972"/>
                  <a:pt x="4257676" y="1293273"/>
                </a:cubicBezTo>
                <a:cubicBezTo>
                  <a:pt x="4285884" y="1268309"/>
                  <a:pt x="4317039" y="1245042"/>
                  <a:pt x="4345246" y="1220079"/>
                </a:cubicBezTo>
                <a:cubicBezTo>
                  <a:pt x="4350980" y="1213569"/>
                  <a:pt x="4350197" y="1201346"/>
                  <a:pt x="4355310" y="1192518"/>
                </a:cubicBezTo>
                <a:cubicBezTo>
                  <a:pt x="4372511" y="1172989"/>
                  <a:pt x="4392037" y="1152837"/>
                  <a:pt x="4403344" y="1129915"/>
                </a:cubicBezTo>
                <a:cubicBezTo>
                  <a:pt x="4419492" y="1099480"/>
                  <a:pt x="4422642" y="1067632"/>
                  <a:pt x="4416339" y="1038274"/>
                </a:cubicBezTo>
                <a:lnTo>
                  <a:pt x="4407043" y="1009975"/>
                </a:lnTo>
                <a:close/>
                <a:moveTo>
                  <a:pt x="3505364" y="754859"/>
                </a:moveTo>
                <a:lnTo>
                  <a:pt x="3504678" y="755452"/>
                </a:lnTo>
                <a:lnTo>
                  <a:pt x="3504964" y="755397"/>
                </a:lnTo>
                <a:lnTo>
                  <a:pt x="3433942" y="816615"/>
                </a:lnTo>
                <a:lnTo>
                  <a:pt x="3425971" y="823509"/>
                </a:lnTo>
                <a:lnTo>
                  <a:pt x="3425961" y="823496"/>
                </a:lnTo>
                <a:lnTo>
                  <a:pt x="3425944" y="823510"/>
                </a:lnTo>
                <a:cubicBezTo>
                  <a:pt x="3423018" y="821841"/>
                  <a:pt x="3419477" y="817883"/>
                  <a:pt x="3418249" y="813303"/>
                </a:cubicBezTo>
                <a:lnTo>
                  <a:pt x="3418269" y="813265"/>
                </a:lnTo>
                <a:lnTo>
                  <a:pt x="3418221" y="813202"/>
                </a:lnTo>
                <a:cubicBezTo>
                  <a:pt x="3420727" y="805101"/>
                  <a:pt x="3424071" y="798169"/>
                  <a:pt x="3428120" y="792211"/>
                </a:cubicBezTo>
                <a:lnTo>
                  <a:pt x="3431425" y="788671"/>
                </a:lnTo>
                <a:lnTo>
                  <a:pt x="3432374" y="786898"/>
                </a:lnTo>
                <a:lnTo>
                  <a:pt x="3435106" y="784727"/>
                </a:lnTo>
                <a:lnTo>
                  <a:pt x="3442248" y="777074"/>
                </a:lnTo>
                <a:lnTo>
                  <a:pt x="3448156" y="774360"/>
                </a:lnTo>
                <a:lnTo>
                  <a:pt x="3453495" y="770120"/>
                </a:lnTo>
                <a:lnTo>
                  <a:pt x="3474957" y="762047"/>
                </a:lnTo>
                <a:lnTo>
                  <a:pt x="3479990" y="759735"/>
                </a:lnTo>
                <a:close/>
                <a:moveTo>
                  <a:pt x="3614496" y="624391"/>
                </a:moveTo>
                <a:lnTo>
                  <a:pt x="3614541" y="624912"/>
                </a:lnTo>
                <a:lnTo>
                  <a:pt x="3617079" y="654970"/>
                </a:lnTo>
                <a:lnTo>
                  <a:pt x="3617078" y="655012"/>
                </a:lnTo>
                <a:lnTo>
                  <a:pt x="3617082" y="655065"/>
                </a:lnTo>
                <a:cubicBezTo>
                  <a:pt x="3617582" y="663937"/>
                  <a:pt x="3616954" y="670937"/>
                  <a:pt x="3612903" y="674507"/>
                </a:cubicBezTo>
                <a:cubicBezTo>
                  <a:pt x="3596699" y="688786"/>
                  <a:pt x="3579601" y="702064"/>
                  <a:pt x="3562055" y="714840"/>
                </a:cubicBezTo>
                <a:lnTo>
                  <a:pt x="3511162" y="750325"/>
                </a:lnTo>
                <a:lnTo>
                  <a:pt x="3509596" y="754046"/>
                </a:lnTo>
                <a:lnTo>
                  <a:pt x="3509304" y="754101"/>
                </a:lnTo>
                <a:lnTo>
                  <a:pt x="3509145" y="754482"/>
                </a:lnTo>
                <a:lnTo>
                  <a:pt x="3509173" y="754587"/>
                </a:lnTo>
                <a:lnTo>
                  <a:pt x="3504964" y="755397"/>
                </a:lnTo>
                <a:lnTo>
                  <a:pt x="3505652" y="754803"/>
                </a:lnTo>
                <a:lnTo>
                  <a:pt x="3505364" y="754859"/>
                </a:lnTo>
                <a:lnTo>
                  <a:pt x="3508977" y="751735"/>
                </a:lnTo>
                <a:lnTo>
                  <a:pt x="3510854" y="750425"/>
                </a:lnTo>
                <a:lnTo>
                  <a:pt x="3525335" y="716061"/>
                </a:lnTo>
                <a:cubicBezTo>
                  <a:pt x="3532250" y="704347"/>
                  <a:pt x="3540554" y="693582"/>
                  <a:pt x="3549855" y="683326"/>
                </a:cubicBezTo>
                <a:lnTo>
                  <a:pt x="3559363" y="674657"/>
                </a:lnTo>
                <a:lnTo>
                  <a:pt x="3564716" y="668121"/>
                </a:lnTo>
                <a:lnTo>
                  <a:pt x="3614383" y="624495"/>
                </a:lnTo>
                <a:close/>
                <a:moveTo>
                  <a:pt x="3593216" y="572569"/>
                </a:moveTo>
                <a:cubicBezTo>
                  <a:pt x="3594458" y="577207"/>
                  <a:pt x="3598033" y="581220"/>
                  <a:pt x="3601608" y="585233"/>
                </a:cubicBezTo>
                <a:lnTo>
                  <a:pt x="3601608" y="585234"/>
                </a:lnTo>
                <a:lnTo>
                  <a:pt x="3601609" y="585236"/>
                </a:lnTo>
                <a:cubicBezTo>
                  <a:pt x="3577820" y="599066"/>
                  <a:pt x="3575013" y="644561"/>
                  <a:pt x="3535682" y="637700"/>
                </a:cubicBezTo>
                <a:cubicBezTo>
                  <a:pt x="3532108" y="633687"/>
                  <a:pt x="3528532" y="629674"/>
                  <a:pt x="3524957" y="625658"/>
                </a:cubicBezTo>
                <a:lnTo>
                  <a:pt x="3524959" y="625659"/>
                </a:lnTo>
                <a:lnTo>
                  <a:pt x="3524957" y="625655"/>
                </a:lnTo>
                <a:cubicBezTo>
                  <a:pt x="3548124" y="609506"/>
                  <a:pt x="3570669" y="591037"/>
                  <a:pt x="3593216" y="572569"/>
                </a:cubicBezTo>
                <a:close/>
                <a:moveTo>
                  <a:pt x="3755882" y="436817"/>
                </a:moveTo>
                <a:cubicBezTo>
                  <a:pt x="3756508" y="439155"/>
                  <a:pt x="3758185" y="443090"/>
                  <a:pt x="3759203" y="446889"/>
                </a:cubicBezTo>
                <a:lnTo>
                  <a:pt x="3759203" y="446890"/>
                </a:lnTo>
                <a:lnTo>
                  <a:pt x="3759204" y="446892"/>
                </a:lnTo>
                <a:cubicBezTo>
                  <a:pt x="3760222" y="450691"/>
                  <a:pt x="3760581" y="454353"/>
                  <a:pt x="3758568" y="456145"/>
                </a:cubicBezTo>
                <a:cubicBezTo>
                  <a:pt x="3712623" y="498525"/>
                  <a:pt x="3663727" y="539190"/>
                  <a:pt x="3615457" y="582192"/>
                </a:cubicBezTo>
                <a:cubicBezTo>
                  <a:pt x="3611879" y="578139"/>
                  <a:pt x="3608301" y="574086"/>
                  <a:pt x="3604725" y="570034"/>
                </a:cubicBezTo>
                <a:lnTo>
                  <a:pt x="3604725" y="570032"/>
                </a:lnTo>
                <a:lnTo>
                  <a:pt x="3604724" y="570031"/>
                </a:lnTo>
                <a:cubicBezTo>
                  <a:pt x="3631628" y="540270"/>
                  <a:pt x="3660858" y="509887"/>
                  <a:pt x="3689461" y="477166"/>
                </a:cubicBezTo>
                <a:cubicBezTo>
                  <a:pt x="3724871" y="497745"/>
                  <a:pt x="3727362" y="441954"/>
                  <a:pt x="3755882" y="436817"/>
                </a:cubicBezTo>
                <a:close/>
                <a:moveTo>
                  <a:pt x="4517937" y="354749"/>
                </a:moveTo>
                <a:cubicBezTo>
                  <a:pt x="4538420" y="366738"/>
                  <a:pt x="4550845" y="380886"/>
                  <a:pt x="4554820" y="399170"/>
                </a:cubicBezTo>
                <a:lnTo>
                  <a:pt x="4554819" y="399171"/>
                </a:lnTo>
                <a:lnTo>
                  <a:pt x="4554820" y="399173"/>
                </a:lnTo>
                <a:cubicBezTo>
                  <a:pt x="4558795" y="417457"/>
                  <a:pt x="4554316" y="439878"/>
                  <a:pt x="4540992" y="468416"/>
                </a:cubicBezTo>
                <a:lnTo>
                  <a:pt x="4540990" y="468411"/>
                </a:lnTo>
                <a:cubicBezTo>
                  <a:pt x="4532057" y="425866"/>
                  <a:pt x="4524997" y="390308"/>
                  <a:pt x="4517937" y="354749"/>
                </a:cubicBezTo>
                <a:close/>
                <a:moveTo>
                  <a:pt x="4047546" y="235129"/>
                </a:moveTo>
                <a:cubicBezTo>
                  <a:pt x="4105783" y="249130"/>
                  <a:pt x="4117191" y="273214"/>
                  <a:pt x="4090391" y="302599"/>
                </a:cubicBezTo>
                <a:cubicBezTo>
                  <a:pt x="4094092" y="316411"/>
                  <a:pt x="4100720" y="331906"/>
                  <a:pt x="4104420" y="345719"/>
                </a:cubicBezTo>
                <a:cubicBezTo>
                  <a:pt x="4097490" y="347576"/>
                  <a:pt x="4088246" y="350052"/>
                  <a:pt x="4076692" y="353148"/>
                </a:cubicBezTo>
                <a:lnTo>
                  <a:pt x="4076690" y="353144"/>
                </a:lnTo>
                <a:lnTo>
                  <a:pt x="4076647" y="353155"/>
                </a:lnTo>
                <a:cubicBezTo>
                  <a:pt x="4070665" y="340034"/>
                  <a:pt x="4062381" y="327532"/>
                  <a:pt x="4052869" y="310450"/>
                </a:cubicBezTo>
                <a:lnTo>
                  <a:pt x="4052932" y="310428"/>
                </a:lnTo>
                <a:lnTo>
                  <a:pt x="4052803" y="310204"/>
                </a:lnTo>
                <a:lnTo>
                  <a:pt x="4084215" y="299346"/>
                </a:lnTo>
                <a:lnTo>
                  <a:pt x="4066920" y="271951"/>
                </a:lnTo>
                <a:cubicBezTo>
                  <a:pt x="4068631" y="269021"/>
                  <a:pt x="4070961" y="268397"/>
                  <a:pt x="4073290" y="267773"/>
                </a:cubicBezTo>
                <a:cubicBezTo>
                  <a:pt x="4063211" y="258114"/>
                  <a:pt x="4054846" y="245527"/>
                  <a:pt x="4047098" y="235243"/>
                </a:cubicBezTo>
                <a:lnTo>
                  <a:pt x="4047848" y="235505"/>
                </a:lnTo>
                <a:close/>
                <a:moveTo>
                  <a:pt x="4500029" y="222935"/>
                </a:moveTo>
                <a:cubicBezTo>
                  <a:pt x="4526084" y="245809"/>
                  <a:pt x="4552139" y="268684"/>
                  <a:pt x="4575870" y="292181"/>
                </a:cubicBezTo>
                <a:cubicBezTo>
                  <a:pt x="4591844" y="305316"/>
                  <a:pt x="4603791" y="322019"/>
                  <a:pt x="4615739" y="338723"/>
                </a:cubicBezTo>
                <a:cubicBezTo>
                  <a:pt x="4629160" y="356276"/>
                  <a:pt x="4638939" y="374181"/>
                  <a:pt x="4644942" y="393100"/>
                </a:cubicBezTo>
                <a:lnTo>
                  <a:pt x="4644942" y="393101"/>
                </a:lnTo>
                <a:lnTo>
                  <a:pt x="4644943" y="393103"/>
                </a:lnTo>
                <a:cubicBezTo>
                  <a:pt x="4650946" y="412019"/>
                  <a:pt x="4653173" y="431949"/>
                  <a:pt x="4651488" y="453548"/>
                </a:cubicBezTo>
                <a:cubicBezTo>
                  <a:pt x="4648870" y="471666"/>
                  <a:pt x="4665008" y="494710"/>
                  <a:pt x="4662390" y="512828"/>
                </a:cubicBezTo>
                <a:cubicBezTo>
                  <a:pt x="4657776" y="551383"/>
                  <a:pt x="4647894" y="588863"/>
                  <a:pt x="4638011" y="626343"/>
                </a:cubicBezTo>
                <a:cubicBezTo>
                  <a:pt x="4632447" y="642763"/>
                  <a:pt x="4627505" y="661502"/>
                  <a:pt x="4622564" y="680242"/>
                </a:cubicBezTo>
                <a:cubicBezTo>
                  <a:pt x="4607752" y="666795"/>
                  <a:pt x="4600265" y="655117"/>
                  <a:pt x="4599577" y="644416"/>
                </a:cubicBezTo>
                <a:lnTo>
                  <a:pt x="4599576" y="644414"/>
                </a:lnTo>
                <a:cubicBezTo>
                  <a:pt x="4599232" y="639063"/>
                  <a:pt x="4600588" y="633957"/>
                  <a:pt x="4603578" y="628995"/>
                </a:cubicBezTo>
                <a:lnTo>
                  <a:pt x="4617386" y="614451"/>
                </a:lnTo>
                <a:lnTo>
                  <a:pt x="4604976" y="604290"/>
                </a:lnTo>
                <a:cubicBezTo>
                  <a:pt x="4601575" y="601041"/>
                  <a:pt x="4599059" y="597749"/>
                  <a:pt x="4597864" y="593872"/>
                </a:cubicBezTo>
                <a:lnTo>
                  <a:pt x="4597864" y="593869"/>
                </a:lnTo>
                <a:lnTo>
                  <a:pt x="4597863" y="593869"/>
                </a:lnTo>
                <a:cubicBezTo>
                  <a:pt x="4595474" y="586112"/>
                  <a:pt x="4598370" y="576006"/>
                  <a:pt x="4610054" y="559192"/>
                </a:cubicBezTo>
                <a:cubicBezTo>
                  <a:pt x="4637448" y="521995"/>
                  <a:pt x="4627167" y="465038"/>
                  <a:pt x="4620456" y="412100"/>
                </a:cubicBezTo>
                <a:lnTo>
                  <a:pt x="4614575" y="381508"/>
                </a:lnTo>
                <a:lnTo>
                  <a:pt x="4603968" y="354631"/>
                </a:lnTo>
                <a:cubicBezTo>
                  <a:pt x="4578729" y="304012"/>
                  <a:pt x="4531453" y="270497"/>
                  <a:pt x="4500029" y="222937"/>
                </a:cubicBezTo>
                <a:lnTo>
                  <a:pt x="4500035" y="222943"/>
                </a:lnTo>
                <a:close/>
                <a:moveTo>
                  <a:pt x="4365040" y="174020"/>
                </a:moveTo>
                <a:cubicBezTo>
                  <a:pt x="4385637" y="185915"/>
                  <a:pt x="4403293" y="196111"/>
                  <a:pt x="4421570" y="208628"/>
                </a:cubicBezTo>
                <a:cubicBezTo>
                  <a:pt x="4433963" y="217746"/>
                  <a:pt x="4443578" y="235072"/>
                  <a:pt x="4454105" y="237227"/>
                </a:cubicBezTo>
                <a:cubicBezTo>
                  <a:pt x="4514775" y="240873"/>
                  <a:pt x="4504008" y="293513"/>
                  <a:pt x="4520920" y="328786"/>
                </a:cubicBezTo>
                <a:lnTo>
                  <a:pt x="4520920" y="328788"/>
                </a:lnTo>
                <a:cubicBezTo>
                  <a:pt x="4469942" y="277766"/>
                  <a:pt x="4418963" y="226744"/>
                  <a:pt x="4365041" y="174023"/>
                </a:cubicBezTo>
                <a:lnTo>
                  <a:pt x="4365047" y="174026"/>
                </a:lnTo>
                <a:close/>
                <a:moveTo>
                  <a:pt x="4139318" y="170059"/>
                </a:moveTo>
                <a:cubicBezTo>
                  <a:pt x="4167653" y="155008"/>
                  <a:pt x="4177005" y="227081"/>
                  <a:pt x="4214926" y="192061"/>
                </a:cubicBezTo>
                <a:cubicBezTo>
                  <a:pt x="4282352" y="248572"/>
                  <a:pt x="4275148" y="342482"/>
                  <a:pt x="4315484" y="418684"/>
                </a:cubicBezTo>
                <a:cubicBezTo>
                  <a:pt x="4366853" y="350228"/>
                  <a:pt x="4318174" y="298637"/>
                  <a:pt x="4298448" y="234315"/>
                </a:cubicBezTo>
                <a:cubicBezTo>
                  <a:pt x="4358285" y="290375"/>
                  <a:pt x="4382034" y="351131"/>
                  <a:pt x="4359324" y="424338"/>
                </a:cubicBezTo>
                <a:cubicBezTo>
                  <a:pt x="4355005" y="445384"/>
                  <a:pt x="4348362" y="467052"/>
                  <a:pt x="4341718" y="488719"/>
                </a:cubicBezTo>
                <a:cubicBezTo>
                  <a:pt x="4327975" y="539636"/>
                  <a:pt x="4316554" y="589928"/>
                  <a:pt x="4302811" y="640843"/>
                </a:cubicBezTo>
                <a:cubicBezTo>
                  <a:pt x="4308078" y="641918"/>
                  <a:pt x="4313344" y="642992"/>
                  <a:pt x="4316911" y="647009"/>
                </a:cubicBezTo>
                <a:cubicBezTo>
                  <a:pt x="4329738" y="611255"/>
                  <a:pt x="4353100" y="577649"/>
                  <a:pt x="4349666" y="546252"/>
                </a:cubicBezTo>
                <a:cubicBezTo>
                  <a:pt x="4346854" y="517175"/>
                  <a:pt x="4361709" y="498280"/>
                  <a:pt x="4366029" y="477233"/>
                </a:cubicBezTo>
                <a:cubicBezTo>
                  <a:pt x="4370807" y="448607"/>
                  <a:pt x="4391387" y="423206"/>
                  <a:pt x="4406535" y="386827"/>
                </a:cubicBezTo>
                <a:cubicBezTo>
                  <a:pt x="4410429" y="410645"/>
                  <a:pt x="4417102" y="426259"/>
                  <a:pt x="4416806" y="443740"/>
                </a:cubicBezTo>
                <a:cubicBezTo>
                  <a:pt x="4413301" y="514286"/>
                  <a:pt x="4385162" y="576518"/>
                  <a:pt x="4348189" y="633656"/>
                </a:cubicBezTo>
                <a:cubicBezTo>
                  <a:pt x="4309515" y="693738"/>
                  <a:pt x="4267003" y="751119"/>
                  <a:pt x="4221161" y="805352"/>
                </a:cubicBezTo>
                <a:lnTo>
                  <a:pt x="4147078" y="882352"/>
                </a:lnTo>
                <a:lnTo>
                  <a:pt x="4148873" y="884247"/>
                </a:lnTo>
                <a:lnTo>
                  <a:pt x="4150262" y="884349"/>
                </a:lnTo>
                <a:lnTo>
                  <a:pt x="4150191" y="884524"/>
                </a:lnTo>
                <a:lnTo>
                  <a:pt x="4150475" y="884545"/>
                </a:lnTo>
                <a:lnTo>
                  <a:pt x="4150595" y="884338"/>
                </a:lnTo>
                <a:lnTo>
                  <a:pt x="4156612" y="885859"/>
                </a:lnTo>
                <a:lnTo>
                  <a:pt x="4156183" y="885938"/>
                </a:lnTo>
                <a:lnTo>
                  <a:pt x="4156419" y="885998"/>
                </a:lnTo>
                <a:lnTo>
                  <a:pt x="4151371" y="886886"/>
                </a:lnTo>
                <a:lnTo>
                  <a:pt x="4151324" y="886833"/>
                </a:lnTo>
                <a:lnTo>
                  <a:pt x="4148890" y="887281"/>
                </a:lnTo>
                <a:lnTo>
                  <a:pt x="4149760" y="885782"/>
                </a:lnTo>
                <a:lnTo>
                  <a:pt x="4149701" y="885736"/>
                </a:lnTo>
                <a:lnTo>
                  <a:pt x="4149792" y="885511"/>
                </a:lnTo>
                <a:lnTo>
                  <a:pt x="4149868" y="885591"/>
                </a:lnTo>
                <a:lnTo>
                  <a:pt x="4149975" y="885410"/>
                </a:lnTo>
                <a:lnTo>
                  <a:pt x="4149875" y="885305"/>
                </a:lnTo>
                <a:lnTo>
                  <a:pt x="4149792" y="885511"/>
                </a:lnTo>
                <a:lnTo>
                  <a:pt x="4148754" y="884418"/>
                </a:lnTo>
                <a:lnTo>
                  <a:pt x="4145334" y="884164"/>
                </a:lnTo>
                <a:lnTo>
                  <a:pt x="4074136" y="958167"/>
                </a:lnTo>
                <a:cubicBezTo>
                  <a:pt x="3906978" y="1114825"/>
                  <a:pt x="3733310" y="1265770"/>
                  <a:pt x="3561964" y="1416089"/>
                </a:cubicBezTo>
                <a:cubicBezTo>
                  <a:pt x="3528067" y="1447544"/>
                  <a:pt x="3487660" y="1473286"/>
                  <a:pt x="3452521" y="1500102"/>
                </a:cubicBezTo>
                <a:cubicBezTo>
                  <a:pt x="3453764" y="1504741"/>
                  <a:pt x="3457329" y="1508760"/>
                  <a:pt x="3458572" y="1513398"/>
                </a:cubicBezTo>
                <a:cubicBezTo>
                  <a:pt x="3504868" y="1491047"/>
                  <a:pt x="3553028" y="1475657"/>
                  <a:pt x="3592813" y="1447596"/>
                </a:cubicBezTo>
                <a:cubicBezTo>
                  <a:pt x="3633220" y="1421854"/>
                  <a:pt x="3659364" y="1380049"/>
                  <a:pt x="3696826" y="1352610"/>
                </a:cubicBezTo>
                <a:cubicBezTo>
                  <a:pt x="3761377" y="1305482"/>
                  <a:pt x="3830118" y="1264689"/>
                  <a:pt x="3897615" y="1219259"/>
                </a:cubicBezTo>
                <a:cubicBezTo>
                  <a:pt x="3929352" y="1198325"/>
                  <a:pt x="3961710" y="1179710"/>
                  <a:pt x="3990501" y="1157081"/>
                </a:cubicBezTo>
                <a:cubicBezTo>
                  <a:pt x="4000873" y="1149329"/>
                  <a:pt x="4007679" y="1137561"/>
                  <a:pt x="4014484" y="1125794"/>
                </a:cubicBezTo>
                <a:cubicBezTo>
                  <a:pt x="4018509" y="1122231"/>
                  <a:pt x="4018345" y="1112331"/>
                  <a:pt x="4022990" y="1111086"/>
                </a:cubicBezTo>
                <a:cubicBezTo>
                  <a:pt x="4079821" y="1090885"/>
                  <a:pt x="4102236" y="1035161"/>
                  <a:pt x="4140614" y="992559"/>
                </a:cubicBezTo>
                <a:lnTo>
                  <a:pt x="4213815" y="900498"/>
                </a:lnTo>
                <a:lnTo>
                  <a:pt x="4156419" y="885998"/>
                </a:lnTo>
                <a:lnTo>
                  <a:pt x="4156856" y="885920"/>
                </a:lnTo>
                <a:lnTo>
                  <a:pt x="4156612" y="885859"/>
                </a:lnTo>
                <a:lnTo>
                  <a:pt x="4171160" y="883180"/>
                </a:lnTo>
                <a:cubicBezTo>
                  <a:pt x="4178583" y="881812"/>
                  <a:pt x="4185871" y="881102"/>
                  <a:pt x="4192617" y="883025"/>
                </a:cubicBezTo>
                <a:lnTo>
                  <a:pt x="4222488" y="889590"/>
                </a:lnTo>
                <a:lnTo>
                  <a:pt x="4248619" y="856725"/>
                </a:lnTo>
                <a:cubicBezTo>
                  <a:pt x="4344552" y="731583"/>
                  <a:pt x="4440484" y="606440"/>
                  <a:pt x="4536416" y="481298"/>
                </a:cubicBezTo>
                <a:cubicBezTo>
                  <a:pt x="4538118" y="478356"/>
                  <a:pt x="4542764" y="477111"/>
                  <a:pt x="4555458" y="468737"/>
                </a:cubicBezTo>
                <a:cubicBezTo>
                  <a:pt x="4554704" y="493798"/>
                  <a:pt x="4557354" y="512976"/>
                  <a:pt x="4554735" y="531081"/>
                </a:cubicBezTo>
                <a:cubicBezTo>
                  <a:pt x="4536050" y="600721"/>
                  <a:pt x="4503264" y="664196"/>
                  <a:pt x="4459944" y="725523"/>
                </a:cubicBezTo>
                <a:cubicBezTo>
                  <a:pt x="4425131" y="772139"/>
                  <a:pt x="4389696" y="816437"/>
                  <a:pt x="4354262" y="860736"/>
                </a:cubicBezTo>
                <a:cubicBezTo>
                  <a:pt x="4345133" y="873124"/>
                  <a:pt x="4335382" y="883195"/>
                  <a:pt x="4329199" y="897283"/>
                </a:cubicBezTo>
                <a:cubicBezTo>
                  <a:pt x="4367282" y="872162"/>
                  <a:pt x="4407066" y="844100"/>
                  <a:pt x="4447473" y="818358"/>
                </a:cubicBezTo>
                <a:cubicBezTo>
                  <a:pt x="4450417" y="820055"/>
                  <a:pt x="4453362" y="821751"/>
                  <a:pt x="4456307" y="823448"/>
                </a:cubicBezTo>
                <a:cubicBezTo>
                  <a:pt x="4449042" y="842796"/>
                  <a:pt x="4441157" y="859824"/>
                  <a:pt x="4429868" y="882737"/>
                </a:cubicBezTo>
                <a:cubicBezTo>
                  <a:pt x="4452313" y="864294"/>
                  <a:pt x="4473057" y="848791"/>
                  <a:pt x="4491476" y="833912"/>
                </a:cubicBezTo>
                <a:cubicBezTo>
                  <a:pt x="4494420" y="835610"/>
                  <a:pt x="4497365" y="837306"/>
                  <a:pt x="4500931" y="841322"/>
                </a:cubicBezTo>
                <a:cubicBezTo>
                  <a:pt x="4480121" y="870515"/>
                  <a:pt x="4460785" y="900556"/>
                  <a:pt x="4440711" y="930173"/>
                </a:cubicBezTo>
                <a:lnTo>
                  <a:pt x="4421837" y="955373"/>
                </a:lnTo>
                <a:lnTo>
                  <a:pt x="4425915" y="962400"/>
                </a:lnTo>
                <a:cubicBezTo>
                  <a:pt x="4451167" y="986871"/>
                  <a:pt x="4492194" y="991729"/>
                  <a:pt x="4517095" y="1014894"/>
                </a:cubicBezTo>
                <a:cubicBezTo>
                  <a:pt x="4521983" y="1019179"/>
                  <a:pt x="4524787" y="1023246"/>
                  <a:pt x="4526300" y="1027152"/>
                </a:cubicBezTo>
                <a:lnTo>
                  <a:pt x="4526314" y="1027252"/>
                </a:lnTo>
                <a:lnTo>
                  <a:pt x="4526357" y="1027309"/>
                </a:lnTo>
                <a:cubicBezTo>
                  <a:pt x="4529384" y="1035120"/>
                  <a:pt x="4527256" y="1042293"/>
                  <a:pt x="4526330" y="1049297"/>
                </a:cubicBezTo>
                <a:lnTo>
                  <a:pt x="4526635" y="1059703"/>
                </a:lnTo>
                <a:lnTo>
                  <a:pt x="4537160" y="1080616"/>
                </a:lnTo>
                <a:cubicBezTo>
                  <a:pt x="4550842" y="1097231"/>
                  <a:pt x="4572390" y="1102647"/>
                  <a:pt x="4588796" y="1115036"/>
                </a:cubicBezTo>
                <a:cubicBezTo>
                  <a:pt x="4601207" y="1124143"/>
                  <a:pt x="4608811" y="1133916"/>
                  <a:pt x="4612055" y="1144858"/>
                </a:cubicBezTo>
                <a:lnTo>
                  <a:pt x="4612060" y="1144919"/>
                </a:lnTo>
                <a:lnTo>
                  <a:pt x="4612084" y="1144965"/>
                </a:lnTo>
                <a:cubicBezTo>
                  <a:pt x="4615326" y="1155903"/>
                  <a:pt x="4614209" y="1168007"/>
                  <a:pt x="4609178" y="1181783"/>
                </a:cubicBezTo>
                <a:cubicBezTo>
                  <a:pt x="4576046" y="1262742"/>
                  <a:pt x="4546943" y="1340134"/>
                  <a:pt x="4461236" y="1382984"/>
                </a:cubicBezTo>
                <a:cubicBezTo>
                  <a:pt x="4436902" y="1394474"/>
                  <a:pt x="4423432" y="1427911"/>
                  <a:pt x="4402207" y="1450998"/>
                </a:cubicBezTo>
                <a:cubicBezTo>
                  <a:pt x="4385010" y="1470519"/>
                  <a:pt x="4366568" y="1485401"/>
                  <a:pt x="4342236" y="1496894"/>
                </a:cubicBezTo>
                <a:lnTo>
                  <a:pt x="4342231" y="1496865"/>
                </a:lnTo>
                <a:lnTo>
                  <a:pt x="4342153" y="1496913"/>
                </a:lnTo>
                <a:lnTo>
                  <a:pt x="4341080" y="1491478"/>
                </a:lnTo>
                <a:lnTo>
                  <a:pt x="4334676" y="1496513"/>
                </a:lnTo>
                <a:cubicBezTo>
                  <a:pt x="4318879" y="1506680"/>
                  <a:pt x="4302714" y="1514890"/>
                  <a:pt x="4287342" y="1520250"/>
                </a:cubicBezTo>
                <a:cubicBezTo>
                  <a:pt x="4284398" y="1518556"/>
                  <a:pt x="4280834" y="1514547"/>
                  <a:pt x="4280213" y="1512232"/>
                </a:cubicBezTo>
                <a:lnTo>
                  <a:pt x="4280214" y="1512230"/>
                </a:lnTo>
                <a:lnTo>
                  <a:pt x="4280212" y="1512227"/>
                </a:lnTo>
                <a:lnTo>
                  <a:pt x="4394673" y="1412041"/>
                </a:lnTo>
                <a:lnTo>
                  <a:pt x="4412178" y="1386147"/>
                </a:lnTo>
                <a:cubicBezTo>
                  <a:pt x="4427052" y="1367242"/>
                  <a:pt x="4444876" y="1350033"/>
                  <a:pt x="4462077" y="1330506"/>
                </a:cubicBezTo>
                <a:cubicBezTo>
                  <a:pt x="4440042" y="1304085"/>
                  <a:pt x="4469654" y="1293664"/>
                  <a:pt x="4485773" y="1279399"/>
                </a:cubicBezTo>
                <a:lnTo>
                  <a:pt x="4531625" y="1227343"/>
                </a:lnTo>
                <a:lnTo>
                  <a:pt x="4512570" y="1209533"/>
                </a:lnTo>
                <a:cubicBezTo>
                  <a:pt x="4505902" y="1203242"/>
                  <a:pt x="4498496" y="1196527"/>
                  <a:pt x="4489035" y="1189120"/>
                </a:cubicBezTo>
                <a:cubicBezTo>
                  <a:pt x="4482380" y="1210788"/>
                  <a:pt x="4474483" y="1227817"/>
                  <a:pt x="4464882" y="1247789"/>
                </a:cubicBezTo>
                <a:cubicBezTo>
                  <a:pt x="4461936" y="1246092"/>
                  <a:pt x="4457090" y="1244284"/>
                  <a:pt x="4451218" y="1242129"/>
                </a:cubicBezTo>
                <a:lnTo>
                  <a:pt x="4435434" y="1235972"/>
                </a:lnTo>
                <a:lnTo>
                  <a:pt x="4368651" y="1301757"/>
                </a:lnTo>
                <a:lnTo>
                  <a:pt x="4371725" y="1299752"/>
                </a:lnTo>
                <a:cubicBezTo>
                  <a:pt x="4372351" y="1302091"/>
                  <a:pt x="4374028" y="1306025"/>
                  <a:pt x="4375045" y="1309824"/>
                </a:cubicBezTo>
                <a:lnTo>
                  <a:pt x="4375047" y="1309824"/>
                </a:lnTo>
                <a:lnTo>
                  <a:pt x="4375047" y="1309826"/>
                </a:lnTo>
                <a:cubicBezTo>
                  <a:pt x="4376065" y="1313626"/>
                  <a:pt x="4376423" y="1317288"/>
                  <a:pt x="4374412" y="1319081"/>
                </a:cubicBezTo>
                <a:cubicBezTo>
                  <a:pt x="4328467" y="1361461"/>
                  <a:pt x="4279570" y="1402125"/>
                  <a:pt x="4231300" y="1445127"/>
                </a:cubicBezTo>
                <a:lnTo>
                  <a:pt x="4227489" y="1440808"/>
                </a:lnTo>
                <a:lnTo>
                  <a:pt x="4198844" y="1469026"/>
                </a:lnTo>
                <a:lnTo>
                  <a:pt x="4190316" y="1482163"/>
                </a:lnTo>
                <a:cubicBezTo>
                  <a:pt x="4181725" y="1494407"/>
                  <a:pt x="4171191" y="1504066"/>
                  <a:pt x="4151526" y="1500636"/>
                </a:cubicBezTo>
                <a:lnTo>
                  <a:pt x="4150711" y="1499719"/>
                </a:lnTo>
                <a:lnTo>
                  <a:pt x="4128498" y="1514134"/>
                </a:lnTo>
                <a:cubicBezTo>
                  <a:pt x="4115843" y="1524982"/>
                  <a:pt x="4104972" y="1537838"/>
                  <a:pt x="4096777" y="1553706"/>
                </a:cubicBezTo>
                <a:cubicBezTo>
                  <a:pt x="4092293" y="1564849"/>
                  <a:pt x="4073087" y="1567510"/>
                  <a:pt x="4059772" y="1573563"/>
                </a:cubicBezTo>
                <a:cubicBezTo>
                  <a:pt x="4056206" y="1569546"/>
                  <a:pt x="4053262" y="1567849"/>
                  <a:pt x="4052020" y="1563213"/>
                </a:cubicBezTo>
                <a:cubicBezTo>
                  <a:pt x="4045835" y="1577298"/>
                  <a:pt x="4042596" y="1593080"/>
                  <a:pt x="4033466" y="1605469"/>
                </a:cubicBezTo>
                <a:cubicBezTo>
                  <a:pt x="4017990" y="1622044"/>
                  <a:pt x="3997246" y="1637546"/>
                  <a:pt x="3978827" y="1652427"/>
                </a:cubicBezTo>
                <a:cubicBezTo>
                  <a:pt x="3940285" y="1685129"/>
                  <a:pt x="3898178" y="1713814"/>
                  <a:pt x="3859013" y="1744196"/>
                </a:cubicBezTo>
                <a:cubicBezTo>
                  <a:pt x="3849263" y="1754265"/>
                  <a:pt x="3836568" y="1762638"/>
                  <a:pt x="3827440" y="1775027"/>
                </a:cubicBezTo>
                <a:cubicBezTo>
                  <a:pt x="3820013" y="1784476"/>
                  <a:pt x="3813828" y="1798563"/>
                  <a:pt x="3812290" y="1811406"/>
                </a:cubicBezTo>
                <a:cubicBezTo>
                  <a:pt x="3807970" y="1832449"/>
                  <a:pt x="3747605" y="1885914"/>
                  <a:pt x="3724835" y="1884558"/>
                </a:cubicBezTo>
                <a:cubicBezTo>
                  <a:pt x="3721890" y="1882859"/>
                  <a:pt x="3722348" y="1875279"/>
                  <a:pt x="3718161" y="1868942"/>
                </a:cubicBezTo>
                <a:cubicBezTo>
                  <a:pt x="3625601" y="1950921"/>
                  <a:pt x="3530718" y="2033521"/>
                  <a:pt x="3435835" y="2116119"/>
                </a:cubicBezTo>
                <a:cubicBezTo>
                  <a:pt x="3435672" y="2106220"/>
                  <a:pt x="3435509" y="2096320"/>
                  <a:pt x="3434723" y="2084101"/>
                </a:cubicBezTo>
                <a:cubicBezTo>
                  <a:pt x="3409498" y="2110748"/>
                  <a:pt x="3387838" y="2141411"/>
                  <a:pt x="3359046" y="2164041"/>
                </a:cubicBezTo>
                <a:cubicBezTo>
                  <a:pt x="3333657" y="2180786"/>
                  <a:pt x="3312159" y="2221350"/>
                  <a:pt x="3262726" y="2194821"/>
                </a:cubicBezTo>
                <a:cubicBezTo>
                  <a:pt x="3257164" y="2211226"/>
                  <a:pt x="3249278" y="2228255"/>
                  <a:pt x="3241392" y="2245283"/>
                </a:cubicBezTo>
                <a:cubicBezTo>
                  <a:pt x="3244958" y="2249300"/>
                  <a:pt x="3248524" y="2253316"/>
                  <a:pt x="3253790" y="2254390"/>
                </a:cubicBezTo>
                <a:cubicBezTo>
                  <a:pt x="3425870" y="2148621"/>
                  <a:pt x="3590777" y="2032343"/>
                  <a:pt x="3751652" y="1910309"/>
                </a:cubicBezTo>
                <a:lnTo>
                  <a:pt x="4038001" y="1681422"/>
                </a:lnTo>
                <a:lnTo>
                  <a:pt x="4034093" y="1676238"/>
                </a:lnTo>
                <a:lnTo>
                  <a:pt x="4034112" y="1676200"/>
                </a:lnTo>
                <a:lnTo>
                  <a:pt x="4034065" y="1676137"/>
                </a:lnTo>
                <a:cubicBezTo>
                  <a:pt x="4036569" y="1668037"/>
                  <a:pt x="4039914" y="1661104"/>
                  <a:pt x="4043963" y="1655146"/>
                </a:cubicBezTo>
                <a:lnTo>
                  <a:pt x="4047268" y="1651606"/>
                </a:lnTo>
                <a:lnTo>
                  <a:pt x="4048217" y="1649833"/>
                </a:lnTo>
                <a:lnTo>
                  <a:pt x="4050949" y="1647662"/>
                </a:lnTo>
                <a:lnTo>
                  <a:pt x="4058092" y="1640009"/>
                </a:lnTo>
                <a:lnTo>
                  <a:pt x="4063999" y="1637295"/>
                </a:lnTo>
                <a:lnTo>
                  <a:pt x="4069338" y="1633054"/>
                </a:lnTo>
                <a:lnTo>
                  <a:pt x="4090800" y="1624982"/>
                </a:lnTo>
                <a:lnTo>
                  <a:pt x="4095833" y="1622670"/>
                </a:lnTo>
                <a:lnTo>
                  <a:pt x="4116462" y="1618706"/>
                </a:lnTo>
                <a:lnTo>
                  <a:pt x="4128499" y="1609084"/>
                </a:lnTo>
                <a:lnTo>
                  <a:pt x="4141177" y="1578996"/>
                </a:lnTo>
                <a:cubicBezTo>
                  <a:pt x="4148092" y="1567282"/>
                  <a:pt x="4156397" y="1556517"/>
                  <a:pt x="4165698" y="1546261"/>
                </a:cubicBezTo>
                <a:lnTo>
                  <a:pt x="4175206" y="1537592"/>
                </a:lnTo>
                <a:lnTo>
                  <a:pt x="4180559" y="1531056"/>
                </a:lnTo>
                <a:lnTo>
                  <a:pt x="4230226" y="1487430"/>
                </a:lnTo>
                <a:lnTo>
                  <a:pt x="4230340" y="1487326"/>
                </a:lnTo>
                <a:lnTo>
                  <a:pt x="4230384" y="1487847"/>
                </a:lnTo>
                <a:lnTo>
                  <a:pt x="4232922" y="1517905"/>
                </a:lnTo>
                <a:lnTo>
                  <a:pt x="4232921" y="1517947"/>
                </a:lnTo>
                <a:lnTo>
                  <a:pt x="4232925" y="1518000"/>
                </a:lnTo>
                <a:lnTo>
                  <a:pt x="4228823" y="1537082"/>
                </a:lnTo>
                <a:lnTo>
                  <a:pt x="4238562" y="1552067"/>
                </a:lnTo>
                <a:cubicBezTo>
                  <a:pt x="4243117" y="1558615"/>
                  <a:pt x="4248041" y="1565374"/>
                  <a:pt x="4254011" y="1573717"/>
                </a:cubicBezTo>
                <a:cubicBezTo>
                  <a:pt x="4016085" y="1754313"/>
                  <a:pt x="3778159" y="1934902"/>
                  <a:pt x="3540234" y="2115491"/>
                </a:cubicBezTo>
                <a:lnTo>
                  <a:pt x="3542108" y="2117602"/>
                </a:lnTo>
                <a:lnTo>
                  <a:pt x="3594764" y="2083560"/>
                </a:lnTo>
                <a:lnTo>
                  <a:pt x="3623368" y="2063384"/>
                </a:lnTo>
                <a:cubicBezTo>
                  <a:pt x="3737458" y="1978125"/>
                  <a:pt x="3852166" y="1895184"/>
                  <a:pt x="3963932" y="1810547"/>
                </a:cubicBezTo>
                <a:cubicBezTo>
                  <a:pt x="3974304" y="1802796"/>
                  <a:pt x="3988241" y="1799061"/>
                  <a:pt x="4007904" y="1788821"/>
                </a:cubicBezTo>
                <a:lnTo>
                  <a:pt x="4000065" y="1808681"/>
                </a:lnTo>
                <a:lnTo>
                  <a:pt x="4020500" y="1794157"/>
                </a:lnTo>
                <a:cubicBezTo>
                  <a:pt x="4210133" y="1656338"/>
                  <a:pt x="4402089" y="1517894"/>
                  <a:pt x="4559007" y="1341605"/>
                </a:cubicBezTo>
                <a:cubicBezTo>
                  <a:pt x="4576186" y="1322087"/>
                  <a:pt x="4592741" y="1300249"/>
                  <a:pt x="4606974" y="1279033"/>
                </a:cubicBezTo>
                <a:cubicBezTo>
                  <a:pt x="4618884" y="1258441"/>
                  <a:pt x="4630173" y="1235528"/>
                  <a:pt x="4643784" y="1211993"/>
                </a:cubicBezTo>
                <a:cubicBezTo>
                  <a:pt x="4660992" y="1229756"/>
                  <a:pt x="4685169" y="1245652"/>
                  <a:pt x="4654217" y="1278805"/>
                </a:cubicBezTo>
                <a:cubicBezTo>
                  <a:pt x="4673422" y="1276145"/>
                  <a:pt x="4692005" y="1271165"/>
                  <a:pt x="4711210" y="1268505"/>
                </a:cubicBezTo>
                <a:cubicBezTo>
                  <a:pt x="4708918" y="1306409"/>
                  <a:pt x="4681501" y="1306297"/>
                  <a:pt x="4651762" y="1306809"/>
                </a:cubicBezTo>
                <a:cubicBezTo>
                  <a:pt x="4654411" y="1325985"/>
                  <a:pt x="4655359" y="1348105"/>
                  <a:pt x="4658629" y="1369604"/>
                </a:cubicBezTo>
                <a:cubicBezTo>
                  <a:pt x="4706788" y="1354214"/>
                  <a:pt x="4706788" y="1354214"/>
                  <a:pt x="4730701" y="1424872"/>
                </a:cubicBezTo>
                <a:cubicBezTo>
                  <a:pt x="4736884" y="1410784"/>
                  <a:pt x="4741989" y="1401959"/>
                  <a:pt x="4744150" y="1391436"/>
                </a:cubicBezTo>
                <a:cubicBezTo>
                  <a:pt x="4748794" y="1390192"/>
                  <a:pt x="4751118" y="1389569"/>
                  <a:pt x="4756386" y="1390644"/>
                </a:cubicBezTo>
                <a:cubicBezTo>
                  <a:pt x="4759035" y="1409821"/>
                  <a:pt x="4764626" y="1430697"/>
                  <a:pt x="4762009" y="1448800"/>
                </a:cubicBezTo>
                <a:cubicBezTo>
                  <a:pt x="4758769" y="1464583"/>
                  <a:pt x="4752749" y="1488569"/>
                  <a:pt x="4720522" y="1479804"/>
                </a:cubicBezTo>
                <a:cubicBezTo>
                  <a:pt x="4715255" y="1478728"/>
                  <a:pt x="4699159" y="1492986"/>
                  <a:pt x="4692353" y="1504753"/>
                </a:cubicBezTo>
                <a:cubicBezTo>
                  <a:pt x="4679821" y="1523027"/>
                  <a:pt x="4675043" y="1551653"/>
                  <a:pt x="4639415" y="1548769"/>
                </a:cubicBezTo>
                <a:cubicBezTo>
                  <a:pt x="4631825" y="1548317"/>
                  <a:pt x="4623317" y="1563026"/>
                  <a:pt x="4620995" y="1563649"/>
                </a:cubicBezTo>
                <a:cubicBezTo>
                  <a:pt x="4625345" y="1579885"/>
                  <a:pt x="4627831" y="1589162"/>
                  <a:pt x="4630317" y="1598440"/>
                </a:cubicBezTo>
                <a:cubicBezTo>
                  <a:pt x="4621025" y="1600930"/>
                  <a:pt x="4613435" y="1600478"/>
                  <a:pt x="4604143" y="1602968"/>
                </a:cubicBezTo>
                <a:cubicBezTo>
                  <a:pt x="4599498" y="1604212"/>
                  <a:pt x="4591285" y="1601441"/>
                  <a:pt x="4587261" y="1605005"/>
                </a:cubicBezTo>
                <a:cubicBezTo>
                  <a:pt x="4545937" y="1645909"/>
                  <a:pt x="4504615" y="1686812"/>
                  <a:pt x="4466235" y="1729413"/>
                </a:cubicBezTo>
                <a:cubicBezTo>
                  <a:pt x="4596909" y="1659596"/>
                  <a:pt x="4869026" y="1430068"/>
                  <a:pt x="4865010" y="1257126"/>
                </a:cubicBezTo>
                <a:cubicBezTo>
                  <a:pt x="4858206" y="1268893"/>
                  <a:pt x="4850779" y="1278341"/>
                  <a:pt x="4846296" y="1289486"/>
                </a:cubicBezTo>
                <a:cubicBezTo>
                  <a:pt x="4828987" y="1336387"/>
                  <a:pt x="4811677" y="1383286"/>
                  <a:pt x="4794366" y="1430186"/>
                </a:cubicBezTo>
                <a:cubicBezTo>
                  <a:pt x="4789100" y="1429111"/>
                  <a:pt x="4786777" y="1429734"/>
                  <a:pt x="4781509" y="1428659"/>
                </a:cubicBezTo>
                <a:cubicBezTo>
                  <a:pt x="4773594" y="1408407"/>
                  <a:pt x="4755764" y="1388324"/>
                  <a:pt x="4758383" y="1370221"/>
                </a:cubicBezTo>
                <a:cubicBezTo>
                  <a:pt x="4759299" y="1355060"/>
                  <a:pt x="4785310" y="1340632"/>
                  <a:pt x="4799084" y="1326997"/>
                </a:cubicBezTo>
                <a:cubicBezTo>
                  <a:pt x="4802945" y="1313534"/>
                  <a:pt x="4808508" y="1297126"/>
                  <a:pt x="4813449" y="1278400"/>
                </a:cubicBezTo>
                <a:cubicBezTo>
                  <a:pt x="4805238" y="1275627"/>
                  <a:pt x="4791758" y="1271782"/>
                  <a:pt x="4773012" y="1266860"/>
                </a:cubicBezTo>
                <a:cubicBezTo>
                  <a:pt x="4785676" y="1221207"/>
                  <a:pt x="4801742" y="1169669"/>
                  <a:pt x="4818889" y="1112870"/>
                </a:cubicBezTo>
                <a:cubicBezTo>
                  <a:pt x="4801059" y="1092788"/>
                  <a:pt x="4777800" y="1061731"/>
                  <a:pt x="4755162" y="1032994"/>
                </a:cubicBezTo>
                <a:cubicBezTo>
                  <a:pt x="4783496" y="1017943"/>
                  <a:pt x="4792848" y="1090016"/>
                  <a:pt x="4830769" y="1054996"/>
                </a:cubicBezTo>
                <a:cubicBezTo>
                  <a:pt x="4898195" y="1111507"/>
                  <a:pt x="4890990" y="1205417"/>
                  <a:pt x="4931326" y="1281620"/>
                </a:cubicBezTo>
                <a:cubicBezTo>
                  <a:pt x="4982696" y="1213163"/>
                  <a:pt x="4934016" y="1161572"/>
                  <a:pt x="4914292" y="1097250"/>
                </a:cubicBezTo>
                <a:cubicBezTo>
                  <a:pt x="4974128" y="1153310"/>
                  <a:pt x="4997877" y="1214067"/>
                  <a:pt x="4975168" y="1287273"/>
                </a:cubicBezTo>
                <a:cubicBezTo>
                  <a:pt x="4970848" y="1308320"/>
                  <a:pt x="4964205" y="1329987"/>
                  <a:pt x="4957562" y="1351654"/>
                </a:cubicBezTo>
                <a:cubicBezTo>
                  <a:pt x="4943818" y="1402571"/>
                  <a:pt x="4932397" y="1452863"/>
                  <a:pt x="4918654" y="1503778"/>
                </a:cubicBezTo>
                <a:cubicBezTo>
                  <a:pt x="4923921" y="1504853"/>
                  <a:pt x="4929188" y="1505928"/>
                  <a:pt x="4932754" y="1509945"/>
                </a:cubicBezTo>
                <a:cubicBezTo>
                  <a:pt x="4945581" y="1474190"/>
                  <a:pt x="4968943" y="1440585"/>
                  <a:pt x="4965509" y="1409187"/>
                </a:cubicBezTo>
                <a:cubicBezTo>
                  <a:pt x="4962698" y="1380110"/>
                  <a:pt x="4977552" y="1361215"/>
                  <a:pt x="4981871" y="1340169"/>
                </a:cubicBezTo>
                <a:cubicBezTo>
                  <a:pt x="4986650" y="1311542"/>
                  <a:pt x="5007230" y="1286141"/>
                  <a:pt x="5022379" y="1249762"/>
                </a:cubicBezTo>
                <a:cubicBezTo>
                  <a:pt x="5026272" y="1273581"/>
                  <a:pt x="5032944" y="1289194"/>
                  <a:pt x="5032650" y="1306675"/>
                </a:cubicBezTo>
                <a:cubicBezTo>
                  <a:pt x="5029144" y="1377221"/>
                  <a:pt x="5001005" y="1439453"/>
                  <a:pt x="4964032" y="1496592"/>
                </a:cubicBezTo>
                <a:cubicBezTo>
                  <a:pt x="4886683" y="1616755"/>
                  <a:pt x="4793990" y="1726113"/>
                  <a:pt x="4689979" y="1821103"/>
                </a:cubicBezTo>
                <a:cubicBezTo>
                  <a:pt x="4522820" y="1977760"/>
                  <a:pt x="4349153" y="2128705"/>
                  <a:pt x="4177807" y="2279023"/>
                </a:cubicBezTo>
                <a:cubicBezTo>
                  <a:pt x="4143909" y="2310480"/>
                  <a:pt x="4103503" y="2336221"/>
                  <a:pt x="4068364" y="2363037"/>
                </a:cubicBezTo>
                <a:cubicBezTo>
                  <a:pt x="4069607" y="2367676"/>
                  <a:pt x="4073173" y="2371694"/>
                  <a:pt x="4074416" y="2376333"/>
                </a:cubicBezTo>
                <a:cubicBezTo>
                  <a:pt x="4120711" y="2353982"/>
                  <a:pt x="4168871" y="2338593"/>
                  <a:pt x="4208656" y="2310531"/>
                </a:cubicBezTo>
                <a:cubicBezTo>
                  <a:pt x="4249063" y="2284788"/>
                  <a:pt x="4275207" y="2242983"/>
                  <a:pt x="4312669" y="2215545"/>
                </a:cubicBezTo>
                <a:cubicBezTo>
                  <a:pt x="4377221" y="2168417"/>
                  <a:pt x="4445961" y="2127624"/>
                  <a:pt x="4513458" y="2082194"/>
                </a:cubicBezTo>
                <a:cubicBezTo>
                  <a:pt x="4545194" y="2061261"/>
                  <a:pt x="4577553" y="2042645"/>
                  <a:pt x="4606344" y="2020015"/>
                </a:cubicBezTo>
                <a:cubicBezTo>
                  <a:pt x="4616716" y="2012264"/>
                  <a:pt x="4623521" y="2000497"/>
                  <a:pt x="4630327" y="1988729"/>
                </a:cubicBezTo>
                <a:cubicBezTo>
                  <a:pt x="4634352" y="1985166"/>
                  <a:pt x="4634188" y="1975266"/>
                  <a:pt x="4638834" y="1974021"/>
                </a:cubicBezTo>
                <a:cubicBezTo>
                  <a:pt x="4695665" y="1953820"/>
                  <a:pt x="4718079" y="1898096"/>
                  <a:pt x="4756458" y="1855494"/>
                </a:cubicBezTo>
                <a:cubicBezTo>
                  <a:pt x="4794836" y="1812894"/>
                  <a:pt x="4829648" y="1766277"/>
                  <a:pt x="4864461" y="1719660"/>
                </a:cubicBezTo>
                <a:cubicBezTo>
                  <a:pt x="4960395" y="1594518"/>
                  <a:pt x="5056326" y="1469375"/>
                  <a:pt x="5152259" y="1344233"/>
                </a:cubicBezTo>
                <a:cubicBezTo>
                  <a:pt x="5153961" y="1341291"/>
                  <a:pt x="5158607" y="1340046"/>
                  <a:pt x="5171301" y="1331672"/>
                </a:cubicBezTo>
                <a:cubicBezTo>
                  <a:pt x="5170547" y="1356733"/>
                  <a:pt x="5173196" y="1375911"/>
                  <a:pt x="5170578" y="1394016"/>
                </a:cubicBezTo>
                <a:cubicBezTo>
                  <a:pt x="5151892" y="1463656"/>
                  <a:pt x="5119107" y="1527131"/>
                  <a:pt x="5075786" y="1588458"/>
                </a:cubicBezTo>
                <a:cubicBezTo>
                  <a:pt x="5040973" y="1635075"/>
                  <a:pt x="5005539" y="1679372"/>
                  <a:pt x="4970105" y="1723670"/>
                </a:cubicBezTo>
                <a:cubicBezTo>
                  <a:pt x="4960975" y="1736060"/>
                  <a:pt x="4951226" y="1746130"/>
                  <a:pt x="4945042" y="1760218"/>
                </a:cubicBezTo>
                <a:cubicBezTo>
                  <a:pt x="4983125" y="1735097"/>
                  <a:pt x="5022910" y="1707035"/>
                  <a:pt x="5063316" y="1681293"/>
                </a:cubicBezTo>
                <a:cubicBezTo>
                  <a:pt x="5066259" y="1682990"/>
                  <a:pt x="5069205" y="1684687"/>
                  <a:pt x="5072149" y="1686383"/>
                </a:cubicBezTo>
                <a:cubicBezTo>
                  <a:pt x="5064885" y="1705731"/>
                  <a:pt x="5057000" y="1722760"/>
                  <a:pt x="5045712" y="1745673"/>
                </a:cubicBezTo>
                <a:cubicBezTo>
                  <a:pt x="5068156" y="1727229"/>
                  <a:pt x="5088900" y="1711727"/>
                  <a:pt x="5107319" y="1696847"/>
                </a:cubicBezTo>
                <a:cubicBezTo>
                  <a:pt x="5110264" y="1698545"/>
                  <a:pt x="5113208" y="1700241"/>
                  <a:pt x="5116774" y="1704258"/>
                </a:cubicBezTo>
                <a:cubicBezTo>
                  <a:pt x="5075156" y="1762642"/>
                  <a:pt x="5039425" y="1824421"/>
                  <a:pt x="4991917" y="1879413"/>
                </a:cubicBezTo>
                <a:cubicBezTo>
                  <a:pt x="4821387" y="2079234"/>
                  <a:pt x="4617520" y="2238267"/>
                  <a:pt x="4407766" y="2393913"/>
                </a:cubicBezTo>
                <a:cubicBezTo>
                  <a:pt x="4268912" y="2498244"/>
                  <a:pt x="4128354" y="2605507"/>
                  <a:pt x="3986555" y="2708137"/>
                </a:cubicBezTo>
                <a:cubicBezTo>
                  <a:pt x="3836707" y="2817897"/>
                  <a:pt x="3686237" y="2925335"/>
                  <a:pt x="3535766" y="3032773"/>
                </a:cubicBezTo>
                <a:cubicBezTo>
                  <a:pt x="3391022" y="3133704"/>
                  <a:pt x="3248599" y="3234013"/>
                  <a:pt x="3106178" y="3334322"/>
                </a:cubicBezTo>
                <a:cubicBezTo>
                  <a:pt x="2926295" y="3462070"/>
                  <a:pt x="2748114" y="3586878"/>
                  <a:pt x="2571175" y="3716324"/>
                </a:cubicBezTo>
                <a:cubicBezTo>
                  <a:pt x="2340055" y="3885148"/>
                  <a:pt x="2123199" y="4070038"/>
                  <a:pt x="1930682" y="4280722"/>
                </a:cubicBezTo>
                <a:cubicBezTo>
                  <a:pt x="1926658" y="4284287"/>
                  <a:pt x="1923255" y="4290171"/>
                  <a:pt x="1914126" y="4302561"/>
                </a:cubicBezTo>
                <a:cubicBezTo>
                  <a:pt x="1932710" y="4297581"/>
                  <a:pt x="1945568" y="4299107"/>
                  <a:pt x="1953615" y="4291980"/>
                </a:cubicBezTo>
                <a:cubicBezTo>
                  <a:pt x="1978842" y="4265332"/>
                  <a:pt x="2005770" y="4235744"/>
                  <a:pt x="2030995" y="4209097"/>
                </a:cubicBezTo>
                <a:cubicBezTo>
                  <a:pt x="2039045" y="4201969"/>
                  <a:pt x="2044148" y="4193143"/>
                  <a:pt x="2052819" y="4188333"/>
                </a:cubicBezTo>
                <a:cubicBezTo>
                  <a:pt x="2163993" y="4138657"/>
                  <a:pt x="2247098" y="4049268"/>
                  <a:pt x="2345710" y="3980585"/>
                </a:cubicBezTo>
                <a:cubicBezTo>
                  <a:pt x="2362429" y="3968648"/>
                  <a:pt x="2376203" y="3955012"/>
                  <a:pt x="2398811" y="3946468"/>
                </a:cubicBezTo>
                <a:cubicBezTo>
                  <a:pt x="2390925" y="3963498"/>
                  <a:pt x="2383039" y="3980526"/>
                  <a:pt x="2370049" y="4006381"/>
                </a:cubicBezTo>
                <a:cubicBezTo>
                  <a:pt x="2431199" y="3965136"/>
                  <a:pt x="2485379" y="3925758"/>
                  <a:pt x="2540181" y="3888701"/>
                </a:cubicBezTo>
                <a:cubicBezTo>
                  <a:pt x="2645763" y="3818150"/>
                  <a:pt x="2748399" y="3745901"/>
                  <a:pt x="2851657" y="3675972"/>
                </a:cubicBezTo>
                <a:cubicBezTo>
                  <a:pt x="3063898" y="3529609"/>
                  <a:pt x="3273816" y="3383868"/>
                  <a:pt x="3483734" y="3238129"/>
                </a:cubicBezTo>
                <a:cubicBezTo>
                  <a:pt x="3502777" y="3225568"/>
                  <a:pt x="3520927" y="3212004"/>
                  <a:pt x="3538709" y="3198227"/>
                </a:cubicBezTo>
                <a:lnTo>
                  <a:pt x="3588157" y="3159643"/>
                </a:lnTo>
                <a:lnTo>
                  <a:pt x="3530946" y="3191534"/>
                </a:lnTo>
                <a:cubicBezTo>
                  <a:pt x="3517629" y="3197610"/>
                  <a:pt x="3507265" y="3205406"/>
                  <a:pt x="3493321" y="3209142"/>
                </a:cubicBezTo>
                <a:cubicBezTo>
                  <a:pt x="3505270" y="3160777"/>
                  <a:pt x="3562297" y="3150515"/>
                  <a:pt x="3580148" y="3105587"/>
                </a:cubicBezTo>
                <a:cubicBezTo>
                  <a:pt x="3585423" y="3106682"/>
                  <a:pt x="3588374" y="3108400"/>
                  <a:pt x="3593649" y="3109496"/>
                </a:cubicBezTo>
                <a:lnTo>
                  <a:pt x="3592273" y="3159248"/>
                </a:lnTo>
                <a:lnTo>
                  <a:pt x="3823838" y="2992872"/>
                </a:lnTo>
                <a:cubicBezTo>
                  <a:pt x="3835912" y="2982180"/>
                  <a:pt x="3843797" y="2965151"/>
                  <a:pt x="3858815" y="2956155"/>
                </a:cubicBezTo>
                <a:cubicBezTo>
                  <a:pt x="3893954" y="2929339"/>
                  <a:pt x="3933280" y="2908857"/>
                  <a:pt x="3966097" y="2882661"/>
                </a:cubicBezTo>
                <a:cubicBezTo>
                  <a:pt x="4051393" y="2820032"/>
                  <a:pt x="4135446" y="2752766"/>
                  <a:pt x="4217797" y="2688438"/>
                </a:cubicBezTo>
                <a:cubicBezTo>
                  <a:pt x="4256960" y="2658057"/>
                  <a:pt x="4299690" y="2631691"/>
                  <a:pt x="4338852" y="2601307"/>
                </a:cubicBezTo>
                <a:cubicBezTo>
                  <a:pt x="4487622" y="2496813"/>
                  <a:pt x="4637013" y="2394641"/>
                  <a:pt x="4779271" y="2284424"/>
                </a:cubicBezTo>
                <a:cubicBezTo>
                  <a:pt x="4907130" y="2185526"/>
                  <a:pt x="5026619" y="2073958"/>
                  <a:pt x="5150294" y="1968730"/>
                </a:cubicBezTo>
                <a:cubicBezTo>
                  <a:pt x="5156020" y="1962224"/>
                  <a:pt x="5160044" y="1958660"/>
                  <a:pt x="5170579" y="1960808"/>
                </a:cubicBezTo>
                <a:cubicBezTo>
                  <a:pt x="5138547" y="1999223"/>
                  <a:pt x="5109459" y="2039332"/>
                  <a:pt x="5074482" y="2076048"/>
                </a:cubicBezTo>
                <a:cubicBezTo>
                  <a:pt x="4987811" y="2161423"/>
                  <a:pt x="4901141" y="2246798"/>
                  <a:pt x="4814471" y="2332173"/>
                </a:cubicBezTo>
                <a:cubicBezTo>
                  <a:pt x="4806423" y="2339302"/>
                  <a:pt x="4795430" y="2344733"/>
                  <a:pt x="4786760" y="2349543"/>
                </a:cubicBezTo>
                <a:cubicBezTo>
                  <a:pt x="4756103" y="2365216"/>
                  <a:pt x="4729013" y="2384905"/>
                  <a:pt x="4712619" y="2416641"/>
                </a:cubicBezTo>
                <a:cubicBezTo>
                  <a:pt x="4708137" y="2427784"/>
                  <a:pt x="4688932" y="2430444"/>
                  <a:pt x="4675615" y="2436498"/>
                </a:cubicBezTo>
                <a:cubicBezTo>
                  <a:pt x="4672050" y="2432481"/>
                  <a:pt x="4669105" y="2430784"/>
                  <a:pt x="4667863" y="2426148"/>
                </a:cubicBezTo>
                <a:cubicBezTo>
                  <a:pt x="4661678" y="2440234"/>
                  <a:pt x="4658439" y="2456015"/>
                  <a:pt x="4649308" y="2468404"/>
                </a:cubicBezTo>
                <a:cubicBezTo>
                  <a:pt x="4633833" y="2484979"/>
                  <a:pt x="4613089" y="2500481"/>
                  <a:pt x="4594670" y="2515361"/>
                </a:cubicBezTo>
                <a:cubicBezTo>
                  <a:pt x="4556128" y="2548064"/>
                  <a:pt x="4514021" y="2576749"/>
                  <a:pt x="4474856" y="2607130"/>
                </a:cubicBezTo>
                <a:cubicBezTo>
                  <a:pt x="4465106" y="2617200"/>
                  <a:pt x="4452412" y="2625573"/>
                  <a:pt x="4443283" y="2637962"/>
                </a:cubicBezTo>
                <a:cubicBezTo>
                  <a:pt x="4435856" y="2647411"/>
                  <a:pt x="4429672" y="2661498"/>
                  <a:pt x="4428133" y="2674340"/>
                </a:cubicBezTo>
                <a:cubicBezTo>
                  <a:pt x="4423812" y="2695384"/>
                  <a:pt x="4363447" y="2748849"/>
                  <a:pt x="4340678" y="2747493"/>
                </a:cubicBezTo>
                <a:cubicBezTo>
                  <a:pt x="4337733" y="2745795"/>
                  <a:pt x="4338191" y="2738214"/>
                  <a:pt x="4334004" y="2731877"/>
                </a:cubicBezTo>
                <a:cubicBezTo>
                  <a:pt x="4241444" y="2813856"/>
                  <a:pt x="4146561" y="2896456"/>
                  <a:pt x="4051678" y="2979054"/>
                </a:cubicBezTo>
                <a:cubicBezTo>
                  <a:pt x="4051515" y="2969155"/>
                  <a:pt x="4051352" y="2959256"/>
                  <a:pt x="4050567" y="2947036"/>
                </a:cubicBezTo>
                <a:cubicBezTo>
                  <a:pt x="4025341" y="2973683"/>
                  <a:pt x="4003681" y="3004346"/>
                  <a:pt x="3974889" y="3026976"/>
                </a:cubicBezTo>
                <a:cubicBezTo>
                  <a:pt x="3949500" y="3043721"/>
                  <a:pt x="3928002" y="3084285"/>
                  <a:pt x="3878568" y="3057756"/>
                </a:cubicBezTo>
                <a:cubicBezTo>
                  <a:pt x="3873007" y="3074161"/>
                  <a:pt x="3865121" y="3091190"/>
                  <a:pt x="3857235" y="3108218"/>
                </a:cubicBezTo>
                <a:cubicBezTo>
                  <a:pt x="3860801" y="3112235"/>
                  <a:pt x="3864367" y="3116250"/>
                  <a:pt x="3869634" y="3117325"/>
                </a:cubicBezTo>
                <a:cubicBezTo>
                  <a:pt x="4213793" y="2905785"/>
                  <a:pt x="4529262" y="2652215"/>
                  <a:pt x="4841164" y="2394626"/>
                </a:cubicBezTo>
                <a:cubicBezTo>
                  <a:pt x="4850159" y="2409614"/>
                  <a:pt x="4857914" y="2419966"/>
                  <a:pt x="4869854" y="2436651"/>
                </a:cubicBezTo>
                <a:cubicBezTo>
                  <a:pt x="4631929" y="2617248"/>
                  <a:pt x="4394002" y="2797838"/>
                  <a:pt x="4156077" y="2978426"/>
                </a:cubicBezTo>
                <a:cubicBezTo>
                  <a:pt x="4156698" y="2980745"/>
                  <a:pt x="4157319" y="2983065"/>
                  <a:pt x="4159642" y="2982442"/>
                </a:cubicBezTo>
                <a:cubicBezTo>
                  <a:pt x="4187354" y="2965074"/>
                  <a:pt x="4214444" y="2945385"/>
                  <a:pt x="4239212" y="2926319"/>
                </a:cubicBezTo>
                <a:cubicBezTo>
                  <a:pt x="4353301" y="2841061"/>
                  <a:pt x="4468008" y="2758119"/>
                  <a:pt x="4579775" y="2673482"/>
                </a:cubicBezTo>
                <a:cubicBezTo>
                  <a:pt x="4590147" y="2665731"/>
                  <a:pt x="4604084" y="2661997"/>
                  <a:pt x="4623745" y="2651757"/>
                </a:cubicBezTo>
                <a:cubicBezTo>
                  <a:pt x="4612326" y="2702049"/>
                  <a:pt x="4578103" y="2713703"/>
                  <a:pt x="4553957" y="2735089"/>
                </a:cubicBezTo>
                <a:cubicBezTo>
                  <a:pt x="4510311" y="2776616"/>
                  <a:pt x="4466043" y="2815822"/>
                  <a:pt x="4421154" y="2852710"/>
                </a:cubicBezTo>
                <a:cubicBezTo>
                  <a:pt x="4382612" y="2885410"/>
                  <a:pt x="4338181" y="2914716"/>
                  <a:pt x="4296072" y="2943401"/>
                </a:cubicBezTo>
                <a:cubicBezTo>
                  <a:pt x="4273006" y="2959524"/>
                  <a:pt x="4254128" y="2981984"/>
                  <a:pt x="4219120" y="2981421"/>
                </a:cubicBezTo>
                <a:cubicBezTo>
                  <a:pt x="4191704" y="2981308"/>
                  <a:pt x="4147466" y="3057796"/>
                  <a:pt x="4151522" y="3091511"/>
                </a:cubicBezTo>
                <a:cubicBezTo>
                  <a:pt x="4131237" y="3099433"/>
                  <a:pt x="4111574" y="3109672"/>
                  <a:pt x="4087265" y="3121159"/>
                </a:cubicBezTo>
                <a:cubicBezTo>
                  <a:pt x="4093448" y="3107072"/>
                  <a:pt x="4095609" y="3096550"/>
                  <a:pt x="4102415" y="3084782"/>
                </a:cubicBezTo>
                <a:cubicBezTo>
                  <a:pt x="4042804" y="3113185"/>
                  <a:pt x="4008447" y="3152221"/>
                  <a:pt x="4025656" y="3169984"/>
                </a:cubicBezTo>
                <a:cubicBezTo>
                  <a:pt x="4001969" y="3183788"/>
                  <a:pt x="3978902" y="3199913"/>
                  <a:pt x="3957538" y="3213094"/>
                </a:cubicBezTo>
                <a:cubicBezTo>
                  <a:pt x="3936173" y="3226277"/>
                  <a:pt x="3914187" y="3237140"/>
                  <a:pt x="3889878" y="3248626"/>
                </a:cubicBezTo>
                <a:cubicBezTo>
                  <a:pt x="3838804" y="3299602"/>
                  <a:pt x="3769279" y="3328172"/>
                  <a:pt x="3704564" y="3365400"/>
                </a:cubicBezTo>
                <a:cubicBezTo>
                  <a:pt x="3725307" y="3349899"/>
                  <a:pt x="3743728" y="3335019"/>
                  <a:pt x="3764471" y="3319518"/>
                </a:cubicBezTo>
                <a:cubicBezTo>
                  <a:pt x="3699592" y="3346845"/>
                  <a:pt x="3629905" y="3365517"/>
                  <a:pt x="3586584" y="3426844"/>
                </a:cubicBezTo>
                <a:cubicBezTo>
                  <a:pt x="3605625" y="3414284"/>
                  <a:pt x="3624668" y="3401725"/>
                  <a:pt x="3647734" y="3385599"/>
                </a:cubicBezTo>
                <a:cubicBezTo>
                  <a:pt x="3626563" y="3445963"/>
                  <a:pt x="3522847" y="3523473"/>
                  <a:pt x="3433955" y="3544806"/>
                </a:cubicBezTo>
                <a:cubicBezTo>
                  <a:pt x="3450511" y="3522968"/>
                  <a:pt x="3461341" y="3507637"/>
                  <a:pt x="3476195" y="3488740"/>
                </a:cubicBezTo>
                <a:cubicBezTo>
                  <a:pt x="3369045" y="3534853"/>
                  <a:pt x="3296312" y="3616490"/>
                  <a:pt x="3217068" y="3692414"/>
                </a:cubicBezTo>
                <a:cubicBezTo>
                  <a:pt x="3165372" y="3741069"/>
                  <a:pt x="3111813" y="3782766"/>
                  <a:pt x="3051448" y="3836229"/>
                </a:cubicBezTo>
                <a:cubicBezTo>
                  <a:pt x="3044612" y="3810716"/>
                  <a:pt x="3041504" y="3799119"/>
                  <a:pt x="3035289" y="3775924"/>
                </a:cubicBezTo>
                <a:cubicBezTo>
                  <a:pt x="3006396" y="3863217"/>
                  <a:pt x="2970829" y="3934896"/>
                  <a:pt x="2860705" y="3942030"/>
                </a:cubicBezTo>
                <a:cubicBezTo>
                  <a:pt x="2790457" y="4032946"/>
                  <a:pt x="2674015" y="4081547"/>
                  <a:pt x="2576647" y="4154870"/>
                </a:cubicBezTo>
                <a:cubicBezTo>
                  <a:pt x="2573702" y="4153173"/>
                  <a:pt x="2568435" y="4152099"/>
                  <a:pt x="2565490" y="4150402"/>
                </a:cubicBezTo>
                <a:cubicBezTo>
                  <a:pt x="2571053" y="4133996"/>
                  <a:pt x="2575994" y="4115271"/>
                  <a:pt x="2578613" y="4097166"/>
                </a:cubicBezTo>
                <a:cubicBezTo>
                  <a:pt x="2556199" y="4152892"/>
                  <a:pt x="2524952" y="4203525"/>
                  <a:pt x="2468906" y="4235944"/>
                </a:cubicBezTo>
                <a:cubicBezTo>
                  <a:pt x="2727666" y="4151693"/>
                  <a:pt x="2967192" y="4032822"/>
                  <a:pt x="3156306" y="3828020"/>
                </a:cubicBezTo>
                <a:cubicBezTo>
                  <a:pt x="3184537" y="3877633"/>
                  <a:pt x="3178649" y="3874239"/>
                  <a:pt x="3128949" y="3902471"/>
                </a:cubicBezTo>
                <a:cubicBezTo>
                  <a:pt x="3080953" y="3927761"/>
                  <a:pt x="3041953" y="3968043"/>
                  <a:pt x="3002953" y="4008325"/>
                </a:cubicBezTo>
                <a:cubicBezTo>
                  <a:pt x="2989178" y="4021959"/>
                  <a:pt x="2991990" y="4051036"/>
                  <a:pt x="2980080" y="4071630"/>
                </a:cubicBezTo>
                <a:cubicBezTo>
                  <a:pt x="2969871" y="4089281"/>
                  <a:pt x="2953449" y="4083738"/>
                  <a:pt x="2944910" y="4061166"/>
                </a:cubicBezTo>
                <a:cubicBezTo>
                  <a:pt x="2900184" y="4107953"/>
                  <a:pt x="2841816" y="4140995"/>
                  <a:pt x="2814135" y="4195645"/>
                </a:cubicBezTo>
                <a:cubicBezTo>
                  <a:pt x="2817079" y="4197343"/>
                  <a:pt x="2820645" y="4201359"/>
                  <a:pt x="2823588" y="4203056"/>
                </a:cubicBezTo>
                <a:cubicBezTo>
                  <a:pt x="2812758" y="4218387"/>
                  <a:pt x="2802551" y="4236039"/>
                  <a:pt x="2791099" y="4249050"/>
                </a:cubicBezTo>
                <a:cubicBezTo>
                  <a:pt x="2782428" y="4253860"/>
                  <a:pt x="2768492" y="4257594"/>
                  <a:pt x="2758578" y="4257764"/>
                </a:cubicBezTo>
                <a:cubicBezTo>
                  <a:pt x="2692589" y="4253073"/>
                  <a:pt x="2635759" y="4273272"/>
                  <a:pt x="2586387" y="4321304"/>
                </a:cubicBezTo>
                <a:cubicBezTo>
                  <a:pt x="2527264" y="4379407"/>
                  <a:pt x="2461011" y="4429478"/>
                  <a:pt x="2396000" y="4484186"/>
                </a:cubicBezTo>
                <a:cubicBezTo>
                  <a:pt x="2377579" y="4499066"/>
                  <a:pt x="2385954" y="4511738"/>
                  <a:pt x="2390305" y="4527973"/>
                </a:cubicBezTo>
                <a:cubicBezTo>
                  <a:pt x="2393412" y="4539570"/>
                  <a:pt x="2404731" y="4553939"/>
                  <a:pt x="2400248" y="4565083"/>
                </a:cubicBezTo>
                <a:cubicBezTo>
                  <a:pt x="2399790" y="4572665"/>
                  <a:pt x="2380585" y="4575325"/>
                  <a:pt x="2367269" y="4581379"/>
                </a:cubicBezTo>
                <a:cubicBezTo>
                  <a:pt x="2365242" y="4564520"/>
                  <a:pt x="2364457" y="4552301"/>
                  <a:pt x="2363673" y="4540081"/>
                </a:cubicBezTo>
                <a:cubicBezTo>
                  <a:pt x="2316725" y="4522829"/>
                  <a:pt x="2290419" y="4554738"/>
                  <a:pt x="2259926" y="4580310"/>
                </a:cubicBezTo>
                <a:cubicBezTo>
                  <a:pt x="2239804" y="4598131"/>
                  <a:pt x="2219683" y="4615952"/>
                  <a:pt x="2197238" y="4634396"/>
                </a:cubicBezTo>
                <a:cubicBezTo>
                  <a:pt x="2160397" y="4664155"/>
                  <a:pt x="2121233" y="4694538"/>
                  <a:pt x="2085636" y="4728934"/>
                </a:cubicBezTo>
                <a:cubicBezTo>
                  <a:pt x="2075265" y="4736685"/>
                  <a:pt x="2079156" y="4760502"/>
                  <a:pt x="2076538" y="4778605"/>
                </a:cubicBezTo>
                <a:cubicBezTo>
                  <a:pt x="2079482" y="4780302"/>
                  <a:pt x="2082427" y="4781999"/>
                  <a:pt x="2085370" y="4783696"/>
                </a:cubicBezTo>
                <a:cubicBezTo>
                  <a:pt x="2058902" y="4805704"/>
                  <a:pt x="2035378" y="4829408"/>
                  <a:pt x="2009530" y="4853736"/>
                </a:cubicBezTo>
                <a:cubicBezTo>
                  <a:pt x="2001288" y="4813684"/>
                  <a:pt x="2051771" y="4797672"/>
                  <a:pt x="2038262" y="4756544"/>
                </a:cubicBezTo>
                <a:cubicBezTo>
                  <a:pt x="1937326" y="4825851"/>
                  <a:pt x="1955288" y="4818552"/>
                  <a:pt x="1972527" y="4873595"/>
                </a:cubicBezTo>
                <a:cubicBezTo>
                  <a:pt x="1943572" y="4886326"/>
                  <a:pt x="1943572" y="4886326"/>
                  <a:pt x="1938274" y="4847970"/>
                </a:cubicBezTo>
                <a:cubicBezTo>
                  <a:pt x="1924957" y="4854024"/>
                  <a:pt x="1911020" y="4857758"/>
                  <a:pt x="1900027" y="4863190"/>
                </a:cubicBezTo>
                <a:cubicBezTo>
                  <a:pt x="1898326" y="4866131"/>
                  <a:pt x="1898947" y="4868452"/>
                  <a:pt x="1899569" y="4870772"/>
                </a:cubicBezTo>
                <a:cubicBezTo>
                  <a:pt x="1911346" y="4877559"/>
                  <a:pt x="1921881" y="4879708"/>
                  <a:pt x="1931335" y="4887118"/>
                </a:cubicBezTo>
                <a:cubicBezTo>
                  <a:pt x="1937846" y="4892833"/>
                  <a:pt x="1947301" y="4900242"/>
                  <a:pt x="1946842" y="4907823"/>
                </a:cubicBezTo>
                <a:cubicBezTo>
                  <a:pt x="1946384" y="4915403"/>
                  <a:pt x="1938956" y="4924852"/>
                  <a:pt x="1930286" y="4929661"/>
                </a:cubicBezTo>
                <a:cubicBezTo>
                  <a:pt x="1917592" y="4938034"/>
                  <a:pt x="1901331" y="4942391"/>
                  <a:pt x="1888637" y="4950764"/>
                </a:cubicBezTo>
                <a:cubicBezTo>
                  <a:pt x="1866651" y="4961627"/>
                  <a:pt x="1854119" y="4979901"/>
                  <a:pt x="1867303" y="5001228"/>
                </a:cubicBezTo>
                <a:cubicBezTo>
                  <a:pt x="1893669" y="5043882"/>
                  <a:pt x="1855882" y="5051522"/>
                  <a:pt x="1835923" y="5079243"/>
                </a:cubicBezTo>
                <a:cubicBezTo>
                  <a:pt x="1830951" y="5060688"/>
                  <a:pt x="1827844" y="5049090"/>
                  <a:pt x="1823494" y="5032854"/>
                </a:cubicBezTo>
                <a:cubicBezTo>
                  <a:pt x="1813121" y="5040605"/>
                  <a:pt x="1805073" y="5047734"/>
                  <a:pt x="1805073" y="5047734"/>
                </a:cubicBezTo>
                <a:cubicBezTo>
                  <a:pt x="1811288" y="5070929"/>
                  <a:pt x="1816260" y="5089483"/>
                  <a:pt x="1821232" y="5108038"/>
                </a:cubicBezTo>
                <a:cubicBezTo>
                  <a:pt x="1818909" y="5108661"/>
                  <a:pt x="1798624" y="5116582"/>
                  <a:pt x="1798002" y="5114263"/>
                </a:cubicBezTo>
                <a:cubicBezTo>
                  <a:pt x="1791951" y="5100969"/>
                  <a:pt x="1788222" y="5087052"/>
                  <a:pt x="1782170" y="5073758"/>
                </a:cubicBezTo>
                <a:cubicBezTo>
                  <a:pt x="1737117" y="5100745"/>
                  <a:pt x="1714082" y="5154151"/>
                  <a:pt x="1741071" y="5199123"/>
                </a:cubicBezTo>
                <a:cubicBezTo>
                  <a:pt x="1672626" y="5222437"/>
                  <a:pt x="1692840" y="5316457"/>
                  <a:pt x="1625639" y="5344407"/>
                </a:cubicBezTo>
                <a:cubicBezTo>
                  <a:pt x="1594788" y="5312899"/>
                  <a:pt x="1589654" y="5284443"/>
                  <a:pt x="1621848" y="5255929"/>
                </a:cubicBezTo>
                <a:cubicBezTo>
                  <a:pt x="1625251" y="5250046"/>
                  <a:pt x="1624467" y="5237826"/>
                  <a:pt x="1616092" y="5225155"/>
                </a:cubicBezTo>
                <a:cubicBezTo>
                  <a:pt x="1598915" y="5244673"/>
                  <a:pt x="1584061" y="5263568"/>
                  <a:pt x="1566883" y="5283087"/>
                </a:cubicBezTo>
                <a:cubicBezTo>
                  <a:pt x="1561616" y="5282012"/>
                  <a:pt x="1558049" y="5277995"/>
                  <a:pt x="1555106" y="5276298"/>
                </a:cubicBezTo>
                <a:cubicBezTo>
                  <a:pt x="1582328" y="5229230"/>
                  <a:pt x="1609551" y="5182160"/>
                  <a:pt x="1636774" y="5135090"/>
                </a:cubicBezTo>
                <a:cubicBezTo>
                  <a:pt x="1633830" y="5133394"/>
                  <a:pt x="1633208" y="5131074"/>
                  <a:pt x="1630265" y="5129377"/>
                </a:cubicBezTo>
                <a:cubicBezTo>
                  <a:pt x="1601177" y="5169488"/>
                  <a:pt x="1574412" y="5208976"/>
                  <a:pt x="1549348" y="5245524"/>
                </a:cubicBezTo>
                <a:cubicBezTo>
                  <a:pt x="1487089" y="5254749"/>
                  <a:pt x="1500303" y="5313357"/>
                  <a:pt x="1479886" y="5348659"/>
                </a:cubicBezTo>
                <a:cubicBezTo>
                  <a:pt x="1497716" y="5368741"/>
                  <a:pt x="1566455" y="5327948"/>
                  <a:pt x="1545284" y="5388312"/>
                </a:cubicBezTo>
                <a:cubicBezTo>
                  <a:pt x="1558468" y="5409638"/>
                  <a:pt x="1567464" y="5424630"/>
                  <a:pt x="1574137" y="5440244"/>
                </a:cubicBezTo>
                <a:cubicBezTo>
                  <a:pt x="1582675" y="5462815"/>
                  <a:pt x="1585946" y="5484312"/>
                  <a:pt x="1592161" y="5507507"/>
                </a:cubicBezTo>
                <a:cubicBezTo>
                  <a:pt x="1605049" y="5546315"/>
                  <a:pt x="1593597" y="5559327"/>
                  <a:pt x="1552702" y="5555369"/>
                </a:cubicBezTo>
                <a:cubicBezTo>
                  <a:pt x="1542788" y="5555539"/>
                  <a:pt x="1532254" y="5553391"/>
                  <a:pt x="1522340" y="5553560"/>
                </a:cubicBezTo>
                <a:cubicBezTo>
                  <a:pt x="1516483" y="5587447"/>
                  <a:pt x="1510624" y="5621334"/>
                  <a:pt x="1507710" y="5656918"/>
                </a:cubicBezTo>
                <a:cubicBezTo>
                  <a:pt x="1502015" y="5700705"/>
                  <a:pt x="1502015" y="5700705"/>
                  <a:pt x="1448099" y="5685321"/>
                </a:cubicBezTo>
                <a:cubicBezTo>
                  <a:pt x="1465470" y="5712983"/>
                  <a:pt x="1478654" y="5734311"/>
                  <a:pt x="1489514" y="5756260"/>
                </a:cubicBezTo>
                <a:cubicBezTo>
                  <a:pt x="1503941" y="5782226"/>
                  <a:pt x="1527659" y="5805702"/>
                  <a:pt x="1529849" y="5832460"/>
                </a:cubicBezTo>
                <a:cubicBezTo>
                  <a:pt x="1533905" y="5866177"/>
                  <a:pt x="1523401" y="5901309"/>
                  <a:pt x="1518164" y="5937515"/>
                </a:cubicBezTo>
                <a:cubicBezTo>
                  <a:pt x="1514924" y="5953299"/>
                  <a:pt x="1512142" y="5961502"/>
                  <a:pt x="1526407" y="5977567"/>
                </a:cubicBezTo>
                <a:cubicBezTo>
                  <a:pt x="1547802" y="6001666"/>
                  <a:pt x="1556503" y="6034138"/>
                  <a:pt x="1540109" y="6065876"/>
                </a:cubicBezTo>
                <a:cubicBezTo>
                  <a:pt x="1514588" y="6110003"/>
                  <a:pt x="1492012" y="6155828"/>
                  <a:pt x="1468813" y="6199333"/>
                </a:cubicBezTo>
                <a:cubicBezTo>
                  <a:pt x="1465869" y="6197636"/>
                  <a:pt x="1459980" y="6194243"/>
                  <a:pt x="1454712" y="6193169"/>
                </a:cubicBezTo>
                <a:cubicBezTo>
                  <a:pt x="1456872" y="6182645"/>
                  <a:pt x="1458411" y="6169802"/>
                  <a:pt x="1460570" y="6159281"/>
                </a:cubicBezTo>
                <a:cubicBezTo>
                  <a:pt x="1467051" y="6127713"/>
                  <a:pt x="1462863" y="6121377"/>
                  <a:pt x="1430342" y="6130091"/>
                </a:cubicBezTo>
                <a:cubicBezTo>
                  <a:pt x="1423373" y="6131958"/>
                  <a:pt x="1416405" y="6133825"/>
                  <a:pt x="1407112" y="6136315"/>
                </a:cubicBezTo>
                <a:cubicBezTo>
                  <a:pt x="1402467" y="6137560"/>
                  <a:pt x="1395498" y="6139427"/>
                  <a:pt x="1388529" y="6141295"/>
                </a:cubicBezTo>
                <a:cubicBezTo>
                  <a:pt x="1371943" y="6125852"/>
                  <a:pt x="1365269" y="6110237"/>
                  <a:pt x="1377180" y="6089645"/>
                </a:cubicBezTo>
                <a:cubicBezTo>
                  <a:pt x="1382283" y="6080819"/>
                  <a:pt x="1379176" y="6069223"/>
                  <a:pt x="1381336" y="6058700"/>
                </a:cubicBezTo>
                <a:cubicBezTo>
                  <a:pt x="1365239" y="6072958"/>
                  <a:pt x="1352544" y="6081331"/>
                  <a:pt x="1338770" y="6094966"/>
                </a:cubicBezTo>
                <a:cubicBezTo>
                  <a:pt x="1324801" y="6061418"/>
                  <a:pt x="1314399" y="6031888"/>
                  <a:pt x="1301053" y="6000662"/>
                </a:cubicBezTo>
                <a:cubicBezTo>
                  <a:pt x="1298730" y="6001284"/>
                  <a:pt x="1294085" y="6002528"/>
                  <a:pt x="1289438" y="6003773"/>
                </a:cubicBezTo>
                <a:cubicBezTo>
                  <a:pt x="1299219" y="6030985"/>
                  <a:pt x="1309000" y="6058196"/>
                  <a:pt x="1320023" y="6090044"/>
                </a:cubicBezTo>
                <a:cubicBezTo>
                  <a:pt x="1301114" y="6075224"/>
                  <a:pt x="1286391" y="6066738"/>
                  <a:pt x="1265159" y="6052541"/>
                </a:cubicBezTo>
                <a:cubicBezTo>
                  <a:pt x="1267187" y="6069399"/>
                  <a:pt x="1267972" y="6081619"/>
                  <a:pt x="1268756" y="6093838"/>
                </a:cubicBezTo>
                <a:cubicBezTo>
                  <a:pt x="1266433" y="6094460"/>
                  <a:pt x="1264110" y="6095082"/>
                  <a:pt x="1264110" y="6095082"/>
                </a:cubicBezTo>
                <a:cubicBezTo>
                  <a:pt x="1251844" y="6058594"/>
                  <a:pt x="1240198" y="6024426"/>
                  <a:pt x="1228553" y="5990256"/>
                </a:cubicBezTo>
                <a:cubicBezTo>
                  <a:pt x="1226230" y="5990878"/>
                  <a:pt x="1221585" y="5992124"/>
                  <a:pt x="1219262" y="5992747"/>
                </a:cubicBezTo>
                <a:cubicBezTo>
                  <a:pt x="1229073" y="6057238"/>
                  <a:pt x="1238263" y="6119410"/>
                  <a:pt x="1245752" y="6184524"/>
                </a:cubicBezTo>
                <a:cubicBezTo>
                  <a:pt x="1248074" y="6183902"/>
                  <a:pt x="1248695" y="6186221"/>
                  <a:pt x="1251018" y="6185599"/>
                </a:cubicBezTo>
                <a:cubicBezTo>
                  <a:pt x="1250234" y="6173379"/>
                  <a:pt x="1252393" y="6162857"/>
                  <a:pt x="1253149" y="6137795"/>
                </a:cubicBezTo>
                <a:cubicBezTo>
                  <a:pt x="1270845" y="6185258"/>
                  <a:pt x="1285435" y="6221123"/>
                  <a:pt x="1300025" y="6256989"/>
                </a:cubicBezTo>
                <a:cubicBezTo>
                  <a:pt x="1305291" y="6258064"/>
                  <a:pt x="1307614" y="6257442"/>
                  <a:pt x="1309937" y="6256820"/>
                </a:cubicBezTo>
                <a:cubicBezTo>
                  <a:pt x="1307910" y="6239960"/>
                  <a:pt x="1305882" y="6223103"/>
                  <a:pt x="1303854" y="6206245"/>
                </a:cubicBezTo>
                <a:cubicBezTo>
                  <a:pt x="1306178" y="6205623"/>
                  <a:pt x="1308502" y="6205000"/>
                  <a:pt x="1308502" y="6205000"/>
                </a:cubicBezTo>
                <a:cubicBezTo>
                  <a:pt x="1331007" y="6261117"/>
                  <a:pt x="1352891" y="6314917"/>
                  <a:pt x="1375397" y="6371035"/>
                </a:cubicBezTo>
                <a:cubicBezTo>
                  <a:pt x="1371372" y="6374599"/>
                  <a:pt x="1369049" y="6375221"/>
                  <a:pt x="1366726" y="6375844"/>
                </a:cubicBezTo>
                <a:cubicBezTo>
                  <a:pt x="1330905" y="6325780"/>
                  <a:pt x="1291058" y="6279280"/>
                  <a:pt x="1256938" y="6226274"/>
                </a:cubicBezTo>
                <a:cubicBezTo>
                  <a:pt x="1189940" y="6124900"/>
                  <a:pt x="1119998" y="6021830"/>
                  <a:pt x="1056403" y="5914573"/>
                </a:cubicBezTo>
                <a:cubicBezTo>
                  <a:pt x="980246" y="5788308"/>
                  <a:pt x="916783" y="5653671"/>
                  <a:pt x="864934" y="5515920"/>
                </a:cubicBezTo>
                <a:lnTo>
                  <a:pt x="778556" y="5276787"/>
                </a:lnTo>
                <a:lnTo>
                  <a:pt x="772686" y="5278360"/>
                </a:lnTo>
                <a:cubicBezTo>
                  <a:pt x="764393" y="5270638"/>
                  <a:pt x="758578" y="5262874"/>
                  <a:pt x="756325" y="5254466"/>
                </a:cubicBezTo>
                <a:lnTo>
                  <a:pt x="759819" y="5235122"/>
                </a:lnTo>
                <a:lnTo>
                  <a:pt x="752288" y="5207016"/>
                </a:lnTo>
                <a:lnTo>
                  <a:pt x="722927" y="5232031"/>
                </a:lnTo>
                <a:cubicBezTo>
                  <a:pt x="708959" y="5198483"/>
                  <a:pt x="698556" y="5168953"/>
                  <a:pt x="685210" y="5137727"/>
                </a:cubicBezTo>
                <a:cubicBezTo>
                  <a:pt x="682887" y="5138350"/>
                  <a:pt x="678241" y="5139593"/>
                  <a:pt x="673595" y="5140838"/>
                </a:cubicBezTo>
                <a:cubicBezTo>
                  <a:pt x="683376" y="5168050"/>
                  <a:pt x="693157" y="5195260"/>
                  <a:pt x="704181" y="5227109"/>
                </a:cubicBezTo>
                <a:cubicBezTo>
                  <a:pt x="685271" y="5212289"/>
                  <a:pt x="670548" y="5203803"/>
                  <a:pt x="649317" y="5189605"/>
                </a:cubicBezTo>
                <a:cubicBezTo>
                  <a:pt x="651344" y="5206464"/>
                  <a:pt x="652129" y="5218683"/>
                  <a:pt x="652913" y="5230903"/>
                </a:cubicBezTo>
                <a:cubicBezTo>
                  <a:pt x="650590" y="5231526"/>
                  <a:pt x="648268" y="5232147"/>
                  <a:pt x="648268" y="5232147"/>
                </a:cubicBezTo>
                <a:cubicBezTo>
                  <a:pt x="636001" y="5195659"/>
                  <a:pt x="624356" y="5161491"/>
                  <a:pt x="612710" y="5127321"/>
                </a:cubicBezTo>
                <a:cubicBezTo>
                  <a:pt x="610387" y="5127943"/>
                  <a:pt x="605741" y="5129189"/>
                  <a:pt x="603418" y="5129812"/>
                </a:cubicBezTo>
                <a:cubicBezTo>
                  <a:pt x="613230" y="5194302"/>
                  <a:pt x="622420" y="5256475"/>
                  <a:pt x="629909" y="5321589"/>
                </a:cubicBezTo>
                <a:cubicBezTo>
                  <a:pt x="632232" y="5320967"/>
                  <a:pt x="632853" y="5323286"/>
                  <a:pt x="635175" y="5322664"/>
                </a:cubicBezTo>
                <a:cubicBezTo>
                  <a:pt x="634391" y="5310444"/>
                  <a:pt x="636551" y="5299921"/>
                  <a:pt x="637305" y="5274861"/>
                </a:cubicBezTo>
                <a:cubicBezTo>
                  <a:pt x="655003" y="5322323"/>
                  <a:pt x="669592" y="5358188"/>
                  <a:pt x="684181" y="5394055"/>
                </a:cubicBezTo>
                <a:cubicBezTo>
                  <a:pt x="689449" y="5395129"/>
                  <a:pt x="691772" y="5394507"/>
                  <a:pt x="694095" y="5393885"/>
                </a:cubicBezTo>
                <a:cubicBezTo>
                  <a:pt x="692066" y="5377026"/>
                  <a:pt x="690039" y="5360168"/>
                  <a:pt x="688012" y="5343310"/>
                </a:cubicBezTo>
                <a:cubicBezTo>
                  <a:pt x="690335" y="5342688"/>
                  <a:pt x="692658" y="5342065"/>
                  <a:pt x="692658" y="5342065"/>
                </a:cubicBezTo>
                <a:cubicBezTo>
                  <a:pt x="715163" y="5398183"/>
                  <a:pt x="737047" y="5451982"/>
                  <a:pt x="759555" y="5508100"/>
                </a:cubicBezTo>
                <a:cubicBezTo>
                  <a:pt x="755529" y="5511664"/>
                  <a:pt x="753207" y="5512286"/>
                  <a:pt x="750884" y="5512909"/>
                </a:cubicBezTo>
                <a:cubicBezTo>
                  <a:pt x="715062" y="5462845"/>
                  <a:pt x="675216" y="5416345"/>
                  <a:pt x="641095" y="5363338"/>
                </a:cubicBezTo>
                <a:cubicBezTo>
                  <a:pt x="574097" y="5261966"/>
                  <a:pt x="504154" y="5158895"/>
                  <a:pt x="440560" y="5051638"/>
                </a:cubicBezTo>
                <a:cubicBezTo>
                  <a:pt x="364402" y="4925374"/>
                  <a:pt x="300939" y="4790735"/>
                  <a:pt x="249091" y="4652985"/>
                </a:cubicBezTo>
                <a:cubicBezTo>
                  <a:pt x="222072" y="4570732"/>
                  <a:pt x="193351" y="4491419"/>
                  <a:pt x="162308" y="4412728"/>
                </a:cubicBezTo>
                <a:cubicBezTo>
                  <a:pt x="160443" y="4405771"/>
                  <a:pt x="153933" y="4400057"/>
                  <a:pt x="150367" y="4396041"/>
                </a:cubicBezTo>
                <a:cubicBezTo>
                  <a:pt x="126129" y="4305583"/>
                  <a:pt x="102513" y="4217445"/>
                  <a:pt x="78896" y="4129308"/>
                </a:cubicBezTo>
                <a:cubicBezTo>
                  <a:pt x="77490" y="4114768"/>
                  <a:pt x="78406" y="4099607"/>
                  <a:pt x="74679" y="4085691"/>
                </a:cubicBezTo>
                <a:cubicBezTo>
                  <a:pt x="59110" y="3990424"/>
                  <a:pt x="41841" y="3898100"/>
                  <a:pt x="30919" y="3801588"/>
                </a:cubicBezTo>
                <a:cubicBezTo>
                  <a:pt x="17511" y="3695800"/>
                  <a:pt x="8128" y="3586446"/>
                  <a:pt x="2310" y="3481109"/>
                </a:cubicBezTo>
                <a:cubicBezTo>
                  <a:pt x="-1969" y="3362930"/>
                  <a:pt x="-3925" y="3244130"/>
                  <a:pt x="30369" y="3130533"/>
                </a:cubicBezTo>
                <a:cubicBezTo>
                  <a:pt x="32528" y="3120012"/>
                  <a:pt x="30042" y="3110733"/>
                  <a:pt x="32202" y="3100211"/>
                </a:cubicBezTo>
                <a:cubicBezTo>
                  <a:pt x="30501" y="3103154"/>
                  <a:pt x="30501" y="3103154"/>
                  <a:pt x="30501" y="3103154"/>
                </a:cubicBezTo>
                <a:cubicBezTo>
                  <a:pt x="50133" y="3055633"/>
                  <a:pt x="73332" y="3012129"/>
                  <a:pt x="88320" y="2965852"/>
                </a:cubicBezTo>
                <a:cubicBezTo>
                  <a:pt x="96663" y="2941242"/>
                  <a:pt x="91529" y="2912788"/>
                  <a:pt x="91661" y="2885408"/>
                </a:cubicBezTo>
                <a:cubicBezTo>
                  <a:pt x="100821" y="2910298"/>
                  <a:pt x="112303" y="2934567"/>
                  <a:pt x="123785" y="2958834"/>
                </a:cubicBezTo>
                <a:cubicBezTo>
                  <a:pt x="159353" y="2887158"/>
                  <a:pt x="197864" y="2817176"/>
                  <a:pt x="233431" y="2745498"/>
                </a:cubicBezTo>
                <a:cubicBezTo>
                  <a:pt x="236375" y="2747195"/>
                  <a:pt x="239320" y="2748891"/>
                  <a:pt x="242264" y="2750589"/>
                </a:cubicBezTo>
                <a:cubicBezTo>
                  <a:pt x="236702" y="2766996"/>
                  <a:pt x="228195" y="2781704"/>
                  <a:pt x="223253" y="2800430"/>
                </a:cubicBezTo>
                <a:cubicBezTo>
                  <a:pt x="215368" y="2817458"/>
                  <a:pt x="207481" y="2834487"/>
                  <a:pt x="207186" y="2851965"/>
                </a:cubicBezTo>
                <a:cubicBezTo>
                  <a:pt x="209214" y="2868825"/>
                  <a:pt x="216509" y="2886758"/>
                  <a:pt x="223345" y="2912270"/>
                </a:cubicBezTo>
                <a:cubicBezTo>
                  <a:pt x="290189" y="2827240"/>
                  <a:pt x="346041" y="2747640"/>
                  <a:pt x="408403" y="2673754"/>
                </a:cubicBezTo>
                <a:cubicBezTo>
                  <a:pt x="528483" y="2527228"/>
                  <a:pt x="663904" y="2391504"/>
                  <a:pt x="820098" y="2277556"/>
                </a:cubicBezTo>
                <a:cubicBezTo>
                  <a:pt x="913442" y="2207793"/>
                  <a:pt x="1013917" y="2146066"/>
                  <a:pt x="1114395" y="2084342"/>
                </a:cubicBezTo>
                <a:cubicBezTo>
                  <a:pt x="1150776" y="2062164"/>
                  <a:pt x="1191346" y="2046323"/>
                  <a:pt x="1228350" y="2026465"/>
                </a:cubicBezTo>
                <a:cubicBezTo>
                  <a:pt x="1245690" y="2016847"/>
                  <a:pt x="1265354" y="2006606"/>
                  <a:pt x="1255573" y="1979396"/>
                </a:cubicBezTo>
                <a:cubicBezTo>
                  <a:pt x="1251386" y="1973060"/>
                  <a:pt x="1260515" y="1960671"/>
                  <a:pt x="1264376" y="1947206"/>
                </a:cubicBezTo>
                <a:cubicBezTo>
                  <a:pt x="1275695" y="1961574"/>
                  <a:pt x="1282205" y="1967288"/>
                  <a:pt x="1293524" y="1981656"/>
                </a:cubicBezTo>
                <a:cubicBezTo>
                  <a:pt x="1293199" y="1961857"/>
                  <a:pt x="1293036" y="1951957"/>
                  <a:pt x="1292251" y="1939738"/>
                </a:cubicBezTo>
                <a:cubicBezTo>
                  <a:pt x="1304487" y="1938944"/>
                  <a:pt x="1316723" y="1938152"/>
                  <a:pt x="1328959" y="1937359"/>
                </a:cubicBezTo>
                <a:cubicBezTo>
                  <a:pt x="1328796" y="1927459"/>
                  <a:pt x="1328633" y="1917558"/>
                  <a:pt x="1328470" y="1907659"/>
                </a:cubicBezTo>
                <a:cubicBezTo>
                  <a:pt x="1361154" y="1908845"/>
                  <a:pt x="1374766" y="1885311"/>
                  <a:pt x="1393644" y="1862850"/>
                </a:cubicBezTo>
                <a:cubicBezTo>
                  <a:pt x="1418249" y="1833884"/>
                  <a:pt x="1458818" y="1818041"/>
                  <a:pt x="1489934" y="1794788"/>
                </a:cubicBezTo>
                <a:cubicBezTo>
                  <a:pt x="1544114" y="1755411"/>
                  <a:pt x="1597674" y="1713715"/>
                  <a:pt x="1654177" y="1673715"/>
                </a:cubicBezTo>
                <a:cubicBezTo>
                  <a:pt x="1723375" y="1625342"/>
                  <a:pt x="1793817" y="1581608"/>
                  <a:pt x="1863637" y="1535554"/>
                </a:cubicBezTo>
                <a:cubicBezTo>
                  <a:pt x="1867203" y="1539571"/>
                  <a:pt x="1871390" y="1545906"/>
                  <a:pt x="1874956" y="1549923"/>
                </a:cubicBezTo>
                <a:cubicBezTo>
                  <a:pt x="1720462" y="1660925"/>
                  <a:pt x="1565346" y="1769610"/>
                  <a:pt x="1413175" y="1879990"/>
                </a:cubicBezTo>
                <a:cubicBezTo>
                  <a:pt x="1414418" y="1884629"/>
                  <a:pt x="1417984" y="1888645"/>
                  <a:pt x="1421549" y="1892662"/>
                </a:cubicBezTo>
                <a:cubicBezTo>
                  <a:pt x="1455609" y="1871106"/>
                  <a:pt x="1491991" y="1848928"/>
                  <a:pt x="1524808" y="1822734"/>
                </a:cubicBezTo>
                <a:cubicBezTo>
                  <a:pt x="1649266" y="1729721"/>
                  <a:pt x="1774348" y="1639029"/>
                  <a:pt x="1892297" y="1540304"/>
                </a:cubicBezTo>
                <a:cubicBezTo>
                  <a:pt x="1925112" y="1514110"/>
                  <a:pt x="1950175" y="1477563"/>
                  <a:pt x="1993690" y="1463418"/>
                </a:cubicBezTo>
                <a:cubicBezTo>
                  <a:pt x="2007005" y="1457364"/>
                  <a:pt x="2021565" y="1455949"/>
                  <a:pt x="2034881" y="1449895"/>
                </a:cubicBezTo>
                <a:cubicBezTo>
                  <a:pt x="2049277" y="1438579"/>
                  <a:pt x="2063051" y="1424945"/>
                  <a:pt x="2073881" y="1409613"/>
                </a:cubicBezTo>
                <a:cubicBezTo>
                  <a:pt x="2081309" y="1400165"/>
                  <a:pt x="2083926" y="1382062"/>
                  <a:pt x="2088867" y="1363337"/>
                </a:cubicBezTo>
                <a:cubicBezTo>
                  <a:pt x="2077254" y="1366448"/>
                  <a:pt x="2060372" y="1368486"/>
                  <a:pt x="2050000" y="1376237"/>
                </a:cubicBezTo>
                <a:cubicBezTo>
                  <a:pt x="1929402" y="1455784"/>
                  <a:pt x="1807102" y="1538273"/>
                  <a:pt x="1687126" y="1620139"/>
                </a:cubicBezTo>
                <a:cubicBezTo>
                  <a:pt x="1514670" y="1738441"/>
                  <a:pt x="1341592" y="1854424"/>
                  <a:pt x="1169758" y="1975045"/>
                </a:cubicBezTo>
                <a:cubicBezTo>
                  <a:pt x="1117278" y="2011480"/>
                  <a:pt x="1070229" y="2058890"/>
                  <a:pt x="1018370" y="2097643"/>
                </a:cubicBezTo>
                <a:cubicBezTo>
                  <a:pt x="1012645" y="2104149"/>
                  <a:pt x="997464" y="2103244"/>
                  <a:pt x="988173" y="2105734"/>
                </a:cubicBezTo>
                <a:cubicBezTo>
                  <a:pt x="992656" y="2094591"/>
                  <a:pt x="993573" y="2079430"/>
                  <a:pt x="1002243" y="2074621"/>
                </a:cubicBezTo>
                <a:cubicBezTo>
                  <a:pt x="1158897" y="1953096"/>
                  <a:pt x="1316173" y="1833889"/>
                  <a:pt x="1475771" y="1714060"/>
                </a:cubicBezTo>
                <a:cubicBezTo>
                  <a:pt x="1587536" y="1629423"/>
                  <a:pt x="1702245" y="1546481"/>
                  <a:pt x="1815253" y="1466483"/>
                </a:cubicBezTo>
                <a:cubicBezTo>
                  <a:pt x="1901792" y="1408492"/>
                  <a:pt x="1989573" y="1355140"/>
                  <a:pt x="2073168" y="1295451"/>
                </a:cubicBezTo>
                <a:cubicBezTo>
                  <a:pt x="2227662" y="1184448"/>
                  <a:pt x="2382778" y="1075764"/>
                  <a:pt x="2521765" y="944057"/>
                </a:cubicBezTo>
                <a:cubicBezTo>
                  <a:pt x="2557363" y="909659"/>
                  <a:pt x="2601172" y="878033"/>
                  <a:pt x="2658033" y="895114"/>
                </a:cubicBezTo>
                <a:cubicBezTo>
                  <a:pt x="2663300" y="896189"/>
                  <a:pt x="2666866" y="900206"/>
                  <a:pt x="2675078" y="902977"/>
                </a:cubicBezTo>
                <a:cubicBezTo>
                  <a:pt x="2616445" y="990781"/>
                  <a:pt x="2518587" y="1034403"/>
                  <a:pt x="2446770" y="1100879"/>
                </a:cubicBezTo>
                <a:cubicBezTo>
                  <a:pt x="2447392" y="1103199"/>
                  <a:pt x="2450958" y="1107215"/>
                  <a:pt x="2451579" y="1109534"/>
                </a:cubicBezTo>
                <a:cubicBezTo>
                  <a:pt x="2497252" y="1084867"/>
                  <a:pt x="2541225" y="1063140"/>
                  <a:pt x="2586899" y="1038473"/>
                </a:cubicBezTo>
                <a:cubicBezTo>
                  <a:pt x="2592328" y="1049447"/>
                  <a:pt x="2597759" y="1060422"/>
                  <a:pt x="2606135" y="1073093"/>
                </a:cubicBezTo>
                <a:cubicBezTo>
                  <a:pt x="2586012" y="1090914"/>
                  <a:pt x="2564189" y="1111677"/>
                  <a:pt x="2546391" y="1128877"/>
                </a:cubicBezTo>
                <a:cubicBezTo>
                  <a:pt x="2565626" y="1163497"/>
                  <a:pt x="2587184" y="1197496"/>
                  <a:pt x="2606420" y="1232116"/>
                </a:cubicBezTo>
                <a:cubicBezTo>
                  <a:pt x="2625655" y="1266738"/>
                  <a:pt x="2598563" y="1286426"/>
                  <a:pt x="2579685" y="1308886"/>
                </a:cubicBezTo>
                <a:cubicBezTo>
                  <a:pt x="2564831" y="1327782"/>
                  <a:pt x="2549355" y="1344359"/>
                  <a:pt x="2523507" y="1368686"/>
                </a:cubicBezTo>
                <a:cubicBezTo>
                  <a:pt x="2556192" y="1369873"/>
                  <a:pt x="2581286" y="1370606"/>
                  <a:pt x="2611025" y="1370094"/>
                </a:cubicBezTo>
                <a:cubicBezTo>
                  <a:pt x="2588580" y="1388539"/>
                  <a:pt x="2574184" y="1399854"/>
                  <a:pt x="2551740" y="1418297"/>
                </a:cubicBezTo>
                <a:cubicBezTo>
                  <a:pt x="2579156" y="1418409"/>
                  <a:pt x="2599604" y="1420388"/>
                  <a:pt x="2619430" y="1420047"/>
                </a:cubicBezTo>
                <a:cubicBezTo>
                  <a:pt x="2619593" y="1429947"/>
                  <a:pt x="2618513" y="1435209"/>
                  <a:pt x="2618676" y="1445109"/>
                </a:cubicBezTo>
                <a:cubicBezTo>
                  <a:pt x="2625645" y="1443242"/>
                  <a:pt x="2630290" y="1441997"/>
                  <a:pt x="2637259" y="1440130"/>
                </a:cubicBezTo>
                <a:cubicBezTo>
                  <a:pt x="2785570" y="1343213"/>
                  <a:pt x="2937445" y="1250313"/>
                  <a:pt x="3087456" y="1150456"/>
                </a:cubicBezTo>
                <a:cubicBezTo>
                  <a:pt x="3193037" y="1079905"/>
                  <a:pt x="3300941" y="1008731"/>
                  <a:pt x="3404657" y="931222"/>
                </a:cubicBezTo>
                <a:cubicBezTo>
                  <a:pt x="3594291" y="793402"/>
                  <a:pt x="3786247" y="654959"/>
                  <a:pt x="3943165" y="478670"/>
                </a:cubicBezTo>
                <a:cubicBezTo>
                  <a:pt x="3960343" y="459152"/>
                  <a:pt x="3976898" y="437314"/>
                  <a:pt x="3991131" y="416098"/>
                </a:cubicBezTo>
                <a:cubicBezTo>
                  <a:pt x="4003041" y="395506"/>
                  <a:pt x="4014330" y="372593"/>
                  <a:pt x="4027941" y="349059"/>
                </a:cubicBezTo>
                <a:cubicBezTo>
                  <a:pt x="4045148" y="366821"/>
                  <a:pt x="4069326" y="382717"/>
                  <a:pt x="4038374" y="415870"/>
                </a:cubicBezTo>
                <a:cubicBezTo>
                  <a:pt x="4057579" y="413210"/>
                  <a:pt x="4076162" y="408230"/>
                  <a:pt x="4095367" y="405570"/>
                </a:cubicBezTo>
                <a:cubicBezTo>
                  <a:pt x="4093075" y="443474"/>
                  <a:pt x="4065658" y="443362"/>
                  <a:pt x="4035918" y="443873"/>
                </a:cubicBezTo>
                <a:cubicBezTo>
                  <a:pt x="4038568" y="463050"/>
                  <a:pt x="4039515" y="485170"/>
                  <a:pt x="4042786" y="506669"/>
                </a:cubicBezTo>
                <a:cubicBezTo>
                  <a:pt x="4090946" y="491279"/>
                  <a:pt x="4090946" y="491279"/>
                  <a:pt x="4114858" y="561936"/>
                </a:cubicBezTo>
                <a:cubicBezTo>
                  <a:pt x="4121042" y="547849"/>
                  <a:pt x="4126146" y="539024"/>
                  <a:pt x="4128307" y="528501"/>
                </a:cubicBezTo>
                <a:cubicBezTo>
                  <a:pt x="4132952" y="527257"/>
                  <a:pt x="4135276" y="526634"/>
                  <a:pt x="4140543" y="527709"/>
                </a:cubicBezTo>
                <a:cubicBezTo>
                  <a:pt x="4143192" y="546887"/>
                  <a:pt x="4148785" y="567762"/>
                  <a:pt x="4146166" y="585865"/>
                </a:cubicBezTo>
                <a:cubicBezTo>
                  <a:pt x="4142926" y="601648"/>
                  <a:pt x="4136906" y="625635"/>
                  <a:pt x="4104680" y="616869"/>
                </a:cubicBezTo>
                <a:cubicBezTo>
                  <a:pt x="4099412" y="615793"/>
                  <a:pt x="4083316" y="630051"/>
                  <a:pt x="4076509" y="641818"/>
                </a:cubicBezTo>
                <a:cubicBezTo>
                  <a:pt x="4063978" y="660092"/>
                  <a:pt x="4059200" y="688717"/>
                  <a:pt x="4023572" y="685834"/>
                </a:cubicBezTo>
                <a:cubicBezTo>
                  <a:pt x="4015982" y="685382"/>
                  <a:pt x="4007473" y="700091"/>
                  <a:pt x="4005152" y="700714"/>
                </a:cubicBezTo>
                <a:cubicBezTo>
                  <a:pt x="4009502" y="716950"/>
                  <a:pt x="4011988" y="726227"/>
                  <a:pt x="4014474" y="735505"/>
                </a:cubicBezTo>
                <a:cubicBezTo>
                  <a:pt x="4005181" y="737995"/>
                  <a:pt x="3997592" y="737543"/>
                  <a:pt x="3988300" y="740033"/>
                </a:cubicBezTo>
                <a:cubicBezTo>
                  <a:pt x="3983655" y="741277"/>
                  <a:pt x="3975441" y="738506"/>
                  <a:pt x="3971418" y="742070"/>
                </a:cubicBezTo>
                <a:cubicBezTo>
                  <a:pt x="3930094" y="782974"/>
                  <a:pt x="3888772" y="823877"/>
                  <a:pt x="3850393" y="866478"/>
                </a:cubicBezTo>
                <a:cubicBezTo>
                  <a:pt x="3981066" y="796662"/>
                  <a:pt x="4253183" y="567134"/>
                  <a:pt x="4249168" y="394191"/>
                </a:cubicBezTo>
                <a:cubicBezTo>
                  <a:pt x="4242363" y="405958"/>
                  <a:pt x="4234936" y="415406"/>
                  <a:pt x="4230453" y="426551"/>
                </a:cubicBezTo>
                <a:cubicBezTo>
                  <a:pt x="4213144" y="473452"/>
                  <a:pt x="4195834" y="520351"/>
                  <a:pt x="4178524" y="567251"/>
                </a:cubicBezTo>
                <a:cubicBezTo>
                  <a:pt x="4173257" y="566176"/>
                  <a:pt x="4170933" y="566799"/>
                  <a:pt x="4165667" y="565724"/>
                </a:cubicBezTo>
                <a:cubicBezTo>
                  <a:pt x="4157751" y="545472"/>
                  <a:pt x="4139921" y="525389"/>
                  <a:pt x="4142540" y="507286"/>
                </a:cubicBezTo>
                <a:cubicBezTo>
                  <a:pt x="4143456" y="492125"/>
                  <a:pt x="4169467" y="477697"/>
                  <a:pt x="4183241" y="464062"/>
                </a:cubicBezTo>
                <a:cubicBezTo>
                  <a:pt x="4187102" y="450599"/>
                  <a:pt x="4192665" y="434191"/>
                  <a:pt x="4197606" y="415465"/>
                </a:cubicBezTo>
                <a:cubicBezTo>
                  <a:pt x="4189395" y="412693"/>
                  <a:pt x="4175914" y="408848"/>
                  <a:pt x="4157169" y="403926"/>
                </a:cubicBezTo>
                <a:cubicBezTo>
                  <a:pt x="4169833" y="358272"/>
                  <a:pt x="4185899" y="306734"/>
                  <a:pt x="4203046" y="249935"/>
                </a:cubicBezTo>
                <a:cubicBezTo>
                  <a:pt x="4185217" y="229852"/>
                  <a:pt x="4161956" y="198796"/>
                  <a:pt x="4139318" y="170059"/>
                </a:cubicBezTo>
                <a:close/>
                <a:moveTo>
                  <a:pt x="4203547" y="138198"/>
                </a:moveTo>
                <a:cubicBezTo>
                  <a:pt x="4232376" y="162770"/>
                  <a:pt x="4263511" y="186725"/>
                  <a:pt x="4292341" y="211298"/>
                </a:cubicBezTo>
                <a:lnTo>
                  <a:pt x="4292340" y="211300"/>
                </a:lnTo>
                <a:lnTo>
                  <a:pt x="4292342" y="211302"/>
                </a:lnTo>
                <a:cubicBezTo>
                  <a:pt x="4290035" y="211920"/>
                  <a:pt x="4288351" y="214856"/>
                  <a:pt x="4286665" y="217792"/>
                </a:cubicBezTo>
                <a:cubicBezTo>
                  <a:pt x="4256150" y="196155"/>
                  <a:pt x="4225015" y="172199"/>
                  <a:pt x="4196807" y="149945"/>
                </a:cubicBezTo>
                <a:lnTo>
                  <a:pt x="4196809" y="149942"/>
                </a:lnTo>
                <a:lnTo>
                  <a:pt x="4196807" y="149940"/>
                </a:lnTo>
                <a:cubicBezTo>
                  <a:pt x="4198492" y="147005"/>
                  <a:pt x="4200176" y="144069"/>
                  <a:pt x="4203547" y="138198"/>
                </a:cubicBezTo>
                <a:close/>
                <a:moveTo>
                  <a:pt x="3576774" y="20090"/>
                </a:moveTo>
                <a:cubicBezTo>
                  <a:pt x="3645322" y="34047"/>
                  <a:pt x="3712166" y="50947"/>
                  <a:pt x="3780714" y="64904"/>
                </a:cubicBezTo>
                <a:cubicBezTo>
                  <a:pt x="3785987" y="65978"/>
                  <a:pt x="3791260" y="67052"/>
                  <a:pt x="3791260" y="67052"/>
                </a:cubicBezTo>
                <a:cubicBezTo>
                  <a:pt x="3806180" y="122731"/>
                  <a:pt x="3868050" y="121072"/>
                  <a:pt x="3901253" y="151959"/>
                </a:cubicBezTo>
                <a:cubicBezTo>
                  <a:pt x="3906140" y="156244"/>
                  <a:pt x="3908944" y="160311"/>
                  <a:pt x="3910457" y="164217"/>
                </a:cubicBezTo>
                <a:lnTo>
                  <a:pt x="3910471" y="164317"/>
                </a:lnTo>
                <a:lnTo>
                  <a:pt x="3910514" y="164374"/>
                </a:lnTo>
                <a:cubicBezTo>
                  <a:pt x="3913540" y="172185"/>
                  <a:pt x="3911413" y="179357"/>
                  <a:pt x="3910487" y="186362"/>
                </a:cubicBezTo>
                <a:lnTo>
                  <a:pt x="3910792" y="196768"/>
                </a:lnTo>
                <a:lnTo>
                  <a:pt x="3921317" y="217681"/>
                </a:lnTo>
                <a:cubicBezTo>
                  <a:pt x="3934999" y="234296"/>
                  <a:pt x="3956548" y="239712"/>
                  <a:pt x="3972952" y="252100"/>
                </a:cubicBezTo>
                <a:cubicBezTo>
                  <a:pt x="3985364" y="261208"/>
                  <a:pt x="3992968" y="270981"/>
                  <a:pt x="3996212" y="281923"/>
                </a:cubicBezTo>
                <a:lnTo>
                  <a:pt x="3996217" y="281984"/>
                </a:lnTo>
                <a:lnTo>
                  <a:pt x="3996240" y="282031"/>
                </a:lnTo>
                <a:cubicBezTo>
                  <a:pt x="3999483" y="292967"/>
                  <a:pt x="3998366" y="305073"/>
                  <a:pt x="3993335" y="318848"/>
                </a:cubicBezTo>
                <a:cubicBezTo>
                  <a:pt x="3960203" y="399807"/>
                  <a:pt x="3931100" y="477199"/>
                  <a:pt x="3845393" y="520049"/>
                </a:cubicBezTo>
                <a:cubicBezTo>
                  <a:pt x="3821060" y="531539"/>
                  <a:pt x="3807590" y="564976"/>
                  <a:pt x="3786364" y="588063"/>
                </a:cubicBezTo>
                <a:cubicBezTo>
                  <a:pt x="3769166" y="607583"/>
                  <a:pt x="3750726" y="622466"/>
                  <a:pt x="3726393" y="633959"/>
                </a:cubicBezTo>
                <a:lnTo>
                  <a:pt x="3726388" y="633929"/>
                </a:lnTo>
                <a:lnTo>
                  <a:pt x="3726310" y="633978"/>
                </a:lnTo>
                <a:cubicBezTo>
                  <a:pt x="3715901" y="604442"/>
                  <a:pt x="3727370" y="591423"/>
                  <a:pt x="3753413" y="576984"/>
                </a:cubicBezTo>
                <a:cubicBezTo>
                  <a:pt x="3770775" y="567360"/>
                  <a:pt x="3781459" y="542117"/>
                  <a:pt x="3796335" y="523212"/>
                </a:cubicBezTo>
                <a:cubicBezTo>
                  <a:pt x="3811210" y="504307"/>
                  <a:pt x="3829033" y="487099"/>
                  <a:pt x="3846234" y="467571"/>
                </a:cubicBezTo>
                <a:cubicBezTo>
                  <a:pt x="3824198" y="441150"/>
                  <a:pt x="3853810" y="430729"/>
                  <a:pt x="3869929" y="416464"/>
                </a:cubicBezTo>
                <a:lnTo>
                  <a:pt x="3915782" y="364409"/>
                </a:lnTo>
                <a:lnTo>
                  <a:pt x="3896728" y="346598"/>
                </a:lnTo>
                <a:cubicBezTo>
                  <a:pt x="3890059" y="340307"/>
                  <a:pt x="3882653" y="333592"/>
                  <a:pt x="3873192" y="326185"/>
                </a:cubicBezTo>
                <a:cubicBezTo>
                  <a:pt x="3866538" y="347853"/>
                  <a:pt x="3858640" y="364882"/>
                  <a:pt x="3849039" y="384853"/>
                </a:cubicBezTo>
                <a:cubicBezTo>
                  <a:pt x="3843146" y="381461"/>
                  <a:pt x="3829656" y="377619"/>
                  <a:pt x="3815546" y="371458"/>
                </a:cubicBezTo>
                <a:cubicBezTo>
                  <a:pt x="3811516" y="375023"/>
                  <a:pt x="3806406" y="383849"/>
                  <a:pt x="3798348" y="390979"/>
                </a:cubicBezTo>
                <a:cubicBezTo>
                  <a:pt x="3795402" y="389283"/>
                  <a:pt x="3791834" y="385267"/>
                  <a:pt x="3788887" y="383572"/>
                </a:cubicBezTo>
                <a:lnTo>
                  <a:pt x="3788894" y="383562"/>
                </a:lnTo>
                <a:lnTo>
                  <a:pt x="3788810" y="383497"/>
                </a:lnTo>
                <a:cubicBezTo>
                  <a:pt x="3791366" y="379082"/>
                  <a:pt x="3794348" y="373932"/>
                  <a:pt x="3798259" y="367599"/>
                </a:cubicBezTo>
                <a:lnTo>
                  <a:pt x="3813222" y="344712"/>
                </a:lnTo>
                <a:lnTo>
                  <a:pt x="3782744" y="346693"/>
                </a:lnTo>
                <a:cubicBezTo>
                  <a:pt x="3772977" y="347445"/>
                  <a:pt x="3764683" y="349046"/>
                  <a:pt x="3760966" y="353770"/>
                </a:cubicBezTo>
                <a:cubicBezTo>
                  <a:pt x="3743769" y="373292"/>
                  <a:pt x="3735411" y="397901"/>
                  <a:pt x="3720238" y="434279"/>
                </a:cubicBezTo>
                <a:cubicBezTo>
                  <a:pt x="3695283" y="443450"/>
                  <a:pt x="3659946" y="460376"/>
                  <a:pt x="3621662" y="475604"/>
                </a:cubicBezTo>
                <a:lnTo>
                  <a:pt x="3621588" y="475540"/>
                </a:lnTo>
                <a:lnTo>
                  <a:pt x="3621545" y="475558"/>
                </a:lnTo>
                <a:cubicBezTo>
                  <a:pt x="3620924" y="473239"/>
                  <a:pt x="3617977" y="471542"/>
                  <a:pt x="3615029" y="469845"/>
                </a:cubicBezTo>
                <a:cubicBezTo>
                  <a:pt x="3624170" y="457450"/>
                  <a:pt x="3629744" y="441037"/>
                  <a:pt x="3641833" y="430338"/>
                </a:cubicBezTo>
                <a:cubicBezTo>
                  <a:pt x="3670041" y="405374"/>
                  <a:pt x="3701196" y="382108"/>
                  <a:pt x="3729404" y="357144"/>
                </a:cubicBezTo>
                <a:cubicBezTo>
                  <a:pt x="3735137" y="350635"/>
                  <a:pt x="3734354" y="338411"/>
                  <a:pt x="3739467" y="329583"/>
                </a:cubicBezTo>
                <a:cubicBezTo>
                  <a:pt x="3756668" y="310053"/>
                  <a:pt x="3776194" y="289902"/>
                  <a:pt x="3787501" y="266980"/>
                </a:cubicBezTo>
                <a:cubicBezTo>
                  <a:pt x="3803649" y="236545"/>
                  <a:pt x="3806800" y="204697"/>
                  <a:pt x="3800496" y="175338"/>
                </a:cubicBezTo>
                <a:lnTo>
                  <a:pt x="3791200" y="147040"/>
                </a:lnTo>
                <a:lnTo>
                  <a:pt x="3756861" y="98824"/>
                </a:lnTo>
                <a:cubicBezTo>
                  <a:pt x="3742419" y="85178"/>
                  <a:pt x="3725351" y="74372"/>
                  <a:pt x="3706706" y="67563"/>
                </a:cubicBezTo>
                <a:cubicBezTo>
                  <a:pt x="3679104" y="57560"/>
                  <a:pt x="3650382" y="50341"/>
                  <a:pt x="3621445" y="43493"/>
                </a:cubicBezTo>
                <a:lnTo>
                  <a:pt x="3540575" y="23063"/>
                </a:lnTo>
                <a:lnTo>
                  <a:pt x="3541013" y="22985"/>
                </a:lnTo>
                <a:lnTo>
                  <a:pt x="3540770" y="22924"/>
                </a:lnTo>
                <a:lnTo>
                  <a:pt x="3555317" y="20245"/>
                </a:lnTo>
                <a:cubicBezTo>
                  <a:pt x="3562740" y="18877"/>
                  <a:pt x="3570028" y="18167"/>
                  <a:pt x="3576774" y="20090"/>
                </a:cubicBezTo>
                <a:close/>
                <a:moveTo>
                  <a:pt x="3399550" y="648"/>
                </a:moveTo>
                <a:cubicBezTo>
                  <a:pt x="3439763" y="2243"/>
                  <a:pt x="3480595" y="6147"/>
                  <a:pt x="3519107" y="10671"/>
                </a:cubicBezTo>
                <a:lnTo>
                  <a:pt x="3519374" y="10817"/>
                </a:lnTo>
                <a:lnTo>
                  <a:pt x="3519554" y="10832"/>
                </a:lnTo>
                <a:cubicBezTo>
                  <a:pt x="3521879" y="10209"/>
                  <a:pt x="3524245" y="12060"/>
                  <a:pt x="3526843" y="14781"/>
                </a:cubicBezTo>
                <a:lnTo>
                  <a:pt x="3533030" y="21312"/>
                </a:lnTo>
                <a:lnTo>
                  <a:pt x="3534419" y="21413"/>
                </a:lnTo>
                <a:lnTo>
                  <a:pt x="3534348" y="21589"/>
                </a:lnTo>
                <a:lnTo>
                  <a:pt x="3534632" y="21610"/>
                </a:lnTo>
                <a:lnTo>
                  <a:pt x="3534751" y="21403"/>
                </a:lnTo>
                <a:lnTo>
                  <a:pt x="3540770" y="22924"/>
                </a:lnTo>
                <a:lnTo>
                  <a:pt x="3540340" y="23003"/>
                </a:lnTo>
                <a:lnTo>
                  <a:pt x="3540575" y="23063"/>
                </a:lnTo>
                <a:lnTo>
                  <a:pt x="3535529" y="23950"/>
                </a:lnTo>
                <a:lnTo>
                  <a:pt x="3535481" y="23898"/>
                </a:lnTo>
                <a:lnTo>
                  <a:pt x="3533048" y="24346"/>
                </a:lnTo>
                <a:lnTo>
                  <a:pt x="3533917" y="22847"/>
                </a:lnTo>
                <a:lnTo>
                  <a:pt x="3533858" y="22801"/>
                </a:lnTo>
                <a:lnTo>
                  <a:pt x="3533949" y="22577"/>
                </a:lnTo>
                <a:lnTo>
                  <a:pt x="3534026" y="22656"/>
                </a:lnTo>
                <a:lnTo>
                  <a:pt x="3534132" y="22475"/>
                </a:lnTo>
                <a:lnTo>
                  <a:pt x="3534033" y="22370"/>
                </a:lnTo>
                <a:lnTo>
                  <a:pt x="3533949" y="22577"/>
                </a:lnTo>
                <a:lnTo>
                  <a:pt x="3532911" y="21483"/>
                </a:lnTo>
                <a:lnTo>
                  <a:pt x="3331501" y="6539"/>
                </a:lnTo>
                <a:lnTo>
                  <a:pt x="3331507" y="6513"/>
                </a:lnTo>
                <a:lnTo>
                  <a:pt x="3331495" y="6513"/>
                </a:lnTo>
                <a:cubicBezTo>
                  <a:pt x="3333815" y="5892"/>
                  <a:pt x="3333196" y="3583"/>
                  <a:pt x="3332578" y="1274"/>
                </a:cubicBezTo>
                <a:cubicBezTo>
                  <a:pt x="3354695" y="297"/>
                  <a:pt x="3376813" y="-682"/>
                  <a:pt x="3399550" y="648"/>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38612263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to 02">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xmlns="" id="{0968AC35-250A-4059-9BD9-09B8C30F7470}"/>
              </a:ext>
            </a:extLst>
          </p:cNvPr>
          <p:cNvSpPr>
            <a:spLocks noGrp="1"/>
          </p:cNvSpPr>
          <p:nvPr>
            <p:ph type="pic" sz="quarter" idx="13"/>
          </p:nvPr>
        </p:nvSpPr>
        <p:spPr>
          <a:xfrm>
            <a:off x="10014352" y="2044008"/>
            <a:ext cx="4687681" cy="6957120"/>
          </a:xfrm>
          <a:custGeom>
            <a:avLst/>
            <a:gdLst>
              <a:gd name="connsiteX0" fmla="*/ 0 w 3572415"/>
              <a:gd name="connsiteY0" fmla="*/ 0 h 6394537"/>
              <a:gd name="connsiteX1" fmla="*/ 3572415 w 3572415"/>
              <a:gd name="connsiteY1" fmla="*/ 0 h 6394537"/>
              <a:gd name="connsiteX2" fmla="*/ 3572415 w 3572415"/>
              <a:gd name="connsiteY2" fmla="*/ 6394537 h 6394537"/>
              <a:gd name="connsiteX3" fmla="*/ 0 w 3572415"/>
              <a:gd name="connsiteY3" fmla="*/ 6394537 h 6394537"/>
            </a:gdLst>
            <a:ahLst/>
            <a:cxnLst>
              <a:cxn ang="0">
                <a:pos x="connsiteX0" y="connsiteY0"/>
              </a:cxn>
              <a:cxn ang="0">
                <a:pos x="connsiteX1" y="connsiteY1"/>
              </a:cxn>
              <a:cxn ang="0">
                <a:pos x="connsiteX2" y="connsiteY2"/>
              </a:cxn>
              <a:cxn ang="0">
                <a:pos x="connsiteX3" y="connsiteY3"/>
              </a:cxn>
            </a:cxnLst>
            <a:rect l="l" t="t" r="r" b="b"/>
            <a:pathLst>
              <a:path w="3572415" h="6394537">
                <a:moveTo>
                  <a:pt x="0" y="0"/>
                </a:moveTo>
                <a:lnTo>
                  <a:pt x="3572415" y="0"/>
                </a:lnTo>
                <a:lnTo>
                  <a:pt x="3572415" y="6394537"/>
                </a:lnTo>
                <a:lnTo>
                  <a:pt x="0" y="6394537"/>
                </a:lnTo>
                <a:close/>
              </a:path>
            </a:pathLst>
          </a:custGeom>
          <a:noFill/>
        </p:spPr>
        <p:txBody>
          <a:bodyPr wrap="square">
            <a:noAutofit/>
          </a:bodyPr>
          <a:lstStyle>
            <a:lvl1pPr>
              <a:defRPr sz="1838"/>
            </a:lvl1pPr>
          </a:lstStyle>
          <a:p>
            <a:endParaRPr lang="en-US"/>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6200000">
            <a:off x="11384262" y="5368440"/>
            <a:ext cx="7128797" cy="493251"/>
          </a:xfrm>
          <a:prstGeom prst="rect">
            <a:avLst/>
          </a:prstGeom>
        </p:spPr>
      </p:pic>
    </p:spTree>
    <p:extLst>
      <p:ext uri="{BB962C8B-B14F-4D97-AF65-F5344CB8AC3E}">
        <p14:creationId xmlns:p14="http://schemas.microsoft.com/office/powerpoint/2010/main" val="3582891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CL"/>
          </a:p>
        </p:txBody>
      </p:sp>
      <p:sp>
        <p:nvSpPr>
          <p:cNvPr id="3" name="Date Placeholder 2"/>
          <p:cNvSpPr>
            <a:spLocks noGrp="1"/>
          </p:cNvSpPr>
          <p:nvPr>
            <p:ph type="dt" sz="half" idx="10"/>
          </p:nvPr>
        </p:nvSpPr>
        <p:spPr/>
        <p:txBody>
          <a:bodyPr/>
          <a:lstStyle/>
          <a:p>
            <a:fld id="{BF1F7606-8703-4774-82E4-4A2AAF776758}" type="datetimeFigureOut">
              <a:rPr lang="es-CL" smtClean="0"/>
              <a:t>23-01-2025</a:t>
            </a:fld>
            <a:endParaRPr lang="es-CL"/>
          </a:p>
        </p:txBody>
      </p:sp>
      <p:sp>
        <p:nvSpPr>
          <p:cNvPr id="4" name="Footer Placeholder 3"/>
          <p:cNvSpPr>
            <a:spLocks noGrp="1"/>
          </p:cNvSpPr>
          <p:nvPr>
            <p:ph type="ftr" sz="quarter" idx="11"/>
          </p:nvPr>
        </p:nvSpPr>
        <p:spPr/>
        <p:txBody>
          <a:bodyPr/>
          <a:lstStyle/>
          <a:p>
            <a:endParaRPr lang="es-CL"/>
          </a:p>
        </p:txBody>
      </p:sp>
      <p:sp>
        <p:nvSpPr>
          <p:cNvPr id="5" name="Slide Number Placeholder 4"/>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352694364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3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xmlns="" id="{B83E1244-06E4-4241-9219-02D751D3DF4F}"/>
              </a:ext>
            </a:extLst>
          </p:cNvPr>
          <p:cNvSpPr>
            <a:spLocks noGrp="1"/>
          </p:cNvSpPr>
          <p:nvPr>
            <p:ph type="pic" sz="quarter" idx="21" hasCustomPrompt="1"/>
          </p:nvPr>
        </p:nvSpPr>
        <p:spPr>
          <a:xfrm>
            <a:off x="2181875" y="0"/>
            <a:ext cx="13252967" cy="5995230"/>
          </a:xfrm>
          <a:custGeom>
            <a:avLst/>
            <a:gdLst>
              <a:gd name="connsiteX0" fmla="*/ 6297620 w 9972838"/>
              <a:gd name="connsiteY0" fmla="*/ 4196232 h 4567794"/>
              <a:gd name="connsiteX1" fmla="*/ 6305057 w 9972838"/>
              <a:gd name="connsiteY1" fmla="*/ 4203050 h 4567794"/>
              <a:gd name="connsiteX2" fmla="*/ 6302652 w 9972838"/>
              <a:gd name="connsiteY2" fmla="*/ 4203050 h 4567794"/>
              <a:gd name="connsiteX3" fmla="*/ 6302756 w 9972838"/>
              <a:gd name="connsiteY3" fmla="*/ 4203144 h 4567794"/>
              <a:gd name="connsiteX4" fmla="*/ 6287837 w 9972838"/>
              <a:gd name="connsiteY4" fmla="*/ 4203144 h 4567794"/>
              <a:gd name="connsiteX5" fmla="*/ 6295337 w 9972838"/>
              <a:gd name="connsiteY5" fmla="*/ 4196354 h 4567794"/>
              <a:gd name="connsiteX6" fmla="*/ 6296408 w 9972838"/>
              <a:gd name="connsiteY6" fmla="*/ 4197335 h 4567794"/>
              <a:gd name="connsiteX7" fmla="*/ 7024299 w 9972838"/>
              <a:gd name="connsiteY7" fmla="*/ 4174346 h 4567794"/>
              <a:gd name="connsiteX8" fmla="*/ 6979278 w 9972838"/>
              <a:gd name="connsiteY8" fmla="*/ 4383345 h 4567794"/>
              <a:gd name="connsiteX9" fmla="*/ 6994283 w 9972838"/>
              <a:gd name="connsiteY9" fmla="*/ 4413202 h 4567794"/>
              <a:gd name="connsiteX10" fmla="*/ 7009289 w 9972838"/>
              <a:gd name="connsiteY10" fmla="*/ 4428130 h 4567794"/>
              <a:gd name="connsiteX11" fmla="*/ 7009289 w 9972838"/>
              <a:gd name="connsiteY11" fmla="*/ 4457988 h 4567794"/>
              <a:gd name="connsiteX12" fmla="*/ 7054309 w 9972838"/>
              <a:gd name="connsiteY12" fmla="*/ 4443058 h 4567794"/>
              <a:gd name="connsiteX13" fmla="*/ 7069319 w 9972838"/>
              <a:gd name="connsiteY13" fmla="*/ 4428130 h 4567794"/>
              <a:gd name="connsiteX14" fmla="*/ 7084325 w 9972838"/>
              <a:gd name="connsiteY14" fmla="*/ 4472917 h 4567794"/>
              <a:gd name="connsiteX15" fmla="*/ 6934257 w 9972838"/>
              <a:gd name="connsiteY15" fmla="*/ 4517702 h 4567794"/>
              <a:gd name="connsiteX16" fmla="*/ 6649123 w 9972838"/>
              <a:gd name="connsiteY16" fmla="*/ 4383345 h 4567794"/>
              <a:gd name="connsiteX17" fmla="*/ 6604103 w 9972838"/>
              <a:gd name="connsiteY17" fmla="*/ 4308703 h 4567794"/>
              <a:gd name="connsiteX18" fmla="*/ 6784185 w 9972838"/>
              <a:gd name="connsiteY18" fmla="*/ 4263917 h 4567794"/>
              <a:gd name="connsiteX19" fmla="*/ 6844215 w 9972838"/>
              <a:gd name="connsiteY19" fmla="*/ 4263917 h 4567794"/>
              <a:gd name="connsiteX20" fmla="*/ 6829206 w 9972838"/>
              <a:gd name="connsiteY20" fmla="*/ 4219131 h 4567794"/>
              <a:gd name="connsiteX21" fmla="*/ 7024299 w 9972838"/>
              <a:gd name="connsiteY21" fmla="*/ 4174346 h 4567794"/>
              <a:gd name="connsiteX22" fmla="*/ 6394773 w 9972838"/>
              <a:gd name="connsiteY22" fmla="*/ 4023622 h 4567794"/>
              <a:gd name="connsiteX23" fmla="*/ 6370472 w 9972838"/>
              <a:gd name="connsiteY23" fmla="*/ 4130157 h 4567794"/>
              <a:gd name="connsiteX24" fmla="*/ 6297620 w 9972838"/>
              <a:gd name="connsiteY24" fmla="*/ 4196232 h 4567794"/>
              <a:gd name="connsiteX25" fmla="*/ 6296548 w 9972838"/>
              <a:gd name="connsiteY25" fmla="*/ 4195250 h 4567794"/>
              <a:gd name="connsiteX26" fmla="*/ 6295337 w 9972838"/>
              <a:gd name="connsiteY26" fmla="*/ 4196354 h 4567794"/>
              <a:gd name="connsiteX27" fmla="*/ 6280377 w 9972838"/>
              <a:gd name="connsiteY27" fmla="*/ 4182655 h 4567794"/>
              <a:gd name="connsiteX28" fmla="*/ 6257998 w 9972838"/>
              <a:gd name="connsiteY28" fmla="*/ 4173342 h 4567794"/>
              <a:gd name="connsiteX29" fmla="*/ 6280377 w 9972838"/>
              <a:gd name="connsiteY29" fmla="*/ 4154710 h 4567794"/>
              <a:gd name="connsiteX30" fmla="*/ 6281996 w 9972838"/>
              <a:gd name="connsiteY30" fmla="*/ 4154982 h 4567794"/>
              <a:gd name="connsiteX31" fmla="*/ 6282627 w 9972838"/>
              <a:gd name="connsiteY31" fmla="*/ 4154458 h 4567794"/>
              <a:gd name="connsiteX32" fmla="*/ 6303044 w 9972838"/>
              <a:gd name="connsiteY32" fmla="*/ 4157857 h 4567794"/>
              <a:gd name="connsiteX33" fmla="*/ 6317671 w 9972838"/>
              <a:gd name="connsiteY33" fmla="*/ 4128633 h 4567794"/>
              <a:gd name="connsiteX34" fmla="*/ 6300889 w 9972838"/>
              <a:gd name="connsiteY34" fmla="*/ 4082062 h 4567794"/>
              <a:gd name="connsiteX35" fmla="*/ 6303190 w 9972838"/>
              <a:gd name="connsiteY35" fmla="*/ 4081572 h 4567794"/>
              <a:gd name="connsiteX36" fmla="*/ 6303186 w 9972838"/>
              <a:gd name="connsiteY36" fmla="*/ 4081564 h 4567794"/>
              <a:gd name="connsiteX37" fmla="*/ 6362429 w 9972838"/>
              <a:gd name="connsiteY37" fmla="*/ 4068995 h 4567794"/>
              <a:gd name="connsiteX38" fmla="*/ 6366159 w 9972838"/>
              <a:gd name="connsiteY38" fmla="*/ 4041078 h 4567794"/>
              <a:gd name="connsiteX39" fmla="*/ 6392264 w 9972838"/>
              <a:gd name="connsiteY39" fmla="*/ 4024309 h 4567794"/>
              <a:gd name="connsiteX40" fmla="*/ 6392019 w 9972838"/>
              <a:gd name="connsiteY40" fmla="*/ 4025394 h 4567794"/>
              <a:gd name="connsiteX41" fmla="*/ 5139957 w 9972838"/>
              <a:gd name="connsiteY41" fmla="*/ 3850985 h 4567794"/>
              <a:gd name="connsiteX42" fmla="*/ 5183020 w 9972838"/>
              <a:gd name="connsiteY42" fmla="*/ 3875978 h 4567794"/>
              <a:gd name="connsiteX43" fmla="*/ 5183020 w 9972838"/>
              <a:gd name="connsiteY43" fmla="*/ 3891359 h 4567794"/>
              <a:gd name="connsiteX44" fmla="*/ 5154311 w 9972838"/>
              <a:gd name="connsiteY44" fmla="*/ 3891359 h 4567794"/>
              <a:gd name="connsiteX45" fmla="*/ 5082541 w 9972838"/>
              <a:gd name="connsiteY45" fmla="*/ 3891359 h 4567794"/>
              <a:gd name="connsiteX46" fmla="*/ 5096895 w 9972838"/>
              <a:gd name="connsiteY46" fmla="*/ 3860597 h 4567794"/>
              <a:gd name="connsiteX47" fmla="*/ 5139957 w 9972838"/>
              <a:gd name="connsiteY47" fmla="*/ 3850985 h 4567794"/>
              <a:gd name="connsiteX48" fmla="*/ 4751996 w 9972838"/>
              <a:gd name="connsiteY48" fmla="*/ 3673039 h 4567794"/>
              <a:gd name="connsiteX49" fmla="*/ 4704240 w 9972838"/>
              <a:gd name="connsiteY49" fmla="*/ 3707117 h 4567794"/>
              <a:gd name="connsiteX50" fmla="*/ 4686816 w 9972838"/>
              <a:gd name="connsiteY50" fmla="*/ 3719282 h 4567794"/>
              <a:gd name="connsiteX51" fmla="*/ 4671571 w 9972838"/>
              <a:gd name="connsiteY51" fmla="*/ 3722694 h 4567794"/>
              <a:gd name="connsiteX52" fmla="*/ 4646786 w 9972838"/>
              <a:gd name="connsiteY52" fmla="*/ 3756056 h 4567794"/>
              <a:gd name="connsiteX53" fmla="*/ 4512519 w 9972838"/>
              <a:gd name="connsiteY53" fmla="*/ 3994506 h 4567794"/>
              <a:gd name="connsiteX54" fmla="*/ 4393172 w 9972838"/>
              <a:gd name="connsiteY54" fmla="*/ 4232952 h 4567794"/>
              <a:gd name="connsiteX55" fmla="*/ 4423008 w 9972838"/>
              <a:gd name="connsiteY55" fmla="*/ 4232952 h 4567794"/>
              <a:gd name="connsiteX56" fmla="*/ 4542359 w 9972838"/>
              <a:gd name="connsiteY56" fmla="*/ 4113727 h 4567794"/>
              <a:gd name="connsiteX57" fmla="*/ 4616951 w 9972838"/>
              <a:gd name="connsiteY57" fmla="*/ 4098825 h 4567794"/>
              <a:gd name="connsiteX58" fmla="*/ 4646786 w 9972838"/>
              <a:gd name="connsiteY58" fmla="*/ 4069018 h 4567794"/>
              <a:gd name="connsiteX59" fmla="*/ 4616951 w 9972838"/>
              <a:gd name="connsiteY59" fmla="*/ 4024309 h 4567794"/>
              <a:gd name="connsiteX60" fmla="*/ 4736298 w 9972838"/>
              <a:gd name="connsiteY60" fmla="*/ 3919990 h 4567794"/>
              <a:gd name="connsiteX61" fmla="*/ 4751218 w 9972838"/>
              <a:gd name="connsiteY61" fmla="*/ 3875281 h 4567794"/>
              <a:gd name="connsiteX62" fmla="*/ 4885484 w 9972838"/>
              <a:gd name="connsiteY62" fmla="*/ 3741156 h 4567794"/>
              <a:gd name="connsiteX63" fmla="*/ 4899254 w 9972838"/>
              <a:gd name="connsiteY63" fmla="*/ 3725782 h 4567794"/>
              <a:gd name="connsiteX64" fmla="*/ 4878045 w 9972838"/>
              <a:gd name="connsiteY64" fmla="*/ 3714976 h 4567794"/>
              <a:gd name="connsiteX65" fmla="*/ 4825828 w 9972838"/>
              <a:gd name="connsiteY65" fmla="*/ 3687034 h 4567794"/>
              <a:gd name="connsiteX66" fmla="*/ 4753568 w 9972838"/>
              <a:gd name="connsiteY66" fmla="*/ 3673994 h 4567794"/>
              <a:gd name="connsiteX67" fmla="*/ 5636716 w 9972838"/>
              <a:gd name="connsiteY67" fmla="*/ 3651979 h 4567794"/>
              <a:gd name="connsiteX68" fmla="*/ 5614274 w 9972838"/>
              <a:gd name="connsiteY68" fmla="*/ 3677309 h 4567794"/>
              <a:gd name="connsiteX69" fmla="*/ 5477911 w 9972838"/>
              <a:gd name="connsiteY69" fmla="*/ 3738086 h 4567794"/>
              <a:gd name="connsiteX70" fmla="*/ 5439439 w 9972838"/>
              <a:gd name="connsiteY70" fmla="*/ 3710154 h 4567794"/>
              <a:gd name="connsiteX71" fmla="*/ 5347962 w 9972838"/>
              <a:gd name="connsiteY71" fmla="*/ 3875281 h 4567794"/>
              <a:gd name="connsiteX72" fmla="*/ 5303208 w 9972838"/>
              <a:gd name="connsiteY72" fmla="*/ 4024309 h 4567794"/>
              <a:gd name="connsiteX73" fmla="*/ 5288289 w 9972838"/>
              <a:gd name="connsiteY73" fmla="*/ 4024309 h 4567794"/>
              <a:gd name="connsiteX74" fmla="*/ 5243530 w 9972838"/>
              <a:gd name="connsiteY74" fmla="*/ 4069018 h 4567794"/>
              <a:gd name="connsiteX75" fmla="*/ 5333043 w 9972838"/>
              <a:gd name="connsiteY75" fmla="*/ 4173342 h 4567794"/>
              <a:gd name="connsiteX76" fmla="*/ 5168938 w 9972838"/>
              <a:gd name="connsiteY76" fmla="*/ 4337271 h 4567794"/>
              <a:gd name="connsiteX77" fmla="*/ 5183857 w 9972838"/>
              <a:gd name="connsiteY77" fmla="*/ 4352176 h 4567794"/>
              <a:gd name="connsiteX78" fmla="*/ 5362882 w 9972838"/>
              <a:gd name="connsiteY78" fmla="*/ 4322369 h 4567794"/>
              <a:gd name="connsiteX79" fmla="*/ 5347962 w 9972838"/>
              <a:gd name="connsiteY79" fmla="*/ 4218050 h 4567794"/>
              <a:gd name="connsiteX80" fmla="*/ 5422555 w 9972838"/>
              <a:gd name="connsiteY80" fmla="*/ 4128633 h 4567794"/>
              <a:gd name="connsiteX81" fmla="*/ 5452394 w 9972838"/>
              <a:gd name="connsiteY81" fmla="*/ 4158436 h 4567794"/>
              <a:gd name="connsiteX82" fmla="*/ 5526986 w 9972838"/>
              <a:gd name="connsiteY82" fmla="*/ 4098825 h 4567794"/>
              <a:gd name="connsiteX83" fmla="*/ 5616500 w 9972838"/>
              <a:gd name="connsiteY83" fmla="*/ 3994506 h 4567794"/>
              <a:gd name="connsiteX84" fmla="*/ 5646334 w 9972838"/>
              <a:gd name="connsiteY84" fmla="*/ 3949794 h 4567794"/>
              <a:gd name="connsiteX85" fmla="*/ 5735846 w 9972838"/>
              <a:gd name="connsiteY85" fmla="*/ 3845475 h 4567794"/>
              <a:gd name="connsiteX86" fmla="*/ 5765683 w 9972838"/>
              <a:gd name="connsiteY86" fmla="*/ 3752330 h 4567794"/>
              <a:gd name="connsiteX87" fmla="*/ 5768123 w 9972838"/>
              <a:gd name="connsiteY87" fmla="*/ 3748696 h 4567794"/>
              <a:gd name="connsiteX88" fmla="*/ 5749308 w 9972838"/>
              <a:gd name="connsiteY88" fmla="*/ 3741088 h 4567794"/>
              <a:gd name="connsiteX89" fmla="*/ 5679431 w 9972838"/>
              <a:gd name="connsiteY89" fmla="*/ 3703301 h 4567794"/>
              <a:gd name="connsiteX90" fmla="*/ 5637225 w 9972838"/>
              <a:gd name="connsiteY90" fmla="*/ 3657115 h 4567794"/>
              <a:gd name="connsiteX91" fmla="*/ 3749343 w 9972838"/>
              <a:gd name="connsiteY91" fmla="*/ 3638187 h 4567794"/>
              <a:gd name="connsiteX92" fmla="*/ 3705049 w 9972838"/>
              <a:gd name="connsiteY92" fmla="*/ 3707621 h 4567794"/>
              <a:gd name="connsiteX93" fmla="*/ 3617403 w 9972838"/>
              <a:gd name="connsiteY93" fmla="*/ 3919990 h 4567794"/>
              <a:gd name="connsiteX94" fmla="*/ 3557727 w 9972838"/>
              <a:gd name="connsiteY94" fmla="*/ 4069018 h 4567794"/>
              <a:gd name="connsiteX95" fmla="*/ 3557727 w 9972838"/>
              <a:gd name="connsiteY95" fmla="*/ 4232952 h 4567794"/>
              <a:gd name="connsiteX96" fmla="*/ 3677076 w 9972838"/>
              <a:gd name="connsiteY96" fmla="*/ 4262759 h 4567794"/>
              <a:gd name="connsiteX97" fmla="*/ 3766591 w 9972838"/>
              <a:gd name="connsiteY97" fmla="*/ 4143535 h 4567794"/>
              <a:gd name="connsiteX98" fmla="*/ 3796424 w 9972838"/>
              <a:gd name="connsiteY98" fmla="*/ 4098825 h 4567794"/>
              <a:gd name="connsiteX99" fmla="*/ 3871017 w 9972838"/>
              <a:gd name="connsiteY99" fmla="*/ 4069018 h 4567794"/>
              <a:gd name="connsiteX100" fmla="*/ 4005288 w 9972838"/>
              <a:gd name="connsiteY100" fmla="*/ 3890182 h 4567794"/>
              <a:gd name="connsiteX101" fmla="*/ 4034426 w 9972838"/>
              <a:gd name="connsiteY101" fmla="*/ 3851994 h 4567794"/>
              <a:gd name="connsiteX102" fmla="*/ 4052903 w 9972838"/>
              <a:gd name="connsiteY102" fmla="*/ 3819563 h 4567794"/>
              <a:gd name="connsiteX103" fmla="*/ 4045400 w 9972838"/>
              <a:gd name="connsiteY103" fmla="*/ 3813941 h 4567794"/>
              <a:gd name="connsiteX104" fmla="*/ 3885957 w 9972838"/>
              <a:gd name="connsiteY104" fmla="*/ 3761550 h 4567794"/>
              <a:gd name="connsiteX105" fmla="*/ 3766608 w 9972838"/>
              <a:gd name="connsiteY105" fmla="*/ 3673994 h 4567794"/>
              <a:gd name="connsiteX106" fmla="*/ 4220563 w 9972838"/>
              <a:gd name="connsiteY106" fmla="*/ 3622458 h 4567794"/>
              <a:gd name="connsiteX107" fmla="*/ 4205526 w 9972838"/>
              <a:gd name="connsiteY107" fmla="*/ 3646982 h 4567794"/>
              <a:gd name="connsiteX108" fmla="*/ 4206922 w 9972838"/>
              <a:gd name="connsiteY108" fmla="*/ 3647311 h 4567794"/>
              <a:gd name="connsiteX109" fmla="*/ 4229068 w 9972838"/>
              <a:gd name="connsiteY109" fmla="*/ 3636832 h 4567794"/>
              <a:gd name="connsiteX110" fmla="*/ 4455487 w 9972838"/>
              <a:gd name="connsiteY110" fmla="*/ 3617654 h 4567794"/>
              <a:gd name="connsiteX111" fmla="*/ 4417432 w 9972838"/>
              <a:gd name="connsiteY111" fmla="*/ 3659092 h 4567794"/>
              <a:gd name="connsiteX112" fmla="*/ 4273837 w 9972838"/>
              <a:gd name="connsiteY112" fmla="*/ 3821161 h 4567794"/>
              <a:gd name="connsiteX113" fmla="*/ 4222789 w 9972838"/>
              <a:gd name="connsiteY113" fmla="*/ 3865637 h 4567794"/>
              <a:gd name="connsiteX114" fmla="*/ 4182777 w 9972838"/>
              <a:gd name="connsiteY114" fmla="*/ 3884458 h 4567794"/>
              <a:gd name="connsiteX115" fmla="*/ 4176849 w 9972838"/>
              <a:gd name="connsiteY115" fmla="*/ 3919988 h 4567794"/>
              <a:gd name="connsiteX116" fmla="*/ 4169389 w 9972838"/>
              <a:gd name="connsiteY116" fmla="*/ 3964699 h 4567794"/>
              <a:gd name="connsiteX117" fmla="*/ 4109715 w 9972838"/>
              <a:gd name="connsiteY117" fmla="*/ 3964699 h 4567794"/>
              <a:gd name="connsiteX118" fmla="*/ 4081743 w 9972838"/>
              <a:gd name="connsiteY118" fmla="*/ 4026172 h 4567794"/>
              <a:gd name="connsiteX119" fmla="*/ 4065752 w 9972838"/>
              <a:gd name="connsiteY119" fmla="*/ 4095394 h 4567794"/>
              <a:gd name="connsiteX120" fmla="*/ 4070558 w 9972838"/>
              <a:gd name="connsiteY120" fmla="*/ 4095394 h 4567794"/>
              <a:gd name="connsiteX121" fmla="*/ 4070558 w 9972838"/>
              <a:gd name="connsiteY121" fmla="*/ 4102569 h 4567794"/>
              <a:gd name="connsiteX122" fmla="*/ 4063380 w 9972838"/>
              <a:gd name="connsiteY122" fmla="*/ 4102569 h 4567794"/>
              <a:gd name="connsiteX123" fmla="*/ 4063380 w 9972838"/>
              <a:gd name="connsiteY123" fmla="*/ 4099526 h 4567794"/>
              <a:gd name="connsiteX124" fmla="*/ 4014612 w 9972838"/>
              <a:gd name="connsiteY124" fmla="*/ 4121182 h 4567794"/>
              <a:gd name="connsiteX125" fmla="*/ 3975449 w 9972838"/>
              <a:gd name="connsiteY125" fmla="*/ 4143535 h 4567794"/>
              <a:gd name="connsiteX126" fmla="*/ 3945610 w 9972838"/>
              <a:gd name="connsiteY126" fmla="*/ 4203144 h 4567794"/>
              <a:gd name="connsiteX127" fmla="*/ 3990369 w 9972838"/>
              <a:gd name="connsiteY127" fmla="*/ 4203144 h 4567794"/>
              <a:gd name="connsiteX128" fmla="*/ 4005288 w 9972838"/>
              <a:gd name="connsiteY128" fmla="*/ 4203144 h 4567794"/>
              <a:gd name="connsiteX129" fmla="*/ 4184308 w 9972838"/>
              <a:gd name="connsiteY129" fmla="*/ 4113727 h 4567794"/>
              <a:gd name="connsiteX130" fmla="*/ 4199228 w 9972838"/>
              <a:gd name="connsiteY130" fmla="*/ 4054117 h 4567794"/>
              <a:gd name="connsiteX131" fmla="*/ 4393172 w 9972838"/>
              <a:gd name="connsiteY131" fmla="*/ 3919990 h 4567794"/>
              <a:gd name="connsiteX132" fmla="*/ 4423008 w 9972838"/>
              <a:gd name="connsiteY132" fmla="*/ 3860376 h 4567794"/>
              <a:gd name="connsiteX133" fmla="*/ 4408087 w 9972838"/>
              <a:gd name="connsiteY133" fmla="*/ 3800765 h 4567794"/>
              <a:gd name="connsiteX134" fmla="*/ 4497600 w 9972838"/>
              <a:gd name="connsiteY134" fmla="*/ 3815667 h 4567794"/>
              <a:gd name="connsiteX135" fmla="*/ 4467767 w 9972838"/>
              <a:gd name="connsiteY135" fmla="*/ 3756056 h 4567794"/>
              <a:gd name="connsiteX136" fmla="*/ 4512519 w 9972838"/>
              <a:gd name="connsiteY136" fmla="*/ 3756056 h 4567794"/>
              <a:gd name="connsiteX137" fmla="*/ 4572194 w 9972838"/>
              <a:gd name="connsiteY137" fmla="*/ 3756056 h 4567794"/>
              <a:gd name="connsiteX138" fmla="*/ 4572194 w 9972838"/>
              <a:gd name="connsiteY138" fmla="*/ 3696446 h 4567794"/>
              <a:gd name="connsiteX139" fmla="*/ 4552168 w 9972838"/>
              <a:gd name="connsiteY139" fmla="*/ 3675508 h 4567794"/>
              <a:gd name="connsiteX140" fmla="*/ 4465543 w 9972838"/>
              <a:gd name="connsiteY140" fmla="*/ 3621422 h 4567794"/>
              <a:gd name="connsiteX141" fmla="*/ 2901862 w 9972838"/>
              <a:gd name="connsiteY141" fmla="*/ 3585616 h 4567794"/>
              <a:gd name="connsiteX142" fmla="*/ 2886390 w 9972838"/>
              <a:gd name="connsiteY142" fmla="*/ 3592123 h 4567794"/>
              <a:gd name="connsiteX143" fmla="*/ 2886390 w 9972838"/>
              <a:gd name="connsiteY143" fmla="*/ 3607029 h 4567794"/>
              <a:gd name="connsiteX144" fmla="*/ 2826717 w 9972838"/>
              <a:gd name="connsiteY144" fmla="*/ 3741156 h 4567794"/>
              <a:gd name="connsiteX145" fmla="*/ 2752124 w 9972838"/>
              <a:gd name="connsiteY145" fmla="*/ 3890182 h 4567794"/>
              <a:gd name="connsiteX146" fmla="*/ 2662610 w 9972838"/>
              <a:gd name="connsiteY146" fmla="*/ 4039216 h 4567794"/>
              <a:gd name="connsiteX147" fmla="*/ 2677531 w 9972838"/>
              <a:gd name="connsiteY147" fmla="*/ 4158436 h 4567794"/>
              <a:gd name="connsiteX148" fmla="*/ 2737204 w 9972838"/>
              <a:gd name="connsiteY148" fmla="*/ 4128633 h 4567794"/>
              <a:gd name="connsiteX149" fmla="*/ 2856551 w 9972838"/>
              <a:gd name="connsiteY149" fmla="*/ 4054117 h 4567794"/>
              <a:gd name="connsiteX150" fmla="*/ 2856551 w 9972838"/>
              <a:gd name="connsiteY150" fmla="*/ 3994506 h 4567794"/>
              <a:gd name="connsiteX151" fmla="*/ 3102009 w 9972838"/>
              <a:gd name="connsiteY151" fmla="*/ 3816365 h 4567794"/>
              <a:gd name="connsiteX152" fmla="*/ 3130156 w 9972838"/>
              <a:gd name="connsiteY152" fmla="*/ 3768426 h 4567794"/>
              <a:gd name="connsiteX153" fmla="*/ 3125107 w 9972838"/>
              <a:gd name="connsiteY153" fmla="*/ 3765274 h 4567794"/>
              <a:gd name="connsiteX154" fmla="*/ 3035597 w 9972838"/>
              <a:gd name="connsiteY154" fmla="*/ 3731743 h 4567794"/>
              <a:gd name="connsiteX155" fmla="*/ 2911816 w 9972838"/>
              <a:gd name="connsiteY155" fmla="*/ 3639531 h 4567794"/>
              <a:gd name="connsiteX156" fmla="*/ 4285670 w 9972838"/>
              <a:gd name="connsiteY156" fmla="*/ 3538942 h 4567794"/>
              <a:gd name="connsiteX157" fmla="*/ 4285011 w 9972838"/>
              <a:gd name="connsiteY157" fmla="*/ 3539965 h 4567794"/>
              <a:gd name="connsiteX158" fmla="*/ 4251153 w 9972838"/>
              <a:gd name="connsiteY158" fmla="*/ 3571531 h 4567794"/>
              <a:gd name="connsiteX159" fmla="*/ 4239907 w 9972838"/>
              <a:gd name="connsiteY159" fmla="*/ 3590404 h 4567794"/>
              <a:gd name="connsiteX160" fmla="*/ 4268693 w 9972838"/>
              <a:gd name="connsiteY160" fmla="*/ 3585836 h 4567794"/>
              <a:gd name="connsiteX161" fmla="*/ 4348414 w 9972838"/>
              <a:gd name="connsiteY161" fmla="*/ 3592123 h 4567794"/>
              <a:gd name="connsiteX162" fmla="*/ 4361991 w 9972838"/>
              <a:gd name="connsiteY162" fmla="*/ 3595891 h 4567794"/>
              <a:gd name="connsiteX163" fmla="*/ 4357756 w 9972838"/>
              <a:gd name="connsiteY163" fmla="*/ 3584576 h 4567794"/>
              <a:gd name="connsiteX164" fmla="*/ 4358495 w 9972838"/>
              <a:gd name="connsiteY164" fmla="*/ 3580104 h 4567794"/>
              <a:gd name="connsiteX165" fmla="*/ 4323585 w 9972838"/>
              <a:gd name="connsiteY165" fmla="*/ 3564605 h 4567794"/>
              <a:gd name="connsiteX166" fmla="*/ 2586378 w 9972838"/>
              <a:gd name="connsiteY166" fmla="*/ 3530291 h 4567794"/>
              <a:gd name="connsiteX167" fmla="*/ 2587221 w 9972838"/>
              <a:gd name="connsiteY167" fmla="*/ 3541790 h 4567794"/>
              <a:gd name="connsiteX168" fmla="*/ 2602937 w 9972838"/>
              <a:gd name="connsiteY168" fmla="*/ 3532513 h 4567794"/>
              <a:gd name="connsiteX169" fmla="*/ 2687420 w 9972838"/>
              <a:gd name="connsiteY169" fmla="*/ 3484053 h 4567794"/>
              <a:gd name="connsiteX170" fmla="*/ 2691803 w 9972838"/>
              <a:gd name="connsiteY170" fmla="*/ 3500318 h 4567794"/>
              <a:gd name="connsiteX171" fmla="*/ 2692536 w 9972838"/>
              <a:gd name="connsiteY171" fmla="*/ 3499690 h 4567794"/>
              <a:gd name="connsiteX172" fmla="*/ 2706891 w 9972838"/>
              <a:gd name="connsiteY172" fmla="*/ 3515071 h 4567794"/>
              <a:gd name="connsiteX173" fmla="*/ 2707744 w 9972838"/>
              <a:gd name="connsiteY173" fmla="*/ 3517412 h 4567794"/>
              <a:gd name="connsiteX174" fmla="*/ 2740017 w 9972838"/>
              <a:gd name="connsiteY174" fmla="*/ 3500774 h 4567794"/>
              <a:gd name="connsiteX175" fmla="*/ 2720065 w 9972838"/>
              <a:gd name="connsiteY175" fmla="*/ 3492886 h 4567794"/>
              <a:gd name="connsiteX176" fmla="*/ 5605517 w 9972838"/>
              <a:gd name="connsiteY176" fmla="*/ 3452095 h 4567794"/>
              <a:gd name="connsiteX177" fmla="*/ 5571740 w 9972838"/>
              <a:gd name="connsiteY177" fmla="*/ 3502705 h 4567794"/>
              <a:gd name="connsiteX178" fmla="*/ 5555430 w 9972838"/>
              <a:gd name="connsiteY178" fmla="*/ 3527792 h 4567794"/>
              <a:gd name="connsiteX179" fmla="*/ 5590967 w 9972838"/>
              <a:gd name="connsiteY179" fmla="*/ 3506856 h 4567794"/>
              <a:gd name="connsiteX180" fmla="*/ 5733626 w 9972838"/>
              <a:gd name="connsiteY180" fmla="*/ 3498474 h 4567794"/>
              <a:gd name="connsiteX181" fmla="*/ 5708216 w 9972838"/>
              <a:gd name="connsiteY181" fmla="*/ 3467503 h 4567794"/>
              <a:gd name="connsiteX182" fmla="*/ 5705309 w 9972838"/>
              <a:gd name="connsiteY182" fmla="*/ 3459738 h 4567794"/>
              <a:gd name="connsiteX183" fmla="*/ 5697859 w 9972838"/>
              <a:gd name="connsiteY183" fmla="*/ 3464010 h 4567794"/>
              <a:gd name="connsiteX184" fmla="*/ 5617198 w 9972838"/>
              <a:gd name="connsiteY184" fmla="*/ 3458411 h 4567794"/>
              <a:gd name="connsiteX185" fmla="*/ 2584791 w 9972838"/>
              <a:gd name="connsiteY185" fmla="*/ 3439775 h 4567794"/>
              <a:gd name="connsiteX186" fmla="*/ 2582443 w 9972838"/>
              <a:gd name="connsiteY186" fmla="*/ 3476531 h 4567794"/>
              <a:gd name="connsiteX187" fmla="*/ 2583599 w 9972838"/>
              <a:gd name="connsiteY187" fmla="*/ 3492344 h 4567794"/>
              <a:gd name="connsiteX188" fmla="*/ 2589882 w 9972838"/>
              <a:gd name="connsiteY188" fmla="*/ 3491529 h 4567794"/>
              <a:gd name="connsiteX189" fmla="*/ 2632772 w 9972838"/>
              <a:gd name="connsiteY189" fmla="*/ 3472902 h 4567794"/>
              <a:gd name="connsiteX190" fmla="*/ 2636418 w 9972838"/>
              <a:gd name="connsiteY190" fmla="*/ 3470253 h 4567794"/>
              <a:gd name="connsiteX191" fmla="*/ 2630552 w 9972838"/>
              <a:gd name="connsiteY191" fmla="*/ 3468666 h 4567794"/>
              <a:gd name="connsiteX192" fmla="*/ 5838040 w 9972838"/>
              <a:gd name="connsiteY192" fmla="*/ 3429589 h 4567794"/>
              <a:gd name="connsiteX193" fmla="*/ 5830364 w 9972838"/>
              <a:gd name="connsiteY193" fmla="*/ 3436300 h 4567794"/>
              <a:gd name="connsiteX194" fmla="*/ 5757869 w 9972838"/>
              <a:gd name="connsiteY194" fmla="*/ 3515240 h 4567794"/>
              <a:gd name="connsiteX195" fmla="*/ 5653054 w 9972838"/>
              <a:gd name="connsiteY195" fmla="*/ 3633539 h 4567794"/>
              <a:gd name="connsiteX196" fmla="*/ 5687873 w 9972838"/>
              <a:gd name="connsiteY196" fmla="*/ 3642654 h 4567794"/>
              <a:gd name="connsiteX197" fmla="*/ 5814493 w 9972838"/>
              <a:gd name="connsiteY197" fmla="*/ 3583872 h 4567794"/>
              <a:gd name="connsiteX198" fmla="*/ 5819610 w 9972838"/>
              <a:gd name="connsiteY198" fmla="*/ 3581504 h 4567794"/>
              <a:gd name="connsiteX199" fmla="*/ 5844005 w 9972838"/>
              <a:gd name="connsiteY199" fmla="*/ 3541827 h 4567794"/>
              <a:gd name="connsiteX200" fmla="*/ 5887831 w 9972838"/>
              <a:gd name="connsiteY200" fmla="*/ 3482448 h 4567794"/>
              <a:gd name="connsiteX201" fmla="*/ 5891370 w 9972838"/>
              <a:gd name="connsiteY201" fmla="*/ 3473394 h 4567794"/>
              <a:gd name="connsiteX202" fmla="*/ 5871592 w 9972838"/>
              <a:gd name="connsiteY202" fmla="*/ 3462321 h 4567794"/>
              <a:gd name="connsiteX203" fmla="*/ 6484880 w 9972838"/>
              <a:gd name="connsiteY203" fmla="*/ 3425277 h 4567794"/>
              <a:gd name="connsiteX204" fmla="*/ 6466935 w 9972838"/>
              <a:gd name="connsiteY204" fmla="*/ 3448721 h 4567794"/>
              <a:gd name="connsiteX205" fmla="*/ 6467203 w 9972838"/>
              <a:gd name="connsiteY205" fmla="*/ 3448874 h 4567794"/>
              <a:gd name="connsiteX206" fmla="*/ 6477692 w 9972838"/>
              <a:gd name="connsiteY206" fmla="*/ 3440723 h 4567794"/>
              <a:gd name="connsiteX207" fmla="*/ 7287792 w 9972838"/>
              <a:gd name="connsiteY207" fmla="*/ 3379923 h 4567794"/>
              <a:gd name="connsiteX208" fmla="*/ 7280077 w 9972838"/>
              <a:gd name="connsiteY208" fmla="*/ 3385400 h 4567794"/>
              <a:gd name="connsiteX209" fmla="*/ 7274446 w 9972838"/>
              <a:gd name="connsiteY209" fmla="*/ 3391812 h 4567794"/>
              <a:gd name="connsiteX210" fmla="*/ 7266081 w 9972838"/>
              <a:gd name="connsiteY210" fmla="*/ 3404802 h 4567794"/>
              <a:gd name="connsiteX211" fmla="*/ 7297497 w 9972838"/>
              <a:gd name="connsiteY211" fmla="*/ 3395235 h 4567794"/>
              <a:gd name="connsiteX212" fmla="*/ 7307521 w 9972838"/>
              <a:gd name="connsiteY212" fmla="*/ 3389741 h 4567794"/>
              <a:gd name="connsiteX213" fmla="*/ 7305260 w 9972838"/>
              <a:gd name="connsiteY213" fmla="*/ 3383643 h 4567794"/>
              <a:gd name="connsiteX214" fmla="*/ 7287792 w 9972838"/>
              <a:gd name="connsiteY214" fmla="*/ 3379923 h 4567794"/>
              <a:gd name="connsiteX215" fmla="*/ 7165215 w 9972838"/>
              <a:gd name="connsiteY215" fmla="*/ 3322850 h 4567794"/>
              <a:gd name="connsiteX216" fmla="*/ 7167945 w 9972838"/>
              <a:gd name="connsiteY216" fmla="*/ 3324413 h 4567794"/>
              <a:gd name="connsiteX217" fmla="*/ 7171087 w 9972838"/>
              <a:gd name="connsiteY217" fmla="*/ 3324106 h 4567794"/>
              <a:gd name="connsiteX218" fmla="*/ 3278406 w 9972838"/>
              <a:gd name="connsiteY218" fmla="*/ 3305427 h 4567794"/>
              <a:gd name="connsiteX219" fmla="*/ 3262726 w 9972838"/>
              <a:gd name="connsiteY219" fmla="*/ 3325227 h 4567794"/>
              <a:gd name="connsiteX220" fmla="*/ 3152702 w 9972838"/>
              <a:gd name="connsiteY220" fmla="*/ 3438863 h 4567794"/>
              <a:gd name="connsiteX221" fmla="*/ 3098624 w 9972838"/>
              <a:gd name="connsiteY221" fmla="*/ 3491021 h 4567794"/>
              <a:gd name="connsiteX222" fmla="*/ 3054757 w 9972838"/>
              <a:gd name="connsiteY222" fmla="*/ 3526079 h 4567794"/>
              <a:gd name="connsiteX223" fmla="*/ 3065930 w 9972838"/>
              <a:gd name="connsiteY223" fmla="*/ 3527816 h 4567794"/>
              <a:gd name="connsiteX224" fmla="*/ 3214616 w 9972838"/>
              <a:gd name="connsiteY224" fmla="*/ 3433682 h 4567794"/>
              <a:gd name="connsiteX225" fmla="*/ 3229536 w 9972838"/>
              <a:gd name="connsiteY225" fmla="*/ 3374073 h 4567794"/>
              <a:gd name="connsiteX226" fmla="*/ 3282917 w 9972838"/>
              <a:gd name="connsiteY226" fmla="*/ 3344732 h 4567794"/>
              <a:gd name="connsiteX227" fmla="*/ 3299539 w 9972838"/>
              <a:gd name="connsiteY227" fmla="*/ 3323342 h 4567794"/>
              <a:gd name="connsiteX228" fmla="*/ 3286936 w 9972838"/>
              <a:gd name="connsiteY228" fmla="*/ 3315386 h 4567794"/>
              <a:gd name="connsiteX229" fmla="*/ 6585941 w 9972838"/>
              <a:gd name="connsiteY229" fmla="*/ 3284034 h 4567794"/>
              <a:gd name="connsiteX230" fmla="*/ 6571244 w 9972838"/>
              <a:gd name="connsiteY230" fmla="*/ 3296885 h 4567794"/>
              <a:gd name="connsiteX231" fmla="*/ 6519539 w 9972838"/>
              <a:gd name="connsiteY231" fmla="*/ 3379990 h 4567794"/>
              <a:gd name="connsiteX232" fmla="*/ 6499782 w 9972838"/>
              <a:gd name="connsiteY232" fmla="*/ 3405806 h 4567794"/>
              <a:gd name="connsiteX233" fmla="*/ 6519186 w 9972838"/>
              <a:gd name="connsiteY233" fmla="*/ 3393919 h 4567794"/>
              <a:gd name="connsiteX234" fmla="*/ 6598908 w 9972838"/>
              <a:gd name="connsiteY234" fmla="*/ 3379249 h 4567794"/>
              <a:gd name="connsiteX235" fmla="*/ 6627690 w 9972838"/>
              <a:gd name="connsiteY235" fmla="*/ 3379249 h 4567794"/>
              <a:gd name="connsiteX236" fmla="*/ 6614364 w 9972838"/>
              <a:gd name="connsiteY236" fmla="*/ 3366248 h 4567794"/>
              <a:gd name="connsiteX237" fmla="*/ 6586858 w 9972838"/>
              <a:gd name="connsiteY237" fmla="*/ 3309197 h 4567794"/>
              <a:gd name="connsiteX238" fmla="*/ 4080459 w 9972838"/>
              <a:gd name="connsiteY238" fmla="*/ 3268526 h 4567794"/>
              <a:gd name="connsiteX239" fmla="*/ 4070063 w 9972838"/>
              <a:gd name="connsiteY239" fmla="*/ 3279845 h 4567794"/>
              <a:gd name="connsiteX240" fmla="*/ 3938678 w 9972838"/>
              <a:gd name="connsiteY240" fmla="*/ 3428135 h 4567794"/>
              <a:gd name="connsiteX241" fmla="*/ 3942468 w 9972838"/>
              <a:gd name="connsiteY241" fmla="*/ 3435219 h 4567794"/>
              <a:gd name="connsiteX242" fmla="*/ 4018683 w 9972838"/>
              <a:gd name="connsiteY242" fmla="*/ 3448875 h 4567794"/>
              <a:gd name="connsiteX243" fmla="*/ 4025052 w 9972838"/>
              <a:gd name="connsiteY243" fmla="*/ 3446687 h 4567794"/>
              <a:gd name="connsiteX244" fmla="*/ 4050994 w 9972838"/>
              <a:gd name="connsiteY244" fmla="*/ 3417384 h 4567794"/>
              <a:gd name="connsiteX245" fmla="*/ 4094818 w 9972838"/>
              <a:gd name="connsiteY245" fmla="*/ 3329364 h 4567794"/>
              <a:gd name="connsiteX246" fmla="*/ 4094818 w 9972838"/>
              <a:gd name="connsiteY246" fmla="*/ 3359171 h 4567794"/>
              <a:gd name="connsiteX247" fmla="*/ 4124651 w 9972838"/>
              <a:gd name="connsiteY247" fmla="*/ 3344265 h 4567794"/>
              <a:gd name="connsiteX248" fmla="*/ 4132318 w 9972838"/>
              <a:gd name="connsiteY248" fmla="*/ 3334365 h 4567794"/>
              <a:gd name="connsiteX249" fmla="*/ 4125644 w 9972838"/>
              <a:gd name="connsiteY249" fmla="*/ 3301182 h 4567794"/>
              <a:gd name="connsiteX250" fmla="*/ 4126203 w 9972838"/>
              <a:gd name="connsiteY250" fmla="*/ 3297406 h 4567794"/>
              <a:gd name="connsiteX251" fmla="*/ 6669610 w 9972838"/>
              <a:gd name="connsiteY251" fmla="*/ 3260583 h 4567794"/>
              <a:gd name="connsiteX252" fmla="*/ 6642337 w 9972838"/>
              <a:gd name="connsiteY252" fmla="*/ 3263789 h 4567794"/>
              <a:gd name="connsiteX253" fmla="*/ 6644201 w 9972838"/>
              <a:gd name="connsiteY253" fmla="*/ 3289870 h 4567794"/>
              <a:gd name="connsiteX254" fmla="*/ 6684060 w 9972838"/>
              <a:gd name="connsiteY254" fmla="*/ 3302444 h 4567794"/>
              <a:gd name="connsiteX255" fmla="*/ 6684770 w 9972838"/>
              <a:gd name="connsiteY255" fmla="*/ 3300622 h 4567794"/>
              <a:gd name="connsiteX256" fmla="*/ 6659746 w 9972838"/>
              <a:gd name="connsiteY256" fmla="*/ 3272369 h 4567794"/>
              <a:gd name="connsiteX257" fmla="*/ 1760788 w 9972838"/>
              <a:gd name="connsiteY257" fmla="*/ 3257495 h 4567794"/>
              <a:gd name="connsiteX258" fmla="*/ 1743268 w 9972838"/>
              <a:gd name="connsiteY258" fmla="*/ 3295832 h 4567794"/>
              <a:gd name="connsiteX259" fmla="*/ 1692919 w 9972838"/>
              <a:gd name="connsiteY259" fmla="*/ 3359171 h 4567794"/>
              <a:gd name="connsiteX260" fmla="*/ 1707839 w 9972838"/>
              <a:gd name="connsiteY260" fmla="*/ 3478392 h 4567794"/>
              <a:gd name="connsiteX261" fmla="*/ 1767513 w 9972838"/>
              <a:gd name="connsiteY261" fmla="*/ 3448589 h 4567794"/>
              <a:gd name="connsiteX262" fmla="*/ 1886860 w 9972838"/>
              <a:gd name="connsiteY262" fmla="*/ 3374073 h 4567794"/>
              <a:gd name="connsiteX263" fmla="*/ 1898048 w 9972838"/>
              <a:gd name="connsiteY263" fmla="*/ 3338679 h 4567794"/>
              <a:gd name="connsiteX264" fmla="*/ 1892705 w 9972838"/>
              <a:gd name="connsiteY264" fmla="*/ 3327115 h 4567794"/>
              <a:gd name="connsiteX265" fmla="*/ 1882621 w 9972838"/>
              <a:gd name="connsiteY265" fmla="*/ 3322689 h 4567794"/>
              <a:gd name="connsiteX266" fmla="*/ 1808026 w 9972838"/>
              <a:gd name="connsiteY266" fmla="*/ 3289158 h 4567794"/>
              <a:gd name="connsiteX267" fmla="*/ 1766660 w 9972838"/>
              <a:gd name="connsiteY267" fmla="*/ 3258166 h 4567794"/>
              <a:gd name="connsiteX268" fmla="*/ 1408519 w 9972838"/>
              <a:gd name="connsiteY268" fmla="*/ 3257465 h 4567794"/>
              <a:gd name="connsiteX269" fmla="*/ 1345550 w 9972838"/>
              <a:gd name="connsiteY269" fmla="*/ 3307787 h 4567794"/>
              <a:gd name="connsiteX270" fmla="*/ 1316965 w 9972838"/>
              <a:gd name="connsiteY270" fmla="*/ 3326096 h 4567794"/>
              <a:gd name="connsiteX271" fmla="*/ 1300159 w 9972838"/>
              <a:gd name="connsiteY271" fmla="*/ 3332256 h 4567794"/>
              <a:gd name="connsiteX272" fmla="*/ 1315990 w 9972838"/>
              <a:gd name="connsiteY272" fmla="*/ 3336815 h 4567794"/>
              <a:gd name="connsiteX273" fmla="*/ 1334873 w 9972838"/>
              <a:gd name="connsiteY273" fmla="*/ 3403880 h 4567794"/>
              <a:gd name="connsiteX274" fmla="*/ 1349789 w 9972838"/>
              <a:gd name="connsiteY274" fmla="*/ 3418781 h 4567794"/>
              <a:gd name="connsiteX275" fmla="*/ 1379628 w 9972838"/>
              <a:gd name="connsiteY275" fmla="*/ 3403880 h 4567794"/>
              <a:gd name="connsiteX276" fmla="*/ 1424381 w 9972838"/>
              <a:gd name="connsiteY276" fmla="*/ 3344265 h 4567794"/>
              <a:gd name="connsiteX277" fmla="*/ 1424381 w 9972838"/>
              <a:gd name="connsiteY277" fmla="*/ 3284655 h 4567794"/>
              <a:gd name="connsiteX278" fmla="*/ 1405503 w 9972838"/>
              <a:gd name="connsiteY278" fmla="*/ 3265792 h 4567794"/>
              <a:gd name="connsiteX279" fmla="*/ 6686227 w 9972838"/>
              <a:gd name="connsiteY279" fmla="*/ 3251366 h 4567794"/>
              <a:gd name="connsiteX280" fmla="*/ 6678858 w 9972838"/>
              <a:gd name="connsiteY280" fmla="*/ 3256623 h 4567794"/>
              <a:gd name="connsiteX281" fmla="*/ 6686469 w 9972838"/>
              <a:gd name="connsiteY281" fmla="*/ 3255008 h 4567794"/>
              <a:gd name="connsiteX282" fmla="*/ 5743217 w 9972838"/>
              <a:gd name="connsiteY282" fmla="*/ 3245761 h 4567794"/>
              <a:gd name="connsiteX283" fmla="*/ 5720927 w 9972838"/>
              <a:gd name="connsiteY283" fmla="*/ 3279161 h 4567794"/>
              <a:gd name="connsiteX284" fmla="*/ 5673283 w 9972838"/>
              <a:gd name="connsiteY284" fmla="*/ 3350552 h 4567794"/>
              <a:gd name="connsiteX285" fmla="*/ 5682084 w 9972838"/>
              <a:gd name="connsiteY285" fmla="*/ 3350233 h 4567794"/>
              <a:gd name="connsiteX286" fmla="*/ 5688010 w 9972838"/>
              <a:gd name="connsiteY286" fmla="*/ 3345748 h 4567794"/>
              <a:gd name="connsiteX287" fmla="*/ 5695982 w 9972838"/>
              <a:gd name="connsiteY287" fmla="*/ 3344581 h 4567794"/>
              <a:gd name="connsiteX288" fmla="*/ 5697632 w 9972838"/>
              <a:gd name="connsiteY288" fmla="*/ 3349669 h 4567794"/>
              <a:gd name="connsiteX289" fmla="*/ 5703787 w 9972838"/>
              <a:gd name="connsiteY289" fmla="*/ 3349445 h 4567794"/>
              <a:gd name="connsiteX290" fmla="*/ 5698228 w 9972838"/>
              <a:gd name="connsiteY290" fmla="*/ 3351508 h 4567794"/>
              <a:gd name="connsiteX291" fmla="*/ 5698327 w 9972838"/>
              <a:gd name="connsiteY291" fmla="*/ 3351811 h 4567794"/>
              <a:gd name="connsiteX292" fmla="*/ 5692229 w 9972838"/>
              <a:gd name="connsiteY292" fmla="*/ 3368840 h 4567794"/>
              <a:gd name="connsiteX293" fmla="*/ 5692229 w 9972838"/>
              <a:gd name="connsiteY293" fmla="*/ 3398697 h 4567794"/>
              <a:gd name="connsiteX294" fmla="*/ 5714742 w 9972838"/>
              <a:gd name="connsiteY294" fmla="*/ 3396831 h 4567794"/>
              <a:gd name="connsiteX295" fmla="*/ 5718484 w 9972838"/>
              <a:gd name="connsiteY295" fmla="*/ 3394659 h 4567794"/>
              <a:gd name="connsiteX296" fmla="*/ 5718706 w 9972838"/>
              <a:gd name="connsiteY296" fmla="*/ 3394155 h 4567794"/>
              <a:gd name="connsiteX297" fmla="*/ 5735979 w 9972838"/>
              <a:gd name="connsiteY297" fmla="*/ 3379344 h 4567794"/>
              <a:gd name="connsiteX298" fmla="*/ 5735374 w 9972838"/>
              <a:gd name="connsiteY298" fmla="*/ 3377237 h 4567794"/>
              <a:gd name="connsiteX299" fmla="*/ 5737251 w 9972838"/>
              <a:gd name="connsiteY299" fmla="*/ 3358577 h 4567794"/>
              <a:gd name="connsiteX300" fmla="*/ 5750018 w 9972838"/>
              <a:gd name="connsiteY300" fmla="*/ 3367307 h 4567794"/>
              <a:gd name="connsiteX301" fmla="*/ 5750177 w 9972838"/>
              <a:gd name="connsiteY301" fmla="*/ 3367170 h 4567794"/>
              <a:gd name="connsiteX302" fmla="*/ 5764408 w 9972838"/>
              <a:gd name="connsiteY302" fmla="*/ 3338540 h 4567794"/>
              <a:gd name="connsiteX303" fmla="*/ 5759572 w 9972838"/>
              <a:gd name="connsiteY303" fmla="*/ 3331786 h 4567794"/>
              <a:gd name="connsiteX304" fmla="*/ 5749081 w 9972838"/>
              <a:gd name="connsiteY304" fmla="*/ 3274968 h 4567794"/>
              <a:gd name="connsiteX305" fmla="*/ 5747217 w 9972838"/>
              <a:gd name="connsiteY305" fmla="*/ 3252613 h 4567794"/>
              <a:gd name="connsiteX306" fmla="*/ 6672067 w 9972838"/>
              <a:gd name="connsiteY306" fmla="*/ 3218050 h 4567794"/>
              <a:gd name="connsiteX307" fmla="*/ 6652077 w 9972838"/>
              <a:gd name="connsiteY307" fmla="*/ 3226371 h 4567794"/>
              <a:gd name="connsiteX308" fmla="*/ 6653525 w 9972838"/>
              <a:gd name="connsiteY308" fmla="*/ 3228397 h 4567794"/>
              <a:gd name="connsiteX309" fmla="*/ 6674036 w 9972838"/>
              <a:gd name="connsiteY309" fmla="*/ 3230260 h 4567794"/>
              <a:gd name="connsiteX310" fmla="*/ 6679407 w 9972838"/>
              <a:gd name="connsiteY310" fmla="*/ 3222212 h 4567794"/>
              <a:gd name="connsiteX311" fmla="*/ 8175683 w 9972838"/>
              <a:gd name="connsiteY311" fmla="*/ 3208441 h 4567794"/>
              <a:gd name="connsiteX312" fmla="*/ 8183121 w 9972838"/>
              <a:gd name="connsiteY312" fmla="*/ 3215260 h 4567794"/>
              <a:gd name="connsiteX313" fmla="*/ 8180717 w 9972838"/>
              <a:gd name="connsiteY313" fmla="*/ 3215260 h 4567794"/>
              <a:gd name="connsiteX314" fmla="*/ 8180821 w 9972838"/>
              <a:gd name="connsiteY314" fmla="*/ 3215354 h 4567794"/>
              <a:gd name="connsiteX315" fmla="*/ 8165901 w 9972838"/>
              <a:gd name="connsiteY315" fmla="*/ 3215354 h 4567794"/>
              <a:gd name="connsiteX316" fmla="*/ 8173401 w 9972838"/>
              <a:gd name="connsiteY316" fmla="*/ 3208563 h 4567794"/>
              <a:gd name="connsiteX317" fmla="*/ 8174472 w 9972838"/>
              <a:gd name="connsiteY317" fmla="*/ 3209544 h 4567794"/>
              <a:gd name="connsiteX318" fmla="*/ 4011318 w 9972838"/>
              <a:gd name="connsiteY318" fmla="*/ 3207809 h 4567794"/>
              <a:gd name="connsiteX319" fmla="*/ 3999692 w 9972838"/>
              <a:gd name="connsiteY319" fmla="*/ 3221411 h 4567794"/>
              <a:gd name="connsiteX320" fmla="*/ 3980711 w 9972838"/>
              <a:gd name="connsiteY320" fmla="*/ 3252141 h 4567794"/>
              <a:gd name="connsiteX321" fmla="*/ 3992675 w 9972838"/>
              <a:gd name="connsiteY321" fmla="*/ 3250969 h 4567794"/>
              <a:gd name="connsiteX322" fmla="*/ 4045822 w 9972838"/>
              <a:gd name="connsiteY322" fmla="*/ 3263078 h 4567794"/>
              <a:gd name="connsiteX323" fmla="*/ 4020413 w 9972838"/>
              <a:gd name="connsiteY323" fmla="*/ 3232108 h 4567794"/>
              <a:gd name="connsiteX324" fmla="*/ 7257033 w 9972838"/>
              <a:gd name="connsiteY324" fmla="*/ 3202246 h 4567794"/>
              <a:gd name="connsiteX325" fmla="*/ 7228863 w 9972838"/>
              <a:gd name="connsiteY325" fmla="*/ 3216210 h 4567794"/>
              <a:gd name="connsiteX326" fmla="*/ 7200914 w 9972838"/>
              <a:gd name="connsiteY326" fmla="*/ 3279460 h 4567794"/>
              <a:gd name="connsiteX327" fmla="*/ 7197188 w 9972838"/>
              <a:gd name="connsiteY327" fmla="*/ 3312948 h 4567794"/>
              <a:gd name="connsiteX328" fmla="*/ 7171115 w 9972838"/>
              <a:gd name="connsiteY328" fmla="*/ 3324104 h 4567794"/>
              <a:gd name="connsiteX329" fmla="*/ 7187797 w 9972838"/>
              <a:gd name="connsiteY329" fmla="*/ 3322470 h 4567794"/>
              <a:gd name="connsiteX330" fmla="*/ 7192342 w 9972838"/>
              <a:gd name="connsiteY330" fmla="*/ 3323505 h 4567794"/>
              <a:gd name="connsiteX331" fmla="*/ 7196286 w 9972838"/>
              <a:gd name="connsiteY331" fmla="*/ 3316404 h 4567794"/>
              <a:gd name="connsiteX332" fmla="*/ 7209138 w 9972838"/>
              <a:gd name="connsiteY332" fmla="*/ 3292566 h 4567794"/>
              <a:gd name="connsiteX333" fmla="*/ 7210980 w 9972838"/>
              <a:gd name="connsiteY333" fmla="*/ 3291437 h 4567794"/>
              <a:gd name="connsiteX334" fmla="*/ 7205512 w 9972838"/>
              <a:gd name="connsiteY334" fmla="*/ 3276830 h 4567794"/>
              <a:gd name="connsiteX335" fmla="*/ 7226025 w 9972838"/>
              <a:gd name="connsiteY335" fmla="*/ 3230260 h 4567794"/>
              <a:gd name="connsiteX336" fmla="*/ 7250269 w 9972838"/>
              <a:gd name="connsiteY336" fmla="*/ 3214191 h 4567794"/>
              <a:gd name="connsiteX337" fmla="*/ 8902363 w 9972838"/>
              <a:gd name="connsiteY337" fmla="*/ 3186555 h 4567794"/>
              <a:gd name="connsiteX338" fmla="*/ 8857343 w 9972838"/>
              <a:gd name="connsiteY338" fmla="*/ 3395554 h 4567794"/>
              <a:gd name="connsiteX339" fmla="*/ 8872347 w 9972838"/>
              <a:gd name="connsiteY339" fmla="*/ 3425411 h 4567794"/>
              <a:gd name="connsiteX340" fmla="*/ 8887353 w 9972838"/>
              <a:gd name="connsiteY340" fmla="*/ 3440341 h 4567794"/>
              <a:gd name="connsiteX341" fmla="*/ 8887353 w 9972838"/>
              <a:gd name="connsiteY341" fmla="*/ 3470197 h 4567794"/>
              <a:gd name="connsiteX342" fmla="*/ 8932374 w 9972838"/>
              <a:gd name="connsiteY342" fmla="*/ 3455268 h 4567794"/>
              <a:gd name="connsiteX343" fmla="*/ 8947383 w 9972838"/>
              <a:gd name="connsiteY343" fmla="*/ 3440341 h 4567794"/>
              <a:gd name="connsiteX344" fmla="*/ 8962389 w 9972838"/>
              <a:gd name="connsiteY344" fmla="*/ 3485126 h 4567794"/>
              <a:gd name="connsiteX345" fmla="*/ 8812321 w 9972838"/>
              <a:gd name="connsiteY345" fmla="*/ 3529911 h 4567794"/>
              <a:gd name="connsiteX346" fmla="*/ 8527188 w 9972838"/>
              <a:gd name="connsiteY346" fmla="*/ 3395554 h 4567794"/>
              <a:gd name="connsiteX347" fmla="*/ 8482166 w 9972838"/>
              <a:gd name="connsiteY347" fmla="*/ 3320912 h 4567794"/>
              <a:gd name="connsiteX348" fmla="*/ 8662249 w 9972838"/>
              <a:gd name="connsiteY348" fmla="*/ 3276127 h 4567794"/>
              <a:gd name="connsiteX349" fmla="*/ 8722280 w 9972838"/>
              <a:gd name="connsiteY349" fmla="*/ 3276127 h 4567794"/>
              <a:gd name="connsiteX350" fmla="*/ 8707271 w 9972838"/>
              <a:gd name="connsiteY350" fmla="*/ 3231340 h 4567794"/>
              <a:gd name="connsiteX351" fmla="*/ 8902363 w 9972838"/>
              <a:gd name="connsiteY351" fmla="*/ 3186555 h 4567794"/>
              <a:gd name="connsiteX352" fmla="*/ 5835949 w 9972838"/>
              <a:gd name="connsiteY352" fmla="*/ 3163564 h 4567794"/>
              <a:gd name="connsiteX353" fmla="*/ 5827404 w 9972838"/>
              <a:gd name="connsiteY353" fmla="*/ 3179961 h 4567794"/>
              <a:gd name="connsiteX354" fmla="*/ 5823675 w 9972838"/>
              <a:gd name="connsiteY354" fmla="*/ 3215354 h 4567794"/>
              <a:gd name="connsiteX355" fmla="*/ 5868433 w 9972838"/>
              <a:gd name="connsiteY355" fmla="*/ 3215354 h 4567794"/>
              <a:gd name="connsiteX356" fmla="*/ 5883352 w 9972838"/>
              <a:gd name="connsiteY356" fmla="*/ 3215354 h 4567794"/>
              <a:gd name="connsiteX357" fmla="*/ 5913684 w 9972838"/>
              <a:gd name="connsiteY357" fmla="*/ 3220069 h 4567794"/>
              <a:gd name="connsiteX358" fmla="*/ 5922966 w 9972838"/>
              <a:gd name="connsiteY358" fmla="*/ 3217793 h 4567794"/>
              <a:gd name="connsiteX359" fmla="*/ 5925704 w 9972838"/>
              <a:gd name="connsiteY359" fmla="*/ 3211593 h 4567794"/>
              <a:gd name="connsiteX360" fmla="*/ 5931451 w 9972838"/>
              <a:gd name="connsiteY360" fmla="*/ 3205798 h 4567794"/>
              <a:gd name="connsiteX361" fmla="*/ 5918419 w 9972838"/>
              <a:gd name="connsiteY361" fmla="*/ 3196034 h 4567794"/>
              <a:gd name="connsiteX362" fmla="*/ 5863406 w 9972838"/>
              <a:gd name="connsiteY362" fmla="*/ 3171582 h 4567794"/>
              <a:gd name="connsiteX363" fmla="*/ 1518929 w 9972838"/>
              <a:gd name="connsiteY363" fmla="*/ 3147662 h 4567794"/>
              <a:gd name="connsiteX364" fmla="*/ 1464897 w 9972838"/>
              <a:gd name="connsiteY364" fmla="*/ 3203468 h 4567794"/>
              <a:gd name="connsiteX365" fmla="*/ 1414797 w 9972838"/>
              <a:gd name="connsiteY365" fmla="*/ 3251787 h 4567794"/>
              <a:gd name="connsiteX366" fmla="*/ 1420420 w 9972838"/>
              <a:gd name="connsiteY366" fmla="*/ 3248561 h 4567794"/>
              <a:gd name="connsiteX367" fmla="*/ 1439301 w 9972838"/>
              <a:gd name="connsiteY367" fmla="*/ 3254848 h 4567794"/>
              <a:gd name="connsiteX368" fmla="*/ 1618326 w 9972838"/>
              <a:gd name="connsiteY368" fmla="*/ 3239946 h 4567794"/>
              <a:gd name="connsiteX369" fmla="*/ 1566110 w 9972838"/>
              <a:gd name="connsiteY369" fmla="*/ 3178470 h 4567794"/>
              <a:gd name="connsiteX370" fmla="*/ 1575890 w 9972838"/>
              <a:gd name="connsiteY370" fmla="*/ 3166208 h 4567794"/>
              <a:gd name="connsiteX371" fmla="*/ 1537661 w 9972838"/>
              <a:gd name="connsiteY371" fmla="*/ 3155882 h 4567794"/>
              <a:gd name="connsiteX372" fmla="*/ 1376906 w 9972838"/>
              <a:gd name="connsiteY372" fmla="*/ 3075088 h 4567794"/>
              <a:gd name="connsiteX373" fmla="*/ 1367098 w 9972838"/>
              <a:gd name="connsiteY373" fmla="*/ 3078098 h 4567794"/>
              <a:gd name="connsiteX374" fmla="*/ 1355787 w 9972838"/>
              <a:gd name="connsiteY374" fmla="*/ 3076760 h 4567794"/>
              <a:gd name="connsiteX375" fmla="*/ 1360469 w 9972838"/>
              <a:gd name="connsiteY375" fmla="*/ 3099145 h 4567794"/>
              <a:gd name="connsiteX376" fmla="*/ 1390304 w 9972838"/>
              <a:gd name="connsiteY376" fmla="*/ 3089834 h 4567794"/>
              <a:gd name="connsiteX377" fmla="*/ 1393262 w 9972838"/>
              <a:gd name="connsiteY377" fmla="*/ 3087343 h 4567794"/>
              <a:gd name="connsiteX378" fmla="*/ 8272837 w 9972838"/>
              <a:gd name="connsiteY378" fmla="*/ 3035832 h 4567794"/>
              <a:gd name="connsiteX379" fmla="*/ 8248536 w 9972838"/>
              <a:gd name="connsiteY379" fmla="*/ 3142366 h 4567794"/>
              <a:gd name="connsiteX380" fmla="*/ 8175683 w 9972838"/>
              <a:gd name="connsiteY380" fmla="*/ 3208441 h 4567794"/>
              <a:gd name="connsiteX381" fmla="*/ 8174613 w 9972838"/>
              <a:gd name="connsiteY381" fmla="*/ 3207460 h 4567794"/>
              <a:gd name="connsiteX382" fmla="*/ 8173401 w 9972838"/>
              <a:gd name="connsiteY382" fmla="*/ 3208563 h 4567794"/>
              <a:gd name="connsiteX383" fmla="*/ 8158440 w 9972838"/>
              <a:gd name="connsiteY383" fmla="*/ 3194864 h 4567794"/>
              <a:gd name="connsiteX384" fmla="*/ 8136061 w 9972838"/>
              <a:gd name="connsiteY384" fmla="*/ 3185551 h 4567794"/>
              <a:gd name="connsiteX385" fmla="*/ 8158440 w 9972838"/>
              <a:gd name="connsiteY385" fmla="*/ 3166920 h 4567794"/>
              <a:gd name="connsiteX386" fmla="*/ 8160060 w 9972838"/>
              <a:gd name="connsiteY386" fmla="*/ 3167191 h 4567794"/>
              <a:gd name="connsiteX387" fmla="*/ 8160692 w 9972838"/>
              <a:gd name="connsiteY387" fmla="*/ 3166667 h 4567794"/>
              <a:gd name="connsiteX388" fmla="*/ 8181109 w 9972838"/>
              <a:gd name="connsiteY388" fmla="*/ 3170066 h 4567794"/>
              <a:gd name="connsiteX389" fmla="*/ 8195735 w 9972838"/>
              <a:gd name="connsiteY389" fmla="*/ 3140842 h 4567794"/>
              <a:gd name="connsiteX390" fmla="*/ 8178953 w 9972838"/>
              <a:gd name="connsiteY390" fmla="*/ 3094271 h 4567794"/>
              <a:gd name="connsiteX391" fmla="*/ 8181254 w 9972838"/>
              <a:gd name="connsiteY391" fmla="*/ 3093782 h 4567794"/>
              <a:gd name="connsiteX392" fmla="*/ 8181248 w 9972838"/>
              <a:gd name="connsiteY392" fmla="*/ 3093773 h 4567794"/>
              <a:gd name="connsiteX393" fmla="*/ 8240493 w 9972838"/>
              <a:gd name="connsiteY393" fmla="*/ 3081205 h 4567794"/>
              <a:gd name="connsiteX394" fmla="*/ 8244222 w 9972838"/>
              <a:gd name="connsiteY394" fmla="*/ 3053287 h 4567794"/>
              <a:gd name="connsiteX395" fmla="*/ 8270327 w 9972838"/>
              <a:gd name="connsiteY395" fmla="*/ 3036519 h 4567794"/>
              <a:gd name="connsiteX396" fmla="*/ 8270083 w 9972838"/>
              <a:gd name="connsiteY396" fmla="*/ 3037603 h 4567794"/>
              <a:gd name="connsiteX397" fmla="*/ 6111269 w 9972838"/>
              <a:gd name="connsiteY397" fmla="*/ 2975272 h 4567794"/>
              <a:gd name="connsiteX398" fmla="*/ 6102103 w 9972838"/>
              <a:gd name="connsiteY398" fmla="*/ 2990651 h 4567794"/>
              <a:gd name="connsiteX399" fmla="*/ 6079041 w 9972838"/>
              <a:gd name="connsiteY399" fmla="*/ 3028265 h 4567794"/>
              <a:gd name="connsiteX400" fmla="*/ 6106590 w 9972838"/>
              <a:gd name="connsiteY400" fmla="*/ 3021579 h 4567794"/>
              <a:gd name="connsiteX401" fmla="*/ 2302076 w 9972838"/>
              <a:gd name="connsiteY401" fmla="*/ 2868327 h 4567794"/>
              <a:gd name="connsiteX402" fmla="*/ 2297009 w 9972838"/>
              <a:gd name="connsiteY402" fmla="*/ 2870577 h 4567794"/>
              <a:gd name="connsiteX403" fmla="*/ 2286823 w 9972838"/>
              <a:gd name="connsiteY403" fmla="*/ 2900751 h 4567794"/>
              <a:gd name="connsiteX404" fmla="*/ 2270505 w 9972838"/>
              <a:gd name="connsiteY404" fmla="*/ 2935213 h 4567794"/>
              <a:gd name="connsiteX405" fmla="*/ 2255812 w 9972838"/>
              <a:gd name="connsiteY405" fmla="*/ 2966244 h 4567794"/>
              <a:gd name="connsiteX406" fmla="*/ 2261448 w 9972838"/>
              <a:gd name="connsiteY406" fmla="*/ 2963077 h 4567794"/>
              <a:gd name="connsiteX407" fmla="*/ 2263505 w 9972838"/>
              <a:gd name="connsiteY407" fmla="*/ 2961149 h 4567794"/>
              <a:gd name="connsiteX408" fmla="*/ 2266817 w 9972838"/>
              <a:gd name="connsiteY408" fmla="*/ 2951667 h 4567794"/>
              <a:gd name="connsiteX409" fmla="*/ 2304581 w 9972838"/>
              <a:gd name="connsiteY409" fmla="*/ 2897177 h 4567794"/>
              <a:gd name="connsiteX410" fmla="*/ 1231247 w 9972838"/>
              <a:gd name="connsiteY410" fmla="*/ 2826601 h 4567794"/>
              <a:gd name="connsiteX411" fmla="*/ 1203126 w 9972838"/>
              <a:gd name="connsiteY411" fmla="*/ 2862111 h 4567794"/>
              <a:gd name="connsiteX412" fmla="*/ 1270958 w 9972838"/>
              <a:gd name="connsiteY412" fmla="*/ 2860700 h 4567794"/>
              <a:gd name="connsiteX413" fmla="*/ 6179713 w 9972838"/>
              <a:gd name="connsiteY413" fmla="*/ 2754227 h 4567794"/>
              <a:gd name="connsiteX414" fmla="*/ 6153353 w 9972838"/>
              <a:gd name="connsiteY414" fmla="*/ 2774799 h 4567794"/>
              <a:gd name="connsiteX415" fmla="*/ 6153897 w 9972838"/>
              <a:gd name="connsiteY415" fmla="*/ 2775403 h 4567794"/>
              <a:gd name="connsiteX416" fmla="*/ 6149237 w 9972838"/>
              <a:gd name="connsiteY416" fmla="*/ 2791660 h 4567794"/>
              <a:gd name="connsiteX417" fmla="*/ 6148980 w 9972838"/>
              <a:gd name="connsiteY417" fmla="*/ 2791868 h 4567794"/>
              <a:gd name="connsiteX418" fmla="*/ 6149237 w 9972838"/>
              <a:gd name="connsiteY418" fmla="*/ 2792899 h 4567794"/>
              <a:gd name="connsiteX419" fmla="*/ 6133597 w 9972838"/>
              <a:gd name="connsiteY419" fmla="*/ 2805392 h 4567794"/>
              <a:gd name="connsiteX420" fmla="*/ 6125179 w 9972838"/>
              <a:gd name="connsiteY420" fmla="*/ 2827185 h 4567794"/>
              <a:gd name="connsiteX421" fmla="*/ 6130075 w 9972838"/>
              <a:gd name="connsiteY421" fmla="*/ 2862347 h 4567794"/>
              <a:gd name="connsiteX422" fmla="*/ 6134159 w 9972838"/>
              <a:gd name="connsiteY422" fmla="*/ 2864134 h 4567794"/>
              <a:gd name="connsiteX423" fmla="*/ 6143989 w 9972838"/>
              <a:gd name="connsiteY423" fmla="*/ 2836048 h 4567794"/>
              <a:gd name="connsiteX424" fmla="*/ 6172698 w 9972838"/>
              <a:gd name="connsiteY424" fmla="*/ 2805292 h 4567794"/>
              <a:gd name="connsiteX425" fmla="*/ 6173060 w 9972838"/>
              <a:gd name="connsiteY425" fmla="*/ 2806273 h 4567794"/>
              <a:gd name="connsiteX426" fmla="*/ 6176521 w 9972838"/>
              <a:gd name="connsiteY426" fmla="*/ 2780104 h 4567794"/>
              <a:gd name="connsiteX427" fmla="*/ 6189428 w 9972838"/>
              <a:gd name="connsiteY427" fmla="*/ 2759114 h 4567794"/>
              <a:gd name="connsiteX428" fmla="*/ 6182393 w 9972838"/>
              <a:gd name="connsiteY428" fmla="*/ 2755310 h 4567794"/>
              <a:gd name="connsiteX429" fmla="*/ 1103568 w 9972838"/>
              <a:gd name="connsiteY429" fmla="*/ 2748818 h 4567794"/>
              <a:gd name="connsiteX430" fmla="*/ 1106851 w 9972838"/>
              <a:gd name="connsiteY430" fmla="*/ 2756376 h 4567794"/>
              <a:gd name="connsiteX431" fmla="*/ 1121771 w 9972838"/>
              <a:gd name="connsiteY431" fmla="*/ 2786184 h 4567794"/>
              <a:gd name="connsiteX432" fmla="*/ 1077012 w 9972838"/>
              <a:gd name="connsiteY432" fmla="*/ 2801086 h 4567794"/>
              <a:gd name="connsiteX433" fmla="*/ 1032258 w 9972838"/>
              <a:gd name="connsiteY433" fmla="*/ 2845793 h 4567794"/>
              <a:gd name="connsiteX434" fmla="*/ 1026331 w 9972838"/>
              <a:gd name="connsiteY434" fmla="*/ 2876121 h 4567794"/>
              <a:gd name="connsiteX435" fmla="*/ 1052804 w 9972838"/>
              <a:gd name="connsiteY435" fmla="*/ 2868536 h 4567794"/>
              <a:gd name="connsiteX436" fmla="*/ 1138819 w 9972838"/>
              <a:gd name="connsiteY436" fmla="*/ 2803570 h 4567794"/>
              <a:gd name="connsiteX437" fmla="*/ 1150008 w 9972838"/>
              <a:gd name="connsiteY437" fmla="*/ 2768174 h 4567794"/>
              <a:gd name="connsiteX438" fmla="*/ 1146916 w 9972838"/>
              <a:gd name="connsiteY438" fmla="*/ 2761482 h 4567794"/>
              <a:gd name="connsiteX439" fmla="*/ 1109223 w 9972838"/>
              <a:gd name="connsiteY439" fmla="*/ 2751300 h 4567794"/>
              <a:gd name="connsiteX440" fmla="*/ 2382074 w 9972838"/>
              <a:gd name="connsiteY440" fmla="*/ 2735931 h 4567794"/>
              <a:gd name="connsiteX441" fmla="*/ 2364013 w 9972838"/>
              <a:gd name="connsiteY441" fmla="*/ 2775624 h 4567794"/>
              <a:gd name="connsiteX442" fmla="*/ 2362659 w 9972838"/>
              <a:gd name="connsiteY442" fmla="*/ 2781487 h 4567794"/>
              <a:gd name="connsiteX443" fmla="*/ 2394094 w 9972838"/>
              <a:gd name="connsiteY443" fmla="*/ 2777952 h 4567794"/>
              <a:gd name="connsiteX444" fmla="*/ 1004584 w 9972838"/>
              <a:gd name="connsiteY444" fmla="*/ 2704857 h 4567794"/>
              <a:gd name="connsiteX445" fmla="*/ 995228 w 9972838"/>
              <a:gd name="connsiteY445" fmla="*/ 2725328 h 4567794"/>
              <a:gd name="connsiteX446" fmla="*/ 994186 w 9972838"/>
              <a:gd name="connsiteY446" fmla="*/ 2727052 h 4567794"/>
              <a:gd name="connsiteX447" fmla="*/ 996303 w 9972838"/>
              <a:gd name="connsiteY447" fmla="*/ 2731927 h 4567794"/>
              <a:gd name="connsiteX448" fmla="*/ 1047176 w 9972838"/>
              <a:gd name="connsiteY448" fmla="*/ 2734023 h 4567794"/>
              <a:gd name="connsiteX449" fmla="*/ 1061553 w 9972838"/>
              <a:gd name="connsiteY449" fmla="*/ 2730379 h 4567794"/>
              <a:gd name="connsiteX450" fmla="*/ 1053512 w 9972838"/>
              <a:gd name="connsiteY450" fmla="*/ 2726850 h 4567794"/>
              <a:gd name="connsiteX451" fmla="*/ 2465078 w 9972838"/>
              <a:gd name="connsiteY451" fmla="*/ 2633724 h 4567794"/>
              <a:gd name="connsiteX452" fmla="*/ 2460013 w 9972838"/>
              <a:gd name="connsiteY452" fmla="*/ 2664082 h 4567794"/>
              <a:gd name="connsiteX453" fmla="*/ 2468688 w 9972838"/>
              <a:gd name="connsiteY453" fmla="*/ 2662457 h 4567794"/>
              <a:gd name="connsiteX454" fmla="*/ 2528362 w 9972838"/>
              <a:gd name="connsiteY454" fmla="*/ 2673633 h 4567794"/>
              <a:gd name="connsiteX455" fmla="*/ 2576615 w 9972838"/>
              <a:gd name="connsiteY455" fmla="*/ 2688304 h 4567794"/>
              <a:gd name="connsiteX456" fmla="*/ 2580224 w 9972838"/>
              <a:gd name="connsiteY456" fmla="*/ 2683668 h 4567794"/>
              <a:gd name="connsiteX457" fmla="*/ 2573405 w 9972838"/>
              <a:gd name="connsiteY457" fmla="*/ 2681827 h 4567794"/>
              <a:gd name="connsiteX458" fmla="*/ 2517693 w 9972838"/>
              <a:gd name="connsiteY458" fmla="*/ 2657375 h 4567794"/>
              <a:gd name="connsiteX459" fmla="*/ 3094488 w 9972838"/>
              <a:gd name="connsiteY459" fmla="*/ 2571175 h 4567794"/>
              <a:gd name="connsiteX460" fmla="*/ 3082446 w 9972838"/>
              <a:gd name="connsiteY460" fmla="*/ 2583411 h 4567794"/>
              <a:gd name="connsiteX461" fmla="*/ 3065207 w 9972838"/>
              <a:gd name="connsiteY461" fmla="*/ 2612334 h 4567794"/>
              <a:gd name="connsiteX462" fmla="*/ 3067633 w 9972838"/>
              <a:gd name="connsiteY462" fmla="*/ 2611386 h 4567794"/>
              <a:gd name="connsiteX463" fmla="*/ 3080332 w 9972838"/>
              <a:gd name="connsiteY463" fmla="*/ 2593625 h 4567794"/>
              <a:gd name="connsiteX464" fmla="*/ 3095988 w 9972838"/>
              <a:gd name="connsiteY464" fmla="*/ 2571730 h 4567794"/>
              <a:gd name="connsiteX465" fmla="*/ 7633239 w 9972838"/>
              <a:gd name="connsiteY465" fmla="*/ 2495434 h 4567794"/>
              <a:gd name="connsiteX466" fmla="*/ 7623509 w 9972838"/>
              <a:gd name="connsiteY466" fmla="*/ 2504745 h 4567794"/>
              <a:gd name="connsiteX467" fmla="*/ 7556427 w 9972838"/>
              <a:gd name="connsiteY467" fmla="*/ 2518698 h 4567794"/>
              <a:gd name="connsiteX468" fmla="*/ 7544781 w 9972838"/>
              <a:gd name="connsiteY468" fmla="*/ 2518214 h 4567794"/>
              <a:gd name="connsiteX469" fmla="*/ 7525784 w 9972838"/>
              <a:gd name="connsiteY469" fmla="*/ 2543034 h 4567794"/>
              <a:gd name="connsiteX470" fmla="*/ 7526941 w 9972838"/>
              <a:gd name="connsiteY470" fmla="*/ 2543775 h 4567794"/>
              <a:gd name="connsiteX471" fmla="*/ 7525855 w 9972838"/>
              <a:gd name="connsiteY471" fmla="*/ 2544172 h 4567794"/>
              <a:gd name="connsiteX472" fmla="*/ 7526941 w 9972838"/>
              <a:gd name="connsiteY472" fmla="*/ 2544864 h 4567794"/>
              <a:gd name="connsiteX473" fmla="*/ 7522375 w 9972838"/>
              <a:gd name="connsiteY473" fmla="*/ 2547501 h 4567794"/>
              <a:gd name="connsiteX474" fmla="*/ 7479029 w 9972838"/>
              <a:gd name="connsiteY474" fmla="*/ 2613426 h 4567794"/>
              <a:gd name="connsiteX475" fmla="*/ 7482217 w 9972838"/>
              <a:gd name="connsiteY475" fmla="*/ 2618083 h 4567794"/>
              <a:gd name="connsiteX476" fmla="*/ 7489673 w 9972838"/>
              <a:gd name="connsiteY476" fmla="*/ 2647809 h 4567794"/>
              <a:gd name="connsiteX477" fmla="*/ 7489417 w 9972838"/>
              <a:gd name="connsiteY477" fmla="*/ 2648017 h 4567794"/>
              <a:gd name="connsiteX478" fmla="*/ 7489673 w 9972838"/>
              <a:gd name="connsiteY478" fmla="*/ 2649047 h 4567794"/>
              <a:gd name="connsiteX479" fmla="*/ 7459976 w 9972838"/>
              <a:gd name="connsiteY479" fmla="*/ 2672768 h 4567794"/>
              <a:gd name="connsiteX480" fmla="*/ 7469229 w 9972838"/>
              <a:gd name="connsiteY480" fmla="*/ 2684026 h 4567794"/>
              <a:gd name="connsiteX481" fmla="*/ 7493454 w 9972838"/>
              <a:gd name="connsiteY481" fmla="*/ 2684029 h 4567794"/>
              <a:gd name="connsiteX482" fmla="*/ 7500283 w 9972838"/>
              <a:gd name="connsiteY482" fmla="*/ 2680368 h 4567794"/>
              <a:gd name="connsiteX483" fmla="*/ 7513133 w 9972838"/>
              <a:gd name="connsiteY483" fmla="*/ 2661440 h 4567794"/>
              <a:gd name="connsiteX484" fmla="*/ 7517395 w 9972838"/>
              <a:gd name="connsiteY484" fmla="*/ 2672974 h 4567794"/>
              <a:gd name="connsiteX485" fmla="*/ 7516635 w 9972838"/>
              <a:gd name="connsiteY485" fmla="*/ 2676521 h 4567794"/>
              <a:gd name="connsiteX486" fmla="*/ 7518347 w 9972838"/>
              <a:gd name="connsiteY486" fmla="*/ 2676712 h 4567794"/>
              <a:gd name="connsiteX487" fmla="*/ 7528857 w 9972838"/>
              <a:gd name="connsiteY487" fmla="*/ 2684026 h 4567794"/>
              <a:gd name="connsiteX488" fmla="*/ 7547630 w 9972838"/>
              <a:gd name="connsiteY488" fmla="*/ 2700702 h 4567794"/>
              <a:gd name="connsiteX489" fmla="*/ 7550814 w 9972838"/>
              <a:gd name="connsiteY489" fmla="*/ 2699888 h 4567794"/>
              <a:gd name="connsiteX490" fmla="*/ 7557768 w 9972838"/>
              <a:gd name="connsiteY490" fmla="*/ 2707577 h 4567794"/>
              <a:gd name="connsiteX491" fmla="*/ 7557193 w 9972838"/>
              <a:gd name="connsiteY491" fmla="*/ 2709195 h 4567794"/>
              <a:gd name="connsiteX492" fmla="*/ 7567288 w 9972838"/>
              <a:gd name="connsiteY492" fmla="*/ 2718163 h 4567794"/>
              <a:gd name="connsiteX493" fmla="*/ 7612705 w 9972838"/>
              <a:gd name="connsiteY493" fmla="*/ 2734186 h 4567794"/>
              <a:gd name="connsiteX494" fmla="*/ 7619855 w 9972838"/>
              <a:gd name="connsiteY494" fmla="*/ 2734495 h 4567794"/>
              <a:gd name="connsiteX495" fmla="*/ 7623829 w 9972838"/>
              <a:gd name="connsiteY495" fmla="*/ 2714688 h 4567794"/>
              <a:gd name="connsiteX496" fmla="*/ 7654226 w 9972838"/>
              <a:gd name="connsiteY496" fmla="*/ 2678112 h 4567794"/>
              <a:gd name="connsiteX497" fmla="*/ 7678281 w 9972838"/>
              <a:gd name="connsiteY497" fmla="*/ 2658241 h 4567794"/>
              <a:gd name="connsiteX498" fmla="*/ 7683841 w 9972838"/>
              <a:gd name="connsiteY498" fmla="*/ 2616210 h 4567794"/>
              <a:gd name="connsiteX499" fmla="*/ 7692015 w 9972838"/>
              <a:gd name="connsiteY499" fmla="*/ 2602915 h 4567794"/>
              <a:gd name="connsiteX500" fmla="*/ 7676004 w 9972838"/>
              <a:gd name="connsiteY500" fmla="*/ 2559748 h 4567794"/>
              <a:gd name="connsiteX501" fmla="*/ 7631283 w 9972838"/>
              <a:gd name="connsiteY501" fmla="*/ 2589514 h 4567794"/>
              <a:gd name="connsiteX502" fmla="*/ 7556753 w 9972838"/>
              <a:gd name="connsiteY502" fmla="*/ 2589514 h 4567794"/>
              <a:gd name="connsiteX503" fmla="*/ 7557575 w 9972838"/>
              <a:gd name="connsiteY503" fmla="*/ 2588900 h 4567794"/>
              <a:gd name="connsiteX504" fmla="*/ 7556753 w 9972838"/>
              <a:gd name="connsiteY504" fmla="*/ 2588361 h 4567794"/>
              <a:gd name="connsiteX505" fmla="*/ 7616375 w 9972838"/>
              <a:gd name="connsiteY505" fmla="*/ 2543775 h 4567794"/>
              <a:gd name="connsiteX506" fmla="*/ 7644325 w 9972838"/>
              <a:gd name="connsiteY506" fmla="*/ 2547491 h 4567794"/>
              <a:gd name="connsiteX507" fmla="*/ 7660709 w 9972838"/>
              <a:gd name="connsiteY507" fmla="*/ 2529339 h 4567794"/>
              <a:gd name="connsiteX508" fmla="*/ 7644325 w 9972838"/>
              <a:gd name="connsiteY508" fmla="*/ 2502077 h 4567794"/>
              <a:gd name="connsiteX509" fmla="*/ 9201246 w 9972838"/>
              <a:gd name="connsiteY509" fmla="*/ 2444172 h 4567794"/>
              <a:gd name="connsiteX510" fmla="*/ 9199664 w 9972838"/>
              <a:gd name="connsiteY510" fmla="*/ 2447442 h 4567794"/>
              <a:gd name="connsiteX511" fmla="*/ 9195911 w 9972838"/>
              <a:gd name="connsiteY511" fmla="*/ 2467967 h 4567794"/>
              <a:gd name="connsiteX512" fmla="*/ 9199579 w 9972838"/>
              <a:gd name="connsiteY512" fmla="*/ 2469792 h 4567794"/>
              <a:gd name="connsiteX513" fmla="*/ 9201865 w 9972838"/>
              <a:gd name="connsiteY513" fmla="*/ 2445842 h 4567794"/>
              <a:gd name="connsiteX514" fmla="*/ 7683559 w 9972838"/>
              <a:gd name="connsiteY514" fmla="*/ 2419714 h 4567794"/>
              <a:gd name="connsiteX515" fmla="*/ 7659841 w 9972838"/>
              <a:gd name="connsiteY515" fmla="*/ 2467075 h 4567794"/>
              <a:gd name="connsiteX516" fmla="*/ 7690657 w 9972838"/>
              <a:gd name="connsiteY516" fmla="*/ 2439967 h 4567794"/>
              <a:gd name="connsiteX517" fmla="*/ 1412650 w 9972838"/>
              <a:gd name="connsiteY517" fmla="*/ 2410649 h 4567794"/>
              <a:gd name="connsiteX518" fmla="*/ 1411557 w 9972838"/>
              <a:gd name="connsiteY518" fmla="*/ 2413888 h 4567794"/>
              <a:gd name="connsiteX519" fmla="*/ 1409347 w 9972838"/>
              <a:gd name="connsiteY519" fmla="*/ 2448500 h 4567794"/>
              <a:gd name="connsiteX520" fmla="*/ 1448115 w 9972838"/>
              <a:gd name="connsiteY520" fmla="*/ 2428513 h 4567794"/>
              <a:gd name="connsiteX521" fmla="*/ 1448399 w 9972838"/>
              <a:gd name="connsiteY521" fmla="*/ 2428011 h 4567794"/>
              <a:gd name="connsiteX522" fmla="*/ 1433967 w 9972838"/>
              <a:gd name="connsiteY522" fmla="*/ 2424106 h 4567794"/>
              <a:gd name="connsiteX523" fmla="*/ 875069 w 9972838"/>
              <a:gd name="connsiteY523" fmla="*/ 2338694 h 4567794"/>
              <a:gd name="connsiteX524" fmla="*/ 858404 w 9972838"/>
              <a:gd name="connsiteY524" fmla="*/ 2354045 h 4567794"/>
              <a:gd name="connsiteX525" fmla="*/ 844652 w 9972838"/>
              <a:gd name="connsiteY525" fmla="*/ 2369180 h 4567794"/>
              <a:gd name="connsiteX526" fmla="*/ 775510 w 9972838"/>
              <a:gd name="connsiteY526" fmla="*/ 2456491 h 4567794"/>
              <a:gd name="connsiteX527" fmla="*/ 782526 w 9972838"/>
              <a:gd name="connsiteY527" fmla="*/ 2457362 h 4567794"/>
              <a:gd name="connsiteX528" fmla="*/ 824085 w 9972838"/>
              <a:gd name="connsiteY528" fmla="*/ 2475819 h 4567794"/>
              <a:gd name="connsiteX529" fmla="*/ 824081 w 9972838"/>
              <a:gd name="connsiteY529" fmla="*/ 2475819 h 4567794"/>
              <a:gd name="connsiteX530" fmla="*/ 824085 w 9972838"/>
              <a:gd name="connsiteY530" fmla="*/ 2475823 h 4567794"/>
              <a:gd name="connsiteX531" fmla="*/ 740965 w 9972838"/>
              <a:gd name="connsiteY531" fmla="*/ 2508678 h 4567794"/>
              <a:gd name="connsiteX532" fmla="*/ 732262 w 9972838"/>
              <a:gd name="connsiteY532" fmla="*/ 2507989 h 4567794"/>
              <a:gd name="connsiteX533" fmla="*/ 696845 w 9972838"/>
              <a:gd name="connsiteY533" fmla="*/ 2544568 h 4567794"/>
              <a:gd name="connsiteX534" fmla="*/ 697380 w 9972838"/>
              <a:gd name="connsiteY534" fmla="*/ 2544861 h 4567794"/>
              <a:gd name="connsiteX535" fmla="*/ 706181 w 9972838"/>
              <a:gd name="connsiteY535" fmla="*/ 2565119 h 4567794"/>
              <a:gd name="connsiteX536" fmla="*/ 721100 w 9972838"/>
              <a:gd name="connsiteY536" fmla="*/ 2594927 h 4567794"/>
              <a:gd name="connsiteX537" fmla="*/ 676342 w 9972838"/>
              <a:gd name="connsiteY537" fmla="*/ 2609828 h 4567794"/>
              <a:gd name="connsiteX538" fmla="*/ 642899 w 9972838"/>
              <a:gd name="connsiteY538" fmla="*/ 2600285 h 4567794"/>
              <a:gd name="connsiteX539" fmla="*/ 635789 w 9972838"/>
              <a:gd name="connsiteY539" fmla="*/ 2607629 h 4567794"/>
              <a:gd name="connsiteX540" fmla="*/ 625190 w 9972838"/>
              <a:gd name="connsiteY540" fmla="*/ 2617853 h 4567794"/>
              <a:gd name="connsiteX541" fmla="*/ 623894 w 9972838"/>
              <a:gd name="connsiteY541" fmla="*/ 2630787 h 4567794"/>
              <a:gd name="connsiteX542" fmla="*/ 631588 w 9972838"/>
              <a:gd name="connsiteY542" fmla="*/ 2654537 h 4567794"/>
              <a:gd name="connsiteX543" fmla="*/ 542075 w 9972838"/>
              <a:gd name="connsiteY543" fmla="*/ 2758861 h 4567794"/>
              <a:gd name="connsiteX544" fmla="*/ 586834 w 9972838"/>
              <a:gd name="connsiteY544" fmla="*/ 2833377 h 4567794"/>
              <a:gd name="connsiteX545" fmla="*/ 601749 w 9972838"/>
              <a:gd name="connsiteY545" fmla="*/ 2848278 h 4567794"/>
              <a:gd name="connsiteX546" fmla="*/ 631588 w 9972838"/>
              <a:gd name="connsiteY546" fmla="*/ 2833377 h 4567794"/>
              <a:gd name="connsiteX547" fmla="*/ 676342 w 9972838"/>
              <a:gd name="connsiteY547" fmla="*/ 2773763 h 4567794"/>
              <a:gd name="connsiteX548" fmla="*/ 676342 w 9972838"/>
              <a:gd name="connsiteY548" fmla="*/ 2714151 h 4567794"/>
              <a:gd name="connsiteX549" fmla="*/ 661426 w 9972838"/>
              <a:gd name="connsiteY549" fmla="*/ 2684344 h 4567794"/>
              <a:gd name="connsiteX550" fmla="*/ 691261 w 9972838"/>
              <a:gd name="connsiteY550" fmla="*/ 2684344 h 4567794"/>
              <a:gd name="connsiteX551" fmla="*/ 870286 w 9972838"/>
              <a:gd name="connsiteY551" fmla="*/ 2669443 h 4567794"/>
              <a:gd name="connsiteX552" fmla="*/ 900120 w 9972838"/>
              <a:gd name="connsiteY552" fmla="*/ 2535317 h 4567794"/>
              <a:gd name="connsiteX553" fmla="*/ 885205 w 9972838"/>
              <a:gd name="connsiteY553" fmla="*/ 2445900 h 4567794"/>
              <a:gd name="connsiteX554" fmla="*/ 904784 w 9972838"/>
              <a:gd name="connsiteY554" fmla="*/ 2447297 h 4567794"/>
              <a:gd name="connsiteX555" fmla="*/ 925476 w 9972838"/>
              <a:gd name="connsiteY555" fmla="*/ 2446147 h 4567794"/>
              <a:gd name="connsiteX556" fmla="*/ 926703 w 9972838"/>
              <a:gd name="connsiteY556" fmla="*/ 2443696 h 4567794"/>
              <a:gd name="connsiteX557" fmla="*/ 934160 w 9972838"/>
              <a:gd name="connsiteY557" fmla="*/ 2428795 h 4567794"/>
              <a:gd name="connsiteX558" fmla="*/ 933433 w 9972838"/>
              <a:gd name="connsiteY558" fmla="*/ 2409171 h 4567794"/>
              <a:gd name="connsiteX559" fmla="*/ 929959 w 9972838"/>
              <a:gd name="connsiteY559" fmla="*/ 2401190 h 4567794"/>
              <a:gd name="connsiteX560" fmla="*/ 894527 w 9972838"/>
              <a:gd name="connsiteY560" fmla="*/ 2343439 h 4567794"/>
              <a:gd name="connsiteX561" fmla="*/ 1500348 w 9972838"/>
              <a:gd name="connsiteY561" fmla="*/ 2208067 h 4567794"/>
              <a:gd name="connsiteX562" fmla="*/ 1493770 w 9972838"/>
              <a:gd name="connsiteY562" fmla="*/ 2210258 h 4567794"/>
              <a:gd name="connsiteX563" fmla="*/ 1488895 w 9972838"/>
              <a:gd name="connsiteY563" fmla="*/ 2222071 h 4567794"/>
              <a:gd name="connsiteX564" fmla="*/ 1493642 w 9972838"/>
              <a:gd name="connsiteY564" fmla="*/ 2230370 h 4567794"/>
              <a:gd name="connsiteX565" fmla="*/ 1498196 w 9972838"/>
              <a:gd name="connsiteY565" fmla="*/ 2228715 h 4567794"/>
              <a:gd name="connsiteX566" fmla="*/ 9168419 w 9972838"/>
              <a:gd name="connsiteY566" fmla="*/ 2187490 h 4567794"/>
              <a:gd name="connsiteX567" fmla="*/ 9078978 w 9972838"/>
              <a:gd name="connsiteY567" fmla="*/ 2291669 h 4567794"/>
              <a:gd name="connsiteX568" fmla="*/ 9079630 w 9972838"/>
              <a:gd name="connsiteY568" fmla="*/ 2295090 h 4567794"/>
              <a:gd name="connsiteX569" fmla="*/ 9101179 w 9972838"/>
              <a:gd name="connsiteY569" fmla="*/ 2297223 h 4567794"/>
              <a:gd name="connsiteX570" fmla="*/ 9147138 w 9972838"/>
              <a:gd name="connsiteY570" fmla="*/ 2283228 h 4567794"/>
              <a:gd name="connsiteX571" fmla="*/ 9191887 w 9972838"/>
              <a:gd name="connsiteY571" fmla="*/ 2258699 h 4567794"/>
              <a:gd name="connsiteX572" fmla="*/ 9185186 w 9972838"/>
              <a:gd name="connsiteY572" fmla="*/ 2239583 h 4567794"/>
              <a:gd name="connsiteX573" fmla="*/ 9183325 w 9972838"/>
              <a:gd name="connsiteY573" fmla="*/ 2202374 h 4567794"/>
              <a:gd name="connsiteX574" fmla="*/ 9168419 w 9972838"/>
              <a:gd name="connsiteY574" fmla="*/ 2187490 h 4567794"/>
              <a:gd name="connsiteX575" fmla="*/ 827225 w 9972838"/>
              <a:gd name="connsiteY575" fmla="*/ 2118607 h 4567794"/>
              <a:gd name="connsiteX576" fmla="*/ 852794 w 9972838"/>
              <a:gd name="connsiteY576" fmla="*/ 2119953 h 4567794"/>
              <a:gd name="connsiteX577" fmla="*/ 852794 w 9972838"/>
              <a:gd name="connsiteY577" fmla="*/ 2148661 h 4567794"/>
              <a:gd name="connsiteX578" fmla="*/ 766667 w 9972838"/>
              <a:gd name="connsiteY578" fmla="*/ 2163016 h 4567794"/>
              <a:gd name="connsiteX579" fmla="*/ 827225 w 9972838"/>
              <a:gd name="connsiteY579" fmla="*/ 2118607 h 4567794"/>
              <a:gd name="connsiteX580" fmla="*/ 262656 w 9972838"/>
              <a:gd name="connsiteY580" fmla="*/ 1966570 h 4567794"/>
              <a:gd name="connsiteX581" fmla="*/ 395648 w 9972838"/>
              <a:gd name="connsiteY581" fmla="*/ 2071237 h 4567794"/>
              <a:gd name="connsiteX582" fmla="*/ 395642 w 9972838"/>
              <a:gd name="connsiteY582" fmla="*/ 2071237 h 4567794"/>
              <a:gd name="connsiteX583" fmla="*/ 395648 w 9972838"/>
              <a:gd name="connsiteY583" fmla="*/ 2071241 h 4567794"/>
              <a:gd name="connsiteX584" fmla="*/ 262656 w 9972838"/>
              <a:gd name="connsiteY584" fmla="*/ 2071241 h 4567794"/>
              <a:gd name="connsiteX585" fmla="*/ 233102 w 9972838"/>
              <a:gd name="connsiteY585" fmla="*/ 2086193 h 4567794"/>
              <a:gd name="connsiteX586" fmla="*/ 159218 w 9972838"/>
              <a:gd name="connsiteY586" fmla="*/ 2086193 h 4567794"/>
              <a:gd name="connsiteX587" fmla="*/ 159223 w 9972838"/>
              <a:gd name="connsiteY587" fmla="*/ 2086189 h 4567794"/>
              <a:gd name="connsiteX588" fmla="*/ 159218 w 9972838"/>
              <a:gd name="connsiteY588" fmla="*/ 2086189 h 4567794"/>
              <a:gd name="connsiteX589" fmla="*/ 203551 w 9972838"/>
              <a:gd name="connsiteY589" fmla="*/ 2026379 h 4567794"/>
              <a:gd name="connsiteX590" fmla="*/ 262656 w 9972838"/>
              <a:gd name="connsiteY590" fmla="*/ 1966570 h 4567794"/>
              <a:gd name="connsiteX591" fmla="*/ 778537 w 9972838"/>
              <a:gd name="connsiteY591" fmla="*/ 1920319 h 4567794"/>
              <a:gd name="connsiteX592" fmla="*/ 775651 w 9972838"/>
              <a:gd name="connsiteY592" fmla="*/ 1922092 h 4567794"/>
              <a:gd name="connsiteX593" fmla="*/ 740221 w 9972838"/>
              <a:gd name="connsiteY593" fmla="*/ 1936994 h 4567794"/>
              <a:gd name="connsiteX594" fmla="*/ 740221 w 9972838"/>
              <a:gd name="connsiteY594" fmla="*/ 1951898 h 4567794"/>
              <a:gd name="connsiteX595" fmla="*/ 680547 w 9972838"/>
              <a:gd name="connsiteY595" fmla="*/ 2086025 h 4567794"/>
              <a:gd name="connsiteX596" fmla="*/ 605954 w 9972838"/>
              <a:gd name="connsiteY596" fmla="*/ 2235054 h 4567794"/>
              <a:gd name="connsiteX597" fmla="*/ 516441 w 9972838"/>
              <a:gd name="connsiteY597" fmla="*/ 2384087 h 4567794"/>
              <a:gd name="connsiteX598" fmla="*/ 531362 w 9972838"/>
              <a:gd name="connsiteY598" fmla="*/ 2503306 h 4567794"/>
              <a:gd name="connsiteX599" fmla="*/ 577513 w 9972838"/>
              <a:gd name="connsiteY599" fmla="*/ 2480257 h 4567794"/>
              <a:gd name="connsiteX600" fmla="*/ 585379 w 9972838"/>
              <a:gd name="connsiteY600" fmla="*/ 2476328 h 4567794"/>
              <a:gd name="connsiteX601" fmla="*/ 584194 w 9972838"/>
              <a:gd name="connsiteY601" fmla="*/ 2468809 h 4567794"/>
              <a:gd name="connsiteX602" fmla="*/ 631989 w 9972838"/>
              <a:gd name="connsiteY602" fmla="*/ 2430961 h 4567794"/>
              <a:gd name="connsiteX603" fmla="*/ 691093 w 9972838"/>
              <a:gd name="connsiteY603" fmla="*/ 2371153 h 4567794"/>
              <a:gd name="connsiteX604" fmla="*/ 690748 w 9972838"/>
              <a:gd name="connsiteY604" fmla="*/ 2408153 h 4567794"/>
              <a:gd name="connsiteX605" fmla="*/ 695167 w 9972838"/>
              <a:gd name="connsiteY605" fmla="*/ 2420152 h 4567794"/>
              <a:gd name="connsiteX606" fmla="*/ 710381 w 9972838"/>
              <a:gd name="connsiteY606" fmla="*/ 2398988 h 4567794"/>
              <a:gd name="connsiteX607" fmla="*/ 710381 w 9972838"/>
              <a:gd name="connsiteY607" fmla="*/ 2339377 h 4567794"/>
              <a:gd name="connsiteX608" fmla="*/ 805256 w 9972838"/>
              <a:gd name="connsiteY608" fmla="*/ 2291173 h 4567794"/>
              <a:gd name="connsiteX609" fmla="*/ 831948 w 9972838"/>
              <a:gd name="connsiteY609" fmla="*/ 2272364 h 4567794"/>
              <a:gd name="connsiteX610" fmla="*/ 825530 w 9972838"/>
              <a:gd name="connsiteY610" fmla="*/ 2270788 h 4567794"/>
              <a:gd name="connsiteX611" fmla="*/ 765854 w 9972838"/>
              <a:gd name="connsiteY611" fmla="*/ 2281965 h 4567794"/>
              <a:gd name="connsiteX612" fmla="*/ 750934 w 9972838"/>
              <a:gd name="connsiteY612" fmla="*/ 2281965 h 4567794"/>
              <a:gd name="connsiteX613" fmla="*/ 750934 w 9972838"/>
              <a:gd name="connsiteY613" fmla="*/ 2252157 h 4567794"/>
              <a:gd name="connsiteX614" fmla="*/ 840446 w 9972838"/>
              <a:gd name="connsiteY614" fmla="*/ 2237257 h 4567794"/>
              <a:gd name="connsiteX615" fmla="*/ 872149 w 9972838"/>
              <a:gd name="connsiteY615" fmla="*/ 2240982 h 4567794"/>
              <a:gd name="connsiteX616" fmla="*/ 883446 w 9972838"/>
              <a:gd name="connsiteY616" fmla="*/ 2236076 h 4567794"/>
              <a:gd name="connsiteX617" fmla="*/ 887541 w 9972838"/>
              <a:gd name="connsiteY617" fmla="*/ 2233190 h 4567794"/>
              <a:gd name="connsiteX618" fmla="*/ 1008754 w 9972838"/>
              <a:gd name="connsiteY618" fmla="*/ 2071119 h 4567794"/>
              <a:gd name="connsiteX619" fmla="*/ 1008788 w 9972838"/>
              <a:gd name="connsiteY619" fmla="*/ 2070986 h 4567794"/>
              <a:gd name="connsiteX620" fmla="*/ 973908 w 9972838"/>
              <a:gd name="connsiteY620" fmla="*/ 2057193 h 4567794"/>
              <a:gd name="connsiteX621" fmla="*/ 945862 w 9972838"/>
              <a:gd name="connsiteY621" fmla="*/ 2049604 h 4567794"/>
              <a:gd name="connsiteX622" fmla="*/ 917877 w 9972838"/>
              <a:gd name="connsiteY622" fmla="*/ 2075688 h 4567794"/>
              <a:gd name="connsiteX623" fmla="*/ 854100 w 9972838"/>
              <a:gd name="connsiteY623" fmla="*/ 2090643 h 4567794"/>
              <a:gd name="connsiteX624" fmla="*/ 839090 w 9972838"/>
              <a:gd name="connsiteY624" fmla="*/ 2060736 h 4567794"/>
              <a:gd name="connsiteX625" fmla="*/ 840723 w 9972838"/>
              <a:gd name="connsiteY625" fmla="*/ 2058968 h 4567794"/>
              <a:gd name="connsiteX626" fmla="*/ 840446 w 9972838"/>
              <a:gd name="connsiteY626" fmla="*/ 2058420 h 4567794"/>
              <a:gd name="connsiteX627" fmla="*/ 870984 w 9972838"/>
              <a:gd name="connsiteY627" fmla="*/ 2040024 h 4567794"/>
              <a:gd name="connsiteX628" fmla="*/ 876311 w 9972838"/>
              <a:gd name="connsiteY628" fmla="*/ 2027871 h 4567794"/>
              <a:gd name="connsiteX629" fmla="*/ 826119 w 9972838"/>
              <a:gd name="connsiteY629" fmla="*/ 1996182 h 4567794"/>
              <a:gd name="connsiteX630" fmla="*/ 787424 w 9972838"/>
              <a:gd name="connsiteY630" fmla="*/ 1951008 h 4567794"/>
              <a:gd name="connsiteX631" fmla="*/ 740221 w 9972838"/>
              <a:gd name="connsiteY631" fmla="*/ 1847576 h 4567794"/>
              <a:gd name="connsiteX632" fmla="*/ 764462 w 9972838"/>
              <a:gd name="connsiteY632" fmla="*/ 1882972 h 4567794"/>
              <a:gd name="connsiteX633" fmla="*/ 772157 w 9972838"/>
              <a:gd name="connsiteY633" fmla="*/ 1886318 h 4567794"/>
              <a:gd name="connsiteX634" fmla="*/ 776176 w 9972838"/>
              <a:gd name="connsiteY634" fmla="*/ 1854408 h 4567794"/>
              <a:gd name="connsiteX635" fmla="*/ 765163 w 9972838"/>
              <a:gd name="connsiteY635" fmla="*/ 1851768 h 4567794"/>
              <a:gd name="connsiteX636" fmla="*/ 740221 w 9972838"/>
              <a:gd name="connsiteY636" fmla="*/ 1847576 h 4567794"/>
              <a:gd name="connsiteX637" fmla="*/ 398787 w 9972838"/>
              <a:gd name="connsiteY637" fmla="*/ 1714025 h 4567794"/>
              <a:gd name="connsiteX638" fmla="*/ 424356 w 9972838"/>
              <a:gd name="connsiteY638" fmla="*/ 1715371 h 4567794"/>
              <a:gd name="connsiteX639" fmla="*/ 424356 w 9972838"/>
              <a:gd name="connsiteY639" fmla="*/ 1744079 h 4567794"/>
              <a:gd name="connsiteX640" fmla="*/ 338230 w 9972838"/>
              <a:gd name="connsiteY640" fmla="*/ 1758434 h 4567794"/>
              <a:gd name="connsiteX641" fmla="*/ 398787 w 9972838"/>
              <a:gd name="connsiteY641" fmla="*/ 1714025 h 4567794"/>
              <a:gd name="connsiteX642" fmla="*/ 9362775 w 9972838"/>
              <a:gd name="connsiteY642" fmla="*/ 1549431 h 4567794"/>
              <a:gd name="connsiteX643" fmla="*/ 9377129 w 9972838"/>
              <a:gd name="connsiteY643" fmla="*/ 1595569 h 4567794"/>
              <a:gd name="connsiteX644" fmla="*/ 9391483 w 9972838"/>
              <a:gd name="connsiteY644" fmla="*/ 1626325 h 4567794"/>
              <a:gd name="connsiteX645" fmla="*/ 9334067 w 9972838"/>
              <a:gd name="connsiteY645" fmla="*/ 1641706 h 4567794"/>
              <a:gd name="connsiteX646" fmla="*/ 9334067 w 9972838"/>
              <a:gd name="connsiteY646" fmla="*/ 1580188 h 4567794"/>
              <a:gd name="connsiteX647" fmla="*/ 9362775 w 9972838"/>
              <a:gd name="connsiteY647" fmla="*/ 1549431 h 4567794"/>
              <a:gd name="connsiteX648" fmla="*/ 506650 w 9972838"/>
              <a:gd name="connsiteY648" fmla="*/ 1539038 h 4567794"/>
              <a:gd name="connsiteX649" fmla="*/ 523901 w 9972838"/>
              <a:gd name="connsiteY649" fmla="*/ 1543928 h 4567794"/>
              <a:gd name="connsiteX650" fmla="*/ 561195 w 9972838"/>
              <a:gd name="connsiteY650" fmla="*/ 1549516 h 4567794"/>
              <a:gd name="connsiteX651" fmla="*/ 560245 w 9972838"/>
              <a:gd name="connsiteY651" fmla="*/ 1551418 h 4567794"/>
              <a:gd name="connsiteX652" fmla="*/ 560725 w 9972838"/>
              <a:gd name="connsiteY652" fmla="*/ 1551487 h 4567794"/>
              <a:gd name="connsiteX653" fmla="*/ 530710 w 9972838"/>
              <a:gd name="connsiteY653" fmla="*/ 1611295 h 4567794"/>
              <a:gd name="connsiteX654" fmla="*/ 425663 w 9972838"/>
              <a:gd name="connsiteY654" fmla="*/ 1686061 h 4567794"/>
              <a:gd name="connsiteX655" fmla="*/ 410653 w 9972838"/>
              <a:gd name="connsiteY655" fmla="*/ 1656154 h 4567794"/>
              <a:gd name="connsiteX656" fmla="*/ 412285 w 9972838"/>
              <a:gd name="connsiteY656" fmla="*/ 1654386 h 4567794"/>
              <a:gd name="connsiteX657" fmla="*/ 412009 w 9972838"/>
              <a:gd name="connsiteY657" fmla="*/ 1653838 h 4567794"/>
              <a:gd name="connsiteX658" fmla="*/ 486603 w 9972838"/>
              <a:gd name="connsiteY658" fmla="*/ 1549516 h 4567794"/>
              <a:gd name="connsiteX659" fmla="*/ 506650 w 9972838"/>
              <a:gd name="connsiteY659" fmla="*/ 1539038 h 4567794"/>
              <a:gd name="connsiteX660" fmla="*/ 1211997 w 9972838"/>
              <a:gd name="connsiteY660" fmla="*/ 1328339 h 4567794"/>
              <a:gd name="connsiteX661" fmla="*/ 1130354 w 9972838"/>
              <a:gd name="connsiteY661" fmla="*/ 1449786 h 4567794"/>
              <a:gd name="connsiteX662" fmla="*/ 1147358 w 9972838"/>
              <a:gd name="connsiteY662" fmla="*/ 1454309 h 4567794"/>
              <a:gd name="connsiteX663" fmla="*/ 1166405 w 9972838"/>
              <a:gd name="connsiteY663" fmla="*/ 1466778 h 4567794"/>
              <a:gd name="connsiteX664" fmla="*/ 1166401 w 9972838"/>
              <a:gd name="connsiteY664" fmla="*/ 1466778 h 4567794"/>
              <a:gd name="connsiteX665" fmla="*/ 1166405 w 9972838"/>
              <a:gd name="connsiteY665" fmla="*/ 1466783 h 4567794"/>
              <a:gd name="connsiteX666" fmla="*/ 1133157 w 9972838"/>
              <a:gd name="connsiteY666" fmla="*/ 1477297 h 4567794"/>
              <a:gd name="connsiteX667" fmla="*/ 1100176 w 9972838"/>
              <a:gd name="connsiteY667" fmla="*/ 1494679 h 4567794"/>
              <a:gd name="connsiteX668" fmla="*/ 1083346 w 9972838"/>
              <a:gd name="connsiteY668" fmla="*/ 1519712 h 4567794"/>
              <a:gd name="connsiteX669" fmla="*/ 1049825 w 9972838"/>
              <a:gd name="connsiteY669" fmla="*/ 1558159 h 4567794"/>
              <a:gd name="connsiteX670" fmla="*/ 1061555 w 9972838"/>
              <a:gd name="connsiteY670" fmla="*/ 1576572 h 4567794"/>
              <a:gd name="connsiteX671" fmla="*/ 1063419 w 9972838"/>
              <a:gd name="connsiteY671" fmla="*/ 1585885 h 4567794"/>
              <a:gd name="connsiteX672" fmla="*/ 1018661 w 9972838"/>
              <a:gd name="connsiteY672" fmla="*/ 1600787 h 4567794"/>
              <a:gd name="connsiteX673" fmla="*/ 1014405 w 9972838"/>
              <a:gd name="connsiteY673" fmla="*/ 1599572 h 4567794"/>
              <a:gd name="connsiteX674" fmla="*/ 993838 w 9972838"/>
              <a:gd name="connsiteY674" fmla="*/ 1624031 h 4567794"/>
              <a:gd name="connsiteX675" fmla="*/ 974257 w 9972838"/>
              <a:gd name="connsiteY675" fmla="*/ 1642196 h 4567794"/>
              <a:gd name="connsiteX676" fmla="*/ 973073 w 9972838"/>
              <a:gd name="connsiteY676" fmla="*/ 1642918 h 4567794"/>
              <a:gd name="connsiteX677" fmla="*/ 973908 w 9972838"/>
              <a:gd name="connsiteY677" fmla="*/ 1645497 h 4567794"/>
              <a:gd name="connsiteX678" fmla="*/ 966215 w 9972838"/>
              <a:gd name="connsiteY678" fmla="*/ 1684852 h 4567794"/>
              <a:gd name="connsiteX679" fmla="*/ 948168 w 9972838"/>
              <a:gd name="connsiteY679" fmla="*/ 1711171 h 4567794"/>
              <a:gd name="connsiteX680" fmla="*/ 949080 w 9972838"/>
              <a:gd name="connsiteY680" fmla="*/ 1713450 h 4567794"/>
              <a:gd name="connsiteX681" fmla="*/ 946345 w 9972838"/>
              <a:gd name="connsiteY681" fmla="*/ 1713829 h 4567794"/>
              <a:gd name="connsiteX682" fmla="*/ 945936 w 9972838"/>
              <a:gd name="connsiteY682" fmla="*/ 1714425 h 4567794"/>
              <a:gd name="connsiteX683" fmla="*/ 917264 w 9972838"/>
              <a:gd name="connsiteY683" fmla="*/ 1735616 h 4567794"/>
              <a:gd name="connsiteX684" fmla="*/ 891220 w 9972838"/>
              <a:gd name="connsiteY684" fmla="*/ 1746870 h 4567794"/>
              <a:gd name="connsiteX685" fmla="*/ 888889 w 9972838"/>
              <a:gd name="connsiteY685" fmla="*/ 1751114 h 4567794"/>
              <a:gd name="connsiteX686" fmla="*/ 910271 w 9972838"/>
              <a:gd name="connsiteY686" fmla="*/ 1757270 h 4567794"/>
              <a:gd name="connsiteX687" fmla="*/ 929153 w 9972838"/>
              <a:gd name="connsiteY687" fmla="*/ 1824336 h 4567794"/>
              <a:gd name="connsiteX688" fmla="*/ 944069 w 9972838"/>
              <a:gd name="connsiteY688" fmla="*/ 1839237 h 4567794"/>
              <a:gd name="connsiteX689" fmla="*/ 973908 w 9972838"/>
              <a:gd name="connsiteY689" fmla="*/ 1824336 h 4567794"/>
              <a:gd name="connsiteX690" fmla="*/ 1018661 w 9972838"/>
              <a:gd name="connsiteY690" fmla="*/ 1764722 h 4567794"/>
              <a:gd name="connsiteX691" fmla="*/ 1018661 w 9972838"/>
              <a:gd name="connsiteY691" fmla="*/ 1705111 h 4567794"/>
              <a:gd name="connsiteX692" fmla="*/ 1003746 w 9972838"/>
              <a:gd name="connsiteY692" fmla="*/ 1675303 h 4567794"/>
              <a:gd name="connsiteX693" fmla="*/ 1033581 w 9972838"/>
              <a:gd name="connsiteY693" fmla="*/ 1675303 h 4567794"/>
              <a:gd name="connsiteX694" fmla="*/ 1123094 w 9972838"/>
              <a:gd name="connsiteY694" fmla="*/ 1662265 h 4567794"/>
              <a:gd name="connsiteX695" fmla="*/ 1127670 w 9972838"/>
              <a:gd name="connsiteY695" fmla="*/ 1662170 h 4567794"/>
              <a:gd name="connsiteX696" fmla="*/ 1166004 w 9972838"/>
              <a:gd name="connsiteY696" fmla="*/ 1612456 h 4567794"/>
              <a:gd name="connsiteX697" fmla="*/ 1160390 w 9972838"/>
              <a:gd name="connsiteY697" fmla="*/ 1598925 h 4567794"/>
              <a:gd name="connsiteX698" fmla="*/ 1183234 w 9972838"/>
              <a:gd name="connsiteY698" fmla="*/ 1570285 h 4567794"/>
              <a:gd name="connsiteX699" fmla="*/ 1216861 w 9972838"/>
              <a:gd name="connsiteY699" fmla="*/ 1545289 h 4567794"/>
              <a:gd name="connsiteX700" fmla="*/ 1235232 w 9972838"/>
              <a:gd name="connsiteY700" fmla="*/ 1520011 h 4567794"/>
              <a:gd name="connsiteX701" fmla="*/ 1219132 w 9972838"/>
              <a:gd name="connsiteY701" fmla="*/ 1506016 h 4567794"/>
              <a:gd name="connsiteX702" fmla="*/ 1227526 w 9972838"/>
              <a:gd name="connsiteY702" fmla="*/ 1436859 h 4567794"/>
              <a:gd name="connsiteX703" fmla="*/ 1272280 w 9972838"/>
              <a:gd name="connsiteY703" fmla="*/ 1392149 h 4567794"/>
              <a:gd name="connsiteX704" fmla="*/ 1236848 w 9972838"/>
              <a:gd name="connsiteY704" fmla="*/ 1334398 h 4567794"/>
              <a:gd name="connsiteX705" fmla="*/ 1436385 w 9972838"/>
              <a:gd name="connsiteY705" fmla="*/ 1108991 h 4567794"/>
              <a:gd name="connsiteX706" fmla="*/ 1350368 w 9972838"/>
              <a:gd name="connsiteY706" fmla="*/ 1136236 h 4567794"/>
              <a:gd name="connsiteX707" fmla="*/ 1339992 w 9972838"/>
              <a:gd name="connsiteY707" fmla="*/ 1132395 h 4567794"/>
              <a:gd name="connsiteX708" fmla="*/ 1300128 w 9972838"/>
              <a:gd name="connsiteY708" fmla="*/ 1194294 h 4567794"/>
              <a:gd name="connsiteX709" fmla="*/ 1303981 w 9972838"/>
              <a:gd name="connsiteY709" fmla="*/ 1194682 h 4567794"/>
              <a:gd name="connsiteX710" fmla="*/ 1316392 w 9972838"/>
              <a:gd name="connsiteY710" fmla="*/ 1240730 h 4567794"/>
              <a:gd name="connsiteX711" fmla="*/ 1317123 w 9972838"/>
              <a:gd name="connsiteY711" fmla="*/ 1240101 h 4567794"/>
              <a:gd name="connsiteX712" fmla="*/ 1331478 w 9972838"/>
              <a:gd name="connsiteY712" fmla="*/ 1255482 h 4567794"/>
              <a:gd name="connsiteX713" fmla="*/ 1332333 w 9972838"/>
              <a:gd name="connsiteY713" fmla="*/ 1257825 h 4567794"/>
              <a:gd name="connsiteX714" fmla="*/ 1389765 w 9972838"/>
              <a:gd name="connsiteY714" fmla="*/ 1228216 h 4567794"/>
              <a:gd name="connsiteX715" fmla="*/ 1436385 w 9972838"/>
              <a:gd name="connsiteY715" fmla="*/ 1108991 h 4567794"/>
              <a:gd name="connsiteX716" fmla="*/ 1451304 w 9972838"/>
              <a:gd name="connsiteY716" fmla="*/ 1004672 h 4567794"/>
              <a:gd name="connsiteX717" fmla="*/ 1428925 w 9972838"/>
              <a:gd name="connsiteY717" fmla="*/ 1012123 h 4567794"/>
              <a:gd name="connsiteX718" fmla="*/ 1414320 w 9972838"/>
              <a:gd name="connsiteY718" fmla="*/ 1016985 h 4567794"/>
              <a:gd name="connsiteX719" fmla="*/ 1369813 w 9972838"/>
              <a:gd name="connsiteY719" fmla="*/ 1086092 h 4567794"/>
              <a:gd name="connsiteX720" fmla="*/ 1384169 w 9972838"/>
              <a:gd name="connsiteY720" fmla="*/ 1079188 h 4567794"/>
              <a:gd name="connsiteX721" fmla="*/ 1451304 w 9972838"/>
              <a:gd name="connsiteY721" fmla="*/ 1034474 h 4567794"/>
              <a:gd name="connsiteX722" fmla="*/ 1481140 w 9972838"/>
              <a:gd name="connsiteY722" fmla="*/ 1019574 h 4567794"/>
              <a:gd name="connsiteX723" fmla="*/ 1451304 w 9972838"/>
              <a:gd name="connsiteY723" fmla="*/ 1004672 h 4567794"/>
              <a:gd name="connsiteX724" fmla="*/ 3913267 w 9972838"/>
              <a:gd name="connsiteY724" fmla="*/ 785447 h 4567794"/>
              <a:gd name="connsiteX725" fmla="*/ 3824939 w 9972838"/>
              <a:gd name="connsiteY725" fmla="*/ 861572 h 4567794"/>
              <a:gd name="connsiteX726" fmla="*/ 3741020 w 9972838"/>
              <a:gd name="connsiteY726" fmla="*/ 943536 h 4567794"/>
              <a:gd name="connsiteX727" fmla="*/ 3706967 w 9972838"/>
              <a:gd name="connsiteY727" fmla="*/ 998380 h 4567794"/>
              <a:gd name="connsiteX728" fmla="*/ 3733270 w 9972838"/>
              <a:gd name="connsiteY728" fmla="*/ 1009286 h 4567794"/>
              <a:gd name="connsiteX729" fmla="*/ 3757181 w 9972838"/>
              <a:gd name="connsiteY729" fmla="*/ 1015232 h 4567794"/>
              <a:gd name="connsiteX730" fmla="*/ 3767187 w 9972838"/>
              <a:gd name="connsiteY730" fmla="*/ 992328 h 4567794"/>
              <a:gd name="connsiteX731" fmla="*/ 3853206 w 9972838"/>
              <a:gd name="connsiteY731" fmla="*/ 885447 h 4567794"/>
              <a:gd name="connsiteX732" fmla="*/ 2833842 w 9972838"/>
              <a:gd name="connsiteY732" fmla="*/ 119 h 4567794"/>
              <a:gd name="connsiteX733" fmla="*/ 2853657 w 9972838"/>
              <a:gd name="connsiteY733" fmla="*/ 6173 h 4567794"/>
              <a:gd name="connsiteX734" fmla="*/ 3017762 w 9972838"/>
              <a:gd name="connsiteY734" fmla="*/ 110496 h 4567794"/>
              <a:gd name="connsiteX735" fmla="*/ 3107270 w 9972838"/>
              <a:gd name="connsiteY735" fmla="*/ 110496 h 4567794"/>
              <a:gd name="connsiteX736" fmla="*/ 3241542 w 9972838"/>
              <a:gd name="connsiteY736" fmla="*/ 170105 h 4567794"/>
              <a:gd name="connsiteX737" fmla="*/ 3226622 w 9972838"/>
              <a:gd name="connsiteY737" fmla="*/ 244623 h 4567794"/>
              <a:gd name="connsiteX738" fmla="*/ 3047597 w 9972838"/>
              <a:gd name="connsiteY738" fmla="*/ 408551 h 4567794"/>
              <a:gd name="connsiteX739" fmla="*/ 2853657 w 9972838"/>
              <a:gd name="connsiteY739" fmla="*/ 691710 h 4567794"/>
              <a:gd name="connsiteX740" fmla="*/ 2787553 w 9972838"/>
              <a:gd name="connsiteY740" fmla="*/ 769749 h 4567794"/>
              <a:gd name="connsiteX741" fmla="*/ 2810937 w 9972838"/>
              <a:gd name="connsiteY741" fmla="*/ 778442 h 4567794"/>
              <a:gd name="connsiteX742" fmla="*/ 2875739 w 9972838"/>
              <a:gd name="connsiteY742" fmla="*/ 794508 h 4567794"/>
              <a:gd name="connsiteX743" fmla="*/ 2911172 w 9972838"/>
              <a:gd name="connsiteY743" fmla="*/ 850394 h 4567794"/>
              <a:gd name="connsiteX744" fmla="*/ 2907713 w 9972838"/>
              <a:gd name="connsiteY744" fmla="*/ 885762 h 4567794"/>
              <a:gd name="connsiteX745" fmla="*/ 2933261 w 9972838"/>
              <a:gd name="connsiteY745" fmla="*/ 893789 h 4567794"/>
              <a:gd name="connsiteX746" fmla="*/ 2940190 w 9972838"/>
              <a:gd name="connsiteY746" fmla="*/ 897251 h 4567794"/>
              <a:gd name="connsiteX747" fmla="*/ 2970586 w 9972838"/>
              <a:gd name="connsiteY747" fmla="*/ 859297 h 4567794"/>
              <a:gd name="connsiteX748" fmla="*/ 3030264 w 9972838"/>
              <a:gd name="connsiteY748" fmla="*/ 784783 h 4567794"/>
              <a:gd name="connsiteX749" fmla="*/ 3104857 w 9972838"/>
              <a:gd name="connsiteY749" fmla="*/ 665559 h 4567794"/>
              <a:gd name="connsiteX750" fmla="*/ 3343551 w 9972838"/>
              <a:gd name="connsiteY750" fmla="*/ 412211 h 4567794"/>
              <a:gd name="connsiteX751" fmla="*/ 3367797 w 9972838"/>
              <a:gd name="connsiteY751" fmla="*/ 393580 h 4567794"/>
              <a:gd name="connsiteX752" fmla="*/ 3383412 w 9972838"/>
              <a:gd name="connsiteY752" fmla="*/ 391252 h 4567794"/>
              <a:gd name="connsiteX753" fmla="*/ 3403227 w 9972838"/>
              <a:gd name="connsiteY753" fmla="*/ 397305 h 4567794"/>
              <a:gd name="connsiteX754" fmla="*/ 3444881 w 9972838"/>
              <a:gd name="connsiteY754" fmla="*/ 413743 h 4567794"/>
              <a:gd name="connsiteX755" fmla="*/ 3495154 w 9972838"/>
              <a:gd name="connsiteY755" fmla="*/ 348942 h 4567794"/>
              <a:gd name="connsiteX756" fmla="*/ 3704018 w 9972838"/>
              <a:gd name="connsiteY756" fmla="*/ 289331 h 4567794"/>
              <a:gd name="connsiteX757" fmla="*/ 3853206 w 9972838"/>
              <a:gd name="connsiteY757" fmla="*/ 363844 h 4567794"/>
              <a:gd name="connsiteX758" fmla="*/ 3857848 w 9972838"/>
              <a:gd name="connsiteY758" fmla="*/ 368487 h 4567794"/>
              <a:gd name="connsiteX759" fmla="*/ 3857848 w 9972838"/>
              <a:gd name="connsiteY759" fmla="*/ 364485 h 4567794"/>
              <a:gd name="connsiteX760" fmla="*/ 3870851 w 9972838"/>
              <a:gd name="connsiteY760" fmla="*/ 377487 h 4567794"/>
              <a:gd name="connsiteX761" fmla="*/ 3907981 w 9972838"/>
              <a:gd name="connsiteY761" fmla="*/ 360353 h 4567794"/>
              <a:gd name="connsiteX762" fmla="*/ 4002391 w 9972838"/>
              <a:gd name="connsiteY762" fmla="*/ 408551 h 4567794"/>
              <a:gd name="connsiteX763" fmla="*/ 3987471 w 9972838"/>
              <a:gd name="connsiteY763" fmla="*/ 497969 h 4567794"/>
              <a:gd name="connsiteX764" fmla="*/ 3926630 w 9972838"/>
              <a:gd name="connsiteY764" fmla="*/ 593674 h 4567794"/>
              <a:gd name="connsiteX765" fmla="*/ 3875730 w 9972838"/>
              <a:gd name="connsiteY765" fmla="*/ 660251 h 4567794"/>
              <a:gd name="connsiteX766" fmla="*/ 3903495 w 9972838"/>
              <a:gd name="connsiteY766" fmla="*/ 681106 h 4567794"/>
              <a:gd name="connsiteX767" fmla="*/ 3934963 w 9972838"/>
              <a:gd name="connsiteY767" fmla="*/ 705091 h 4567794"/>
              <a:gd name="connsiteX768" fmla="*/ 3947318 w 9972838"/>
              <a:gd name="connsiteY768" fmla="*/ 727213 h 4567794"/>
              <a:gd name="connsiteX769" fmla="*/ 3947017 w 9972838"/>
              <a:gd name="connsiteY769" fmla="*/ 729254 h 4567794"/>
              <a:gd name="connsiteX770" fmla="*/ 4032225 w 9972838"/>
              <a:gd name="connsiteY770" fmla="*/ 587386 h 4567794"/>
              <a:gd name="connsiteX771" fmla="*/ 4241089 w 9972838"/>
              <a:gd name="connsiteY771" fmla="*/ 334040 h 4567794"/>
              <a:gd name="connsiteX772" fmla="*/ 4285843 w 9972838"/>
              <a:gd name="connsiteY772" fmla="*/ 319134 h 4567794"/>
              <a:gd name="connsiteX773" fmla="*/ 4405191 w 9972838"/>
              <a:gd name="connsiteY773" fmla="*/ 363844 h 4567794"/>
              <a:gd name="connsiteX774" fmla="*/ 4614055 w 9972838"/>
              <a:gd name="connsiteY774" fmla="*/ 423458 h 4567794"/>
              <a:gd name="connsiteX775" fmla="*/ 4673728 w 9972838"/>
              <a:gd name="connsiteY775" fmla="*/ 542678 h 4567794"/>
              <a:gd name="connsiteX776" fmla="*/ 4589812 w 9972838"/>
              <a:gd name="connsiteY776" fmla="*/ 669353 h 4567794"/>
              <a:gd name="connsiteX777" fmla="*/ 4505788 w 9972838"/>
              <a:gd name="connsiteY777" fmla="*/ 781264 h 4567794"/>
              <a:gd name="connsiteX778" fmla="*/ 4528064 w 9972838"/>
              <a:gd name="connsiteY778" fmla="*/ 797361 h 4567794"/>
              <a:gd name="connsiteX779" fmla="*/ 4551960 w 9972838"/>
              <a:gd name="connsiteY779" fmla="*/ 799685 h 4567794"/>
              <a:gd name="connsiteX780" fmla="*/ 4537041 w 9972838"/>
              <a:gd name="connsiteY780" fmla="*/ 889103 h 4567794"/>
              <a:gd name="connsiteX781" fmla="*/ 4535871 w 9972838"/>
              <a:gd name="connsiteY781" fmla="*/ 890943 h 4567794"/>
              <a:gd name="connsiteX782" fmla="*/ 4546626 w 9972838"/>
              <a:gd name="connsiteY782" fmla="*/ 898827 h 4567794"/>
              <a:gd name="connsiteX783" fmla="*/ 4551270 w 9972838"/>
              <a:gd name="connsiteY783" fmla="*/ 903471 h 4567794"/>
              <a:gd name="connsiteX784" fmla="*/ 4551270 w 9972838"/>
              <a:gd name="connsiteY784" fmla="*/ 899469 h 4567794"/>
              <a:gd name="connsiteX785" fmla="*/ 4564272 w 9972838"/>
              <a:gd name="connsiteY785" fmla="*/ 912472 h 4567794"/>
              <a:gd name="connsiteX786" fmla="*/ 4601404 w 9972838"/>
              <a:gd name="connsiteY786" fmla="*/ 895336 h 4567794"/>
              <a:gd name="connsiteX787" fmla="*/ 4626481 w 9972838"/>
              <a:gd name="connsiteY787" fmla="*/ 905913 h 4567794"/>
              <a:gd name="connsiteX788" fmla="*/ 4632389 w 9972838"/>
              <a:gd name="connsiteY788" fmla="*/ 910817 h 4567794"/>
              <a:gd name="connsiteX789" fmla="*/ 4680634 w 9972838"/>
              <a:gd name="connsiteY789" fmla="*/ 846256 h 4567794"/>
              <a:gd name="connsiteX790" fmla="*/ 4790660 w 9972838"/>
              <a:gd name="connsiteY790" fmla="*/ 725172 h 4567794"/>
              <a:gd name="connsiteX791" fmla="*/ 4830518 w 9972838"/>
              <a:gd name="connsiteY791" fmla="*/ 704213 h 4567794"/>
              <a:gd name="connsiteX792" fmla="*/ 4832438 w 9972838"/>
              <a:gd name="connsiteY792" fmla="*/ 706588 h 4567794"/>
              <a:gd name="connsiteX793" fmla="*/ 4912426 w 9972838"/>
              <a:gd name="connsiteY793" fmla="*/ 587386 h 4567794"/>
              <a:gd name="connsiteX794" fmla="*/ 5061612 w 9972838"/>
              <a:gd name="connsiteY794" fmla="*/ 408551 h 4567794"/>
              <a:gd name="connsiteX795" fmla="*/ 5106367 w 9972838"/>
              <a:gd name="connsiteY795" fmla="*/ 393650 h 4567794"/>
              <a:gd name="connsiteX796" fmla="*/ 5270472 w 9972838"/>
              <a:gd name="connsiteY796" fmla="*/ 468166 h 4567794"/>
              <a:gd name="connsiteX797" fmla="*/ 5345066 w 9972838"/>
              <a:gd name="connsiteY797" fmla="*/ 501696 h 4567794"/>
              <a:gd name="connsiteX798" fmla="*/ 5411587 w 9972838"/>
              <a:gd name="connsiteY798" fmla="*/ 511666 h 4567794"/>
              <a:gd name="connsiteX799" fmla="*/ 5438713 w 9972838"/>
              <a:gd name="connsiteY799" fmla="*/ 495653 h 4567794"/>
              <a:gd name="connsiteX800" fmla="*/ 5524494 w 9972838"/>
              <a:gd name="connsiteY800" fmla="*/ 493791 h 4567794"/>
              <a:gd name="connsiteX801" fmla="*/ 5778112 w 9972838"/>
              <a:gd name="connsiteY801" fmla="*/ 583209 h 4567794"/>
              <a:gd name="connsiteX802" fmla="*/ 5795081 w 9972838"/>
              <a:gd name="connsiteY802" fmla="*/ 597203 h 4567794"/>
              <a:gd name="connsiteX803" fmla="*/ 5840410 w 9972838"/>
              <a:gd name="connsiteY803" fmla="*/ 528472 h 4567794"/>
              <a:gd name="connsiteX804" fmla="*/ 5944756 w 9972838"/>
              <a:gd name="connsiteY804" fmla="*/ 394718 h 4567794"/>
              <a:gd name="connsiteX805" fmla="*/ 6024878 w 9972838"/>
              <a:gd name="connsiteY805" fmla="*/ 370565 h 4567794"/>
              <a:gd name="connsiteX806" fmla="*/ 6093820 w 9972838"/>
              <a:gd name="connsiteY806" fmla="*/ 424438 h 4567794"/>
              <a:gd name="connsiteX807" fmla="*/ 6153449 w 9972838"/>
              <a:gd name="connsiteY807" fmla="*/ 424438 h 4567794"/>
              <a:gd name="connsiteX808" fmla="*/ 6237295 w 9972838"/>
              <a:gd name="connsiteY808" fmla="*/ 474598 h 4567794"/>
              <a:gd name="connsiteX809" fmla="*/ 6261071 w 9972838"/>
              <a:gd name="connsiteY809" fmla="*/ 475628 h 4567794"/>
              <a:gd name="connsiteX810" fmla="*/ 6264835 w 9972838"/>
              <a:gd name="connsiteY810" fmla="*/ 471436 h 4567794"/>
              <a:gd name="connsiteX811" fmla="*/ 6389776 w 9972838"/>
              <a:gd name="connsiteY811" fmla="*/ 344763 h 4567794"/>
              <a:gd name="connsiteX812" fmla="*/ 6414022 w 9972838"/>
              <a:gd name="connsiteY812" fmla="*/ 326131 h 4567794"/>
              <a:gd name="connsiteX813" fmla="*/ 6429639 w 9972838"/>
              <a:gd name="connsiteY813" fmla="*/ 323803 h 4567794"/>
              <a:gd name="connsiteX814" fmla="*/ 6449453 w 9972838"/>
              <a:gd name="connsiteY814" fmla="*/ 329857 h 4567794"/>
              <a:gd name="connsiteX815" fmla="*/ 6613559 w 9972838"/>
              <a:gd name="connsiteY815" fmla="*/ 434180 h 4567794"/>
              <a:gd name="connsiteX816" fmla="*/ 6703067 w 9972838"/>
              <a:gd name="connsiteY816" fmla="*/ 434180 h 4567794"/>
              <a:gd name="connsiteX817" fmla="*/ 6837337 w 9972838"/>
              <a:gd name="connsiteY817" fmla="*/ 493791 h 4567794"/>
              <a:gd name="connsiteX818" fmla="*/ 6822418 w 9972838"/>
              <a:gd name="connsiteY818" fmla="*/ 568307 h 4567794"/>
              <a:gd name="connsiteX819" fmla="*/ 6643394 w 9972838"/>
              <a:gd name="connsiteY819" fmla="*/ 732236 h 4567794"/>
              <a:gd name="connsiteX820" fmla="*/ 6613917 w 9972838"/>
              <a:gd name="connsiteY820" fmla="*/ 779710 h 4567794"/>
              <a:gd name="connsiteX821" fmla="*/ 6643390 w 9972838"/>
              <a:gd name="connsiteY821" fmla="*/ 815571 h 4567794"/>
              <a:gd name="connsiteX822" fmla="*/ 6703019 w 9972838"/>
              <a:gd name="connsiteY822" fmla="*/ 815571 h 4567794"/>
              <a:gd name="connsiteX823" fmla="*/ 6881893 w 9972838"/>
              <a:gd name="connsiteY823" fmla="*/ 860158 h 4567794"/>
              <a:gd name="connsiteX824" fmla="*/ 6921022 w 9972838"/>
              <a:gd name="connsiteY824" fmla="*/ 871304 h 4567794"/>
              <a:gd name="connsiteX825" fmla="*/ 6924299 w 9972838"/>
              <a:gd name="connsiteY825" fmla="*/ 890915 h 4567794"/>
              <a:gd name="connsiteX826" fmla="*/ 6986523 w 9972838"/>
              <a:gd name="connsiteY826" fmla="*/ 821653 h 4567794"/>
              <a:gd name="connsiteX827" fmla="*/ 7090951 w 9972838"/>
              <a:gd name="connsiteY827" fmla="*/ 672626 h 4567794"/>
              <a:gd name="connsiteX828" fmla="*/ 7299815 w 9972838"/>
              <a:gd name="connsiteY828" fmla="*/ 613015 h 4567794"/>
              <a:gd name="connsiteX829" fmla="*/ 7449001 w 9972838"/>
              <a:gd name="connsiteY829" fmla="*/ 687528 h 4567794"/>
              <a:gd name="connsiteX830" fmla="*/ 7453644 w 9972838"/>
              <a:gd name="connsiteY830" fmla="*/ 692171 h 4567794"/>
              <a:gd name="connsiteX831" fmla="*/ 7453644 w 9972838"/>
              <a:gd name="connsiteY831" fmla="*/ 688169 h 4567794"/>
              <a:gd name="connsiteX832" fmla="*/ 7466647 w 9972838"/>
              <a:gd name="connsiteY832" fmla="*/ 701172 h 4567794"/>
              <a:gd name="connsiteX833" fmla="*/ 7503778 w 9972838"/>
              <a:gd name="connsiteY833" fmla="*/ 684037 h 4567794"/>
              <a:gd name="connsiteX834" fmla="*/ 7598187 w 9972838"/>
              <a:gd name="connsiteY834" fmla="*/ 732236 h 4567794"/>
              <a:gd name="connsiteX835" fmla="*/ 7583267 w 9972838"/>
              <a:gd name="connsiteY835" fmla="*/ 821653 h 4567794"/>
              <a:gd name="connsiteX836" fmla="*/ 7314729 w 9972838"/>
              <a:gd name="connsiteY836" fmla="*/ 1179328 h 4567794"/>
              <a:gd name="connsiteX837" fmla="*/ 7150629 w 9972838"/>
              <a:gd name="connsiteY837" fmla="*/ 1417774 h 4567794"/>
              <a:gd name="connsiteX838" fmla="*/ 7046197 w 9972838"/>
              <a:gd name="connsiteY838" fmla="*/ 1581706 h 4567794"/>
              <a:gd name="connsiteX839" fmla="*/ 7044331 w 9972838"/>
              <a:gd name="connsiteY839" fmla="*/ 1596608 h 4567794"/>
              <a:gd name="connsiteX840" fmla="*/ 7043427 w 9972838"/>
              <a:gd name="connsiteY840" fmla="*/ 1597641 h 4567794"/>
              <a:gd name="connsiteX841" fmla="*/ 7070780 w 9972838"/>
              <a:gd name="connsiteY841" fmla="*/ 1609327 h 4567794"/>
              <a:gd name="connsiteX842" fmla="*/ 7106679 w 9972838"/>
              <a:gd name="connsiteY842" fmla="*/ 1635640 h 4567794"/>
              <a:gd name="connsiteX843" fmla="*/ 7111321 w 9972838"/>
              <a:gd name="connsiteY843" fmla="*/ 1640283 h 4567794"/>
              <a:gd name="connsiteX844" fmla="*/ 7111321 w 9972838"/>
              <a:gd name="connsiteY844" fmla="*/ 1636282 h 4567794"/>
              <a:gd name="connsiteX845" fmla="*/ 7124059 w 9972838"/>
              <a:gd name="connsiteY845" fmla="*/ 1649021 h 4567794"/>
              <a:gd name="connsiteX846" fmla="*/ 7191162 w 9972838"/>
              <a:gd name="connsiteY846" fmla="*/ 1549022 h 4567794"/>
              <a:gd name="connsiteX847" fmla="*/ 7265753 w 9972838"/>
              <a:gd name="connsiteY847" fmla="*/ 1454019 h 4567794"/>
              <a:gd name="connsiteX848" fmla="*/ 7336664 w 9972838"/>
              <a:gd name="connsiteY848" fmla="*/ 1374327 h 4567794"/>
              <a:gd name="connsiteX849" fmla="*/ 7344569 w 9972838"/>
              <a:gd name="connsiteY849" fmla="*/ 1358159 h 4567794"/>
              <a:gd name="connsiteX850" fmla="*/ 7449001 w 9972838"/>
              <a:gd name="connsiteY850" fmla="*/ 1209131 h 4567794"/>
              <a:gd name="connsiteX851" fmla="*/ 7628021 w 9972838"/>
              <a:gd name="connsiteY851" fmla="*/ 911071 h 4567794"/>
              <a:gd name="connsiteX852" fmla="*/ 7836885 w 9972838"/>
              <a:gd name="connsiteY852" fmla="*/ 657725 h 4567794"/>
              <a:gd name="connsiteX853" fmla="*/ 7881639 w 9972838"/>
              <a:gd name="connsiteY853" fmla="*/ 642818 h 4567794"/>
              <a:gd name="connsiteX854" fmla="*/ 8000987 w 9972838"/>
              <a:gd name="connsiteY854" fmla="*/ 687528 h 4567794"/>
              <a:gd name="connsiteX855" fmla="*/ 8209850 w 9972838"/>
              <a:gd name="connsiteY855" fmla="*/ 747142 h 4567794"/>
              <a:gd name="connsiteX856" fmla="*/ 8269523 w 9972838"/>
              <a:gd name="connsiteY856" fmla="*/ 866362 h 4567794"/>
              <a:gd name="connsiteX857" fmla="*/ 8090498 w 9972838"/>
              <a:gd name="connsiteY857" fmla="*/ 1119714 h 4567794"/>
              <a:gd name="connsiteX858" fmla="*/ 7792127 w 9972838"/>
              <a:gd name="connsiteY858" fmla="*/ 1566802 h 4567794"/>
              <a:gd name="connsiteX859" fmla="*/ 7728533 w 9972838"/>
              <a:gd name="connsiteY859" fmla="*/ 1664613 h 4567794"/>
              <a:gd name="connsiteX860" fmla="*/ 7757503 w 9972838"/>
              <a:gd name="connsiteY860" fmla="*/ 1676625 h 4567794"/>
              <a:gd name="connsiteX861" fmla="*/ 7867527 w 9972838"/>
              <a:gd name="connsiteY861" fmla="*/ 1695255 h 4567794"/>
              <a:gd name="connsiteX862" fmla="*/ 7930465 w 9972838"/>
              <a:gd name="connsiteY862" fmla="*/ 1770700 h 4567794"/>
              <a:gd name="connsiteX863" fmla="*/ 7928730 w 9972838"/>
              <a:gd name="connsiteY863" fmla="*/ 1793982 h 4567794"/>
              <a:gd name="connsiteX864" fmla="*/ 7940271 w 9972838"/>
              <a:gd name="connsiteY864" fmla="*/ 1772481 h 4567794"/>
              <a:gd name="connsiteX865" fmla="*/ 8119145 w 9972838"/>
              <a:gd name="connsiteY865" fmla="*/ 1490108 h 4567794"/>
              <a:gd name="connsiteX866" fmla="*/ 8143849 w 9972838"/>
              <a:gd name="connsiteY866" fmla="*/ 1461507 h 4567794"/>
              <a:gd name="connsiteX867" fmla="*/ 8172555 w 9972838"/>
              <a:gd name="connsiteY867" fmla="*/ 1408458 h 4567794"/>
              <a:gd name="connsiteX868" fmla="*/ 8209850 w 9972838"/>
              <a:gd name="connsiteY868" fmla="*/ 1328356 h 4567794"/>
              <a:gd name="connsiteX869" fmla="*/ 8269523 w 9972838"/>
              <a:gd name="connsiteY869" fmla="*/ 1238939 h 4567794"/>
              <a:gd name="connsiteX870" fmla="*/ 8508222 w 9972838"/>
              <a:gd name="connsiteY870" fmla="*/ 911071 h 4567794"/>
              <a:gd name="connsiteX871" fmla="*/ 8657408 w 9972838"/>
              <a:gd name="connsiteY871" fmla="*/ 732236 h 4567794"/>
              <a:gd name="connsiteX872" fmla="*/ 8702162 w 9972838"/>
              <a:gd name="connsiteY872" fmla="*/ 717334 h 4567794"/>
              <a:gd name="connsiteX873" fmla="*/ 8866268 w 9972838"/>
              <a:gd name="connsiteY873" fmla="*/ 791852 h 4567794"/>
              <a:gd name="connsiteX874" fmla="*/ 9015453 w 9972838"/>
              <a:gd name="connsiteY874" fmla="*/ 836559 h 4567794"/>
              <a:gd name="connsiteX875" fmla="*/ 9060212 w 9972838"/>
              <a:gd name="connsiteY875" fmla="*/ 940878 h 4567794"/>
              <a:gd name="connsiteX876" fmla="*/ 8970700 w 9972838"/>
              <a:gd name="connsiteY876" fmla="*/ 1089906 h 4567794"/>
              <a:gd name="connsiteX877" fmla="*/ 8657408 w 9972838"/>
              <a:gd name="connsiteY877" fmla="*/ 1551900 h 4567794"/>
              <a:gd name="connsiteX878" fmla="*/ 8595402 w 9972838"/>
              <a:gd name="connsiteY878" fmla="*/ 1646208 h 4567794"/>
              <a:gd name="connsiteX879" fmla="*/ 8548065 w 9972838"/>
              <a:gd name="connsiteY879" fmla="*/ 1735644 h 4567794"/>
              <a:gd name="connsiteX880" fmla="*/ 8554636 w 9972838"/>
              <a:gd name="connsiteY880" fmla="*/ 1743641 h 4567794"/>
              <a:gd name="connsiteX881" fmla="*/ 8614265 w 9972838"/>
              <a:gd name="connsiteY881" fmla="*/ 1743641 h 4567794"/>
              <a:gd name="connsiteX882" fmla="*/ 8652694 w 9972838"/>
              <a:gd name="connsiteY882" fmla="*/ 1777777 h 4567794"/>
              <a:gd name="connsiteX883" fmla="*/ 8671581 w 9972838"/>
              <a:gd name="connsiteY883" fmla="*/ 1784441 h 4567794"/>
              <a:gd name="connsiteX884" fmla="*/ 8673132 w 9972838"/>
              <a:gd name="connsiteY884" fmla="*/ 1784673 h 4567794"/>
              <a:gd name="connsiteX885" fmla="*/ 8683881 w 9972838"/>
              <a:gd name="connsiteY885" fmla="*/ 1788780 h 4567794"/>
              <a:gd name="connsiteX886" fmla="*/ 8698111 w 9972838"/>
              <a:gd name="connsiteY886" fmla="*/ 1793801 h 4567794"/>
              <a:gd name="connsiteX887" fmla="*/ 8793141 w 9972838"/>
              <a:gd name="connsiteY887" fmla="*/ 1788227 h 4567794"/>
              <a:gd name="connsiteX888" fmla="*/ 8832269 w 9972838"/>
              <a:gd name="connsiteY888" fmla="*/ 1799374 h 4567794"/>
              <a:gd name="connsiteX889" fmla="*/ 8836528 w 9972838"/>
              <a:gd name="connsiteY889" fmla="*/ 1824857 h 4567794"/>
              <a:gd name="connsiteX890" fmla="*/ 8877214 w 9972838"/>
              <a:gd name="connsiteY890" fmla="*/ 1795882 h 4567794"/>
              <a:gd name="connsiteX891" fmla="*/ 8929387 w 9972838"/>
              <a:gd name="connsiteY891" fmla="*/ 1758729 h 4567794"/>
              <a:gd name="connsiteX892" fmla="*/ 8981559 w 9972838"/>
              <a:gd name="connsiteY892" fmla="*/ 1686275 h 4567794"/>
              <a:gd name="connsiteX893" fmla="*/ 9033547 w 9972838"/>
              <a:gd name="connsiteY893" fmla="*/ 1625191 h 4567794"/>
              <a:gd name="connsiteX894" fmla="*/ 9024414 w 9972838"/>
              <a:gd name="connsiteY894" fmla="*/ 1568664 h 4567794"/>
              <a:gd name="connsiteX895" fmla="*/ 9024573 w 9972838"/>
              <a:gd name="connsiteY895" fmla="*/ 1568361 h 4567794"/>
              <a:gd name="connsiteX896" fmla="*/ 9024414 w 9972838"/>
              <a:gd name="connsiteY896" fmla="*/ 1567380 h 4567794"/>
              <a:gd name="connsiteX897" fmla="*/ 9048639 w 9972838"/>
              <a:gd name="connsiteY897" fmla="*/ 1520940 h 4567794"/>
              <a:gd name="connsiteX898" fmla="*/ 9257330 w 9972838"/>
              <a:gd name="connsiteY898" fmla="*/ 1134529 h 4567794"/>
              <a:gd name="connsiteX899" fmla="*/ 9436206 w 9972838"/>
              <a:gd name="connsiteY899" fmla="*/ 852158 h 4567794"/>
              <a:gd name="connsiteX900" fmla="*/ 9540552 w 9972838"/>
              <a:gd name="connsiteY900" fmla="*/ 718402 h 4567794"/>
              <a:gd name="connsiteX901" fmla="*/ 9620674 w 9972838"/>
              <a:gd name="connsiteY901" fmla="*/ 694251 h 4567794"/>
              <a:gd name="connsiteX902" fmla="*/ 9689616 w 9972838"/>
              <a:gd name="connsiteY902" fmla="*/ 748123 h 4567794"/>
              <a:gd name="connsiteX903" fmla="*/ 9749244 w 9972838"/>
              <a:gd name="connsiteY903" fmla="*/ 748123 h 4567794"/>
              <a:gd name="connsiteX904" fmla="*/ 9928120 w 9972838"/>
              <a:gd name="connsiteY904" fmla="*/ 792710 h 4567794"/>
              <a:gd name="connsiteX905" fmla="*/ 9972838 w 9972838"/>
              <a:gd name="connsiteY905" fmla="*/ 837297 h 4567794"/>
              <a:gd name="connsiteX906" fmla="*/ 9972788 w 9972838"/>
              <a:gd name="connsiteY906" fmla="*/ 837477 h 4567794"/>
              <a:gd name="connsiteX907" fmla="*/ 9972838 w 9972838"/>
              <a:gd name="connsiteY907" fmla="*/ 837532 h 4567794"/>
              <a:gd name="connsiteX908" fmla="*/ 9943026 w 9972838"/>
              <a:gd name="connsiteY908" fmla="*/ 941710 h 4567794"/>
              <a:gd name="connsiteX909" fmla="*/ 9749244 w 9972838"/>
              <a:gd name="connsiteY909" fmla="*/ 1254260 h 4567794"/>
              <a:gd name="connsiteX910" fmla="*/ 9525647 w 9972838"/>
              <a:gd name="connsiteY910" fmla="*/ 1626339 h 4567794"/>
              <a:gd name="connsiteX911" fmla="*/ 9468492 w 9972838"/>
              <a:gd name="connsiteY911" fmla="*/ 1738536 h 4567794"/>
              <a:gd name="connsiteX912" fmla="*/ 9490770 w 9972838"/>
              <a:gd name="connsiteY912" fmla="*/ 1746396 h 4567794"/>
              <a:gd name="connsiteX913" fmla="*/ 9585799 w 9972838"/>
              <a:gd name="connsiteY913" fmla="*/ 1740822 h 4567794"/>
              <a:gd name="connsiteX914" fmla="*/ 9630516 w 9972838"/>
              <a:gd name="connsiteY914" fmla="*/ 1785409 h 4567794"/>
              <a:gd name="connsiteX915" fmla="*/ 9630466 w 9972838"/>
              <a:gd name="connsiteY915" fmla="*/ 1785591 h 4567794"/>
              <a:gd name="connsiteX916" fmla="*/ 9630516 w 9972838"/>
              <a:gd name="connsiteY916" fmla="*/ 1785645 h 4567794"/>
              <a:gd name="connsiteX917" fmla="*/ 9600704 w 9972838"/>
              <a:gd name="connsiteY917" fmla="*/ 1889824 h 4567794"/>
              <a:gd name="connsiteX918" fmla="*/ 9406922 w 9972838"/>
              <a:gd name="connsiteY918" fmla="*/ 2202374 h 4567794"/>
              <a:gd name="connsiteX919" fmla="*/ 9289532 w 9972838"/>
              <a:gd name="connsiteY919" fmla="*/ 2382830 h 4567794"/>
              <a:gd name="connsiteX920" fmla="*/ 9231092 w 9972838"/>
              <a:gd name="connsiteY920" fmla="*/ 2488270 h 4567794"/>
              <a:gd name="connsiteX921" fmla="*/ 9229675 w 9972838"/>
              <a:gd name="connsiteY921" fmla="*/ 2492227 h 4567794"/>
              <a:gd name="connsiteX922" fmla="*/ 9228556 w 9972838"/>
              <a:gd name="connsiteY922" fmla="*/ 2492845 h 4567794"/>
              <a:gd name="connsiteX923" fmla="*/ 9217400 w 9972838"/>
              <a:gd name="connsiteY923" fmla="*/ 2512973 h 4567794"/>
              <a:gd name="connsiteX924" fmla="*/ 9229675 w 9972838"/>
              <a:gd name="connsiteY924" fmla="*/ 2522084 h 4567794"/>
              <a:gd name="connsiteX925" fmla="*/ 9274695 w 9972838"/>
              <a:gd name="connsiteY925" fmla="*/ 2507155 h 4567794"/>
              <a:gd name="connsiteX926" fmla="*/ 9289705 w 9972838"/>
              <a:gd name="connsiteY926" fmla="*/ 2492227 h 4567794"/>
              <a:gd name="connsiteX927" fmla="*/ 9304711 w 9972838"/>
              <a:gd name="connsiteY927" fmla="*/ 2537012 h 4567794"/>
              <a:gd name="connsiteX928" fmla="*/ 9197084 w 9972838"/>
              <a:gd name="connsiteY928" fmla="*/ 2593694 h 4567794"/>
              <a:gd name="connsiteX929" fmla="*/ 9176466 w 9972838"/>
              <a:gd name="connsiteY929" fmla="*/ 2587916 h 4567794"/>
              <a:gd name="connsiteX930" fmla="*/ 9073389 w 9972838"/>
              <a:gd name="connsiteY930" fmla="*/ 2790259 h 4567794"/>
              <a:gd name="connsiteX931" fmla="*/ 8974633 w 9972838"/>
              <a:gd name="connsiteY931" fmla="*/ 3006065 h 4567794"/>
              <a:gd name="connsiteX932" fmla="*/ 8929914 w 9972838"/>
              <a:gd name="connsiteY932" fmla="*/ 3035832 h 4567794"/>
              <a:gd name="connsiteX933" fmla="*/ 8932898 w 9972838"/>
              <a:gd name="connsiteY933" fmla="*/ 3035832 h 4567794"/>
              <a:gd name="connsiteX934" fmla="*/ 8917107 w 9972838"/>
              <a:gd name="connsiteY934" fmla="*/ 3093249 h 4567794"/>
              <a:gd name="connsiteX935" fmla="*/ 8915221 w 9972838"/>
              <a:gd name="connsiteY935" fmla="*/ 3092395 h 4567794"/>
              <a:gd name="connsiteX936" fmla="*/ 8915008 w 9972838"/>
              <a:gd name="connsiteY936" fmla="*/ 3093249 h 4567794"/>
              <a:gd name="connsiteX937" fmla="*/ 8893298 w 9972838"/>
              <a:gd name="connsiteY937" fmla="*/ 3082431 h 4567794"/>
              <a:gd name="connsiteX938" fmla="*/ 8885527 w 9972838"/>
              <a:gd name="connsiteY938" fmla="*/ 3078895 h 4567794"/>
              <a:gd name="connsiteX939" fmla="*/ 8885572 w 9972838"/>
              <a:gd name="connsiteY939" fmla="*/ 3078579 h 4567794"/>
              <a:gd name="connsiteX940" fmla="*/ 8885192 w 9972838"/>
              <a:gd name="connsiteY940" fmla="*/ 3078388 h 4567794"/>
              <a:gd name="connsiteX941" fmla="*/ 8888921 w 9972838"/>
              <a:gd name="connsiteY941" fmla="*/ 3050521 h 4567794"/>
              <a:gd name="connsiteX942" fmla="*/ 8914439 w 9972838"/>
              <a:gd name="connsiteY942" fmla="*/ 3034168 h 4567794"/>
              <a:gd name="connsiteX943" fmla="*/ 8890785 w 9972838"/>
              <a:gd name="connsiteY943" fmla="*/ 2965135 h 4567794"/>
              <a:gd name="connsiteX944" fmla="*/ 8891291 w 9972838"/>
              <a:gd name="connsiteY944" fmla="*/ 2964683 h 4567794"/>
              <a:gd name="connsiteX945" fmla="*/ 8890785 w 9972838"/>
              <a:gd name="connsiteY945" fmla="*/ 2963206 h 4567794"/>
              <a:gd name="connsiteX946" fmla="*/ 8944820 w 9972838"/>
              <a:gd name="connsiteY946" fmla="*/ 2914907 h 4567794"/>
              <a:gd name="connsiteX947" fmla="*/ 8944820 w 9972838"/>
              <a:gd name="connsiteY947" fmla="*/ 2901882 h 4567794"/>
              <a:gd name="connsiteX948" fmla="*/ 8944820 w 9972838"/>
              <a:gd name="connsiteY948" fmla="*/ 2900045 h 4567794"/>
              <a:gd name="connsiteX949" fmla="*/ 9034262 w 9972838"/>
              <a:gd name="connsiteY949" fmla="*/ 2781150 h 4567794"/>
              <a:gd name="connsiteX950" fmla="*/ 9078978 w 9972838"/>
              <a:gd name="connsiteY950" fmla="*/ 2721703 h 4567794"/>
              <a:gd name="connsiteX951" fmla="*/ 9123697 w 9972838"/>
              <a:gd name="connsiteY951" fmla="*/ 2587948 h 4567794"/>
              <a:gd name="connsiteX952" fmla="*/ 9127838 w 9972838"/>
              <a:gd name="connsiteY952" fmla="*/ 2567303 h 4567794"/>
              <a:gd name="connsiteX953" fmla="*/ 9084767 w 9972838"/>
              <a:gd name="connsiteY953" fmla="*/ 2544009 h 4567794"/>
              <a:gd name="connsiteX954" fmla="*/ 9022096 w 9972838"/>
              <a:gd name="connsiteY954" fmla="*/ 2518670 h 4567794"/>
              <a:gd name="connsiteX955" fmla="*/ 9022247 w 9972838"/>
              <a:gd name="connsiteY955" fmla="*/ 2520613 h 4567794"/>
              <a:gd name="connsiteX956" fmla="*/ 9034807 w 9972838"/>
              <a:gd name="connsiteY956" fmla="*/ 2543682 h 4567794"/>
              <a:gd name="connsiteX957" fmla="*/ 9049161 w 9972838"/>
              <a:gd name="connsiteY957" fmla="*/ 2574440 h 4567794"/>
              <a:gd name="connsiteX958" fmla="*/ 8991745 w 9972838"/>
              <a:gd name="connsiteY958" fmla="*/ 2589820 h 4567794"/>
              <a:gd name="connsiteX959" fmla="*/ 8991745 w 9972838"/>
              <a:gd name="connsiteY959" fmla="*/ 2528301 h 4567794"/>
              <a:gd name="connsiteX960" fmla="*/ 9006099 w 9972838"/>
              <a:gd name="connsiteY960" fmla="*/ 2518691 h 4567794"/>
              <a:gd name="connsiteX961" fmla="*/ 9009554 w 9972838"/>
              <a:gd name="connsiteY961" fmla="*/ 2513600 h 4567794"/>
              <a:gd name="connsiteX962" fmla="*/ 8977569 w 9972838"/>
              <a:gd name="connsiteY962" fmla="*/ 2500667 h 4567794"/>
              <a:gd name="connsiteX963" fmla="*/ 8959726 w 9972838"/>
              <a:gd name="connsiteY963" fmla="*/ 2514919 h 4567794"/>
              <a:gd name="connsiteX964" fmla="*/ 8736129 w 9972838"/>
              <a:gd name="connsiteY964" fmla="*/ 2619102 h 4567794"/>
              <a:gd name="connsiteX965" fmla="*/ 8631786 w 9972838"/>
              <a:gd name="connsiteY965" fmla="*/ 2782815 h 4567794"/>
              <a:gd name="connsiteX966" fmla="*/ 8497624 w 9972838"/>
              <a:gd name="connsiteY966" fmla="*/ 2827464 h 4567794"/>
              <a:gd name="connsiteX967" fmla="*/ 8467812 w 9972838"/>
              <a:gd name="connsiteY967" fmla="*/ 2812582 h 4567794"/>
              <a:gd name="connsiteX968" fmla="*/ 8468499 w 9972838"/>
              <a:gd name="connsiteY968" fmla="*/ 2811216 h 4567794"/>
              <a:gd name="connsiteX969" fmla="*/ 8467812 w 9972838"/>
              <a:gd name="connsiteY969" fmla="*/ 2810872 h 4567794"/>
              <a:gd name="connsiteX970" fmla="*/ 8482718 w 9972838"/>
              <a:gd name="connsiteY970" fmla="*/ 2781150 h 4567794"/>
              <a:gd name="connsiteX971" fmla="*/ 8587065 w 9972838"/>
              <a:gd name="connsiteY971" fmla="*/ 2706843 h 4567794"/>
              <a:gd name="connsiteX972" fmla="*/ 8639237 w 9972838"/>
              <a:gd name="connsiteY972" fmla="*/ 2634388 h 4567794"/>
              <a:gd name="connsiteX973" fmla="*/ 8691225 w 9972838"/>
              <a:gd name="connsiteY973" fmla="*/ 2573305 h 4567794"/>
              <a:gd name="connsiteX974" fmla="*/ 8682093 w 9972838"/>
              <a:gd name="connsiteY974" fmla="*/ 2516777 h 4567794"/>
              <a:gd name="connsiteX975" fmla="*/ 8682251 w 9972838"/>
              <a:gd name="connsiteY975" fmla="*/ 2516474 h 4567794"/>
              <a:gd name="connsiteX976" fmla="*/ 8682093 w 9972838"/>
              <a:gd name="connsiteY976" fmla="*/ 2515493 h 4567794"/>
              <a:gd name="connsiteX977" fmla="*/ 8706317 w 9972838"/>
              <a:gd name="connsiteY977" fmla="*/ 2469053 h 4567794"/>
              <a:gd name="connsiteX978" fmla="*/ 8915008 w 9972838"/>
              <a:gd name="connsiteY978" fmla="*/ 2082642 h 4567794"/>
              <a:gd name="connsiteX979" fmla="*/ 9093884 w 9972838"/>
              <a:gd name="connsiteY979" fmla="*/ 1800270 h 4567794"/>
              <a:gd name="connsiteX980" fmla="*/ 9198230 w 9972838"/>
              <a:gd name="connsiteY980" fmla="*/ 1666514 h 4567794"/>
              <a:gd name="connsiteX981" fmla="*/ 9278352 w 9972838"/>
              <a:gd name="connsiteY981" fmla="*/ 1642363 h 4567794"/>
              <a:gd name="connsiteX982" fmla="*/ 9347294 w 9972838"/>
              <a:gd name="connsiteY982" fmla="*/ 1696236 h 4567794"/>
              <a:gd name="connsiteX983" fmla="*/ 9406922 w 9972838"/>
              <a:gd name="connsiteY983" fmla="*/ 1696236 h 4567794"/>
              <a:gd name="connsiteX984" fmla="*/ 9423064 w 9972838"/>
              <a:gd name="connsiteY984" fmla="*/ 1710574 h 4567794"/>
              <a:gd name="connsiteX985" fmla="*/ 9426891 w 9972838"/>
              <a:gd name="connsiteY985" fmla="*/ 1701138 h 4567794"/>
              <a:gd name="connsiteX986" fmla="*/ 9466019 w 9972838"/>
              <a:gd name="connsiteY986" fmla="*/ 1639834 h 4567794"/>
              <a:gd name="connsiteX987" fmla="*/ 9540552 w 9972838"/>
              <a:gd name="connsiteY987" fmla="*/ 1535801 h 4567794"/>
              <a:gd name="connsiteX988" fmla="*/ 9544187 w 9972838"/>
              <a:gd name="connsiteY988" fmla="*/ 1497728 h 4567794"/>
              <a:gd name="connsiteX989" fmla="*/ 9525647 w 9972838"/>
              <a:gd name="connsiteY989" fmla="*/ 1447739 h 4567794"/>
              <a:gd name="connsiteX990" fmla="*/ 9480925 w 9972838"/>
              <a:gd name="connsiteY990" fmla="*/ 1477505 h 4567794"/>
              <a:gd name="connsiteX991" fmla="*/ 9406394 w 9972838"/>
              <a:gd name="connsiteY991" fmla="*/ 1477505 h 4567794"/>
              <a:gd name="connsiteX992" fmla="*/ 9407217 w 9972838"/>
              <a:gd name="connsiteY992" fmla="*/ 1476891 h 4567794"/>
              <a:gd name="connsiteX993" fmla="*/ 9406394 w 9972838"/>
              <a:gd name="connsiteY993" fmla="*/ 1476352 h 4567794"/>
              <a:gd name="connsiteX994" fmla="*/ 9466019 w 9972838"/>
              <a:gd name="connsiteY994" fmla="*/ 1431766 h 4567794"/>
              <a:gd name="connsiteX995" fmla="*/ 9493968 w 9972838"/>
              <a:gd name="connsiteY995" fmla="*/ 1435482 h 4567794"/>
              <a:gd name="connsiteX996" fmla="*/ 9510352 w 9972838"/>
              <a:gd name="connsiteY996" fmla="*/ 1417331 h 4567794"/>
              <a:gd name="connsiteX997" fmla="*/ 9493968 w 9972838"/>
              <a:gd name="connsiteY997" fmla="*/ 1390069 h 4567794"/>
              <a:gd name="connsiteX998" fmla="*/ 9466019 w 9972838"/>
              <a:gd name="connsiteY998" fmla="*/ 1373322 h 4567794"/>
              <a:gd name="connsiteX999" fmla="*/ 9467036 w 9972838"/>
              <a:gd name="connsiteY999" fmla="*/ 1372929 h 4567794"/>
              <a:gd name="connsiteX1000" fmla="*/ 9466019 w 9972838"/>
              <a:gd name="connsiteY1000" fmla="*/ 1372319 h 4567794"/>
              <a:gd name="connsiteX1001" fmla="*/ 9508877 w 9972838"/>
              <a:gd name="connsiteY1001" fmla="*/ 1355600 h 4567794"/>
              <a:gd name="connsiteX1002" fmla="*/ 9540299 w 9972838"/>
              <a:gd name="connsiteY1002" fmla="*/ 1327958 h 4567794"/>
              <a:gd name="connsiteX1003" fmla="*/ 9527508 w 9972838"/>
              <a:gd name="connsiteY1003" fmla="*/ 1291469 h 4567794"/>
              <a:gd name="connsiteX1004" fmla="*/ 9525647 w 9972838"/>
              <a:gd name="connsiteY1004" fmla="*/ 1254260 h 4567794"/>
              <a:gd name="connsiteX1005" fmla="*/ 9510740 w 9972838"/>
              <a:gd name="connsiteY1005" fmla="*/ 1239377 h 4567794"/>
              <a:gd name="connsiteX1006" fmla="*/ 9421300 w 9972838"/>
              <a:gd name="connsiteY1006" fmla="*/ 1343555 h 4567794"/>
              <a:gd name="connsiteX1007" fmla="*/ 9391488 w 9972838"/>
              <a:gd name="connsiteY1007" fmla="*/ 1388205 h 4567794"/>
              <a:gd name="connsiteX1008" fmla="*/ 9357947 w 9972838"/>
              <a:gd name="connsiteY1008" fmla="*/ 1377043 h 4567794"/>
              <a:gd name="connsiteX1009" fmla="*/ 9346888 w 9972838"/>
              <a:gd name="connsiteY1009" fmla="*/ 1388088 h 4567794"/>
              <a:gd name="connsiteX1010" fmla="*/ 9350495 w 9972838"/>
              <a:gd name="connsiteY1010" fmla="*/ 1415047 h 4567794"/>
              <a:gd name="connsiteX1011" fmla="*/ 9376583 w 9972838"/>
              <a:gd name="connsiteY1011" fmla="*/ 1431766 h 4567794"/>
              <a:gd name="connsiteX1012" fmla="*/ 9375497 w 9972838"/>
              <a:gd name="connsiteY1012" fmla="*/ 1432164 h 4567794"/>
              <a:gd name="connsiteX1013" fmla="*/ 9376583 w 9972838"/>
              <a:gd name="connsiteY1013" fmla="*/ 1432856 h 4567794"/>
              <a:gd name="connsiteX1014" fmla="*/ 9320684 w 9972838"/>
              <a:gd name="connsiteY1014" fmla="*/ 1453323 h 4567794"/>
              <a:gd name="connsiteX1015" fmla="*/ 9305779 w 9972838"/>
              <a:gd name="connsiteY1015" fmla="*/ 1467980 h 4567794"/>
              <a:gd name="connsiteX1016" fmla="*/ 9331861 w 9972838"/>
              <a:gd name="connsiteY1016" fmla="*/ 1506074 h 4567794"/>
              <a:gd name="connsiteX1017" fmla="*/ 9339315 w 9972838"/>
              <a:gd name="connsiteY1017" fmla="*/ 1535801 h 4567794"/>
              <a:gd name="connsiteX1018" fmla="*/ 9339057 w 9972838"/>
              <a:gd name="connsiteY1018" fmla="*/ 1536009 h 4567794"/>
              <a:gd name="connsiteX1019" fmla="*/ 9339315 w 9972838"/>
              <a:gd name="connsiteY1019" fmla="*/ 1537039 h 4567794"/>
              <a:gd name="connsiteX1020" fmla="*/ 9302048 w 9972838"/>
              <a:gd name="connsiteY1020" fmla="*/ 1566806 h 4567794"/>
              <a:gd name="connsiteX1021" fmla="*/ 9078450 w 9972838"/>
              <a:gd name="connsiteY1021" fmla="*/ 1670989 h 4567794"/>
              <a:gd name="connsiteX1022" fmla="*/ 8974108 w 9972838"/>
              <a:gd name="connsiteY1022" fmla="*/ 1834701 h 4567794"/>
              <a:gd name="connsiteX1023" fmla="*/ 8839946 w 9972838"/>
              <a:gd name="connsiteY1023" fmla="*/ 1879352 h 4567794"/>
              <a:gd name="connsiteX1024" fmla="*/ 8834983 w 9972838"/>
              <a:gd name="connsiteY1024" fmla="*/ 1877550 h 4567794"/>
              <a:gd name="connsiteX1025" fmla="*/ 8834132 w 9972838"/>
              <a:gd name="connsiteY1025" fmla="*/ 1890719 h 4567794"/>
              <a:gd name="connsiteX1026" fmla="*/ 8808045 w 9972838"/>
              <a:gd name="connsiteY1026" fmla="*/ 1937229 h 4567794"/>
              <a:gd name="connsiteX1027" fmla="*/ 8614265 w 9972838"/>
              <a:gd name="connsiteY1027" fmla="*/ 2249779 h 4567794"/>
              <a:gd name="connsiteX1028" fmla="*/ 8390666 w 9972838"/>
              <a:gd name="connsiteY1028" fmla="*/ 2621858 h 4567794"/>
              <a:gd name="connsiteX1029" fmla="*/ 8181973 w 9972838"/>
              <a:gd name="connsiteY1029" fmla="*/ 3053470 h 4567794"/>
              <a:gd name="connsiteX1030" fmla="*/ 8137257 w 9972838"/>
              <a:gd name="connsiteY1030" fmla="*/ 3083237 h 4567794"/>
              <a:gd name="connsiteX1031" fmla="*/ 8140240 w 9972838"/>
              <a:gd name="connsiteY1031" fmla="*/ 3083237 h 4567794"/>
              <a:gd name="connsiteX1032" fmla="*/ 8124447 w 9972838"/>
              <a:gd name="connsiteY1032" fmla="*/ 3140654 h 4567794"/>
              <a:gd name="connsiteX1033" fmla="*/ 8122563 w 9972838"/>
              <a:gd name="connsiteY1033" fmla="*/ 3139800 h 4567794"/>
              <a:gd name="connsiteX1034" fmla="*/ 8122350 w 9972838"/>
              <a:gd name="connsiteY1034" fmla="*/ 3140654 h 4567794"/>
              <a:gd name="connsiteX1035" fmla="*/ 8100641 w 9972838"/>
              <a:gd name="connsiteY1035" fmla="*/ 3129836 h 4567794"/>
              <a:gd name="connsiteX1036" fmla="*/ 8092869 w 9972838"/>
              <a:gd name="connsiteY1036" fmla="*/ 3126300 h 4567794"/>
              <a:gd name="connsiteX1037" fmla="*/ 8092914 w 9972838"/>
              <a:gd name="connsiteY1037" fmla="*/ 3125984 h 4567794"/>
              <a:gd name="connsiteX1038" fmla="*/ 8092535 w 9972838"/>
              <a:gd name="connsiteY1038" fmla="*/ 3125793 h 4567794"/>
              <a:gd name="connsiteX1039" fmla="*/ 8096263 w 9972838"/>
              <a:gd name="connsiteY1039" fmla="*/ 3097926 h 4567794"/>
              <a:gd name="connsiteX1040" fmla="*/ 8121780 w 9972838"/>
              <a:gd name="connsiteY1040" fmla="*/ 3081573 h 4567794"/>
              <a:gd name="connsiteX1041" fmla="*/ 8098126 w 9972838"/>
              <a:gd name="connsiteY1041" fmla="*/ 3012540 h 4567794"/>
              <a:gd name="connsiteX1042" fmla="*/ 8098633 w 9972838"/>
              <a:gd name="connsiteY1042" fmla="*/ 3012088 h 4567794"/>
              <a:gd name="connsiteX1043" fmla="*/ 8098126 w 9972838"/>
              <a:gd name="connsiteY1043" fmla="*/ 3010611 h 4567794"/>
              <a:gd name="connsiteX1044" fmla="*/ 8152163 w 9972838"/>
              <a:gd name="connsiteY1044" fmla="*/ 2962312 h 4567794"/>
              <a:gd name="connsiteX1045" fmla="*/ 8152163 w 9972838"/>
              <a:gd name="connsiteY1045" fmla="*/ 2949287 h 4567794"/>
              <a:gd name="connsiteX1046" fmla="*/ 8152163 w 9972838"/>
              <a:gd name="connsiteY1046" fmla="*/ 2947450 h 4567794"/>
              <a:gd name="connsiteX1047" fmla="*/ 8241603 w 9972838"/>
              <a:gd name="connsiteY1047" fmla="*/ 2828556 h 4567794"/>
              <a:gd name="connsiteX1048" fmla="*/ 8286321 w 9972838"/>
              <a:gd name="connsiteY1048" fmla="*/ 2769108 h 4567794"/>
              <a:gd name="connsiteX1049" fmla="*/ 8331037 w 9972838"/>
              <a:gd name="connsiteY1049" fmla="*/ 2635353 h 4567794"/>
              <a:gd name="connsiteX1050" fmla="*/ 8405572 w 9972838"/>
              <a:gd name="connsiteY1050" fmla="*/ 2531319 h 4567794"/>
              <a:gd name="connsiteX1051" fmla="*/ 8409207 w 9972838"/>
              <a:gd name="connsiteY1051" fmla="*/ 2493247 h 4567794"/>
              <a:gd name="connsiteX1052" fmla="*/ 8390666 w 9972838"/>
              <a:gd name="connsiteY1052" fmla="*/ 2443258 h 4567794"/>
              <a:gd name="connsiteX1053" fmla="*/ 8345944 w 9972838"/>
              <a:gd name="connsiteY1053" fmla="*/ 2473024 h 4567794"/>
              <a:gd name="connsiteX1054" fmla="*/ 8332202 w 9972838"/>
              <a:gd name="connsiteY1054" fmla="*/ 2496047 h 4567794"/>
              <a:gd name="connsiteX1055" fmla="*/ 8314531 w 9972838"/>
              <a:gd name="connsiteY1055" fmla="*/ 2500859 h 4567794"/>
              <a:gd name="connsiteX1056" fmla="*/ 8259208 w 9972838"/>
              <a:gd name="connsiteY1056" fmla="*/ 2585002 h 4567794"/>
              <a:gd name="connsiteX1057" fmla="*/ 8265476 w 9972838"/>
              <a:gd name="connsiteY1057" fmla="*/ 2583399 h 4567794"/>
              <a:gd name="connsiteX1058" fmla="*/ 8256504 w 9972838"/>
              <a:gd name="connsiteY1058" fmla="*/ 2621845 h 4567794"/>
              <a:gd name="connsiteX1059" fmla="*/ 8233177 w 9972838"/>
              <a:gd name="connsiteY1059" fmla="*/ 2641071 h 4567794"/>
              <a:gd name="connsiteX1060" fmla="*/ 8227889 w 9972838"/>
              <a:gd name="connsiteY1060" fmla="*/ 2641915 h 4567794"/>
              <a:gd name="connsiteX1061" fmla="*/ 8199467 w 9972838"/>
              <a:gd name="connsiteY1061" fmla="*/ 2695614 h 4567794"/>
              <a:gd name="connsiteX1062" fmla="*/ 8106227 w 9972838"/>
              <a:gd name="connsiteY1062" fmla="*/ 2902393 h 4567794"/>
              <a:gd name="connsiteX1063" fmla="*/ 8031633 w 9972838"/>
              <a:gd name="connsiteY1063" fmla="*/ 3051425 h 4567794"/>
              <a:gd name="connsiteX1064" fmla="*/ 8031633 w 9972838"/>
              <a:gd name="connsiteY1064" fmla="*/ 3066327 h 4567794"/>
              <a:gd name="connsiteX1065" fmla="*/ 8001794 w 9972838"/>
              <a:gd name="connsiteY1065" fmla="*/ 3170645 h 4567794"/>
              <a:gd name="connsiteX1066" fmla="*/ 7971955 w 9972838"/>
              <a:gd name="connsiteY1066" fmla="*/ 3215354 h 4567794"/>
              <a:gd name="connsiteX1067" fmla="*/ 7957041 w 9972838"/>
              <a:gd name="connsiteY1067" fmla="*/ 3274968 h 4567794"/>
              <a:gd name="connsiteX1068" fmla="*/ 8001794 w 9972838"/>
              <a:gd name="connsiteY1068" fmla="*/ 3245161 h 4567794"/>
              <a:gd name="connsiteX1069" fmla="*/ 8106227 w 9972838"/>
              <a:gd name="connsiteY1069" fmla="*/ 3215354 h 4567794"/>
              <a:gd name="connsiteX1070" fmla="*/ 8165901 w 9972838"/>
              <a:gd name="connsiteY1070" fmla="*/ 3215354 h 4567794"/>
              <a:gd name="connsiteX1071" fmla="*/ 8116017 w 9972838"/>
              <a:gd name="connsiteY1071" fmla="*/ 3288706 h 4567794"/>
              <a:gd name="connsiteX1072" fmla="*/ 8086773 w 9972838"/>
              <a:gd name="connsiteY1072" fmla="*/ 3322009 h 4567794"/>
              <a:gd name="connsiteX1073" fmla="*/ 8087193 w 9972838"/>
              <a:gd name="connsiteY1073" fmla="*/ 3338460 h 4567794"/>
              <a:gd name="connsiteX1074" fmla="*/ 8064685 w 9972838"/>
              <a:gd name="connsiteY1074" fmla="*/ 3442959 h 4567794"/>
              <a:gd name="connsiteX1075" fmla="*/ 8079689 w 9972838"/>
              <a:gd name="connsiteY1075" fmla="*/ 3472816 h 4567794"/>
              <a:gd name="connsiteX1076" fmla="*/ 8094695 w 9972838"/>
              <a:gd name="connsiteY1076" fmla="*/ 3487746 h 4567794"/>
              <a:gd name="connsiteX1077" fmla="*/ 8094695 w 9972838"/>
              <a:gd name="connsiteY1077" fmla="*/ 3517602 h 4567794"/>
              <a:gd name="connsiteX1078" fmla="*/ 8139716 w 9972838"/>
              <a:gd name="connsiteY1078" fmla="*/ 3502673 h 4567794"/>
              <a:gd name="connsiteX1079" fmla="*/ 8154725 w 9972838"/>
              <a:gd name="connsiteY1079" fmla="*/ 3487746 h 4567794"/>
              <a:gd name="connsiteX1080" fmla="*/ 8169731 w 9972838"/>
              <a:gd name="connsiteY1080" fmla="*/ 3532531 h 4567794"/>
              <a:gd name="connsiteX1081" fmla="*/ 8019663 w 9972838"/>
              <a:gd name="connsiteY1081" fmla="*/ 3577316 h 4567794"/>
              <a:gd name="connsiteX1082" fmla="*/ 7734529 w 9972838"/>
              <a:gd name="connsiteY1082" fmla="*/ 3442959 h 4567794"/>
              <a:gd name="connsiteX1083" fmla="*/ 7692323 w 9972838"/>
              <a:gd name="connsiteY1083" fmla="*/ 3396774 h 4567794"/>
              <a:gd name="connsiteX1084" fmla="*/ 7691544 w 9972838"/>
              <a:gd name="connsiteY1084" fmla="*/ 3388898 h 4567794"/>
              <a:gd name="connsiteX1085" fmla="*/ 7673583 w 9972838"/>
              <a:gd name="connsiteY1085" fmla="*/ 3379287 h 4567794"/>
              <a:gd name="connsiteX1086" fmla="*/ 7501555 w 9972838"/>
              <a:gd name="connsiteY1086" fmla="*/ 3278692 h 4567794"/>
              <a:gd name="connsiteX1087" fmla="*/ 7491041 w 9972838"/>
              <a:gd name="connsiteY1087" fmla="*/ 3248298 h 4567794"/>
              <a:gd name="connsiteX1088" fmla="*/ 7411467 w 9972838"/>
              <a:gd name="connsiteY1088" fmla="*/ 3370621 h 4567794"/>
              <a:gd name="connsiteX1089" fmla="*/ 7372187 w 9972838"/>
              <a:gd name="connsiteY1089" fmla="*/ 3441491 h 4567794"/>
              <a:gd name="connsiteX1090" fmla="*/ 7372531 w 9972838"/>
              <a:gd name="connsiteY1090" fmla="*/ 3454949 h 4567794"/>
              <a:gd name="connsiteX1091" fmla="*/ 7350023 w 9972838"/>
              <a:gd name="connsiteY1091" fmla="*/ 3559449 h 4567794"/>
              <a:gd name="connsiteX1092" fmla="*/ 7365027 w 9972838"/>
              <a:gd name="connsiteY1092" fmla="*/ 3589306 h 4567794"/>
              <a:gd name="connsiteX1093" fmla="*/ 7380033 w 9972838"/>
              <a:gd name="connsiteY1093" fmla="*/ 3604235 h 4567794"/>
              <a:gd name="connsiteX1094" fmla="*/ 7380033 w 9972838"/>
              <a:gd name="connsiteY1094" fmla="*/ 3634092 h 4567794"/>
              <a:gd name="connsiteX1095" fmla="*/ 7425053 w 9972838"/>
              <a:gd name="connsiteY1095" fmla="*/ 3619163 h 4567794"/>
              <a:gd name="connsiteX1096" fmla="*/ 7440063 w 9972838"/>
              <a:gd name="connsiteY1096" fmla="*/ 3604235 h 4567794"/>
              <a:gd name="connsiteX1097" fmla="*/ 7455069 w 9972838"/>
              <a:gd name="connsiteY1097" fmla="*/ 3649021 h 4567794"/>
              <a:gd name="connsiteX1098" fmla="*/ 7305002 w 9972838"/>
              <a:gd name="connsiteY1098" fmla="*/ 3693806 h 4567794"/>
              <a:gd name="connsiteX1099" fmla="*/ 7252658 w 9972838"/>
              <a:gd name="connsiteY1099" fmla="*/ 3665500 h 4567794"/>
              <a:gd name="connsiteX1100" fmla="*/ 7195324 w 9972838"/>
              <a:gd name="connsiteY1100" fmla="*/ 3778050 h 4567794"/>
              <a:gd name="connsiteX1101" fmla="*/ 7096567 w 9972838"/>
              <a:gd name="connsiteY1101" fmla="*/ 3993856 h 4567794"/>
              <a:gd name="connsiteX1102" fmla="*/ 7051850 w 9972838"/>
              <a:gd name="connsiteY1102" fmla="*/ 4023622 h 4567794"/>
              <a:gd name="connsiteX1103" fmla="*/ 7054833 w 9972838"/>
              <a:gd name="connsiteY1103" fmla="*/ 4023622 h 4567794"/>
              <a:gd name="connsiteX1104" fmla="*/ 7039043 w 9972838"/>
              <a:gd name="connsiteY1104" fmla="*/ 4081040 h 4567794"/>
              <a:gd name="connsiteX1105" fmla="*/ 7037156 w 9972838"/>
              <a:gd name="connsiteY1105" fmla="*/ 4080185 h 4567794"/>
              <a:gd name="connsiteX1106" fmla="*/ 7036945 w 9972838"/>
              <a:gd name="connsiteY1106" fmla="*/ 4081040 h 4567794"/>
              <a:gd name="connsiteX1107" fmla="*/ 7015234 w 9972838"/>
              <a:gd name="connsiteY1107" fmla="*/ 4070222 h 4567794"/>
              <a:gd name="connsiteX1108" fmla="*/ 7007463 w 9972838"/>
              <a:gd name="connsiteY1108" fmla="*/ 4066686 h 4567794"/>
              <a:gd name="connsiteX1109" fmla="*/ 7007507 w 9972838"/>
              <a:gd name="connsiteY1109" fmla="*/ 4066369 h 4567794"/>
              <a:gd name="connsiteX1110" fmla="*/ 7007128 w 9972838"/>
              <a:gd name="connsiteY1110" fmla="*/ 4066178 h 4567794"/>
              <a:gd name="connsiteX1111" fmla="*/ 7010857 w 9972838"/>
              <a:gd name="connsiteY1111" fmla="*/ 4038311 h 4567794"/>
              <a:gd name="connsiteX1112" fmla="*/ 7036375 w 9972838"/>
              <a:gd name="connsiteY1112" fmla="*/ 4021958 h 4567794"/>
              <a:gd name="connsiteX1113" fmla="*/ 7012721 w 9972838"/>
              <a:gd name="connsiteY1113" fmla="*/ 3952926 h 4567794"/>
              <a:gd name="connsiteX1114" fmla="*/ 7013227 w 9972838"/>
              <a:gd name="connsiteY1114" fmla="*/ 3952474 h 4567794"/>
              <a:gd name="connsiteX1115" fmla="*/ 7012721 w 9972838"/>
              <a:gd name="connsiteY1115" fmla="*/ 3950996 h 4567794"/>
              <a:gd name="connsiteX1116" fmla="*/ 7066757 w 9972838"/>
              <a:gd name="connsiteY1116" fmla="*/ 3902697 h 4567794"/>
              <a:gd name="connsiteX1117" fmla="*/ 7066757 w 9972838"/>
              <a:gd name="connsiteY1117" fmla="*/ 3889672 h 4567794"/>
              <a:gd name="connsiteX1118" fmla="*/ 7066757 w 9972838"/>
              <a:gd name="connsiteY1118" fmla="*/ 3887836 h 4567794"/>
              <a:gd name="connsiteX1119" fmla="*/ 7156195 w 9972838"/>
              <a:gd name="connsiteY1119" fmla="*/ 3768941 h 4567794"/>
              <a:gd name="connsiteX1120" fmla="*/ 7200914 w 9972838"/>
              <a:gd name="connsiteY1120" fmla="*/ 3709494 h 4567794"/>
              <a:gd name="connsiteX1121" fmla="*/ 7193227 w 9972838"/>
              <a:gd name="connsiteY1121" fmla="*/ 3669785 h 4567794"/>
              <a:gd name="connsiteX1122" fmla="*/ 7203925 w 9972838"/>
              <a:gd name="connsiteY1122" fmla="*/ 3643403 h 4567794"/>
              <a:gd name="connsiteX1123" fmla="*/ 7162435 w 9972838"/>
              <a:gd name="connsiteY1123" fmla="*/ 3626627 h 4567794"/>
              <a:gd name="connsiteX1124" fmla="*/ 7089744 w 9972838"/>
              <a:gd name="connsiteY1124" fmla="*/ 3597236 h 4567794"/>
              <a:gd name="connsiteX1125" fmla="*/ 7041901 w 9972838"/>
              <a:gd name="connsiteY1125" fmla="*/ 3571365 h 4567794"/>
              <a:gd name="connsiteX1126" fmla="*/ 7026489 w 9972838"/>
              <a:gd name="connsiteY1126" fmla="*/ 3578615 h 4567794"/>
              <a:gd name="connsiteX1127" fmla="*/ 6985231 w 9972838"/>
              <a:gd name="connsiteY1127" fmla="*/ 3574191 h 4567794"/>
              <a:gd name="connsiteX1128" fmla="*/ 6953183 w 9972838"/>
              <a:gd name="connsiteY1128" fmla="*/ 3550923 h 4567794"/>
              <a:gd name="connsiteX1129" fmla="*/ 6911868 w 9972838"/>
              <a:gd name="connsiteY1129" fmla="*/ 3578057 h 4567794"/>
              <a:gd name="connsiteX1130" fmla="*/ 6858064 w 9972838"/>
              <a:gd name="connsiteY1130" fmla="*/ 3606893 h 4567794"/>
              <a:gd name="connsiteX1131" fmla="*/ 6753723 w 9972838"/>
              <a:gd name="connsiteY1131" fmla="*/ 3770605 h 4567794"/>
              <a:gd name="connsiteX1132" fmla="*/ 6619560 w 9972838"/>
              <a:gd name="connsiteY1132" fmla="*/ 3815255 h 4567794"/>
              <a:gd name="connsiteX1133" fmla="*/ 6589749 w 9972838"/>
              <a:gd name="connsiteY1133" fmla="*/ 3800372 h 4567794"/>
              <a:gd name="connsiteX1134" fmla="*/ 6590436 w 9972838"/>
              <a:gd name="connsiteY1134" fmla="*/ 3799007 h 4567794"/>
              <a:gd name="connsiteX1135" fmla="*/ 6589749 w 9972838"/>
              <a:gd name="connsiteY1135" fmla="*/ 3798663 h 4567794"/>
              <a:gd name="connsiteX1136" fmla="*/ 6604654 w 9972838"/>
              <a:gd name="connsiteY1136" fmla="*/ 3768941 h 4567794"/>
              <a:gd name="connsiteX1137" fmla="*/ 6709000 w 9972838"/>
              <a:gd name="connsiteY1137" fmla="*/ 3694633 h 4567794"/>
              <a:gd name="connsiteX1138" fmla="*/ 6761173 w 9972838"/>
              <a:gd name="connsiteY1138" fmla="*/ 3622179 h 4567794"/>
              <a:gd name="connsiteX1139" fmla="*/ 6813161 w 9972838"/>
              <a:gd name="connsiteY1139" fmla="*/ 3561094 h 4567794"/>
              <a:gd name="connsiteX1140" fmla="*/ 6804028 w 9972838"/>
              <a:gd name="connsiteY1140" fmla="*/ 3504568 h 4567794"/>
              <a:gd name="connsiteX1141" fmla="*/ 6804187 w 9972838"/>
              <a:gd name="connsiteY1141" fmla="*/ 3504264 h 4567794"/>
              <a:gd name="connsiteX1142" fmla="*/ 6804028 w 9972838"/>
              <a:gd name="connsiteY1142" fmla="*/ 3503284 h 4567794"/>
              <a:gd name="connsiteX1143" fmla="*/ 6818289 w 9972838"/>
              <a:gd name="connsiteY1143" fmla="*/ 3475946 h 4567794"/>
              <a:gd name="connsiteX1144" fmla="*/ 6783132 w 9972838"/>
              <a:gd name="connsiteY1144" fmla="*/ 3465679 h 4567794"/>
              <a:gd name="connsiteX1145" fmla="*/ 6733715 w 9972838"/>
              <a:gd name="connsiteY1145" fmla="*/ 3453804 h 4567794"/>
              <a:gd name="connsiteX1146" fmla="*/ 6664249 w 9972838"/>
              <a:gd name="connsiteY1146" fmla="*/ 3414915 h 4567794"/>
              <a:gd name="connsiteX1147" fmla="*/ 6646260 w 9972838"/>
              <a:gd name="connsiteY1147" fmla="*/ 3397366 h 4567794"/>
              <a:gd name="connsiteX1148" fmla="*/ 6608697 w 9972838"/>
              <a:gd name="connsiteY1148" fmla="*/ 3452600 h 4567794"/>
              <a:gd name="connsiteX1149" fmla="*/ 6419883 w 9972838"/>
              <a:gd name="connsiteY1149" fmla="*/ 3647501 h 4567794"/>
              <a:gd name="connsiteX1150" fmla="*/ 6360209 w 9972838"/>
              <a:gd name="connsiteY1150" fmla="*/ 3662407 h 4567794"/>
              <a:gd name="connsiteX1151" fmla="*/ 6349019 w 9972838"/>
              <a:gd name="connsiteY1151" fmla="*/ 3653093 h 4567794"/>
              <a:gd name="connsiteX1152" fmla="*/ 6340987 w 9972838"/>
              <a:gd name="connsiteY1152" fmla="*/ 3646405 h 4567794"/>
              <a:gd name="connsiteX1153" fmla="*/ 6321402 w 9972838"/>
              <a:gd name="connsiteY1153" fmla="*/ 3683405 h 4567794"/>
              <a:gd name="connsiteX1154" fmla="*/ 6228163 w 9972838"/>
              <a:gd name="connsiteY1154" fmla="*/ 3890182 h 4567794"/>
              <a:gd name="connsiteX1155" fmla="*/ 6153570 w 9972838"/>
              <a:gd name="connsiteY1155" fmla="*/ 4039216 h 4567794"/>
              <a:gd name="connsiteX1156" fmla="*/ 6153570 w 9972838"/>
              <a:gd name="connsiteY1156" fmla="*/ 4054117 h 4567794"/>
              <a:gd name="connsiteX1157" fmla="*/ 6123732 w 9972838"/>
              <a:gd name="connsiteY1157" fmla="*/ 4158436 h 4567794"/>
              <a:gd name="connsiteX1158" fmla="*/ 6093892 w 9972838"/>
              <a:gd name="connsiteY1158" fmla="*/ 4203144 h 4567794"/>
              <a:gd name="connsiteX1159" fmla="*/ 6078977 w 9972838"/>
              <a:gd name="connsiteY1159" fmla="*/ 4262759 h 4567794"/>
              <a:gd name="connsiteX1160" fmla="*/ 6123732 w 9972838"/>
              <a:gd name="connsiteY1160" fmla="*/ 4232952 h 4567794"/>
              <a:gd name="connsiteX1161" fmla="*/ 6228163 w 9972838"/>
              <a:gd name="connsiteY1161" fmla="*/ 4203144 h 4567794"/>
              <a:gd name="connsiteX1162" fmla="*/ 6287837 w 9972838"/>
              <a:gd name="connsiteY1162" fmla="*/ 4203144 h 4567794"/>
              <a:gd name="connsiteX1163" fmla="*/ 6049138 w 9972838"/>
              <a:gd name="connsiteY1163" fmla="*/ 4471397 h 4567794"/>
              <a:gd name="connsiteX1164" fmla="*/ 5989464 w 9972838"/>
              <a:gd name="connsiteY1164" fmla="*/ 4486303 h 4567794"/>
              <a:gd name="connsiteX1165" fmla="*/ 5899953 w 9972838"/>
              <a:gd name="connsiteY1165" fmla="*/ 4411787 h 4567794"/>
              <a:gd name="connsiteX1166" fmla="*/ 5795520 w 9972838"/>
              <a:gd name="connsiteY1166" fmla="*/ 4367078 h 4567794"/>
              <a:gd name="connsiteX1167" fmla="*/ 5601580 w 9972838"/>
              <a:gd name="connsiteY1167" fmla="*/ 4203144 h 4567794"/>
              <a:gd name="connsiteX1168" fmla="*/ 5586660 w 9972838"/>
              <a:gd name="connsiteY1168" fmla="*/ 4158436 h 4567794"/>
              <a:gd name="connsiteX1169" fmla="*/ 5541907 w 9972838"/>
              <a:gd name="connsiteY1169" fmla="*/ 4188243 h 4567794"/>
              <a:gd name="connsiteX1170" fmla="*/ 5243530 w 9972838"/>
              <a:gd name="connsiteY1170" fmla="*/ 4501205 h 4567794"/>
              <a:gd name="connsiteX1171" fmla="*/ 5064509 w 9972838"/>
              <a:gd name="connsiteY1171" fmla="*/ 4531012 h 4567794"/>
              <a:gd name="connsiteX1172" fmla="*/ 4855650 w 9972838"/>
              <a:gd name="connsiteY1172" fmla="*/ 4441594 h 4567794"/>
              <a:gd name="connsiteX1173" fmla="*/ 4706459 w 9972838"/>
              <a:gd name="connsiteY1173" fmla="*/ 4232952 h 4567794"/>
              <a:gd name="connsiteX1174" fmla="*/ 4766138 w 9972838"/>
              <a:gd name="connsiteY1174" fmla="*/ 4203144 h 4567794"/>
              <a:gd name="connsiteX1175" fmla="*/ 4795972 w 9972838"/>
              <a:gd name="connsiteY1175" fmla="*/ 4218050 h 4567794"/>
              <a:gd name="connsiteX1176" fmla="*/ 4810891 w 9972838"/>
              <a:gd name="connsiteY1176" fmla="*/ 4218050 h 4567794"/>
              <a:gd name="connsiteX1177" fmla="*/ 4795972 w 9972838"/>
              <a:gd name="connsiteY1177" fmla="*/ 4247854 h 4567794"/>
              <a:gd name="connsiteX1178" fmla="*/ 4766138 w 9972838"/>
              <a:gd name="connsiteY1178" fmla="*/ 4277661 h 4567794"/>
              <a:gd name="connsiteX1179" fmla="*/ 4810891 w 9972838"/>
              <a:gd name="connsiteY1179" fmla="*/ 4277661 h 4567794"/>
              <a:gd name="connsiteX1180" fmla="*/ 5064509 w 9972838"/>
              <a:gd name="connsiteY1180" fmla="*/ 4009408 h 4567794"/>
              <a:gd name="connsiteX1181" fmla="*/ 5064509 w 9972838"/>
              <a:gd name="connsiteY1181" fmla="*/ 4039216 h 4567794"/>
              <a:gd name="connsiteX1182" fmla="*/ 5094344 w 9972838"/>
              <a:gd name="connsiteY1182" fmla="*/ 4024309 h 4567794"/>
              <a:gd name="connsiteX1183" fmla="*/ 5154021 w 9972838"/>
              <a:gd name="connsiteY1183" fmla="*/ 3979601 h 4567794"/>
              <a:gd name="connsiteX1184" fmla="*/ 5258449 w 9972838"/>
              <a:gd name="connsiteY1184" fmla="*/ 3830573 h 4567794"/>
              <a:gd name="connsiteX1185" fmla="*/ 5198775 w 9972838"/>
              <a:gd name="connsiteY1185" fmla="*/ 3785863 h 4567794"/>
              <a:gd name="connsiteX1186" fmla="*/ 5347962 w 9972838"/>
              <a:gd name="connsiteY1186" fmla="*/ 3666638 h 4567794"/>
              <a:gd name="connsiteX1187" fmla="*/ 5355537 w 9972838"/>
              <a:gd name="connsiteY1187" fmla="*/ 3656624 h 4567794"/>
              <a:gd name="connsiteX1188" fmla="*/ 5330824 w 9972838"/>
              <a:gd name="connsiteY1188" fmla="*/ 3645639 h 4567794"/>
              <a:gd name="connsiteX1189" fmla="*/ 5320900 w 9972838"/>
              <a:gd name="connsiteY1189" fmla="*/ 3642741 h 4567794"/>
              <a:gd name="connsiteX1190" fmla="*/ 5323197 w 9972838"/>
              <a:gd name="connsiteY1190" fmla="*/ 3652880 h 4567794"/>
              <a:gd name="connsiteX1191" fmla="*/ 5305030 w 9972838"/>
              <a:gd name="connsiteY1191" fmla="*/ 3679121 h 4567794"/>
              <a:gd name="connsiteX1192" fmla="*/ 5276321 w 9972838"/>
              <a:gd name="connsiteY1192" fmla="*/ 3722185 h 4567794"/>
              <a:gd name="connsiteX1193" fmla="*/ 5261968 w 9972838"/>
              <a:gd name="connsiteY1193" fmla="*/ 3679121 h 4567794"/>
              <a:gd name="connsiteX1194" fmla="*/ 5260172 w 9972838"/>
              <a:gd name="connsiteY1194" fmla="*/ 3664766 h 4567794"/>
              <a:gd name="connsiteX1195" fmla="*/ 5260172 w 9972838"/>
              <a:gd name="connsiteY1195" fmla="*/ 3664763 h 4567794"/>
              <a:gd name="connsiteX1196" fmla="*/ 5290677 w 9972838"/>
              <a:gd name="connsiteY1196" fmla="*/ 3650408 h 4567794"/>
              <a:gd name="connsiteX1197" fmla="*/ 5299647 w 9972838"/>
              <a:gd name="connsiteY1197" fmla="*/ 3643232 h 4567794"/>
              <a:gd name="connsiteX1198" fmla="*/ 5309862 w 9972838"/>
              <a:gd name="connsiteY1198" fmla="*/ 3639517 h 4567794"/>
              <a:gd name="connsiteX1199" fmla="*/ 5275813 w 9972838"/>
              <a:gd name="connsiteY1199" fmla="*/ 3629573 h 4567794"/>
              <a:gd name="connsiteX1200" fmla="*/ 5245560 w 9972838"/>
              <a:gd name="connsiteY1200" fmla="*/ 3622304 h 4567794"/>
              <a:gd name="connsiteX1201" fmla="*/ 5209985 w 9972838"/>
              <a:gd name="connsiteY1201" fmla="*/ 3662817 h 4567794"/>
              <a:gd name="connsiteX1202" fmla="*/ 5079447 w 9972838"/>
              <a:gd name="connsiteY1202" fmla="*/ 3791353 h 4567794"/>
              <a:gd name="connsiteX1203" fmla="*/ 5019772 w 9972838"/>
              <a:gd name="connsiteY1203" fmla="*/ 3806259 h 4567794"/>
              <a:gd name="connsiteX1204" fmla="*/ 5008583 w 9972838"/>
              <a:gd name="connsiteY1204" fmla="*/ 3796945 h 4567794"/>
              <a:gd name="connsiteX1205" fmla="*/ 5004212 w 9972838"/>
              <a:gd name="connsiteY1205" fmla="*/ 3793305 h 4567794"/>
              <a:gd name="connsiteX1206" fmla="*/ 5005300 w 9972838"/>
              <a:gd name="connsiteY1206" fmla="*/ 3799836 h 4567794"/>
              <a:gd name="connsiteX1207" fmla="*/ 5034670 w 9972838"/>
              <a:gd name="connsiteY1207" fmla="*/ 3830573 h 4567794"/>
              <a:gd name="connsiteX1208" fmla="*/ 4930243 w 9972838"/>
              <a:gd name="connsiteY1208" fmla="*/ 3875281 h 4567794"/>
              <a:gd name="connsiteX1209" fmla="*/ 4751218 w 9972838"/>
              <a:gd name="connsiteY1209" fmla="*/ 4039216 h 4567794"/>
              <a:gd name="connsiteX1210" fmla="*/ 4676626 w 9972838"/>
              <a:gd name="connsiteY1210" fmla="*/ 4143535 h 4567794"/>
              <a:gd name="connsiteX1211" fmla="*/ 4452848 w 9972838"/>
              <a:gd name="connsiteY1211" fmla="*/ 4426688 h 4567794"/>
              <a:gd name="connsiteX1212" fmla="*/ 4333495 w 9972838"/>
              <a:gd name="connsiteY1212" fmla="*/ 4531012 h 4567794"/>
              <a:gd name="connsiteX1213" fmla="*/ 4184308 w 9972838"/>
              <a:gd name="connsiteY1213" fmla="*/ 4501205 h 4567794"/>
              <a:gd name="connsiteX1214" fmla="*/ 4005288 w 9972838"/>
              <a:gd name="connsiteY1214" fmla="*/ 4411787 h 4567794"/>
              <a:gd name="connsiteX1215" fmla="*/ 3871017 w 9972838"/>
              <a:gd name="connsiteY1215" fmla="*/ 4262759 h 4567794"/>
              <a:gd name="connsiteX1216" fmla="*/ 3856102 w 9972838"/>
              <a:gd name="connsiteY1216" fmla="*/ 4218050 h 4567794"/>
              <a:gd name="connsiteX1217" fmla="*/ 3826264 w 9972838"/>
              <a:gd name="connsiteY1217" fmla="*/ 4247854 h 4567794"/>
              <a:gd name="connsiteX1218" fmla="*/ 3677076 w 9972838"/>
              <a:gd name="connsiteY1218" fmla="*/ 4396886 h 4567794"/>
              <a:gd name="connsiteX1219" fmla="*/ 3408539 w 9972838"/>
              <a:gd name="connsiteY1219" fmla="*/ 4471397 h 4567794"/>
              <a:gd name="connsiteX1220" fmla="*/ 3199680 w 9972838"/>
              <a:gd name="connsiteY1220" fmla="*/ 4381980 h 4567794"/>
              <a:gd name="connsiteX1221" fmla="*/ 3050495 w 9972838"/>
              <a:gd name="connsiteY1221" fmla="*/ 4292562 h 4567794"/>
              <a:gd name="connsiteX1222" fmla="*/ 3065415 w 9972838"/>
              <a:gd name="connsiteY1222" fmla="*/ 4113727 h 4567794"/>
              <a:gd name="connsiteX1223" fmla="*/ 3080330 w 9972838"/>
              <a:gd name="connsiteY1223" fmla="*/ 4083924 h 4567794"/>
              <a:gd name="connsiteX1224" fmla="*/ 3065415 w 9972838"/>
              <a:gd name="connsiteY1224" fmla="*/ 3994506 h 4567794"/>
              <a:gd name="connsiteX1225" fmla="*/ 2990821 w 9972838"/>
              <a:gd name="connsiteY1225" fmla="*/ 4024309 h 4567794"/>
              <a:gd name="connsiteX1226" fmla="*/ 2781958 w 9972838"/>
              <a:gd name="connsiteY1226" fmla="*/ 4262759 h 4567794"/>
              <a:gd name="connsiteX1227" fmla="*/ 2662610 w 9972838"/>
              <a:gd name="connsiteY1227" fmla="*/ 4367078 h 4567794"/>
              <a:gd name="connsiteX1228" fmla="*/ 2438833 w 9972838"/>
              <a:gd name="connsiteY1228" fmla="*/ 4352176 h 4567794"/>
              <a:gd name="connsiteX1229" fmla="*/ 2259807 w 9972838"/>
              <a:gd name="connsiteY1229" fmla="*/ 4292562 h 4567794"/>
              <a:gd name="connsiteX1230" fmla="*/ 2155375 w 9972838"/>
              <a:gd name="connsiteY1230" fmla="*/ 4083924 h 4567794"/>
              <a:gd name="connsiteX1231" fmla="*/ 2185214 w 9972838"/>
              <a:gd name="connsiteY1231" fmla="*/ 3905084 h 4567794"/>
              <a:gd name="connsiteX1232" fmla="*/ 2229972 w 9972838"/>
              <a:gd name="connsiteY1232" fmla="*/ 3845475 h 4567794"/>
              <a:gd name="connsiteX1233" fmla="*/ 2274727 w 9972838"/>
              <a:gd name="connsiteY1233" fmla="*/ 3800765 h 4567794"/>
              <a:gd name="connsiteX1234" fmla="*/ 2289646 w 9972838"/>
              <a:gd name="connsiteY1234" fmla="*/ 3785863 h 4567794"/>
              <a:gd name="connsiteX1235" fmla="*/ 2304566 w 9972838"/>
              <a:gd name="connsiteY1235" fmla="*/ 3770957 h 4567794"/>
              <a:gd name="connsiteX1236" fmla="*/ 2423914 w 9972838"/>
              <a:gd name="connsiteY1236" fmla="*/ 3815667 h 4567794"/>
              <a:gd name="connsiteX1237" fmla="*/ 2438833 w 9972838"/>
              <a:gd name="connsiteY1237" fmla="*/ 3845475 h 4567794"/>
              <a:gd name="connsiteX1238" fmla="*/ 2394074 w 9972838"/>
              <a:gd name="connsiteY1238" fmla="*/ 3860376 h 4567794"/>
              <a:gd name="connsiteX1239" fmla="*/ 2349319 w 9972838"/>
              <a:gd name="connsiteY1239" fmla="*/ 3905084 h 4567794"/>
              <a:gd name="connsiteX1240" fmla="*/ 2259807 w 9972838"/>
              <a:gd name="connsiteY1240" fmla="*/ 4009408 h 4567794"/>
              <a:gd name="connsiteX1241" fmla="*/ 2304566 w 9972838"/>
              <a:gd name="connsiteY1241" fmla="*/ 4083924 h 4567794"/>
              <a:gd name="connsiteX1242" fmla="*/ 2319481 w 9972838"/>
              <a:gd name="connsiteY1242" fmla="*/ 4098825 h 4567794"/>
              <a:gd name="connsiteX1243" fmla="*/ 2349319 w 9972838"/>
              <a:gd name="connsiteY1243" fmla="*/ 4083924 h 4567794"/>
              <a:gd name="connsiteX1244" fmla="*/ 2394074 w 9972838"/>
              <a:gd name="connsiteY1244" fmla="*/ 4024309 h 4567794"/>
              <a:gd name="connsiteX1245" fmla="*/ 2394074 w 9972838"/>
              <a:gd name="connsiteY1245" fmla="*/ 3964699 h 4567794"/>
              <a:gd name="connsiteX1246" fmla="*/ 2379159 w 9972838"/>
              <a:gd name="connsiteY1246" fmla="*/ 3934892 h 4567794"/>
              <a:gd name="connsiteX1247" fmla="*/ 2408992 w 9972838"/>
              <a:gd name="connsiteY1247" fmla="*/ 3934892 h 4567794"/>
              <a:gd name="connsiteX1248" fmla="*/ 2588017 w 9972838"/>
              <a:gd name="connsiteY1248" fmla="*/ 3919990 h 4567794"/>
              <a:gd name="connsiteX1249" fmla="*/ 2558646 w 9972838"/>
              <a:gd name="connsiteY1249" fmla="*/ 3829873 h 4567794"/>
              <a:gd name="connsiteX1250" fmla="*/ 2558909 w 9972838"/>
              <a:gd name="connsiteY1250" fmla="*/ 3829677 h 4567794"/>
              <a:gd name="connsiteX1251" fmla="*/ 2543484 w 9972838"/>
              <a:gd name="connsiteY1251" fmla="*/ 3831958 h 4567794"/>
              <a:gd name="connsiteX1252" fmla="*/ 2438849 w 9972838"/>
              <a:gd name="connsiteY1252" fmla="*/ 3791353 h 4567794"/>
              <a:gd name="connsiteX1253" fmla="*/ 2391529 w 9972838"/>
              <a:gd name="connsiteY1253" fmla="*/ 3758521 h 4567794"/>
              <a:gd name="connsiteX1254" fmla="*/ 2363334 w 9972838"/>
              <a:gd name="connsiteY1254" fmla="*/ 3748961 h 4567794"/>
              <a:gd name="connsiteX1255" fmla="*/ 2357339 w 9972838"/>
              <a:gd name="connsiteY1255" fmla="*/ 3751835 h 4567794"/>
              <a:gd name="connsiteX1256" fmla="*/ 2305388 w 9972838"/>
              <a:gd name="connsiteY1256" fmla="*/ 3741322 h 4567794"/>
              <a:gd name="connsiteX1257" fmla="*/ 2305392 w 9972838"/>
              <a:gd name="connsiteY1257" fmla="*/ 3741318 h 4567794"/>
              <a:gd name="connsiteX1258" fmla="*/ 2305388 w 9972838"/>
              <a:gd name="connsiteY1258" fmla="*/ 3741318 h 4567794"/>
              <a:gd name="connsiteX1259" fmla="*/ 2303806 w 9972838"/>
              <a:gd name="connsiteY1259" fmla="*/ 3731276 h 4567794"/>
              <a:gd name="connsiteX1260" fmla="*/ 2285700 w 9972838"/>
              <a:gd name="connsiteY1260" fmla="*/ 3726386 h 4567794"/>
              <a:gd name="connsiteX1261" fmla="*/ 2229989 w 9972838"/>
              <a:gd name="connsiteY1261" fmla="*/ 3701935 h 4567794"/>
              <a:gd name="connsiteX1262" fmla="*/ 2080804 w 9972838"/>
              <a:gd name="connsiteY1262" fmla="*/ 3612518 h 4567794"/>
              <a:gd name="connsiteX1263" fmla="*/ 2095722 w 9972838"/>
              <a:gd name="connsiteY1263" fmla="*/ 3433682 h 4567794"/>
              <a:gd name="connsiteX1264" fmla="*/ 2102721 w 9972838"/>
              <a:gd name="connsiteY1264" fmla="*/ 3419698 h 4567794"/>
              <a:gd name="connsiteX1265" fmla="*/ 2091479 w 9972838"/>
              <a:gd name="connsiteY1265" fmla="*/ 3412106 h 4567794"/>
              <a:gd name="connsiteX1266" fmla="*/ 2044161 w 9972838"/>
              <a:gd name="connsiteY1266" fmla="*/ 3379274 h 4567794"/>
              <a:gd name="connsiteX1267" fmla="*/ 2004148 w 9972838"/>
              <a:gd name="connsiteY1267" fmla="*/ 3365710 h 4567794"/>
              <a:gd name="connsiteX1268" fmla="*/ 1922291 w 9972838"/>
              <a:gd name="connsiteY1268" fmla="*/ 3469079 h 4567794"/>
              <a:gd name="connsiteX1269" fmla="*/ 1812265 w 9972838"/>
              <a:gd name="connsiteY1269" fmla="*/ 3582715 h 4567794"/>
              <a:gd name="connsiteX1270" fmla="*/ 1692919 w 9972838"/>
              <a:gd name="connsiteY1270" fmla="*/ 3687034 h 4567794"/>
              <a:gd name="connsiteX1271" fmla="*/ 1469139 w 9972838"/>
              <a:gd name="connsiteY1271" fmla="*/ 3672132 h 4567794"/>
              <a:gd name="connsiteX1272" fmla="*/ 1290115 w 9972838"/>
              <a:gd name="connsiteY1272" fmla="*/ 3612518 h 4567794"/>
              <a:gd name="connsiteX1273" fmla="*/ 1185684 w 9972838"/>
              <a:gd name="connsiteY1273" fmla="*/ 3403880 h 4567794"/>
              <a:gd name="connsiteX1274" fmla="*/ 1202241 w 9972838"/>
              <a:gd name="connsiteY1274" fmla="*/ 3331706 h 4567794"/>
              <a:gd name="connsiteX1275" fmla="*/ 1171421 w 9972838"/>
              <a:gd name="connsiteY1275" fmla="*/ 3322458 h 4567794"/>
              <a:gd name="connsiteX1276" fmla="*/ 1121771 w 9972838"/>
              <a:gd name="connsiteY1276" fmla="*/ 3292885 h 4567794"/>
              <a:gd name="connsiteX1277" fmla="*/ 942746 w 9972838"/>
              <a:gd name="connsiteY1277" fmla="*/ 3233271 h 4567794"/>
              <a:gd name="connsiteX1278" fmla="*/ 845775 w 9972838"/>
              <a:gd name="connsiteY1278" fmla="*/ 3151306 h 4567794"/>
              <a:gd name="connsiteX1279" fmla="*/ 844660 w 9972838"/>
              <a:gd name="connsiteY1279" fmla="*/ 3147455 h 4567794"/>
              <a:gd name="connsiteX1280" fmla="*/ 827394 w 9972838"/>
              <a:gd name="connsiteY1280" fmla="*/ 3148199 h 4567794"/>
              <a:gd name="connsiteX1281" fmla="*/ 721100 w 9972838"/>
              <a:gd name="connsiteY1281" fmla="*/ 3101628 h 4567794"/>
              <a:gd name="connsiteX1282" fmla="*/ 542075 w 9972838"/>
              <a:gd name="connsiteY1282" fmla="*/ 3042014 h 4567794"/>
              <a:gd name="connsiteX1283" fmla="*/ 437642 w 9972838"/>
              <a:gd name="connsiteY1283" fmla="*/ 2833377 h 4567794"/>
              <a:gd name="connsiteX1284" fmla="*/ 458157 w 9972838"/>
              <a:gd name="connsiteY1284" fmla="*/ 2743957 h 4567794"/>
              <a:gd name="connsiteX1285" fmla="*/ 458462 w 9972838"/>
              <a:gd name="connsiteY1285" fmla="*/ 2741032 h 4567794"/>
              <a:gd name="connsiteX1286" fmla="*/ 458399 w 9972838"/>
              <a:gd name="connsiteY1286" fmla="*/ 2741056 h 4567794"/>
              <a:gd name="connsiteX1287" fmla="*/ 292663 w 9972838"/>
              <a:gd name="connsiteY1287" fmla="*/ 2697046 h 4567794"/>
              <a:gd name="connsiteX1288" fmla="*/ 113637 w 9972838"/>
              <a:gd name="connsiteY1288" fmla="*/ 2637433 h 4567794"/>
              <a:gd name="connsiteX1289" fmla="*/ 9205 w 9972838"/>
              <a:gd name="connsiteY1289" fmla="*/ 2428795 h 4567794"/>
              <a:gd name="connsiteX1290" fmla="*/ 39045 w 9972838"/>
              <a:gd name="connsiteY1290" fmla="*/ 2249954 h 4567794"/>
              <a:gd name="connsiteX1291" fmla="*/ 83803 w 9972838"/>
              <a:gd name="connsiteY1291" fmla="*/ 2190344 h 4567794"/>
              <a:gd name="connsiteX1292" fmla="*/ 128557 w 9972838"/>
              <a:gd name="connsiteY1292" fmla="*/ 2145636 h 4567794"/>
              <a:gd name="connsiteX1293" fmla="*/ 143477 w 9972838"/>
              <a:gd name="connsiteY1293" fmla="*/ 2130735 h 4567794"/>
              <a:gd name="connsiteX1294" fmla="*/ 158397 w 9972838"/>
              <a:gd name="connsiteY1294" fmla="*/ 2115829 h 4567794"/>
              <a:gd name="connsiteX1295" fmla="*/ 277743 w 9972838"/>
              <a:gd name="connsiteY1295" fmla="*/ 2160537 h 4567794"/>
              <a:gd name="connsiteX1296" fmla="*/ 292663 w 9972838"/>
              <a:gd name="connsiteY1296" fmla="*/ 2190344 h 4567794"/>
              <a:gd name="connsiteX1297" fmla="*/ 247904 w 9972838"/>
              <a:gd name="connsiteY1297" fmla="*/ 2205246 h 4567794"/>
              <a:gd name="connsiteX1298" fmla="*/ 203150 w 9972838"/>
              <a:gd name="connsiteY1298" fmla="*/ 2249954 h 4567794"/>
              <a:gd name="connsiteX1299" fmla="*/ 113637 w 9972838"/>
              <a:gd name="connsiteY1299" fmla="*/ 2354279 h 4567794"/>
              <a:gd name="connsiteX1300" fmla="*/ 158397 w 9972838"/>
              <a:gd name="connsiteY1300" fmla="*/ 2428795 h 4567794"/>
              <a:gd name="connsiteX1301" fmla="*/ 173311 w 9972838"/>
              <a:gd name="connsiteY1301" fmla="*/ 2443696 h 4567794"/>
              <a:gd name="connsiteX1302" fmla="*/ 203150 w 9972838"/>
              <a:gd name="connsiteY1302" fmla="*/ 2428795 h 4567794"/>
              <a:gd name="connsiteX1303" fmla="*/ 247904 w 9972838"/>
              <a:gd name="connsiteY1303" fmla="*/ 2369180 h 4567794"/>
              <a:gd name="connsiteX1304" fmla="*/ 247904 w 9972838"/>
              <a:gd name="connsiteY1304" fmla="*/ 2309569 h 4567794"/>
              <a:gd name="connsiteX1305" fmla="*/ 232989 w 9972838"/>
              <a:gd name="connsiteY1305" fmla="*/ 2279762 h 4567794"/>
              <a:gd name="connsiteX1306" fmla="*/ 262824 w 9972838"/>
              <a:gd name="connsiteY1306" fmla="*/ 2279762 h 4567794"/>
              <a:gd name="connsiteX1307" fmla="*/ 441849 w 9972838"/>
              <a:gd name="connsiteY1307" fmla="*/ 2264861 h 4567794"/>
              <a:gd name="connsiteX1308" fmla="*/ 471683 w 9972838"/>
              <a:gd name="connsiteY1308" fmla="*/ 2130735 h 4567794"/>
              <a:gd name="connsiteX1309" fmla="*/ 456768 w 9972838"/>
              <a:gd name="connsiteY1309" fmla="*/ 2041317 h 4567794"/>
              <a:gd name="connsiteX1310" fmla="*/ 501522 w 9972838"/>
              <a:gd name="connsiteY1310" fmla="*/ 1996608 h 4567794"/>
              <a:gd name="connsiteX1311" fmla="*/ 397090 w 9972838"/>
              <a:gd name="connsiteY1311" fmla="*/ 1936994 h 4567794"/>
              <a:gd name="connsiteX1312" fmla="*/ 456768 w 9972838"/>
              <a:gd name="connsiteY1312" fmla="*/ 1877383 h 4567794"/>
              <a:gd name="connsiteX1313" fmla="*/ 337416 w 9972838"/>
              <a:gd name="connsiteY1313" fmla="*/ 1877383 h 4567794"/>
              <a:gd name="connsiteX1314" fmla="*/ 322497 w 9972838"/>
              <a:gd name="connsiteY1314" fmla="*/ 1877383 h 4567794"/>
              <a:gd name="connsiteX1315" fmla="*/ 322497 w 9972838"/>
              <a:gd name="connsiteY1315" fmla="*/ 1847576 h 4567794"/>
              <a:gd name="connsiteX1316" fmla="*/ 412009 w 9972838"/>
              <a:gd name="connsiteY1316" fmla="*/ 1832674 h 4567794"/>
              <a:gd name="connsiteX1317" fmla="*/ 486603 w 9972838"/>
              <a:gd name="connsiteY1317" fmla="*/ 1817773 h 4567794"/>
              <a:gd name="connsiteX1318" fmla="*/ 533223 w 9972838"/>
              <a:gd name="connsiteY1318" fmla="*/ 1799141 h 4567794"/>
              <a:gd name="connsiteX1319" fmla="*/ 545634 w 9972838"/>
              <a:gd name="connsiteY1319" fmla="*/ 1845189 h 4567794"/>
              <a:gd name="connsiteX1320" fmla="*/ 546366 w 9972838"/>
              <a:gd name="connsiteY1320" fmla="*/ 1844560 h 4567794"/>
              <a:gd name="connsiteX1321" fmla="*/ 560720 w 9972838"/>
              <a:gd name="connsiteY1321" fmla="*/ 1859941 h 4567794"/>
              <a:gd name="connsiteX1322" fmla="*/ 561575 w 9972838"/>
              <a:gd name="connsiteY1322" fmla="*/ 1862283 h 4567794"/>
              <a:gd name="connsiteX1323" fmla="*/ 619006 w 9972838"/>
              <a:gd name="connsiteY1323" fmla="*/ 1832674 h 4567794"/>
              <a:gd name="connsiteX1324" fmla="*/ 665628 w 9972838"/>
              <a:gd name="connsiteY1324" fmla="*/ 1713450 h 4567794"/>
              <a:gd name="connsiteX1325" fmla="*/ 546276 w 9972838"/>
              <a:gd name="connsiteY1325" fmla="*/ 1728355 h 4567794"/>
              <a:gd name="connsiteX1326" fmla="*/ 680547 w 9972838"/>
              <a:gd name="connsiteY1326" fmla="*/ 1638933 h 4567794"/>
              <a:gd name="connsiteX1327" fmla="*/ 710381 w 9972838"/>
              <a:gd name="connsiteY1327" fmla="*/ 1624031 h 4567794"/>
              <a:gd name="connsiteX1328" fmla="*/ 680547 w 9972838"/>
              <a:gd name="connsiteY1328" fmla="*/ 1609130 h 4567794"/>
              <a:gd name="connsiteX1329" fmla="*/ 635789 w 9972838"/>
              <a:gd name="connsiteY1329" fmla="*/ 1624031 h 4567794"/>
              <a:gd name="connsiteX1330" fmla="*/ 591034 w 9972838"/>
              <a:gd name="connsiteY1330" fmla="*/ 1594224 h 4567794"/>
              <a:gd name="connsiteX1331" fmla="*/ 605954 w 9972838"/>
              <a:gd name="connsiteY1331" fmla="*/ 1579323 h 4567794"/>
              <a:gd name="connsiteX1332" fmla="*/ 620869 w 9972838"/>
              <a:gd name="connsiteY1332" fmla="*/ 1534614 h 4567794"/>
              <a:gd name="connsiteX1333" fmla="*/ 576115 w 9972838"/>
              <a:gd name="connsiteY1333" fmla="*/ 1549516 h 4567794"/>
              <a:gd name="connsiteX1334" fmla="*/ 561195 w 9972838"/>
              <a:gd name="connsiteY1334" fmla="*/ 1549516 h 4567794"/>
              <a:gd name="connsiteX1335" fmla="*/ 859568 w 9972838"/>
              <a:gd name="connsiteY1335" fmla="*/ 1042818 h 4567794"/>
              <a:gd name="connsiteX1336" fmla="*/ 1008754 w 9972838"/>
              <a:gd name="connsiteY1336" fmla="*/ 834175 h 4567794"/>
              <a:gd name="connsiteX1337" fmla="*/ 1157939 w 9972838"/>
              <a:gd name="connsiteY1337" fmla="*/ 774564 h 4567794"/>
              <a:gd name="connsiteX1338" fmla="*/ 1346756 w 9972838"/>
              <a:gd name="connsiteY1338" fmla="*/ 847917 h 4567794"/>
              <a:gd name="connsiteX1339" fmla="*/ 1360877 w 9972838"/>
              <a:gd name="connsiteY1339" fmla="*/ 851418 h 4567794"/>
              <a:gd name="connsiteX1340" fmla="*/ 1376476 w 9972838"/>
              <a:gd name="connsiteY1340" fmla="*/ 800919 h 4567794"/>
              <a:gd name="connsiteX1341" fmla="*/ 1630325 w 9972838"/>
              <a:gd name="connsiteY1341" fmla="*/ 438359 h 4567794"/>
              <a:gd name="connsiteX1342" fmla="*/ 1779512 w 9972838"/>
              <a:gd name="connsiteY1342" fmla="*/ 229717 h 4567794"/>
              <a:gd name="connsiteX1343" fmla="*/ 1928697 w 9972838"/>
              <a:gd name="connsiteY1343" fmla="*/ 170105 h 4567794"/>
              <a:gd name="connsiteX1344" fmla="*/ 2182315 w 9972838"/>
              <a:gd name="connsiteY1344" fmla="*/ 259525 h 4567794"/>
              <a:gd name="connsiteX1345" fmla="*/ 2197235 w 9972838"/>
              <a:gd name="connsiteY1345" fmla="*/ 393650 h 4567794"/>
              <a:gd name="connsiteX1346" fmla="*/ 2061211 w 9972838"/>
              <a:gd name="connsiteY1346" fmla="*/ 604857 h 4567794"/>
              <a:gd name="connsiteX1347" fmla="*/ 2063084 w 9972838"/>
              <a:gd name="connsiteY1347" fmla="*/ 604578 h 4567794"/>
              <a:gd name="connsiteX1348" fmla="*/ 2082898 w 9972838"/>
              <a:gd name="connsiteY1348" fmla="*/ 610631 h 4567794"/>
              <a:gd name="connsiteX1349" fmla="*/ 2217166 w 9972838"/>
              <a:gd name="connsiteY1349" fmla="*/ 671410 h 4567794"/>
              <a:gd name="connsiteX1350" fmla="*/ 2244257 w 9972838"/>
              <a:gd name="connsiteY1350" fmla="*/ 710947 h 4567794"/>
              <a:gd name="connsiteX1351" fmla="*/ 2247353 w 9972838"/>
              <a:gd name="connsiteY1351" fmla="*/ 703118 h 4567794"/>
              <a:gd name="connsiteX1352" fmla="*/ 2256908 w 9972838"/>
              <a:gd name="connsiteY1352" fmla="*/ 676804 h 4567794"/>
              <a:gd name="connsiteX1353" fmla="*/ 2361340 w 9972838"/>
              <a:gd name="connsiteY1353" fmla="*/ 542678 h 4567794"/>
              <a:gd name="connsiteX1354" fmla="*/ 2480692 w 9972838"/>
              <a:gd name="connsiteY1354" fmla="*/ 393650 h 4567794"/>
              <a:gd name="connsiteX1355" fmla="*/ 2555285 w 9972838"/>
              <a:gd name="connsiteY1355" fmla="*/ 274424 h 4567794"/>
              <a:gd name="connsiteX1356" fmla="*/ 2793979 w 9972838"/>
              <a:gd name="connsiteY1356" fmla="*/ 21079 h 4567794"/>
              <a:gd name="connsiteX1357" fmla="*/ 2818225 w 9972838"/>
              <a:gd name="connsiteY1357" fmla="*/ 2447 h 4567794"/>
              <a:gd name="connsiteX1358" fmla="*/ 2833842 w 9972838"/>
              <a:gd name="connsiteY1358" fmla="*/ 119 h 456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Lst>
            <a:rect l="l" t="t" r="r" b="b"/>
            <a:pathLst>
              <a:path w="9972838" h="4567794">
                <a:moveTo>
                  <a:pt x="6297620" y="4196232"/>
                </a:moveTo>
                <a:lnTo>
                  <a:pt x="6305057" y="4203050"/>
                </a:lnTo>
                <a:lnTo>
                  <a:pt x="6302652" y="4203050"/>
                </a:lnTo>
                <a:lnTo>
                  <a:pt x="6302756" y="4203144"/>
                </a:lnTo>
                <a:lnTo>
                  <a:pt x="6287837" y="4203144"/>
                </a:lnTo>
                <a:lnTo>
                  <a:pt x="6295337" y="4196354"/>
                </a:lnTo>
                <a:lnTo>
                  <a:pt x="6296408" y="4197335"/>
                </a:lnTo>
                <a:close/>
                <a:moveTo>
                  <a:pt x="7024299" y="4174346"/>
                </a:moveTo>
                <a:cubicBezTo>
                  <a:pt x="6964268" y="4234059"/>
                  <a:pt x="7039303" y="4323631"/>
                  <a:pt x="6979278" y="4383345"/>
                </a:cubicBezTo>
                <a:cubicBezTo>
                  <a:pt x="6964268" y="4398273"/>
                  <a:pt x="6979278" y="4413202"/>
                  <a:pt x="6994283" y="4413202"/>
                </a:cubicBezTo>
                <a:cubicBezTo>
                  <a:pt x="7009289" y="4398273"/>
                  <a:pt x="7024299" y="4398273"/>
                  <a:pt x="7009289" y="4428130"/>
                </a:cubicBezTo>
                <a:cubicBezTo>
                  <a:pt x="6994283" y="4428130"/>
                  <a:pt x="6979278" y="4443058"/>
                  <a:pt x="7009289" y="4457988"/>
                </a:cubicBezTo>
                <a:cubicBezTo>
                  <a:pt x="7024299" y="4457988"/>
                  <a:pt x="7039303" y="4457988"/>
                  <a:pt x="7054309" y="4443058"/>
                </a:cubicBezTo>
                <a:cubicBezTo>
                  <a:pt x="7054309" y="4443058"/>
                  <a:pt x="7039303" y="4398273"/>
                  <a:pt x="7069319" y="4428130"/>
                </a:cubicBezTo>
                <a:cubicBezTo>
                  <a:pt x="7099331" y="4428130"/>
                  <a:pt x="7084325" y="4457988"/>
                  <a:pt x="7084325" y="4472917"/>
                </a:cubicBezTo>
                <a:cubicBezTo>
                  <a:pt x="7039303" y="4517702"/>
                  <a:pt x="6994283" y="4547559"/>
                  <a:pt x="6934257" y="4517702"/>
                </a:cubicBezTo>
                <a:cubicBezTo>
                  <a:pt x="6844215" y="4457988"/>
                  <a:pt x="6739165" y="4443058"/>
                  <a:pt x="6649123" y="4383345"/>
                </a:cubicBezTo>
                <a:cubicBezTo>
                  <a:pt x="6619112" y="4368416"/>
                  <a:pt x="6604103" y="4353487"/>
                  <a:pt x="6604103" y="4308703"/>
                </a:cubicBezTo>
                <a:cubicBezTo>
                  <a:pt x="6679139" y="4338560"/>
                  <a:pt x="6739165" y="4323631"/>
                  <a:pt x="6784185" y="4263917"/>
                </a:cubicBezTo>
                <a:cubicBezTo>
                  <a:pt x="6799195" y="4248988"/>
                  <a:pt x="6829206" y="4263917"/>
                  <a:pt x="6844215" y="4263917"/>
                </a:cubicBezTo>
                <a:cubicBezTo>
                  <a:pt x="6859221" y="4248988"/>
                  <a:pt x="6814201" y="4248988"/>
                  <a:pt x="6829206" y="4219131"/>
                </a:cubicBezTo>
                <a:cubicBezTo>
                  <a:pt x="6904242" y="4263917"/>
                  <a:pt x="6949263" y="4189274"/>
                  <a:pt x="7024299" y="4174346"/>
                </a:cubicBezTo>
                <a:close/>
                <a:moveTo>
                  <a:pt x="6394773" y="4023622"/>
                </a:moveTo>
                <a:cubicBezTo>
                  <a:pt x="6409725" y="4075959"/>
                  <a:pt x="6394773" y="4105860"/>
                  <a:pt x="6370472" y="4130157"/>
                </a:cubicBezTo>
                <a:lnTo>
                  <a:pt x="6297620" y="4196232"/>
                </a:lnTo>
                <a:lnTo>
                  <a:pt x="6296548" y="4195250"/>
                </a:lnTo>
                <a:lnTo>
                  <a:pt x="6295337" y="4196354"/>
                </a:lnTo>
                <a:lnTo>
                  <a:pt x="6280377" y="4182655"/>
                </a:lnTo>
                <a:cubicBezTo>
                  <a:pt x="6269187" y="4180792"/>
                  <a:pt x="6257998" y="4180792"/>
                  <a:pt x="6257998" y="4173342"/>
                </a:cubicBezTo>
                <a:cubicBezTo>
                  <a:pt x="6265457" y="4158436"/>
                  <a:pt x="6272917" y="4154710"/>
                  <a:pt x="6280377" y="4154710"/>
                </a:cubicBezTo>
                <a:lnTo>
                  <a:pt x="6281996" y="4154982"/>
                </a:lnTo>
                <a:lnTo>
                  <a:pt x="6282627" y="4154458"/>
                </a:lnTo>
                <a:lnTo>
                  <a:pt x="6303044" y="4157857"/>
                </a:lnTo>
                <a:lnTo>
                  <a:pt x="6317671" y="4128633"/>
                </a:lnTo>
                <a:cubicBezTo>
                  <a:pt x="6280377" y="4098825"/>
                  <a:pt x="6284106" y="4087649"/>
                  <a:pt x="6300889" y="4082062"/>
                </a:cubicBezTo>
                <a:lnTo>
                  <a:pt x="6303190" y="4081572"/>
                </a:lnTo>
                <a:lnTo>
                  <a:pt x="6303186" y="4081564"/>
                </a:lnTo>
                <a:lnTo>
                  <a:pt x="6362429" y="4068995"/>
                </a:lnTo>
                <a:lnTo>
                  <a:pt x="6366159" y="4041078"/>
                </a:lnTo>
                <a:cubicBezTo>
                  <a:pt x="6369888" y="4031765"/>
                  <a:pt x="6377345" y="4024309"/>
                  <a:pt x="6392264" y="4024309"/>
                </a:cubicBezTo>
                <a:lnTo>
                  <a:pt x="6392019" y="4025394"/>
                </a:lnTo>
                <a:close/>
                <a:moveTo>
                  <a:pt x="5139957" y="3850985"/>
                </a:moveTo>
                <a:cubicBezTo>
                  <a:pt x="5154311" y="3849064"/>
                  <a:pt x="5168665" y="3852911"/>
                  <a:pt x="5183020" y="3875978"/>
                </a:cubicBezTo>
                <a:cubicBezTo>
                  <a:pt x="5183020" y="3875978"/>
                  <a:pt x="5183020" y="3875978"/>
                  <a:pt x="5183020" y="3891359"/>
                </a:cubicBezTo>
                <a:cubicBezTo>
                  <a:pt x="5168665" y="3906734"/>
                  <a:pt x="5154311" y="3891359"/>
                  <a:pt x="5154311" y="3891359"/>
                </a:cubicBezTo>
                <a:cubicBezTo>
                  <a:pt x="5125602" y="3891359"/>
                  <a:pt x="5111248" y="3937497"/>
                  <a:pt x="5082541" y="3891359"/>
                </a:cubicBezTo>
                <a:cubicBezTo>
                  <a:pt x="5082541" y="3875978"/>
                  <a:pt x="5082541" y="3875978"/>
                  <a:pt x="5096895" y="3860597"/>
                </a:cubicBezTo>
                <a:cubicBezTo>
                  <a:pt x="5111248" y="3860597"/>
                  <a:pt x="5125602" y="3852911"/>
                  <a:pt x="5139957" y="3850985"/>
                </a:cubicBezTo>
                <a:close/>
                <a:moveTo>
                  <a:pt x="4751996" y="3673039"/>
                </a:moveTo>
                <a:lnTo>
                  <a:pt x="4704240" y="3707117"/>
                </a:lnTo>
                <a:cubicBezTo>
                  <a:pt x="4698646" y="3712704"/>
                  <a:pt x="4692819" y="3716663"/>
                  <a:pt x="4686816" y="3719282"/>
                </a:cubicBezTo>
                <a:lnTo>
                  <a:pt x="4671571" y="3722694"/>
                </a:lnTo>
                <a:lnTo>
                  <a:pt x="4646786" y="3756056"/>
                </a:lnTo>
                <a:cubicBezTo>
                  <a:pt x="4587113" y="3830573"/>
                  <a:pt x="4557273" y="3919990"/>
                  <a:pt x="4512519" y="3994506"/>
                </a:cubicBezTo>
                <a:cubicBezTo>
                  <a:pt x="4467767" y="4069018"/>
                  <a:pt x="4437927" y="4158436"/>
                  <a:pt x="4393172" y="4232952"/>
                </a:cubicBezTo>
                <a:cubicBezTo>
                  <a:pt x="4408087" y="4232952"/>
                  <a:pt x="4423008" y="4232952"/>
                  <a:pt x="4423008" y="4232952"/>
                </a:cubicBezTo>
                <a:cubicBezTo>
                  <a:pt x="4482681" y="4218050"/>
                  <a:pt x="4512519" y="4158436"/>
                  <a:pt x="4542359" y="4113727"/>
                </a:cubicBezTo>
                <a:cubicBezTo>
                  <a:pt x="4572194" y="4098825"/>
                  <a:pt x="4572194" y="4054117"/>
                  <a:pt x="4616951" y="4098825"/>
                </a:cubicBezTo>
                <a:cubicBezTo>
                  <a:pt x="4616951" y="4098825"/>
                  <a:pt x="4646786" y="4083924"/>
                  <a:pt x="4646786" y="4069018"/>
                </a:cubicBezTo>
                <a:cubicBezTo>
                  <a:pt x="4661706" y="4039216"/>
                  <a:pt x="4602033" y="4054117"/>
                  <a:pt x="4616951" y="4024309"/>
                </a:cubicBezTo>
                <a:cubicBezTo>
                  <a:pt x="4691545" y="4024309"/>
                  <a:pt x="4706459" y="3964699"/>
                  <a:pt x="4736298" y="3919990"/>
                </a:cubicBezTo>
                <a:cubicBezTo>
                  <a:pt x="4736298" y="3905084"/>
                  <a:pt x="4751218" y="3890182"/>
                  <a:pt x="4751218" y="3875281"/>
                </a:cubicBezTo>
                <a:cubicBezTo>
                  <a:pt x="4825811" y="3860376"/>
                  <a:pt x="4855650" y="3800765"/>
                  <a:pt x="4885484" y="3741156"/>
                </a:cubicBezTo>
                <a:lnTo>
                  <a:pt x="4899254" y="3725782"/>
                </a:lnTo>
                <a:lnTo>
                  <a:pt x="4878045" y="3714976"/>
                </a:lnTo>
                <a:cubicBezTo>
                  <a:pt x="4863126" y="3705661"/>
                  <a:pt x="4848208" y="3694484"/>
                  <a:pt x="4825828" y="3687034"/>
                </a:cubicBezTo>
                <a:cubicBezTo>
                  <a:pt x="4799723" y="3687034"/>
                  <a:pt x="4775480" y="3682377"/>
                  <a:pt x="4753568" y="3673994"/>
                </a:cubicBezTo>
                <a:close/>
                <a:moveTo>
                  <a:pt x="5636716" y="3651979"/>
                </a:moveTo>
                <a:lnTo>
                  <a:pt x="5614274" y="3677309"/>
                </a:lnTo>
                <a:cubicBezTo>
                  <a:pt x="5558330" y="3733196"/>
                  <a:pt x="5519170" y="3755549"/>
                  <a:pt x="5477911" y="3738086"/>
                </a:cubicBezTo>
                <a:lnTo>
                  <a:pt x="5439439" y="3710154"/>
                </a:lnTo>
                <a:lnTo>
                  <a:pt x="5347962" y="3875281"/>
                </a:lnTo>
                <a:cubicBezTo>
                  <a:pt x="5318122" y="3905084"/>
                  <a:pt x="5258449" y="3949794"/>
                  <a:pt x="5303208" y="4024309"/>
                </a:cubicBezTo>
                <a:cubicBezTo>
                  <a:pt x="5318122" y="4039216"/>
                  <a:pt x="5288289" y="4024309"/>
                  <a:pt x="5288289" y="4024309"/>
                </a:cubicBezTo>
                <a:cubicBezTo>
                  <a:pt x="5258449" y="4039216"/>
                  <a:pt x="5243530" y="4054117"/>
                  <a:pt x="5243530" y="4069018"/>
                </a:cubicBezTo>
                <a:cubicBezTo>
                  <a:pt x="5198775" y="4158436"/>
                  <a:pt x="5213695" y="4188243"/>
                  <a:pt x="5333043" y="4173342"/>
                </a:cubicBezTo>
                <a:cubicBezTo>
                  <a:pt x="5228614" y="4188243"/>
                  <a:pt x="5213695" y="4277661"/>
                  <a:pt x="5168938" y="4337271"/>
                </a:cubicBezTo>
                <a:cubicBezTo>
                  <a:pt x="5183857" y="4352176"/>
                  <a:pt x="5183857" y="4352176"/>
                  <a:pt x="5183857" y="4352176"/>
                </a:cubicBezTo>
                <a:cubicBezTo>
                  <a:pt x="5228614" y="4322369"/>
                  <a:pt x="5288289" y="4292562"/>
                  <a:pt x="5362882" y="4322369"/>
                </a:cubicBezTo>
                <a:cubicBezTo>
                  <a:pt x="5318122" y="4277661"/>
                  <a:pt x="5318122" y="4247854"/>
                  <a:pt x="5347962" y="4218050"/>
                </a:cubicBezTo>
                <a:cubicBezTo>
                  <a:pt x="5392719" y="4203144"/>
                  <a:pt x="5377800" y="4158436"/>
                  <a:pt x="5422555" y="4128633"/>
                </a:cubicBezTo>
                <a:cubicBezTo>
                  <a:pt x="5437475" y="4128633"/>
                  <a:pt x="5437475" y="4173342"/>
                  <a:pt x="5452394" y="4158436"/>
                </a:cubicBezTo>
                <a:cubicBezTo>
                  <a:pt x="5482228" y="4143535"/>
                  <a:pt x="5512066" y="4143535"/>
                  <a:pt x="5526986" y="4098825"/>
                </a:cubicBezTo>
                <a:cubicBezTo>
                  <a:pt x="5541907" y="4054117"/>
                  <a:pt x="5556821" y="4009408"/>
                  <a:pt x="5616500" y="3994506"/>
                </a:cubicBezTo>
                <a:cubicBezTo>
                  <a:pt x="5631413" y="3994506"/>
                  <a:pt x="5646334" y="3964699"/>
                  <a:pt x="5646334" y="3949794"/>
                </a:cubicBezTo>
                <a:cubicBezTo>
                  <a:pt x="5676173" y="3905084"/>
                  <a:pt x="5661254" y="3845475"/>
                  <a:pt x="5735846" y="3845475"/>
                </a:cubicBezTo>
                <a:cubicBezTo>
                  <a:pt x="5728386" y="3808217"/>
                  <a:pt x="5747035" y="3778410"/>
                  <a:pt x="5765683" y="3752330"/>
                </a:cubicBezTo>
                <a:lnTo>
                  <a:pt x="5768123" y="3748696"/>
                </a:lnTo>
                <a:lnTo>
                  <a:pt x="5749308" y="3741088"/>
                </a:lnTo>
                <a:cubicBezTo>
                  <a:pt x="5725390" y="3730359"/>
                  <a:pt x="5701942" y="3718230"/>
                  <a:pt x="5679431" y="3703301"/>
                </a:cubicBezTo>
                <a:cubicBezTo>
                  <a:pt x="5656923" y="3692104"/>
                  <a:pt x="5642853" y="3680907"/>
                  <a:pt x="5637225" y="3657115"/>
                </a:cubicBezTo>
                <a:close/>
                <a:moveTo>
                  <a:pt x="3749343" y="3638187"/>
                </a:moveTo>
                <a:lnTo>
                  <a:pt x="3705049" y="3707621"/>
                </a:lnTo>
                <a:cubicBezTo>
                  <a:pt x="3669618" y="3774684"/>
                  <a:pt x="3639781" y="3845475"/>
                  <a:pt x="3617403" y="3919990"/>
                </a:cubicBezTo>
                <a:cubicBezTo>
                  <a:pt x="3602484" y="3979601"/>
                  <a:pt x="3572646" y="4009408"/>
                  <a:pt x="3557727" y="4069018"/>
                </a:cubicBezTo>
                <a:cubicBezTo>
                  <a:pt x="3542811" y="4128633"/>
                  <a:pt x="3557727" y="4188243"/>
                  <a:pt x="3557727" y="4232952"/>
                </a:cubicBezTo>
                <a:cubicBezTo>
                  <a:pt x="3572646" y="4292562"/>
                  <a:pt x="3647237" y="4277661"/>
                  <a:pt x="3677076" y="4262759"/>
                </a:cubicBezTo>
                <a:cubicBezTo>
                  <a:pt x="3721832" y="4247854"/>
                  <a:pt x="3781505" y="4218050"/>
                  <a:pt x="3766591" y="4143535"/>
                </a:cubicBezTo>
                <a:cubicBezTo>
                  <a:pt x="3751670" y="4113727"/>
                  <a:pt x="3766591" y="4083924"/>
                  <a:pt x="3796424" y="4098825"/>
                </a:cubicBezTo>
                <a:cubicBezTo>
                  <a:pt x="3841183" y="4128633"/>
                  <a:pt x="3856102" y="4098825"/>
                  <a:pt x="3871017" y="4069018"/>
                </a:cubicBezTo>
                <a:cubicBezTo>
                  <a:pt x="3915775" y="4009408"/>
                  <a:pt x="3960529" y="3949794"/>
                  <a:pt x="4005288" y="3890182"/>
                </a:cubicBezTo>
                <a:cubicBezTo>
                  <a:pt x="4016476" y="3879006"/>
                  <a:pt x="4025802" y="3865966"/>
                  <a:pt x="4034426" y="3851994"/>
                </a:cubicBezTo>
                <a:lnTo>
                  <a:pt x="4052903" y="3819563"/>
                </a:lnTo>
                <a:lnTo>
                  <a:pt x="4045400" y="3813941"/>
                </a:lnTo>
                <a:cubicBezTo>
                  <a:pt x="3992253" y="3783903"/>
                  <a:pt x="3930713" y="3772726"/>
                  <a:pt x="3885957" y="3761550"/>
                </a:cubicBezTo>
                <a:cubicBezTo>
                  <a:pt x="3833742" y="3739196"/>
                  <a:pt x="3792715" y="3709390"/>
                  <a:pt x="3766608" y="3673994"/>
                </a:cubicBezTo>
                <a:close/>
                <a:moveTo>
                  <a:pt x="4220563" y="3622458"/>
                </a:moveTo>
                <a:lnTo>
                  <a:pt x="4205526" y="3646982"/>
                </a:lnTo>
                <a:lnTo>
                  <a:pt x="4206922" y="3647311"/>
                </a:lnTo>
                <a:cubicBezTo>
                  <a:pt x="4214147" y="3647078"/>
                  <a:pt x="4221608" y="3644283"/>
                  <a:pt x="4229068" y="3636832"/>
                </a:cubicBezTo>
                <a:close/>
                <a:moveTo>
                  <a:pt x="4455487" y="3617654"/>
                </a:moveTo>
                <a:lnTo>
                  <a:pt x="4417432" y="3659092"/>
                </a:lnTo>
                <a:cubicBezTo>
                  <a:pt x="4370810" y="3713115"/>
                  <a:pt x="4326054" y="3769001"/>
                  <a:pt x="4273837" y="3821161"/>
                </a:cubicBezTo>
                <a:cubicBezTo>
                  <a:pt x="4255190" y="3839789"/>
                  <a:pt x="4238406" y="3854692"/>
                  <a:pt x="4222789" y="3865637"/>
                </a:cubicBezTo>
                <a:lnTo>
                  <a:pt x="4182777" y="3884458"/>
                </a:lnTo>
                <a:lnTo>
                  <a:pt x="4176849" y="3919988"/>
                </a:lnTo>
                <a:cubicBezTo>
                  <a:pt x="4173120" y="3934892"/>
                  <a:pt x="4169389" y="3949795"/>
                  <a:pt x="4169389" y="3964699"/>
                </a:cubicBezTo>
                <a:cubicBezTo>
                  <a:pt x="4154474" y="3949794"/>
                  <a:pt x="4139554" y="3905084"/>
                  <a:pt x="4109715" y="3964699"/>
                </a:cubicBezTo>
                <a:cubicBezTo>
                  <a:pt x="4102256" y="3987051"/>
                  <a:pt x="4091066" y="4005683"/>
                  <a:pt x="4081743" y="4026172"/>
                </a:cubicBezTo>
                <a:lnTo>
                  <a:pt x="4065752" y="4095394"/>
                </a:lnTo>
                <a:lnTo>
                  <a:pt x="4070558" y="4095394"/>
                </a:lnTo>
                <a:lnTo>
                  <a:pt x="4070558" y="4102569"/>
                </a:lnTo>
                <a:lnTo>
                  <a:pt x="4063380" y="4102569"/>
                </a:lnTo>
                <a:lnTo>
                  <a:pt x="4063380" y="4099526"/>
                </a:lnTo>
                <a:lnTo>
                  <a:pt x="4014612" y="4121182"/>
                </a:lnTo>
                <a:cubicBezTo>
                  <a:pt x="4001558" y="4132358"/>
                  <a:pt x="3990369" y="4143535"/>
                  <a:pt x="3975449" y="4143535"/>
                </a:cubicBezTo>
                <a:cubicBezTo>
                  <a:pt x="3945610" y="4143535"/>
                  <a:pt x="3945610" y="4188243"/>
                  <a:pt x="3945610" y="4203144"/>
                </a:cubicBezTo>
                <a:cubicBezTo>
                  <a:pt x="3960529" y="4232952"/>
                  <a:pt x="3975449" y="4218050"/>
                  <a:pt x="3990369" y="4203144"/>
                </a:cubicBezTo>
                <a:cubicBezTo>
                  <a:pt x="3990369" y="4203144"/>
                  <a:pt x="4005288" y="4203144"/>
                  <a:pt x="4005288" y="4203144"/>
                </a:cubicBezTo>
                <a:cubicBezTo>
                  <a:pt x="4094796" y="4232952"/>
                  <a:pt x="4109715" y="4113727"/>
                  <a:pt x="4184308" y="4113727"/>
                </a:cubicBezTo>
                <a:cubicBezTo>
                  <a:pt x="4199228" y="4113727"/>
                  <a:pt x="4154474" y="4069018"/>
                  <a:pt x="4199228" y="4054117"/>
                </a:cubicBezTo>
                <a:cubicBezTo>
                  <a:pt x="4288741" y="4039216"/>
                  <a:pt x="4288741" y="3905084"/>
                  <a:pt x="4393172" y="3919990"/>
                </a:cubicBezTo>
                <a:cubicBezTo>
                  <a:pt x="4437927" y="3919990"/>
                  <a:pt x="4452848" y="3890182"/>
                  <a:pt x="4423008" y="3860376"/>
                </a:cubicBezTo>
                <a:cubicBezTo>
                  <a:pt x="4408087" y="3845475"/>
                  <a:pt x="4393172" y="3830573"/>
                  <a:pt x="4408087" y="3800765"/>
                </a:cubicBezTo>
                <a:cubicBezTo>
                  <a:pt x="4437927" y="3815667"/>
                  <a:pt x="4467767" y="3830573"/>
                  <a:pt x="4497600" y="3815667"/>
                </a:cubicBezTo>
                <a:cubicBezTo>
                  <a:pt x="4512519" y="3785863"/>
                  <a:pt x="4482681" y="3770957"/>
                  <a:pt x="4467767" y="3756056"/>
                </a:cubicBezTo>
                <a:cubicBezTo>
                  <a:pt x="4482681" y="3756056"/>
                  <a:pt x="4512519" y="3756056"/>
                  <a:pt x="4512519" y="3756056"/>
                </a:cubicBezTo>
                <a:cubicBezTo>
                  <a:pt x="4542359" y="3770957"/>
                  <a:pt x="4557273" y="3770957"/>
                  <a:pt x="4572194" y="3756056"/>
                </a:cubicBezTo>
                <a:cubicBezTo>
                  <a:pt x="4587113" y="3726249"/>
                  <a:pt x="4587113" y="3711348"/>
                  <a:pt x="4572194" y="3696446"/>
                </a:cubicBezTo>
                <a:lnTo>
                  <a:pt x="4552168" y="3675508"/>
                </a:lnTo>
                <a:lnTo>
                  <a:pt x="4465543" y="3621422"/>
                </a:lnTo>
                <a:close/>
                <a:moveTo>
                  <a:pt x="2901862" y="3585616"/>
                </a:moveTo>
                <a:lnTo>
                  <a:pt x="2886390" y="3592123"/>
                </a:lnTo>
                <a:cubicBezTo>
                  <a:pt x="2886390" y="3592123"/>
                  <a:pt x="2886390" y="3607029"/>
                  <a:pt x="2886390" y="3607029"/>
                </a:cubicBezTo>
                <a:cubicBezTo>
                  <a:pt x="2901310" y="3666638"/>
                  <a:pt x="2856551" y="3696446"/>
                  <a:pt x="2826717" y="3741156"/>
                </a:cubicBezTo>
                <a:cubicBezTo>
                  <a:pt x="2796878" y="3800765"/>
                  <a:pt x="2781958" y="3845475"/>
                  <a:pt x="2752124" y="3890182"/>
                </a:cubicBezTo>
                <a:cubicBezTo>
                  <a:pt x="2722284" y="3949794"/>
                  <a:pt x="2707365" y="4009408"/>
                  <a:pt x="2662610" y="4039216"/>
                </a:cubicBezTo>
                <a:cubicBezTo>
                  <a:pt x="2632772" y="4083924"/>
                  <a:pt x="2677531" y="4113727"/>
                  <a:pt x="2677531" y="4158436"/>
                </a:cubicBezTo>
                <a:cubicBezTo>
                  <a:pt x="2692445" y="4173342"/>
                  <a:pt x="2722284" y="4128633"/>
                  <a:pt x="2737204" y="4128633"/>
                </a:cubicBezTo>
                <a:cubicBezTo>
                  <a:pt x="2781958" y="4113727"/>
                  <a:pt x="2826717" y="4113727"/>
                  <a:pt x="2856551" y="4054117"/>
                </a:cubicBezTo>
                <a:cubicBezTo>
                  <a:pt x="2871471" y="4024309"/>
                  <a:pt x="2871471" y="4009408"/>
                  <a:pt x="2856551" y="3994506"/>
                </a:cubicBezTo>
                <a:cubicBezTo>
                  <a:pt x="2957254" y="3949795"/>
                  <a:pt x="3041171" y="3896702"/>
                  <a:pt x="3102009" y="3816365"/>
                </a:cubicBezTo>
                <a:lnTo>
                  <a:pt x="3130156" y="3768426"/>
                </a:lnTo>
                <a:lnTo>
                  <a:pt x="3125107" y="3765274"/>
                </a:lnTo>
                <a:cubicBezTo>
                  <a:pt x="3095270" y="3750371"/>
                  <a:pt x="3065434" y="3739194"/>
                  <a:pt x="3035597" y="3731743"/>
                </a:cubicBezTo>
                <a:cubicBezTo>
                  <a:pt x="2979653" y="3709387"/>
                  <a:pt x="2932097" y="3687035"/>
                  <a:pt x="2911816" y="3639531"/>
                </a:cubicBezTo>
                <a:close/>
                <a:moveTo>
                  <a:pt x="4285670" y="3538942"/>
                </a:moveTo>
                <a:lnTo>
                  <a:pt x="4285011" y="3539965"/>
                </a:lnTo>
                <a:lnTo>
                  <a:pt x="4251153" y="3571531"/>
                </a:lnTo>
                <a:lnTo>
                  <a:pt x="4239907" y="3590404"/>
                </a:lnTo>
                <a:lnTo>
                  <a:pt x="4268693" y="3585836"/>
                </a:lnTo>
                <a:cubicBezTo>
                  <a:pt x="4303657" y="3583740"/>
                  <a:pt x="4326035" y="3592123"/>
                  <a:pt x="4348414" y="3592123"/>
                </a:cubicBezTo>
                <a:lnTo>
                  <a:pt x="4361991" y="3595891"/>
                </a:lnTo>
                <a:lnTo>
                  <a:pt x="4357756" y="3584576"/>
                </a:lnTo>
                <a:lnTo>
                  <a:pt x="4358495" y="3580104"/>
                </a:lnTo>
                <a:lnTo>
                  <a:pt x="4323585" y="3564605"/>
                </a:lnTo>
                <a:close/>
                <a:moveTo>
                  <a:pt x="2586378" y="3530291"/>
                </a:moveTo>
                <a:lnTo>
                  <a:pt x="2587221" y="3541790"/>
                </a:lnTo>
                <a:lnTo>
                  <a:pt x="2602937" y="3532513"/>
                </a:lnTo>
                <a:close/>
                <a:moveTo>
                  <a:pt x="2687420" y="3484053"/>
                </a:moveTo>
                <a:lnTo>
                  <a:pt x="2691803" y="3500318"/>
                </a:lnTo>
                <a:lnTo>
                  <a:pt x="2692536" y="3499690"/>
                </a:lnTo>
                <a:cubicBezTo>
                  <a:pt x="2692536" y="3515071"/>
                  <a:pt x="2706891" y="3515071"/>
                  <a:pt x="2706891" y="3515071"/>
                </a:cubicBezTo>
                <a:lnTo>
                  <a:pt x="2707744" y="3517412"/>
                </a:lnTo>
                <a:lnTo>
                  <a:pt x="2740017" y="3500774"/>
                </a:lnTo>
                <a:lnTo>
                  <a:pt x="2720065" y="3492886"/>
                </a:lnTo>
                <a:close/>
                <a:moveTo>
                  <a:pt x="5605517" y="3452095"/>
                </a:moveTo>
                <a:lnTo>
                  <a:pt x="5571740" y="3502705"/>
                </a:lnTo>
                <a:lnTo>
                  <a:pt x="5555430" y="3527792"/>
                </a:lnTo>
                <a:lnTo>
                  <a:pt x="5590967" y="3506856"/>
                </a:lnTo>
                <a:cubicBezTo>
                  <a:pt x="5630129" y="3487295"/>
                  <a:pt x="5677681" y="3476118"/>
                  <a:pt x="5733626" y="3498474"/>
                </a:cubicBezTo>
                <a:cubicBezTo>
                  <a:pt x="5722437" y="3487296"/>
                  <a:pt x="5714044" y="3477051"/>
                  <a:pt x="5708216" y="3467503"/>
                </a:cubicBezTo>
                <a:lnTo>
                  <a:pt x="5705309" y="3459738"/>
                </a:lnTo>
                <a:lnTo>
                  <a:pt x="5697859" y="3464010"/>
                </a:lnTo>
                <a:cubicBezTo>
                  <a:pt x="5673472" y="3473340"/>
                  <a:pt x="5647211" y="3473340"/>
                  <a:pt x="5617198" y="3458411"/>
                </a:cubicBezTo>
                <a:close/>
                <a:moveTo>
                  <a:pt x="2584791" y="3439775"/>
                </a:moveTo>
                <a:lnTo>
                  <a:pt x="2582443" y="3476531"/>
                </a:lnTo>
                <a:lnTo>
                  <a:pt x="2583599" y="3492344"/>
                </a:lnTo>
                <a:lnTo>
                  <a:pt x="2589882" y="3491529"/>
                </a:lnTo>
                <a:cubicBezTo>
                  <a:pt x="2602936" y="3487804"/>
                  <a:pt x="2617855" y="3480354"/>
                  <a:pt x="2632772" y="3472902"/>
                </a:cubicBezTo>
                <a:lnTo>
                  <a:pt x="2636418" y="3470253"/>
                </a:lnTo>
                <a:lnTo>
                  <a:pt x="2630552" y="3468666"/>
                </a:lnTo>
                <a:close/>
                <a:moveTo>
                  <a:pt x="5838040" y="3429589"/>
                </a:moveTo>
                <a:lnTo>
                  <a:pt x="5830364" y="3436300"/>
                </a:lnTo>
                <a:cubicBezTo>
                  <a:pt x="5804955" y="3461682"/>
                  <a:pt x="5781179" y="3488229"/>
                  <a:pt x="5757869" y="3515240"/>
                </a:cubicBezTo>
                <a:lnTo>
                  <a:pt x="5653054" y="3633539"/>
                </a:lnTo>
                <a:lnTo>
                  <a:pt x="5687873" y="3642654"/>
                </a:lnTo>
                <a:cubicBezTo>
                  <a:pt x="5738522" y="3648252"/>
                  <a:pt x="5780728" y="3628659"/>
                  <a:pt x="5814493" y="3583872"/>
                </a:cubicBezTo>
                <a:lnTo>
                  <a:pt x="5819610" y="3581504"/>
                </a:lnTo>
                <a:lnTo>
                  <a:pt x="5844005" y="3541827"/>
                </a:lnTo>
                <a:cubicBezTo>
                  <a:pt x="5858925" y="3522268"/>
                  <a:pt x="5874776" y="3503172"/>
                  <a:pt x="5887831" y="3482448"/>
                </a:cubicBezTo>
                <a:lnTo>
                  <a:pt x="5891370" y="3473394"/>
                </a:lnTo>
                <a:lnTo>
                  <a:pt x="5871592" y="3462321"/>
                </a:lnTo>
                <a:close/>
                <a:moveTo>
                  <a:pt x="6484880" y="3425277"/>
                </a:moveTo>
                <a:lnTo>
                  <a:pt x="6466935" y="3448721"/>
                </a:lnTo>
                <a:lnTo>
                  <a:pt x="6467203" y="3448874"/>
                </a:lnTo>
                <a:cubicBezTo>
                  <a:pt x="6471632" y="3448641"/>
                  <a:pt x="6474894" y="3445380"/>
                  <a:pt x="6477692" y="3440723"/>
                </a:cubicBezTo>
                <a:close/>
                <a:moveTo>
                  <a:pt x="7287792" y="3379923"/>
                </a:moveTo>
                <a:lnTo>
                  <a:pt x="7280077" y="3385400"/>
                </a:lnTo>
                <a:lnTo>
                  <a:pt x="7274446" y="3391812"/>
                </a:lnTo>
                <a:lnTo>
                  <a:pt x="7266081" y="3404802"/>
                </a:lnTo>
                <a:lnTo>
                  <a:pt x="7297497" y="3395235"/>
                </a:lnTo>
                <a:lnTo>
                  <a:pt x="7307521" y="3389741"/>
                </a:lnTo>
                <a:lnTo>
                  <a:pt x="7305260" y="3383643"/>
                </a:lnTo>
                <a:cubicBezTo>
                  <a:pt x="7297807" y="3379923"/>
                  <a:pt x="7292217" y="3378991"/>
                  <a:pt x="7287792" y="3379923"/>
                </a:cubicBezTo>
                <a:close/>
                <a:moveTo>
                  <a:pt x="7165215" y="3322850"/>
                </a:moveTo>
                <a:lnTo>
                  <a:pt x="7167945" y="3324413"/>
                </a:lnTo>
                <a:lnTo>
                  <a:pt x="7171087" y="3324106"/>
                </a:lnTo>
                <a:close/>
                <a:moveTo>
                  <a:pt x="3278406" y="3305427"/>
                </a:moveTo>
                <a:lnTo>
                  <a:pt x="3262726" y="3325227"/>
                </a:lnTo>
                <a:cubicBezTo>
                  <a:pt x="3227294" y="3364347"/>
                  <a:pt x="3189997" y="3401605"/>
                  <a:pt x="3152702" y="3438863"/>
                </a:cubicBezTo>
                <a:cubicBezTo>
                  <a:pt x="3137785" y="3453764"/>
                  <a:pt x="3119137" y="3472393"/>
                  <a:pt x="3098624" y="3491021"/>
                </a:cubicBezTo>
                <a:lnTo>
                  <a:pt x="3054757" y="3526079"/>
                </a:lnTo>
                <a:lnTo>
                  <a:pt x="3065930" y="3527816"/>
                </a:lnTo>
                <a:cubicBezTo>
                  <a:pt x="3129766" y="3524964"/>
                  <a:pt x="3149348" y="3433682"/>
                  <a:pt x="3214616" y="3433682"/>
                </a:cubicBezTo>
                <a:cubicBezTo>
                  <a:pt x="3229536" y="3433682"/>
                  <a:pt x="3184783" y="3388974"/>
                  <a:pt x="3229536" y="3374073"/>
                </a:cubicBezTo>
                <a:cubicBezTo>
                  <a:pt x="3251915" y="3370347"/>
                  <a:pt x="3268698" y="3359171"/>
                  <a:pt x="3282917" y="3344732"/>
                </a:cubicBezTo>
                <a:lnTo>
                  <a:pt x="3299539" y="3323342"/>
                </a:lnTo>
                <a:lnTo>
                  <a:pt x="3286936" y="3315386"/>
                </a:lnTo>
                <a:close/>
                <a:moveTo>
                  <a:pt x="6585941" y="3284034"/>
                </a:moveTo>
                <a:lnTo>
                  <a:pt x="6571244" y="3296885"/>
                </a:lnTo>
                <a:lnTo>
                  <a:pt x="6519539" y="3379990"/>
                </a:lnTo>
                <a:lnTo>
                  <a:pt x="6499782" y="3405806"/>
                </a:lnTo>
                <a:lnTo>
                  <a:pt x="6519186" y="3393919"/>
                </a:lnTo>
                <a:cubicBezTo>
                  <a:pt x="6545760" y="3384838"/>
                  <a:pt x="6576528" y="3390428"/>
                  <a:pt x="6598908" y="3379249"/>
                </a:cubicBezTo>
                <a:lnTo>
                  <a:pt x="6627690" y="3379249"/>
                </a:lnTo>
                <a:lnTo>
                  <a:pt x="6614364" y="3366248"/>
                </a:lnTo>
                <a:cubicBezTo>
                  <a:pt x="6601310" y="3348551"/>
                  <a:pt x="6591986" y="3329456"/>
                  <a:pt x="6586858" y="3309197"/>
                </a:cubicBezTo>
                <a:close/>
                <a:moveTo>
                  <a:pt x="4080459" y="3268526"/>
                </a:moveTo>
                <a:lnTo>
                  <a:pt x="4070063" y="3279845"/>
                </a:lnTo>
                <a:lnTo>
                  <a:pt x="3938678" y="3428135"/>
                </a:lnTo>
                <a:lnTo>
                  <a:pt x="3942468" y="3435219"/>
                </a:lnTo>
                <a:cubicBezTo>
                  <a:pt x="3961384" y="3454507"/>
                  <a:pt x="3992984" y="3454638"/>
                  <a:pt x="4018683" y="3448875"/>
                </a:cubicBezTo>
                <a:lnTo>
                  <a:pt x="4025052" y="3446687"/>
                </a:lnTo>
                <a:lnTo>
                  <a:pt x="4050994" y="3417384"/>
                </a:lnTo>
                <a:cubicBezTo>
                  <a:pt x="4068710" y="3391770"/>
                  <a:pt x="4083627" y="3362895"/>
                  <a:pt x="4094818" y="3329364"/>
                </a:cubicBezTo>
                <a:cubicBezTo>
                  <a:pt x="4094818" y="3344265"/>
                  <a:pt x="4094818" y="3359171"/>
                  <a:pt x="4094818" y="3359171"/>
                </a:cubicBezTo>
                <a:cubicBezTo>
                  <a:pt x="4109737" y="3374073"/>
                  <a:pt x="4124651" y="3359171"/>
                  <a:pt x="4124651" y="3344265"/>
                </a:cubicBezTo>
                <a:lnTo>
                  <a:pt x="4132318" y="3334365"/>
                </a:lnTo>
                <a:lnTo>
                  <a:pt x="4125644" y="3301182"/>
                </a:lnTo>
                <a:lnTo>
                  <a:pt x="4126203" y="3297406"/>
                </a:lnTo>
                <a:close/>
                <a:moveTo>
                  <a:pt x="6669610" y="3260583"/>
                </a:moveTo>
                <a:lnTo>
                  <a:pt x="6642337" y="3263789"/>
                </a:lnTo>
                <a:cubicBezTo>
                  <a:pt x="6636742" y="3267515"/>
                  <a:pt x="6636742" y="3274966"/>
                  <a:pt x="6644201" y="3289870"/>
                </a:cubicBezTo>
                <a:cubicBezTo>
                  <a:pt x="6655388" y="3323402"/>
                  <a:pt x="6674969" y="3315018"/>
                  <a:pt x="6684060" y="3302444"/>
                </a:cubicBezTo>
                <a:lnTo>
                  <a:pt x="6684770" y="3300622"/>
                </a:lnTo>
                <a:lnTo>
                  <a:pt x="6659746" y="3272369"/>
                </a:lnTo>
                <a:close/>
                <a:moveTo>
                  <a:pt x="1760788" y="3257495"/>
                </a:moveTo>
                <a:lnTo>
                  <a:pt x="1743268" y="3295832"/>
                </a:lnTo>
                <a:cubicBezTo>
                  <a:pt x="1730214" y="3321913"/>
                  <a:pt x="1715295" y="3344268"/>
                  <a:pt x="1692919" y="3359171"/>
                </a:cubicBezTo>
                <a:cubicBezTo>
                  <a:pt x="1663081" y="3403880"/>
                  <a:pt x="1707839" y="3433682"/>
                  <a:pt x="1707839" y="3478392"/>
                </a:cubicBezTo>
                <a:cubicBezTo>
                  <a:pt x="1722754" y="3493297"/>
                  <a:pt x="1752592" y="3448589"/>
                  <a:pt x="1767513" y="3448589"/>
                </a:cubicBezTo>
                <a:cubicBezTo>
                  <a:pt x="1812265" y="3433682"/>
                  <a:pt x="1857025" y="3433682"/>
                  <a:pt x="1886860" y="3374073"/>
                </a:cubicBezTo>
                <a:cubicBezTo>
                  <a:pt x="1894319" y="3359170"/>
                  <a:pt x="1898048" y="3347992"/>
                  <a:pt x="1898048" y="3338679"/>
                </a:cubicBezTo>
                <a:lnTo>
                  <a:pt x="1892705" y="3327115"/>
                </a:lnTo>
                <a:lnTo>
                  <a:pt x="1882621" y="3322689"/>
                </a:lnTo>
                <a:cubicBezTo>
                  <a:pt x="1860241" y="3315238"/>
                  <a:pt x="1834133" y="3304061"/>
                  <a:pt x="1808026" y="3289158"/>
                </a:cubicBezTo>
                <a:lnTo>
                  <a:pt x="1766660" y="3258166"/>
                </a:lnTo>
                <a:close/>
                <a:moveTo>
                  <a:pt x="1408519" y="3257465"/>
                </a:moveTo>
                <a:lnTo>
                  <a:pt x="1345550" y="3307787"/>
                </a:lnTo>
                <a:cubicBezTo>
                  <a:pt x="1336225" y="3315238"/>
                  <a:pt x="1326669" y="3321292"/>
                  <a:pt x="1316965" y="3326096"/>
                </a:cubicBezTo>
                <a:lnTo>
                  <a:pt x="1300159" y="3332256"/>
                </a:lnTo>
                <a:lnTo>
                  <a:pt x="1315990" y="3336815"/>
                </a:lnTo>
                <a:cubicBezTo>
                  <a:pt x="1343264" y="3342403"/>
                  <a:pt x="1368439" y="3347993"/>
                  <a:pt x="1334873" y="3403880"/>
                </a:cubicBezTo>
                <a:cubicBezTo>
                  <a:pt x="1334873" y="3403880"/>
                  <a:pt x="1349789" y="3403880"/>
                  <a:pt x="1349789" y="3418781"/>
                </a:cubicBezTo>
                <a:cubicBezTo>
                  <a:pt x="1364708" y="3418781"/>
                  <a:pt x="1379628" y="3403880"/>
                  <a:pt x="1379628" y="3403880"/>
                </a:cubicBezTo>
                <a:cubicBezTo>
                  <a:pt x="1394546" y="3374073"/>
                  <a:pt x="1409467" y="3359171"/>
                  <a:pt x="1424381" y="3344265"/>
                </a:cubicBezTo>
                <a:cubicBezTo>
                  <a:pt x="1469139" y="3329364"/>
                  <a:pt x="1484059" y="3314462"/>
                  <a:pt x="1424381" y="3284655"/>
                </a:cubicBezTo>
                <a:cubicBezTo>
                  <a:pt x="1424381" y="3284655"/>
                  <a:pt x="1407600" y="3276271"/>
                  <a:pt x="1405503" y="3265792"/>
                </a:cubicBezTo>
                <a:close/>
                <a:moveTo>
                  <a:pt x="6686227" y="3251366"/>
                </a:moveTo>
                <a:lnTo>
                  <a:pt x="6678858" y="3256623"/>
                </a:lnTo>
                <a:lnTo>
                  <a:pt x="6686469" y="3255008"/>
                </a:lnTo>
                <a:close/>
                <a:moveTo>
                  <a:pt x="5743217" y="3245761"/>
                </a:moveTo>
                <a:lnTo>
                  <a:pt x="5720927" y="3279161"/>
                </a:lnTo>
                <a:lnTo>
                  <a:pt x="5673283" y="3350552"/>
                </a:lnTo>
                <a:lnTo>
                  <a:pt x="5682084" y="3350233"/>
                </a:lnTo>
                <a:lnTo>
                  <a:pt x="5688010" y="3345748"/>
                </a:lnTo>
                <a:cubicBezTo>
                  <a:pt x="5691292" y="3344114"/>
                  <a:pt x="5694107" y="3343648"/>
                  <a:pt x="5695982" y="3344581"/>
                </a:cubicBezTo>
                <a:lnTo>
                  <a:pt x="5697632" y="3349669"/>
                </a:lnTo>
                <a:lnTo>
                  <a:pt x="5703787" y="3349445"/>
                </a:lnTo>
                <a:lnTo>
                  <a:pt x="5698228" y="3351508"/>
                </a:lnTo>
                <a:lnTo>
                  <a:pt x="5698327" y="3351811"/>
                </a:lnTo>
                <a:cubicBezTo>
                  <a:pt x="5697859" y="3355777"/>
                  <a:pt x="5695982" y="3361376"/>
                  <a:pt x="5692229" y="3368840"/>
                </a:cubicBezTo>
                <a:cubicBezTo>
                  <a:pt x="5677224" y="3368840"/>
                  <a:pt x="5662218" y="3383768"/>
                  <a:pt x="5692229" y="3398697"/>
                </a:cubicBezTo>
                <a:cubicBezTo>
                  <a:pt x="5699734" y="3398697"/>
                  <a:pt x="5707238" y="3398697"/>
                  <a:pt x="5714742" y="3396831"/>
                </a:cubicBezTo>
                <a:lnTo>
                  <a:pt x="5718484" y="3394659"/>
                </a:lnTo>
                <a:lnTo>
                  <a:pt x="5718706" y="3394155"/>
                </a:lnTo>
                <a:lnTo>
                  <a:pt x="5735979" y="3379344"/>
                </a:lnTo>
                <a:lnTo>
                  <a:pt x="5735374" y="3377237"/>
                </a:lnTo>
                <a:cubicBezTo>
                  <a:pt x="5733498" y="3369773"/>
                  <a:pt x="5731624" y="3358576"/>
                  <a:pt x="5737251" y="3358577"/>
                </a:cubicBezTo>
                <a:lnTo>
                  <a:pt x="5750018" y="3367307"/>
                </a:lnTo>
                <a:lnTo>
                  <a:pt x="5750177" y="3367170"/>
                </a:lnTo>
                <a:lnTo>
                  <a:pt x="5764408" y="3338540"/>
                </a:lnTo>
                <a:lnTo>
                  <a:pt x="5759572" y="3331786"/>
                </a:lnTo>
                <a:cubicBezTo>
                  <a:pt x="5752812" y="3315951"/>
                  <a:pt x="5749081" y="3297322"/>
                  <a:pt x="5749081" y="3274968"/>
                </a:cubicBezTo>
                <a:cubicBezTo>
                  <a:pt x="5749081" y="3267516"/>
                  <a:pt x="5749081" y="3260064"/>
                  <a:pt x="5747217" y="3252613"/>
                </a:cubicBezTo>
                <a:close/>
                <a:moveTo>
                  <a:pt x="6672067" y="3218050"/>
                </a:moveTo>
                <a:lnTo>
                  <a:pt x="6652077" y="3226371"/>
                </a:lnTo>
                <a:lnTo>
                  <a:pt x="6653525" y="3228397"/>
                </a:lnTo>
                <a:cubicBezTo>
                  <a:pt x="6659118" y="3230260"/>
                  <a:pt x="6666577" y="3230260"/>
                  <a:pt x="6674036" y="3230260"/>
                </a:cubicBezTo>
                <a:lnTo>
                  <a:pt x="6679407" y="3222212"/>
                </a:lnTo>
                <a:close/>
                <a:moveTo>
                  <a:pt x="8175683" y="3208441"/>
                </a:moveTo>
                <a:lnTo>
                  <a:pt x="8183121" y="3215260"/>
                </a:lnTo>
                <a:lnTo>
                  <a:pt x="8180717" y="3215260"/>
                </a:lnTo>
                <a:lnTo>
                  <a:pt x="8180821" y="3215354"/>
                </a:lnTo>
                <a:lnTo>
                  <a:pt x="8165901" y="3215354"/>
                </a:lnTo>
                <a:lnTo>
                  <a:pt x="8173401" y="3208563"/>
                </a:lnTo>
                <a:lnTo>
                  <a:pt x="8174472" y="3209544"/>
                </a:lnTo>
                <a:close/>
                <a:moveTo>
                  <a:pt x="4011318" y="3207809"/>
                </a:moveTo>
                <a:lnTo>
                  <a:pt x="3999692" y="3221411"/>
                </a:lnTo>
                <a:lnTo>
                  <a:pt x="3980711" y="3252141"/>
                </a:lnTo>
                <a:lnTo>
                  <a:pt x="3992675" y="3250969"/>
                </a:lnTo>
                <a:cubicBezTo>
                  <a:pt x="4009458" y="3251901"/>
                  <a:pt x="4027173" y="3255627"/>
                  <a:pt x="4045822" y="3263078"/>
                </a:cubicBezTo>
                <a:cubicBezTo>
                  <a:pt x="4034632" y="3251902"/>
                  <a:pt x="4026241" y="3241656"/>
                  <a:pt x="4020413" y="3232108"/>
                </a:cubicBezTo>
                <a:close/>
                <a:moveTo>
                  <a:pt x="7257033" y="3202246"/>
                </a:moveTo>
                <a:lnTo>
                  <a:pt x="7228863" y="3216210"/>
                </a:lnTo>
                <a:cubicBezTo>
                  <a:pt x="7208367" y="3227371"/>
                  <a:pt x="7193461" y="3242253"/>
                  <a:pt x="7200914" y="3279460"/>
                </a:cubicBezTo>
                <a:cubicBezTo>
                  <a:pt x="7208367" y="3294343"/>
                  <a:pt x="7204641" y="3305505"/>
                  <a:pt x="7197188" y="3312948"/>
                </a:cubicBezTo>
                <a:lnTo>
                  <a:pt x="7171115" y="3324104"/>
                </a:lnTo>
                <a:lnTo>
                  <a:pt x="7187797" y="3322470"/>
                </a:lnTo>
                <a:lnTo>
                  <a:pt x="7192342" y="3323505"/>
                </a:lnTo>
                <a:lnTo>
                  <a:pt x="7196286" y="3316404"/>
                </a:lnTo>
                <a:cubicBezTo>
                  <a:pt x="7200045" y="3307934"/>
                  <a:pt x="7203543" y="3298155"/>
                  <a:pt x="7209138" y="3292566"/>
                </a:cubicBezTo>
                <a:lnTo>
                  <a:pt x="7210980" y="3291437"/>
                </a:lnTo>
                <a:lnTo>
                  <a:pt x="7205512" y="3276830"/>
                </a:lnTo>
                <a:cubicBezTo>
                  <a:pt x="7203647" y="3260064"/>
                  <a:pt x="7211107" y="3245161"/>
                  <a:pt x="7226025" y="3230260"/>
                </a:cubicBezTo>
                <a:cubicBezTo>
                  <a:pt x="7237215" y="3226534"/>
                  <a:pt x="7244675" y="3220944"/>
                  <a:pt x="7250269" y="3214191"/>
                </a:cubicBezTo>
                <a:close/>
                <a:moveTo>
                  <a:pt x="8902363" y="3186555"/>
                </a:moveTo>
                <a:cubicBezTo>
                  <a:pt x="8842333" y="3246268"/>
                  <a:pt x="8917369" y="3335840"/>
                  <a:pt x="8857343" y="3395554"/>
                </a:cubicBezTo>
                <a:cubicBezTo>
                  <a:pt x="8842333" y="3410482"/>
                  <a:pt x="8857343" y="3425411"/>
                  <a:pt x="8872347" y="3425411"/>
                </a:cubicBezTo>
                <a:cubicBezTo>
                  <a:pt x="8887353" y="3410482"/>
                  <a:pt x="8902363" y="3410482"/>
                  <a:pt x="8887353" y="3440341"/>
                </a:cubicBezTo>
                <a:cubicBezTo>
                  <a:pt x="8872347" y="3440341"/>
                  <a:pt x="8857343" y="3455268"/>
                  <a:pt x="8887353" y="3470197"/>
                </a:cubicBezTo>
                <a:cubicBezTo>
                  <a:pt x="8902363" y="3470197"/>
                  <a:pt x="8917369" y="3470197"/>
                  <a:pt x="8932374" y="3455268"/>
                </a:cubicBezTo>
                <a:cubicBezTo>
                  <a:pt x="8932374" y="3455268"/>
                  <a:pt x="8917369" y="3410482"/>
                  <a:pt x="8947383" y="3440341"/>
                </a:cubicBezTo>
                <a:cubicBezTo>
                  <a:pt x="8977394" y="3440341"/>
                  <a:pt x="8962389" y="3470197"/>
                  <a:pt x="8962389" y="3485126"/>
                </a:cubicBezTo>
                <a:cubicBezTo>
                  <a:pt x="8917369" y="3529911"/>
                  <a:pt x="8872347" y="3559768"/>
                  <a:pt x="8812321" y="3529911"/>
                </a:cubicBezTo>
                <a:cubicBezTo>
                  <a:pt x="8722280" y="3470197"/>
                  <a:pt x="8617229" y="3455268"/>
                  <a:pt x="8527188" y="3395554"/>
                </a:cubicBezTo>
                <a:cubicBezTo>
                  <a:pt x="8497177" y="3380625"/>
                  <a:pt x="8482166" y="3365697"/>
                  <a:pt x="8482166" y="3320912"/>
                </a:cubicBezTo>
                <a:cubicBezTo>
                  <a:pt x="8557203" y="3350769"/>
                  <a:pt x="8617229" y="3335840"/>
                  <a:pt x="8662249" y="3276127"/>
                </a:cubicBezTo>
                <a:cubicBezTo>
                  <a:pt x="8677260" y="3261197"/>
                  <a:pt x="8707271" y="3276127"/>
                  <a:pt x="8722280" y="3276127"/>
                </a:cubicBezTo>
                <a:cubicBezTo>
                  <a:pt x="8737285" y="3261197"/>
                  <a:pt x="8692265" y="3261197"/>
                  <a:pt x="8707271" y="3231340"/>
                </a:cubicBezTo>
                <a:cubicBezTo>
                  <a:pt x="8782307" y="3276127"/>
                  <a:pt x="8827327" y="3201483"/>
                  <a:pt x="8902363" y="3186555"/>
                </a:cubicBezTo>
                <a:close/>
                <a:moveTo>
                  <a:pt x="5835949" y="3163564"/>
                </a:moveTo>
                <a:lnTo>
                  <a:pt x="5827404" y="3179961"/>
                </a:lnTo>
                <a:cubicBezTo>
                  <a:pt x="5823675" y="3193001"/>
                  <a:pt x="5823675" y="3207903"/>
                  <a:pt x="5823675" y="3215354"/>
                </a:cubicBezTo>
                <a:cubicBezTo>
                  <a:pt x="5838594" y="3245161"/>
                  <a:pt x="5853513" y="3230260"/>
                  <a:pt x="5868433" y="3215354"/>
                </a:cubicBezTo>
                <a:cubicBezTo>
                  <a:pt x="5868433" y="3215354"/>
                  <a:pt x="5883352" y="3215354"/>
                  <a:pt x="5883352" y="3215354"/>
                </a:cubicBezTo>
                <a:cubicBezTo>
                  <a:pt x="5894542" y="3219080"/>
                  <a:pt x="5904564" y="3220477"/>
                  <a:pt x="5913684" y="3220069"/>
                </a:cubicBezTo>
                <a:lnTo>
                  <a:pt x="5922966" y="3217793"/>
                </a:lnTo>
                <a:lnTo>
                  <a:pt x="5925704" y="3211593"/>
                </a:lnTo>
                <a:lnTo>
                  <a:pt x="5931451" y="3205798"/>
                </a:lnTo>
                <a:lnTo>
                  <a:pt x="5918419" y="3196034"/>
                </a:lnTo>
                <a:cubicBezTo>
                  <a:pt x="5900702" y="3186021"/>
                  <a:pt x="5882055" y="3178104"/>
                  <a:pt x="5863406" y="3171582"/>
                </a:cubicBezTo>
                <a:close/>
                <a:moveTo>
                  <a:pt x="1518929" y="3147662"/>
                </a:moveTo>
                <a:lnTo>
                  <a:pt x="1464897" y="3203468"/>
                </a:lnTo>
                <a:lnTo>
                  <a:pt x="1414797" y="3251787"/>
                </a:lnTo>
                <a:lnTo>
                  <a:pt x="1420420" y="3248561"/>
                </a:lnTo>
                <a:cubicBezTo>
                  <a:pt x="1430908" y="3246466"/>
                  <a:pt x="1439301" y="3254848"/>
                  <a:pt x="1439301" y="3254848"/>
                </a:cubicBezTo>
                <a:cubicBezTo>
                  <a:pt x="1498974" y="3239946"/>
                  <a:pt x="1558652" y="3239946"/>
                  <a:pt x="1618326" y="3239946"/>
                </a:cubicBezTo>
                <a:cubicBezTo>
                  <a:pt x="1581029" y="3210138"/>
                  <a:pt x="1562382" y="3195236"/>
                  <a:pt x="1566110" y="3178470"/>
                </a:cubicBezTo>
                <a:lnTo>
                  <a:pt x="1575890" y="3166208"/>
                </a:lnTo>
                <a:lnTo>
                  <a:pt x="1537661" y="3155882"/>
                </a:lnTo>
                <a:close/>
                <a:moveTo>
                  <a:pt x="1376906" y="3075088"/>
                </a:moveTo>
                <a:lnTo>
                  <a:pt x="1367098" y="3078098"/>
                </a:lnTo>
                <a:lnTo>
                  <a:pt x="1355787" y="3076760"/>
                </a:lnTo>
                <a:lnTo>
                  <a:pt x="1360469" y="3099145"/>
                </a:lnTo>
                <a:cubicBezTo>
                  <a:pt x="1367927" y="3106597"/>
                  <a:pt x="1379115" y="3099147"/>
                  <a:pt x="1390304" y="3089834"/>
                </a:cubicBezTo>
                <a:lnTo>
                  <a:pt x="1393262" y="3087343"/>
                </a:lnTo>
                <a:close/>
                <a:moveTo>
                  <a:pt x="8272837" y="3035832"/>
                </a:moveTo>
                <a:cubicBezTo>
                  <a:pt x="8287788" y="3088168"/>
                  <a:pt x="8272837" y="3118070"/>
                  <a:pt x="8248536" y="3142366"/>
                </a:cubicBezTo>
                <a:lnTo>
                  <a:pt x="8175683" y="3208441"/>
                </a:lnTo>
                <a:lnTo>
                  <a:pt x="8174613" y="3207460"/>
                </a:lnTo>
                <a:lnTo>
                  <a:pt x="8173401" y="3208563"/>
                </a:lnTo>
                <a:lnTo>
                  <a:pt x="8158440" y="3194864"/>
                </a:lnTo>
                <a:cubicBezTo>
                  <a:pt x="8147251" y="3193002"/>
                  <a:pt x="8136061" y="3193002"/>
                  <a:pt x="8136061" y="3185551"/>
                </a:cubicBezTo>
                <a:cubicBezTo>
                  <a:pt x="8143521" y="3170645"/>
                  <a:pt x="8150981" y="3166920"/>
                  <a:pt x="8158440" y="3166920"/>
                </a:cubicBezTo>
                <a:lnTo>
                  <a:pt x="8160060" y="3167191"/>
                </a:lnTo>
                <a:lnTo>
                  <a:pt x="8160692" y="3166667"/>
                </a:lnTo>
                <a:lnTo>
                  <a:pt x="8181109" y="3170066"/>
                </a:lnTo>
                <a:lnTo>
                  <a:pt x="8195735" y="3140842"/>
                </a:lnTo>
                <a:cubicBezTo>
                  <a:pt x="8158440" y="3111035"/>
                  <a:pt x="8162171" y="3099858"/>
                  <a:pt x="8178953" y="3094271"/>
                </a:cubicBezTo>
                <a:lnTo>
                  <a:pt x="8181254" y="3093782"/>
                </a:lnTo>
                <a:lnTo>
                  <a:pt x="8181248" y="3093773"/>
                </a:lnTo>
                <a:lnTo>
                  <a:pt x="8240493" y="3081205"/>
                </a:lnTo>
                <a:lnTo>
                  <a:pt x="8244222" y="3053287"/>
                </a:lnTo>
                <a:cubicBezTo>
                  <a:pt x="8247953" y="3043974"/>
                  <a:pt x="8255407" y="3036519"/>
                  <a:pt x="8270327" y="3036519"/>
                </a:cubicBezTo>
                <a:lnTo>
                  <a:pt x="8270083" y="3037603"/>
                </a:lnTo>
                <a:close/>
                <a:moveTo>
                  <a:pt x="6111269" y="2975272"/>
                </a:moveTo>
                <a:lnTo>
                  <a:pt x="6102103" y="2990651"/>
                </a:lnTo>
                <a:lnTo>
                  <a:pt x="6079041" y="3028265"/>
                </a:lnTo>
                <a:lnTo>
                  <a:pt x="6106590" y="3021579"/>
                </a:lnTo>
                <a:close/>
                <a:moveTo>
                  <a:pt x="2302076" y="2868327"/>
                </a:moveTo>
                <a:lnTo>
                  <a:pt x="2297009" y="2870577"/>
                </a:lnTo>
                <a:lnTo>
                  <a:pt x="2286823" y="2900751"/>
                </a:lnTo>
                <a:cubicBezTo>
                  <a:pt x="2281694" y="2912859"/>
                  <a:pt x="2276099" y="2924036"/>
                  <a:pt x="2270505" y="2935213"/>
                </a:cubicBezTo>
                <a:lnTo>
                  <a:pt x="2255812" y="2966244"/>
                </a:lnTo>
                <a:lnTo>
                  <a:pt x="2261448" y="2963077"/>
                </a:lnTo>
                <a:lnTo>
                  <a:pt x="2263505" y="2961149"/>
                </a:lnTo>
                <a:lnTo>
                  <a:pt x="2266817" y="2951667"/>
                </a:lnTo>
                <a:cubicBezTo>
                  <a:pt x="2279406" y="2933503"/>
                  <a:pt x="2304581" y="2919533"/>
                  <a:pt x="2304581" y="2897177"/>
                </a:cubicBezTo>
                <a:close/>
                <a:moveTo>
                  <a:pt x="1231247" y="2826601"/>
                </a:moveTo>
                <a:lnTo>
                  <a:pt x="1203126" y="2862111"/>
                </a:lnTo>
                <a:lnTo>
                  <a:pt x="1270958" y="2860700"/>
                </a:lnTo>
                <a:close/>
                <a:moveTo>
                  <a:pt x="6179713" y="2754227"/>
                </a:moveTo>
                <a:lnTo>
                  <a:pt x="6153353" y="2774799"/>
                </a:lnTo>
                <a:lnTo>
                  <a:pt x="6153897" y="2775403"/>
                </a:lnTo>
                <a:cubicBezTo>
                  <a:pt x="6154829" y="2780513"/>
                  <a:pt x="6152965" y="2786086"/>
                  <a:pt x="6149237" y="2791660"/>
                </a:cubicBezTo>
                <a:lnTo>
                  <a:pt x="6148980" y="2791868"/>
                </a:lnTo>
                <a:lnTo>
                  <a:pt x="6149237" y="2792899"/>
                </a:lnTo>
                <a:lnTo>
                  <a:pt x="6133597" y="2805392"/>
                </a:lnTo>
                <a:lnTo>
                  <a:pt x="6125179" y="2827185"/>
                </a:lnTo>
                <a:cubicBezTo>
                  <a:pt x="6122149" y="2842321"/>
                  <a:pt x="6123548" y="2853964"/>
                  <a:pt x="6130075" y="2862347"/>
                </a:cubicBezTo>
                <a:lnTo>
                  <a:pt x="6134159" y="2864134"/>
                </a:lnTo>
                <a:lnTo>
                  <a:pt x="6143989" y="2836048"/>
                </a:lnTo>
                <a:cubicBezTo>
                  <a:pt x="6158343" y="2836048"/>
                  <a:pt x="6158343" y="2820673"/>
                  <a:pt x="6172698" y="2805292"/>
                </a:cubicBezTo>
                <a:lnTo>
                  <a:pt x="6173060" y="2806273"/>
                </a:lnTo>
                <a:lnTo>
                  <a:pt x="6176521" y="2780104"/>
                </a:lnTo>
                <a:lnTo>
                  <a:pt x="6189428" y="2759114"/>
                </a:lnTo>
                <a:lnTo>
                  <a:pt x="6182393" y="2755310"/>
                </a:lnTo>
                <a:close/>
                <a:moveTo>
                  <a:pt x="1103568" y="2748818"/>
                </a:moveTo>
                <a:lnTo>
                  <a:pt x="1106851" y="2756376"/>
                </a:lnTo>
                <a:cubicBezTo>
                  <a:pt x="1106851" y="2771282"/>
                  <a:pt x="1136691" y="2786184"/>
                  <a:pt x="1121771" y="2786184"/>
                </a:cubicBezTo>
                <a:cubicBezTo>
                  <a:pt x="1106851" y="2801086"/>
                  <a:pt x="1091931" y="2801086"/>
                  <a:pt x="1077012" y="2801086"/>
                </a:cubicBezTo>
                <a:cubicBezTo>
                  <a:pt x="1017339" y="2771282"/>
                  <a:pt x="1017339" y="2815991"/>
                  <a:pt x="1032258" y="2845793"/>
                </a:cubicBezTo>
                <a:lnTo>
                  <a:pt x="1026331" y="2876121"/>
                </a:lnTo>
                <a:lnTo>
                  <a:pt x="1052804" y="2868536"/>
                </a:lnTo>
                <a:cubicBezTo>
                  <a:pt x="1085673" y="2859454"/>
                  <a:pt x="1116443" y="2848277"/>
                  <a:pt x="1138819" y="2803570"/>
                </a:cubicBezTo>
                <a:cubicBezTo>
                  <a:pt x="1146279" y="2788665"/>
                  <a:pt x="1150008" y="2777488"/>
                  <a:pt x="1150008" y="2768174"/>
                </a:cubicBezTo>
                <a:lnTo>
                  <a:pt x="1146916" y="2761482"/>
                </a:lnTo>
                <a:lnTo>
                  <a:pt x="1109223" y="2751300"/>
                </a:lnTo>
                <a:close/>
                <a:moveTo>
                  <a:pt x="2382074" y="2735931"/>
                </a:moveTo>
                <a:lnTo>
                  <a:pt x="2364013" y="2775624"/>
                </a:lnTo>
                <a:lnTo>
                  <a:pt x="2362659" y="2781487"/>
                </a:lnTo>
                <a:lnTo>
                  <a:pt x="2394094" y="2777952"/>
                </a:lnTo>
                <a:close/>
                <a:moveTo>
                  <a:pt x="1004584" y="2704857"/>
                </a:moveTo>
                <a:lnTo>
                  <a:pt x="995228" y="2725328"/>
                </a:lnTo>
                <a:lnTo>
                  <a:pt x="994186" y="2727052"/>
                </a:lnTo>
                <a:lnTo>
                  <a:pt x="996303" y="2731927"/>
                </a:lnTo>
                <a:cubicBezTo>
                  <a:pt x="1008015" y="2745200"/>
                  <a:pt x="1027595" y="2739612"/>
                  <a:pt x="1047176" y="2734023"/>
                </a:cubicBezTo>
                <a:lnTo>
                  <a:pt x="1061553" y="2730379"/>
                </a:lnTo>
                <a:lnTo>
                  <a:pt x="1053512" y="2726850"/>
                </a:lnTo>
                <a:close/>
                <a:moveTo>
                  <a:pt x="2465078" y="2633724"/>
                </a:moveTo>
                <a:lnTo>
                  <a:pt x="2460013" y="2664082"/>
                </a:lnTo>
                <a:lnTo>
                  <a:pt x="2468688" y="2662457"/>
                </a:lnTo>
                <a:cubicBezTo>
                  <a:pt x="2491066" y="2662457"/>
                  <a:pt x="2513444" y="2666183"/>
                  <a:pt x="2528362" y="2673633"/>
                </a:cubicBezTo>
                <a:cubicBezTo>
                  <a:pt x="2550740" y="2684810"/>
                  <a:pt x="2564728" y="2695988"/>
                  <a:pt x="2576615" y="2688304"/>
                </a:cubicBezTo>
                <a:lnTo>
                  <a:pt x="2580224" y="2683668"/>
                </a:lnTo>
                <a:lnTo>
                  <a:pt x="2573405" y="2681827"/>
                </a:lnTo>
                <a:cubicBezTo>
                  <a:pt x="2554988" y="2676004"/>
                  <a:pt x="2536340" y="2668553"/>
                  <a:pt x="2517693" y="2657375"/>
                </a:cubicBezTo>
                <a:close/>
                <a:moveTo>
                  <a:pt x="3094488" y="2571175"/>
                </a:moveTo>
                <a:lnTo>
                  <a:pt x="3082446" y="2583411"/>
                </a:lnTo>
                <a:lnTo>
                  <a:pt x="3065207" y="2612334"/>
                </a:lnTo>
                <a:lnTo>
                  <a:pt x="3067633" y="2611386"/>
                </a:lnTo>
                <a:lnTo>
                  <a:pt x="3080332" y="2593625"/>
                </a:lnTo>
                <a:lnTo>
                  <a:pt x="3095988" y="2571730"/>
                </a:lnTo>
                <a:close/>
                <a:moveTo>
                  <a:pt x="7633239" y="2495434"/>
                </a:moveTo>
                <a:lnTo>
                  <a:pt x="7623509" y="2504745"/>
                </a:lnTo>
                <a:cubicBezTo>
                  <a:pt x="7601147" y="2518698"/>
                  <a:pt x="7578787" y="2519629"/>
                  <a:pt x="7556427" y="2518698"/>
                </a:cubicBezTo>
                <a:lnTo>
                  <a:pt x="7544781" y="2518214"/>
                </a:lnTo>
                <a:lnTo>
                  <a:pt x="7525784" y="2543034"/>
                </a:lnTo>
                <a:lnTo>
                  <a:pt x="7526941" y="2543775"/>
                </a:lnTo>
                <a:lnTo>
                  <a:pt x="7525855" y="2544172"/>
                </a:lnTo>
                <a:lnTo>
                  <a:pt x="7526941" y="2544864"/>
                </a:lnTo>
                <a:lnTo>
                  <a:pt x="7522375" y="2547501"/>
                </a:lnTo>
                <a:lnTo>
                  <a:pt x="7479029" y="2613426"/>
                </a:lnTo>
                <a:lnTo>
                  <a:pt x="7482217" y="2618083"/>
                </a:lnTo>
                <a:cubicBezTo>
                  <a:pt x="7497128" y="2625516"/>
                  <a:pt x="7497128" y="2636659"/>
                  <a:pt x="7489673" y="2647809"/>
                </a:cubicBezTo>
                <a:lnTo>
                  <a:pt x="7489417" y="2648017"/>
                </a:lnTo>
                <a:lnTo>
                  <a:pt x="7489673" y="2649047"/>
                </a:lnTo>
                <a:lnTo>
                  <a:pt x="7459976" y="2672768"/>
                </a:lnTo>
                <a:lnTo>
                  <a:pt x="7469229" y="2684026"/>
                </a:lnTo>
                <a:cubicBezTo>
                  <a:pt x="7476682" y="2698889"/>
                  <a:pt x="7484136" y="2691460"/>
                  <a:pt x="7493454" y="2684029"/>
                </a:cubicBezTo>
                <a:lnTo>
                  <a:pt x="7500283" y="2680368"/>
                </a:lnTo>
                <a:lnTo>
                  <a:pt x="7513133" y="2661440"/>
                </a:lnTo>
                <a:cubicBezTo>
                  <a:pt x="7516721" y="2665285"/>
                  <a:pt x="7517619" y="2669130"/>
                  <a:pt x="7517395" y="2672974"/>
                </a:cubicBezTo>
                <a:lnTo>
                  <a:pt x="7516635" y="2676521"/>
                </a:lnTo>
                <a:lnTo>
                  <a:pt x="7518347" y="2676712"/>
                </a:lnTo>
                <a:cubicBezTo>
                  <a:pt x="7521638" y="2677990"/>
                  <a:pt x="7525131" y="2680312"/>
                  <a:pt x="7528857" y="2684026"/>
                </a:cubicBezTo>
                <a:lnTo>
                  <a:pt x="7547630" y="2700702"/>
                </a:lnTo>
                <a:lnTo>
                  <a:pt x="7550814" y="2699888"/>
                </a:lnTo>
                <a:cubicBezTo>
                  <a:pt x="7555300" y="2699888"/>
                  <a:pt x="7558440" y="2701810"/>
                  <a:pt x="7557768" y="2707577"/>
                </a:cubicBezTo>
                <a:lnTo>
                  <a:pt x="7557193" y="2709195"/>
                </a:lnTo>
                <a:lnTo>
                  <a:pt x="7567288" y="2718163"/>
                </a:lnTo>
                <a:cubicBezTo>
                  <a:pt x="7581495" y="2726290"/>
                  <a:pt x="7596866" y="2731399"/>
                  <a:pt x="7612705" y="2734186"/>
                </a:cubicBezTo>
                <a:lnTo>
                  <a:pt x="7619855" y="2734495"/>
                </a:lnTo>
                <a:lnTo>
                  <a:pt x="7623829" y="2714688"/>
                </a:lnTo>
                <a:cubicBezTo>
                  <a:pt x="7630818" y="2699361"/>
                  <a:pt x="7641999" y="2688213"/>
                  <a:pt x="7654226" y="2678112"/>
                </a:cubicBezTo>
                <a:lnTo>
                  <a:pt x="7678281" y="2658241"/>
                </a:lnTo>
                <a:lnTo>
                  <a:pt x="7683841" y="2616210"/>
                </a:lnTo>
                <a:lnTo>
                  <a:pt x="7692015" y="2602915"/>
                </a:lnTo>
                <a:lnTo>
                  <a:pt x="7676004" y="2559748"/>
                </a:lnTo>
                <a:cubicBezTo>
                  <a:pt x="7646193" y="2544864"/>
                  <a:pt x="7646193" y="2574631"/>
                  <a:pt x="7631283" y="2589514"/>
                </a:cubicBezTo>
                <a:cubicBezTo>
                  <a:pt x="7616375" y="2634164"/>
                  <a:pt x="7586564" y="2619281"/>
                  <a:pt x="7556753" y="2589514"/>
                </a:cubicBezTo>
                <a:lnTo>
                  <a:pt x="7557575" y="2588900"/>
                </a:lnTo>
                <a:lnTo>
                  <a:pt x="7556753" y="2588361"/>
                </a:lnTo>
                <a:cubicBezTo>
                  <a:pt x="7571659" y="2573500"/>
                  <a:pt x="7586564" y="2558635"/>
                  <a:pt x="7616375" y="2543775"/>
                </a:cubicBezTo>
                <a:cubicBezTo>
                  <a:pt x="7623831" y="2543775"/>
                  <a:pt x="7635013" y="2547491"/>
                  <a:pt x="7644325" y="2547491"/>
                </a:cubicBezTo>
                <a:lnTo>
                  <a:pt x="7660709" y="2529339"/>
                </a:lnTo>
                <a:lnTo>
                  <a:pt x="7644325" y="2502077"/>
                </a:lnTo>
                <a:close/>
                <a:moveTo>
                  <a:pt x="9201246" y="2444172"/>
                </a:moveTo>
                <a:lnTo>
                  <a:pt x="9199664" y="2447442"/>
                </a:lnTo>
                <a:cubicBezTo>
                  <a:pt x="9192159" y="2454906"/>
                  <a:pt x="9192159" y="2462370"/>
                  <a:pt x="9195911" y="2467967"/>
                </a:cubicBezTo>
                <a:lnTo>
                  <a:pt x="9199579" y="2469792"/>
                </a:lnTo>
                <a:lnTo>
                  <a:pt x="9201865" y="2445842"/>
                </a:lnTo>
                <a:close/>
                <a:moveTo>
                  <a:pt x="7683559" y="2419714"/>
                </a:moveTo>
                <a:lnTo>
                  <a:pt x="7659841" y="2467075"/>
                </a:lnTo>
                <a:lnTo>
                  <a:pt x="7690657" y="2439967"/>
                </a:lnTo>
                <a:close/>
                <a:moveTo>
                  <a:pt x="1412650" y="2410649"/>
                </a:moveTo>
                <a:lnTo>
                  <a:pt x="1411557" y="2413888"/>
                </a:lnTo>
                <a:lnTo>
                  <a:pt x="1409347" y="2448500"/>
                </a:lnTo>
                <a:lnTo>
                  <a:pt x="1448115" y="2428513"/>
                </a:lnTo>
                <a:lnTo>
                  <a:pt x="1448399" y="2428011"/>
                </a:lnTo>
                <a:lnTo>
                  <a:pt x="1433967" y="2424106"/>
                </a:lnTo>
                <a:close/>
                <a:moveTo>
                  <a:pt x="875069" y="2338694"/>
                </a:moveTo>
                <a:lnTo>
                  <a:pt x="858404" y="2354045"/>
                </a:lnTo>
                <a:cubicBezTo>
                  <a:pt x="853043" y="2359866"/>
                  <a:pt x="848381" y="2365455"/>
                  <a:pt x="844652" y="2369180"/>
                </a:cubicBezTo>
                <a:lnTo>
                  <a:pt x="775510" y="2456491"/>
                </a:lnTo>
                <a:lnTo>
                  <a:pt x="782526" y="2457362"/>
                </a:lnTo>
                <a:cubicBezTo>
                  <a:pt x="798226" y="2459933"/>
                  <a:pt x="813003" y="2464605"/>
                  <a:pt x="824085" y="2475819"/>
                </a:cubicBezTo>
                <a:lnTo>
                  <a:pt x="824081" y="2475819"/>
                </a:lnTo>
                <a:lnTo>
                  <a:pt x="824085" y="2475823"/>
                </a:lnTo>
                <a:cubicBezTo>
                  <a:pt x="796380" y="2475823"/>
                  <a:pt x="768672" y="2505028"/>
                  <a:pt x="740965" y="2508678"/>
                </a:cubicBezTo>
                <a:lnTo>
                  <a:pt x="732262" y="2507989"/>
                </a:lnTo>
                <a:lnTo>
                  <a:pt x="696845" y="2544568"/>
                </a:lnTo>
                <a:lnTo>
                  <a:pt x="697380" y="2544861"/>
                </a:lnTo>
                <a:cubicBezTo>
                  <a:pt x="701285" y="2549285"/>
                  <a:pt x="704315" y="2555805"/>
                  <a:pt x="706181" y="2565119"/>
                </a:cubicBezTo>
                <a:cubicBezTo>
                  <a:pt x="706181" y="2580025"/>
                  <a:pt x="736020" y="2594927"/>
                  <a:pt x="721100" y="2594927"/>
                </a:cubicBezTo>
                <a:cubicBezTo>
                  <a:pt x="706181" y="2609828"/>
                  <a:pt x="691261" y="2609828"/>
                  <a:pt x="676342" y="2609828"/>
                </a:cubicBezTo>
                <a:lnTo>
                  <a:pt x="642899" y="2600285"/>
                </a:lnTo>
                <a:lnTo>
                  <a:pt x="635789" y="2607629"/>
                </a:lnTo>
                <a:lnTo>
                  <a:pt x="625190" y="2617853"/>
                </a:lnTo>
                <a:lnTo>
                  <a:pt x="623894" y="2630787"/>
                </a:lnTo>
                <a:cubicBezTo>
                  <a:pt x="625060" y="2638703"/>
                  <a:pt x="627857" y="2647086"/>
                  <a:pt x="631588" y="2654537"/>
                </a:cubicBezTo>
                <a:cubicBezTo>
                  <a:pt x="631588" y="2714151"/>
                  <a:pt x="586834" y="2743959"/>
                  <a:pt x="542075" y="2758861"/>
                </a:cubicBezTo>
                <a:cubicBezTo>
                  <a:pt x="571914" y="2773763"/>
                  <a:pt x="631588" y="2758861"/>
                  <a:pt x="586834" y="2833377"/>
                </a:cubicBezTo>
                <a:cubicBezTo>
                  <a:pt x="586834" y="2833377"/>
                  <a:pt x="601749" y="2833377"/>
                  <a:pt x="601749" y="2848278"/>
                </a:cubicBezTo>
                <a:cubicBezTo>
                  <a:pt x="616668" y="2848278"/>
                  <a:pt x="631588" y="2833377"/>
                  <a:pt x="631588" y="2833377"/>
                </a:cubicBezTo>
                <a:cubicBezTo>
                  <a:pt x="646507" y="2803570"/>
                  <a:pt x="661426" y="2788668"/>
                  <a:pt x="676342" y="2773763"/>
                </a:cubicBezTo>
                <a:cubicBezTo>
                  <a:pt x="721100" y="2758861"/>
                  <a:pt x="736020" y="2743959"/>
                  <a:pt x="676342" y="2714151"/>
                </a:cubicBezTo>
                <a:cubicBezTo>
                  <a:pt x="676342" y="2714151"/>
                  <a:pt x="646507" y="2699246"/>
                  <a:pt x="661426" y="2684344"/>
                </a:cubicBezTo>
                <a:cubicBezTo>
                  <a:pt x="676342" y="2669443"/>
                  <a:pt x="691261" y="2684344"/>
                  <a:pt x="691261" y="2684344"/>
                </a:cubicBezTo>
                <a:cubicBezTo>
                  <a:pt x="750934" y="2669443"/>
                  <a:pt x="810612" y="2669443"/>
                  <a:pt x="870286" y="2669443"/>
                </a:cubicBezTo>
                <a:cubicBezTo>
                  <a:pt x="795694" y="2609828"/>
                  <a:pt x="795694" y="2609828"/>
                  <a:pt x="900120" y="2535317"/>
                </a:cubicBezTo>
                <a:cubicBezTo>
                  <a:pt x="870286" y="2505509"/>
                  <a:pt x="825528" y="2490608"/>
                  <a:pt x="885205" y="2445900"/>
                </a:cubicBezTo>
                <a:cubicBezTo>
                  <a:pt x="888934" y="2445900"/>
                  <a:pt x="896392" y="2446830"/>
                  <a:pt x="904784" y="2447297"/>
                </a:cubicBezTo>
                <a:lnTo>
                  <a:pt x="925476" y="2446147"/>
                </a:lnTo>
                <a:lnTo>
                  <a:pt x="926703" y="2443696"/>
                </a:lnTo>
                <a:cubicBezTo>
                  <a:pt x="930432" y="2439970"/>
                  <a:pt x="934160" y="2436246"/>
                  <a:pt x="934160" y="2428795"/>
                </a:cubicBezTo>
                <a:lnTo>
                  <a:pt x="933433" y="2409171"/>
                </a:lnTo>
                <a:lnTo>
                  <a:pt x="929959" y="2401190"/>
                </a:lnTo>
                <a:cubicBezTo>
                  <a:pt x="922499" y="2371383"/>
                  <a:pt x="911311" y="2352754"/>
                  <a:pt x="894527" y="2343439"/>
                </a:cubicBezTo>
                <a:close/>
                <a:moveTo>
                  <a:pt x="1500348" y="2208067"/>
                </a:moveTo>
                <a:lnTo>
                  <a:pt x="1493770" y="2210258"/>
                </a:lnTo>
                <a:lnTo>
                  <a:pt x="1488895" y="2222071"/>
                </a:lnTo>
                <a:lnTo>
                  <a:pt x="1493642" y="2230370"/>
                </a:lnTo>
                <a:lnTo>
                  <a:pt x="1498196" y="2228715"/>
                </a:lnTo>
                <a:close/>
                <a:moveTo>
                  <a:pt x="9168419" y="2187490"/>
                </a:moveTo>
                <a:cubicBezTo>
                  <a:pt x="9138603" y="2232141"/>
                  <a:pt x="9064072" y="2217257"/>
                  <a:pt x="9078978" y="2291669"/>
                </a:cubicBezTo>
                <a:lnTo>
                  <a:pt x="9079630" y="2295090"/>
                </a:lnTo>
                <a:lnTo>
                  <a:pt x="9101179" y="2297223"/>
                </a:lnTo>
                <a:cubicBezTo>
                  <a:pt x="9117124" y="2296290"/>
                  <a:pt x="9132131" y="2290691"/>
                  <a:pt x="9147138" y="2283228"/>
                </a:cubicBezTo>
                <a:lnTo>
                  <a:pt x="9191887" y="2258699"/>
                </a:lnTo>
                <a:lnTo>
                  <a:pt x="9185186" y="2239583"/>
                </a:lnTo>
                <a:cubicBezTo>
                  <a:pt x="9175869" y="2228420"/>
                  <a:pt x="9168419" y="2217257"/>
                  <a:pt x="9183325" y="2202374"/>
                </a:cubicBezTo>
                <a:cubicBezTo>
                  <a:pt x="9183325" y="2202374"/>
                  <a:pt x="9168419" y="2187490"/>
                  <a:pt x="9168419" y="2187490"/>
                </a:cubicBezTo>
                <a:close/>
                <a:moveTo>
                  <a:pt x="827225" y="2118607"/>
                </a:moveTo>
                <a:cubicBezTo>
                  <a:pt x="833954" y="2116365"/>
                  <a:pt x="842028" y="2116365"/>
                  <a:pt x="852794" y="2119953"/>
                </a:cubicBezTo>
                <a:cubicBezTo>
                  <a:pt x="852794" y="2119953"/>
                  <a:pt x="852794" y="2134307"/>
                  <a:pt x="852794" y="2148661"/>
                </a:cubicBezTo>
                <a:cubicBezTo>
                  <a:pt x="824085" y="2148661"/>
                  <a:pt x="824085" y="2191724"/>
                  <a:pt x="766667" y="2163016"/>
                </a:cubicBezTo>
                <a:cubicBezTo>
                  <a:pt x="798965" y="2152249"/>
                  <a:pt x="807039" y="2125336"/>
                  <a:pt x="827225" y="2118607"/>
                </a:cubicBezTo>
                <a:close/>
                <a:moveTo>
                  <a:pt x="262656" y="1966570"/>
                </a:moveTo>
                <a:cubicBezTo>
                  <a:pt x="247881" y="2086189"/>
                  <a:pt x="351318" y="2026379"/>
                  <a:pt x="395648" y="2071237"/>
                </a:cubicBezTo>
                <a:lnTo>
                  <a:pt x="395642" y="2071237"/>
                </a:lnTo>
                <a:lnTo>
                  <a:pt x="395648" y="2071241"/>
                </a:lnTo>
                <a:cubicBezTo>
                  <a:pt x="351318" y="2071241"/>
                  <a:pt x="306985" y="2146002"/>
                  <a:pt x="262656" y="2071241"/>
                </a:cubicBezTo>
                <a:cubicBezTo>
                  <a:pt x="247881" y="2056285"/>
                  <a:pt x="247881" y="2071241"/>
                  <a:pt x="233102" y="2086193"/>
                </a:cubicBezTo>
                <a:cubicBezTo>
                  <a:pt x="203551" y="2101144"/>
                  <a:pt x="173998" y="2116095"/>
                  <a:pt x="159218" y="2086193"/>
                </a:cubicBezTo>
                <a:lnTo>
                  <a:pt x="159223" y="2086189"/>
                </a:lnTo>
                <a:lnTo>
                  <a:pt x="159218" y="2086189"/>
                </a:lnTo>
                <a:cubicBezTo>
                  <a:pt x="144444" y="2056282"/>
                  <a:pt x="173998" y="2026379"/>
                  <a:pt x="203551" y="2026379"/>
                </a:cubicBezTo>
                <a:cubicBezTo>
                  <a:pt x="218327" y="2011428"/>
                  <a:pt x="233102" y="1996472"/>
                  <a:pt x="262656" y="1966570"/>
                </a:cubicBezTo>
                <a:close/>
                <a:moveTo>
                  <a:pt x="778537" y="1920319"/>
                </a:moveTo>
                <a:lnTo>
                  <a:pt x="775651" y="1922092"/>
                </a:lnTo>
                <a:cubicBezTo>
                  <a:pt x="766328" y="1925817"/>
                  <a:pt x="755139" y="1929542"/>
                  <a:pt x="740221" y="1936994"/>
                </a:cubicBezTo>
                <a:cubicBezTo>
                  <a:pt x="740221" y="1936994"/>
                  <a:pt x="740221" y="1951898"/>
                  <a:pt x="740221" y="1951898"/>
                </a:cubicBezTo>
                <a:cubicBezTo>
                  <a:pt x="755139" y="2011509"/>
                  <a:pt x="710381" y="2041317"/>
                  <a:pt x="680547" y="2086025"/>
                </a:cubicBezTo>
                <a:cubicBezTo>
                  <a:pt x="650708" y="2145636"/>
                  <a:pt x="635789" y="2190344"/>
                  <a:pt x="605954" y="2235054"/>
                </a:cubicBezTo>
                <a:cubicBezTo>
                  <a:pt x="576115" y="2294664"/>
                  <a:pt x="561195" y="2354279"/>
                  <a:pt x="516441" y="2384087"/>
                </a:cubicBezTo>
                <a:cubicBezTo>
                  <a:pt x="486603" y="2428795"/>
                  <a:pt x="531362" y="2458598"/>
                  <a:pt x="531362" y="2503306"/>
                </a:cubicBezTo>
                <a:cubicBezTo>
                  <a:pt x="542547" y="2514485"/>
                  <a:pt x="562128" y="2492132"/>
                  <a:pt x="577513" y="2480257"/>
                </a:cubicBezTo>
                <a:lnTo>
                  <a:pt x="585379" y="2476328"/>
                </a:lnTo>
                <a:lnTo>
                  <a:pt x="584194" y="2468809"/>
                </a:lnTo>
                <a:cubicBezTo>
                  <a:pt x="587658" y="2447782"/>
                  <a:pt x="609825" y="2430961"/>
                  <a:pt x="631989" y="2430961"/>
                </a:cubicBezTo>
                <a:cubicBezTo>
                  <a:pt x="646764" y="2416010"/>
                  <a:pt x="661540" y="2401055"/>
                  <a:pt x="691093" y="2371153"/>
                </a:cubicBezTo>
                <a:cubicBezTo>
                  <a:pt x="689246" y="2386105"/>
                  <a:pt x="689246" y="2398254"/>
                  <a:pt x="690748" y="2408153"/>
                </a:cubicBezTo>
                <a:lnTo>
                  <a:pt x="695167" y="2420152"/>
                </a:lnTo>
                <a:lnTo>
                  <a:pt x="710381" y="2398988"/>
                </a:lnTo>
                <a:cubicBezTo>
                  <a:pt x="725301" y="2369180"/>
                  <a:pt x="725301" y="2354279"/>
                  <a:pt x="710381" y="2339377"/>
                </a:cubicBezTo>
                <a:cubicBezTo>
                  <a:pt x="743950" y="2324474"/>
                  <a:pt x="775651" y="2308639"/>
                  <a:pt x="805256" y="2291173"/>
                </a:cubicBezTo>
                <a:lnTo>
                  <a:pt x="831948" y="2272364"/>
                </a:lnTo>
                <a:lnTo>
                  <a:pt x="825530" y="2270788"/>
                </a:lnTo>
                <a:cubicBezTo>
                  <a:pt x="806881" y="2267061"/>
                  <a:pt x="788233" y="2267061"/>
                  <a:pt x="765854" y="2281965"/>
                </a:cubicBezTo>
                <a:cubicBezTo>
                  <a:pt x="765854" y="2296867"/>
                  <a:pt x="750934" y="2296867"/>
                  <a:pt x="750934" y="2281965"/>
                </a:cubicBezTo>
                <a:cubicBezTo>
                  <a:pt x="750934" y="2267064"/>
                  <a:pt x="750934" y="2252157"/>
                  <a:pt x="750934" y="2252157"/>
                </a:cubicBezTo>
                <a:cubicBezTo>
                  <a:pt x="780774" y="2252157"/>
                  <a:pt x="795694" y="2177646"/>
                  <a:pt x="840446" y="2237257"/>
                </a:cubicBezTo>
                <a:cubicBezTo>
                  <a:pt x="847906" y="2244707"/>
                  <a:pt x="859095" y="2244707"/>
                  <a:pt x="872149" y="2240982"/>
                </a:cubicBezTo>
                <a:lnTo>
                  <a:pt x="883446" y="2236076"/>
                </a:lnTo>
                <a:lnTo>
                  <a:pt x="887541" y="2233190"/>
                </a:lnTo>
                <a:cubicBezTo>
                  <a:pt x="937891" y="2190343"/>
                  <a:pt x="978917" y="2138183"/>
                  <a:pt x="1008754" y="2071119"/>
                </a:cubicBezTo>
                <a:lnTo>
                  <a:pt x="1008788" y="2070986"/>
                </a:lnTo>
                <a:lnTo>
                  <a:pt x="973908" y="2057193"/>
                </a:lnTo>
                <a:lnTo>
                  <a:pt x="945862" y="2049604"/>
                </a:lnTo>
                <a:lnTo>
                  <a:pt x="917877" y="2075688"/>
                </a:lnTo>
                <a:cubicBezTo>
                  <a:pt x="895368" y="2090642"/>
                  <a:pt x="869106" y="2098119"/>
                  <a:pt x="854100" y="2090643"/>
                </a:cubicBezTo>
                <a:cubicBezTo>
                  <a:pt x="839090" y="2090643"/>
                  <a:pt x="824085" y="2075686"/>
                  <a:pt x="839090" y="2060736"/>
                </a:cubicBezTo>
                <a:lnTo>
                  <a:pt x="840723" y="2058968"/>
                </a:lnTo>
                <a:lnTo>
                  <a:pt x="840446" y="2058420"/>
                </a:lnTo>
                <a:cubicBezTo>
                  <a:pt x="855365" y="2054695"/>
                  <a:pt x="864689" y="2048175"/>
                  <a:pt x="870984" y="2040024"/>
                </a:cubicBezTo>
                <a:lnTo>
                  <a:pt x="876311" y="2027871"/>
                </a:lnTo>
                <a:lnTo>
                  <a:pt x="826119" y="1996182"/>
                </a:lnTo>
                <a:cubicBezTo>
                  <a:pt x="809802" y="1982677"/>
                  <a:pt x="796748" y="1967774"/>
                  <a:pt x="787424" y="1951008"/>
                </a:cubicBezTo>
                <a:close/>
                <a:moveTo>
                  <a:pt x="740221" y="1847576"/>
                </a:moveTo>
                <a:cubicBezTo>
                  <a:pt x="740221" y="1869931"/>
                  <a:pt x="751409" y="1877382"/>
                  <a:pt x="764462" y="1882972"/>
                </a:cubicBezTo>
                <a:lnTo>
                  <a:pt x="772157" y="1886318"/>
                </a:lnTo>
                <a:lnTo>
                  <a:pt x="776176" y="1854408"/>
                </a:lnTo>
                <a:lnTo>
                  <a:pt x="765163" y="1851768"/>
                </a:lnTo>
                <a:cubicBezTo>
                  <a:pt x="756072" y="1849439"/>
                  <a:pt x="747680" y="1847576"/>
                  <a:pt x="740221" y="1847576"/>
                </a:cubicBezTo>
                <a:close/>
                <a:moveTo>
                  <a:pt x="398787" y="1714025"/>
                </a:moveTo>
                <a:cubicBezTo>
                  <a:pt x="405516" y="1711782"/>
                  <a:pt x="413590" y="1711782"/>
                  <a:pt x="424356" y="1715371"/>
                </a:cubicBezTo>
                <a:cubicBezTo>
                  <a:pt x="424356" y="1715371"/>
                  <a:pt x="424356" y="1729725"/>
                  <a:pt x="424356" y="1744079"/>
                </a:cubicBezTo>
                <a:cubicBezTo>
                  <a:pt x="395648" y="1744079"/>
                  <a:pt x="395648" y="1787142"/>
                  <a:pt x="338230" y="1758434"/>
                </a:cubicBezTo>
                <a:cubicBezTo>
                  <a:pt x="370527" y="1747668"/>
                  <a:pt x="378601" y="1720754"/>
                  <a:pt x="398787" y="1714025"/>
                </a:cubicBezTo>
                <a:close/>
                <a:moveTo>
                  <a:pt x="9362775" y="1549431"/>
                </a:moveTo>
                <a:cubicBezTo>
                  <a:pt x="9377129" y="1564812"/>
                  <a:pt x="9348420" y="1580188"/>
                  <a:pt x="9377129" y="1595569"/>
                </a:cubicBezTo>
                <a:cubicBezTo>
                  <a:pt x="9377129" y="1595569"/>
                  <a:pt x="9434547" y="1564812"/>
                  <a:pt x="9391483" y="1626325"/>
                </a:cubicBezTo>
                <a:cubicBezTo>
                  <a:pt x="9377129" y="1641706"/>
                  <a:pt x="9362775" y="1657087"/>
                  <a:pt x="9334067" y="1641706"/>
                </a:cubicBezTo>
                <a:cubicBezTo>
                  <a:pt x="9319713" y="1626325"/>
                  <a:pt x="9319713" y="1595569"/>
                  <a:pt x="9334067" y="1580188"/>
                </a:cubicBezTo>
                <a:cubicBezTo>
                  <a:pt x="9348420" y="1580188"/>
                  <a:pt x="9348420" y="1564812"/>
                  <a:pt x="9362775" y="1549431"/>
                </a:cubicBezTo>
                <a:close/>
                <a:moveTo>
                  <a:pt x="506650" y="1539038"/>
                </a:moveTo>
                <a:cubicBezTo>
                  <a:pt x="512712" y="1538805"/>
                  <a:pt x="518305" y="1541134"/>
                  <a:pt x="523901" y="1543928"/>
                </a:cubicBezTo>
                <a:cubicBezTo>
                  <a:pt x="535090" y="1549519"/>
                  <a:pt x="546281" y="1556971"/>
                  <a:pt x="561195" y="1549516"/>
                </a:cubicBezTo>
                <a:lnTo>
                  <a:pt x="560245" y="1551418"/>
                </a:lnTo>
                <a:lnTo>
                  <a:pt x="560725" y="1551487"/>
                </a:lnTo>
                <a:cubicBezTo>
                  <a:pt x="560725" y="1581394"/>
                  <a:pt x="530710" y="1581394"/>
                  <a:pt x="530710" y="1611295"/>
                </a:cubicBezTo>
                <a:cubicBezTo>
                  <a:pt x="530710" y="1656154"/>
                  <a:pt x="455674" y="1701011"/>
                  <a:pt x="425663" y="1686061"/>
                </a:cubicBezTo>
                <a:cubicBezTo>
                  <a:pt x="410653" y="1686061"/>
                  <a:pt x="395648" y="1671104"/>
                  <a:pt x="410653" y="1656154"/>
                </a:cubicBezTo>
                <a:lnTo>
                  <a:pt x="412285" y="1654386"/>
                </a:lnTo>
                <a:lnTo>
                  <a:pt x="412009" y="1653838"/>
                </a:lnTo>
                <a:cubicBezTo>
                  <a:pt x="471683" y="1638933"/>
                  <a:pt x="441849" y="1579323"/>
                  <a:pt x="486603" y="1549516"/>
                </a:cubicBezTo>
                <a:cubicBezTo>
                  <a:pt x="494062" y="1542065"/>
                  <a:pt x="500589" y="1539270"/>
                  <a:pt x="506650" y="1539038"/>
                </a:cubicBezTo>
                <a:close/>
                <a:moveTo>
                  <a:pt x="1211997" y="1328339"/>
                </a:moveTo>
                <a:lnTo>
                  <a:pt x="1130354" y="1449786"/>
                </a:lnTo>
                <a:lnTo>
                  <a:pt x="1147358" y="1454309"/>
                </a:lnTo>
                <a:cubicBezTo>
                  <a:pt x="1154400" y="1457200"/>
                  <a:pt x="1160864" y="1461172"/>
                  <a:pt x="1166405" y="1466778"/>
                </a:cubicBezTo>
                <a:lnTo>
                  <a:pt x="1166401" y="1466778"/>
                </a:lnTo>
                <a:lnTo>
                  <a:pt x="1166405" y="1466783"/>
                </a:lnTo>
                <a:cubicBezTo>
                  <a:pt x="1155323" y="1466783"/>
                  <a:pt x="1144240" y="1471456"/>
                  <a:pt x="1133157" y="1477297"/>
                </a:cubicBezTo>
                <a:lnTo>
                  <a:pt x="1100176" y="1494679"/>
                </a:lnTo>
                <a:lnTo>
                  <a:pt x="1083346" y="1519712"/>
                </a:lnTo>
                <a:lnTo>
                  <a:pt x="1049825" y="1558159"/>
                </a:lnTo>
                <a:lnTo>
                  <a:pt x="1061555" y="1576572"/>
                </a:lnTo>
                <a:cubicBezTo>
                  <a:pt x="1067150" y="1582161"/>
                  <a:pt x="1070880" y="1585885"/>
                  <a:pt x="1063419" y="1585885"/>
                </a:cubicBezTo>
                <a:cubicBezTo>
                  <a:pt x="1048500" y="1600787"/>
                  <a:pt x="1033581" y="1600787"/>
                  <a:pt x="1018661" y="1600787"/>
                </a:cubicBezTo>
                <a:lnTo>
                  <a:pt x="1014405" y="1599572"/>
                </a:lnTo>
                <a:lnTo>
                  <a:pt x="993838" y="1624031"/>
                </a:lnTo>
                <a:cubicBezTo>
                  <a:pt x="990109" y="1631484"/>
                  <a:pt x="982648" y="1637073"/>
                  <a:pt x="974257" y="1642196"/>
                </a:cubicBezTo>
                <a:lnTo>
                  <a:pt x="973073" y="1642918"/>
                </a:lnTo>
                <a:lnTo>
                  <a:pt x="973908" y="1645497"/>
                </a:lnTo>
                <a:cubicBezTo>
                  <a:pt x="973908" y="1660400"/>
                  <a:pt x="971110" y="1673441"/>
                  <a:pt x="966215" y="1684852"/>
                </a:cubicBezTo>
                <a:lnTo>
                  <a:pt x="948168" y="1711171"/>
                </a:lnTo>
                <a:lnTo>
                  <a:pt x="949080" y="1713450"/>
                </a:lnTo>
                <a:lnTo>
                  <a:pt x="946345" y="1713829"/>
                </a:lnTo>
                <a:lnTo>
                  <a:pt x="945936" y="1714425"/>
                </a:lnTo>
                <a:cubicBezTo>
                  <a:pt x="937544" y="1722809"/>
                  <a:pt x="927754" y="1729794"/>
                  <a:pt x="917264" y="1735616"/>
                </a:cubicBezTo>
                <a:lnTo>
                  <a:pt x="891220" y="1746870"/>
                </a:lnTo>
                <a:lnTo>
                  <a:pt x="888889" y="1751114"/>
                </a:lnTo>
                <a:lnTo>
                  <a:pt x="910271" y="1757270"/>
                </a:lnTo>
                <a:cubicBezTo>
                  <a:pt x="937544" y="1762859"/>
                  <a:pt x="962719" y="1768449"/>
                  <a:pt x="929153" y="1824336"/>
                </a:cubicBezTo>
                <a:cubicBezTo>
                  <a:pt x="929153" y="1824336"/>
                  <a:pt x="944069" y="1824336"/>
                  <a:pt x="944069" y="1839237"/>
                </a:cubicBezTo>
                <a:cubicBezTo>
                  <a:pt x="958988" y="1839237"/>
                  <a:pt x="973908" y="1824336"/>
                  <a:pt x="973908" y="1824336"/>
                </a:cubicBezTo>
                <a:cubicBezTo>
                  <a:pt x="988827" y="1794528"/>
                  <a:pt x="1003746" y="1779627"/>
                  <a:pt x="1018661" y="1764722"/>
                </a:cubicBezTo>
                <a:cubicBezTo>
                  <a:pt x="1063419" y="1749820"/>
                  <a:pt x="1078340" y="1734919"/>
                  <a:pt x="1018661" y="1705111"/>
                </a:cubicBezTo>
                <a:cubicBezTo>
                  <a:pt x="1018661" y="1705111"/>
                  <a:pt x="988827" y="1690204"/>
                  <a:pt x="1003746" y="1675303"/>
                </a:cubicBezTo>
                <a:cubicBezTo>
                  <a:pt x="1018661" y="1660402"/>
                  <a:pt x="1033581" y="1675303"/>
                  <a:pt x="1033581" y="1675303"/>
                </a:cubicBezTo>
                <a:cubicBezTo>
                  <a:pt x="1063418" y="1667853"/>
                  <a:pt x="1093256" y="1664127"/>
                  <a:pt x="1123094" y="1662265"/>
                </a:cubicBezTo>
                <a:lnTo>
                  <a:pt x="1127670" y="1662170"/>
                </a:lnTo>
                <a:lnTo>
                  <a:pt x="1166004" y="1612456"/>
                </a:lnTo>
                <a:lnTo>
                  <a:pt x="1160390" y="1598925"/>
                </a:lnTo>
                <a:cubicBezTo>
                  <a:pt x="1162256" y="1590542"/>
                  <a:pt x="1169714" y="1581693"/>
                  <a:pt x="1183234" y="1570285"/>
                </a:cubicBezTo>
                <a:lnTo>
                  <a:pt x="1216861" y="1545289"/>
                </a:lnTo>
                <a:lnTo>
                  <a:pt x="1235232" y="1520011"/>
                </a:lnTo>
                <a:lnTo>
                  <a:pt x="1219132" y="1506016"/>
                </a:lnTo>
                <a:cubicBezTo>
                  <a:pt x="1196754" y="1487155"/>
                  <a:pt x="1182766" y="1470390"/>
                  <a:pt x="1227526" y="1436859"/>
                </a:cubicBezTo>
                <a:cubicBezTo>
                  <a:pt x="1242440" y="1436859"/>
                  <a:pt x="1317034" y="1451759"/>
                  <a:pt x="1272280" y="1392149"/>
                </a:cubicBezTo>
                <a:cubicBezTo>
                  <a:pt x="1264820" y="1362342"/>
                  <a:pt x="1253632" y="1343713"/>
                  <a:pt x="1236848" y="1334398"/>
                </a:cubicBezTo>
                <a:close/>
                <a:moveTo>
                  <a:pt x="1436385" y="1108991"/>
                </a:moveTo>
                <a:cubicBezTo>
                  <a:pt x="1414006" y="1120170"/>
                  <a:pt x="1383237" y="1139729"/>
                  <a:pt x="1350368" y="1136236"/>
                </a:cubicBezTo>
                <a:lnTo>
                  <a:pt x="1339992" y="1132395"/>
                </a:lnTo>
                <a:lnTo>
                  <a:pt x="1300128" y="1194294"/>
                </a:lnTo>
                <a:lnTo>
                  <a:pt x="1303981" y="1194682"/>
                </a:lnTo>
                <a:lnTo>
                  <a:pt x="1316392" y="1240730"/>
                </a:lnTo>
                <a:lnTo>
                  <a:pt x="1317123" y="1240101"/>
                </a:lnTo>
                <a:cubicBezTo>
                  <a:pt x="1317123" y="1255482"/>
                  <a:pt x="1331478" y="1255482"/>
                  <a:pt x="1331478" y="1255482"/>
                </a:cubicBezTo>
                <a:lnTo>
                  <a:pt x="1332333" y="1257825"/>
                </a:lnTo>
                <a:lnTo>
                  <a:pt x="1389765" y="1228216"/>
                </a:lnTo>
                <a:cubicBezTo>
                  <a:pt x="1402817" y="1209584"/>
                  <a:pt x="1414006" y="1176057"/>
                  <a:pt x="1436385" y="1108991"/>
                </a:cubicBezTo>
                <a:close/>
                <a:moveTo>
                  <a:pt x="1451304" y="1004672"/>
                </a:moveTo>
                <a:cubicBezTo>
                  <a:pt x="1443844" y="1004672"/>
                  <a:pt x="1436385" y="1008397"/>
                  <a:pt x="1428925" y="1012123"/>
                </a:cubicBezTo>
                <a:lnTo>
                  <a:pt x="1414320" y="1016985"/>
                </a:lnTo>
                <a:lnTo>
                  <a:pt x="1369813" y="1086092"/>
                </a:lnTo>
                <a:lnTo>
                  <a:pt x="1384169" y="1079188"/>
                </a:lnTo>
                <a:cubicBezTo>
                  <a:pt x="1410277" y="1068010"/>
                  <a:pt x="1436385" y="1056831"/>
                  <a:pt x="1451304" y="1034474"/>
                </a:cubicBezTo>
                <a:cubicBezTo>
                  <a:pt x="1451304" y="1034474"/>
                  <a:pt x="1481140" y="1049381"/>
                  <a:pt x="1481140" y="1019574"/>
                </a:cubicBezTo>
                <a:cubicBezTo>
                  <a:pt x="1481140" y="1004672"/>
                  <a:pt x="1466225" y="1004672"/>
                  <a:pt x="1451304" y="1004672"/>
                </a:cubicBezTo>
                <a:close/>
                <a:moveTo>
                  <a:pt x="3913267" y="785447"/>
                </a:moveTo>
                <a:lnTo>
                  <a:pt x="3824939" y="861572"/>
                </a:lnTo>
                <a:cubicBezTo>
                  <a:pt x="3793235" y="887652"/>
                  <a:pt x="3763398" y="913732"/>
                  <a:pt x="3741020" y="943536"/>
                </a:cubicBezTo>
                <a:lnTo>
                  <a:pt x="3706967" y="998380"/>
                </a:lnTo>
                <a:lnTo>
                  <a:pt x="3733270" y="1009286"/>
                </a:lnTo>
                <a:lnTo>
                  <a:pt x="3757181" y="1015232"/>
                </a:lnTo>
                <a:lnTo>
                  <a:pt x="3767187" y="992328"/>
                </a:lnTo>
                <a:cubicBezTo>
                  <a:pt x="3791665" y="952511"/>
                  <a:pt x="3830825" y="918978"/>
                  <a:pt x="3853206" y="885447"/>
                </a:cubicBezTo>
                <a:close/>
                <a:moveTo>
                  <a:pt x="2833842" y="119"/>
                </a:moveTo>
                <a:cubicBezTo>
                  <a:pt x="2839669" y="584"/>
                  <a:pt x="2846196" y="2447"/>
                  <a:pt x="2853657" y="6173"/>
                </a:cubicBezTo>
                <a:cubicBezTo>
                  <a:pt x="2913330" y="35980"/>
                  <a:pt x="2987923" y="35980"/>
                  <a:pt x="3017762" y="110496"/>
                </a:cubicBezTo>
                <a:cubicBezTo>
                  <a:pt x="3032677" y="140299"/>
                  <a:pt x="3077436" y="125398"/>
                  <a:pt x="3107270" y="110496"/>
                </a:cubicBezTo>
                <a:cubicBezTo>
                  <a:pt x="3166948" y="95590"/>
                  <a:pt x="3196783" y="140299"/>
                  <a:pt x="3241542" y="170105"/>
                </a:cubicBezTo>
                <a:cubicBezTo>
                  <a:pt x="3271375" y="199913"/>
                  <a:pt x="3241542" y="229717"/>
                  <a:pt x="3226622" y="244623"/>
                </a:cubicBezTo>
                <a:cubicBezTo>
                  <a:pt x="3166948" y="304232"/>
                  <a:pt x="3092355" y="348942"/>
                  <a:pt x="3047597" y="408551"/>
                </a:cubicBezTo>
                <a:cubicBezTo>
                  <a:pt x="2987923" y="512875"/>
                  <a:pt x="2928250" y="602292"/>
                  <a:pt x="2853657" y="691710"/>
                </a:cubicBezTo>
                <a:lnTo>
                  <a:pt x="2787553" y="769749"/>
                </a:lnTo>
                <a:lnTo>
                  <a:pt x="2810937" y="778442"/>
                </a:lnTo>
                <a:cubicBezTo>
                  <a:pt x="2831916" y="785195"/>
                  <a:pt x="2853362" y="790783"/>
                  <a:pt x="2875739" y="794508"/>
                </a:cubicBezTo>
                <a:cubicBezTo>
                  <a:pt x="2898118" y="801958"/>
                  <a:pt x="2909308" y="824314"/>
                  <a:pt x="2911172" y="850394"/>
                </a:cubicBezTo>
                <a:lnTo>
                  <a:pt x="2907713" y="885762"/>
                </a:lnTo>
                <a:lnTo>
                  <a:pt x="2933261" y="893789"/>
                </a:lnTo>
                <a:lnTo>
                  <a:pt x="2940190" y="897251"/>
                </a:lnTo>
                <a:lnTo>
                  <a:pt x="2970586" y="859297"/>
                </a:lnTo>
                <a:cubicBezTo>
                  <a:pt x="2989235" y="833217"/>
                  <a:pt x="3007884" y="807138"/>
                  <a:pt x="3030264" y="784783"/>
                </a:cubicBezTo>
                <a:cubicBezTo>
                  <a:pt x="3060098" y="754975"/>
                  <a:pt x="3075017" y="695365"/>
                  <a:pt x="3104857" y="665559"/>
                </a:cubicBezTo>
                <a:cubicBezTo>
                  <a:pt x="3179448" y="576141"/>
                  <a:pt x="3254042" y="501629"/>
                  <a:pt x="3343551" y="412211"/>
                </a:cubicBezTo>
                <a:cubicBezTo>
                  <a:pt x="3351009" y="404756"/>
                  <a:pt x="3358468" y="397305"/>
                  <a:pt x="3367797" y="393580"/>
                </a:cubicBezTo>
                <a:cubicBezTo>
                  <a:pt x="3372456" y="391718"/>
                  <a:pt x="3377584" y="390786"/>
                  <a:pt x="3383412" y="391252"/>
                </a:cubicBezTo>
                <a:cubicBezTo>
                  <a:pt x="3389239" y="391718"/>
                  <a:pt x="3395768" y="393580"/>
                  <a:pt x="3403227" y="397305"/>
                </a:cubicBezTo>
                <a:lnTo>
                  <a:pt x="3444881" y="413743"/>
                </a:lnTo>
                <a:lnTo>
                  <a:pt x="3495154" y="348942"/>
                </a:lnTo>
                <a:cubicBezTo>
                  <a:pt x="3584667" y="259525"/>
                  <a:pt x="3584667" y="244623"/>
                  <a:pt x="3704018" y="289331"/>
                </a:cubicBezTo>
                <a:cubicBezTo>
                  <a:pt x="3748772" y="319134"/>
                  <a:pt x="3808447" y="319134"/>
                  <a:pt x="3853206" y="363844"/>
                </a:cubicBezTo>
                <a:lnTo>
                  <a:pt x="3857848" y="368487"/>
                </a:lnTo>
                <a:lnTo>
                  <a:pt x="3857848" y="364485"/>
                </a:lnTo>
                <a:lnTo>
                  <a:pt x="3870851" y="377487"/>
                </a:lnTo>
                <a:lnTo>
                  <a:pt x="3907981" y="360353"/>
                </a:lnTo>
                <a:cubicBezTo>
                  <a:pt x="3943648" y="363844"/>
                  <a:pt x="3968822" y="419732"/>
                  <a:pt x="4002391" y="408551"/>
                </a:cubicBezTo>
                <a:cubicBezTo>
                  <a:pt x="4017309" y="408551"/>
                  <a:pt x="4002391" y="468166"/>
                  <a:pt x="3987471" y="497969"/>
                </a:cubicBezTo>
                <a:cubicBezTo>
                  <a:pt x="3968822" y="531500"/>
                  <a:pt x="3948310" y="563169"/>
                  <a:pt x="3926630" y="593674"/>
                </a:cubicBezTo>
                <a:lnTo>
                  <a:pt x="3875730" y="660251"/>
                </a:lnTo>
                <a:lnTo>
                  <a:pt x="3903495" y="681106"/>
                </a:lnTo>
                <a:cubicBezTo>
                  <a:pt x="3913518" y="689256"/>
                  <a:pt x="3923774" y="697639"/>
                  <a:pt x="3934963" y="705091"/>
                </a:cubicBezTo>
                <a:cubicBezTo>
                  <a:pt x="3942421" y="712543"/>
                  <a:pt x="3946152" y="719995"/>
                  <a:pt x="3947318" y="727213"/>
                </a:cubicBezTo>
                <a:lnTo>
                  <a:pt x="3947017" y="729254"/>
                </a:lnTo>
                <a:lnTo>
                  <a:pt x="4032225" y="587386"/>
                </a:lnTo>
                <a:cubicBezTo>
                  <a:pt x="4091904" y="497969"/>
                  <a:pt x="4166496" y="408551"/>
                  <a:pt x="4241089" y="334040"/>
                </a:cubicBezTo>
                <a:cubicBezTo>
                  <a:pt x="4256003" y="319134"/>
                  <a:pt x="4285843" y="304232"/>
                  <a:pt x="4285843" y="319134"/>
                </a:cubicBezTo>
                <a:cubicBezTo>
                  <a:pt x="4330598" y="348942"/>
                  <a:pt x="4375356" y="334040"/>
                  <a:pt x="4405191" y="363844"/>
                </a:cubicBezTo>
                <a:cubicBezTo>
                  <a:pt x="4464868" y="393650"/>
                  <a:pt x="4539463" y="423458"/>
                  <a:pt x="4614055" y="423458"/>
                </a:cubicBezTo>
                <a:cubicBezTo>
                  <a:pt x="4658808" y="423458"/>
                  <a:pt x="4688648" y="483068"/>
                  <a:pt x="4673728" y="542678"/>
                </a:cubicBezTo>
                <a:cubicBezTo>
                  <a:pt x="4651351" y="587386"/>
                  <a:pt x="4621515" y="628370"/>
                  <a:pt x="4589812" y="669353"/>
                </a:cubicBezTo>
                <a:lnTo>
                  <a:pt x="4505788" y="781264"/>
                </a:lnTo>
                <a:lnTo>
                  <a:pt x="4528064" y="797361"/>
                </a:lnTo>
                <a:cubicBezTo>
                  <a:pt x="4535701" y="801083"/>
                  <a:pt x="4543569" y="802480"/>
                  <a:pt x="4551960" y="799685"/>
                </a:cubicBezTo>
                <a:cubicBezTo>
                  <a:pt x="4566880" y="799685"/>
                  <a:pt x="4551960" y="859300"/>
                  <a:pt x="4537041" y="889103"/>
                </a:cubicBezTo>
                <a:lnTo>
                  <a:pt x="4535871" y="890943"/>
                </a:lnTo>
                <a:lnTo>
                  <a:pt x="4546626" y="898827"/>
                </a:lnTo>
                <a:lnTo>
                  <a:pt x="4551270" y="903471"/>
                </a:lnTo>
                <a:lnTo>
                  <a:pt x="4551270" y="899469"/>
                </a:lnTo>
                <a:lnTo>
                  <a:pt x="4564272" y="912472"/>
                </a:lnTo>
                <a:lnTo>
                  <a:pt x="4601404" y="895336"/>
                </a:lnTo>
                <a:cubicBezTo>
                  <a:pt x="4610320" y="896210"/>
                  <a:pt x="4618581" y="900358"/>
                  <a:pt x="4626481" y="905913"/>
                </a:cubicBezTo>
                <a:lnTo>
                  <a:pt x="4632389" y="910817"/>
                </a:lnTo>
                <a:lnTo>
                  <a:pt x="4680634" y="846256"/>
                </a:lnTo>
                <a:cubicBezTo>
                  <a:pt x="4716067" y="803410"/>
                  <a:pt x="4753362" y="762429"/>
                  <a:pt x="4790660" y="725172"/>
                </a:cubicBezTo>
                <a:cubicBezTo>
                  <a:pt x="4801845" y="713993"/>
                  <a:pt x="4821427" y="702816"/>
                  <a:pt x="4830518" y="704213"/>
                </a:cubicBezTo>
                <a:lnTo>
                  <a:pt x="4832438" y="706588"/>
                </a:lnTo>
                <a:lnTo>
                  <a:pt x="4912426" y="587386"/>
                </a:lnTo>
                <a:cubicBezTo>
                  <a:pt x="4957179" y="512875"/>
                  <a:pt x="5016854" y="468166"/>
                  <a:pt x="5061612" y="408551"/>
                </a:cubicBezTo>
                <a:cubicBezTo>
                  <a:pt x="5076531" y="393650"/>
                  <a:pt x="5091447" y="378748"/>
                  <a:pt x="5106367" y="393650"/>
                </a:cubicBezTo>
                <a:cubicBezTo>
                  <a:pt x="5151124" y="423458"/>
                  <a:pt x="5225717" y="423458"/>
                  <a:pt x="5270472" y="468166"/>
                </a:cubicBezTo>
                <a:cubicBezTo>
                  <a:pt x="5292851" y="483068"/>
                  <a:pt x="5318959" y="494246"/>
                  <a:pt x="5345066" y="501696"/>
                </a:cubicBezTo>
                <a:lnTo>
                  <a:pt x="5411587" y="511666"/>
                </a:lnTo>
                <a:lnTo>
                  <a:pt x="5438713" y="495653"/>
                </a:lnTo>
                <a:cubicBezTo>
                  <a:pt x="5464820" y="486340"/>
                  <a:pt x="5494657" y="486340"/>
                  <a:pt x="5524494" y="493791"/>
                </a:cubicBezTo>
                <a:cubicBezTo>
                  <a:pt x="5614006" y="523598"/>
                  <a:pt x="5688604" y="568307"/>
                  <a:pt x="5778112" y="583209"/>
                </a:cubicBezTo>
                <a:lnTo>
                  <a:pt x="5795081" y="597203"/>
                </a:lnTo>
                <a:lnTo>
                  <a:pt x="5840410" y="528472"/>
                </a:lnTo>
                <a:cubicBezTo>
                  <a:pt x="5885128" y="483886"/>
                  <a:pt x="5914944" y="439299"/>
                  <a:pt x="5944756" y="394718"/>
                </a:cubicBezTo>
                <a:cubicBezTo>
                  <a:pt x="5967117" y="372423"/>
                  <a:pt x="5996929" y="364991"/>
                  <a:pt x="6024878" y="370565"/>
                </a:cubicBezTo>
                <a:cubicBezTo>
                  <a:pt x="6052828" y="376141"/>
                  <a:pt x="6078913" y="394718"/>
                  <a:pt x="6093820" y="424438"/>
                </a:cubicBezTo>
                <a:cubicBezTo>
                  <a:pt x="6108726" y="454165"/>
                  <a:pt x="6123632" y="394718"/>
                  <a:pt x="6153449" y="424438"/>
                </a:cubicBezTo>
                <a:cubicBezTo>
                  <a:pt x="6175807" y="454162"/>
                  <a:pt x="6205619" y="469024"/>
                  <a:pt x="6237295" y="474598"/>
                </a:cubicBezTo>
                <a:lnTo>
                  <a:pt x="6261071" y="475628"/>
                </a:lnTo>
                <a:lnTo>
                  <a:pt x="6264835" y="471436"/>
                </a:lnTo>
                <a:cubicBezTo>
                  <a:pt x="6303996" y="430454"/>
                  <a:pt x="6345021" y="389472"/>
                  <a:pt x="6389776" y="344763"/>
                </a:cubicBezTo>
                <a:cubicBezTo>
                  <a:pt x="6397236" y="337308"/>
                  <a:pt x="6404695" y="329857"/>
                  <a:pt x="6414022" y="326131"/>
                </a:cubicBezTo>
                <a:cubicBezTo>
                  <a:pt x="6418683" y="324269"/>
                  <a:pt x="6423811" y="323337"/>
                  <a:pt x="6429639" y="323803"/>
                </a:cubicBezTo>
                <a:cubicBezTo>
                  <a:pt x="6435467" y="324269"/>
                  <a:pt x="6441994" y="326132"/>
                  <a:pt x="6449453" y="329857"/>
                </a:cubicBezTo>
                <a:cubicBezTo>
                  <a:pt x="6509126" y="359665"/>
                  <a:pt x="6583720" y="359665"/>
                  <a:pt x="6613559" y="434180"/>
                </a:cubicBezTo>
                <a:cubicBezTo>
                  <a:pt x="6628473" y="463984"/>
                  <a:pt x="6673232" y="449082"/>
                  <a:pt x="6703067" y="434180"/>
                </a:cubicBezTo>
                <a:cubicBezTo>
                  <a:pt x="6762744" y="419274"/>
                  <a:pt x="6792579" y="463984"/>
                  <a:pt x="6837337" y="493791"/>
                </a:cubicBezTo>
                <a:cubicBezTo>
                  <a:pt x="6867171" y="523598"/>
                  <a:pt x="6837337" y="553401"/>
                  <a:pt x="6822418" y="568307"/>
                </a:cubicBezTo>
                <a:cubicBezTo>
                  <a:pt x="6762744" y="627917"/>
                  <a:pt x="6688152" y="672626"/>
                  <a:pt x="6643394" y="732236"/>
                </a:cubicBezTo>
                <a:lnTo>
                  <a:pt x="6613917" y="779710"/>
                </a:lnTo>
                <a:lnTo>
                  <a:pt x="6643390" y="815571"/>
                </a:lnTo>
                <a:cubicBezTo>
                  <a:pt x="6658296" y="845297"/>
                  <a:pt x="6673202" y="785849"/>
                  <a:pt x="6703019" y="815571"/>
                </a:cubicBezTo>
                <a:cubicBezTo>
                  <a:pt x="6747735" y="875019"/>
                  <a:pt x="6822265" y="875019"/>
                  <a:pt x="6881893" y="860158"/>
                </a:cubicBezTo>
                <a:cubicBezTo>
                  <a:pt x="6904253" y="860158"/>
                  <a:pt x="6915432" y="863873"/>
                  <a:pt x="6921022" y="871304"/>
                </a:cubicBezTo>
                <a:lnTo>
                  <a:pt x="6924299" y="890915"/>
                </a:lnTo>
                <a:lnTo>
                  <a:pt x="6986523" y="821653"/>
                </a:lnTo>
                <a:cubicBezTo>
                  <a:pt x="7016358" y="776945"/>
                  <a:pt x="7046197" y="717334"/>
                  <a:pt x="7090951" y="672626"/>
                </a:cubicBezTo>
                <a:cubicBezTo>
                  <a:pt x="7180463" y="583209"/>
                  <a:pt x="7180463" y="568307"/>
                  <a:pt x="7299815" y="613015"/>
                </a:cubicBezTo>
                <a:cubicBezTo>
                  <a:pt x="7344569" y="642818"/>
                  <a:pt x="7404243" y="642818"/>
                  <a:pt x="7449001" y="687528"/>
                </a:cubicBezTo>
                <a:lnTo>
                  <a:pt x="7453644" y="692171"/>
                </a:lnTo>
                <a:lnTo>
                  <a:pt x="7453644" y="688169"/>
                </a:lnTo>
                <a:lnTo>
                  <a:pt x="7466647" y="701172"/>
                </a:lnTo>
                <a:lnTo>
                  <a:pt x="7503778" y="684037"/>
                </a:lnTo>
                <a:cubicBezTo>
                  <a:pt x="7539445" y="687528"/>
                  <a:pt x="7564617" y="743416"/>
                  <a:pt x="7598187" y="732236"/>
                </a:cubicBezTo>
                <a:cubicBezTo>
                  <a:pt x="7613106" y="732236"/>
                  <a:pt x="7598187" y="791852"/>
                  <a:pt x="7583267" y="821653"/>
                </a:cubicBezTo>
                <a:cubicBezTo>
                  <a:pt x="7508673" y="955780"/>
                  <a:pt x="7404243" y="1060103"/>
                  <a:pt x="7314729" y="1179328"/>
                </a:cubicBezTo>
                <a:cubicBezTo>
                  <a:pt x="7269976" y="1268741"/>
                  <a:pt x="7225221" y="1358159"/>
                  <a:pt x="7150629" y="1417774"/>
                </a:cubicBezTo>
                <a:cubicBezTo>
                  <a:pt x="7105870" y="1462483"/>
                  <a:pt x="7061117" y="1522092"/>
                  <a:pt x="7046197" y="1581706"/>
                </a:cubicBezTo>
                <a:cubicBezTo>
                  <a:pt x="7046197" y="1589158"/>
                  <a:pt x="7046197" y="1592883"/>
                  <a:pt x="7044331" y="1596608"/>
                </a:cubicBezTo>
                <a:lnTo>
                  <a:pt x="7043427" y="1597641"/>
                </a:lnTo>
                <a:lnTo>
                  <a:pt x="7070780" y="1609327"/>
                </a:lnTo>
                <a:cubicBezTo>
                  <a:pt x="7083368" y="1616081"/>
                  <a:pt x="7095489" y="1624463"/>
                  <a:pt x="7106679" y="1635640"/>
                </a:cubicBezTo>
                <a:lnTo>
                  <a:pt x="7111321" y="1640283"/>
                </a:lnTo>
                <a:lnTo>
                  <a:pt x="7111321" y="1636282"/>
                </a:lnTo>
                <a:lnTo>
                  <a:pt x="7124059" y="1649021"/>
                </a:lnTo>
                <a:lnTo>
                  <a:pt x="7191162" y="1549022"/>
                </a:lnTo>
                <a:cubicBezTo>
                  <a:pt x="7213539" y="1511767"/>
                  <a:pt x="7239645" y="1481961"/>
                  <a:pt x="7265753" y="1454019"/>
                </a:cubicBezTo>
                <a:lnTo>
                  <a:pt x="7336664" y="1374327"/>
                </a:lnTo>
                <a:lnTo>
                  <a:pt x="7344569" y="1358159"/>
                </a:lnTo>
                <a:cubicBezTo>
                  <a:pt x="7359488" y="1298548"/>
                  <a:pt x="7419162" y="1253840"/>
                  <a:pt x="7449001" y="1209131"/>
                </a:cubicBezTo>
                <a:cubicBezTo>
                  <a:pt x="7508673" y="1104812"/>
                  <a:pt x="7568347" y="1015395"/>
                  <a:pt x="7628021" y="911071"/>
                </a:cubicBezTo>
                <a:cubicBezTo>
                  <a:pt x="7687699" y="821653"/>
                  <a:pt x="7762293" y="732236"/>
                  <a:pt x="7836885" y="657725"/>
                </a:cubicBezTo>
                <a:cubicBezTo>
                  <a:pt x="7851799" y="642818"/>
                  <a:pt x="7881639" y="627917"/>
                  <a:pt x="7881639" y="642818"/>
                </a:cubicBezTo>
                <a:cubicBezTo>
                  <a:pt x="7926393" y="672626"/>
                  <a:pt x="7971151" y="657725"/>
                  <a:pt x="8000987" y="687528"/>
                </a:cubicBezTo>
                <a:cubicBezTo>
                  <a:pt x="8060664" y="717334"/>
                  <a:pt x="8135257" y="747142"/>
                  <a:pt x="8209850" y="747142"/>
                </a:cubicBezTo>
                <a:cubicBezTo>
                  <a:pt x="8254603" y="747142"/>
                  <a:pt x="8284443" y="806752"/>
                  <a:pt x="8269523" y="866362"/>
                </a:cubicBezTo>
                <a:cubicBezTo>
                  <a:pt x="8224769" y="955780"/>
                  <a:pt x="8150177" y="1030296"/>
                  <a:pt x="8090498" y="1119714"/>
                </a:cubicBezTo>
                <a:cubicBezTo>
                  <a:pt x="8000987" y="1268741"/>
                  <a:pt x="7881639" y="1417774"/>
                  <a:pt x="7792127" y="1566802"/>
                </a:cubicBezTo>
                <a:lnTo>
                  <a:pt x="7728533" y="1664613"/>
                </a:lnTo>
                <a:lnTo>
                  <a:pt x="7757503" y="1676625"/>
                </a:lnTo>
                <a:cubicBezTo>
                  <a:pt x="7792935" y="1687803"/>
                  <a:pt x="7830233" y="1695255"/>
                  <a:pt x="7867527" y="1695255"/>
                </a:cubicBezTo>
                <a:cubicBezTo>
                  <a:pt x="7901093" y="1695255"/>
                  <a:pt x="7926269" y="1728785"/>
                  <a:pt x="7930465" y="1770700"/>
                </a:cubicBezTo>
                <a:lnTo>
                  <a:pt x="7928730" y="1793982"/>
                </a:lnTo>
                <a:lnTo>
                  <a:pt x="7940271" y="1772481"/>
                </a:lnTo>
                <a:cubicBezTo>
                  <a:pt x="7999893" y="1668450"/>
                  <a:pt x="8059522" y="1579277"/>
                  <a:pt x="8119145" y="1490108"/>
                </a:cubicBezTo>
                <a:lnTo>
                  <a:pt x="8143849" y="1461507"/>
                </a:lnTo>
                <a:lnTo>
                  <a:pt x="8172555" y="1408458"/>
                </a:lnTo>
                <a:cubicBezTo>
                  <a:pt x="8187472" y="1384241"/>
                  <a:pt x="8202391" y="1358160"/>
                  <a:pt x="8209850" y="1328356"/>
                </a:cubicBezTo>
                <a:cubicBezTo>
                  <a:pt x="8224769" y="1298548"/>
                  <a:pt x="8254603" y="1268741"/>
                  <a:pt x="8269523" y="1238939"/>
                </a:cubicBezTo>
                <a:cubicBezTo>
                  <a:pt x="8359035" y="1134615"/>
                  <a:pt x="8433629" y="1030296"/>
                  <a:pt x="8508222" y="911071"/>
                </a:cubicBezTo>
                <a:cubicBezTo>
                  <a:pt x="8552976" y="836559"/>
                  <a:pt x="8612649" y="791852"/>
                  <a:pt x="8657408" y="732236"/>
                </a:cubicBezTo>
                <a:cubicBezTo>
                  <a:pt x="8672327" y="717334"/>
                  <a:pt x="8687242" y="702433"/>
                  <a:pt x="8702162" y="717334"/>
                </a:cubicBezTo>
                <a:cubicBezTo>
                  <a:pt x="8746920" y="747142"/>
                  <a:pt x="8821513" y="747142"/>
                  <a:pt x="8866268" y="791852"/>
                </a:cubicBezTo>
                <a:cubicBezTo>
                  <a:pt x="8911026" y="821653"/>
                  <a:pt x="8970700" y="836559"/>
                  <a:pt x="9015453" y="836559"/>
                </a:cubicBezTo>
                <a:cubicBezTo>
                  <a:pt x="9090046" y="851461"/>
                  <a:pt x="9090046" y="896169"/>
                  <a:pt x="9060212" y="940878"/>
                </a:cubicBezTo>
                <a:cubicBezTo>
                  <a:pt x="9045292" y="985588"/>
                  <a:pt x="9015453" y="1045197"/>
                  <a:pt x="8970700" y="1089906"/>
                </a:cubicBezTo>
                <a:cubicBezTo>
                  <a:pt x="8851348" y="1238939"/>
                  <a:pt x="8776755" y="1417774"/>
                  <a:pt x="8657408" y="1551900"/>
                </a:cubicBezTo>
                <a:cubicBezTo>
                  <a:pt x="8635030" y="1581706"/>
                  <a:pt x="8614517" y="1613375"/>
                  <a:pt x="8595402" y="1646208"/>
                </a:cubicBezTo>
                <a:lnTo>
                  <a:pt x="8548065" y="1735644"/>
                </a:lnTo>
                <a:lnTo>
                  <a:pt x="8554636" y="1743641"/>
                </a:lnTo>
                <a:cubicBezTo>
                  <a:pt x="8569542" y="1773367"/>
                  <a:pt x="8584449" y="1713919"/>
                  <a:pt x="8614265" y="1743641"/>
                </a:cubicBezTo>
                <a:cubicBezTo>
                  <a:pt x="8625444" y="1758503"/>
                  <a:pt x="8638487" y="1769649"/>
                  <a:pt x="8652694" y="1777777"/>
                </a:cubicBezTo>
                <a:lnTo>
                  <a:pt x="8671581" y="1784441"/>
                </a:lnTo>
                <a:lnTo>
                  <a:pt x="8673132" y="1784673"/>
                </a:lnTo>
                <a:lnTo>
                  <a:pt x="8683881" y="1788780"/>
                </a:lnTo>
                <a:lnTo>
                  <a:pt x="8698111" y="1793801"/>
                </a:lnTo>
                <a:cubicBezTo>
                  <a:pt x="8729786" y="1799373"/>
                  <a:pt x="8763326" y="1795657"/>
                  <a:pt x="8793141" y="1788227"/>
                </a:cubicBezTo>
                <a:cubicBezTo>
                  <a:pt x="8815500" y="1788227"/>
                  <a:pt x="8826678" y="1791943"/>
                  <a:pt x="8832269" y="1799374"/>
                </a:cubicBezTo>
                <a:lnTo>
                  <a:pt x="8836528" y="1824857"/>
                </a:lnTo>
                <a:lnTo>
                  <a:pt x="8877214" y="1795882"/>
                </a:lnTo>
                <a:cubicBezTo>
                  <a:pt x="8895848" y="1784736"/>
                  <a:pt x="8914480" y="1773591"/>
                  <a:pt x="8929387" y="1758729"/>
                </a:cubicBezTo>
                <a:cubicBezTo>
                  <a:pt x="8959197" y="1743864"/>
                  <a:pt x="8970379" y="1714143"/>
                  <a:pt x="8981559" y="1686275"/>
                </a:cubicBezTo>
                <a:lnTo>
                  <a:pt x="9033547" y="1625191"/>
                </a:lnTo>
                <a:lnTo>
                  <a:pt x="9024414" y="1568664"/>
                </a:lnTo>
                <a:lnTo>
                  <a:pt x="9024573" y="1568361"/>
                </a:lnTo>
                <a:lnTo>
                  <a:pt x="9024414" y="1567380"/>
                </a:lnTo>
                <a:cubicBezTo>
                  <a:pt x="9030007" y="1550660"/>
                  <a:pt x="9041187" y="1535801"/>
                  <a:pt x="9048639" y="1520940"/>
                </a:cubicBezTo>
                <a:cubicBezTo>
                  <a:pt x="9093355" y="1372319"/>
                  <a:pt x="9197703" y="1268289"/>
                  <a:pt x="9257330" y="1134529"/>
                </a:cubicBezTo>
                <a:cubicBezTo>
                  <a:pt x="9316955" y="1030500"/>
                  <a:pt x="9376583" y="941325"/>
                  <a:pt x="9436206" y="852158"/>
                </a:cubicBezTo>
                <a:cubicBezTo>
                  <a:pt x="9480925" y="807571"/>
                  <a:pt x="9510740" y="762984"/>
                  <a:pt x="9540552" y="718402"/>
                </a:cubicBezTo>
                <a:cubicBezTo>
                  <a:pt x="9562913" y="696108"/>
                  <a:pt x="9592725" y="688675"/>
                  <a:pt x="9620674" y="694251"/>
                </a:cubicBezTo>
                <a:cubicBezTo>
                  <a:pt x="9648623" y="699825"/>
                  <a:pt x="9674710" y="718402"/>
                  <a:pt x="9689616" y="748123"/>
                </a:cubicBezTo>
                <a:cubicBezTo>
                  <a:pt x="9704522" y="777849"/>
                  <a:pt x="9719428" y="718402"/>
                  <a:pt x="9749244" y="748123"/>
                </a:cubicBezTo>
                <a:cubicBezTo>
                  <a:pt x="9793962" y="807571"/>
                  <a:pt x="9868492" y="807571"/>
                  <a:pt x="9928120" y="792710"/>
                </a:cubicBezTo>
                <a:cubicBezTo>
                  <a:pt x="9972838" y="792710"/>
                  <a:pt x="9972838" y="807571"/>
                  <a:pt x="9972838" y="837297"/>
                </a:cubicBezTo>
                <a:lnTo>
                  <a:pt x="9972788" y="837477"/>
                </a:lnTo>
                <a:lnTo>
                  <a:pt x="9972838" y="837532"/>
                </a:lnTo>
                <a:cubicBezTo>
                  <a:pt x="9972838" y="882177"/>
                  <a:pt x="9972838" y="911944"/>
                  <a:pt x="9943026" y="941710"/>
                </a:cubicBezTo>
                <a:cubicBezTo>
                  <a:pt x="9868492" y="1045894"/>
                  <a:pt x="9808869" y="1150077"/>
                  <a:pt x="9749244" y="1254260"/>
                </a:cubicBezTo>
                <a:cubicBezTo>
                  <a:pt x="9674710" y="1373322"/>
                  <a:pt x="9585270" y="1492389"/>
                  <a:pt x="9525647" y="1626339"/>
                </a:cubicBezTo>
                <a:lnTo>
                  <a:pt x="9468492" y="1738536"/>
                </a:lnTo>
                <a:lnTo>
                  <a:pt x="9490770" y="1746396"/>
                </a:lnTo>
                <a:cubicBezTo>
                  <a:pt x="9522445" y="1751968"/>
                  <a:pt x="9555984" y="1748253"/>
                  <a:pt x="9585799" y="1740822"/>
                </a:cubicBezTo>
                <a:cubicBezTo>
                  <a:pt x="9630516" y="1740822"/>
                  <a:pt x="9630516" y="1755684"/>
                  <a:pt x="9630516" y="1785409"/>
                </a:cubicBezTo>
                <a:lnTo>
                  <a:pt x="9630466" y="1785591"/>
                </a:lnTo>
                <a:lnTo>
                  <a:pt x="9630516" y="1785645"/>
                </a:lnTo>
                <a:cubicBezTo>
                  <a:pt x="9630516" y="1830290"/>
                  <a:pt x="9630516" y="1860057"/>
                  <a:pt x="9600704" y="1889824"/>
                </a:cubicBezTo>
                <a:cubicBezTo>
                  <a:pt x="9526170" y="1994006"/>
                  <a:pt x="9466546" y="2098190"/>
                  <a:pt x="9406922" y="2202374"/>
                </a:cubicBezTo>
                <a:cubicBezTo>
                  <a:pt x="9369656" y="2261905"/>
                  <a:pt x="9328662" y="2321437"/>
                  <a:pt x="9289532" y="2382830"/>
                </a:cubicBezTo>
                <a:lnTo>
                  <a:pt x="9231092" y="2488270"/>
                </a:lnTo>
                <a:lnTo>
                  <a:pt x="9229675" y="2492227"/>
                </a:lnTo>
                <a:lnTo>
                  <a:pt x="9228556" y="2492845"/>
                </a:lnTo>
                <a:lnTo>
                  <a:pt x="9217400" y="2512973"/>
                </a:lnTo>
                <a:lnTo>
                  <a:pt x="9229675" y="2522084"/>
                </a:lnTo>
                <a:cubicBezTo>
                  <a:pt x="9244685" y="2522084"/>
                  <a:pt x="9259691" y="2522084"/>
                  <a:pt x="9274695" y="2507155"/>
                </a:cubicBezTo>
                <a:cubicBezTo>
                  <a:pt x="9274695" y="2507155"/>
                  <a:pt x="9259691" y="2462370"/>
                  <a:pt x="9289705" y="2492227"/>
                </a:cubicBezTo>
                <a:cubicBezTo>
                  <a:pt x="9319716" y="2492227"/>
                  <a:pt x="9304711" y="2522084"/>
                  <a:pt x="9304711" y="2537012"/>
                </a:cubicBezTo>
                <a:cubicBezTo>
                  <a:pt x="9270945" y="2570602"/>
                  <a:pt x="9237180" y="2595794"/>
                  <a:pt x="9197084" y="2593694"/>
                </a:cubicBezTo>
                <a:lnTo>
                  <a:pt x="9176466" y="2587916"/>
                </a:lnTo>
                <a:lnTo>
                  <a:pt x="9073389" y="2790259"/>
                </a:lnTo>
                <a:cubicBezTo>
                  <a:pt x="9037986" y="2860954"/>
                  <a:pt x="9004447" y="2931647"/>
                  <a:pt x="8974633" y="3006065"/>
                </a:cubicBezTo>
                <a:cubicBezTo>
                  <a:pt x="8959726" y="3020948"/>
                  <a:pt x="8944820" y="3035832"/>
                  <a:pt x="8929914" y="3035832"/>
                </a:cubicBezTo>
                <a:lnTo>
                  <a:pt x="8932898" y="3035832"/>
                </a:lnTo>
                <a:cubicBezTo>
                  <a:pt x="8932898" y="3064541"/>
                  <a:pt x="8948686" y="3078895"/>
                  <a:pt x="8917107" y="3093249"/>
                </a:cubicBezTo>
                <a:lnTo>
                  <a:pt x="8915221" y="3092395"/>
                </a:lnTo>
                <a:lnTo>
                  <a:pt x="8915008" y="3093249"/>
                </a:lnTo>
                <a:lnTo>
                  <a:pt x="8893298" y="3082431"/>
                </a:lnTo>
                <a:lnTo>
                  <a:pt x="8885527" y="3078895"/>
                </a:lnTo>
                <a:lnTo>
                  <a:pt x="8885572" y="3078579"/>
                </a:lnTo>
                <a:lnTo>
                  <a:pt x="8885192" y="3078388"/>
                </a:lnTo>
                <a:cubicBezTo>
                  <a:pt x="8877741" y="3063528"/>
                  <a:pt x="8881467" y="3056094"/>
                  <a:pt x="8888921" y="3050521"/>
                </a:cubicBezTo>
                <a:lnTo>
                  <a:pt x="8914439" y="3034168"/>
                </a:lnTo>
                <a:lnTo>
                  <a:pt x="8890785" y="2965135"/>
                </a:lnTo>
                <a:lnTo>
                  <a:pt x="8891291" y="2964683"/>
                </a:lnTo>
                <a:lnTo>
                  <a:pt x="8890785" y="2963206"/>
                </a:lnTo>
                <a:cubicBezTo>
                  <a:pt x="8885197" y="2940916"/>
                  <a:pt x="8892647" y="2922339"/>
                  <a:pt x="8944820" y="2914907"/>
                </a:cubicBezTo>
                <a:lnTo>
                  <a:pt x="8944820" y="2901882"/>
                </a:lnTo>
                <a:lnTo>
                  <a:pt x="8944820" y="2900045"/>
                </a:lnTo>
                <a:cubicBezTo>
                  <a:pt x="8944820" y="2840598"/>
                  <a:pt x="8974633" y="2796012"/>
                  <a:pt x="9034262" y="2781150"/>
                </a:cubicBezTo>
                <a:cubicBezTo>
                  <a:pt x="9064072" y="2781150"/>
                  <a:pt x="9078978" y="2736565"/>
                  <a:pt x="9078978" y="2721703"/>
                </a:cubicBezTo>
                <a:cubicBezTo>
                  <a:pt x="9049166" y="2662256"/>
                  <a:pt x="9108790" y="2632530"/>
                  <a:pt x="9123697" y="2587948"/>
                </a:cubicBezTo>
                <a:lnTo>
                  <a:pt x="9127838" y="2567303"/>
                </a:lnTo>
                <a:lnTo>
                  <a:pt x="9084767" y="2544009"/>
                </a:lnTo>
                <a:lnTo>
                  <a:pt x="9022096" y="2518670"/>
                </a:lnTo>
                <a:lnTo>
                  <a:pt x="9022247" y="2520613"/>
                </a:lnTo>
                <a:cubicBezTo>
                  <a:pt x="9020453" y="2528303"/>
                  <a:pt x="9020453" y="2535993"/>
                  <a:pt x="9034807" y="2543682"/>
                </a:cubicBezTo>
                <a:cubicBezTo>
                  <a:pt x="9034807" y="2543682"/>
                  <a:pt x="9092225" y="2512926"/>
                  <a:pt x="9049161" y="2574440"/>
                </a:cubicBezTo>
                <a:cubicBezTo>
                  <a:pt x="9034807" y="2589820"/>
                  <a:pt x="9020454" y="2605200"/>
                  <a:pt x="8991745" y="2589820"/>
                </a:cubicBezTo>
                <a:cubicBezTo>
                  <a:pt x="8977391" y="2574440"/>
                  <a:pt x="8977391" y="2543682"/>
                  <a:pt x="8991745" y="2528301"/>
                </a:cubicBezTo>
                <a:cubicBezTo>
                  <a:pt x="8998921" y="2528301"/>
                  <a:pt x="9002510" y="2524458"/>
                  <a:pt x="9006099" y="2518691"/>
                </a:cubicBezTo>
                <a:lnTo>
                  <a:pt x="9009554" y="2513600"/>
                </a:lnTo>
                <a:lnTo>
                  <a:pt x="8977569" y="2500667"/>
                </a:lnTo>
                <a:lnTo>
                  <a:pt x="8959726" y="2514919"/>
                </a:lnTo>
                <a:cubicBezTo>
                  <a:pt x="8870286" y="2514919"/>
                  <a:pt x="8810662" y="2589337"/>
                  <a:pt x="8736129" y="2619102"/>
                </a:cubicBezTo>
                <a:cubicBezTo>
                  <a:pt x="8691411" y="2648869"/>
                  <a:pt x="8661598" y="2723287"/>
                  <a:pt x="8631786" y="2782815"/>
                </a:cubicBezTo>
                <a:cubicBezTo>
                  <a:pt x="8587065" y="2842348"/>
                  <a:pt x="8542347" y="2827464"/>
                  <a:pt x="8497624" y="2827464"/>
                </a:cubicBezTo>
                <a:cubicBezTo>
                  <a:pt x="8482718" y="2827464"/>
                  <a:pt x="8467812" y="2812582"/>
                  <a:pt x="8467812" y="2812582"/>
                </a:cubicBezTo>
                <a:lnTo>
                  <a:pt x="8468499" y="2811216"/>
                </a:lnTo>
                <a:lnTo>
                  <a:pt x="8467812" y="2810872"/>
                </a:lnTo>
                <a:cubicBezTo>
                  <a:pt x="8467812" y="2810872"/>
                  <a:pt x="8482718" y="2796012"/>
                  <a:pt x="8482718" y="2781150"/>
                </a:cubicBezTo>
                <a:cubicBezTo>
                  <a:pt x="8512534" y="2751425"/>
                  <a:pt x="8557253" y="2736565"/>
                  <a:pt x="8587065" y="2706843"/>
                </a:cubicBezTo>
                <a:cubicBezTo>
                  <a:pt x="8616876" y="2691977"/>
                  <a:pt x="8628058" y="2662256"/>
                  <a:pt x="8639237" y="2634388"/>
                </a:cubicBezTo>
                <a:lnTo>
                  <a:pt x="8691225" y="2573305"/>
                </a:lnTo>
                <a:lnTo>
                  <a:pt x="8682093" y="2516777"/>
                </a:lnTo>
                <a:lnTo>
                  <a:pt x="8682251" y="2516474"/>
                </a:lnTo>
                <a:lnTo>
                  <a:pt x="8682093" y="2515493"/>
                </a:lnTo>
                <a:cubicBezTo>
                  <a:pt x="8687685" y="2498775"/>
                  <a:pt x="8698865" y="2483914"/>
                  <a:pt x="8706317" y="2469053"/>
                </a:cubicBezTo>
                <a:cubicBezTo>
                  <a:pt x="8751034" y="2320433"/>
                  <a:pt x="8855381" y="2216403"/>
                  <a:pt x="8915008" y="2082642"/>
                </a:cubicBezTo>
                <a:cubicBezTo>
                  <a:pt x="8974633" y="1978612"/>
                  <a:pt x="9034262" y="1889439"/>
                  <a:pt x="9093884" y="1800270"/>
                </a:cubicBezTo>
                <a:cubicBezTo>
                  <a:pt x="9138603" y="1755684"/>
                  <a:pt x="9168419" y="1711097"/>
                  <a:pt x="9198230" y="1666514"/>
                </a:cubicBezTo>
                <a:cubicBezTo>
                  <a:pt x="9220592" y="1644221"/>
                  <a:pt x="9250403" y="1636789"/>
                  <a:pt x="9278352" y="1642363"/>
                </a:cubicBezTo>
                <a:cubicBezTo>
                  <a:pt x="9306301" y="1647937"/>
                  <a:pt x="9332388" y="1666514"/>
                  <a:pt x="9347294" y="1696236"/>
                </a:cubicBezTo>
                <a:cubicBezTo>
                  <a:pt x="9362199" y="1725962"/>
                  <a:pt x="9377106" y="1666514"/>
                  <a:pt x="9406922" y="1696236"/>
                </a:cubicBezTo>
                <a:lnTo>
                  <a:pt x="9423064" y="1710574"/>
                </a:lnTo>
                <a:lnTo>
                  <a:pt x="9426891" y="1701138"/>
                </a:lnTo>
                <a:cubicBezTo>
                  <a:pt x="9439933" y="1680703"/>
                  <a:pt x="9458565" y="1662126"/>
                  <a:pt x="9466019" y="1639834"/>
                </a:cubicBezTo>
                <a:cubicBezTo>
                  <a:pt x="9466019" y="1580387"/>
                  <a:pt x="9510740" y="1565522"/>
                  <a:pt x="9540552" y="1535801"/>
                </a:cubicBezTo>
                <a:lnTo>
                  <a:pt x="9544187" y="1497728"/>
                </a:lnTo>
                <a:lnTo>
                  <a:pt x="9525647" y="1447739"/>
                </a:lnTo>
                <a:cubicBezTo>
                  <a:pt x="9495834" y="1432856"/>
                  <a:pt x="9495834" y="1462623"/>
                  <a:pt x="9480925" y="1477505"/>
                </a:cubicBezTo>
                <a:cubicBezTo>
                  <a:pt x="9466019" y="1522156"/>
                  <a:pt x="9436206" y="1507272"/>
                  <a:pt x="9406394" y="1477505"/>
                </a:cubicBezTo>
                <a:lnTo>
                  <a:pt x="9407217" y="1476891"/>
                </a:lnTo>
                <a:lnTo>
                  <a:pt x="9406394" y="1476352"/>
                </a:lnTo>
                <a:cubicBezTo>
                  <a:pt x="9421300" y="1461493"/>
                  <a:pt x="9436206" y="1446627"/>
                  <a:pt x="9466019" y="1431766"/>
                </a:cubicBezTo>
                <a:cubicBezTo>
                  <a:pt x="9473473" y="1431766"/>
                  <a:pt x="9484654" y="1435482"/>
                  <a:pt x="9493968" y="1435482"/>
                </a:cubicBezTo>
                <a:lnTo>
                  <a:pt x="9510352" y="1417331"/>
                </a:lnTo>
                <a:lnTo>
                  <a:pt x="9493968" y="1390069"/>
                </a:lnTo>
                <a:cubicBezTo>
                  <a:pt x="9484654" y="1384485"/>
                  <a:pt x="9473473" y="1380764"/>
                  <a:pt x="9466019" y="1373322"/>
                </a:cubicBezTo>
                <a:lnTo>
                  <a:pt x="9467036" y="1372929"/>
                </a:lnTo>
                <a:lnTo>
                  <a:pt x="9466019" y="1372319"/>
                </a:lnTo>
                <a:cubicBezTo>
                  <a:pt x="9480929" y="1364891"/>
                  <a:pt x="9495834" y="1361175"/>
                  <a:pt x="9508877" y="1355600"/>
                </a:cubicBezTo>
                <a:lnTo>
                  <a:pt x="9540299" y="1327958"/>
                </a:lnTo>
                <a:lnTo>
                  <a:pt x="9527508" y="1291469"/>
                </a:lnTo>
                <a:cubicBezTo>
                  <a:pt x="9518191" y="1280306"/>
                  <a:pt x="9510740" y="1269144"/>
                  <a:pt x="9525647" y="1254260"/>
                </a:cubicBezTo>
                <a:cubicBezTo>
                  <a:pt x="9525647" y="1254260"/>
                  <a:pt x="9510740" y="1239377"/>
                  <a:pt x="9510740" y="1239377"/>
                </a:cubicBezTo>
                <a:cubicBezTo>
                  <a:pt x="9480925" y="1284028"/>
                  <a:pt x="9406394" y="1269144"/>
                  <a:pt x="9421300" y="1343555"/>
                </a:cubicBezTo>
                <a:cubicBezTo>
                  <a:pt x="9436206" y="1373322"/>
                  <a:pt x="9406394" y="1388205"/>
                  <a:pt x="9391488" y="1388205"/>
                </a:cubicBezTo>
                <a:cubicBezTo>
                  <a:pt x="9376583" y="1388205"/>
                  <a:pt x="9365401" y="1380764"/>
                  <a:pt x="9357947" y="1377043"/>
                </a:cubicBezTo>
                <a:lnTo>
                  <a:pt x="9346888" y="1388088"/>
                </a:lnTo>
                <a:lnTo>
                  <a:pt x="9350495" y="1415047"/>
                </a:lnTo>
                <a:cubicBezTo>
                  <a:pt x="9357947" y="1420622"/>
                  <a:pt x="9369127" y="1424338"/>
                  <a:pt x="9376583" y="1431766"/>
                </a:cubicBezTo>
                <a:lnTo>
                  <a:pt x="9375497" y="1432164"/>
                </a:lnTo>
                <a:lnTo>
                  <a:pt x="9376583" y="1432856"/>
                </a:lnTo>
                <a:cubicBezTo>
                  <a:pt x="9369127" y="1447739"/>
                  <a:pt x="9339315" y="1447739"/>
                  <a:pt x="9320684" y="1453323"/>
                </a:cubicBezTo>
                <a:lnTo>
                  <a:pt x="9305779" y="1467980"/>
                </a:lnTo>
                <a:lnTo>
                  <a:pt x="9331861" y="1506074"/>
                </a:lnTo>
                <a:cubicBezTo>
                  <a:pt x="9346771" y="1513506"/>
                  <a:pt x="9346771" y="1524651"/>
                  <a:pt x="9339315" y="1535801"/>
                </a:cubicBezTo>
                <a:lnTo>
                  <a:pt x="9339057" y="1536009"/>
                </a:lnTo>
                <a:lnTo>
                  <a:pt x="9339315" y="1537039"/>
                </a:lnTo>
                <a:cubicBezTo>
                  <a:pt x="9331861" y="1548202"/>
                  <a:pt x="9316955" y="1559364"/>
                  <a:pt x="9302048" y="1566806"/>
                </a:cubicBezTo>
                <a:cubicBezTo>
                  <a:pt x="9212608" y="1566806"/>
                  <a:pt x="9152984" y="1641222"/>
                  <a:pt x="9078450" y="1670989"/>
                </a:cubicBezTo>
                <a:cubicBezTo>
                  <a:pt x="9033733" y="1700756"/>
                  <a:pt x="9003920" y="1775172"/>
                  <a:pt x="8974108" y="1834701"/>
                </a:cubicBezTo>
                <a:cubicBezTo>
                  <a:pt x="8929387" y="1894236"/>
                  <a:pt x="8884669" y="1879352"/>
                  <a:pt x="8839946" y="1879352"/>
                </a:cubicBezTo>
                <a:lnTo>
                  <a:pt x="8834983" y="1877550"/>
                </a:lnTo>
                <a:lnTo>
                  <a:pt x="8834132" y="1890719"/>
                </a:lnTo>
                <a:cubicBezTo>
                  <a:pt x="8830405" y="1907462"/>
                  <a:pt x="8822952" y="1922345"/>
                  <a:pt x="8808045" y="1937229"/>
                </a:cubicBezTo>
                <a:cubicBezTo>
                  <a:pt x="8733512" y="2041412"/>
                  <a:pt x="8673888" y="2145595"/>
                  <a:pt x="8614265" y="2249779"/>
                </a:cubicBezTo>
                <a:cubicBezTo>
                  <a:pt x="8539730" y="2368841"/>
                  <a:pt x="8450290" y="2487908"/>
                  <a:pt x="8390666" y="2621858"/>
                </a:cubicBezTo>
                <a:cubicBezTo>
                  <a:pt x="8316133" y="2770692"/>
                  <a:pt x="8241603" y="2904637"/>
                  <a:pt x="8181973" y="3053470"/>
                </a:cubicBezTo>
                <a:cubicBezTo>
                  <a:pt x="8167068" y="3068353"/>
                  <a:pt x="8152163" y="3083237"/>
                  <a:pt x="8137257" y="3083237"/>
                </a:cubicBezTo>
                <a:lnTo>
                  <a:pt x="8140240" y="3083237"/>
                </a:lnTo>
                <a:cubicBezTo>
                  <a:pt x="8140240" y="3111946"/>
                  <a:pt x="8156027" y="3126300"/>
                  <a:pt x="8124447" y="3140654"/>
                </a:cubicBezTo>
                <a:lnTo>
                  <a:pt x="8122563" y="3139800"/>
                </a:lnTo>
                <a:lnTo>
                  <a:pt x="8122350" y="3140654"/>
                </a:lnTo>
                <a:lnTo>
                  <a:pt x="8100641" y="3129836"/>
                </a:lnTo>
                <a:lnTo>
                  <a:pt x="8092869" y="3126300"/>
                </a:lnTo>
                <a:lnTo>
                  <a:pt x="8092914" y="3125984"/>
                </a:lnTo>
                <a:lnTo>
                  <a:pt x="8092535" y="3125793"/>
                </a:lnTo>
                <a:cubicBezTo>
                  <a:pt x="8085083" y="3110933"/>
                  <a:pt x="8088809" y="3103499"/>
                  <a:pt x="8096263" y="3097926"/>
                </a:cubicBezTo>
                <a:lnTo>
                  <a:pt x="8121780" y="3081573"/>
                </a:lnTo>
                <a:lnTo>
                  <a:pt x="8098126" y="3012540"/>
                </a:lnTo>
                <a:lnTo>
                  <a:pt x="8098633" y="3012088"/>
                </a:lnTo>
                <a:lnTo>
                  <a:pt x="8098126" y="3010611"/>
                </a:lnTo>
                <a:cubicBezTo>
                  <a:pt x="8092539" y="2988321"/>
                  <a:pt x="8099989" y="2969744"/>
                  <a:pt x="8152163" y="2962312"/>
                </a:cubicBezTo>
                <a:lnTo>
                  <a:pt x="8152163" y="2949287"/>
                </a:lnTo>
                <a:lnTo>
                  <a:pt x="8152163" y="2947450"/>
                </a:lnTo>
                <a:cubicBezTo>
                  <a:pt x="8152163" y="2888003"/>
                  <a:pt x="8181973" y="2843417"/>
                  <a:pt x="8241603" y="2828556"/>
                </a:cubicBezTo>
                <a:cubicBezTo>
                  <a:pt x="8271414" y="2828556"/>
                  <a:pt x="8286321" y="2783970"/>
                  <a:pt x="8286321" y="2769108"/>
                </a:cubicBezTo>
                <a:cubicBezTo>
                  <a:pt x="8256508" y="2709661"/>
                  <a:pt x="8316133" y="2679935"/>
                  <a:pt x="8331037" y="2635353"/>
                </a:cubicBezTo>
                <a:cubicBezTo>
                  <a:pt x="8331037" y="2575906"/>
                  <a:pt x="8375761" y="2561041"/>
                  <a:pt x="8405572" y="2531319"/>
                </a:cubicBezTo>
                <a:lnTo>
                  <a:pt x="8409207" y="2493247"/>
                </a:lnTo>
                <a:lnTo>
                  <a:pt x="8390666" y="2443258"/>
                </a:lnTo>
                <a:cubicBezTo>
                  <a:pt x="8360855" y="2428374"/>
                  <a:pt x="8360855" y="2458140"/>
                  <a:pt x="8345944" y="2473024"/>
                </a:cubicBezTo>
                <a:cubicBezTo>
                  <a:pt x="8342217" y="2484187"/>
                  <a:pt x="8337559" y="2491628"/>
                  <a:pt x="8332202" y="2496047"/>
                </a:cubicBezTo>
                <a:lnTo>
                  <a:pt x="8314531" y="2500859"/>
                </a:lnTo>
                <a:lnTo>
                  <a:pt x="8259208" y="2585002"/>
                </a:lnTo>
                <a:lnTo>
                  <a:pt x="8265476" y="2583399"/>
                </a:lnTo>
                <a:cubicBezTo>
                  <a:pt x="8274447" y="2583399"/>
                  <a:pt x="8278036" y="2591087"/>
                  <a:pt x="8256504" y="2621845"/>
                </a:cubicBezTo>
                <a:cubicBezTo>
                  <a:pt x="8249327" y="2629534"/>
                  <a:pt x="8242150" y="2637225"/>
                  <a:pt x="8233177" y="2641071"/>
                </a:cubicBezTo>
                <a:lnTo>
                  <a:pt x="8227889" y="2641915"/>
                </a:lnTo>
                <a:lnTo>
                  <a:pt x="8199467" y="2695614"/>
                </a:lnTo>
                <a:cubicBezTo>
                  <a:pt x="8165901" y="2764541"/>
                  <a:pt x="8136064" y="2835330"/>
                  <a:pt x="8106227" y="2902393"/>
                </a:cubicBezTo>
                <a:cubicBezTo>
                  <a:pt x="8091307" y="2947101"/>
                  <a:pt x="8091307" y="3021617"/>
                  <a:pt x="8031633" y="3051425"/>
                </a:cubicBezTo>
                <a:cubicBezTo>
                  <a:pt x="8031633" y="3051425"/>
                  <a:pt x="8031633" y="3066327"/>
                  <a:pt x="8031633" y="3066327"/>
                </a:cubicBezTo>
                <a:cubicBezTo>
                  <a:pt x="8091307" y="3111035"/>
                  <a:pt x="8031633" y="3140842"/>
                  <a:pt x="8001794" y="3170645"/>
                </a:cubicBezTo>
                <a:cubicBezTo>
                  <a:pt x="7986875" y="3185551"/>
                  <a:pt x="7971955" y="3200452"/>
                  <a:pt x="7971955" y="3215354"/>
                </a:cubicBezTo>
                <a:cubicBezTo>
                  <a:pt x="7971955" y="3245161"/>
                  <a:pt x="7927201" y="3274968"/>
                  <a:pt x="7957041" y="3274968"/>
                </a:cubicBezTo>
                <a:cubicBezTo>
                  <a:pt x="7986875" y="3304771"/>
                  <a:pt x="7986875" y="3260063"/>
                  <a:pt x="8001794" y="3245161"/>
                </a:cubicBezTo>
                <a:cubicBezTo>
                  <a:pt x="8031633" y="3215354"/>
                  <a:pt x="8076387" y="3230260"/>
                  <a:pt x="8106227" y="3215354"/>
                </a:cubicBezTo>
                <a:lnTo>
                  <a:pt x="8165901" y="3215354"/>
                </a:lnTo>
                <a:cubicBezTo>
                  <a:pt x="8150983" y="3241435"/>
                  <a:pt x="8134199" y="3265653"/>
                  <a:pt x="8116017" y="3288706"/>
                </a:cubicBezTo>
                <a:lnTo>
                  <a:pt x="8086773" y="3322009"/>
                </a:lnTo>
                <a:lnTo>
                  <a:pt x="8087193" y="3338460"/>
                </a:lnTo>
                <a:cubicBezTo>
                  <a:pt x="8090945" y="3375781"/>
                  <a:pt x="8094697" y="3413103"/>
                  <a:pt x="8064685" y="3442959"/>
                </a:cubicBezTo>
                <a:cubicBezTo>
                  <a:pt x="8049675" y="3457887"/>
                  <a:pt x="8064685" y="3472816"/>
                  <a:pt x="8079689" y="3472816"/>
                </a:cubicBezTo>
                <a:cubicBezTo>
                  <a:pt x="8094695" y="3457887"/>
                  <a:pt x="8109705" y="3457887"/>
                  <a:pt x="8094695" y="3487746"/>
                </a:cubicBezTo>
                <a:cubicBezTo>
                  <a:pt x="8079689" y="3487746"/>
                  <a:pt x="8064685" y="3502673"/>
                  <a:pt x="8094695" y="3517602"/>
                </a:cubicBezTo>
                <a:cubicBezTo>
                  <a:pt x="8109705" y="3517602"/>
                  <a:pt x="8124711" y="3517602"/>
                  <a:pt x="8139716" y="3502673"/>
                </a:cubicBezTo>
                <a:cubicBezTo>
                  <a:pt x="8139716" y="3502673"/>
                  <a:pt x="8124711" y="3457887"/>
                  <a:pt x="8154725" y="3487746"/>
                </a:cubicBezTo>
                <a:cubicBezTo>
                  <a:pt x="8184737" y="3487746"/>
                  <a:pt x="8169731" y="3517602"/>
                  <a:pt x="8169731" y="3532531"/>
                </a:cubicBezTo>
                <a:cubicBezTo>
                  <a:pt x="8124711" y="3577316"/>
                  <a:pt x="8079689" y="3607173"/>
                  <a:pt x="8019663" y="3577316"/>
                </a:cubicBezTo>
                <a:cubicBezTo>
                  <a:pt x="7929622" y="3517602"/>
                  <a:pt x="7824571" y="3502673"/>
                  <a:pt x="7734529" y="3442959"/>
                </a:cubicBezTo>
                <a:cubicBezTo>
                  <a:pt x="7712021" y="3431763"/>
                  <a:pt x="7697951" y="3420567"/>
                  <a:pt x="7692323" y="3396774"/>
                </a:cubicBezTo>
                <a:lnTo>
                  <a:pt x="7691544" y="3388898"/>
                </a:lnTo>
                <a:lnTo>
                  <a:pt x="7673583" y="3379287"/>
                </a:lnTo>
                <a:cubicBezTo>
                  <a:pt x="7595263" y="3379287"/>
                  <a:pt x="7533725" y="3337372"/>
                  <a:pt x="7501555" y="3278692"/>
                </a:cubicBezTo>
                <a:lnTo>
                  <a:pt x="7491041" y="3248298"/>
                </a:lnTo>
                <a:lnTo>
                  <a:pt x="7411467" y="3370621"/>
                </a:lnTo>
                <a:lnTo>
                  <a:pt x="7372187" y="3441491"/>
                </a:lnTo>
                <a:lnTo>
                  <a:pt x="7372531" y="3454949"/>
                </a:lnTo>
                <a:cubicBezTo>
                  <a:pt x="7376283" y="3492271"/>
                  <a:pt x="7380035" y="3529592"/>
                  <a:pt x="7350023" y="3559449"/>
                </a:cubicBezTo>
                <a:cubicBezTo>
                  <a:pt x="7335013" y="3574377"/>
                  <a:pt x="7350023" y="3589306"/>
                  <a:pt x="7365027" y="3589306"/>
                </a:cubicBezTo>
                <a:cubicBezTo>
                  <a:pt x="7380033" y="3574377"/>
                  <a:pt x="7395043" y="3574377"/>
                  <a:pt x="7380033" y="3604235"/>
                </a:cubicBezTo>
                <a:cubicBezTo>
                  <a:pt x="7365027" y="3604235"/>
                  <a:pt x="7350023" y="3619163"/>
                  <a:pt x="7380033" y="3634092"/>
                </a:cubicBezTo>
                <a:cubicBezTo>
                  <a:pt x="7395043" y="3634092"/>
                  <a:pt x="7410049" y="3634092"/>
                  <a:pt x="7425053" y="3619163"/>
                </a:cubicBezTo>
                <a:cubicBezTo>
                  <a:pt x="7425053" y="3619163"/>
                  <a:pt x="7410049" y="3574377"/>
                  <a:pt x="7440063" y="3604235"/>
                </a:cubicBezTo>
                <a:cubicBezTo>
                  <a:pt x="7470075" y="3604235"/>
                  <a:pt x="7455069" y="3634092"/>
                  <a:pt x="7455069" y="3649021"/>
                </a:cubicBezTo>
                <a:cubicBezTo>
                  <a:pt x="7410049" y="3693806"/>
                  <a:pt x="7365027" y="3723663"/>
                  <a:pt x="7305002" y="3693806"/>
                </a:cubicBezTo>
                <a:lnTo>
                  <a:pt x="7252658" y="3665500"/>
                </a:lnTo>
                <a:lnTo>
                  <a:pt x="7195324" y="3778050"/>
                </a:lnTo>
                <a:cubicBezTo>
                  <a:pt x="7159921" y="3848744"/>
                  <a:pt x="7126381" y="3919439"/>
                  <a:pt x="7096567" y="3993856"/>
                </a:cubicBezTo>
                <a:cubicBezTo>
                  <a:pt x="7081661" y="4008738"/>
                  <a:pt x="7066757" y="4023622"/>
                  <a:pt x="7051850" y="4023622"/>
                </a:cubicBezTo>
                <a:lnTo>
                  <a:pt x="7054833" y="4023622"/>
                </a:lnTo>
                <a:cubicBezTo>
                  <a:pt x="7054833" y="4052331"/>
                  <a:pt x="7070621" y="4066686"/>
                  <a:pt x="7039043" y="4081040"/>
                </a:cubicBezTo>
                <a:lnTo>
                  <a:pt x="7037156" y="4080185"/>
                </a:lnTo>
                <a:lnTo>
                  <a:pt x="7036945" y="4081040"/>
                </a:lnTo>
                <a:lnTo>
                  <a:pt x="7015234" y="4070222"/>
                </a:lnTo>
                <a:lnTo>
                  <a:pt x="7007463" y="4066686"/>
                </a:lnTo>
                <a:lnTo>
                  <a:pt x="7007507" y="4066369"/>
                </a:lnTo>
                <a:lnTo>
                  <a:pt x="7007128" y="4066178"/>
                </a:lnTo>
                <a:cubicBezTo>
                  <a:pt x="6999677" y="4051319"/>
                  <a:pt x="7003403" y="4043885"/>
                  <a:pt x="7010857" y="4038311"/>
                </a:cubicBezTo>
                <a:lnTo>
                  <a:pt x="7036375" y="4021958"/>
                </a:lnTo>
                <a:lnTo>
                  <a:pt x="7012721" y="3952926"/>
                </a:lnTo>
                <a:lnTo>
                  <a:pt x="7013227" y="3952474"/>
                </a:lnTo>
                <a:lnTo>
                  <a:pt x="7012721" y="3950996"/>
                </a:lnTo>
                <a:cubicBezTo>
                  <a:pt x="7007133" y="3928707"/>
                  <a:pt x="7014583" y="3910130"/>
                  <a:pt x="7066757" y="3902697"/>
                </a:cubicBezTo>
                <a:lnTo>
                  <a:pt x="7066757" y="3889672"/>
                </a:lnTo>
                <a:lnTo>
                  <a:pt x="7066757" y="3887836"/>
                </a:lnTo>
                <a:cubicBezTo>
                  <a:pt x="7066757" y="3828389"/>
                  <a:pt x="7096567" y="3783803"/>
                  <a:pt x="7156195" y="3768941"/>
                </a:cubicBezTo>
                <a:cubicBezTo>
                  <a:pt x="7186007" y="3768941"/>
                  <a:pt x="7200914" y="3724355"/>
                  <a:pt x="7200914" y="3709494"/>
                </a:cubicBezTo>
                <a:cubicBezTo>
                  <a:pt x="7193461" y="3694632"/>
                  <a:pt x="7191598" y="3681628"/>
                  <a:pt x="7193227" y="3669785"/>
                </a:cubicBezTo>
                <a:lnTo>
                  <a:pt x="7203925" y="3643403"/>
                </a:lnTo>
                <a:lnTo>
                  <a:pt x="7162435" y="3626627"/>
                </a:lnTo>
                <a:cubicBezTo>
                  <a:pt x="7138047" y="3617298"/>
                  <a:pt x="7113661" y="3607967"/>
                  <a:pt x="7089744" y="3597236"/>
                </a:cubicBezTo>
                <a:lnTo>
                  <a:pt x="7041901" y="3571365"/>
                </a:lnTo>
                <a:lnTo>
                  <a:pt x="7026489" y="3578615"/>
                </a:lnTo>
                <a:cubicBezTo>
                  <a:pt x="7012503" y="3581409"/>
                  <a:pt x="6998984" y="3580012"/>
                  <a:pt x="6985231" y="3574191"/>
                </a:cubicBezTo>
                <a:lnTo>
                  <a:pt x="6953183" y="3550923"/>
                </a:lnTo>
                <a:lnTo>
                  <a:pt x="6911868" y="3578057"/>
                </a:lnTo>
                <a:cubicBezTo>
                  <a:pt x="6894400" y="3589219"/>
                  <a:pt x="6876697" y="3599451"/>
                  <a:pt x="6858064" y="3606893"/>
                </a:cubicBezTo>
                <a:cubicBezTo>
                  <a:pt x="6813346" y="3636660"/>
                  <a:pt x="6783533" y="3711077"/>
                  <a:pt x="6753723" y="3770605"/>
                </a:cubicBezTo>
                <a:cubicBezTo>
                  <a:pt x="6709000" y="3830139"/>
                  <a:pt x="6664282" y="3815255"/>
                  <a:pt x="6619560" y="3815255"/>
                </a:cubicBezTo>
                <a:cubicBezTo>
                  <a:pt x="6604654" y="3815255"/>
                  <a:pt x="6589749" y="3800372"/>
                  <a:pt x="6589749" y="3800372"/>
                </a:cubicBezTo>
                <a:lnTo>
                  <a:pt x="6590436" y="3799007"/>
                </a:lnTo>
                <a:lnTo>
                  <a:pt x="6589749" y="3798663"/>
                </a:lnTo>
                <a:cubicBezTo>
                  <a:pt x="6589749" y="3798663"/>
                  <a:pt x="6604654" y="3783803"/>
                  <a:pt x="6604654" y="3768941"/>
                </a:cubicBezTo>
                <a:cubicBezTo>
                  <a:pt x="6634471" y="3739216"/>
                  <a:pt x="6679189" y="3724355"/>
                  <a:pt x="6709000" y="3694633"/>
                </a:cubicBezTo>
                <a:cubicBezTo>
                  <a:pt x="6738813" y="3679768"/>
                  <a:pt x="6749993" y="3650046"/>
                  <a:pt x="6761173" y="3622179"/>
                </a:cubicBezTo>
                <a:lnTo>
                  <a:pt x="6813161" y="3561094"/>
                </a:lnTo>
                <a:lnTo>
                  <a:pt x="6804028" y="3504568"/>
                </a:lnTo>
                <a:lnTo>
                  <a:pt x="6804187" y="3504264"/>
                </a:lnTo>
                <a:lnTo>
                  <a:pt x="6804028" y="3503284"/>
                </a:lnTo>
                <a:lnTo>
                  <a:pt x="6818289" y="3475946"/>
                </a:lnTo>
                <a:lnTo>
                  <a:pt x="6783132" y="3465679"/>
                </a:lnTo>
                <a:cubicBezTo>
                  <a:pt x="6765416" y="3461255"/>
                  <a:pt x="6748633" y="3457529"/>
                  <a:pt x="6733715" y="3453804"/>
                </a:cubicBezTo>
                <a:cubicBezTo>
                  <a:pt x="6707607" y="3442626"/>
                  <a:pt x="6684296" y="3429586"/>
                  <a:pt x="6664249" y="3414915"/>
                </a:cubicBezTo>
                <a:lnTo>
                  <a:pt x="6646260" y="3397366"/>
                </a:lnTo>
                <a:lnTo>
                  <a:pt x="6608697" y="3452600"/>
                </a:lnTo>
                <a:cubicBezTo>
                  <a:pt x="6554151" y="3521760"/>
                  <a:pt x="6487017" y="3580438"/>
                  <a:pt x="6419883" y="3647501"/>
                </a:cubicBezTo>
                <a:cubicBezTo>
                  <a:pt x="6404964" y="3677309"/>
                  <a:pt x="6390044" y="3677309"/>
                  <a:pt x="6360209" y="3662407"/>
                </a:cubicBezTo>
                <a:cubicBezTo>
                  <a:pt x="6360209" y="3662407"/>
                  <a:pt x="6360209" y="3662407"/>
                  <a:pt x="6349019" y="3653093"/>
                </a:cubicBezTo>
                <a:lnTo>
                  <a:pt x="6340987" y="3646405"/>
                </a:lnTo>
                <a:lnTo>
                  <a:pt x="6321402" y="3683405"/>
                </a:lnTo>
                <a:cubicBezTo>
                  <a:pt x="6287837" y="3752331"/>
                  <a:pt x="6258000" y="3823119"/>
                  <a:pt x="6228163" y="3890182"/>
                </a:cubicBezTo>
                <a:cubicBezTo>
                  <a:pt x="6213243" y="3934892"/>
                  <a:pt x="6213243" y="4009408"/>
                  <a:pt x="6153570" y="4039216"/>
                </a:cubicBezTo>
                <a:cubicBezTo>
                  <a:pt x="6153570" y="4039216"/>
                  <a:pt x="6153570" y="4054117"/>
                  <a:pt x="6153570" y="4054117"/>
                </a:cubicBezTo>
                <a:cubicBezTo>
                  <a:pt x="6213243" y="4098825"/>
                  <a:pt x="6153570" y="4128633"/>
                  <a:pt x="6123732" y="4158436"/>
                </a:cubicBezTo>
                <a:cubicBezTo>
                  <a:pt x="6108811" y="4173342"/>
                  <a:pt x="6093892" y="4188243"/>
                  <a:pt x="6093892" y="4203144"/>
                </a:cubicBezTo>
                <a:cubicBezTo>
                  <a:pt x="6093892" y="4232952"/>
                  <a:pt x="6049138" y="4262759"/>
                  <a:pt x="6078977" y="4262759"/>
                </a:cubicBezTo>
                <a:cubicBezTo>
                  <a:pt x="6108811" y="4292562"/>
                  <a:pt x="6108811" y="4247854"/>
                  <a:pt x="6123732" y="4232952"/>
                </a:cubicBezTo>
                <a:cubicBezTo>
                  <a:pt x="6153570" y="4203144"/>
                  <a:pt x="6198324" y="4218050"/>
                  <a:pt x="6228163" y="4203144"/>
                </a:cubicBezTo>
                <a:lnTo>
                  <a:pt x="6287837" y="4203144"/>
                </a:lnTo>
                <a:cubicBezTo>
                  <a:pt x="6228163" y="4307469"/>
                  <a:pt x="6138651" y="4381980"/>
                  <a:pt x="6049138" y="4471397"/>
                </a:cubicBezTo>
                <a:cubicBezTo>
                  <a:pt x="6034219" y="4501205"/>
                  <a:pt x="6019299" y="4501205"/>
                  <a:pt x="5989464" y="4486303"/>
                </a:cubicBezTo>
                <a:cubicBezTo>
                  <a:pt x="5989464" y="4486303"/>
                  <a:pt x="5989464" y="4486303"/>
                  <a:pt x="5899953" y="4411787"/>
                </a:cubicBezTo>
                <a:cubicBezTo>
                  <a:pt x="5855193" y="4411787"/>
                  <a:pt x="5840279" y="4381980"/>
                  <a:pt x="5795520" y="4367078"/>
                </a:cubicBezTo>
                <a:cubicBezTo>
                  <a:pt x="5691093" y="4367078"/>
                  <a:pt x="5616500" y="4292562"/>
                  <a:pt x="5601580" y="4203144"/>
                </a:cubicBezTo>
                <a:cubicBezTo>
                  <a:pt x="5601580" y="4188243"/>
                  <a:pt x="5601580" y="4158436"/>
                  <a:pt x="5586660" y="4158436"/>
                </a:cubicBezTo>
                <a:cubicBezTo>
                  <a:pt x="5571740" y="4158436"/>
                  <a:pt x="5556821" y="4173342"/>
                  <a:pt x="5541907" y="4188243"/>
                </a:cubicBezTo>
                <a:cubicBezTo>
                  <a:pt x="5422555" y="4277661"/>
                  <a:pt x="5347962" y="4396886"/>
                  <a:pt x="5243530" y="4501205"/>
                </a:cubicBezTo>
                <a:cubicBezTo>
                  <a:pt x="5168938" y="4575720"/>
                  <a:pt x="5124182" y="4590622"/>
                  <a:pt x="5064509" y="4531012"/>
                </a:cubicBezTo>
                <a:cubicBezTo>
                  <a:pt x="5004835" y="4471397"/>
                  <a:pt x="4915323" y="4456496"/>
                  <a:pt x="4855650" y="4441594"/>
                </a:cubicBezTo>
                <a:cubicBezTo>
                  <a:pt x="4751218" y="4396886"/>
                  <a:pt x="4691545" y="4322369"/>
                  <a:pt x="4706459" y="4232952"/>
                </a:cubicBezTo>
                <a:cubicBezTo>
                  <a:pt x="4721378" y="4203144"/>
                  <a:pt x="4721378" y="4143535"/>
                  <a:pt x="4766138" y="4203144"/>
                </a:cubicBezTo>
                <a:cubicBezTo>
                  <a:pt x="4766138" y="4218050"/>
                  <a:pt x="4781052" y="4218050"/>
                  <a:pt x="4795972" y="4218050"/>
                </a:cubicBezTo>
                <a:cubicBezTo>
                  <a:pt x="4795972" y="4203144"/>
                  <a:pt x="4810891" y="4203144"/>
                  <a:pt x="4810891" y="4218050"/>
                </a:cubicBezTo>
                <a:cubicBezTo>
                  <a:pt x="4810891" y="4232952"/>
                  <a:pt x="4810891" y="4247854"/>
                  <a:pt x="4795972" y="4247854"/>
                </a:cubicBezTo>
                <a:cubicBezTo>
                  <a:pt x="4766138" y="4247854"/>
                  <a:pt x="4751218" y="4247854"/>
                  <a:pt x="4766138" y="4277661"/>
                </a:cubicBezTo>
                <a:cubicBezTo>
                  <a:pt x="4781052" y="4322369"/>
                  <a:pt x="4810891" y="4292562"/>
                  <a:pt x="4810891" y="4277661"/>
                </a:cubicBezTo>
                <a:cubicBezTo>
                  <a:pt x="4915323" y="4203144"/>
                  <a:pt x="5019750" y="4143535"/>
                  <a:pt x="5064509" y="4009408"/>
                </a:cubicBezTo>
                <a:cubicBezTo>
                  <a:pt x="5064509" y="4024309"/>
                  <a:pt x="5064509" y="4039216"/>
                  <a:pt x="5064509" y="4039216"/>
                </a:cubicBezTo>
                <a:cubicBezTo>
                  <a:pt x="5079429" y="4054117"/>
                  <a:pt x="5094344" y="4039216"/>
                  <a:pt x="5094344" y="4024309"/>
                </a:cubicBezTo>
                <a:cubicBezTo>
                  <a:pt x="5109263" y="3994506"/>
                  <a:pt x="5139102" y="3994506"/>
                  <a:pt x="5154021" y="3979601"/>
                </a:cubicBezTo>
                <a:cubicBezTo>
                  <a:pt x="5198775" y="3934892"/>
                  <a:pt x="5243530" y="3890182"/>
                  <a:pt x="5258449" y="3830573"/>
                </a:cubicBezTo>
                <a:cubicBezTo>
                  <a:pt x="5258449" y="3800765"/>
                  <a:pt x="5228614" y="3800765"/>
                  <a:pt x="5198775" y="3785863"/>
                </a:cubicBezTo>
                <a:cubicBezTo>
                  <a:pt x="5303208" y="3800765"/>
                  <a:pt x="5318122" y="3726249"/>
                  <a:pt x="5347962" y="3666638"/>
                </a:cubicBezTo>
                <a:lnTo>
                  <a:pt x="5355537" y="3656624"/>
                </a:lnTo>
                <a:lnTo>
                  <a:pt x="5330824" y="3645639"/>
                </a:lnTo>
                <a:lnTo>
                  <a:pt x="5320900" y="3642741"/>
                </a:lnTo>
                <a:lnTo>
                  <a:pt x="5323197" y="3652880"/>
                </a:lnTo>
                <a:cubicBezTo>
                  <a:pt x="5321179" y="3665665"/>
                  <a:pt x="5305030" y="3668356"/>
                  <a:pt x="5305030" y="3679121"/>
                </a:cubicBezTo>
                <a:cubicBezTo>
                  <a:pt x="5290677" y="3693476"/>
                  <a:pt x="5305030" y="3722185"/>
                  <a:pt x="5276321" y="3722185"/>
                </a:cubicBezTo>
                <a:cubicBezTo>
                  <a:pt x="5247612" y="3722185"/>
                  <a:pt x="5276321" y="3693476"/>
                  <a:pt x="5261968" y="3679121"/>
                </a:cubicBezTo>
                <a:cubicBezTo>
                  <a:pt x="5247612" y="3664766"/>
                  <a:pt x="5251203" y="3664766"/>
                  <a:pt x="5260172" y="3664766"/>
                </a:cubicBezTo>
                <a:lnTo>
                  <a:pt x="5260172" y="3664763"/>
                </a:lnTo>
                <a:cubicBezTo>
                  <a:pt x="5269147" y="3664763"/>
                  <a:pt x="5283501" y="3664763"/>
                  <a:pt x="5290677" y="3650408"/>
                </a:cubicBezTo>
                <a:cubicBezTo>
                  <a:pt x="5290677" y="3650408"/>
                  <a:pt x="5294266" y="3646819"/>
                  <a:pt x="5299647" y="3643232"/>
                </a:cubicBezTo>
                <a:lnTo>
                  <a:pt x="5309862" y="3639517"/>
                </a:lnTo>
                <a:lnTo>
                  <a:pt x="5275813" y="3629573"/>
                </a:lnTo>
                <a:lnTo>
                  <a:pt x="5245560" y="3622304"/>
                </a:lnTo>
                <a:lnTo>
                  <a:pt x="5209985" y="3662817"/>
                </a:lnTo>
                <a:cubicBezTo>
                  <a:pt x="5168960" y="3705661"/>
                  <a:pt x="5124204" y="3746644"/>
                  <a:pt x="5079447" y="3791353"/>
                </a:cubicBezTo>
                <a:cubicBezTo>
                  <a:pt x="5064528" y="3821161"/>
                  <a:pt x="5049608" y="3821161"/>
                  <a:pt x="5019772" y="3806259"/>
                </a:cubicBezTo>
                <a:cubicBezTo>
                  <a:pt x="5019772" y="3806259"/>
                  <a:pt x="5019772" y="3806259"/>
                  <a:pt x="5008583" y="3796945"/>
                </a:cubicBezTo>
                <a:lnTo>
                  <a:pt x="5004212" y="3793305"/>
                </a:lnTo>
                <a:lnTo>
                  <a:pt x="5005300" y="3799836"/>
                </a:lnTo>
                <a:cubicBezTo>
                  <a:pt x="5010429" y="3809150"/>
                  <a:pt x="5019752" y="3819395"/>
                  <a:pt x="5034670" y="3830573"/>
                </a:cubicBezTo>
                <a:cubicBezTo>
                  <a:pt x="4974996" y="3815667"/>
                  <a:pt x="4945158" y="3845475"/>
                  <a:pt x="4930243" y="3875281"/>
                </a:cubicBezTo>
                <a:cubicBezTo>
                  <a:pt x="4885484" y="3949794"/>
                  <a:pt x="4855650" y="4024309"/>
                  <a:pt x="4751218" y="4039216"/>
                </a:cubicBezTo>
                <a:cubicBezTo>
                  <a:pt x="4736298" y="4054117"/>
                  <a:pt x="4721378" y="4113727"/>
                  <a:pt x="4676626" y="4143535"/>
                </a:cubicBezTo>
                <a:cubicBezTo>
                  <a:pt x="4587113" y="4232952"/>
                  <a:pt x="4512519" y="4322369"/>
                  <a:pt x="4452848" y="4426688"/>
                </a:cubicBezTo>
                <a:cubicBezTo>
                  <a:pt x="4423008" y="4471397"/>
                  <a:pt x="4378252" y="4501205"/>
                  <a:pt x="4333495" y="4531012"/>
                </a:cubicBezTo>
                <a:cubicBezTo>
                  <a:pt x="4288741" y="4575720"/>
                  <a:pt x="4229068" y="4516106"/>
                  <a:pt x="4184308" y="4501205"/>
                </a:cubicBezTo>
                <a:cubicBezTo>
                  <a:pt x="4124634" y="4456496"/>
                  <a:pt x="4064961" y="4426688"/>
                  <a:pt x="4005288" y="4411787"/>
                </a:cubicBezTo>
                <a:cubicBezTo>
                  <a:pt x="3930696" y="4381980"/>
                  <a:pt x="3871017" y="4352176"/>
                  <a:pt x="3871017" y="4262759"/>
                </a:cubicBezTo>
                <a:cubicBezTo>
                  <a:pt x="3871017" y="4247854"/>
                  <a:pt x="3871017" y="4232952"/>
                  <a:pt x="3856102" y="4218050"/>
                </a:cubicBezTo>
                <a:cubicBezTo>
                  <a:pt x="3841183" y="4218050"/>
                  <a:pt x="3841183" y="4232952"/>
                  <a:pt x="3826264" y="4247854"/>
                </a:cubicBezTo>
                <a:cubicBezTo>
                  <a:pt x="3766591" y="4292562"/>
                  <a:pt x="3721832" y="4352176"/>
                  <a:pt x="3677076" y="4396886"/>
                </a:cubicBezTo>
                <a:cubicBezTo>
                  <a:pt x="3602484" y="4516106"/>
                  <a:pt x="3498052" y="4545913"/>
                  <a:pt x="3408539" y="4471397"/>
                </a:cubicBezTo>
                <a:cubicBezTo>
                  <a:pt x="3348866" y="4411787"/>
                  <a:pt x="3274273" y="4426688"/>
                  <a:pt x="3199680" y="4381980"/>
                </a:cubicBezTo>
                <a:cubicBezTo>
                  <a:pt x="3154921" y="4367078"/>
                  <a:pt x="3095251" y="4337271"/>
                  <a:pt x="3050495" y="4292562"/>
                </a:cubicBezTo>
                <a:cubicBezTo>
                  <a:pt x="3020657" y="4218050"/>
                  <a:pt x="3065415" y="4173342"/>
                  <a:pt x="3065415" y="4113727"/>
                </a:cubicBezTo>
                <a:cubicBezTo>
                  <a:pt x="3065415" y="4098825"/>
                  <a:pt x="3080330" y="4098825"/>
                  <a:pt x="3080330" y="4083924"/>
                </a:cubicBezTo>
                <a:cubicBezTo>
                  <a:pt x="3080330" y="4054117"/>
                  <a:pt x="3080330" y="4009408"/>
                  <a:pt x="3065415" y="3994506"/>
                </a:cubicBezTo>
                <a:cubicBezTo>
                  <a:pt x="3035576" y="3964699"/>
                  <a:pt x="3005737" y="4009408"/>
                  <a:pt x="2990821" y="4024309"/>
                </a:cubicBezTo>
                <a:cubicBezTo>
                  <a:pt x="2931145" y="4113727"/>
                  <a:pt x="2856551" y="4188243"/>
                  <a:pt x="2781958" y="4262759"/>
                </a:cubicBezTo>
                <a:cubicBezTo>
                  <a:pt x="2752124" y="4292562"/>
                  <a:pt x="2707365" y="4337271"/>
                  <a:pt x="2662610" y="4367078"/>
                </a:cubicBezTo>
                <a:cubicBezTo>
                  <a:pt x="2588017" y="4426688"/>
                  <a:pt x="2498506" y="4396886"/>
                  <a:pt x="2438833" y="4352176"/>
                </a:cubicBezTo>
                <a:cubicBezTo>
                  <a:pt x="2379159" y="4322369"/>
                  <a:pt x="2319481" y="4307469"/>
                  <a:pt x="2259807" y="4292562"/>
                </a:cubicBezTo>
                <a:cubicBezTo>
                  <a:pt x="2170295" y="4247854"/>
                  <a:pt x="2125541" y="4188243"/>
                  <a:pt x="2155375" y="4083924"/>
                </a:cubicBezTo>
                <a:cubicBezTo>
                  <a:pt x="2170295" y="4024309"/>
                  <a:pt x="2185214" y="3964699"/>
                  <a:pt x="2185214" y="3905084"/>
                </a:cubicBezTo>
                <a:cubicBezTo>
                  <a:pt x="2185214" y="3875281"/>
                  <a:pt x="2215054" y="3860376"/>
                  <a:pt x="2229972" y="3845475"/>
                </a:cubicBezTo>
                <a:cubicBezTo>
                  <a:pt x="2244888" y="3830573"/>
                  <a:pt x="2274727" y="3830573"/>
                  <a:pt x="2274727" y="3800765"/>
                </a:cubicBezTo>
                <a:cubicBezTo>
                  <a:pt x="2274727" y="3785863"/>
                  <a:pt x="2289646" y="3785863"/>
                  <a:pt x="2289646" y="3785863"/>
                </a:cubicBezTo>
                <a:cubicBezTo>
                  <a:pt x="2289646" y="3770957"/>
                  <a:pt x="2304566" y="3770957"/>
                  <a:pt x="2304566" y="3770957"/>
                </a:cubicBezTo>
                <a:cubicBezTo>
                  <a:pt x="2319481" y="3845475"/>
                  <a:pt x="2408992" y="3741156"/>
                  <a:pt x="2423914" y="3815667"/>
                </a:cubicBezTo>
                <a:cubicBezTo>
                  <a:pt x="2423914" y="3830573"/>
                  <a:pt x="2453752" y="3845475"/>
                  <a:pt x="2438833" y="3845475"/>
                </a:cubicBezTo>
                <a:cubicBezTo>
                  <a:pt x="2423914" y="3860376"/>
                  <a:pt x="2408992" y="3860376"/>
                  <a:pt x="2394074" y="3860376"/>
                </a:cubicBezTo>
                <a:cubicBezTo>
                  <a:pt x="2334400" y="3830573"/>
                  <a:pt x="2334400" y="3875281"/>
                  <a:pt x="2349319" y="3905084"/>
                </a:cubicBezTo>
                <a:cubicBezTo>
                  <a:pt x="2349319" y="3964699"/>
                  <a:pt x="2304566" y="3994506"/>
                  <a:pt x="2259807" y="4009408"/>
                </a:cubicBezTo>
                <a:cubicBezTo>
                  <a:pt x="2289646" y="4024309"/>
                  <a:pt x="2349319" y="4009408"/>
                  <a:pt x="2304566" y="4083924"/>
                </a:cubicBezTo>
                <a:cubicBezTo>
                  <a:pt x="2304566" y="4083924"/>
                  <a:pt x="2319481" y="4083924"/>
                  <a:pt x="2319481" y="4098825"/>
                </a:cubicBezTo>
                <a:cubicBezTo>
                  <a:pt x="2334400" y="4098825"/>
                  <a:pt x="2349319" y="4083924"/>
                  <a:pt x="2349319" y="4083924"/>
                </a:cubicBezTo>
                <a:cubicBezTo>
                  <a:pt x="2364240" y="4054117"/>
                  <a:pt x="2379159" y="4039216"/>
                  <a:pt x="2394074" y="4024309"/>
                </a:cubicBezTo>
                <a:cubicBezTo>
                  <a:pt x="2438833" y="4009408"/>
                  <a:pt x="2453752" y="3994506"/>
                  <a:pt x="2394074" y="3964699"/>
                </a:cubicBezTo>
                <a:cubicBezTo>
                  <a:pt x="2394074" y="3964699"/>
                  <a:pt x="2364240" y="3949794"/>
                  <a:pt x="2379159" y="3934892"/>
                </a:cubicBezTo>
                <a:cubicBezTo>
                  <a:pt x="2394074" y="3919990"/>
                  <a:pt x="2408992" y="3934892"/>
                  <a:pt x="2408992" y="3934892"/>
                </a:cubicBezTo>
                <a:cubicBezTo>
                  <a:pt x="2468666" y="3919990"/>
                  <a:pt x="2528345" y="3919990"/>
                  <a:pt x="2588017" y="3919990"/>
                </a:cubicBezTo>
                <a:cubicBezTo>
                  <a:pt x="2532073" y="3875279"/>
                  <a:pt x="2518087" y="3864101"/>
                  <a:pt x="2558646" y="3829873"/>
                </a:cubicBezTo>
                <a:lnTo>
                  <a:pt x="2558909" y="3829677"/>
                </a:lnTo>
                <a:lnTo>
                  <a:pt x="2543484" y="3831958"/>
                </a:lnTo>
                <a:cubicBezTo>
                  <a:pt x="2508080" y="3832569"/>
                  <a:pt x="2472416" y="3819296"/>
                  <a:pt x="2438849" y="3791353"/>
                </a:cubicBezTo>
                <a:cubicBezTo>
                  <a:pt x="2423929" y="3776450"/>
                  <a:pt x="2408080" y="3766205"/>
                  <a:pt x="2391529" y="3758521"/>
                </a:cubicBezTo>
                <a:lnTo>
                  <a:pt x="2363334" y="3748961"/>
                </a:lnTo>
                <a:lnTo>
                  <a:pt x="2357339" y="3751835"/>
                </a:lnTo>
                <a:cubicBezTo>
                  <a:pt x="2335868" y="3760946"/>
                  <a:pt x="2316473" y="3763749"/>
                  <a:pt x="2305388" y="3741322"/>
                </a:cubicBezTo>
                <a:lnTo>
                  <a:pt x="2305392" y="3741318"/>
                </a:lnTo>
                <a:lnTo>
                  <a:pt x="2305388" y="3741318"/>
                </a:lnTo>
                <a:lnTo>
                  <a:pt x="2303806" y="3731276"/>
                </a:lnTo>
                <a:lnTo>
                  <a:pt x="2285700" y="3726386"/>
                </a:lnTo>
                <a:cubicBezTo>
                  <a:pt x="2267286" y="3720564"/>
                  <a:pt x="2248638" y="3713113"/>
                  <a:pt x="2229989" y="3701935"/>
                </a:cubicBezTo>
                <a:cubicBezTo>
                  <a:pt x="2185230" y="3687034"/>
                  <a:pt x="2125557" y="3657227"/>
                  <a:pt x="2080804" y="3612518"/>
                </a:cubicBezTo>
                <a:cubicBezTo>
                  <a:pt x="2050964" y="3538006"/>
                  <a:pt x="2095722" y="3493297"/>
                  <a:pt x="2095722" y="3433682"/>
                </a:cubicBezTo>
                <a:lnTo>
                  <a:pt x="2102721" y="3419698"/>
                </a:lnTo>
                <a:lnTo>
                  <a:pt x="2091479" y="3412106"/>
                </a:lnTo>
                <a:cubicBezTo>
                  <a:pt x="2076561" y="3397203"/>
                  <a:pt x="2060710" y="3386958"/>
                  <a:pt x="2044161" y="3379274"/>
                </a:cubicBezTo>
                <a:lnTo>
                  <a:pt x="2004148" y="3365710"/>
                </a:lnTo>
                <a:lnTo>
                  <a:pt x="1922291" y="3469079"/>
                </a:lnTo>
                <a:cubicBezTo>
                  <a:pt x="1886859" y="3508199"/>
                  <a:pt x="1849563" y="3545457"/>
                  <a:pt x="1812265" y="3582715"/>
                </a:cubicBezTo>
                <a:cubicBezTo>
                  <a:pt x="1782431" y="3612518"/>
                  <a:pt x="1737673" y="3657227"/>
                  <a:pt x="1692919" y="3687034"/>
                </a:cubicBezTo>
                <a:cubicBezTo>
                  <a:pt x="1618326" y="3746644"/>
                  <a:pt x="1528813" y="3716842"/>
                  <a:pt x="1469139" y="3672132"/>
                </a:cubicBezTo>
                <a:cubicBezTo>
                  <a:pt x="1409467" y="3642325"/>
                  <a:pt x="1349789" y="3627424"/>
                  <a:pt x="1290115" y="3612518"/>
                </a:cubicBezTo>
                <a:cubicBezTo>
                  <a:pt x="1200603" y="3567809"/>
                  <a:pt x="1155848" y="3508199"/>
                  <a:pt x="1185684" y="3403880"/>
                </a:cubicBezTo>
                <a:lnTo>
                  <a:pt x="1202241" y="3331706"/>
                </a:lnTo>
                <a:lnTo>
                  <a:pt x="1171421" y="3322458"/>
                </a:lnTo>
                <a:cubicBezTo>
                  <a:pt x="1153472" y="3314308"/>
                  <a:pt x="1136689" y="3304063"/>
                  <a:pt x="1121771" y="3292885"/>
                </a:cubicBezTo>
                <a:cubicBezTo>
                  <a:pt x="1062098" y="3263078"/>
                  <a:pt x="1002419" y="3248178"/>
                  <a:pt x="942746" y="3233271"/>
                </a:cubicBezTo>
                <a:cubicBezTo>
                  <a:pt x="897989" y="3210917"/>
                  <a:pt x="864424" y="3184837"/>
                  <a:pt x="845775" y="3151306"/>
                </a:cubicBezTo>
                <a:lnTo>
                  <a:pt x="844660" y="3147455"/>
                </a:lnTo>
                <a:lnTo>
                  <a:pt x="827394" y="3148199"/>
                </a:lnTo>
                <a:cubicBezTo>
                  <a:pt x="788233" y="3142611"/>
                  <a:pt x="750937" y="3123984"/>
                  <a:pt x="721100" y="3101628"/>
                </a:cubicBezTo>
                <a:cubicBezTo>
                  <a:pt x="661426" y="3071822"/>
                  <a:pt x="601749" y="3056921"/>
                  <a:pt x="542075" y="3042014"/>
                </a:cubicBezTo>
                <a:cubicBezTo>
                  <a:pt x="452563" y="2997306"/>
                  <a:pt x="407808" y="2937695"/>
                  <a:pt x="437642" y="2833377"/>
                </a:cubicBezTo>
                <a:cubicBezTo>
                  <a:pt x="445103" y="2803569"/>
                  <a:pt x="452563" y="2773763"/>
                  <a:pt x="458157" y="2743957"/>
                </a:cubicBezTo>
                <a:lnTo>
                  <a:pt x="458462" y="2741032"/>
                </a:lnTo>
                <a:lnTo>
                  <a:pt x="458399" y="2741056"/>
                </a:lnTo>
                <a:cubicBezTo>
                  <a:pt x="398957" y="2755725"/>
                  <a:pt x="337417" y="2730580"/>
                  <a:pt x="292663" y="2697046"/>
                </a:cubicBezTo>
                <a:cubicBezTo>
                  <a:pt x="232989" y="2667241"/>
                  <a:pt x="173311" y="2652339"/>
                  <a:pt x="113637" y="2637433"/>
                </a:cubicBezTo>
                <a:cubicBezTo>
                  <a:pt x="24125" y="2592724"/>
                  <a:pt x="-20629" y="2533113"/>
                  <a:pt x="9205" y="2428795"/>
                </a:cubicBezTo>
                <a:cubicBezTo>
                  <a:pt x="24125" y="2369180"/>
                  <a:pt x="39045" y="2309569"/>
                  <a:pt x="39045" y="2249954"/>
                </a:cubicBezTo>
                <a:cubicBezTo>
                  <a:pt x="39045" y="2220152"/>
                  <a:pt x="68884" y="2205246"/>
                  <a:pt x="83803" y="2190344"/>
                </a:cubicBezTo>
                <a:cubicBezTo>
                  <a:pt x="98717" y="2175443"/>
                  <a:pt x="128557" y="2175443"/>
                  <a:pt x="128557" y="2145636"/>
                </a:cubicBezTo>
                <a:cubicBezTo>
                  <a:pt x="128557" y="2130735"/>
                  <a:pt x="143477" y="2130735"/>
                  <a:pt x="143477" y="2130735"/>
                </a:cubicBezTo>
                <a:cubicBezTo>
                  <a:pt x="143477" y="2115829"/>
                  <a:pt x="158397" y="2115829"/>
                  <a:pt x="158397" y="2115829"/>
                </a:cubicBezTo>
                <a:cubicBezTo>
                  <a:pt x="173311" y="2190344"/>
                  <a:pt x="262824" y="2086025"/>
                  <a:pt x="277743" y="2160537"/>
                </a:cubicBezTo>
                <a:cubicBezTo>
                  <a:pt x="277743" y="2175443"/>
                  <a:pt x="307582" y="2190344"/>
                  <a:pt x="292663" y="2190344"/>
                </a:cubicBezTo>
                <a:cubicBezTo>
                  <a:pt x="277743" y="2205246"/>
                  <a:pt x="262824" y="2205246"/>
                  <a:pt x="247904" y="2205246"/>
                </a:cubicBezTo>
                <a:cubicBezTo>
                  <a:pt x="188231" y="2175443"/>
                  <a:pt x="188231" y="2220152"/>
                  <a:pt x="203150" y="2249954"/>
                </a:cubicBezTo>
                <a:cubicBezTo>
                  <a:pt x="203150" y="2309569"/>
                  <a:pt x="158397" y="2339377"/>
                  <a:pt x="113637" y="2354279"/>
                </a:cubicBezTo>
                <a:cubicBezTo>
                  <a:pt x="143477" y="2369180"/>
                  <a:pt x="203150" y="2354279"/>
                  <a:pt x="158397" y="2428795"/>
                </a:cubicBezTo>
                <a:cubicBezTo>
                  <a:pt x="158397" y="2428795"/>
                  <a:pt x="173311" y="2428795"/>
                  <a:pt x="173311" y="2443696"/>
                </a:cubicBezTo>
                <a:cubicBezTo>
                  <a:pt x="188231" y="2443696"/>
                  <a:pt x="203150" y="2428795"/>
                  <a:pt x="203150" y="2428795"/>
                </a:cubicBezTo>
                <a:cubicBezTo>
                  <a:pt x="218069" y="2398988"/>
                  <a:pt x="232989" y="2384087"/>
                  <a:pt x="247904" y="2369180"/>
                </a:cubicBezTo>
                <a:cubicBezTo>
                  <a:pt x="292663" y="2354279"/>
                  <a:pt x="307582" y="2339377"/>
                  <a:pt x="247904" y="2309569"/>
                </a:cubicBezTo>
                <a:cubicBezTo>
                  <a:pt x="247904" y="2309569"/>
                  <a:pt x="218069" y="2294664"/>
                  <a:pt x="232989" y="2279762"/>
                </a:cubicBezTo>
                <a:cubicBezTo>
                  <a:pt x="247904" y="2264861"/>
                  <a:pt x="262824" y="2279762"/>
                  <a:pt x="262824" y="2279762"/>
                </a:cubicBezTo>
                <a:cubicBezTo>
                  <a:pt x="322497" y="2264861"/>
                  <a:pt x="382175" y="2264861"/>
                  <a:pt x="441849" y="2264861"/>
                </a:cubicBezTo>
                <a:cubicBezTo>
                  <a:pt x="367256" y="2205246"/>
                  <a:pt x="367256" y="2205246"/>
                  <a:pt x="471683" y="2130735"/>
                </a:cubicBezTo>
                <a:cubicBezTo>
                  <a:pt x="441849" y="2100927"/>
                  <a:pt x="397090" y="2086025"/>
                  <a:pt x="456768" y="2041317"/>
                </a:cubicBezTo>
                <a:cubicBezTo>
                  <a:pt x="471683" y="2041317"/>
                  <a:pt x="546276" y="2056218"/>
                  <a:pt x="501522" y="1996608"/>
                </a:cubicBezTo>
                <a:cubicBezTo>
                  <a:pt x="486603" y="1936994"/>
                  <a:pt x="456768" y="1922092"/>
                  <a:pt x="397090" y="1936994"/>
                </a:cubicBezTo>
                <a:cubicBezTo>
                  <a:pt x="397090" y="1907191"/>
                  <a:pt x="426929" y="1892284"/>
                  <a:pt x="456768" y="1877383"/>
                </a:cubicBezTo>
                <a:cubicBezTo>
                  <a:pt x="412009" y="1877383"/>
                  <a:pt x="382175" y="1847576"/>
                  <a:pt x="337416" y="1877383"/>
                </a:cubicBezTo>
                <a:cubicBezTo>
                  <a:pt x="337416" y="1892284"/>
                  <a:pt x="322497" y="1892284"/>
                  <a:pt x="322497" y="1877383"/>
                </a:cubicBezTo>
                <a:cubicBezTo>
                  <a:pt x="322497" y="1862481"/>
                  <a:pt x="322497" y="1847576"/>
                  <a:pt x="322497" y="1847576"/>
                </a:cubicBezTo>
                <a:cubicBezTo>
                  <a:pt x="352336" y="1847576"/>
                  <a:pt x="367256" y="1773064"/>
                  <a:pt x="412009" y="1832674"/>
                </a:cubicBezTo>
                <a:cubicBezTo>
                  <a:pt x="426929" y="1847576"/>
                  <a:pt x="456768" y="1832674"/>
                  <a:pt x="486603" y="1817773"/>
                </a:cubicBezTo>
                <a:cubicBezTo>
                  <a:pt x="508982" y="1795416"/>
                  <a:pt x="523901" y="1791691"/>
                  <a:pt x="533223" y="1799141"/>
                </a:cubicBezTo>
                <a:lnTo>
                  <a:pt x="545634" y="1845189"/>
                </a:lnTo>
                <a:lnTo>
                  <a:pt x="546366" y="1844560"/>
                </a:lnTo>
                <a:cubicBezTo>
                  <a:pt x="546366" y="1859941"/>
                  <a:pt x="560720" y="1859941"/>
                  <a:pt x="560720" y="1859941"/>
                </a:cubicBezTo>
                <a:lnTo>
                  <a:pt x="561575" y="1862283"/>
                </a:lnTo>
                <a:lnTo>
                  <a:pt x="619006" y="1832674"/>
                </a:lnTo>
                <a:cubicBezTo>
                  <a:pt x="632058" y="1814043"/>
                  <a:pt x="643248" y="1780514"/>
                  <a:pt x="665628" y="1713450"/>
                </a:cubicBezTo>
                <a:cubicBezTo>
                  <a:pt x="635789" y="1728355"/>
                  <a:pt x="591034" y="1758158"/>
                  <a:pt x="546276" y="1728355"/>
                </a:cubicBezTo>
                <a:cubicBezTo>
                  <a:pt x="576115" y="1683646"/>
                  <a:pt x="650708" y="1683646"/>
                  <a:pt x="680547" y="1638933"/>
                </a:cubicBezTo>
                <a:cubicBezTo>
                  <a:pt x="680547" y="1638933"/>
                  <a:pt x="710381" y="1653838"/>
                  <a:pt x="710381" y="1624031"/>
                </a:cubicBezTo>
                <a:cubicBezTo>
                  <a:pt x="710381" y="1609130"/>
                  <a:pt x="695466" y="1609130"/>
                  <a:pt x="680547" y="1609130"/>
                </a:cubicBezTo>
                <a:cubicBezTo>
                  <a:pt x="665628" y="1609130"/>
                  <a:pt x="650708" y="1624031"/>
                  <a:pt x="635789" y="1624031"/>
                </a:cubicBezTo>
                <a:cubicBezTo>
                  <a:pt x="620869" y="1624031"/>
                  <a:pt x="605954" y="1609130"/>
                  <a:pt x="591034" y="1594224"/>
                </a:cubicBezTo>
                <a:cubicBezTo>
                  <a:pt x="591034" y="1594224"/>
                  <a:pt x="591034" y="1579323"/>
                  <a:pt x="605954" y="1579323"/>
                </a:cubicBezTo>
                <a:cubicBezTo>
                  <a:pt x="620869" y="1564421"/>
                  <a:pt x="650708" y="1549516"/>
                  <a:pt x="620869" y="1534614"/>
                </a:cubicBezTo>
                <a:cubicBezTo>
                  <a:pt x="605954" y="1504812"/>
                  <a:pt x="591034" y="1534614"/>
                  <a:pt x="576115" y="1549516"/>
                </a:cubicBezTo>
                <a:cubicBezTo>
                  <a:pt x="561195" y="1549516"/>
                  <a:pt x="561195" y="1549516"/>
                  <a:pt x="561195" y="1549516"/>
                </a:cubicBezTo>
                <a:cubicBezTo>
                  <a:pt x="591034" y="1340878"/>
                  <a:pt x="755139" y="1206751"/>
                  <a:pt x="859568" y="1042818"/>
                </a:cubicBezTo>
                <a:cubicBezTo>
                  <a:pt x="904326" y="968302"/>
                  <a:pt x="963999" y="908691"/>
                  <a:pt x="1008754" y="834175"/>
                </a:cubicBezTo>
                <a:cubicBezTo>
                  <a:pt x="1038592" y="774564"/>
                  <a:pt x="1098266" y="759663"/>
                  <a:pt x="1157939" y="774564"/>
                </a:cubicBezTo>
                <a:cubicBezTo>
                  <a:pt x="1225073" y="796920"/>
                  <a:pt x="1283818" y="827659"/>
                  <a:pt x="1346756" y="847917"/>
                </a:cubicBezTo>
                <a:lnTo>
                  <a:pt x="1360877" y="851418"/>
                </a:lnTo>
                <a:lnTo>
                  <a:pt x="1376476" y="800919"/>
                </a:lnTo>
                <a:cubicBezTo>
                  <a:pt x="1440115" y="667493"/>
                  <a:pt x="1552004" y="561308"/>
                  <a:pt x="1630325" y="438359"/>
                </a:cubicBezTo>
                <a:cubicBezTo>
                  <a:pt x="1675083" y="363844"/>
                  <a:pt x="1734758" y="304232"/>
                  <a:pt x="1779512" y="229717"/>
                </a:cubicBezTo>
                <a:cubicBezTo>
                  <a:pt x="1809350" y="170105"/>
                  <a:pt x="1869024" y="155205"/>
                  <a:pt x="1928697" y="170105"/>
                </a:cubicBezTo>
                <a:cubicBezTo>
                  <a:pt x="2018210" y="199913"/>
                  <a:pt x="2092808" y="244623"/>
                  <a:pt x="2182315" y="259525"/>
                </a:cubicBezTo>
                <a:cubicBezTo>
                  <a:pt x="2227074" y="274424"/>
                  <a:pt x="2227074" y="348942"/>
                  <a:pt x="2197235" y="393650"/>
                </a:cubicBezTo>
                <a:lnTo>
                  <a:pt x="2061211" y="604857"/>
                </a:lnTo>
                <a:lnTo>
                  <a:pt x="2063084" y="604578"/>
                </a:lnTo>
                <a:cubicBezTo>
                  <a:pt x="2068911" y="605043"/>
                  <a:pt x="2075439" y="606906"/>
                  <a:pt x="2082898" y="610631"/>
                </a:cubicBezTo>
                <a:cubicBezTo>
                  <a:pt x="2127653" y="632986"/>
                  <a:pt x="2180801" y="638576"/>
                  <a:pt x="2217166" y="671410"/>
                </a:cubicBezTo>
                <a:lnTo>
                  <a:pt x="2244257" y="710947"/>
                </a:lnTo>
                <a:lnTo>
                  <a:pt x="2247353" y="703118"/>
                </a:lnTo>
                <a:cubicBezTo>
                  <a:pt x="2250383" y="693570"/>
                  <a:pt x="2253179" y="684256"/>
                  <a:pt x="2256908" y="676804"/>
                </a:cubicBezTo>
                <a:cubicBezTo>
                  <a:pt x="2271827" y="617194"/>
                  <a:pt x="2316587" y="572485"/>
                  <a:pt x="2361340" y="542678"/>
                </a:cubicBezTo>
                <a:cubicBezTo>
                  <a:pt x="2406094" y="497969"/>
                  <a:pt x="2435934" y="438359"/>
                  <a:pt x="2480692" y="393650"/>
                </a:cubicBezTo>
                <a:cubicBezTo>
                  <a:pt x="2510526" y="363844"/>
                  <a:pt x="2525445" y="304232"/>
                  <a:pt x="2555285" y="274424"/>
                </a:cubicBezTo>
                <a:cubicBezTo>
                  <a:pt x="2629878" y="185007"/>
                  <a:pt x="2704471" y="110496"/>
                  <a:pt x="2793979" y="21079"/>
                </a:cubicBezTo>
                <a:cubicBezTo>
                  <a:pt x="2801438" y="13622"/>
                  <a:pt x="2808898" y="6173"/>
                  <a:pt x="2818225" y="2447"/>
                </a:cubicBezTo>
                <a:cubicBezTo>
                  <a:pt x="2822886" y="584"/>
                  <a:pt x="2828014" y="-347"/>
                  <a:pt x="2833842" y="119"/>
                </a:cubicBezTo>
                <a:close/>
              </a:path>
            </a:pathLst>
          </a:custGeom>
          <a:solidFill>
            <a:schemeClr val="bg1">
              <a:lumMod val="95000"/>
            </a:schemeClr>
          </a:solidFill>
        </p:spPr>
        <p:txBody>
          <a:bodyPr wrap="square" anchor="ctr">
            <a:noAutofit/>
          </a:bodyPr>
          <a:lstStyle>
            <a:lvl1pPr marL="0" indent="0" algn="ctr">
              <a:buFontTx/>
              <a:buNone/>
              <a:defRPr sz="1575">
                <a:solidFill>
                  <a:schemeClr val="tx1"/>
                </a:solidFill>
              </a:defRPr>
            </a:lvl1pPr>
          </a:lstStyle>
          <a:p>
            <a:r>
              <a:rPr lang="en-US"/>
              <a:t>Image</a:t>
            </a:r>
          </a:p>
        </p:txBody>
      </p:sp>
    </p:spTree>
    <p:extLst>
      <p:ext uri="{BB962C8B-B14F-4D97-AF65-F5344CB8AC3E}">
        <p14:creationId xmlns:p14="http://schemas.microsoft.com/office/powerpoint/2010/main" val="17493555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4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BF62209A-EDA3-46E8-8FBF-7F2AAFF38E58}"/>
              </a:ext>
            </a:extLst>
          </p:cNvPr>
          <p:cNvSpPr>
            <a:spLocks noGrp="1"/>
          </p:cNvSpPr>
          <p:nvPr>
            <p:ph type="pic" sz="quarter" idx="17"/>
          </p:nvPr>
        </p:nvSpPr>
        <p:spPr>
          <a:xfrm>
            <a:off x="263495" y="122811"/>
            <a:ext cx="15077797" cy="6147570"/>
          </a:xfrm>
          <a:custGeom>
            <a:avLst/>
            <a:gdLst>
              <a:gd name="connsiteX0" fmla="*/ 2086570 w 11346020"/>
              <a:gd name="connsiteY0" fmla="*/ 4621041 h 4683863"/>
              <a:gd name="connsiteX1" fmla="*/ 2140163 w 11346020"/>
              <a:gd name="connsiteY1" fmla="*/ 4640944 h 4683863"/>
              <a:gd name="connsiteX2" fmla="*/ 2140163 w 11346020"/>
              <a:gd name="connsiteY2" fmla="*/ 4665443 h 4683863"/>
              <a:gd name="connsiteX3" fmla="*/ 2103414 w 11346020"/>
              <a:gd name="connsiteY3" fmla="*/ 4665443 h 4683863"/>
              <a:gd name="connsiteX4" fmla="*/ 2042166 w 11346020"/>
              <a:gd name="connsiteY4" fmla="*/ 4665443 h 4683863"/>
              <a:gd name="connsiteX5" fmla="*/ 2086570 w 11346020"/>
              <a:gd name="connsiteY5" fmla="*/ 4621041 h 4683863"/>
              <a:gd name="connsiteX6" fmla="*/ 4419997 w 11346020"/>
              <a:gd name="connsiteY6" fmla="*/ 4566374 h 4683863"/>
              <a:gd name="connsiteX7" fmla="*/ 4448201 w 11346020"/>
              <a:gd name="connsiteY7" fmla="*/ 4588269 h 4683863"/>
              <a:gd name="connsiteX8" fmla="*/ 4448196 w 11346020"/>
              <a:gd name="connsiteY8" fmla="*/ 4588273 h 4683863"/>
              <a:gd name="connsiteX9" fmla="*/ 4448201 w 11346020"/>
              <a:gd name="connsiteY9" fmla="*/ 4588273 h 4683863"/>
              <a:gd name="connsiteX10" fmla="*/ 4434928 w 11346020"/>
              <a:gd name="connsiteY10" fmla="*/ 4615222 h 4683863"/>
              <a:gd name="connsiteX11" fmla="*/ 4381844 w 11346020"/>
              <a:gd name="connsiteY11" fmla="*/ 4574800 h 4683863"/>
              <a:gd name="connsiteX12" fmla="*/ 4381848 w 11346020"/>
              <a:gd name="connsiteY12" fmla="*/ 4574800 h 4683863"/>
              <a:gd name="connsiteX13" fmla="*/ 4381844 w 11346020"/>
              <a:gd name="connsiteY13" fmla="*/ 4574796 h 4683863"/>
              <a:gd name="connsiteX14" fmla="*/ 4419997 w 11346020"/>
              <a:gd name="connsiteY14" fmla="*/ 4566374 h 4683863"/>
              <a:gd name="connsiteX15" fmla="*/ 4865799 w 11346020"/>
              <a:gd name="connsiteY15" fmla="*/ 4562964 h 4683863"/>
              <a:gd name="connsiteX16" fmla="*/ 4913701 w 11346020"/>
              <a:gd name="connsiteY16" fmla="*/ 4564002 h 4683863"/>
              <a:gd name="connsiteX17" fmla="*/ 4982076 w 11346020"/>
              <a:gd name="connsiteY17" fmla="*/ 4602150 h 4683863"/>
              <a:gd name="connsiteX18" fmla="*/ 4982072 w 11346020"/>
              <a:gd name="connsiteY18" fmla="*/ 4602150 h 4683863"/>
              <a:gd name="connsiteX19" fmla="*/ 4982076 w 11346020"/>
              <a:gd name="connsiteY19" fmla="*/ 4602155 h 4683863"/>
              <a:gd name="connsiteX20" fmla="*/ 4816703 w 11346020"/>
              <a:gd name="connsiteY20" fmla="*/ 4575614 h 4683863"/>
              <a:gd name="connsiteX21" fmla="*/ 4816715 w 11346020"/>
              <a:gd name="connsiteY21" fmla="*/ 4575614 h 4683863"/>
              <a:gd name="connsiteX22" fmla="*/ 4816703 w 11346020"/>
              <a:gd name="connsiteY22" fmla="*/ 4575611 h 4683863"/>
              <a:gd name="connsiteX23" fmla="*/ 4865799 w 11346020"/>
              <a:gd name="connsiteY23" fmla="*/ 4562964 h 4683863"/>
              <a:gd name="connsiteX24" fmla="*/ 4602337 w 11346020"/>
              <a:gd name="connsiteY24" fmla="*/ 4524571 h 4683863"/>
              <a:gd name="connsiteX25" fmla="*/ 4791826 w 11346020"/>
              <a:gd name="connsiteY25" fmla="*/ 4551521 h 4683863"/>
              <a:gd name="connsiteX26" fmla="*/ 4804458 w 11346020"/>
              <a:gd name="connsiteY26" fmla="*/ 4578469 h 4683863"/>
              <a:gd name="connsiteX27" fmla="*/ 4804458 w 11346020"/>
              <a:gd name="connsiteY27" fmla="*/ 4578473 h 4683863"/>
              <a:gd name="connsiteX28" fmla="*/ 4779194 w 11346020"/>
              <a:gd name="connsiteY28" fmla="*/ 4591946 h 4683863"/>
              <a:gd name="connsiteX29" fmla="*/ 4602337 w 11346020"/>
              <a:gd name="connsiteY29" fmla="*/ 4524575 h 4683863"/>
              <a:gd name="connsiteX30" fmla="*/ 4602349 w 11346020"/>
              <a:gd name="connsiteY30" fmla="*/ 4524579 h 4683863"/>
              <a:gd name="connsiteX31" fmla="*/ 3760791 w 11346020"/>
              <a:gd name="connsiteY31" fmla="*/ 4169332 h 4683863"/>
              <a:gd name="connsiteX32" fmla="*/ 3774264 w 11346020"/>
              <a:gd name="connsiteY32" fmla="*/ 4193831 h 4683863"/>
              <a:gd name="connsiteX33" fmla="*/ 3774264 w 11346020"/>
              <a:gd name="connsiteY33" fmla="*/ 4193835 h 4683863"/>
              <a:gd name="connsiteX34" fmla="*/ 3733838 w 11346020"/>
              <a:gd name="connsiteY34" fmla="*/ 4218334 h 4683863"/>
              <a:gd name="connsiteX35" fmla="*/ 3720366 w 11346020"/>
              <a:gd name="connsiteY35" fmla="*/ 4206084 h 4683863"/>
              <a:gd name="connsiteX36" fmla="*/ 3720366 w 11346020"/>
              <a:gd name="connsiteY36" fmla="*/ 4206081 h 4683863"/>
              <a:gd name="connsiteX37" fmla="*/ 3760791 w 11346020"/>
              <a:gd name="connsiteY37" fmla="*/ 4169332 h 4683863"/>
              <a:gd name="connsiteX38" fmla="*/ 3567243 w 11346020"/>
              <a:gd name="connsiteY38" fmla="*/ 3887590 h 4683863"/>
              <a:gd name="connsiteX39" fmla="*/ 3579493 w 11346020"/>
              <a:gd name="connsiteY39" fmla="*/ 3887590 h 4683863"/>
              <a:gd name="connsiteX40" fmla="*/ 3579493 w 11346020"/>
              <a:gd name="connsiteY40" fmla="*/ 3887594 h 4683863"/>
              <a:gd name="connsiteX41" fmla="*/ 3579493 w 11346020"/>
              <a:gd name="connsiteY41" fmla="*/ 3899840 h 4683863"/>
              <a:gd name="connsiteX42" fmla="*/ 3579493 w 11346020"/>
              <a:gd name="connsiteY42" fmla="*/ 3899844 h 4683863"/>
              <a:gd name="connsiteX43" fmla="*/ 3567243 w 11346020"/>
              <a:gd name="connsiteY43" fmla="*/ 3887594 h 4683863"/>
              <a:gd name="connsiteX44" fmla="*/ 3567247 w 11346020"/>
              <a:gd name="connsiteY44" fmla="*/ 3887594 h 4683863"/>
              <a:gd name="connsiteX45" fmla="*/ 5899287 w 11346020"/>
              <a:gd name="connsiteY45" fmla="*/ 3789370 h 4683863"/>
              <a:gd name="connsiteX46" fmla="*/ 5952880 w 11346020"/>
              <a:gd name="connsiteY46" fmla="*/ 3809274 h 4683863"/>
              <a:gd name="connsiteX47" fmla="*/ 5952880 w 11346020"/>
              <a:gd name="connsiteY47" fmla="*/ 3833773 h 4683863"/>
              <a:gd name="connsiteX48" fmla="*/ 5916131 w 11346020"/>
              <a:gd name="connsiteY48" fmla="*/ 3833773 h 4683863"/>
              <a:gd name="connsiteX49" fmla="*/ 5854884 w 11346020"/>
              <a:gd name="connsiteY49" fmla="*/ 3833773 h 4683863"/>
              <a:gd name="connsiteX50" fmla="*/ 5899287 w 11346020"/>
              <a:gd name="connsiteY50" fmla="*/ 3789370 h 4683863"/>
              <a:gd name="connsiteX51" fmla="*/ 8232715 w 11346020"/>
              <a:gd name="connsiteY51" fmla="*/ 3734703 h 4683863"/>
              <a:gd name="connsiteX52" fmla="*/ 8260918 w 11346020"/>
              <a:gd name="connsiteY52" fmla="*/ 3756598 h 4683863"/>
              <a:gd name="connsiteX53" fmla="*/ 8260914 w 11346020"/>
              <a:gd name="connsiteY53" fmla="*/ 3756602 h 4683863"/>
              <a:gd name="connsiteX54" fmla="*/ 8260918 w 11346020"/>
              <a:gd name="connsiteY54" fmla="*/ 3756602 h 4683863"/>
              <a:gd name="connsiteX55" fmla="*/ 8247647 w 11346020"/>
              <a:gd name="connsiteY55" fmla="*/ 3783552 h 4683863"/>
              <a:gd name="connsiteX56" fmla="*/ 8194562 w 11346020"/>
              <a:gd name="connsiteY56" fmla="*/ 3743130 h 4683863"/>
              <a:gd name="connsiteX57" fmla="*/ 8194566 w 11346020"/>
              <a:gd name="connsiteY57" fmla="*/ 3743130 h 4683863"/>
              <a:gd name="connsiteX58" fmla="*/ 8194562 w 11346020"/>
              <a:gd name="connsiteY58" fmla="*/ 3743126 h 4683863"/>
              <a:gd name="connsiteX59" fmla="*/ 8232715 w 11346020"/>
              <a:gd name="connsiteY59" fmla="*/ 3734703 h 4683863"/>
              <a:gd name="connsiteX60" fmla="*/ 8678517 w 11346020"/>
              <a:gd name="connsiteY60" fmla="*/ 3731294 h 4683863"/>
              <a:gd name="connsiteX61" fmla="*/ 8726420 w 11346020"/>
              <a:gd name="connsiteY61" fmla="*/ 3732331 h 4683863"/>
              <a:gd name="connsiteX62" fmla="*/ 8794794 w 11346020"/>
              <a:gd name="connsiteY62" fmla="*/ 3770480 h 4683863"/>
              <a:gd name="connsiteX63" fmla="*/ 8794790 w 11346020"/>
              <a:gd name="connsiteY63" fmla="*/ 3770480 h 4683863"/>
              <a:gd name="connsiteX64" fmla="*/ 8794794 w 11346020"/>
              <a:gd name="connsiteY64" fmla="*/ 3770484 h 4683863"/>
              <a:gd name="connsiteX65" fmla="*/ 8629422 w 11346020"/>
              <a:gd name="connsiteY65" fmla="*/ 3743943 h 4683863"/>
              <a:gd name="connsiteX66" fmla="*/ 8629434 w 11346020"/>
              <a:gd name="connsiteY66" fmla="*/ 3743943 h 4683863"/>
              <a:gd name="connsiteX67" fmla="*/ 8629422 w 11346020"/>
              <a:gd name="connsiteY67" fmla="*/ 3743940 h 4683863"/>
              <a:gd name="connsiteX68" fmla="*/ 8678517 w 11346020"/>
              <a:gd name="connsiteY68" fmla="*/ 3731294 h 4683863"/>
              <a:gd name="connsiteX69" fmla="*/ 8415055 w 11346020"/>
              <a:gd name="connsiteY69" fmla="*/ 3692901 h 4683863"/>
              <a:gd name="connsiteX70" fmla="*/ 8604545 w 11346020"/>
              <a:gd name="connsiteY70" fmla="*/ 3719850 h 4683863"/>
              <a:gd name="connsiteX71" fmla="*/ 8617177 w 11346020"/>
              <a:gd name="connsiteY71" fmla="*/ 3746799 h 4683863"/>
              <a:gd name="connsiteX72" fmla="*/ 8617177 w 11346020"/>
              <a:gd name="connsiteY72" fmla="*/ 3746803 h 4683863"/>
              <a:gd name="connsiteX73" fmla="*/ 8591913 w 11346020"/>
              <a:gd name="connsiteY73" fmla="*/ 3760276 h 4683863"/>
              <a:gd name="connsiteX74" fmla="*/ 8415055 w 11346020"/>
              <a:gd name="connsiteY74" fmla="*/ 3692905 h 4683863"/>
              <a:gd name="connsiteX75" fmla="*/ 8415067 w 11346020"/>
              <a:gd name="connsiteY75" fmla="*/ 3692909 h 4683863"/>
              <a:gd name="connsiteX76" fmla="*/ 1210098 w 11346020"/>
              <a:gd name="connsiteY76" fmla="*/ 3649038 h 4683863"/>
              <a:gd name="connsiteX77" fmla="*/ 1263691 w 11346020"/>
              <a:gd name="connsiteY77" fmla="*/ 3668942 h 4683863"/>
              <a:gd name="connsiteX78" fmla="*/ 1263691 w 11346020"/>
              <a:gd name="connsiteY78" fmla="*/ 3693441 h 4683863"/>
              <a:gd name="connsiteX79" fmla="*/ 1226942 w 11346020"/>
              <a:gd name="connsiteY79" fmla="*/ 3693441 h 4683863"/>
              <a:gd name="connsiteX80" fmla="*/ 1165694 w 11346020"/>
              <a:gd name="connsiteY80" fmla="*/ 3693441 h 4683863"/>
              <a:gd name="connsiteX81" fmla="*/ 1210098 w 11346020"/>
              <a:gd name="connsiteY81" fmla="*/ 3649038 h 4683863"/>
              <a:gd name="connsiteX82" fmla="*/ 1428958 w 11346020"/>
              <a:gd name="connsiteY82" fmla="*/ 3585821 h 4683863"/>
              <a:gd name="connsiteX83" fmla="*/ 1394429 w 11346020"/>
              <a:gd name="connsiteY83" fmla="*/ 3607670 h 4683863"/>
              <a:gd name="connsiteX84" fmla="*/ 1403741 w 11346020"/>
              <a:gd name="connsiteY84" fmla="*/ 3665060 h 4683863"/>
              <a:gd name="connsiteX85" fmla="*/ 1428400 w 11346020"/>
              <a:gd name="connsiteY85" fmla="*/ 3655206 h 4683863"/>
              <a:gd name="connsiteX86" fmla="*/ 1439546 w 11346020"/>
              <a:gd name="connsiteY86" fmla="*/ 3620201 h 4683863"/>
              <a:gd name="connsiteX87" fmla="*/ 7176786 w 11346020"/>
              <a:gd name="connsiteY87" fmla="*/ 3582464 h 4683863"/>
              <a:gd name="connsiteX88" fmla="*/ 7160461 w 11346020"/>
              <a:gd name="connsiteY88" fmla="*/ 3585845 h 4683863"/>
              <a:gd name="connsiteX89" fmla="*/ 7158484 w 11346020"/>
              <a:gd name="connsiteY89" fmla="*/ 3589203 h 4683863"/>
              <a:gd name="connsiteX90" fmla="*/ 7204809 w 11346020"/>
              <a:gd name="connsiteY90" fmla="*/ 3589649 h 4683863"/>
              <a:gd name="connsiteX91" fmla="*/ 7195500 w 11346020"/>
              <a:gd name="connsiteY91" fmla="*/ 3587437 h 4683863"/>
              <a:gd name="connsiteX92" fmla="*/ 7176786 w 11346020"/>
              <a:gd name="connsiteY92" fmla="*/ 3582464 h 4683863"/>
              <a:gd name="connsiteX93" fmla="*/ 9564381 w 11346020"/>
              <a:gd name="connsiteY93" fmla="*/ 3553451 h 4683863"/>
              <a:gd name="connsiteX94" fmla="*/ 9592585 w 11346020"/>
              <a:gd name="connsiteY94" fmla="*/ 3575346 h 4683863"/>
              <a:gd name="connsiteX95" fmla="*/ 9592581 w 11346020"/>
              <a:gd name="connsiteY95" fmla="*/ 3575350 h 4683863"/>
              <a:gd name="connsiteX96" fmla="*/ 9592585 w 11346020"/>
              <a:gd name="connsiteY96" fmla="*/ 3575350 h 4683863"/>
              <a:gd name="connsiteX97" fmla="*/ 9579312 w 11346020"/>
              <a:gd name="connsiteY97" fmla="*/ 3602299 h 4683863"/>
              <a:gd name="connsiteX98" fmla="*/ 9526228 w 11346020"/>
              <a:gd name="connsiteY98" fmla="*/ 3561877 h 4683863"/>
              <a:gd name="connsiteX99" fmla="*/ 9526233 w 11346020"/>
              <a:gd name="connsiteY99" fmla="*/ 3561877 h 4683863"/>
              <a:gd name="connsiteX100" fmla="*/ 9526228 w 11346020"/>
              <a:gd name="connsiteY100" fmla="*/ 3561873 h 4683863"/>
              <a:gd name="connsiteX101" fmla="*/ 9564381 w 11346020"/>
              <a:gd name="connsiteY101" fmla="*/ 3553451 h 4683863"/>
              <a:gd name="connsiteX102" fmla="*/ 10010183 w 11346020"/>
              <a:gd name="connsiteY102" fmla="*/ 3550041 h 4683863"/>
              <a:gd name="connsiteX103" fmla="*/ 10058086 w 11346020"/>
              <a:gd name="connsiteY103" fmla="*/ 3551079 h 4683863"/>
              <a:gd name="connsiteX104" fmla="*/ 10126459 w 11346020"/>
              <a:gd name="connsiteY104" fmla="*/ 3589228 h 4683863"/>
              <a:gd name="connsiteX105" fmla="*/ 10126456 w 11346020"/>
              <a:gd name="connsiteY105" fmla="*/ 3589228 h 4683863"/>
              <a:gd name="connsiteX106" fmla="*/ 10126459 w 11346020"/>
              <a:gd name="connsiteY106" fmla="*/ 3589232 h 4683863"/>
              <a:gd name="connsiteX107" fmla="*/ 9961088 w 11346020"/>
              <a:gd name="connsiteY107" fmla="*/ 3562691 h 4683863"/>
              <a:gd name="connsiteX108" fmla="*/ 9961100 w 11346020"/>
              <a:gd name="connsiteY108" fmla="*/ 3562691 h 4683863"/>
              <a:gd name="connsiteX109" fmla="*/ 9961088 w 11346020"/>
              <a:gd name="connsiteY109" fmla="*/ 3562688 h 4683863"/>
              <a:gd name="connsiteX110" fmla="*/ 10010183 w 11346020"/>
              <a:gd name="connsiteY110" fmla="*/ 3550041 h 4683863"/>
              <a:gd name="connsiteX111" fmla="*/ 6873788 w 11346020"/>
              <a:gd name="connsiteY111" fmla="*/ 3541294 h 4683863"/>
              <a:gd name="connsiteX112" fmla="*/ 6876685 w 11346020"/>
              <a:gd name="connsiteY112" fmla="*/ 3560088 h 4683863"/>
              <a:gd name="connsiteX113" fmla="*/ 6899040 w 11346020"/>
              <a:gd name="connsiteY113" fmla="*/ 3561833 h 4683863"/>
              <a:gd name="connsiteX114" fmla="*/ 6959561 w 11346020"/>
              <a:gd name="connsiteY114" fmla="*/ 3577746 h 4683863"/>
              <a:gd name="connsiteX115" fmla="*/ 7095912 w 11346020"/>
              <a:gd name="connsiteY115" fmla="*/ 3586915 h 4683863"/>
              <a:gd name="connsiteX116" fmla="*/ 7080832 w 11346020"/>
              <a:gd name="connsiteY116" fmla="*/ 3549249 h 4683863"/>
              <a:gd name="connsiteX117" fmla="*/ 7084015 w 11346020"/>
              <a:gd name="connsiteY117" fmla="*/ 3576295 h 4683863"/>
              <a:gd name="connsiteX118" fmla="*/ 7084015 w 11346020"/>
              <a:gd name="connsiteY118" fmla="*/ 3576299 h 4683863"/>
              <a:gd name="connsiteX119" fmla="*/ 7068089 w 11346020"/>
              <a:gd name="connsiteY119" fmla="*/ 3574706 h 4683863"/>
              <a:gd name="connsiteX120" fmla="*/ 6915198 w 11346020"/>
              <a:gd name="connsiteY120" fmla="*/ 3561978 h 4683863"/>
              <a:gd name="connsiteX121" fmla="*/ 6889715 w 11346020"/>
              <a:gd name="connsiteY121" fmla="*/ 3549249 h 4683863"/>
              <a:gd name="connsiteX122" fmla="*/ 7463059 w 11346020"/>
              <a:gd name="connsiteY122" fmla="*/ 3536518 h 4683863"/>
              <a:gd name="connsiteX123" fmla="*/ 7415284 w 11346020"/>
              <a:gd name="connsiteY123" fmla="*/ 3566750 h 4683863"/>
              <a:gd name="connsiteX124" fmla="*/ 7421411 w 11346020"/>
              <a:gd name="connsiteY124" fmla="*/ 3604516 h 4683863"/>
              <a:gd name="connsiteX125" fmla="*/ 7440533 w 11346020"/>
              <a:gd name="connsiteY125" fmla="*/ 3605392 h 4683863"/>
              <a:gd name="connsiteX126" fmla="*/ 7488313 w 11346020"/>
              <a:gd name="connsiteY126" fmla="*/ 3601613 h 4683863"/>
              <a:gd name="connsiteX127" fmla="*/ 7505239 w 11346020"/>
              <a:gd name="connsiteY127" fmla="*/ 3602811 h 4683863"/>
              <a:gd name="connsiteX128" fmla="*/ 7475803 w 11346020"/>
              <a:gd name="connsiteY128" fmla="*/ 3589027 h 4683863"/>
              <a:gd name="connsiteX129" fmla="*/ 7463059 w 11346020"/>
              <a:gd name="connsiteY129" fmla="*/ 3536518 h 4683863"/>
              <a:gd name="connsiteX130" fmla="*/ 7320720 w 11346020"/>
              <a:gd name="connsiteY130" fmla="*/ 3531546 h 4683863"/>
              <a:gd name="connsiteX131" fmla="*/ 7297428 w 11346020"/>
              <a:gd name="connsiteY131" fmla="*/ 3561978 h 4683863"/>
              <a:gd name="connsiteX132" fmla="*/ 7276127 w 11346020"/>
              <a:gd name="connsiteY132" fmla="*/ 3583857 h 4683863"/>
              <a:gd name="connsiteX133" fmla="*/ 7260299 w 11346020"/>
              <a:gd name="connsiteY133" fmla="*/ 3590181 h 4683863"/>
              <a:gd name="connsiteX134" fmla="*/ 7290826 w 11346020"/>
              <a:gd name="connsiteY134" fmla="*/ 3590474 h 4683863"/>
              <a:gd name="connsiteX135" fmla="*/ 7346568 w 11346020"/>
              <a:gd name="connsiteY135" fmla="*/ 3596838 h 4683863"/>
              <a:gd name="connsiteX136" fmla="*/ 7348391 w 11346020"/>
              <a:gd name="connsiteY136" fmla="*/ 3597089 h 4683863"/>
              <a:gd name="connsiteX137" fmla="*/ 7348391 w 11346020"/>
              <a:gd name="connsiteY137" fmla="*/ 3587437 h 4683863"/>
              <a:gd name="connsiteX138" fmla="*/ 7335652 w 11346020"/>
              <a:gd name="connsiteY138" fmla="*/ 3536518 h 4683863"/>
              <a:gd name="connsiteX139" fmla="*/ 7320720 w 11346020"/>
              <a:gd name="connsiteY139" fmla="*/ 3531546 h 4683863"/>
              <a:gd name="connsiteX140" fmla="*/ 6609421 w 11346020"/>
              <a:gd name="connsiteY140" fmla="*/ 3523790 h 4683863"/>
              <a:gd name="connsiteX141" fmla="*/ 6658786 w 11346020"/>
              <a:gd name="connsiteY141" fmla="*/ 3546062 h 4683863"/>
              <a:gd name="connsiteX142" fmla="*/ 6668539 w 11346020"/>
              <a:gd name="connsiteY142" fmla="*/ 3559585 h 4683863"/>
              <a:gd name="connsiteX143" fmla="*/ 6668539 w 11346020"/>
              <a:gd name="connsiteY143" fmla="*/ 3559589 h 4683863"/>
              <a:gd name="connsiteX144" fmla="*/ 6654529 w 11346020"/>
              <a:gd name="connsiteY144" fmla="*/ 3571126 h 4683863"/>
              <a:gd name="connsiteX145" fmla="*/ 6638988 w 11346020"/>
              <a:gd name="connsiteY145" fmla="*/ 3578956 h 4683863"/>
              <a:gd name="connsiteX146" fmla="*/ 6647407 w 11346020"/>
              <a:gd name="connsiteY146" fmla="*/ 3582518 h 4683863"/>
              <a:gd name="connsiteX147" fmla="*/ 6704742 w 11346020"/>
              <a:gd name="connsiteY147" fmla="*/ 3565015 h 4683863"/>
              <a:gd name="connsiteX148" fmla="*/ 6793926 w 11346020"/>
              <a:gd name="connsiteY148" fmla="*/ 3577746 h 4683863"/>
              <a:gd name="connsiteX149" fmla="*/ 6848624 w 11346020"/>
              <a:gd name="connsiteY149" fmla="*/ 3580181 h 4683863"/>
              <a:gd name="connsiteX150" fmla="*/ 6855389 w 11346020"/>
              <a:gd name="connsiteY150" fmla="*/ 3568791 h 4683863"/>
              <a:gd name="connsiteX151" fmla="*/ 6838751 w 11346020"/>
              <a:gd name="connsiteY151" fmla="*/ 3554419 h 4683863"/>
              <a:gd name="connsiteX152" fmla="*/ 6724081 w 11346020"/>
              <a:gd name="connsiteY152" fmla="*/ 3536518 h 4683863"/>
              <a:gd name="connsiteX153" fmla="*/ 6666749 w 11346020"/>
              <a:gd name="connsiteY153" fmla="*/ 3525379 h 4683863"/>
              <a:gd name="connsiteX154" fmla="*/ 9746722 w 11346020"/>
              <a:gd name="connsiteY154" fmla="*/ 3511648 h 4683863"/>
              <a:gd name="connsiteX155" fmla="*/ 9936211 w 11346020"/>
              <a:gd name="connsiteY155" fmla="*/ 3538598 h 4683863"/>
              <a:gd name="connsiteX156" fmla="*/ 9948842 w 11346020"/>
              <a:gd name="connsiteY156" fmla="*/ 3565546 h 4683863"/>
              <a:gd name="connsiteX157" fmla="*/ 9948842 w 11346020"/>
              <a:gd name="connsiteY157" fmla="*/ 3565550 h 4683863"/>
              <a:gd name="connsiteX158" fmla="*/ 9923579 w 11346020"/>
              <a:gd name="connsiteY158" fmla="*/ 3579023 h 4683863"/>
              <a:gd name="connsiteX159" fmla="*/ 9746722 w 11346020"/>
              <a:gd name="connsiteY159" fmla="*/ 3511652 h 4683863"/>
              <a:gd name="connsiteX160" fmla="*/ 9746733 w 11346020"/>
              <a:gd name="connsiteY160" fmla="*/ 3511656 h 4683863"/>
              <a:gd name="connsiteX161" fmla="*/ 6033237 w 11346020"/>
              <a:gd name="connsiteY161" fmla="*/ 3414905 h 4683863"/>
              <a:gd name="connsiteX162" fmla="*/ 6031855 w 11346020"/>
              <a:gd name="connsiteY162" fmla="*/ 3416047 h 4683863"/>
              <a:gd name="connsiteX163" fmla="*/ 6016725 w 11346020"/>
              <a:gd name="connsiteY163" fmla="*/ 3437727 h 4683863"/>
              <a:gd name="connsiteX164" fmla="*/ 5953019 w 11346020"/>
              <a:gd name="connsiteY164" fmla="*/ 3475915 h 4683863"/>
              <a:gd name="connsiteX165" fmla="*/ 5863834 w 11346020"/>
              <a:gd name="connsiteY165" fmla="*/ 3463186 h 4683863"/>
              <a:gd name="connsiteX166" fmla="*/ 5851095 w 11346020"/>
              <a:gd name="connsiteY166" fmla="*/ 3475915 h 4683863"/>
              <a:gd name="connsiteX167" fmla="*/ 5863834 w 11346020"/>
              <a:gd name="connsiteY167" fmla="*/ 3488642 h 4683863"/>
              <a:gd name="connsiteX168" fmla="*/ 6029464 w 11346020"/>
              <a:gd name="connsiteY168" fmla="*/ 3501370 h 4683863"/>
              <a:gd name="connsiteX169" fmla="*/ 6035672 w 11346020"/>
              <a:gd name="connsiteY169" fmla="*/ 3499698 h 4683863"/>
              <a:gd name="connsiteX170" fmla="*/ 6034474 w 11346020"/>
              <a:gd name="connsiteY170" fmla="*/ 3426728 h 4683863"/>
              <a:gd name="connsiteX171" fmla="*/ 7800471 w 11346020"/>
              <a:gd name="connsiteY171" fmla="*/ 3361354 h 4683863"/>
              <a:gd name="connsiteX172" fmla="*/ 7810552 w 11346020"/>
              <a:gd name="connsiteY172" fmla="*/ 3376002 h 4683863"/>
              <a:gd name="connsiteX173" fmla="*/ 7825929 w 11346020"/>
              <a:gd name="connsiteY173" fmla="*/ 3372529 h 4683863"/>
              <a:gd name="connsiteX174" fmla="*/ 8479127 w 11346020"/>
              <a:gd name="connsiteY174" fmla="*/ 3332711 h 4683863"/>
              <a:gd name="connsiteX175" fmla="*/ 8470963 w 11346020"/>
              <a:gd name="connsiteY175" fmla="*/ 3339077 h 4683863"/>
              <a:gd name="connsiteX176" fmla="*/ 8463004 w 11346020"/>
              <a:gd name="connsiteY176" fmla="*/ 3361351 h 4683863"/>
              <a:gd name="connsiteX177" fmla="*/ 8488484 w 11346020"/>
              <a:gd name="connsiteY177" fmla="*/ 3386806 h 4683863"/>
              <a:gd name="connsiteX178" fmla="*/ 8539446 w 11346020"/>
              <a:gd name="connsiteY178" fmla="*/ 3399535 h 4683863"/>
              <a:gd name="connsiteX179" fmla="*/ 8539438 w 11346020"/>
              <a:gd name="connsiteY179" fmla="*/ 3399535 h 4683863"/>
              <a:gd name="connsiteX180" fmla="*/ 8539446 w 11346020"/>
              <a:gd name="connsiteY180" fmla="*/ 3399539 h 4683863"/>
              <a:gd name="connsiteX181" fmla="*/ 8463286 w 11346020"/>
              <a:gd name="connsiteY181" fmla="*/ 3407693 h 4683863"/>
              <a:gd name="connsiteX182" fmla="*/ 8569847 w 11346020"/>
              <a:gd name="connsiteY182" fmla="*/ 3408716 h 4683863"/>
              <a:gd name="connsiteX183" fmla="*/ 8560153 w 11346020"/>
              <a:gd name="connsiteY183" fmla="*/ 3404313 h 4683863"/>
              <a:gd name="connsiteX184" fmla="*/ 8552190 w 11346020"/>
              <a:gd name="connsiteY184" fmla="*/ 3386810 h 4683863"/>
              <a:gd name="connsiteX185" fmla="*/ 8488484 w 11346020"/>
              <a:gd name="connsiteY185" fmla="*/ 3335894 h 4683863"/>
              <a:gd name="connsiteX186" fmla="*/ 8479127 w 11346020"/>
              <a:gd name="connsiteY186" fmla="*/ 3332711 h 4683863"/>
              <a:gd name="connsiteX187" fmla="*/ 7691291 w 11346020"/>
              <a:gd name="connsiteY187" fmla="*/ 3326216 h 4683863"/>
              <a:gd name="connsiteX188" fmla="*/ 7680834 w 11346020"/>
              <a:gd name="connsiteY188" fmla="*/ 3328069 h 4683863"/>
              <a:gd name="connsiteX189" fmla="*/ 7674185 w 11346020"/>
              <a:gd name="connsiteY189" fmla="*/ 3333176 h 4683863"/>
              <a:gd name="connsiteX190" fmla="*/ 7703193 w 11346020"/>
              <a:gd name="connsiteY190" fmla="*/ 3343716 h 4683863"/>
              <a:gd name="connsiteX191" fmla="*/ 7698639 w 11346020"/>
              <a:gd name="connsiteY191" fmla="*/ 3331369 h 4683863"/>
              <a:gd name="connsiteX192" fmla="*/ 7691291 w 11346020"/>
              <a:gd name="connsiteY192" fmla="*/ 3326216 h 4683863"/>
              <a:gd name="connsiteX193" fmla="*/ 1174646 w 11346020"/>
              <a:gd name="connsiteY193" fmla="*/ 3322854 h 4683863"/>
              <a:gd name="connsiteX194" fmla="*/ 1161905 w 11346020"/>
              <a:gd name="connsiteY194" fmla="*/ 3335583 h 4683863"/>
              <a:gd name="connsiteX195" fmla="*/ 1174646 w 11346020"/>
              <a:gd name="connsiteY195" fmla="*/ 3348310 h 4683863"/>
              <a:gd name="connsiteX196" fmla="*/ 1252683 w 11346020"/>
              <a:gd name="connsiteY196" fmla="*/ 3359448 h 4683863"/>
              <a:gd name="connsiteX197" fmla="*/ 1277571 w 11346020"/>
              <a:gd name="connsiteY197" fmla="*/ 3362394 h 4683863"/>
              <a:gd name="connsiteX198" fmla="*/ 1274422 w 11346020"/>
              <a:gd name="connsiteY198" fmla="*/ 3332276 h 4683863"/>
              <a:gd name="connsiteX199" fmla="*/ 1271993 w 11346020"/>
              <a:gd name="connsiteY199" fmla="*/ 3333196 h 4683863"/>
              <a:gd name="connsiteX200" fmla="*/ 1263830 w 11346020"/>
              <a:gd name="connsiteY200" fmla="*/ 3335583 h 4683863"/>
              <a:gd name="connsiteX201" fmla="*/ 1174646 w 11346020"/>
              <a:gd name="connsiteY201" fmla="*/ 3322854 h 4683863"/>
              <a:gd name="connsiteX202" fmla="*/ 7254196 w 11346020"/>
              <a:gd name="connsiteY202" fmla="*/ 3296113 h 4683863"/>
              <a:gd name="connsiteX203" fmla="*/ 7227124 w 11346020"/>
              <a:gd name="connsiteY203" fmla="*/ 3310434 h 4683863"/>
              <a:gd name="connsiteX204" fmla="*/ 7227108 w 11346020"/>
              <a:gd name="connsiteY204" fmla="*/ 3310498 h 4683863"/>
              <a:gd name="connsiteX205" fmla="*/ 7233921 w 11346020"/>
              <a:gd name="connsiteY205" fmla="*/ 3311168 h 4683863"/>
              <a:gd name="connsiteX206" fmla="*/ 7273538 w 11346020"/>
              <a:gd name="connsiteY206" fmla="*/ 3318527 h 4683863"/>
              <a:gd name="connsiteX207" fmla="*/ 7283835 w 11346020"/>
              <a:gd name="connsiteY207" fmla="*/ 3319746 h 4683863"/>
              <a:gd name="connsiteX208" fmla="*/ 7289165 w 11346020"/>
              <a:gd name="connsiteY208" fmla="*/ 3312646 h 4683863"/>
              <a:gd name="connsiteX209" fmla="*/ 7283370 w 11346020"/>
              <a:gd name="connsiteY209" fmla="*/ 3312646 h 4683863"/>
              <a:gd name="connsiteX210" fmla="*/ 7270627 w 11346020"/>
              <a:gd name="connsiteY210" fmla="*/ 3312646 h 4683863"/>
              <a:gd name="connsiteX211" fmla="*/ 7257578 w 11346020"/>
              <a:gd name="connsiteY211" fmla="*/ 3297435 h 4683863"/>
              <a:gd name="connsiteX212" fmla="*/ 7630482 w 11346020"/>
              <a:gd name="connsiteY212" fmla="*/ 3290274 h 4683863"/>
              <a:gd name="connsiteX213" fmla="*/ 7616184 w 11346020"/>
              <a:gd name="connsiteY213" fmla="*/ 3294520 h 4683863"/>
              <a:gd name="connsiteX214" fmla="*/ 7597137 w 11346020"/>
              <a:gd name="connsiteY214" fmla="*/ 3296734 h 4683863"/>
              <a:gd name="connsiteX215" fmla="*/ 7598434 w 11346020"/>
              <a:gd name="connsiteY215" fmla="*/ 3297845 h 4683863"/>
              <a:gd name="connsiteX216" fmla="*/ 7603210 w 11346020"/>
              <a:gd name="connsiteY216" fmla="*/ 3345578 h 4683863"/>
              <a:gd name="connsiteX217" fmla="*/ 7603210 w 11346020"/>
              <a:gd name="connsiteY217" fmla="*/ 3345581 h 4683863"/>
              <a:gd name="connsiteX218" fmla="*/ 7639443 w 11346020"/>
              <a:gd name="connsiteY218" fmla="*/ 3336828 h 4683863"/>
              <a:gd name="connsiteX219" fmla="*/ 7647577 w 11346020"/>
              <a:gd name="connsiteY219" fmla="*/ 3335872 h 4683863"/>
              <a:gd name="connsiteX220" fmla="*/ 7647577 w 11346020"/>
              <a:gd name="connsiteY220" fmla="*/ 3323163 h 4683863"/>
              <a:gd name="connsiteX221" fmla="*/ 7648966 w 11346020"/>
              <a:gd name="connsiteY221" fmla="*/ 3309978 h 4683863"/>
              <a:gd name="connsiteX222" fmla="*/ 7644819 w 11346020"/>
              <a:gd name="connsiteY222" fmla="*/ 3310575 h 4683863"/>
              <a:gd name="connsiteX223" fmla="*/ 7633471 w 11346020"/>
              <a:gd name="connsiteY223" fmla="*/ 3304209 h 4683863"/>
              <a:gd name="connsiteX224" fmla="*/ 7305589 w 11346020"/>
              <a:gd name="connsiteY224" fmla="*/ 3287451 h 4683863"/>
              <a:gd name="connsiteX225" fmla="*/ 7304362 w 11346020"/>
              <a:gd name="connsiteY225" fmla="*/ 3287917 h 4683863"/>
              <a:gd name="connsiteX226" fmla="*/ 7313897 w 11346020"/>
              <a:gd name="connsiteY226" fmla="*/ 3323303 h 4683863"/>
              <a:gd name="connsiteX227" fmla="*/ 7315543 w 11346020"/>
              <a:gd name="connsiteY227" fmla="*/ 3323498 h 4683863"/>
              <a:gd name="connsiteX228" fmla="*/ 7361130 w 11346020"/>
              <a:gd name="connsiteY228" fmla="*/ 3320118 h 4683863"/>
              <a:gd name="connsiteX229" fmla="*/ 7384026 w 11346020"/>
              <a:gd name="connsiteY229" fmla="*/ 3313953 h 4683863"/>
              <a:gd name="connsiteX230" fmla="*/ 7385939 w 11346020"/>
              <a:gd name="connsiteY230" fmla="*/ 3313593 h 4683863"/>
              <a:gd name="connsiteX231" fmla="*/ 7354531 w 11346020"/>
              <a:gd name="connsiteY231" fmla="*/ 3297706 h 4683863"/>
              <a:gd name="connsiteX232" fmla="*/ 7350749 w 11346020"/>
              <a:gd name="connsiteY232" fmla="*/ 3291937 h 4683863"/>
              <a:gd name="connsiteX233" fmla="*/ 7343703 w 11346020"/>
              <a:gd name="connsiteY233" fmla="*/ 3289845 h 4683863"/>
              <a:gd name="connsiteX234" fmla="*/ 7343703 w 11346020"/>
              <a:gd name="connsiteY234" fmla="*/ 3291185 h 4683863"/>
              <a:gd name="connsiteX235" fmla="*/ 7306954 w 11346020"/>
              <a:gd name="connsiteY235" fmla="*/ 3291185 h 4683863"/>
              <a:gd name="connsiteX236" fmla="*/ 5878975 w 11346020"/>
              <a:gd name="connsiteY236" fmla="*/ 3273134 h 4683863"/>
              <a:gd name="connsiteX237" fmla="*/ 5876574 w 11346020"/>
              <a:gd name="connsiteY237" fmla="*/ 3284971 h 4683863"/>
              <a:gd name="connsiteX238" fmla="*/ 5873389 w 11346020"/>
              <a:gd name="connsiteY238" fmla="*/ 3302475 h 4683863"/>
              <a:gd name="connsiteX239" fmla="*/ 5879964 w 11346020"/>
              <a:gd name="connsiteY239" fmla="*/ 3305760 h 4683863"/>
              <a:gd name="connsiteX240" fmla="*/ 5894598 w 11346020"/>
              <a:gd name="connsiteY240" fmla="*/ 3299910 h 4683863"/>
              <a:gd name="connsiteX241" fmla="*/ 5900562 w 11346020"/>
              <a:gd name="connsiteY241" fmla="*/ 3301399 h 4683863"/>
              <a:gd name="connsiteX242" fmla="*/ 5902010 w 11346020"/>
              <a:gd name="connsiteY242" fmla="*/ 3285484 h 4683863"/>
              <a:gd name="connsiteX243" fmla="*/ 5881858 w 11346020"/>
              <a:gd name="connsiteY243" fmla="*/ 3276047 h 4683863"/>
              <a:gd name="connsiteX244" fmla="*/ 5582842 w 11346020"/>
              <a:gd name="connsiteY244" fmla="*/ 3269485 h 4683863"/>
              <a:gd name="connsiteX245" fmla="*/ 5566517 w 11346020"/>
              <a:gd name="connsiteY245" fmla="*/ 3272865 h 4683863"/>
              <a:gd name="connsiteX246" fmla="*/ 5558301 w 11346020"/>
              <a:gd name="connsiteY246" fmla="*/ 3286819 h 4683863"/>
              <a:gd name="connsiteX247" fmla="*/ 5626270 w 11346020"/>
              <a:gd name="connsiteY247" fmla="*/ 3280328 h 4683863"/>
              <a:gd name="connsiteX248" fmla="*/ 5601556 w 11346020"/>
              <a:gd name="connsiteY248" fmla="*/ 3274458 h 4683863"/>
              <a:gd name="connsiteX249" fmla="*/ 5582842 w 11346020"/>
              <a:gd name="connsiteY249" fmla="*/ 3269485 h 4683863"/>
              <a:gd name="connsiteX250" fmla="*/ 8318404 w 11346020"/>
              <a:gd name="connsiteY250" fmla="*/ 3266569 h 4683863"/>
              <a:gd name="connsiteX251" fmla="*/ 8302375 w 11346020"/>
              <a:gd name="connsiteY251" fmla="*/ 3275569 h 4683863"/>
              <a:gd name="connsiteX252" fmla="*/ 8284627 w 11346020"/>
              <a:gd name="connsiteY252" fmla="*/ 3278235 h 4683863"/>
              <a:gd name="connsiteX253" fmla="*/ 8284627 w 11346020"/>
              <a:gd name="connsiteY253" fmla="*/ 3297702 h 4683863"/>
              <a:gd name="connsiteX254" fmla="*/ 8284627 w 11346020"/>
              <a:gd name="connsiteY254" fmla="*/ 3332707 h 4683863"/>
              <a:gd name="connsiteX255" fmla="*/ 8284627 w 11346020"/>
              <a:gd name="connsiteY255" fmla="*/ 3332711 h 4683863"/>
              <a:gd name="connsiteX256" fmla="*/ 8246404 w 11346020"/>
              <a:gd name="connsiteY256" fmla="*/ 3348622 h 4683863"/>
              <a:gd name="connsiteX257" fmla="*/ 8220922 w 11346020"/>
              <a:gd name="connsiteY257" fmla="*/ 3374082 h 4683863"/>
              <a:gd name="connsiteX258" fmla="*/ 8218530 w 11346020"/>
              <a:gd name="connsiteY258" fmla="*/ 3379630 h 4683863"/>
              <a:gd name="connsiteX259" fmla="*/ 8230706 w 11346020"/>
              <a:gd name="connsiteY259" fmla="*/ 3380580 h 4683863"/>
              <a:gd name="connsiteX260" fmla="*/ 8291226 w 11346020"/>
              <a:gd name="connsiteY260" fmla="*/ 3396493 h 4683863"/>
              <a:gd name="connsiteX261" fmla="*/ 8402550 w 11346020"/>
              <a:gd name="connsiteY261" fmla="*/ 3403979 h 4683863"/>
              <a:gd name="connsiteX262" fmla="*/ 8361072 w 11346020"/>
              <a:gd name="connsiteY262" fmla="*/ 3399539 h 4683863"/>
              <a:gd name="connsiteX263" fmla="*/ 8361080 w 11346020"/>
              <a:gd name="connsiteY263" fmla="*/ 3399535 h 4683863"/>
              <a:gd name="connsiteX264" fmla="*/ 8361072 w 11346020"/>
              <a:gd name="connsiteY264" fmla="*/ 3399535 h 4683863"/>
              <a:gd name="connsiteX265" fmla="*/ 8437522 w 11346020"/>
              <a:gd name="connsiteY265" fmla="*/ 3354984 h 4683863"/>
              <a:gd name="connsiteX266" fmla="*/ 8437522 w 11346020"/>
              <a:gd name="connsiteY266" fmla="*/ 3272247 h 4683863"/>
              <a:gd name="connsiteX267" fmla="*/ 8421595 w 11346020"/>
              <a:gd name="connsiteY267" fmla="*/ 3326346 h 4683863"/>
              <a:gd name="connsiteX268" fmla="*/ 8386555 w 11346020"/>
              <a:gd name="connsiteY268" fmla="*/ 3361351 h 4683863"/>
              <a:gd name="connsiteX269" fmla="*/ 8386555 w 11346020"/>
              <a:gd name="connsiteY269" fmla="*/ 3361347 h 4683863"/>
              <a:gd name="connsiteX270" fmla="*/ 8386555 w 11346020"/>
              <a:gd name="connsiteY270" fmla="*/ 3272247 h 4683863"/>
              <a:gd name="connsiteX271" fmla="*/ 8330814 w 11346020"/>
              <a:gd name="connsiteY271" fmla="*/ 3273837 h 4683863"/>
              <a:gd name="connsiteX272" fmla="*/ 7349632 w 11346020"/>
              <a:gd name="connsiteY272" fmla="*/ 3254697 h 4683863"/>
              <a:gd name="connsiteX273" fmla="*/ 7348391 w 11346020"/>
              <a:gd name="connsiteY273" fmla="*/ 3256474 h 4683863"/>
              <a:gd name="connsiteX274" fmla="*/ 7339500 w 11346020"/>
              <a:gd name="connsiteY274" fmla="*/ 3263425 h 4683863"/>
              <a:gd name="connsiteX275" fmla="*/ 7343703 w 11346020"/>
              <a:gd name="connsiteY275" fmla="*/ 3266686 h 4683863"/>
              <a:gd name="connsiteX276" fmla="*/ 7343703 w 11346020"/>
              <a:gd name="connsiteY276" fmla="*/ 3268043 h 4683863"/>
              <a:gd name="connsiteX277" fmla="*/ 7349753 w 11346020"/>
              <a:gd name="connsiteY277" fmla="*/ 3254743 h 4683863"/>
              <a:gd name="connsiteX278" fmla="*/ 8080770 w 11346020"/>
              <a:gd name="connsiteY278" fmla="*/ 3235024 h 4683863"/>
              <a:gd name="connsiteX279" fmla="*/ 8080770 w 11346020"/>
              <a:gd name="connsiteY279" fmla="*/ 3335890 h 4683863"/>
              <a:gd name="connsiteX280" fmla="*/ 8088734 w 11346020"/>
              <a:gd name="connsiteY280" fmla="*/ 3359757 h 4683863"/>
              <a:gd name="connsiteX281" fmla="*/ 8088734 w 11346020"/>
              <a:gd name="connsiteY281" fmla="*/ 3359760 h 4683863"/>
              <a:gd name="connsiteX282" fmla="*/ 8070913 w 11346020"/>
              <a:gd name="connsiteY282" fmla="*/ 3372088 h 4683863"/>
              <a:gd name="connsiteX283" fmla="*/ 8072066 w 11346020"/>
              <a:gd name="connsiteY283" fmla="*/ 3378701 h 4683863"/>
              <a:gd name="connsiteX284" fmla="*/ 8066510 w 11346020"/>
              <a:gd name="connsiteY284" fmla="*/ 3378881 h 4683863"/>
              <a:gd name="connsiteX285" fmla="*/ 8065185 w 11346020"/>
              <a:gd name="connsiteY285" fmla="*/ 3383076 h 4683863"/>
              <a:gd name="connsiteX286" fmla="*/ 8076222 w 11346020"/>
              <a:gd name="connsiteY286" fmla="*/ 3385355 h 4683863"/>
              <a:gd name="connsiteX287" fmla="*/ 8125592 w 11346020"/>
              <a:gd name="connsiteY287" fmla="*/ 3396493 h 4683863"/>
              <a:gd name="connsiteX288" fmla="*/ 8172177 w 11346020"/>
              <a:gd name="connsiteY288" fmla="*/ 3407233 h 4683863"/>
              <a:gd name="connsiteX289" fmla="*/ 8172806 w 11346020"/>
              <a:gd name="connsiteY289" fmla="*/ 3406589 h 4683863"/>
              <a:gd name="connsiteX290" fmla="*/ 8157220 w 11346020"/>
              <a:gd name="connsiteY290" fmla="*/ 3399539 h 4683863"/>
              <a:gd name="connsiteX291" fmla="*/ 8126960 w 11346020"/>
              <a:gd name="connsiteY291" fmla="*/ 3361351 h 4683863"/>
              <a:gd name="connsiteX292" fmla="*/ 8126960 w 11346020"/>
              <a:gd name="connsiteY292" fmla="*/ 3361347 h 4683863"/>
              <a:gd name="connsiteX293" fmla="*/ 8144476 w 11346020"/>
              <a:gd name="connsiteY293" fmla="*/ 3323159 h 4683863"/>
              <a:gd name="connsiteX294" fmla="*/ 8158809 w 11346020"/>
              <a:gd name="connsiteY294" fmla="*/ 3310430 h 4683863"/>
              <a:gd name="connsiteX295" fmla="*/ 8144476 w 11346020"/>
              <a:gd name="connsiteY295" fmla="*/ 3297706 h 4683863"/>
              <a:gd name="connsiteX296" fmla="*/ 8107846 w 11346020"/>
              <a:gd name="connsiteY296" fmla="*/ 3275429 h 4683863"/>
              <a:gd name="connsiteX297" fmla="*/ 8081518 w 11346020"/>
              <a:gd name="connsiteY297" fmla="*/ 3235201 h 4683863"/>
              <a:gd name="connsiteX298" fmla="*/ 5869115 w 11346020"/>
              <a:gd name="connsiteY298" fmla="*/ 3223539 h 4683863"/>
              <a:gd name="connsiteX299" fmla="*/ 5821339 w 11346020"/>
              <a:gd name="connsiteY299" fmla="*/ 3253770 h 4683863"/>
              <a:gd name="connsiteX300" fmla="*/ 5821978 w 11346020"/>
              <a:gd name="connsiteY300" fmla="*/ 3257708 h 4683863"/>
              <a:gd name="connsiteX301" fmla="*/ 5838351 w 11346020"/>
              <a:gd name="connsiteY301" fmla="*/ 3259514 h 4683863"/>
              <a:gd name="connsiteX302" fmla="*/ 5868320 w 11346020"/>
              <a:gd name="connsiteY302" fmla="*/ 3262365 h 4683863"/>
              <a:gd name="connsiteX303" fmla="*/ 5864738 w 11346020"/>
              <a:gd name="connsiteY303" fmla="*/ 3258745 h 4683863"/>
              <a:gd name="connsiteX304" fmla="*/ 5869115 w 11346020"/>
              <a:gd name="connsiteY304" fmla="*/ 3223539 h 4683863"/>
              <a:gd name="connsiteX305" fmla="*/ 5726776 w 11346020"/>
              <a:gd name="connsiteY305" fmla="*/ 3218566 h 4683863"/>
              <a:gd name="connsiteX306" fmla="*/ 5703484 w 11346020"/>
              <a:gd name="connsiteY306" fmla="*/ 3248998 h 4683863"/>
              <a:gd name="connsiteX307" fmla="*/ 5682183 w 11346020"/>
              <a:gd name="connsiteY307" fmla="*/ 3270877 h 4683863"/>
              <a:gd name="connsiteX308" fmla="*/ 5668663 w 11346020"/>
              <a:gd name="connsiteY308" fmla="*/ 3276279 h 4683863"/>
              <a:gd name="connsiteX309" fmla="*/ 5710940 w 11346020"/>
              <a:gd name="connsiteY309" fmla="*/ 3272243 h 4683863"/>
              <a:gd name="connsiteX310" fmla="*/ 5741598 w 11346020"/>
              <a:gd name="connsiteY310" fmla="*/ 3268463 h 4683863"/>
              <a:gd name="connsiteX311" fmla="*/ 5749169 w 11346020"/>
              <a:gd name="connsiteY311" fmla="*/ 3266777 h 4683863"/>
              <a:gd name="connsiteX312" fmla="*/ 5745289 w 11346020"/>
              <a:gd name="connsiteY312" fmla="*/ 3261131 h 4683863"/>
              <a:gd name="connsiteX313" fmla="*/ 5741707 w 11346020"/>
              <a:gd name="connsiteY313" fmla="*/ 3223539 h 4683863"/>
              <a:gd name="connsiteX314" fmla="*/ 5726776 w 11346020"/>
              <a:gd name="connsiteY314" fmla="*/ 3218566 h 4683863"/>
              <a:gd name="connsiteX315" fmla="*/ 5015476 w 11346020"/>
              <a:gd name="connsiteY315" fmla="*/ 3210810 h 4683863"/>
              <a:gd name="connsiteX316" fmla="*/ 5064841 w 11346020"/>
              <a:gd name="connsiteY316" fmla="*/ 3233083 h 4683863"/>
              <a:gd name="connsiteX317" fmla="*/ 5074595 w 11346020"/>
              <a:gd name="connsiteY317" fmla="*/ 3246606 h 4683863"/>
              <a:gd name="connsiteX318" fmla="*/ 5074595 w 11346020"/>
              <a:gd name="connsiteY318" fmla="*/ 3246610 h 4683863"/>
              <a:gd name="connsiteX319" fmla="*/ 5028208 w 11346020"/>
              <a:gd name="connsiteY319" fmla="*/ 3274458 h 4683863"/>
              <a:gd name="connsiteX320" fmla="*/ 5028208 w 11346020"/>
              <a:gd name="connsiteY320" fmla="*/ 3295141 h 4683863"/>
              <a:gd name="connsiteX321" fmla="*/ 5028208 w 11346020"/>
              <a:gd name="connsiteY321" fmla="*/ 3325370 h 4683863"/>
              <a:gd name="connsiteX322" fmla="*/ 5028208 w 11346020"/>
              <a:gd name="connsiteY322" fmla="*/ 3325374 h 4683863"/>
              <a:gd name="connsiteX323" fmla="*/ 5002729 w 11346020"/>
              <a:gd name="connsiteY323" fmla="*/ 3299914 h 4683863"/>
              <a:gd name="connsiteX324" fmla="*/ 4986801 w 11346020"/>
              <a:gd name="connsiteY324" fmla="*/ 3271274 h 4683863"/>
              <a:gd name="connsiteX325" fmla="*/ 4956068 w 11346020"/>
              <a:gd name="connsiteY325" fmla="*/ 3262899 h 4683863"/>
              <a:gd name="connsiteX326" fmla="*/ 4956068 w 11346020"/>
              <a:gd name="connsiteY326" fmla="*/ 3352885 h 4683863"/>
              <a:gd name="connsiteX327" fmla="*/ 4956068 w 11346020"/>
              <a:gd name="connsiteY327" fmla="*/ 3352889 h 4683863"/>
              <a:gd name="connsiteX328" fmla="*/ 4957903 w 11346020"/>
              <a:gd name="connsiteY328" fmla="*/ 3373584 h 4683863"/>
              <a:gd name="connsiteX329" fmla="*/ 4959221 w 11346020"/>
              <a:gd name="connsiteY329" fmla="*/ 3374078 h 4683863"/>
              <a:gd name="connsiteX330" fmla="*/ 5010184 w 11346020"/>
              <a:gd name="connsiteY330" fmla="*/ 3374078 h 4683863"/>
              <a:gd name="connsiteX331" fmla="*/ 5073890 w 11346020"/>
              <a:gd name="connsiteY331" fmla="*/ 3437723 h 4683863"/>
              <a:gd name="connsiteX332" fmla="*/ 5175818 w 11346020"/>
              <a:gd name="connsiteY332" fmla="*/ 3348618 h 4683863"/>
              <a:gd name="connsiteX333" fmla="*/ 5226782 w 11346020"/>
              <a:gd name="connsiteY333" fmla="*/ 3340663 h 4683863"/>
              <a:gd name="connsiteX334" fmla="*/ 5234239 w 11346020"/>
              <a:gd name="connsiteY334" fmla="*/ 3338102 h 4683863"/>
              <a:gd name="connsiteX335" fmla="*/ 5104657 w 11346020"/>
              <a:gd name="connsiteY335" fmla="*/ 3338102 h 4683863"/>
              <a:gd name="connsiteX336" fmla="*/ 5079174 w 11346020"/>
              <a:gd name="connsiteY336" fmla="*/ 3325374 h 4683863"/>
              <a:gd name="connsiteX337" fmla="*/ 5079178 w 11346020"/>
              <a:gd name="connsiteY337" fmla="*/ 3325370 h 4683863"/>
              <a:gd name="connsiteX338" fmla="*/ 5079174 w 11346020"/>
              <a:gd name="connsiteY338" fmla="*/ 3325370 h 4683863"/>
              <a:gd name="connsiteX339" fmla="*/ 5117397 w 11346020"/>
              <a:gd name="connsiteY339" fmla="*/ 3287182 h 4683863"/>
              <a:gd name="connsiteX340" fmla="*/ 5270288 w 11346020"/>
              <a:gd name="connsiteY340" fmla="*/ 3287182 h 4683863"/>
              <a:gd name="connsiteX341" fmla="*/ 5428978 w 11346020"/>
              <a:gd name="connsiteY341" fmla="*/ 3297451 h 4683863"/>
              <a:gd name="connsiteX342" fmla="*/ 5434026 w 11346020"/>
              <a:gd name="connsiteY342" fmla="*/ 3301346 h 4683863"/>
              <a:gd name="connsiteX343" fmla="*/ 5494344 w 11346020"/>
              <a:gd name="connsiteY343" fmla="*/ 3292927 h 4683863"/>
              <a:gd name="connsiteX344" fmla="*/ 5509011 w 11346020"/>
              <a:gd name="connsiteY344" fmla="*/ 3291526 h 4683863"/>
              <a:gd name="connsiteX345" fmla="*/ 5486888 w 11346020"/>
              <a:gd name="connsiteY345" fmla="*/ 3236270 h 4683863"/>
              <a:gd name="connsiteX346" fmla="*/ 5490071 w 11346020"/>
              <a:gd name="connsiteY346" fmla="*/ 3263316 h 4683863"/>
              <a:gd name="connsiteX347" fmla="*/ 5490071 w 11346020"/>
              <a:gd name="connsiteY347" fmla="*/ 3263320 h 4683863"/>
              <a:gd name="connsiteX348" fmla="*/ 5474145 w 11346020"/>
              <a:gd name="connsiteY348" fmla="*/ 3261727 h 4683863"/>
              <a:gd name="connsiteX349" fmla="*/ 5321254 w 11346020"/>
              <a:gd name="connsiteY349" fmla="*/ 3248998 h 4683863"/>
              <a:gd name="connsiteX350" fmla="*/ 5295770 w 11346020"/>
              <a:gd name="connsiteY350" fmla="*/ 3236270 h 4683863"/>
              <a:gd name="connsiteX351" fmla="*/ 5279844 w 11346020"/>
              <a:gd name="connsiteY351" fmla="*/ 3228315 h 4683863"/>
              <a:gd name="connsiteX352" fmla="*/ 5283031 w 11346020"/>
              <a:gd name="connsiteY352" fmla="*/ 3248994 h 4683863"/>
              <a:gd name="connsiteX353" fmla="*/ 5283031 w 11346020"/>
              <a:gd name="connsiteY353" fmla="*/ 3248998 h 4683863"/>
              <a:gd name="connsiteX354" fmla="*/ 5283031 w 11346020"/>
              <a:gd name="connsiteY354" fmla="*/ 3274454 h 4683863"/>
              <a:gd name="connsiteX355" fmla="*/ 5283031 w 11346020"/>
              <a:gd name="connsiteY355" fmla="*/ 3274458 h 4683863"/>
              <a:gd name="connsiteX356" fmla="*/ 5130137 w 11346020"/>
              <a:gd name="connsiteY356" fmla="*/ 3223539 h 4683863"/>
              <a:gd name="connsiteX357" fmla="*/ 5072805 w 11346020"/>
              <a:gd name="connsiteY357" fmla="*/ 3212400 h 4683863"/>
              <a:gd name="connsiteX358" fmla="*/ 9623538 w 11346020"/>
              <a:gd name="connsiteY358" fmla="*/ 3192115 h 4683863"/>
              <a:gd name="connsiteX359" fmla="*/ 9651741 w 11346020"/>
              <a:gd name="connsiteY359" fmla="*/ 3214010 h 4683863"/>
              <a:gd name="connsiteX360" fmla="*/ 9651737 w 11346020"/>
              <a:gd name="connsiteY360" fmla="*/ 3214014 h 4683863"/>
              <a:gd name="connsiteX361" fmla="*/ 9651741 w 11346020"/>
              <a:gd name="connsiteY361" fmla="*/ 3214014 h 4683863"/>
              <a:gd name="connsiteX362" fmla="*/ 9638469 w 11346020"/>
              <a:gd name="connsiteY362" fmla="*/ 3240964 h 4683863"/>
              <a:gd name="connsiteX363" fmla="*/ 9585384 w 11346020"/>
              <a:gd name="connsiteY363" fmla="*/ 3200541 h 4683863"/>
              <a:gd name="connsiteX364" fmla="*/ 9585388 w 11346020"/>
              <a:gd name="connsiteY364" fmla="*/ 3200541 h 4683863"/>
              <a:gd name="connsiteX365" fmla="*/ 9585384 w 11346020"/>
              <a:gd name="connsiteY365" fmla="*/ 3200537 h 4683863"/>
              <a:gd name="connsiteX366" fmla="*/ 9623538 w 11346020"/>
              <a:gd name="connsiteY366" fmla="*/ 3192115 h 4683863"/>
              <a:gd name="connsiteX367" fmla="*/ 9975032 w 11346020"/>
              <a:gd name="connsiteY367" fmla="*/ 3149469 h 4683863"/>
              <a:gd name="connsiteX368" fmla="*/ 9973040 w 11346020"/>
              <a:gd name="connsiteY368" fmla="*/ 3154642 h 4683863"/>
              <a:gd name="connsiteX369" fmla="*/ 9938005 w 11346020"/>
              <a:gd name="connsiteY369" fmla="*/ 3170553 h 4683863"/>
              <a:gd name="connsiteX370" fmla="*/ 9936082 w 11346020"/>
              <a:gd name="connsiteY370" fmla="*/ 3171715 h 4683863"/>
              <a:gd name="connsiteX371" fmla="*/ 9984844 w 11346020"/>
              <a:gd name="connsiteY371" fmla="*/ 3176277 h 4683863"/>
              <a:gd name="connsiteX372" fmla="*/ 9985784 w 11346020"/>
              <a:gd name="connsiteY372" fmla="*/ 3167370 h 4683863"/>
              <a:gd name="connsiteX373" fmla="*/ 9979414 w 11346020"/>
              <a:gd name="connsiteY373" fmla="*/ 3151459 h 4683863"/>
              <a:gd name="connsiteX374" fmla="*/ 9975032 w 11346020"/>
              <a:gd name="connsiteY374" fmla="*/ 3149469 h 4683863"/>
              <a:gd name="connsiteX375" fmla="*/ 9769188 w 11346020"/>
              <a:gd name="connsiteY375" fmla="*/ 3090994 h 4683863"/>
              <a:gd name="connsiteX376" fmla="*/ 9753291 w 11346020"/>
              <a:gd name="connsiteY376" fmla="*/ 3144992 h 4683863"/>
              <a:gd name="connsiteX377" fmla="*/ 9763044 w 11346020"/>
              <a:gd name="connsiteY377" fmla="*/ 3146539 h 4683863"/>
              <a:gd name="connsiteX378" fmla="*/ 9769188 w 11346020"/>
              <a:gd name="connsiteY378" fmla="*/ 3153359 h 4683863"/>
              <a:gd name="connsiteX379" fmla="*/ 9616292 w 11346020"/>
              <a:gd name="connsiteY379" fmla="*/ 3065534 h 4683863"/>
              <a:gd name="connsiteX380" fmla="*/ 9616292 w 11346020"/>
              <a:gd name="connsiteY380" fmla="*/ 3116450 h 4683863"/>
              <a:gd name="connsiteX381" fmla="*/ 9616292 w 11346020"/>
              <a:gd name="connsiteY381" fmla="*/ 3135557 h 4683863"/>
              <a:gd name="connsiteX382" fmla="*/ 9688193 w 11346020"/>
              <a:gd name="connsiteY382" fmla="*/ 3149722 h 4683863"/>
              <a:gd name="connsiteX383" fmla="*/ 9708895 w 11346020"/>
              <a:gd name="connsiteY383" fmla="*/ 3149722 h 4683863"/>
              <a:gd name="connsiteX384" fmla="*/ 9718221 w 11346020"/>
              <a:gd name="connsiteY384" fmla="*/ 3149722 h 4683863"/>
              <a:gd name="connsiteX385" fmla="*/ 9718221 w 11346020"/>
              <a:gd name="connsiteY385" fmla="*/ 3090994 h 4683863"/>
              <a:gd name="connsiteX386" fmla="*/ 9616292 w 11346020"/>
              <a:gd name="connsiteY386" fmla="*/ 3065534 h 4683863"/>
              <a:gd name="connsiteX387" fmla="*/ 9412436 w 11346020"/>
              <a:gd name="connsiteY387" fmla="*/ 3052806 h 4683863"/>
              <a:gd name="connsiteX388" fmla="*/ 9412436 w 11346020"/>
              <a:gd name="connsiteY388" fmla="*/ 3119716 h 4683863"/>
              <a:gd name="connsiteX389" fmla="*/ 9471592 w 11346020"/>
              <a:gd name="connsiteY389" fmla="*/ 3124262 h 4683863"/>
              <a:gd name="connsiteX390" fmla="*/ 9484044 w 11346020"/>
              <a:gd name="connsiteY390" fmla="*/ 3123469 h 4683863"/>
              <a:gd name="connsiteX391" fmla="*/ 9476141 w 11346020"/>
              <a:gd name="connsiteY391" fmla="*/ 3116454 h 4683863"/>
              <a:gd name="connsiteX392" fmla="*/ 9412436 w 11346020"/>
              <a:gd name="connsiteY392" fmla="*/ 3052806 h 4683863"/>
              <a:gd name="connsiteX393" fmla="*/ 8691434 w 11346020"/>
              <a:gd name="connsiteY393" fmla="*/ 2963103 h 4683863"/>
              <a:gd name="connsiteX394" fmla="*/ 8666861 w 11346020"/>
              <a:gd name="connsiteY394" fmla="*/ 2979470 h 4683863"/>
              <a:gd name="connsiteX395" fmla="*/ 8689074 w 11346020"/>
              <a:gd name="connsiteY395" fmla="*/ 2983169 h 4683863"/>
              <a:gd name="connsiteX396" fmla="*/ 8698937 w 11346020"/>
              <a:gd name="connsiteY396" fmla="*/ 2976426 h 4683863"/>
              <a:gd name="connsiteX397" fmla="*/ 8924306 w 11346020"/>
              <a:gd name="connsiteY397" fmla="*/ 2834377 h 4683863"/>
              <a:gd name="connsiteX398" fmla="*/ 8880497 w 11346020"/>
              <a:gd name="connsiteY398" fmla="*/ 2841182 h 4683863"/>
              <a:gd name="connsiteX399" fmla="*/ 8870121 w 11346020"/>
              <a:gd name="connsiteY399" fmla="*/ 2845969 h 4683863"/>
              <a:gd name="connsiteX400" fmla="*/ 8860021 w 11346020"/>
              <a:gd name="connsiteY400" fmla="*/ 2869682 h 4683863"/>
              <a:gd name="connsiteX401" fmla="*/ 8821799 w 11346020"/>
              <a:gd name="connsiteY401" fmla="*/ 2882410 h 4683863"/>
              <a:gd name="connsiteX402" fmla="*/ 8805125 w 11346020"/>
              <a:gd name="connsiteY402" fmla="*/ 2885340 h 4683863"/>
              <a:gd name="connsiteX403" fmla="*/ 8788125 w 11346020"/>
              <a:gd name="connsiteY403" fmla="*/ 2900054 h 4683863"/>
              <a:gd name="connsiteX404" fmla="*/ 8777658 w 11346020"/>
              <a:gd name="connsiteY404" fmla="*/ 2892386 h 4683863"/>
              <a:gd name="connsiteX405" fmla="*/ 8776658 w 11346020"/>
              <a:gd name="connsiteY405" fmla="*/ 2892975 h 4683863"/>
              <a:gd name="connsiteX406" fmla="*/ 8772961 w 11346020"/>
              <a:gd name="connsiteY406" fmla="*/ 2892939 h 4683863"/>
              <a:gd name="connsiteX407" fmla="*/ 8773166 w 11346020"/>
              <a:gd name="connsiteY407" fmla="*/ 2894941 h 4683863"/>
              <a:gd name="connsiteX408" fmla="*/ 8762392 w 11346020"/>
              <a:gd name="connsiteY408" fmla="*/ 2923304 h 4683863"/>
              <a:gd name="connsiteX409" fmla="*/ 8799871 w 11346020"/>
              <a:gd name="connsiteY409" fmla="*/ 2931080 h 4683863"/>
              <a:gd name="connsiteX410" fmla="*/ 9081167 w 11346020"/>
              <a:gd name="connsiteY410" fmla="*/ 2938238 h 4683863"/>
              <a:gd name="connsiteX411" fmla="*/ 9109837 w 11346020"/>
              <a:gd name="connsiteY411" fmla="*/ 2915965 h 4683863"/>
              <a:gd name="connsiteX412" fmla="*/ 9118194 w 11346020"/>
              <a:gd name="connsiteY412" fmla="*/ 2879787 h 4683863"/>
              <a:gd name="connsiteX413" fmla="*/ 9072297 w 11346020"/>
              <a:gd name="connsiteY413" fmla="*/ 2873975 h 4683863"/>
              <a:gd name="connsiteX414" fmla="*/ 9061858 w 11346020"/>
              <a:gd name="connsiteY414" fmla="*/ 2885138 h 4683863"/>
              <a:gd name="connsiteX415" fmla="*/ 9068427 w 11346020"/>
              <a:gd name="connsiteY415" fmla="*/ 2912786 h 4683863"/>
              <a:gd name="connsiteX416" fmla="*/ 8953759 w 11346020"/>
              <a:gd name="connsiteY416" fmla="*/ 2849138 h 4683863"/>
              <a:gd name="connsiteX417" fmla="*/ 8942863 w 11346020"/>
              <a:gd name="connsiteY417" fmla="*/ 2842690 h 4683863"/>
              <a:gd name="connsiteX418" fmla="*/ 8937378 w 11346020"/>
              <a:gd name="connsiteY418" fmla="*/ 2844075 h 4683863"/>
              <a:gd name="connsiteX419" fmla="*/ 8925589 w 11346020"/>
              <a:gd name="connsiteY419" fmla="*/ 2842544 h 4683863"/>
              <a:gd name="connsiteX420" fmla="*/ 10034188 w 11346020"/>
              <a:gd name="connsiteY420" fmla="*/ 2788134 h 4683863"/>
              <a:gd name="connsiteX421" fmla="*/ 10032197 w 11346020"/>
              <a:gd name="connsiteY421" fmla="*/ 2793306 h 4683863"/>
              <a:gd name="connsiteX422" fmla="*/ 10020874 w 11346020"/>
              <a:gd name="connsiteY422" fmla="*/ 2801939 h 4683863"/>
              <a:gd name="connsiteX423" fmla="*/ 10044902 w 11346020"/>
              <a:gd name="connsiteY423" fmla="*/ 2805940 h 4683863"/>
              <a:gd name="connsiteX424" fmla="*/ 10038571 w 11346020"/>
              <a:gd name="connsiteY424" fmla="*/ 2790123 h 4683863"/>
              <a:gd name="connsiteX425" fmla="*/ 10034188 w 11346020"/>
              <a:gd name="connsiteY425" fmla="*/ 2788134 h 4683863"/>
              <a:gd name="connsiteX426" fmla="*/ 10908430 w 11346020"/>
              <a:gd name="connsiteY426" fmla="*/ 2591800 h 4683863"/>
              <a:gd name="connsiteX427" fmla="*/ 10956332 w 11346020"/>
              <a:gd name="connsiteY427" fmla="*/ 2592838 h 4683863"/>
              <a:gd name="connsiteX428" fmla="*/ 11024707 w 11346020"/>
              <a:gd name="connsiteY428" fmla="*/ 2630987 h 4683863"/>
              <a:gd name="connsiteX429" fmla="*/ 11024703 w 11346020"/>
              <a:gd name="connsiteY429" fmla="*/ 2630987 h 4683863"/>
              <a:gd name="connsiteX430" fmla="*/ 11024707 w 11346020"/>
              <a:gd name="connsiteY430" fmla="*/ 2630991 h 4683863"/>
              <a:gd name="connsiteX431" fmla="*/ 10859334 w 11346020"/>
              <a:gd name="connsiteY431" fmla="*/ 2604450 h 4683863"/>
              <a:gd name="connsiteX432" fmla="*/ 10859346 w 11346020"/>
              <a:gd name="connsiteY432" fmla="*/ 2604450 h 4683863"/>
              <a:gd name="connsiteX433" fmla="*/ 10859334 w 11346020"/>
              <a:gd name="connsiteY433" fmla="*/ 2604447 h 4683863"/>
              <a:gd name="connsiteX434" fmla="*/ 10908430 w 11346020"/>
              <a:gd name="connsiteY434" fmla="*/ 2591800 h 4683863"/>
              <a:gd name="connsiteX435" fmla="*/ 10644967 w 11346020"/>
              <a:gd name="connsiteY435" fmla="*/ 2553407 h 4683863"/>
              <a:gd name="connsiteX436" fmla="*/ 10834457 w 11346020"/>
              <a:gd name="connsiteY436" fmla="*/ 2580357 h 4683863"/>
              <a:gd name="connsiteX437" fmla="*/ 10847089 w 11346020"/>
              <a:gd name="connsiteY437" fmla="*/ 2607305 h 4683863"/>
              <a:gd name="connsiteX438" fmla="*/ 10847089 w 11346020"/>
              <a:gd name="connsiteY438" fmla="*/ 2607309 h 4683863"/>
              <a:gd name="connsiteX439" fmla="*/ 10821825 w 11346020"/>
              <a:gd name="connsiteY439" fmla="*/ 2620782 h 4683863"/>
              <a:gd name="connsiteX440" fmla="*/ 10644967 w 11346020"/>
              <a:gd name="connsiteY440" fmla="*/ 2553411 h 4683863"/>
              <a:gd name="connsiteX441" fmla="*/ 10644979 w 11346020"/>
              <a:gd name="connsiteY441" fmla="*/ 2553415 h 4683863"/>
              <a:gd name="connsiteX442" fmla="*/ 1975653 w 11346020"/>
              <a:gd name="connsiteY442" fmla="*/ 2012302 h 4683863"/>
              <a:gd name="connsiteX443" fmla="*/ 1917997 w 11346020"/>
              <a:gd name="connsiteY443" fmla="*/ 2017703 h 4683863"/>
              <a:gd name="connsiteX444" fmla="*/ 1822441 w 11346020"/>
              <a:gd name="connsiteY444" fmla="*/ 2032620 h 4683863"/>
              <a:gd name="connsiteX445" fmla="*/ 1763515 w 11346020"/>
              <a:gd name="connsiteY445" fmla="*/ 2045351 h 4683863"/>
              <a:gd name="connsiteX446" fmla="*/ 1755345 w 11346020"/>
              <a:gd name="connsiteY446" fmla="*/ 2047554 h 4683863"/>
              <a:gd name="connsiteX447" fmla="*/ 1824436 w 11346020"/>
              <a:gd name="connsiteY447" fmla="*/ 2037191 h 4683863"/>
              <a:gd name="connsiteX448" fmla="*/ 1939107 w 11346020"/>
              <a:gd name="connsiteY448" fmla="*/ 2024662 h 4683863"/>
              <a:gd name="connsiteX449" fmla="*/ 2094844 w 11346020"/>
              <a:gd name="connsiteY449" fmla="*/ 2002662 h 4683863"/>
              <a:gd name="connsiteX450" fmla="*/ 2013556 w 11346020"/>
              <a:gd name="connsiteY450" fmla="*/ 2008752 h 4683863"/>
              <a:gd name="connsiteX451" fmla="*/ 1980811 w 11346020"/>
              <a:gd name="connsiteY451" fmla="*/ 2011819 h 4683863"/>
              <a:gd name="connsiteX452" fmla="*/ 2002015 w 11346020"/>
              <a:gd name="connsiteY452" fmla="*/ 2012331 h 4683863"/>
              <a:gd name="connsiteX453" fmla="*/ 2066515 w 11346020"/>
              <a:gd name="connsiteY453" fmla="*/ 2049923 h 4683863"/>
              <a:gd name="connsiteX454" fmla="*/ 2082442 w 11346020"/>
              <a:gd name="connsiteY454" fmla="*/ 2041968 h 4683863"/>
              <a:gd name="connsiteX455" fmla="*/ 2079259 w 11346020"/>
              <a:gd name="connsiteY455" fmla="*/ 2024467 h 4683863"/>
              <a:gd name="connsiteX456" fmla="*/ 2079259 w 11346020"/>
              <a:gd name="connsiteY456" fmla="*/ 2024463 h 4683863"/>
              <a:gd name="connsiteX457" fmla="*/ 2317681 w 11346020"/>
              <a:gd name="connsiteY457" fmla="*/ 1983468 h 4683863"/>
              <a:gd name="connsiteX458" fmla="*/ 2204672 w 11346020"/>
              <a:gd name="connsiteY458" fmla="*/ 1994432 h 4683863"/>
              <a:gd name="connsiteX459" fmla="*/ 2131562 w 11346020"/>
              <a:gd name="connsiteY459" fmla="*/ 1999910 h 4683863"/>
              <a:gd name="connsiteX460" fmla="*/ 2149332 w 11346020"/>
              <a:gd name="connsiteY460" fmla="*/ 2011932 h 4683863"/>
              <a:gd name="connsiteX461" fmla="*/ 2206666 w 11346020"/>
              <a:gd name="connsiteY461" fmla="*/ 2024463 h 4683863"/>
              <a:gd name="connsiteX462" fmla="*/ 2257632 w 11346020"/>
              <a:gd name="connsiteY462" fmla="*/ 2011735 h 4683863"/>
              <a:gd name="connsiteX463" fmla="*/ 2296053 w 11346020"/>
              <a:gd name="connsiteY463" fmla="*/ 1989657 h 4683863"/>
              <a:gd name="connsiteX464" fmla="*/ 6632903 w 11346020"/>
              <a:gd name="connsiteY464" fmla="*/ 680241 h 4683863"/>
              <a:gd name="connsiteX465" fmla="*/ 6097790 w 11346020"/>
              <a:gd name="connsiteY465" fmla="*/ 692969 h 4683863"/>
              <a:gd name="connsiteX466" fmla="*/ 5792008 w 11346020"/>
              <a:gd name="connsiteY466" fmla="*/ 705697 h 4683863"/>
              <a:gd name="connsiteX467" fmla="*/ 5295104 w 11346020"/>
              <a:gd name="connsiteY467" fmla="*/ 743885 h 4683863"/>
              <a:gd name="connsiteX468" fmla="*/ 5281160 w 11346020"/>
              <a:gd name="connsiteY468" fmla="*/ 744660 h 4683863"/>
              <a:gd name="connsiteX469" fmla="*/ 5287997 w 11346020"/>
              <a:gd name="connsiteY469" fmla="*/ 759689 h 4683863"/>
              <a:gd name="connsiteX470" fmla="*/ 5294617 w 11346020"/>
              <a:gd name="connsiteY470" fmla="*/ 865517 h 4683863"/>
              <a:gd name="connsiteX471" fmla="*/ 5421322 w 11346020"/>
              <a:gd name="connsiteY471" fmla="*/ 846514 h 4683863"/>
              <a:gd name="connsiteX472" fmla="*/ 5919415 w 11346020"/>
              <a:gd name="connsiteY472" fmla="*/ 782069 h 4683863"/>
              <a:gd name="connsiteX473" fmla="*/ 6072310 w 11346020"/>
              <a:gd name="connsiteY473" fmla="*/ 756613 h 4683863"/>
              <a:gd name="connsiteX474" fmla="*/ 6161495 w 11346020"/>
              <a:gd name="connsiteY474" fmla="*/ 794802 h 4683863"/>
              <a:gd name="connsiteX475" fmla="*/ 6177422 w 11346020"/>
              <a:gd name="connsiteY475" fmla="*/ 786846 h 4683863"/>
              <a:gd name="connsiteX476" fmla="*/ 6174239 w 11346020"/>
              <a:gd name="connsiteY476" fmla="*/ 769345 h 4683863"/>
              <a:gd name="connsiteX477" fmla="*/ 6174239 w 11346020"/>
              <a:gd name="connsiteY477" fmla="*/ 769341 h 4683863"/>
              <a:gd name="connsiteX478" fmla="*/ 6225200 w 11346020"/>
              <a:gd name="connsiteY478" fmla="*/ 743881 h 4683863"/>
              <a:gd name="connsiteX479" fmla="*/ 6301646 w 11346020"/>
              <a:gd name="connsiteY479" fmla="*/ 769341 h 4683863"/>
              <a:gd name="connsiteX480" fmla="*/ 6352612 w 11346020"/>
              <a:gd name="connsiteY480" fmla="*/ 756613 h 4683863"/>
              <a:gd name="connsiteX481" fmla="*/ 6518243 w 11346020"/>
              <a:gd name="connsiteY481" fmla="*/ 718426 h 4683863"/>
              <a:gd name="connsiteX482" fmla="*/ 9010145 w 11346020"/>
              <a:gd name="connsiteY482" fmla="*/ 184 h 4683863"/>
              <a:gd name="connsiteX483" fmla="*/ 9101521 w 11346020"/>
              <a:gd name="connsiteY483" fmla="*/ 16296 h 4683863"/>
              <a:gd name="connsiteX484" fmla="*/ 9254411 w 11346020"/>
              <a:gd name="connsiteY484" fmla="*/ 16296 h 4683863"/>
              <a:gd name="connsiteX485" fmla="*/ 9356340 w 11346020"/>
              <a:gd name="connsiteY485" fmla="*/ 3565 h 4683863"/>
              <a:gd name="connsiteX486" fmla="*/ 9789536 w 11346020"/>
              <a:gd name="connsiteY486" fmla="*/ 3565 h 4683863"/>
              <a:gd name="connsiteX487" fmla="*/ 10311918 w 11346020"/>
              <a:gd name="connsiteY487" fmla="*/ 54481 h 4683863"/>
              <a:gd name="connsiteX488" fmla="*/ 10528515 w 11346020"/>
              <a:gd name="connsiteY488" fmla="*/ 79941 h 4683863"/>
              <a:gd name="connsiteX489" fmla="*/ 10553998 w 11346020"/>
              <a:gd name="connsiteY489" fmla="*/ 105400 h 4683863"/>
              <a:gd name="connsiteX490" fmla="*/ 10579481 w 11346020"/>
              <a:gd name="connsiteY490" fmla="*/ 359985 h 4683863"/>
              <a:gd name="connsiteX491" fmla="*/ 10579481 w 11346020"/>
              <a:gd name="connsiteY491" fmla="*/ 359989 h 4683863"/>
              <a:gd name="connsiteX492" fmla="*/ 10528515 w 11346020"/>
              <a:gd name="connsiteY492" fmla="*/ 410904 h 4683863"/>
              <a:gd name="connsiteX493" fmla="*/ 10388364 w 11346020"/>
              <a:gd name="connsiteY493" fmla="*/ 436364 h 4683863"/>
              <a:gd name="connsiteX494" fmla="*/ 10324662 w 11346020"/>
              <a:gd name="connsiteY494" fmla="*/ 461820 h 4683863"/>
              <a:gd name="connsiteX495" fmla="*/ 10375624 w 11346020"/>
              <a:gd name="connsiteY495" fmla="*/ 487277 h 4683863"/>
              <a:gd name="connsiteX496" fmla="*/ 10401107 w 11346020"/>
              <a:gd name="connsiteY496" fmla="*/ 474548 h 4683863"/>
              <a:gd name="connsiteX497" fmla="*/ 10562358 w 11346020"/>
              <a:gd name="connsiteY497" fmla="*/ 542571 h 4683863"/>
              <a:gd name="connsiteX498" fmla="*/ 10562358 w 11346020"/>
              <a:gd name="connsiteY498" fmla="*/ 542575 h 4683863"/>
              <a:gd name="connsiteX499" fmla="*/ 10553998 w 11346020"/>
              <a:gd name="connsiteY499" fmla="*/ 627304 h 4683863"/>
              <a:gd name="connsiteX500" fmla="*/ 10553998 w 11346020"/>
              <a:gd name="connsiteY500" fmla="*/ 661493 h 4683863"/>
              <a:gd name="connsiteX501" fmla="*/ 10756619 w 11346020"/>
              <a:gd name="connsiteY501" fmla="*/ 681610 h 4683863"/>
              <a:gd name="connsiteX502" fmla="*/ 10973215 w 11346020"/>
              <a:gd name="connsiteY502" fmla="*/ 707070 h 4683863"/>
              <a:gd name="connsiteX503" fmla="*/ 10998699 w 11346020"/>
              <a:gd name="connsiteY503" fmla="*/ 732529 h 4683863"/>
              <a:gd name="connsiteX504" fmla="*/ 11024181 w 11346020"/>
              <a:gd name="connsiteY504" fmla="*/ 987114 h 4683863"/>
              <a:gd name="connsiteX505" fmla="*/ 11024181 w 11346020"/>
              <a:gd name="connsiteY505" fmla="*/ 987118 h 4683863"/>
              <a:gd name="connsiteX506" fmla="*/ 10973215 w 11346020"/>
              <a:gd name="connsiteY506" fmla="*/ 1038033 h 4683863"/>
              <a:gd name="connsiteX507" fmla="*/ 10833064 w 11346020"/>
              <a:gd name="connsiteY507" fmla="*/ 1063494 h 4683863"/>
              <a:gd name="connsiteX508" fmla="*/ 10769362 w 11346020"/>
              <a:gd name="connsiteY508" fmla="*/ 1088949 h 4683863"/>
              <a:gd name="connsiteX509" fmla="*/ 10820324 w 11346020"/>
              <a:gd name="connsiteY509" fmla="*/ 1114406 h 4683863"/>
              <a:gd name="connsiteX510" fmla="*/ 10845807 w 11346020"/>
              <a:gd name="connsiteY510" fmla="*/ 1101678 h 4683863"/>
              <a:gd name="connsiteX511" fmla="*/ 11007059 w 11346020"/>
              <a:gd name="connsiteY511" fmla="*/ 1169700 h 4683863"/>
              <a:gd name="connsiteX512" fmla="*/ 11007059 w 11346020"/>
              <a:gd name="connsiteY512" fmla="*/ 1169705 h 4683863"/>
              <a:gd name="connsiteX513" fmla="*/ 10998699 w 11346020"/>
              <a:gd name="connsiteY513" fmla="*/ 1254433 h 4683863"/>
              <a:gd name="connsiteX514" fmla="*/ 10998699 w 11346020"/>
              <a:gd name="connsiteY514" fmla="*/ 1381721 h 4683863"/>
              <a:gd name="connsiteX515" fmla="*/ 10998699 w 11346020"/>
              <a:gd name="connsiteY515" fmla="*/ 1381725 h 4683863"/>
              <a:gd name="connsiteX516" fmla="*/ 10947736 w 11346020"/>
              <a:gd name="connsiteY516" fmla="*/ 1445373 h 4683863"/>
              <a:gd name="connsiteX517" fmla="*/ 10909514 w 11346020"/>
              <a:gd name="connsiteY517" fmla="*/ 1442190 h 4683863"/>
              <a:gd name="connsiteX518" fmla="*/ 10875053 w 11346020"/>
              <a:gd name="connsiteY518" fmla="*/ 1456535 h 4683863"/>
              <a:gd name="connsiteX519" fmla="*/ 10874879 w 11346020"/>
              <a:gd name="connsiteY519" fmla="*/ 1461684 h 4683863"/>
              <a:gd name="connsiteX520" fmla="*/ 10884030 w 11346020"/>
              <a:gd name="connsiteY520" fmla="*/ 1470826 h 4683863"/>
              <a:gd name="connsiteX521" fmla="*/ 10998699 w 11346020"/>
              <a:gd name="connsiteY521" fmla="*/ 1483557 h 4683863"/>
              <a:gd name="connsiteX522" fmla="*/ 11013031 w 11346020"/>
              <a:gd name="connsiteY522" fmla="*/ 1529701 h 4683863"/>
              <a:gd name="connsiteX523" fmla="*/ 11013031 w 11346020"/>
              <a:gd name="connsiteY523" fmla="*/ 1529705 h 4683863"/>
              <a:gd name="connsiteX524" fmla="*/ 10998699 w 11346020"/>
              <a:gd name="connsiteY524" fmla="*/ 1585394 h 4683863"/>
              <a:gd name="connsiteX525" fmla="*/ 10998699 w 11346020"/>
              <a:gd name="connsiteY525" fmla="*/ 1712682 h 4683863"/>
              <a:gd name="connsiteX526" fmla="*/ 10998699 w 11346020"/>
              <a:gd name="connsiteY526" fmla="*/ 1712686 h 4683863"/>
              <a:gd name="connsiteX527" fmla="*/ 10934993 w 11346020"/>
              <a:gd name="connsiteY527" fmla="*/ 1814521 h 4683863"/>
              <a:gd name="connsiteX528" fmla="*/ 10896774 w 11346020"/>
              <a:gd name="connsiteY528" fmla="*/ 1839978 h 4683863"/>
              <a:gd name="connsiteX529" fmla="*/ 10973215 w 11346020"/>
              <a:gd name="connsiteY529" fmla="*/ 1852705 h 4683863"/>
              <a:gd name="connsiteX530" fmla="*/ 11138850 w 11346020"/>
              <a:gd name="connsiteY530" fmla="*/ 1878162 h 4683863"/>
              <a:gd name="connsiteX531" fmla="*/ 11291741 w 11346020"/>
              <a:gd name="connsiteY531" fmla="*/ 1890893 h 4683863"/>
              <a:gd name="connsiteX532" fmla="*/ 11342707 w 11346020"/>
              <a:gd name="connsiteY532" fmla="*/ 1979997 h 4683863"/>
              <a:gd name="connsiteX533" fmla="*/ 11342707 w 11346020"/>
              <a:gd name="connsiteY533" fmla="*/ 1980001 h 4683863"/>
              <a:gd name="connsiteX534" fmla="*/ 11317224 w 11346020"/>
              <a:gd name="connsiteY534" fmla="*/ 2158213 h 4683863"/>
              <a:gd name="connsiteX535" fmla="*/ 11228038 w 11346020"/>
              <a:gd name="connsiteY535" fmla="*/ 2247317 h 4683863"/>
              <a:gd name="connsiteX536" fmla="*/ 10960476 w 11346020"/>
              <a:gd name="connsiteY536" fmla="*/ 2272776 h 4683863"/>
              <a:gd name="connsiteX537" fmla="*/ 10858548 w 11346020"/>
              <a:gd name="connsiteY537" fmla="*/ 2260045 h 4683863"/>
              <a:gd name="connsiteX538" fmla="*/ 10858551 w 11346020"/>
              <a:gd name="connsiteY538" fmla="*/ 2260041 h 4683863"/>
              <a:gd name="connsiteX539" fmla="*/ 10858548 w 11346020"/>
              <a:gd name="connsiteY539" fmla="*/ 2260041 h 4683863"/>
              <a:gd name="connsiteX540" fmla="*/ 10880843 w 11346020"/>
              <a:gd name="connsiteY540" fmla="*/ 2239358 h 4683863"/>
              <a:gd name="connsiteX541" fmla="*/ 10884030 w 11346020"/>
              <a:gd name="connsiteY541" fmla="*/ 2209129 h 4683863"/>
              <a:gd name="connsiteX542" fmla="*/ 10877661 w 11346020"/>
              <a:gd name="connsiteY542" fmla="*/ 2193218 h 4683863"/>
              <a:gd name="connsiteX543" fmla="*/ 10871287 w 11346020"/>
              <a:gd name="connsiteY543" fmla="*/ 2196401 h 4683863"/>
              <a:gd name="connsiteX544" fmla="*/ 10820324 w 11346020"/>
              <a:gd name="connsiteY544" fmla="*/ 2247317 h 4683863"/>
              <a:gd name="connsiteX545" fmla="*/ 10807585 w 11346020"/>
              <a:gd name="connsiteY545" fmla="*/ 2272776 h 4683863"/>
              <a:gd name="connsiteX546" fmla="*/ 10782102 w 11346020"/>
              <a:gd name="connsiteY546" fmla="*/ 2247317 h 4683863"/>
              <a:gd name="connsiteX547" fmla="*/ 10718397 w 11346020"/>
              <a:gd name="connsiteY547" fmla="*/ 2196401 h 4683863"/>
              <a:gd name="connsiteX548" fmla="*/ 10700876 w 11346020"/>
              <a:gd name="connsiteY548" fmla="*/ 2199583 h 4683863"/>
              <a:gd name="connsiteX549" fmla="*/ 10692917 w 11346020"/>
              <a:gd name="connsiteY549" fmla="*/ 2221857 h 4683863"/>
              <a:gd name="connsiteX550" fmla="*/ 10718397 w 11346020"/>
              <a:gd name="connsiteY550" fmla="*/ 2247313 h 4683863"/>
              <a:gd name="connsiteX551" fmla="*/ 10769359 w 11346020"/>
              <a:gd name="connsiteY551" fmla="*/ 2260041 h 4683863"/>
              <a:gd name="connsiteX552" fmla="*/ 10769351 w 11346020"/>
              <a:gd name="connsiteY552" fmla="*/ 2260041 h 4683863"/>
              <a:gd name="connsiteX553" fmla="*/ 10769359 w 11346020"/>
              <a:gd name="connsiteY553" fmla="*/ 2260045 h 4683863"/>
              <a:gd name="connsiteX554" fmla="*/ 10590985 w 11346020"/>
              <a:gd name="connsiteY554" fmla="*/ 2260045 h 4683863"/>
              <a:gd name="connsiteX555" fmla="*/ 10590992 w 11346020"/>
              <a:gd name="connsiteY555" fmla="*/ 2260041 h 4683863"/>
              <a:gd name="connsiteX556" fmla="*/ 10590985 w 11346020"/>
              <a:gd name="connsiteY556" fmla="*/ 2260041 h 4683863"/>
              <a:gd name="connsiteX557" fmla="*/ 10667434 w 11346020"/>
              <a:gd name="connsiteY557" fmla="*/ 2215490 h 4683863"/>
              <a:gd name="connsiteX558" fmla="*/ 10667434 w 11346020"/>
              <a:gd name="connsiteY558" fmla="*/ 2132753 h 4683863"/>
              <a:gd name="connsiteX559" fmla="*/ 10651508 w 11346020"/>
              <a:gd name="connsiteY559" fmla="*/ 2186852 h 4683863"/>
              <a:gd name="connsiteX560" fmla="*/ 10616468 w 11346020"/>
              <a:gd name="connsiteY560" fmla="*/ 2221857 h 4683863"/>
              <a:gd name="connsiteX561" fmla="*/ 10616468 w 11346020"/>
              <a:gd name="connsiteY561" fmla="*/ 2221853 h 4683863"/>
              <a:gd name="connsiteX562" fmla="*/ 10616468 w 11346020"/>
              <a:gd name="connsiteY562" fmla="*/ 2132753 h 4683863"/>
              <a:gd name="connsiteX563" fmla="*/ 10514540 w 11346020"/>
              <a:gd name="connsiteY563" fmla="*/ 2107293 h 4683863"/>
              <a:gd name="connsiteX564" fmla="*/ 10514540 w 11346020"/>
              <a:gd name="connsiteY564" fmla="*/ 2158209 h 4683863"/>
              <a:gd name="connsiteX565" fmla="*/ 10514540 w 11346020"/>
              <a:gd name="connsiteY565" fmla="*/ 2193214 h 4683863"/>
              <a:gd name="connsiteX566" fmla="*/ 10514540 w 11346020"/>
              <a:gd name="connsiteY566" fmla="*/ 2193218 h 4683863"/>
              <a:gd name="connsiteX567" fmla="*/ 10476317 w 11346020"/>
              <a:gd name="connsiteY567" fmla="*/ 2209129 h 4683863"/>
              <a:gd name="connsiteX568" fmla="*/ 10450833 w 11346020"/>
              <a:gd name="connsiteY568" fmla="*/ 2234588 h 4683863"/>
              <a:gd name="connsiteX569" fmla="*/ 10387132 w 11346020"/>
              <a:gd name="connsiteY569" fmla="*/ 2260045 h 4683863"/>
              <a:gd name="connsiteX570" fmla="*/ 10356872 w 11346020"/>
              <a:gd name="connsiteY570" fmla="*/ 2221857 h 4683863"/>
              <a:gd name="connsiteX571" fmla="*/ 10356872 w 11346020"/>
              <a:gd name="connsiteY571" fmla="*/ 2221853 h 4683863"/>
              <a:gd name="connsiteX572" fmla="*/ 10374389 w 11346020"/>
              <a:gd name="connsiteY572" fmla="*/ 2183665 h 4683863"/>
              <a:gd name="connsiteX573" fmla="*/ 10388721 w 11346020"/>
              <a:gd name="connsiteY573" fmla="*/ 2170937 h 4683863"/>
              <a:gd name="connsiteX574" fmla="*/ 10374389 w 11346020"/>
              <a:gd name="connsiteY574" fmla="*/ 2158213 h 4683863"/>
              <a:gd name="connsiteX575" fmla="*/ 10310682 w 11346020"/>
              <a:gd name="connsiteY575" fmla="*/ 2094565 h 4683863"/>
              <a:gd name="connsiteX576" fmla="*/ 10310682 w 11346020"/>
              <a:gd name="connsiteY576" fmla="*/ 2196396 h 4683863"/>
              <a:gd name="connsiteX577" fmla="*/ 10318645 w 11346020"/>
              <a:gd name="connsiteY577" fmla="*/ 2220264 h 4683863"/>
              <a:gd name="connsiteX578" fmla="*/ 10318645 w 11346020"/>
              <a:gd name="connsiteY578" fmla="*/ 2220267 h 4683863"/>
              <a:gd name="connsiteX579" fmla="*/ 10300825 w 11346020"/>
              <a:gd name="connsiteY579" fmla="*/ 2232594 h 4683863"/>
              <a:gd name="connsiteX580" fmla="*/ 10301978 w 11346020"/>
              <a:gd name="connsiteY580" fmla="*/ 2239207 h 4683863"/>
              <a:gd name="connsiteX581" fmla="*/ 10296422 w 11346020"/>
              <a:gd name="connsiteY581" fmla="*/ 2239388 h 4683863"/>
              <a:gd name="connsiteX582" fmla="*/ 10288386 w 11346020"/>
              <a:gd name="connsiteY582" fmla="*/ 2264821 h 4683863"/>
              <a:gd name="connsiteX583" fmla="*/ 10259716 w 11346020"/>
              <a:gd name="connsiteY583" fmla="*/ 2285505 h 4683863"/>
              <a:gd name="connsiteX584" fmla="*/ 10191633 w 11346020"/>
              <a:gd name="connsiteY584" fmla="*/ 2288090 h 4683863"/>
              <a:gd name="connsiteX585" fmla="*/ 10159609 w 11346020"/>
              <a:gd name="connsiteY585" fmla="*/ 2276630 h 4683863"/>
              <a:gd name="connsiteX586" fmla="*/ 10159609 w 11346020"/>
              <a:gd name="connsiteY586" fmla="*/ 2309587 h 4683863"/>
              <a:gd name="connsiteX587" fmla="*/ 10159609 w 11346020"/>
              <a:gd name="connsiteY587" fmla="*/ 2309590 h 4683863"/>
              <a:gd name="connsiteX588" fmla="*/ 10095903 w 11346020"/>
              <a:gd name="connsiteY588" fmla="*/ 2411426 h 4683863"/>
              <a:gd name="connsiteX589" fmla="*/ 10069754 w 11346020"/>
              <a:gd name="connsiteY589" fmla="*/ 2428843 h 4683863"/>
              <a:gd name="connsiteX590" fmla="*/ 10071785 w 11346020"/>
              <a:gd name="connsiteY590" fmla="*/ 2429068 h 4683863"/>
              <a:gd name="connsiteX591" fmla="*/ 10100452 w 11346020"/>
              <a:gd name="connsiteY591" fmla="*/ 2441798 h 4683863"/>
              <a:gd name="connsiteX592" fmla="*/ 10102365 w 11346020"/>
              <a:gd name="connsiteY592" fmla="*/ 2444322 h 4683863"/>
              <a:gd name="connsiteX593" fmla="*/ 10134125 w 11346020"/>
              <a:gd name="connsiteY593" fmla="*/ 2449610 h 4683863"/>
              <a:gd name="connsiteX594" fmla="*/ 10299760 w 11346020"/>
              <a:gd name="connsiteY594" fmla="*/ 2475066 h 4683863"/>
              <a:gd name="connsiteX595" fmla="*/ 10452651 w 11346020"/>
              <a:gd name="connsiteY595" fmla="*/ 2487798 h 4683863"/>
              <a:gd name="connsiteX596" fmla="*/ 10506403 w 11346020"/>
              <a:gd name="connsiteY596" fmla="*/ 2543290 h 4683863"/>
              <a:gd name="connsiteX597" fmla="*/ 10505962 w 11346020"/>
              <a:gd name="connsiteY597" fmla="*/ 2548616 h 4683863"/>
              <a:gd name="connsiteX598" fmla="*/ 10527283 w 11346020"/>
              <a:gd name="connsiteY598" fmla="*/ 2552816 h 4683863"/>
              <a:gd name="connsiteX599" fmla="*/ 10578244 w 11346020"/>
              <a:gd name="connsiteY599" fmla="*/ 2552816 h 4683863"/>
              <a:gd name="connsiteX600" fmla="*/ 10616468 w 11346020"/>
              <a:gd name="connsiteY600" fmla="*/ 2565545 h 4683863"/>
              <a:gd name="connsiteX601" fmla="*/ 10616468 w 11346020"/>
              <a:gd name="connsiteY601" fmla="*/ 2565549 h 4683863"/>
              <a:gd name="connsiteX602" fmla="*/ 10578244 w 11346020"/>
              <a:gd name="connsiteY602" fmla="*/ 2591008 h 4683863"/>
              <a:gd name="connsiteX603" fmla="*/ 10507372 w 11346020"/>
              <a:gd name="connsiteY603" fmla="*/ 2574301 h 4683863"/>
              <a:gd name="connsiteX604" fmla="*/ 10503842 w 11346020"/>
              <a:gd name="connsiteY604" fmla="*/ 2574190 h 4683863"/>
              <a:gd name="connsiteX605" fmla="*/ 10503617 w 11346020"/>
              <a:gd name="connsiteY605" fmla="*/ 2576902 h 4683863"/>
              <a:gd name="connsiteX606" fmla="*/ 10503617 w 11346020"/>
              <a:gd name="connsiteY606" fmla="*/ 2576907 h 4683863"/>
              <a:gd name="connsiteX607" fmla="*/ 10491701 w 11346020"/>
              <a:gd name="connsiteY607" fmla="*/ 2621972 h 4683863"/>
              <a:gd name="connsiteX608" fmla="*/ 10494148 w 11346020"/>
              <a:gd name="connsiteY608" fmla="*/ 2635636 h 4683863"/>
              <a:gd name="connsiteX609" fmla="*/ 10487149 w 11346020"/>
              <a:gd name="connsiteY609" fmla="*/ 2639189 h 4683863"/>
              <a:gd name="connsiteX610" fmla="*/ 10481320 w 11346020"/>
              <a:gd name="connsiteY610" fmla="*/ 2661238 h 4683863"/>
              <a:gd name="connsiteX611" fmla="*/ 10478134 w 11346020"/>
              <a:gd name="connsiteY611" fmla="*/ 2755118 h 4683863"/>
              <a:gd name="connsiteX612" fmla="*/ 10388948 w 11346020"/>
              <a:gd name="connsiteY612" fmla="*/ 2844222 h 4683863"/>
              <a:gd name="connsiteX613" fmla="*/ 10367409 w 11346020"/>
              <a:gd name="connsiteY613" fmla="*/ 2845503 h 4683863"/>
              <a:gd name="connsiteX614" fmla="*/ 10393494 w 11346020"/>
              <a:gd name="connsiteY614" fmla="*/ 2849134 h 4683863"/>
              <a:gd name="connsiteX615" fmla="*/ 10444460 w 11346020"/>
              <a:gd name="connsiteY615" fmla="*/ 2938238 h 4683863"/>
              <a:gd name="connsiteX616" fmla="*/ 10444460 w 11346020"/>
              <a:gd name="connsiteY616" fmla="*/ 2938242 h 4683863"/>
              <a:gd name="connsiteX617" fmla="*/ 10418977 w 11346020"/>
              <a:gd name="connsiteY617" fmla="*/ 3116454 h 4683863"/>
              <a:gd name="connsiteX618" fmla="*/ 10329793 w 11346020"/>
              <a:gd name="connsiteY618" fmla="*/ 3205558 h 4683863"/>
              <a:gd name="connsiteX619" fmla="*/ 10196009 w 11346020"/>
              <a:gd name="connsiteY619" fmla="*/ 3218287 h 4683863"/>
              <a:gd name="connsiteX620" fmla="*/ 10177564 w 11346020"/>
              <a:gd name="connsiteY620" fmla="*/ 3220700 h 4683863"/>
              <a:gd name="connsiteX621" fmla="*/ 10185617 w 11346020"/>
              <a:gd name="connsiteY621" fmla="*/ 3227892 h 4683863"/>
              <a:gd name="connsiteX622" fmla="*/ 10185613 w 11346020"/>
              <a:gd name="connsiteY622" fmla="*/ 3227892 h 4683863"/>
              <a:gd name="connsiteX623" fmla="*/ 10185617 w 11346020"/>
              <a:gd name="connsiteY623" fmla="*/ 3227896 h 4683863"/>
              <a:gd name="connsiteX624" fmla="*/ 10141888 w 11346020"/>
              <a:gd name="connsiteY624" fmla="*/ 3234946 h 4683863"/>
              <a:gd name="connsiteX625" fmla="*/ 10115273 w 11346020"/>
              <a:gd name="connsiteY625" fmla="*/ 3227863 h 4683863"/>
              <a:gd name="connsiteX626" fmla="*/ 10062229 w 11346020"/>
              <a:gd name="connsiteY626" fmla="*/ 3231017 h 4683863"/>
              <a:gd name="connsiteX627" fmla="*/ 9960301 w 11346020"/>
              <a:gd name="connsiteY627" fmla="*/ 3218286 h 4683863"/>
              <a:gd name="connsiteX628" fmla="*/ 9960305 w 11346020"/>
              <a:gd name="connsiteY628" fmla="*/ 3218282 h 4683863"/>
              <a:gd name="connsiteX629" fmla="*/ 9960301 w 11346020"/>
              <a:gd name="connsiteY629" fmla="*/ 3218282 h 4683863"/>
              <a:gd name="connsiteX630" fmla="*/ 9964365 w 11346020"/>
              <a:gd name="connsiteY630" fmla="*/ 3211124 h 4683863"/>
              <a:gd name="connsiteX631" fmla="*/ 9942666 w 11346020"/>
              <a:gd name="connsiteY631" fmla="*/ 3203371 h 4683863"/>
              <a:gd name="connsiteX632" fmla="*/ 9922279 w 11346020"/>
              <a:gd name="connsiteY632" fmla="*/ 3199041 h 4683863"/>
              <a:gd name="connsiteX633" fmla="*/ 9922078 w 11346020"/>
              <a:gd name="connsiteY633" fmla="*/ 3205558 h 4683863"/>
              <a:gd name="connsiteX634" fmla="*/ 9909339 w 11346020"/>
              <a:gd name="connsiteY634" fmla="*/ 3231017 h 4683863"/>
              <a:gd name="connsiteX635" fmla="*/ 9883855 w 11346020"/>
              <a:gd name="connsiteY635" fmla="*/ 3205558 h 4683863"/>
              <a:gd name="connsiteX636" fmla="*/ 9878191 w 11346020"/>
              <a:gd name="connsiteY636" fmla="*/ 3187616 h 4683863"/>
              <a:gd name="connsiteX637" fmla="*/ 9853052 w 11346020"/>
              <a:gd name="connsiteY637" fmla="*/ 3179792 h 4683863"/>
              <a:gd name="connsiteX638" fmla="*/ 9809421 w 11346020"/>
              <a:gd name="connsiteY638" fmla="*/ 3152530 h 4683863"/>
              <a:gd name="connsiteX639" fmla="*/ 9802630 w 11346020"/>
              <a:gd name="connsiteY639" fmla="*/ 3157824 h 4683863"/>
              <a:gd name="connsiteX640" fmla="*/ 9794670 w 11346020"/>
              <a:gd name="connsiteY640" fmla="*/ 3180098 h 4683863"/>
              <a:gd name="connsiteX641" fmla="*/ 9820150 w 11346020"/>
              <a:gd name="connsiteY641" fmla="*/ 3205554 h 4683863"/>
              <a:gd name="connsiteX642" fmla="*/ 9871112 w 11346020"/>
              <a:gd name="connsiteY642" fmla="*/ 3218282 h 4683863"/>
              <a:gd name="connsiteX643" fmla="*/ 9871104 w 11346020"/>
              <a:gd name="connsiteY643" fmla="*/ 3218282 h 4683863"/>
              <a:gd name="connsiteX644" fmla="*/ 9871112 w 11346020"/>
              <a:gd name="connsiteY644" fmla="*/ 3218286 h 4683863"/>
              <a:gd name="connsiteX645" fmla="*/ 9692738 w 11346020"/>
              <a:gd name="connsiteY645" fmla="*/ 3218286 h 4683863"/>
              <a:gd name="connsiteX646" fmla="*/ 9692746 w 11346020"/>
              <a:gd name="connsiteY646" fmla="*/ 3218282 h 4683863"/>
              <a:gd name="connsiteX647" fmla="*/ 9692738 w 11346020"/>
              <a:gd name="connsiteY647" fmla="*/ 3218282 h 4683863"/>
              <a:gd name="connsiteX648" fmla="*/ 9740517 w 11346020"/>
              <a:gd name="connsiteY648" fmla="*/ 3201975 h 4683863"/>
              <a:gd name="connsiteX649" fmla="*/ 9749977 w 11346020"/>
              <a:gd name="connsiteY649" fmla="*/ 3192656 h 4683863"/>
              <a:gd name="connsiteX650" fmla="*/ 9739155 w 11346020"/>
              <a:gd name="connsiteY650" fmla="*/ 3187914 h 4683863"/>
              <a:gd name="connsiteX651" fmla="*/ 9592632 w 11346020"/>
              <a:gd name="connsiteY651" fmla="*/ 3168820 h 4683863"/>
              <a:gd name="connsiteX652" fmla="*/ 9576763 w 11346020"/>
              <a:gd name="connsiteY652" fmla="*/ 3168319 h 4683863"/>
              <a:gd name="connsiteX653" fmla="*/ 9560551 w 11346020"/>
              <a:gd name="connsiteY653" fmla="*/ 3180098 h 4683863"/>
              <a:gd name="connsiteX654" fmla="*/ 9552587 w 11346020"/>
              <a:gd name="connsiteY654" fmla="*/ 3192829 h 4683863"/>
              <a:gd name="connsiteX655" fmla="*/ 9488884 w 11346020"/>
              <a:gd name="connsiteY655" fmla="*/ 3218286 h 4683863"/>
              <a:gd name="connsiteX656" fmla="*/ 9458625 w 11346020"/>
              <a:gd name="connsiteY656" fmla="*/ 3180098 h 4683863"/>
              <a:gd name="connsiteX657" fmla="*/ 9458625 w 11346020"/>
              <a:gd name="connsiteY657" fmla="*/ 3180094 h 4683863"/>
              <a:gd name="connsiteX658" fmla="*/ 9458425 w 11346020"/>
              <a:gd name="connsiteY658" fmla="*/ 3161001 h 4683863"/>
              <a:gd name="connsiteX659" fmla="*/ 9464798 w 11346020"/>
              <a:gd name="connsiteY659" fmla="*/ 3154131 h 4683863"/>
              <a:gd name="connsiteX660" fmla="*/ 9446109 w 11346020"/>
              <a:gd name="connsiteY660" fmla="*/ 3149726 h 4683863"/>
              <a:gd name="connsiteX661" fmla="*/ 9412436 w 11346020"/>
              <a:gd name="connsiteY661" fmla="*/ 3144032 h 4683863"/>
              <a:gd name="connsiteX662" fmla="*/ 9412436 w 11346020"/>
              <a:gd name="connsiteY662" fmla="*/ 3154638 h 4683863"/>
              <a:gd name="connsiteX663" fmla="*/ 9420399 w 11346020"/>
              <a:gd name="connsiteY663" fmla="*/ 3178505 h 4683863"/>
              <a:gd name="connsiteX664" fmla="*/ 9420399 w 11346020"/>
              <a:gd name="connsiteY664" fmla="*/ 3178508 h 4683863"/>
              <a:gd name="connsiteX665" fmla="*/ 9402578 w 11346020"/>
              <a:gd name="connsiteY665" fmla="*/ 3190835 h 4683863"/>
              <a:gd name="connsiteX666" fmla="*/ 9403732 w 11346020"/>
              <a:gd name="connsiteY666" fmla="*/ 3197448 h 4683863"/>
              <a:gd name="connsiteX667" fmla="*/ 9398176 w 11346020"/>
              <a:gd name="connsiteY667" fmla="*/ 3197629 h 4683863"/>
              <a:gd name="connsiteX668" fmla="*/ 9390139 w 11346020"/>
              <a:gd name="connsiteY668" fmla="*/ 3223062 h 4683863"/>
              <a:gd name="connsiteX669" fmla="*/ 9361470 w 11346020"/>
              <a:gd name="connsiteY669" fmla="*/ 3243746 h 4683863"/>
              <a:gd name="connsiteX670" fmla="*/ 9293387 w 11346020"/>
              <a:gd name="connsiteY670" fmla="*/ 3246331 h 4683863"/>
              <a:gd name="connsiteX671" fmla="*/ 9241357 w 11346020"/>
              <a:gd name="connsiteY671" fmla="*/ 3227713 h 4683863"/>
              <a:gd name="connsiteX672" fmla="*/ 9242252 w 11346020"/>
              <a:gd name="connsiteY672" fmla="*/ 3238830 h 4683863"/>
              <a:gd name="connsiteX673" fmla="*/ 9242252 w 11346020"/>
              <a:gd name="connsiteY673" fmla="*/ 3251554 h 4683863"/>
              <a:gd name="connsiteX674" fmla="*/ 9242252 w 11346020"/>
              <a:gd name="connsiteY674" fmla="*/ 3251558 h 4683863"/>
              <a:gd name="connsiteX675" fmla="*/ 9163171 w 11346020"/>
              <a:gd name="connsiteY675" fmla="*/ 3256084 h 4683863"/>
              <a:gd name="connsiteX676" fmla="*/ 9154555 w 11346020"/>
              <a:gd name="connsiteY676" fmla="*/ 3241370 h 4683863"/>
              <a:gd name="connsiteX677" fmla="*/ 9145870 w 11346020"/>
              <a:gd name="connsiteY677" fmla="*/ 3243547 h 4683863"/>
              <a:gd name="connsiteX678" fmla="*/ 9092318 w 11346020"/>
              <a:gd name="connsiteY678" fmla="*/ 3245336 h 4683863"/>
              <a:gd name="connsiteX679" fmla="*/ 9089103 w 11346020"/>
              <a:gd name="connsiteY679" fmla="*/ 3244929 h 4683863"/>
              <a:gd name="connsiteX680" fmla="*/ 9087311 w 11346020"/>
              <a:gd name="connsiteY680" fmla="*/ 3297706 h 4683863"/>
              <a:gd name="connsiteX681" fmla="*/ 8998126 w 11346020"/>
              <a:gd name="connsiteY681" fmla="*/ 3386810 h 4683863"/>
              <a:gd name="connsiteX682" fmla="*/ 8730563 w 11346020"/>
              <a:gd name="connsiteY682" fmla="*/ 3412270 h 4683863"/>
              <a:gd name="connsiteX683" fmla="*/ 8628635 w 11346020"/>
              <a:gd name="connsiteY683" fmla="*/ 3399539 h 4683863"/>
              <a:gd name="connsiteX684" fmla="*/ 8628638 w 11346020"/>
              <a:gd name="connsiteY684" fmla="*/ 3399535 h 4683863"/>
              <a:gd name="connsiteX685" fmla="*/ 8628635 w 11346020"/>
              <a:gd name="connsiteY685" fmla="*/ 3399535 h 4683863"/>
              <a:gd name="connsiteX686" fmla="*/ 8650931 w 11346020"/>
              <a:gd name="connsiteY686" fmla="*/ 3378851 h 4683863"/>
              <a:gd name="connsiteX687" fmla="*/ 8654118 w 11346020"/>
              <a:gd name="connsiteY687" fmla="*/ 3348622 h 4683863"/>
              <a:gd name="connsiteX688" fmla="*/ 8647748 w 11346020"/>
              <a:gd name="connsiteY688" fmla="*/ 3332711 h 4683863"/>
              <a:gd name="connsiteX689" fmla="*/ 8641374 w 11346020"/>
              <a:gd name="connsiteY689" fmla="*/ 3335894 h 4683863"/>
              <a:gd name="connsiteX690" fmla="*/ 8590412 w 11346020"/>
              <a:gd name="connsiteY690" fmla="*/ 3386810 h 4683863"/>
              <a:gd name="connsiteX691" fmla="*/ 8593597 w 11346020"/>
              <a:gd name="connsiteY691" fmla="*/ 3404313 h 4683863"/>
              <a:gd name="connsiteX692" fmla="*/ 8584503 w 11346020"/>
              <a:gd name="connsiteY692" fmla="*/ 3408857 h 4683863"/>
              <a:gd name="connsiteX693" fmla="*/ 8622491 w 11346020"/>
              <a:gd name="connsiteY693" fmla="*/ 3409222 h 4683863"/>
              <a:gd name="connsiteX694" fmla="*/ 8724419 w 11346020"/>
              <a:gd name="connsiteY694" fmla="*/ 3421950 h 4683863"/>
              <a:gd name="connsiteX695" fmla="*/ 8915537 w 11346020"/>
              <a:gd name="connsiteY695" fmla="*/ 3447410 h 4683863"/>
              <a:gd name="connsiteX696" fmla="*/ 9412436 w 11346020"/>
              <a:gd name="connsiteY696" fmla="*/ 3485598 h 4683863"/>
              <a:gd name="connsiteX697" fmla="*/ 9629037 w 11346020"/>
              <a:gd name="connsiteY697" fmla="*/ 3511057 h 4683863"/>
              <a:gd name="connsiteX698" fmla="*/ 9679999 w 11346020"/>
              <a:gd name="connsiteY698" fmla="*/ 3511057 h 4683863"/>
              <a:gd name="connsiteX699" fmla="*/ 9718221 w 11346020"/>
              <a:gd name="connsiteY699" fmla="*/ 3523786 h 4683863"/>
              <a:gd name="connsiteX700" fmla="*/ 9718221 w 11346020"/>
              <a:gd name="connsiteY700" fmla="*/ 3523790 h 4683863"/>
              <a:gd name="connsiteX701" fmla="*/ 9679999 w 11346020"/>
              <a:gd name="connsiteY701" fmla="*/ 3549249 h 4683863"/>
              <a:gd name="connsiteX702" fmla="*/ 9386953 w 11346020"/>
              <a:gd name="connsiteY702" fmla="*/ 3511061 h 4683863"/>
              <a:gd name="connsiteX703" fmla="*/ 9144874 w 11346020"/>
              <a:gd name="connsiteY703" fmla="*/ 3498330 h 4683863"/>
              <a:gd name="connsiteX704" fmla="*/ 9144874 w 11346020"/>
              <a:gd name="connsiteY704" fmla="*/ 3499402 h 4683863"/>
              <a:gd name="connsiteX705" fmla="*/ 9144874 w 11346020"/>
              <a:gd name="connsiteY705" fmla="*/ 3531742 h 4683863"/>
              <a:gd name="connsiteX706" fmla="*/ 9183096 w 11346020"/>
              <a:gd name="connsiteY706" fmla="*/ 3536514 h 4683863"/>
              <a:gd name="connsiteX707" fmla="*/ 9323247 w 11346020"/>
              <a:gd name="connsiteY707" fmla="*/ 3561974 h 4683863"/>
              <a:gd name="connsiteX708" fmla="*/ 9323243 w 11346020"/>
              <a:gd name="connsiteY708" fmla="*/ 3561974 h 4683863"/>
              <a:gd name="connsiteX709" fmla="*/ 9323247 w 11346020"/>
              <a:gd name="connsiteY709" fmla="*/ 3561978 h 4683863"/>
              <a:gd name="connsiteX710" fmla="*/ 9234062 w 11346020"/>
              <a:gd name="connsiteY710" fmla="*/ 3561978 h 4683863"/>
              <a:gd name="connsiteX711" fmla="*/ 9183096 w 11346020"/>
              <a:gd name="connsiteY711" fmla="*/ 3600166 h 4683863"/>
              <a:gd name="connsiteX712" fmla="*/ 9183096 w 11346020"/>
              <a:gd name="connsiteY712" fmla="*/ 3612890 h 4683863"/>
              <a:gd name="connsiteX713" fmla="*/ 9183096 w 11346020"/>
              <a:gd name="connsiteY713" fmla="*/ 3612894 h 4683863"/>
              <a:gd name="connsiteX714" fmla="*/ 9093910 w 11346020"/>
              <a:gd name="connsiteY714" fmla="*/ 3600166 h 4683863"/>
              <a:gd name="connsiteX715" fmla="*/ 9081167 w 11346020"/>
              <a:gd name="connsiteY715" fmla="*/ 3587437 h 4683863"/>
              <a:gd name="connsiteX716" fmla="*/ 8966499 w 11346020"/>
              <a:gd name="connsiteY716" fmla="*/ 3561978 h 4683863"/>
              <a:gd name="connsiteX717" fmla="*/ 8966502 w 11346020"/>
              <a:gd name="connsiteY717" fmla="*/ 3561974 h 4683863"/>
              <a:gd name="connsiteX718" fmla="*/ 8966499 w 11346020"/>
              <a:gd name="connsiteY718" fmla="*/ 3561974 h 4683863"/>
              <a:gd name="connsiteX719" fmla="*/ 8990389 w 11346020"/>
              <a:gd name="connsiteY719" fmla="*/ 3534925 h 4683863"/>
              <a:gd name="connsiteX720" fmla="*/ 9004721 w 11346020"/>
              <a:gd name="connsiteY720" fmla="*/ 3498330 h 4683863"/>
              <a:gd name="connsiteX721" fmla="*/ 8979243 w 11346020"/>
              <a:gd name="connsiteY721" fmla="*/ 3485602 h 4683863"/>
              <a:gd name="connsiteX722" fmla="*/ 8966499 w 11346020"/>
              <a:gd name="connsiteY722" fmla="*/ 3485602 h 4683863"/>
              <a:gd name="connsiteX723" fmla="*/ 8913943 w 11346020"/>
              <a:gd name="connsiteY723" fmla="*/ 3546066 h 4683863"/>
              <a:gd name="connsiteX724" fmla="*/ 8885872 w 11346020"/>
              <a:gd name="connsiteY724" fmla="*/ 3575103 h 4683863"/>
              <a:gd name="connsiteX725" fmla="*/ 8890054 w 11346020"/>
              <a:gd name="connsiteY725" fmla="*/ 3625622 h 4683863"/>
              <a:gd name="connsiteX726" fmla="*/ 8890054 w 11346020"/>
              <a:gd name="connsiteY726" fmla="*/ 3625625 h 4683863"/>
              <a:gd name="connsiteX727" fmla="*/ 8864570 w 11346020"/>
              <a:gd name="connsiteY727" fmla="*/ 3625625 h 4683863"/>
              <a:gd name="connsiteX728" fmla="*/ 8788125 w 11346020"/>
              <a:gd name="connsiteY728" fmla="*/ 3536518 h 4683863"/>
              <a:gd name="connsiteX729" fmla="*/ 8724419 w 11346020"/>
              <a:gd name="connsiteY729" fmla="*/ 3536518 h 4683863"/>
              <a:gd name="connsiteX730" fmla="*/ 8729200 w 11346020"/>
              <a:gd name="connsiteY730" fmla="*/ 3560380 h 4683863"/>
              <a:gd name="connsiteX731" fmla="*/ 8762642 w 11346020"/>
              <a:gd name="connsiteY731" fmla="*/ 3574702 h 4683863"/>
              <a:gd name="connsiteX732" fmla="*/ 8762642 w 11346020"/>
              <a:gd name="connsiteY732" fmla="*/ 3574706 h 4683863"/>
              <a:gd name="connsiteX733" fmla="*/ 8762642 w 11346020"/>
              <a:gd name="connsiteY733" fmla="*/ 3600161 h 4683863"/>
              <a:gd name="connsiteX734" fmla="*/ 8762642 w 11346020"/>
              <a:gd name="connsiteY734" fmla="*/ 3600166 h 4683863"/>
              <a:gd name="connsiteX735" fmla="*/ 8724419 w 11346020"/>
              <a:gd name="connsiteY735" fmla="*/ 3587437 h 4683863"/>
              <a:gd name="connsiteX736" fmla="*/ 8686196 w 11346020"/>
              <a:gd name="connsiteY736" fmla="*/ 3523790 h 4683863"/>
              <a:gd name="connsiteX737" fmla="*/ 8635235 w 11346020"/>
              <a:gd name="connsiteY737" fmla="*/ 3574706 h 4683863"/>
              <a:gd name="connsiteX738" fmla="*/ 8495084 w 11346020"/>
              <a:gd name="connsiteY738" fmla="*/ 3600166 h 4683863"/>
              <a:gd name="connsiteX739" fmla="*/ 8456861 w 11346020"/>
              <a:gd name="connsiteY739" fmla="*/ 3600166 h 4683863"/>
              <a:gd name="connsiteX740" fmla="*/ 8380412 w 11346020"/>
              <a:gd name="connsiteY740" fmla="*/ 3612894 h 4683863"/>
              <a:gd name="connsiteX741" fmla="*/ 8354932 w 11346020"/>
              <a:gd name="connsiteY741" fmla="*/ 3612894 h 4683863"/>
              <a:gd name="connsiteX742" fmla="*/ 8278486 w 11346020"/>
              <a:gd name="connsiteY742" fmla="*/ 3612894 h 4683863"/>
              <a:gd name="connsiteX743" fmla="*/ 8202038 w 11346020"/>
              <a:gd name="connsiteY743" fmla="*/ 3549249 h 4683863"/>
              <a:gd name="connsiteX744" fmla="*/ 8163815 w 11346020"/>
              <a:gd name="connsiteY744" fmla="*/ 3523790 h 4683863"/>
              <a:gd name="connsiteX745" fmla="*/ 8151075 w 11346020"/>
              <a:gd name="connsiteY745" fmla="*/ 3485602 h 4683863"/>
              <a:gd name="connsiteX746" fmla="*/ 8100114 w 11346020"/>
              <a:gd name="connsiteY746" fmla="*/ 3523790 h 4683863"/>
              <a:gd name="connsiteX747" fmla="*/ 8023664 w 11346020"/>
              <a:gd name="connsiteY747" fmla="*/ 3536518 h 4683863"/>
              <a:gd name="connsiteX748" fmla="*/ 7959962 w 11346020"/>
              <a:gd name="connsiteY748" fmla="*/ 3549249 h 4683863"/>
              <a:gd name="connsiteX749" fmla="*/ 7883512 w 11346020"/>
              <a:gd name="connsiteY749" fmla="*/ 3600166 h 4683863"/>
              <a:gd name="connsiteX750" fmla="*/ 7832551 w 11346020"/>
              <a:gd name="connsiteY750" fmla="*/ 3574706 h 4683863"/>
              <a:gd name="connsiteX751" fmla="*/ 7807067 w 11346020"/>
              <a:gd name="connsiteY751" fmla="*/ 3549249 h 4683863"/>
              <a:gd name="connsiteX752" fmla="*/ 7756105 w 11346020"/>
              <a:gd name="connsiteY752" fmla="*/ 3561978 h 4683863"/>
              <a:gd name="connsiteX753" fmla="*/ 7679659 w 11346020"/>
              <a:gd name="connsiteY753" fmla="*/ 3600166 h 4683863"/>
              <a:gd name="connsiteX754" fmla="*/ 7628693 w 11346020"/>
              <a:gd name="connsiteY754" fmla="*/ 3604938 h 4683863"/>
              <a:gd name="connsiteX755" fmla="*/ 7577743 w 11346020"/>
              <a:gd name="connsiteY755" fmla="*/ 3600166 h 4683863"/>
              <a:gd name="connsiteX756" fmla="*/ 7641935 w 11346020"/>
              <a:gd name="connsiteY756" fmla="*/ 3623363 h 4683863"/>
              <a:gd name="connsiteX757" fmla="*/ 7645983 w 11346020"/>
              <a:gd name="connsiteY757" fmla="*/ 3622994 h 4683863"/>
              <a:gd name="connsiteX758" fmla="*/ 7708095 w 11346020"/>
              <a:gd name="connsiteY758" fmla="*/ 3623888 h 4683863"/>
              <a:gd name="connsiteX759" fmla="*/ 7723131 w 11346020"/>
              <a:gd name="connsiteY759" fmla="*/ 3625622 h 4683863"/>
              <a:gd name="connsiteX760" fmla="*/ 7773624 w 11346020"/>
              <a:gd name="connsiteY760" fmla="*/ 3625622 h 4683863"/>
              <a:gd name="connsiteX761" fmla="*/ 7819810 w 11346020"/>
              <a:gd name="connsiteY761" fmla="*/ 3625622 h 4683863"/>
              <a:gd name="connsiteX762" fmla="*/ 7837328 w 11346020"/>
              <a:gd name="connsiteY762" fmla="*/ 3633576 h 4683863"/>
              <a:gd name="connsiteX763" fmla="*/ 7839970 w 11346020"/>
              <a:gd name="connsiteY763" fmla="*/ 3639385 h 4683863"/>
              <a:gd name="connsiteX764" fmla="*/ 7956545 w 11346020"/>
              <a:gd name="connsiteY764" fmla="*/ 3657303 h 4683863"/>
              <a:gd name="connsiteX765" fmla="*/ 8080770 w 11346020"/>
              <a:gd name="connsiteY765" fmla="*/ 3666850 h 4683863"/>
              <a:gd name="connsiteX766" fmla="*/ 8297370 w 11346020"/>
              <a:gd name="connsiteY766" fmla="*/ 3692310 h 4683863"/>
              <a:gd name="connsiteX767" fmla="*/ 8348332 w 11346020"/>
              <a:gd name="connsiteY767" fmla="*/ 3692310 h 4683863"/>
              <a:gd name="connsiteX768" fmla="*/ 8386555 w 11346020"/>
              <a:gd name="connsiteY768" fmla="*/ 3705038 h 4683863"/>
              <a:gd name="connsiteX769" fmla="*/ 8386555 w 11346020"/>
              <a:gd name="connsiteY769" fmla="*/ 3705042 h 4683863"/>
              <a:gd name="connsiteX770" fmla="*/ 8348332 w 11346020"/>
              <a:gd name="connsiteY770" fmla="*/ 3730502 h 4683863"/>
              <a:gd name="connsiteX771" fmla="*/ 8055287 w 11346020"/>
              <a:gd name="connsiteY771" fmla="*/ 3692314 h 4683863"/>
              <a:gd name="connsiteX772" fmla="*/ 7813208 w 11346020"/>
              <a:gd name="connsiteY772" fmla="*/ 3679583 h 4683863"/>
              <a:gd name="connsiteX773" fmla="*/ 7813208 w 11346020"/>
              <a:gd name="connsiteY773" fmla="*/ 3680655 h 4683863"/>
              <a:gd name="connsiteX774" fmla="*/ 7813208 w 11346020"/>
              <a:gd name="connsiteY774" fmla="*/ 3712994 h 4683863"/>
              <a:gd name="connsiteX775" fmla="*/ 7851430 w 11346020"/>
              <a:gd name="connsiteY775" fmla="*/ 3717766 h 4683863"/>
              <a:gd name="connsiteX776" fmla="*/ 7991581 w 11346020"/>
              <a:gd name="connsiteY776" fmla="*/ 3743226 h 4683863"/>
              <a:gd name="connsiteX777" fmla="*/ 7991577 w 11346020"/>
              <a:gd name="connsiteY777" fmla="*/ 3743226 h 4683863"/>
              <a:gd name="connsiteX778" fmla="*/ 7991581 w 11346020"/>
              <a:gd name="connsiteY778" fmla="*/ 3743230 h 4683863"/>
              <a:gd name="connsiteX779" fmla="*/ 7902396 w 11346020"/>
              <a:gd name="connsiteY779" fmla="*/ 3743230 h 4683863"/>
              <a:gd name="connsiteX780" fmla="*/ 7851430 w 11346020"/>
              <a:gd name="connsiteY780" fmla="*/ 3781418 h 4683863"/>
              <a:gd name="connsiteX781" fmla="*/ 7851430 w 11346020"/>
              <a:gd name="connsiteY781" fmla="*/ 3794142 h 4683863"/>
              <a:gd name="connsiteX782" fmla="*/ 7851430 w 11346020"/>
              <a:gd name="connsiteY782" fmla="*/ 3794146 h 4683863"/>
              <a:gd name="connsiteX783" fmla="*/ 7762245 w 11346020"/>
              <a:gd name="connsiteY783" fmla="*/ 3781418 h 4683863"/>
              <a:gd name="connsiteX784" fmla="*/ 7749502 w 11346020"/>
              <a:gd name="connsiteY784" fmla="*/ 3768690 h 4683863"/>
              <a:gd name="connsiteX785" fmla="*/ 7634834 w 11346020"/>
              <a:gd name="connsiteY785" fmla="*/ 3743230 h 4683863"/>
              <a:gd name="connsiteX786" fmla="*/ 7634838 w 11346020"/>
              <a:gd name="connsiteY786" fmla="*/ 3743226 h 4683863"/>
              <a:gd name="connsiteX787" fmla="*/ 7634834 w 11346020"/>
              <a:gd name="connsiteY787" fmla="*/ 3743226 h 4683863"/>
              <a:gd name="connsiteX788" fmla="*/ 7658723 w 11346020"/>
              <a:gd name="connsiteY788" fmla="*/ 3716177 h 4683863"/>
              <a:gd name="connsiteX789" fmla="*/ 7673056 w 11346020"/>
              <a:gd name="connsiteY789" fmla="*/ 3679583 h 4683863"/>
              <a:gd name="connsiteX790" fmla="*/ 7647577 w 11346020"/>
              <a:gd name="connsiteY790" fmla="*/ 3666854 h 4683863"/>
              <a:gd name="connsiteX791" fmla="*/ 7634834 w 11346020"/>
              <a:gd name="connsiteY791" fmla="*/ 3666854 h 4683863"/>
              <a:gd name="connsiteX792" fmla="*/ 7582278 w 11346020"/>
              <a:gd name="connsiteY792" fmla="*/ 3727319 h 4683863"/>
              <a:gd name="connsiteX793" fmla="*/ 7554206 w 11346020"/>
              <a:gd name="connsiteY793" fmla="*/ 3756355 h 4683863"/>
              <a:gd name="connsiteX794" fmla="*/ 7558388 w 11346020"/>
              <a:gd name="connsiteY794" fmla="*/ 3806875 h 4683863"/>
              <a:gd name="connsiteX795" fmla="*/ 7558388 w 11346020"/>
              <a:gd name="connsiteY795" fmla="*/ 3806878 h 4683863"/>
              <a:gd name="connsiteX796" fmla="*/ 7532905 w 11346020"/>
              <a:gd name="connsiteY796" fmla="*/ 3806878 h 4683863"/>
              <a:gd name="connsiteX797" fmla="*/ 7456459 w 11346020"/>
              <a:gd name="connsiteY797" fmla="*/ 3717771 h 4683863"/>
              <a:gd name="connsiteX798" fmla="*/ 7392754 w 11346020"/>
              <a:gd name="connsiteY798" fmla="*/ 3717771 h 4683863"/>
              <a:gd name="connsiteX799" fmla="*/ 7397534 w 11346020"/>
              <a:gd name="connsiteY799" fmla="*/ 3741633 h 4683863"/>
              <a:gd name="connsiteX800" fmla="*/ 7430977 w 11346020"/>
              <a:gd name="connsiteY800" fmla="*/ 3755954 h 4683863"/>
              <a:gd name="connsiteX801" fmla="*/ 7430977 w 11346020"/>
              <a:gd name="connsiteY801" fmla="*/ 3755958 h 4683863"/>
              <a:gd name="connsiteX802" fmla="*/ 7430977 w 11346020"/>
              <a:gd name="connsiteY802" fmla="*/ 3781414 h 4683863"/>
              <a:gd name="connsiteX803" fmla="*/ 7430977 w 11346020"/>
              <a:gd name="connsiteY803" fmla="*/ 3781418 h 4683863"/>
              <a:gd name="connsiteX804" fmla="*/ 7392754 w 11346020"/>
              <a:gd name="connsiteY804" fmla="*/ 3768690 h 4683863"/>
              <a:gd name="connsiteX805" fmla="*/ 7354531 w 11346020"/>
              <a:gd name="connsiteY805" fmla="*/ 3705042 h 4683863"/>
              <a:gd name="connsiteX806" fmla="*/ 7303569 w 11346020"/>
              <a:gd name="connsiteY806" fmla="*/ 3755958 h 4683863"/>
              <a:gd name="connsiteX807" fmla="*/ 7163418 w 11346020"/>
              <a:gd name="connsiteY807" fmla="*/ 3781418 h 4683863"/>
              <a:gd name="connsiteX808" fmla="*/ 7125195 w 11346020"/>
              <a:gd name="connsiteY808" fmla="*/ 3781418 h 4683863"/>
              <a:gd name="connsiteX809" fmla="*/ 7048746 w 11346020"/>
              <a:gd name="connsiteY809" fmla="*/ 3794146 h 4683863"/>
              <a:gd name="connsiteX810" fmla="*/ 7023266 w 11346020"/>
              <a:gd name="connsiteY810" fmla="*/ 3794146 h 4683863"/>
              <a:gd name="connsiteX811" fmla="*/ 6946821 w 11346020"/>
              <a:gd name="connsiteY811" fmla="*/ 3794146 h 4683863"/>
              <a:gd name="connsiteX812" fmla="*/ 6870371 w 11346020"/>
              <a:gd name="connsiteY812" fmla="*/ 3730502 h 4683863"/>
              <a:gd name="connsiteX813" fmla="*/ 6832149 w 11346020"/>
              <a:gd name="connsiteY813" fmla="*/ 3705042 h 4683863"/>
              <a:gd name="connsiteX814" fmla="*/ 6819409 w 11346020"/>
              <a:gd name="connsiteY814" fmla="*/ 3666854 h 4683863"/>
              <a:gd name="connsiteX815" fmla="*/ 6768448 w 11346020"/>
              <a:gd name="connsiteY815" fmla="*/ 3705042 h 4683863"/>
              <a:gd name="connsiteX816" fmla="*/ 6691998 w 11346020"/>
              <a:gd name="connsiteY816" fmla="*/ 3717771 h 4683863"/>
              <a:gd name="connsiteX817" fmla="*/ 6628296 w 11346020"/>
              <a:gd name="connsiteY817" fmla="*/ 3730502 h 4683863"/>
              <a:gd name="connsiteX818" fmla="*/ 6551846 w 11346020"/>
              <a:gd name="connsiteY818" fmla="*/ 3781418 h 4683863"/>
              <a:gd name="connsiteX819" fmla="*/ 6500885 w 11346020"/>
              <a:gd name="connsiteY819" fmla="*/ 3755958 h 4683863"/>
              <a:gd name="connsiteX820" fmla="*/ 6475401 w 11346020"/>
              <a:gd name="connsiteY820" fmla="*/ 3730502 h 4683863"/>
              <a:gd name="connsiteX821" fmla="*/ 6424439 w 11346020"/>
              <a:gd name="connsiteY821" fmla="*/ 3743230 h 4683863"/>
              <a:gd name="connsiteX822" fmla="*/ 6347993 w 11346020"/>
              <a:gd name="connsiteY822" fmla="*/ 3781418 h 4683863"/>
              <a:gd name="connsiteX823" fmla="*/ 6297027 w 11346020"/>
              <a:gd name="connsiteY823" fmla="*/ 3786190 h 4683863"/>
              <a:gd name="connsiteX824" fmla="*/ 6246077 w 11346020"/>
              <a:gd name="connsiteY824" fmla="*/ 3781418 h 4683863"/>
              <a:gd name="connsiteX825" fmla="*/ 6320917 w 11346020"/>
              <a:gd name="connsiteY825" fmla="*/ 3808464 h 4683863"/>
              <a:gd name="connsiteX826" fmla="*/ 6386217 w 11346020"/>
              <a:gd name="connsiteY826" fmla="*/ 3806875 h 4683863"/>
              <a:gd name="connsiteX827" fmla="*/ 6488144 w 11346020"/>
              <a:gd name="connsiteY827" fmla="*/ 3806875 h 4683863"/>
              <a:gd name="connsiteX828" fmla="*/ 6513624 w 11346020"/>
              <a:gd name="connsiteY828" fmla="*/ 3832330 h 4683863"/>
              <a:gd name="connsiteX829" fmla="*/ 6513624 w 11346020"/>
              <a:gd name="connsiteY829" fmla="*/ 3832334 h 4683863"/>
              <a:gd name="connsiteX830" fmla="*/ 6488144 w 11346020"/>
              <a:gd name="connsiteY830" fmla="*/ 3832334 h 4683863"/>
              <a:gd name="connsiteX831" fmla="*/ 6386217 w 11346020"/>
              <a:gd name="connsiteY831" fmla="*/ 3845066 h 4683863"/>
              <a:gd name="connsiteX832" fmla="*/ 6284288 w 11346020"/>
              <a:gd name="connsiteY832" fmla="*/ 3819606 h 4683863"/>
              <a:gd name="connsiteX833" fmla="*/ 6156876 w 11346020"/>
              <a:gd name="connsiteY833" fmla="*/ 3845066 h 4683863"/>
              <a:gd name="connsiteX834" fmla="*/ 6118654 w 11346020"/>
              <a:gd name="connsiteY834" fmla="*/ 3832334 h 4683863"/>
              <a:gd name="connsiteX835" fmla="*/ 6118654 w 11346020"/>
              <a:gd name="connsiteY835" fmla="*/ 3832330 h 4683863"/>
              <a:gd name="connsiteX836" fmla="*/ 6156876 w 11346020"/>
              <a:gd name="connsiteY836" fmla="*/ 3794142 h 4683863"/>
              <a:gd name="connsiteX837" fmla="*/ 6175990 w 11346020"/>
              <a:gd name="connsiteY837" fmla="*/ 3798915 h 4683863"/>
              <a:gd name="connsiteX838" fmla="*/ 6195095 w 11346020"/>
              <a:gd name="connsiteY838" fmla="*/ 3794142 h 4683863"/>
              <a:gd name="connsiteX839" fmla="*/ 6144137 w 11346020"/>
              <a:gd name="connsiteY839" fmla="*/ 3770279 h 4683863"/>
              <a:gd name="connsiteX840" fmla="*/ 6131393 w 11346020"/>
              <a:gd name="connsiteY840" fmla="*/ 3717771 h 4683863"/>
              <a:gd name="connsiteX841" fmla="*/ 6083618 w 11346020"/>
              <a:gd name="connsiteY841" fmla="*/ 3748002 h 4683863"/>
              <a:gd name="connsiteX842" fmla="*/ 6093170 w 11346020"/>
              <a:gd name="connsiteY842" fmla="*/ 3806875 h 4683863"/>
              <a:gd name="connsiteX843" fmla="*/ 6093170 w 11346020"/>
              <a:gd name="connsiteY843" fmla="*/ 3806878 h 4683863"/>
              <a:gd name="connsiteX844" fmla="*/ 6067691 w 11346020"/>
              <a:gd name="connsiteY844" fmla="*/ 3832334 h 4683863"/>
              <a:gd name="connsiteX845" fmla="*/ 5991242 w 11346020"/>
              <a:gd name="connsiteY845" fmla="*/ 3832334 h 4683863"/>
              <a:gd name="connsiteX846" fmla="*/ 5989653 w 11346020"/>
              <a:gd name="connsiteY846" fmla="*/ 3808468 h 4683863"/>
              <a:gd name="connsiteX847" fmla="*/ 5989653 w 11346020"/>
              <a:gd name="connsiteY847" fmla="*/ 3808464 h 4683863"/>
              <a:gd name="connsiteX848" fmla="*/ 6016725 w 11346020"/>
              <a:gd name="connsiteY848" fmla="*/ 3794142 h 4683863"/>
              <a:gd name="connsiteX849" fmla="*/ 6016725 w 11346020"/>
              <a:gd name="connsiteY849" fmla="*/ 3768690 h 4683863"/>
              <a:gd name="connsiteX850" fmla="*/ 6003985 w 11346020"/>
              <a:gd name="connsiteY850" fmla="*/ 3717771 h 4683863"/>
              <a:gd name="connsiteX851" fmla="*/ 5965762 w 11346020"/>
              <a:gd name="connsiteY851" fmla="*/ 3743230 h 4683863"/>
              <a:gd name="connsiteX852" fmla="*/ 5863834 w 11346020"/>
              <a:gd name="connsiteY852" fmla="*/ 3768690 h 4683863"/>
              <a:gd name="connsiteX853" fmla="*/ 5812868 w 11346020"/>
              <a:gd name="connsiteY853" fmla="*/ 3794146 h 4683863"/>
              <a:gd name="connsiteX854" fmla="*/ 5736423 w 11346020"/>
              <a:gd name="connsiteY854" fmla="*/ 3832334 h 4683863"/>
              <a:gd name="connsiteX855" fmla="*/ 5366935 w 11346020"/>
              <a:gd name="connsiteY855" fmla="*/ 3832334 h 4683863"/>
              <a:gd name="connsiteX856" fmla="*/ 5341452 w 11346020"/>
              <a:gd name="connsiteY856" fmla="*/ 3819606 h 4683863"/>
              <a:gd name="connsiteX857" fmla="*/ 5341456 w 11346020"/>
              <a:gd name="connsiteY857" fmla="*/ 3819602 h 4683863"/>
              <a:gd name="connsiteX858" fmla="*/ 5341452 w 11346020"/>
              <a:gd name="connsiteY858" fmla="*/ 3819602 h 4683863"/>
              <a:gd name="connsiteX859" fmla="*/ 5379675 w 11346020"/>
              <a:gd name="connsiteY859" fmla="*/ 3781414 h 4683863"/>
              <a:gd name="connsiteX860" fmla="*/ 5532566 w 11346020"/>
              <a:gd name="connsiteY860" fmla="*/ 3781414 h 4683863"/>
              <a:gd name="connsiteX861" fmla="*/ 5710940 w 11346020"/>
              <a:gd name="connsiteY861" fmla="*/ 3806875 h 4683863"/>
              <a:gd name="connsiteX862" fmla="*/ 5742792 w 11346020"/>
              <a:gd name="connsiteY862" fmla="*/ 3795736 h 4683863"/>
              <a:gd name="connsiteX863" fmla="*/ 5774646 w 11346020"/>
              <a:gd name="connsiteY863" fmla="*/ 3794142 h 4683863"/>
              <a:gd name="connsiteX864" fmla="*/ 5749166 w 11346020"/>
              <a:gd name="connsiteY864" fmla="*/ 3730502 h 4683863"/>
              <a:gd name="connsiteX865" fmla="*/ 5752349 w 11346020"/>
              <a:gd name="connsiteY865" fmla="*/ 3757548 h 4683863"/>
              <a:gd name="connsiteX866" fmla="*/ 5752349 w 11346020"/>
              <a:gd name="connsiteY866" fmla="*/ 3757552 h 4683863"/>
              <a:gd name="connsiteX867" fmla="*/ 5736423 w 11346020"/>
              <a:gd name="connsiteY867" fmla="*/ 3755958 h 4683863"/>
              <a:gd name="connsiteX868" fmla="*/ 5583532 w 11346020"/>
              <a:gd name="connsiteY868" fmla="*/ 3743230 h 4683863"/>
              <a:gd name="connsiteX869" fmla="*/ 5558049 w 11346020"/>
              <a:gd name="connsiteY869" fmla="*/ 3730502 h 4683863"/>
              <a:gd name="connsiteX870" fmla="*/ 5542122 w 11346020"/>
              <a:gd name="connsiteY870" fmla="*/ 3722547 h 4683863"/>
              <a:gd name="connsiteX871" fmla="*/ 5545309 w 11346020"/>
              <a:gd name="connsiteY871" fmla="*/ 3743226 h 4683863"/>
              <a:gd name="connsiteX872" fmla="*/ 5545309 w 11346020"/>
              <a:gd name="connsiteY872" fmla="*/ 3743230 h 4683863"/>
              <a:gd name="connsiteX873" fmla="*/ 5545309 w 11346020"/>
              <a:gd name="connsiteY873" fmla="*/ 3768686 h 4683863"/>
              <a:gd name="connsiteX874" fmla="*/ 5545309 w 11346020"/>
              <a:gd name="connsiteY874" fmla="*/ 3768690 h 4683863"/>
              <a:gd name="connsiteX875" fmla="*/ 5392415 w 11346020"/>
              <a:gd name="connsiteY875" fmla="*/ 3717771 h 4683863"/>
              <a:gd name="connsiteX876" fmla="*/ 5335083 w 11346020"/>
              <a:gd name="connsiteY876" fmla="*/ 3706632 h 4683863"/>
              <a:gd name="connsiteX877" fmla="*/ 5277755 w 11346020"/>
              <a:gd name="connsiteY877" fmla="*/ 3705042 h 4683863"/>
              <a:gd name="connsiteX878" fmla="*/ 5327120 w 11346020"/>
              <a:gd name="connsiteY878" fmla="*/ 3727315 h 4683863"/>
              <a:gd name="connsiteX879" fmla="*/ 5336873 w 11346020"/>
              <a:gd name="connsiteY879" fmla="*/ 3740838 h 4683863"/>
              <a:gd name="connsiteX880" fmla="*/ 5336873 w 11346020"/>
              <a:gd name="connsiteY880" fmla="*/ 3740842 h 4683863"/>
              <a:gd name="connsiteX881" fmla="*/ 5290486 w 11346020"/>
              <a:gd name="connsiteY881" fmla="*/ 3768690 h 4683863"/>
              <a:gd name="connsiteX882" fmla="*/ 5290486 w 11346020"/>
              <a:gd name="connsiteY882" fmla="*/ 3789373 h 4683863"/>
              <a:gd name="connsiteX883" fmla="*/ 5290486 w 11346020"/>
              <a:gd name="connsiteY883" fmla="*/ 3819602 h 4683863"/>
              <a:gd name="connsiteX884" fmla="*/ 5290486 w 11346020"/>
              <a:gd name="connsiteY884" fmla="*/ 3819606 h 4683863"/>
              <a:gd name="connsiteX885" fmla="*/ 5265007 w 11346020"/>
              <a:gd name="connsiteY885" fmla="*/ 3794146 h 4683863"/>
              <a:gd name="connsiteX886" fmla="*/ 5214041 w 11346020"/>
              <a:gd name="connsiteY886" fmla="*/ 3755958 h 4683863"/>
              <a:gd name="connsiteX887" fmla="*/ 5188558 w 11346020"/>
              <a:gd name="connsiteY887" fmla="*/ 3794146 h 4683863"/>
              <a:gd name="connsiteX888" fmla="*/ 5150335 w 11346020"/>
              <a:gd name="connsiteY888" fmla="*/ 3819606 h 4683863"/>
              <a:gd name="connsiteX889" fmla="*/ 4882776 w 11346020"/>
              <a:gd name="connsiteY889" fmla="*/ 3794146 h 4683863"/>
              <a:gd name="connsiteX890" fmla="*/ 4880281 w 11346020"/>
              <a:gd name="connsiteY890" fmla="*/ 3793730 h 4683863"/>
              <a:gd name="connsiteX891" fmla="*/ 4854143 w 11346020"/>
              <a:gd name="connsiteY891" fmla="*/ 3811141 h 4683863"/>
              <a:gd name="connsiteX892" fmla="*/ 4930585 w 11346020"/>
              <a:gd name="connsiteY892" fmla="*/ 3823869 h 4683863"/>
              <a:gd name="connsiteX893" fmla="*/ 5096219 w 11346020"/>
              <a:gd name="connsiteY893" fmla="*/ 3849324 h 4683863"/>
              <a:gd name="connsiteX894" fmla="*/ 5249110 w 11346020"/>
              <a:gd name="connsiteY894" fmla="*/ 3862057 h 4683863"/>
              <a:gd name="connsiteX895" fmla="*/ 5300076 w 11346020"/>
              <a:gd name="connsiteY895" fmla="*/ 3951161 h 4683863"/>
              <a:gd name="connsiteX896" fmla="*/ 5300076 w 11346020"/>
              <a:gd name="connsiteY896" fmla="*/ 3951165 h 4683863"/>
              <a:gd name="connsiteX897" fmla="*/ 5274593 w 11346020"/>
              <a:gd name="connsiteY897" fmla="*/ 4129376 h 4683863"/>
              <a:gd name="connsiteX898" fmla="*/ 5185408 w 11346020"/>
              <a:gd name="connsiteY898" fmla="*/ 4218481 h 4683863"/>
              <a:gd name="connsiteX899" fmla="*/ 4917844 w 11346020"/>
              <a:gd name="connsiteY899" fmla="*/ 4243940 h 4683863"/>
              <a:gd name="connsiteX900" fmla="*/ 4815917 w 11346020"/>
              <a:gd name="connsiteY900" fmla="*/ 4231209 h 4683863"/>
              <a:gd name="connsiteX901" fmla="*/ 4815921 w 11346020"/>
              <a:gd name="connsiteY901" fmla="*/ 4231205 h 4683863"/>
              <a:gd name="connsiteX902" fmla="*/ 4815917 w 11346020"/>
              <a:gd name="connsiteY902" fmla="*/ 4231205 h 4683863"/>
              <a:gd name="connsiteX903" fmla="*/ 4838212 w 11346020"/>
              <a:gd name="connsiteY903" fmla="*/ 4210522 h 4683863"/>
              <a:gd name="connsiteX904" fmla="*/ 4841399 w 11346020"/>
              <a:gd name="connsiteY904" fmla="*/ 4180293 h 4683863"/>
              <a:gd name="connsiteX905" fmla="*/ 4835031 w 11346020"/>
              <a:gd name="connsiteY905" fmla="*/ 4164382 h 4683863"/>
              <a:gd name="connsiteX906" fmla="*/ 4828656 w 11346020"/>
              <a:gd name="connsiteY906" fmla="*/ 4167564 h 4683863"/>
              <a:gd name="connsiteX907" fmla="*/ 4777693 w 11346020"/>
              <a:gd name="connsiteY907" fmla="*/ 4218481 h 4683863"/>
              <a:gd name="connsiteX908" fmla="*/ 4764954 w 11346020"/>
              <a:gd name="connsiteY908" fmla="*/ 4243940 h 4683863"/>
              <a:gd name="connsiteX909" fmla="*/ 4739471 w 11346020"/>
              <a:gd name="connsiteY909" fmla="*/ 4218481 h 4683863"/>
              <a:gd name="connsiteX910" fmla="*/ 4675765 w 11346020"/>
              <a:gd name="connsiteY910" fmla="*/ 4167564 h 4683863"/>
              <a:gd name="connsiteX911" fmla="*/ 4658246 w 11346020"/>
              <a:gd name="connsiteY911" fmla="*/ 4170747 h 4683863"/>
              <a:gd name="connsiteX912" fmla="*/ 4650286 w 11346020"/>
              <a:gd name="connsiteY912" fmla="*/ 4193021 h 4683863"/>
              <a:gd name="connsiteX913" fmla="*/ 4675765 w 11346020"/>
              <a:gd name="connsiteY913" fmla="*/ 4218477 h 4683863"/>
              <a:gd name="connsiteX914" fmla="*/ 4726728 w 11346020"/>
              <a:gd name="connsiteY914" fmla="*/ 4231205 h 4683863"/>
              <a:gd name="connsiteX915" fmla="*/ 4726720 w 11346020"/>
              <a:gd name="connsiteY915" fmla="*/ 4231205 h 4683863"/>
              <a:gd name="connsiteX916" fmla="*/ 4726728 w 11346020"/>
              <a:gd name="connsiteY916" fmla="*/ 4231209 h 4683863"/>
              <a:gd name="connsiteX917" fmla="*/ 4548354 w 11346020"/>
              <a:gd name="connsiteY917" fmla="*/ 4231209 h 4683863"/>
              <a:gd name="connsiteX918" fmla="*/ 4548362 w 11346020"/>
              <a:gd name="connsiteY918" fmla="*/ 4231205 h 4683863"/>
              <a:gd name="connsiteX919" fmla="*/ 4548354 w 11346020"/>
              <a:gd name="connsiteY919" fmla="*/ 4231205 h 4683863"/>
              <a:gd name="connsiteX920" fmla="*/ 4624803 w 11346020"/>
              <a:gd name="connsiteY920" fmla="*/ 4186654 h 4683863"/>
              <a:gd name="connsiteX921" fmla="*/ 4624803 w 11346020"/>
              <a:gd name="connsiteY921" fmla="*/ 4103917 h 4683863"/>
              <a:gd name="connsiteX922" fmla="*/ 4608877 w 11346020"/>
              <a:gd name="connsiteY922" fmla="*/ 4158016 h 4683863"/>
              <a:gd name="connsiteX923" fmla="*/ 4573837 w 11346020"/>
              <a:gd name="connsiteY923" fmla="*/ 4193021 h 4683863"/>
              <a:gd name="connsiteX924" fmla="*/ 4573837 w 11346020"/>
              <a:gd name="connsiteY924" fmla="*/ 4193017 h 4683863"/>
              <a:gd name="connsiteX925" fmla="*/ 4573837 w 11346020"/>
              <a:gd name="connsiteY925" fmla="*/ 4103917 h 4683863"/>
              <a:gd name="connsiteX926" fmla="*/ 4471909 w 11346020"/>
              <a:gd name="connsiteY926" fmla="*/ 4078457 h 4683863"/>
              <a:gd name="connsiteX927" fmla="*/ 4471909 w 11346020"/>
              <a:gd name="connsiteY927" fmla="*/ 4129372 h 4683863"/>
              <a:gd name="connsiteX928" fmla="*/ 4471909 w 11346020"/>
              <a:gd name="connsiteY928" fmla="*/ 4164378 h 4683863"/>
              <a:gd name="connsiteX929" fmla="*/ 4471909 w 11346020"/>
              <a:gd name="connsiteY929" fmla="*/ 4164382 h 4683863"/>
              <a:gd name="connsiteX930" fmla="*/ 4433685 w 11346020"/>
              <a:gd name="connsiteY930" fmla="*/ 4180293 h 4683863"/>
              <a:gd name="connsiteX931" fmla="*/ 4408203 w 11346020"/>
              <a:gd name="connsiteY931" fmla="*/ 4205752 h 4683863"/>
              <a:gd name="connsiteX932" fmla="*/ 4344501 w 11346020"/>
              <a:gd name="connsiteY932" fmla="*/ 4231209 h 4683863"/>
              <a:gd name="connsiteX933" fmla="*/ 4314241 w 11346020"/>
              <a:gd name="connsiteY933" fmla="*/ 4193021 h 4683863"/>
              <a:gd name="connsiteX934" fmla="*/ 4314241 w 11346020"/>
              <a:gd name="connsiteY934" fmla="*/ 4193017 h 4683863"/>
              <a:gd name="connsiteX935" fmla="*/ 4331758 w 11346020"/>
              <a:gd name="connsiteY935" fmla="*/ 4154829 h 4683863"/>
              <a:gd name="connsiteX936" fmla="*/ 4346090 w 11346020"/>
              <a:gd name="connsiteY936" fmla="*/ 4142101 h 4683863"/>
              <a:gd name="connsiteX937" fmla="*/ 4331758 w 11346020"/>
              <a:gd name="connsiteY937" fmla="*/ 4129376 h 4683863"/>
              <a:gd name="connsiteX938" fmla="*/ 4268052 w 11346020"/>
              <a:gd name="connsiteY938" fmla="*/ 4065729 h 4683863"/>
              <a:gd name="connsiteX939" fmla="*/ 4268052 w 11346020"/>
              <a:gd name="connsiteY939" fmla="*/ 4167560 h 4683863"/>
              <a:gd name="connsiteX940" fmla="*/ 4276015 w 11346020"/>
              <a:gd name="connsiteY940" fmla="*/ 4191428 h 4683863"/>
              <a:gd name="connsiteX941" fmla="*/ 4276015 w 11346020"/>
              <a:gd name="connsiteY941" fmla="*/ 4191431 h 4683863"/>
              <a:gd name="connsiteX942" fmla="*/ 4258194 w 11346020"/>
              <a:gd name="connsiteY942" fmla="*/ 4203758 h 4683863"/>
              <a:gd name="connsiteX943" fmla="*/ 4259347 w 11346020"/>
              <a:gd name="connsiteY943" fmla="*/ 4210371 h 4683863"/>
              <a:gd name="connsiteX944" fmla="*/ 4253791 w 11346020"/>
              <a:gd name="connsiteY944" fmla="*/ 4210552 h 4683863"/>
              <a:gd name="connsiteX945" fmla="*/ 4245755 w 11346020"/>
              <a:gd name="connsiteY945" fmla="*/ 4235985 h 4683863"/>
              <a:gd name="connsiteX946" fmla="*/ 4217085 w 11346020"/>
              <a:gd name="connsiteY946" fmla="*/ 4256669 h 4683863"/>
              <a:gd name="connsiteX947" fmla="*/ 4092860 w 11346020"/>
              <a:gd name="connsiteY947" fmla="*/ 4239164 h 4683863"/>
              <a:gd name="connsiteX948" fmla="*/ 3987755 w 11346020"/>
              <a:gd name="connsiteY948" fmla="*/ 4193024 h 4683863"/>
              <a:gd name="connsiteX949" fmla="*/ 4005270 w 11346020"/>
              <a:gd name="connsiteY949" fmla="*/ 4218477 h 4683863"/>
              <a:gd name="connsiteX950" fmla="*/ 4051454 w 11346020"/>
              <a:gd name="connsiteY950" fmla="*/ 4243936 h 4683863"/>
              <a:gd name="connsiteX951" fmla="*/ 4051447 w 11346020"/>
              <a:gd name="connsiteY951" fmla="*/ 4243936 h 4683863"/>
              <a:gd name="connsiteX952" fmla="*/ 4051454 w 11346020"/>
              <a:gd name="connsiteY952" fmla="*/ 4243940 h 4683863"/>
              <a:gd name="connsiteX953" fmla="*/ 3834860 w 11346020"/>
              <a:gd name="connsiteY953" fmla="*/ 4243940 h 4683863"/>
              <a:gd name="connsiteX954" fmla="*/ 3834867 w 11346020"/>
              <a:gd name="connsiteY954" fmla="*/ 4243936 h 4683863"/>
              <a:gd name="connsiteX955" fmla="*/ 3834860 w 11346020"/>
              <a:gd name="connsiteY955" fmla="*/ 4243936 h 4683863"/>
              <a:gd name="connsiteX956" fmla="*/ 3882636 w 11346020"/>
              <a:gd name="connsiteY956" fmla="*/ 4226433 h 4683863"/>
              <a:gd name="connsiteX957" fmla="*/ 3911302 w 11346020"/>
              <a:gd name="connsiteY957" fmla="*/ 4218477 h 4683863"/>
              <a:gd name="connsiteX958" fmla="*/ 3899361 w 11346020"/>
              <a:gd name="connsiteY958" fmla="*/ 4210923 h 4683863"/>
              <a:gd name="connsiteX959" fmla="*/ 3834860 w 11346020"/>
              <a:gd name="connsiteY959" fmla="*/ 4193021 h 4683863"/>
              <a:gd name="connsiteX960" fmla="*/ 3834860 w 11346020"/>
              <a:gd name="connsiteY960" fmla="*/ 4193017 h 4683863"/>
              <a:gd name="connsiteX961" fmla="*/ 3834860 w 11346020"/>
              <a:gd name="connsiteY961" fmla="*/ 4154833 h 4683863"/>
              <a:gd name="connsiteX962" fmla="*/ 3822117 w 11346020"/>
              <a:gd name="connsiteY962" fmla="*/ 4103917 h 4683863"/>
              <a:gd name="connsiteX963" fmla="*/ 3783894 w 11346020"/>
              <a:gd name="connsiteY963" fmla="*/ 4116645 h 4683863"/>
              <a:gd name="connsiteX964" fmla="*/ 3656482 w 11346020"/>
              <a:gd name="connsiteY964" fmla="*/ 4243940 h 4683863"/>
              <a:gd name="connsiteX965" fmla="*/ 3618260 w 11346020"/>
              <a:gd name="connsiteY965" fmla="*/ 4256669 h 4683863"/>
              <a:gd name="connsiteX966" fmla="*/ 3597557 w 11346020"/>
              <a:gd name="connsiteY966" fmla="*/ 4253486 h 4683863"/>
              <a:gd name="connsiteX967" fmla="*/ 3597557 w 11346020"/>
              <a:gd name="connsiteY967" fmla="*/ 4253482 h 4683863"/>
              <a:gd name="connsiteX968" fmla="*/ 3605520 w 11346020"/>
              <a:gd name="connsiteY968" fmla="*/ 4231209 h 4683863"/>
              <a:gd name="connsiteX969" fmla="*/ 3592780 w 11346020"/>
              <a:gd name="connsiteY969" fmla="*/ 4170747 h 4683863"/>
              <a:gd name="connsiteX970" fmla="*/ 3541814 w 11346020"/>
              <a:gd name="connsiteY970" fmla="*/ 4129376 h 4683863"/>
              <a:gd name="connsiteX971" fmla="*/ 3529074 w 11346020"/>
              <a:gd name="connsiteY971" fmla="*/ 4103917 h 4683863"/>
              <a:gd name="connsiteX972" fmla="*/ 3516331 w 11346020"/>
              <a:gd name="connsiteY972" fmla="*/ 4078457 h 4683863"/>
              <a:gd name="connsiteX973" fmla="*/ 3490851 w 11346020"/>
              <a:gd name="connsiteY973" fmla="*/ 4116645 h 4683863"/>
              <a:gd name="connsiteX974" fmla="*/ 3501998 w 11346020"/>
              <a:gd name="connsiteY974" fmla="*/ 4158012 h 4683863"/>
              <a:gd name="connsiteX975" fmla="*/ 3541814 w 11346020"/>
              <a:gd name="connsiteY975" fmla="*/ 4180289 h 4683863"/>
              <a:gd name="connsiteX976" fmla="*/ 3541810 w 11346020"/>
              <a:gd name="connsiteY976" fmla="*/ 4180289 h 4683863"/>
              <a:gd name="connsiteX977" fmla="*/ 3541814 w 11346020"/>
              <a:gd name="connsiteY977" fmla="*/ 4180293 h 4683863"/>
              <a:gd name="connsiteX978" fmla="*/ 3439886 w 11346020"/>
              <a:gd name="connsiteY978" fmla="*/ 4193021 h 4683863"/>
              <a:gd name="connsiteX979" fmla="*/ 3439889 w 11346020"/>
              <a:gd name="connsiteY979" fmla="*/ 4193017 h 4683863"/>
              <a:gd name="connsiteX980" fmla="*/ 3439886 w 11346020"/>
              <a:gd name="connsiteY980" fmla="*/ 4193017 h 4683863"/>
              <a:gd name="connsiteX981" fmla="*/ 3478108 w 11346020"/>
              <a:gd name="connsiteY981" fmla="*/ 4142105 h 4683863"/>
              <a:gd name="connsiteX982" fmla="*/ 3441479 w 11346020"/>
              <a:gd name="connsiteY982" fmla="*/ 4127783 h 4683863"/>
              <a:gd name="connsiteX983" fmla="*/ 3414406 w 11346020"/>
              <a:gd name="connsiteY983" fmla="*/ 4142105 h 4683863"/>
              <a:gd name="connsiteX984" fmla="*/ 3413800 w 11346020"/>
              <a:gd name="connsiteY984" fmla="*/ 4144516 h 4683863"/>
              <a:gd name="connsiteX985" fmla="*/ 3401663 w 11346020"/>
              <a:gd name="connsiteY985" fmla="*/ 4193021 h 4683863"/>
              <a:gd name="connsiteX986" fmla="*/ 3350700 w 11346020"/>
              <a:gd name="connsiteY986" fmla="*/ 4091188 h 4683863"/>
              <a:gd name="connsiteX987" fmla="*/ 3325218 w 11346020"/>
              <a:gd name="connsiteY987" fmla="*/ 4103917 h 4683863"/>
              <a:gd name="connsiteX988" fmla="*/ 3274255 w 11346020"/>
              <a:gd name="connsiteY988" fmla="*/ 4129376 h 4683863"/>
              <a:gd name="connsiteX989" fmla="*/ 3248772 w 11346020"/>
              <a:gd name="connsiteY989" fmla="*/ 4129376 h 4683863"/>
              <a:gd name="connsiteX990" fmla="*/ 3197806 w 11346020"/>
              <a:gd name="connsiteY990" fmla="*/ 4256669 h 4683863"/>
              <a:gd name="connsiteX991" fmla="*/ 3108621 w 11346020"/>
              <a:gd name="connsiteY991" fmla="*/ 4282128 h 4683863"/>
              <a:gd name="connsiteX992" fmla="*/ 3095881 w 11346020"/>
              <a:gd name="connsiteY992" fmla="*/ 4243940 h 4683863"/>
              <a:gd name="connsiteX993" fmla="*/ 3095881 w 11346020"/>
              <a:gd name="connsiteY993" fmla="*/ 4243936 h 4683863"/>
              <a:gd name="connsiteX994" fmla="*/ 3121361 w 11346020"/>
              <a:gd name="connsiteY994" fmla="*/ 4231205 h 4683863"/>
              <a:gd name="connsiteX995" fmla="*/ 3159583 w 11346020"/>
              <a:gd name="connsiteY995" fmla="*/ 4218477 h 4683863"/>
              <a:gd name="connsiteX996" fmla="*/ 3185063 w 11346020"/>
              <a:gd name="connsiteY996" fmla="*/ 4193021 h 4683863"/>
              <a:gd name="connsiteX997" fmla="*/ 3170733 w 11346020"/>
              <a:gd name="connsiteY997" fmla="*/ 4172337 h 4683863"/>
              <a:gd name="connsiteX998" fmla="*/ 3146843 w 11346020"/>
              <a:gd name="connsiteY998" fmla="*/ 4180293 h 4683863"/>
              <a:gd name="connsiteX999" fmla="*/ 3108621 w 11346020"/>
              <a:gd name="connsiteY999" fmla="*/ 4193021 h 4683863"/>
              <a:gd name="connsiteX1000" fmla="*/ 3057655 w 11346020"/>
              <a:gd name="connsiteY1000" fmla="*/ 4167564 h 4683863"/>
              <a:gd name="connsiteX1001" fmla="*/ 3006692 w 11346020"/>
              <a:gd name="connsiteY1001" fmla="*/ 4154833 h 4683863"/>
              <a:gd name="connsiteX1002" fmla="*/ 2942987 w 11346020"/>
              <a:gd name="connsiteY1002" fmla="*/ 4218481 h 4683863"/>
              <a:gd name="connsiteX1003" fmla="*/ 2904764 w 11346020"/>
              <a:gd name="connsiteY1003" fmla="*/ 4218481 h 4683863"/>
              <a:gd name="connsiteX1004" fmla="*/ 2892024 w 11346020"/>
              <a:gd name="connsiteY1004" fmla="*/ 4282128 h 4683863"/>
              <a:gd name="connsiteX1005" fmla="*/ 2892024 w 11346020"/>
              <a:gd name="connsiteY1005" fmla="*/ 4282124 h 4683863"/>
              <a:gd name="connsiteX1006" fmla="*/ 2892024 w 11346020"/>
              <a:gd name="connsiteY1006" fmla="*/ 4167564 h 4683863"/>
              <a:gd name="connsiteX1007" fmla="*/ 2879281 w 11346020"/>
              <a:gd name="connsiteY1007" fmla="*/ 4142105 h 4683863"/>
              <a:gd name="connsiteX1008" fmla="*/ 2866541 w 11346020"/>
              <a:gd name="connsiteY1008" fmla="*/ 4154833 h 4683863"/>
              <a:gd name="connsiteX1009" fmla="*/ 2802834 w 11346020"/>
              <a:gd name="connsiteY1009" fmla="*/ 4231209 h 4683863"/>
              <a:gd name="connsiteX1010" fmla="*/ 2802834 w 11346020"/>
              <a:gd name="connsiteY1010" fmla="*/ 4243936 h 4683863"/>
              <a:gd name="connsiteX1011" fmla="*/ 2821949 w 11346020"/>
              <a:gd name="connsiteY1011" fmla="*/ 4284112 h 4683863"/>
              <a:gd name="connsiteX1012" fmla="*/ 2821945 w 11346020"/>
              <a:gd name="connsiteY1012" fmla="*/ 4284116 h 4683863"/>
              <a:gd name="connsiteX1013" fmla="*/ 2821949 w 11346020"/>
              <a:gd name="connsiteY1013" fmla="*/ 4284116 h 4683863"/>
              <a:gd name="connsiteX1014" fmla="*/ 2764613 w 11346020"/>
              <a:gd name="connsiteY1014" fmla="*/ 4294857 h 4683863"/>
              <a:gd name="connsiteX1015" fmla="*/ 2700907 w 11346020"/>
              <a:gd name="connsiteY1015" fmla="*/ 4294857 h 4683863"/>
              <a:gd name="connsiteX1016" fmla="*/ 2700912 w 11346020"/>
              <a:gd name="connsiteY1016" fmla="*/ 4294853 h 4683863"/>
              <a:gd name="connsiteX1017" fmla="*/ 2700907 w 11346020"/>
              <a:gd name="connsiteY1017" fmla="*/ 4294853 h 4683863"/>
              <a:gd name="connsiteX1018" fmla="*/ 2718427 w 11346020"/>
              <a:gd name="connsiteY1018" fmla="*/ 4272576 h 4683863"/>
              <a:gd name="connsiteX1019" fmla="*/ 2764608 w 11346020"/>
              <a:gd name="connsiteY1019" fmla="*/ 4269393 h 4683863"/>
              <a:gd name="connsiteX1020" fmla="*/ 2708871 w 11346020"/>
              <a:gd name="connsiteY1020" fmla="*/ 4224846 h 4683863"/>
              <a:gd name="connsiteX1021" fmla="*/ 2662684 w 11346020"/>
              <a:gd name="connsiteY1021" fmla="*/ 4180293 h 4683863"/>
              <a:gd name="connsiteX1022" fmla="*/ 2637201 w 11346020"/>
              <a:gd name="connsiteY1022" fmla="*/ 4172337 h 4683863"/>
              <a:gd name="connsiteX1023" fmla="*/ 2611721 w 11346020"/>
              <a:gd name="connsiteY1023" fmla="*/ 4193021 h 4683863"/>
              <a:gd name="connsiteX1024" fmla="*/ 2637201 w 11346020"/>
              <a:gd name="connsiteY1024" fmla="*/ 4205748 h 4683863"/>
              <a:gd name="connsiteX1025" fmla="*/ 2662684 w 11346020"/>
              <a:gd name="connsiteY1025" fmla="*/ 4243936 h 4683863"/>
              <a:gd name="connsiteX1026" fmla="*/ 2662684 w 11346020"/>
              <a:gd name="connsiteY1026" fmla="*/ 4243940 h 4683863"/>
              <a:gd name="connsiteX1027" fmla="*/ 2624461 w 11346020"/>
              <a:gd name="connsiteY1027" fmla="*/ 4256669 h 4683863"/>
              <a:gd name="connsiteX1028" fmla="*/ 2598978 w 11346020"/>
              <a:gd name="connsiteY1028" fmla="*/ 4243940 h 4683863"/>
              <a:gd name="connsiteX1029" fmla="*/ 2535277 w 11346020"/>
              <a:gd name="connsiteY1029" fmla="*/ 4231209 h 4683863"/>
              <a:gd name="connsiteX1030" fmla="*/ 2505017 w 11346020"/>
              <a:gd name="connsiteY1030" fmla="*/ 4270986 h 4683863"/>
              <a:gd name="connsiteX1031" fmla="*/ 2522533 w 11346020"/>
              <a:gd name="connsiteY1031" fmla="*/ 4320312 h 4683863"/>
              <a:gd name="connsiteX1032" fmla="*/ 2522533 w 11346020"/>
              <a:gd name="connsiteY1032" fmla="*/ 4320316 h 4683863"/>
              <a:gd name="connsiteX1033" fmla="*/ 2484310 w 11346020"/>
              <a:gd name="connsiteY1033" fmla="*/ 4294857 h 4683863"/>
              <a:gd name="connsiteX1034" fmla="*/ 2458828 w 11346020"/>
              <a:gd name="connsiteY1034" fmla="*/ 4269397 h 4683863"/>
              <a:gd name="connsiteX1035" fmla="*/ 2280453 w 11346020"/>
              <a:gd name="connsiteY1035" fmla="*/ 4269397 h 4683863"/>
              <a:gd name="connsiteX1036" fmla="*/ 2254974 w 11346020"/>
              <a:gd name="connsiteY1036" fmla="*/ 4256669 h 4683863"/>
              <a:gd name="connsiteX1037" fmla="*/ 2204008 w 11346020"/>
              <a:gd name="connsiteY1037" fmla="*/ 4269397 h 4683863"/>
              <a:gd name="connsiteX1038" fmla="*/ 2140301 w 11346020"/>
              <a:gd name="connsiteY1038" fmla="*/ 4307585 h 4683863"/>
              <a:gd name="connsiteX1039" fmla="*/ 2051117 w 11346020"/>
              <a:gd name="connsiteY1039" fmla="*/ 4294857 h 4683863"/>
              <a:gd name="connsiteX1040" fmla="*/ 2038377 w 11346020"/>
              <a:gd name="connsiteY1040" fmla="*/ 4307585 h 4683863"/>
              <a:gd name="connsiteX1041" fmla="*/ 2051117 w 11346020"/>
              <a:gd name="connsiteY1041" fmla="*/ 4320312 h 4683863"/>
              <a:gd name="connsiteX1042" fmla="*/ 2216748 w 11346020"/>
              <a:gd name="connsiteY1042" fmla="*/ 4333041 h 4683863"/>
              <a:gd name="connsiteX1043" fmla="*/ 2305936 w 11346020"/>
              <a:gd name="connsiteY1043" fmla="*/ 4282124 h 4683863"/>
              <a:gd name="connsiteX1044" fmla="*/ 2420604 w 11346020"/>
              <a:gd name="connsiteY1044" fmla="*/ 4282124 h 4683863"/>
              <a:gd name="connsiteX1045" fmla="*/ 2420690 w 11346020"/>
              <a:gd name="connsiteY1045" fmla="*/ 4282198 h 4683863"/>
              <a:gd name="connsiteX1046" fmla="*/ 2454051 w 11346020"/>
              <a:gd name="connsiteY1046" fmla="*/ 4310768 h 4683863"/>
              <a:gd name="connsiteX1047" fmla="*/ 2458828 w 11346020"/>
              <a:gd name="connsiteY1047" fmla="*/ 4358501 h 4683863"/>
              <a:gd name="connsiteX1048" fmla="*/ 2458828 w 11346020"/>
              <a:gd name="connsiteY1048" fmla="*/ 4358504 h 4683863"/>
              <a:gd name="connsiteX1049" fmla="*/ 2528903 w 11346020"/>
              <a:gd name="connsiteY1049" fmla="*/ 4345773 h 4683863"/>
              <a:gd name="connsiteX1050" fmla="*/ 2598809 w 11346020"/>
              <a:gd name="connsiteY1050" fmla="*/ 4371171 h 4683863"/>
              <a:gd name="connsiteX1051" fmla="*/ 2598978 w 11346020"/>
              <a:gd name="connsiteY1051" fmla="*/ 4371228 h 4683863"/>
              <a:gd name="connsiteX1052" fmla="*/ 2688167 w 11346020"/>
              <a:gd name="connsiteY1052" fmla="*/ 4383957 h 4683863"/>
              <a:gd name="connsiteX1053" fmla="*/ 2777353 w 11346020"/>
              <a:gd name="connsiteY1053" fmla="*/ 4383957 h 4683863"/>
              <a:gd name="connsiteX1054" fmla="*/ 2892024 w 11346020"/>
              <a:gd name="connsiteY1054" fmla="*/ 4396685 h 4683863"/>
              <a:gd name="connsiteX1055" fmla="*/ 2981210 w 11346020"/>
              <a:gd name="connsiteY1055" fmla="*/ 4409416 h 4683863"/>
              <a:gd name="connsiteX1056" fmla="*/ 3044914 w 11346020"/>
              <a:gd name="connsiteY1056" fmla="*/ 4396685 h 4683863"/>
              <a:gd name="connsiteX1057" fmla="*/ 3146843 w 11346020"/>
              <a:gd name="connsiteY1057" fmla="*/ 4409416 h 4683863"/>
              <a:gd name="connsiteX1058" fmla="*/ 3478108 w 11346020"/>
              <a:gd name="connsiteY1058" fmla="*/ 4422145 h 4683863"/>
              <a:gd name="connsiteX1059" fmla="*/ 3580037 w 11346020"/>
              <a:gd name="connsiteY1059" fmla="*/ 4434873 h 4683863"/>
              <a:gd name="connsiteX1060" fmla="*/ 3771154 w 11346020"/>
              <a:gd name="connsiteY1060" fmla="*/ 4460333 h 4683863"/>
              <a:gd name="connsiteX1061" fmla="*/ 4268052 w 11346020"/>
              <a:gd name="connsiteY1061" fmla="*/ 4498521 h 4683863"/>
              <a:gd name="connsiteX1062" fmla="*/ 4484652 w 11346020"/>
              <a:gd name="connsiteY1062" fmla="*/ 4523980 h 4683863"/>
              <a:gd name="connsiteX1063" fmla="*/ 4535614 w 11346020"/>
              <a:gd name="connsiteY1063" fmla="*/ 4523980 h 4683863"/>
              <a:gd name="connsiteX1064" fmla="*/ 4573837 w 11346020"/>
              <a:gd name="connsiteY1064" fmla="*/ 4536709 h 4683863"/>
              <a:gd name="connsiteX1065" fmla="*/ 4573837 w 11346020"/>
              <a:gd name="connsiteY1065" fmla="*/ 4536713 h 4683863"/>
              <a:gd name="connsiteX1066" fmla="*/ 4535614 w 11346020"/>
              <a:gd name="connsiteY1066" fmla="*/ 4562172 h 4683863"/>
              <a:gd name="connsiteX1067" fmla="*/ 4242569 w 11346020"/>
              <a:gd name="connsiteY1067" fmla="*/ 4523984 h 4683863"/>
              <a:gd name="connsiteX1068" fmla="*/ 4000490 w 11346020"/>
              <a:gd name="connsiteY1068" fmla="*/ 4511253 h 4683863"/>
              <a:gd name="connsiteX1069" fmla="*/ 4000490 w 11346020"/>
              <a:gd name="connsiteY1069" fmla="*/ 4512325 h 4683863"/>
              <a:gd name="connsiteX1070" fmla="*/ 4000490 w 11346020"/>
              <a:gd name="connsiteY1070" fmla="*/ 4544665 h 4683863"/>
              <a:gd name="connsiteX1071" fmla="*/ 4038712 w 11346020"/>
              <a:gd name="connsiteY1071" fmla="*/ 4549437 h 4683863"/>
              <a:gd name="connsiteX1072" fmla="*/ 4178862 w 11346020"/>
              <a:gd name="connsiteY1072" fmla="*/ 4574897 h 4683863"/>
              <a:gd name="connsiteX1073" fmla="*/ 4178858 w 11346020"/>
              <a:gd name="connsiteY1073" fmla="*/ 4574897 h 4683863"/>
              <a:gd name="connsiteX1074" fmla="*/ 4178862 w 11346020"/>
              <a:gd name="connsiteY1074" fmla="*/ 4574901 h 4683863"/>
              <a:gd name="connsiteX1075" fmla="*/ 4089677 w 11346020"/>
              <a:gd name="connsiteY1075" fmla="*/ 4574901 h 4683863"/>
              <a:gd name="connsiteX1076" fmla="*/ 4038712 w 11346020"/>
              <a:gd name="connsiteY1076" fmla="*/ 4613088 h 4683863"/>
              <a:gd name="connsiteX1077" fmla="*/ 4038712 w 11346020"/>
              <a:gd name="connsiteY1077" fmla="*/ 4625813 h 4683863"/>
              <a:gd name="connsiteX1078" fmla="*/ 4038712 w 11346020"/>
              <a:gd name="connsiteY1078" fmla="*/ 4625817 h 4683863"/>
              <a:gd name="connsiteX1079" fmla="*/ 3949528 w 11346020"/>
              <a:gd name="connsiteY1079" fmla="*/ 4613088 h 4683863"/>
              <a:gd name="connsiteX1080" fmla="*/ 3936784 w 11346020"/>
              <a:gd name="connsiteY1080" fmla="*/ 4600360 h 4683863"/>
              <a:gd name="connsiteX1081" fmla="*/ 3822117 w 11346020"/>
              <a:gd name="connsiteY1081" fmla="*/ 4574901 h 4683863"/>
              <a:gd name="connsiteX1082" fmla="*/ 3822120 w 11346020"/>
              <a:gd name="connsiteY1082" fmla="*/ 4574897 h 4683863"/>
              <a:gd name="connsiteX1083" fmla="*/ 3822117 w 11346020"/>
              <a:gd name="connsiteY1083" fmla="*/ 4574897 h 4683863"/>
              <a:gd name="connsiteX1084" fmla="*/ 3846005 w 11346020"/>
              <a:gd name="connsiteY1084" fmla="*/ 4547847 h 4683863"/>
              <a:gd name="connsiteX1085" fmla="*/ 3860339 w 11346020"/>
              <a:gd name="connsiteY1085" fmla="*/ 4511253 h 4683863"/>
              <a:gd name="connsiteX1086" fmla="*/ 3834860 w 11346020"/>
              <a:gd name="connsiteY1086" fmla="*/ 4498525 h 4683863"/>
              <a:gd name="connsiteX1087" fmla="*/ 3822117 w 11346020"/>
              <a:gd name="connsiteY1087" fmla="*/ 4498525 h 4683863"/>
              <a:gd name="connsiteX1088" fmla="*/ 3769561 w 11346020"/>
              <a:gd name="connsiteY1088" fmla="*/ 4558989 h 4683863"/>
              <a:gd name="connsiteX1089" fmla="*/ 3741488 w 11346020"/>
              <a:gd name="connsiteY1089" fmla="*/ 4588026 h 4683863"/>
              <a:gd name="connsiteX1090" fmla="*/ 3745671 w 11346020"/>
              <a:gd name="connsiteY1090" fmla="*/ 4638545 h 4683863"/>
              <a:gd name="connsiteX1091" fmla="*/ 3745671 w 11346020"/>
              <a:gd name="connsiteY1091" fmla="*/ 4638548 h 4683863"/>
              <a:gd name="connsiteX1092" fmla="*/ 3720188 w 11346020"/>
              <a:gd name="connsiteY1092" fmla="*/ 4638548 h 4683863"/>
              <a:gd name="connsiteX1093" fmla="*/ 3643743 w 11346020"/>
              <a:gd name="connsiteY1093" fmla="*/ 4549441 h 4683863"/>
              <a:gd name="connsiteX1094" fmla="*/ 3580037 w 11346020"/>
              <a:gd name="connsiteY1094" fmla="*/ 4549441 h 4683863"/>
              <a:gd name="connsiteX1095" fmla="*/ 3584817 w 11346020"/>
              <a:gd name="connsiteY1095" fmla="*/ 4573303 h 4683863"/>
              <a:gd name="connsiteX1096" fmla="*/ 3618260 w 11346020"/>
              <a:gd name="connsiteY1096" fmla="*/ 4587625 h 4683863"/>
              <a:gd name="connsiteX1097" fmla="*/ 3618260 w 11346020"/>
              <a:gd name="connsiteY1097" fmla="*/ 4587629 h 4683863"/>
              <a:gd name="connsiteX1098" fmla="*/ 3618260 w 11346020"/>
              <a:gd name="connsiteY1098" fmla="*/ 4613084 h 4683863"/>
              <a:gd name="connsiteX1099" fmla="*/ 3618260 w 11346020"/>
              <a:gd name="connsiteY1099" fmla="*/ 4613088 h 4683863"/>
              <a:gd name="connsiteX1100" fmla="*/ 3580037 w 11346020"/>
              <a:gd name="connsiteY1100" fmla="*/ 4600360 h 4683863"/>
              <a:gd name="connsiteX1101" fmla="*/ 3541814 w 11346020"/>
              <a:gd name="connsiteY1101" fmla="*/ 4536713 h 4683863"/>
              <a:gd name="connsiteX1102" fmla="*/ 3490851 w 11346020"/>
              <a:gd name="connsiteY1102" fmla="*/ 4587629 h 4683863"/>
              <a:gd name="connsiteX1103" fmla="*/ 3350700 w 11346020"/>
              <a:gd name="connsiteY1103" fmla="*/ 4613088 h 4683863"/>
              <a:gd name="connsiteX1104" fmla="*/ 3312478 w 11346020"/>
              <a:gd name="connsiteY1104" fmla="*/ 4613088 h 4683863"/>
              <a:gd name="connsiteX1105" fmla="*/ 3236028 w 11346020"/>
              <a:gd name="connsiteY1105" fmla="*/ 4625817 h 4683863"/>
              <a:gd name="connsiteX1106" fmla="*/ 3210549 w 11346020"/>
              <a:gd name="connsiteY1106" fmla="*/ 4625817 h 4683863"/>
              <a:gd name="connsiteX1107" fmla="*/ 3134104 w 11346020"/>
              <a:gd name="connsiteY1107" fmla="*/ 4625817 h 4683863"/>
              <a:gd name="connsiteX1108" fmla="*/ 3057655 w 11346020"/>
              <a:gd name="connsiteY1108" fmla="*/ 4562172 h 4683863"/>
              <a:gd name="connsiteX1109" fmla="*/ 3019432 w 11346020"/>
              <a:gd name="connsiteY1109" fmla="*/ 4536713 h 4683863"/>
              <a:gd name="connsiteX1110" fmla="*/ 3006692 w 11346020"/>
              <a:gd name="connsiteY1110" fmla="*/ 4498525 h 4683863"/>
              <a:gd name="connsiteX1111" fmla="*/ 2955730 w 11346020"/>
              <a:gd name="connsiteY1111" fmla="*/ 4536713 h 4683863"/>
              <a:gd name="connsiteX1112" fmla="*/ 2879281 w 11346020"/>
              <a:gd name="connsiteY1112" fmla="*/ 4549441 h 4683863"/>
              <a:gd name="connsiteX1113" fmla="*/ 2815579 w 11346020"/>
              <a:gd name="connsiteY1113" fmla="*/ 4562172 h 4683863"/>
              <a:gd name="connsiteX1114" fmla="*/ 2739130 w 11346020"/>
              <a:gd name="connsiteY1114" fmla="*/ 4613088 h 4683863"/>
              <a:gd name="connsiteX1115" fmla="*/ 2688167 w 11346020"/>
              <a:gd name="connsiteY1115" fmla="*/ 4587629 h 4683863"/>
              <a:gd name="connsiteX1116" fmla="*/ 2662684 w 11346020"/>
              <a:gd name="connsiteY1116" fmla="*/ 4562172 h 4683863"/>
              <a:gd name="connsiteX1117" fmla="*/ 2611721 w 11346020"/>
              <a:gd name="connsiteY1117" fmla="*/ 4574901 h 4683863"/>
              <a:gd name="connsiteX1118" fmla="*/ 2535277 w 11346020"/>
              <a:gd name="connsiteY1118" fmla="*/ 4613088 h 4683863"/>
              <a:gd name="connsiteX1119" fmla="*/ 2484310 w 11346020"/>
              <a:gd name="connsiteY1119" fmla="*/ 4617861 h 4683863"/>
              <a:gd name="connsiteX1120" fmla="*/ 2433359 w 11346020"/>
              <a:gd name="connsiteY1120" fmla="*/ 4613088 h 4683863"/>
              <a:gd name="connsiteX1121" fmla="*/ 2508200 w 11346020"/>
              <a:gd name="connsiteY1121" fmla="*/ 4640134 h 4683863"/>
              <a:gd name="connsiteX1122" fmla="*/ 2573499 w 11346020"/>
              <a:gd name="connsiteY1122" fmla="*/ 4638545 h 4683863"/>
              <a:gd name="connsiteX1123" fmla="*/ 2675428 w 11346020"/>
              <a:gd name="connsiteY1123" fmla="*/ 4638545 h 4683863"/>
              <a:gd name="connsiteX1124" fmla="*/ 2700907 w 11346020"/>
              <a:gd name="connsiteY1124" fmla="*/ 4664001 h 4683863"/>
              <a:gd name="connsiteX1125" fmla="*/ 2700907 w 11346020"/>
              <a:gd name="connsiteY1125" fmla="*/ 4664005 h 4683863"/>
              <a:gd name="connsiteX1126" fmla="*/ 2675428 w 11346020"/>
              <a:gd name="connsiteY1126" fmla="*/ 4664005 h 4683863"/>
              <a:gd name="connsiteX1127" fmla="*/ 2573499 w 11346020"/>
              <a:gd name="connsiteY1127" fmla="*/ 4676736 h 4683863"/>
              <a:gd name="connsiteX1128" fmla="*/ 2471571 w 11346020"/>
              <a:gd name="connsiteY1128" fmla="*/ 4651276 h 4683863"/>
              <a:gd name="connsiteX1129" fmla="*/ 2344158 w 11346020"/>
              <a:gd name="connsiteY1129" fmla="*/ 4676736 h 4683863"/>
              <a:gd name="connsiteX1130" fmla="*/ 2305936 w 11346020"/>
              <a:gd name="connsiteY1130" fmla="*/ 4664005 h 4683863"/>
              <a:gd name="connsiteX1131" fmla="*/ 2305936 w 11346020"/>
              <a:gd name="connsiteY1131" fmla="*/ 4664001 h 4683863"/>
              <a:gd name="connsiteX1132" fmla="*/ 2344158 w 11346020"/>
              <a:gd name="connsiteY1132" fmla="*/ 4625813 h 4683863"/>
              <a:gd name="connsiteX1133" fmla="*/ 2363272 w 11346020"/>
              <a:gd name="connsiteY1133" fmla="*/ 4630585 h 4683863"/>
              <a:gd name="connsiteX1134" fmla="*/ 2382378 w 11346020"/>
              <a:gd name="connsiteY1134" fmla="*/ 4625813 h 4683863"/>
              <a:gd name="connsiteX1135" fmla="*/ 2331419 w 11346020"/>
              <a:gd name="connsiteY1135" fmla="*/ 4601950 h 4683863"/>
              <a:gd name="connsiteX1136" fmla="*/ 2318676 w 11346020"/>
              <a:gd name="connsiteY1136" fmla="*/ 4549441 h 4683863"/>
              <a:gd name="connsiteX1137" fmla="*/ 2270901 w 11346020"/>
              <a:gd name="connsiteY1137" fmla="*/ 4579673 h 4683863"/>
              <a:gd name="connsiteX1138" fmla="*/ 2280453 w 11346020"/>
              <a:gd name="connsiteY1138" fmla="*/ 4638545 h 4683863"/>
              <a:gd name="connsiteX1139" fmla="*/ 2280453 w 11346020"/>
              <a:gd name="connsiteY1139" fmla="*/ 4638548 h 4683863"/>
              <a:gd name="connsiteX1140" fmla="*/ 2254974 w 11346020"/>
              <a:gd name="connsiteY1140" fmla="*/ 4664005 h 4683863"/>
              <a:gd name="connsiteX1141" fmla="*/ 2178525 w 11346020"/>
              <a:gd name="connsiteY1141" fmla="*/ 4664005 h 4683863"/>
              <a:gd name="connsiteX1142" fmla="*/ 2176935 w 11346020"/>
              <a:gd name="connsiteY1142" fmla="*/ 4640139 h 4683863"/>
              <a:gd name="connsiteX1143" fmla="*/ 2176935 w 11346020"/>
              <a:gd name="connsiteY1143" fmla="*/ 4640134 h 4683863"/>
              <a:gd name="connsiteX1144" fmla="*/ 2204008 w 11346020"/>
              <a:gd name="connsiteY1144" fmla="*/ 4625813 h 4683863"/>
              <a:gd name="connsiteX1145" fmla="*/ 2204008 w 11346020"/>
              <a:gd name="connsiteY1145" fmla="*/ 4600360 h 4683863"/>
              <a:gd name="connsiteX1146" fmla="*/ 2191268 w 11346020"/>
              <a:gd name="connsiteY1146" fmla="*/ 4549441 h 4683863"/>
              <a:gd name="connsiteX1147" fmla="*/ 2153046 w 11346020"/>
              <a:gd name="connsiteY1147" fmla="*/ 4574901 h 4683863"/>
              <a:gd name="connsiteX1148" fmla="*/ 2051117 w 11346020"/>
              <a:gd name="connsiteY1148" fmla="*/ 4600360 h 4683863"/>
              <a:gd name="connsiteX1149" fmla="*/ 2000151 w 11346020"/>
              <a:gd name="connsiteY1149" fmla="*/ 4625817 h 4683863"/>
              <a:gd name="connsiteX1150" fmla="*/ 1923705 w 11346020"/>
              <a:gd name="connsiteY1150" fmla="*/ 4664005 h 4683863"/>
              <a:gd name="connsiteX1151" fmla="*/ 1554218 w 11346020"/>
              <a:gd name="connsiteY1151" fmla="*/ 4664005 h 4683863"/>
              <a:gd name="connsiteX1152" fmla="*/ 1528735 w 11346020"/>
              <a:gd name="connsiteY1152" fmla="*/ 4651276 h 4683863"/>
              <a:gd name="connsiteX1153" fmla="*/ 1528739 w 11346020"/>
              <a:gd name="connsiteY1153" fmla="*/ 4651272 h 4683863"/>
              <a:gd name="connsiteX1154" fmla="*/ 1528735 w 11346020"/>
              <a:gd name="connsiteY1154" fmla="*/ 4651272 h 4683863"/>
              <a:gd name="connsiteX1155" fmla="*/ 1566958 w 11346020"/>
              <a:gd name="connsiteY1155" fmla="*/ 4613084 h 4683863"/>
              <a:gd name="connsiteX1156" fmla="*/ 1719848 w 11346020"/>
              <a:gd name="connsiteY1156" fmla="*/ 4613084 h 4683863"/>
              <a:gd name="connsiteX1157" fmla="*/ 1898222 w 11346020"/>
              <a:gd name="connsiteY1157" fmla="*/ 4638545 h 4683863"/>
              <a:gd name="connsiteX1158" fmla="*/ 1930076 w 11346020"/>
              <a:gd name="connsiteY1158" fmla="*/ 4627406 h 4683863"/>
              <a:gd name="connsiteX1159" fmla="*/ 1961928 w 11346020"/>
              <a:gd name="connsiteY1159" fmla="*/ 4625813 h 4683863"/>
              <a:gd name="connsiteX1160" fmla="*/ 1936448 w 11346020"/>
              <a:gd name="connsiteY1160" fmla="*/ 4562172 h 4683863"/>
              <a:gd name="connsiteX1161" fmla="*/ 1939631 w 11346020"/>
              <a:gd name="connsiteY1161" fmla="*/ 4589218 h 4683863"/>
              <a:gd name="connsiteX1162" fmla="*/ 1939631 w 11346020"/>
              <a:gd name="connsiteY1162" fmla="*/ 4589222 h 4683863"/>
              <a:gd name="connsiteX1163" fmla="*/ 1923705 w 11346020"/>
              <a:gd name="connsiteY1163" fmla="*/ 4587629 h 4683863"/>
              <a:gd name="connsiteX1164" fmla="*/ 1770815 w 11346020"/>
              <a:gd name="connsiteY1164" fmla="*/ 4574901 h 4683863"/>
              <a:gd name="connsiteX1165" fmla="*/ 1745331 w 11346020"/>
              <a:gd name="connsiteY1165" fmla="*/ 4562172 h 4683863"/>
              <a:gd name="connsiteX1166" fmla="*/ 1729405 w 11346020"/>
              <a:gd name="connsiteY1166" fmla="*/ 4554217 h 4683863"/>
              <a:gd name="connsiteX1167" fmla="*/ 1732592 w 11346020"/>
              <a:gd name="connsiteY1167" fmla="*/ 4574897 h 4683863"/>
              <a:gd name="connsiteX1168" fmla="*/ 1732592 w 11346020"/>
              <a:gd name="connsiteY1168" fmla="*/ 4574901 h 4683863"/>
              <a:gd name="connsiteX1169" fmla="*/ 1732592 w 11346020"/>
              <a:gd name="connsiteY1169" fmla="*/ 4600356 h 4683863"/>
              <a:gd name="connsiteX1170" fmla="*/ 1732592 w 11346020"/>
              <a:gd name="connsiteY1170" fmla="*/ 4600360 h 4683863"/>
              <a:gd name="connsiteX1171" fmla="*/ 1579697 w 11346020"/>
              <a:gd name="connsiteY1171" fmla="*/ 4549441 h 4683863"/>
              <a:gd name="connsiteX1172" fmla="*/ 1522365 w 11346020"/>
              <a:gd name="connsiteY1172" fmla="*/ 4538302 h 4683863"/>
              <a:gd name="connsiteX1173" fmla="*/ 1465037 w 11346020"/>
              <a:gd name="connsiteY1173" fmla="*/ 4536713 h 4683863"/>
              <a:gd name="connsiteX1174" fmla="*/ 1514402 w 11346020"/>
              <a:gd name="connsiteY1174" fmla="*/ 4558985 h 4683863"/>
              <a:gd name="connsiteX1175" fmla="*/ 1524155 w 11346020"/>
              <a:gd name="connsiteY1175" fmla="*/ 4572508 h 4683863"/>
              <a:gd name="connsiteX1176" fmla="*/ 1524155 w 11346020"/>
              <a:gd name="connsiteY1176" fmla="*/ 4572512 h 4683863"/>
              <a:gd name="connsiteX1177" fmla="*/ 1477769 w 11346020"/>
              <a:gd name="connsiteY1177" fmla="*/ 4600360 h 4683863"/>
              <a:gd name="connsiteX1178" fmla="*/ 1477769 w 11346020"/>
              <a:gd name="connsiteY1178" fmla="*/ 4621044 h 4683863"/>
              <a:gd name="connsiteX1179" fmla="*/ 1477769 w 11346020"/>
              <a:gd name="connsiteY1179" fmla="*/ 4651272 h 4683863"/>
              <a:gd name="connsiteX1180" fmla="*/ 1477769 w 11346020"/>
              <a:gd name="connsiteY1180" fmla="*/ 4651276 h 4683863"/>
              <a:gd name="connsiteX1181" fmla="*/ 1452290 w 11346020"/>
              <a:gd name="connsiteY1181" fmla="*/ 4625817 h 4683863"/>
              <a:gd name="connsiteX1182" fmla="*/ 1401323 w 11346020"/>
              <a:gd name="connsiteY1182" fmla="*/ 4587629 h 4683863"/>
              <a:gd name="connsiteX1183" fmla="*/ 1375840 w 11346020"/>
              <a:gd name="connsiteY1183" fmla="*/ 4625817 h 4683863"/>
              <a:gd name="connsiteX1184" fmla="*/ 1337618 w 11346020"/>
              <a:gd name="connsiteY1184" fmla="*/ 4651276 h 4683863"/>
              <a:gd name="connsiteX1185" fmla="*/ 1070058 w 11346020"/>
              <a:gd name="connsiteY1185" fmla="*/ 4625817 h 4683863"/>
              <a:gd name="connsiteX1186" fmla="*/ 993613 w 11346020"/>
              <a:gd name="connsiteY1186" fmla="*/ 4613088 h 4683863"/>
              <a:gd name="connsiteX1187" fmla="*/ 891685 w 11346020"/>
              <a:gd name="connsiteY1187" fmla="*/ 4536713 h 4683863"/>
              <a:gd name="connsiteX1188" fmla="*/ 878941 w 11346020"/>
              <a:gd name="connsiteY1188" fmla="*/ 4333045 h 4683863"/>
              <a:gd name="connsiteX1189" fmla="*/ 878941 w 11346020"/>
              <a:gd name="connsiteY1189" fmla="*/ 4333041 h 4683863"/>
              <a:gd name="connsiteX1190" fmla="*/ 955386 w 11346020"/>
              <a:gd name="connsiteY1190" fmla="*/ 4231205 h 4683863"/>
              <a:gd name="connsiteX1191" fmla="*/ 1095538 w 11346020"/>
              <a:gd name="connsiteY1191" fmla="*/ 4205748 h 4683863"/>
              <a:gd name="connsiteX1192" fmla="*/ 1146504 w 11346020"/>
              <a:gd name="connsiteY1192" fmla="*/ 4205748 h 4683863"/>
              <a:gd name="connsiteX1193" fmla="*/ 1197466 w 11346020"/>
              <a:gd name="connsiteY1193" fmla="*/ 4205748 h 4683863"/>
              <a:gd name="connsiteX1194" fmla="*/ 1261172 w 11346020"/>
              <a:gd name="connsiteY1194" fmla="*/ 4269393 h 4683863"/>
              <a:gd name="connsiteX1195" fmla="*/ 1363101 w 11346020"/>
              <a:gd name="connsiteY1195" fmla="*/ 4180289 h 4683863"/>
              <a:gd name="connsiteX1196" fmla="*/ 1465029 w 11346020"/>
              <a:gd name="connsiteY1196" fmla="*/ 4154829 h 4683863"/>
              <a:gd name="connsiteX1197" fmla="*/ 1898222 w 11346020"/>
              <a:gd name="connsiteY1197" fmla="*/ 4103913 h 4683863"/>
              <a:gd name="connsiteX1198" fmla="*/ 2025634 w 11346020"/>
              <a:gd name="connsiteY1198" fmla="*/ 4091184 h 4683863"/>
              <a:gd name="connsiteX1199" fmla="*/ 2063856 w 11346020"/>
              <a:gd name="connsiteY1199" fmla="*/ 4116641 h 4683863"/>
              <a:gd name="connsiteX1200" fmla="*/ 2076595 w 11346020"/>
              <a:gd name="connsiteY1200" fmla="*/ 4142101 h 4683863"/>
              <a:gd name="connsiteX1201" fmla="*/ 2089340 w 11346020"/>
              <a:gd name="connsiteY1201" fmla="*/ 4116641 h 4683863"/>
              <a:gd name="connsiteX1202" fmla="*/ 2114824 w 11346020"/>
              <a:gd name="connsiteY1202" fmla="*/ 4078453 h 4683863"/>
              <a:gd name="connsiteX1203" fmla="*/ 2407865 w 11346020"/>
              <a:gd name="connsiteY1203" fmla="*/ 4052997 h 4683863"/>
              <a:gd name="connsiteX1204" fmla="*/ 2446088 w 11346020"/>
              <a:gd name="connsiteY1204" fmla="*/ 4052997 h 4683863"/>
              <a:gd name="connsiteX1205" fmla="*/ 2535277 w 11346020"/>
              <a:gd name="connsiteY1205" fmla="*/ 4091184 h 4683863"/>
              <a:gd name="connsiteX1206" fmla="*/ 2598978 w 11346020"/>
              <a:gd name="connsiteY1206" fmla="*/ 4142101 h 4683863"/>
              <a:gd name="connsiteX1207" fmla="*/ 2611721 w 11346020"/>
              <a:gd name="connsiteY1207" fmla="*/ 4040268 h 4683863"/>
              <a:gd name="connsiteX1208" fmla="*/ 2713650 w 11346020"/>
              <a:gd name="connsiteY1208" fmla="*/ 4052997 h 4683863"/>
              <a:gd name="connsiteX1209" fmla="*/ 2713650 w 11346020"/>
              <a:gd name="connsiteY1209" fmla="*/ 4053001 h 4683863"/>
              <a:gd name="connsiteX1210" fmla="*/ 2713650 w 11346020"/>
              <a:gd name="connsiteY1210" fmla="*/ 4078453 h 4683863"/>
              <a:gd name="connsiteX1211" fmla="*/ 2739130 w 11346020"/>
              <a:gd name="connsiteY1211" fmla="*/ 4052997 h 4683863"/>
              <a:gd name="connsiteX1212" fmla="*/ 2790096 w 11346020"/>
              <a:gd name="connsiteY1212" fmla="*/ 4027537 h 4683863"/>
              <a:gd name="connsiteX1213" fmla="*/ 2802834 w 11346020"/>
              <a:gd name="connsiteY1213" fmla="*/ 4065725 h 4683863"/>
              <a:gd name="connsiteX1214" fmla="*/ 2802834 w 11346020"/>
              <a:gd name="connsiteY1214" fmla="*/ 4065729 h 4683863"/>
              <a:gd name="connsiteX1215" fmla="*/ 2801242 w 11346020"/>
              <a:gd name="connsiteY1215" fmla="*/ 4100730 h 4683863"/>
              <a:gd name="connsiteX1216" fmla="*/ 2828318 w 11346020"/>
              <a:gd name="connsiteY1216" fmla="*/ 4116641 h 4683863"/>
              <a:gd name="connsiteX1217" fmla="*/ 2879281 w 11346020"/>
              <a:gd name="connsiteY1217" fmla="*/ 4078453 h 4683863"/>
              <a:gd name="connsiteX1218" fmla="*/ 2993953 w 11346020"/>
              <a:gd name="connsiteY1218" fmla="*/ 4002080 h 4683863"/>
              <a:gd name="connsiteX1219" fmla="*/ 3083138 w 11346020"/>
              <a:gd name="connsiteY1219" fmla="*/ 4014809 h 4683863"/>
              <a:gd name="connsiteX1220" fmla="*/ 3083138 w 11346020"/>
              <a:gd name="connsiteY1220" fmla="*/ 4014813 h 4683863"/>
              <a:gd name="connsiteX1221" fmla="*/ 3095877 w 11346020"/>
              <a:gd name="connsiteY1221" fmla="*/ 4014813 h 4683863"/>
              <a:gd name="connsiteX1222" fmla="*/ 3095881 w 11346020"/>
              <a:gd name="connsiteY1222" fmla="*/ 4014809 h 4683863"/>
              <a:gd name="connsiteX1223" fmla="*/ 3185067 w 11346020"/>
              <a:gd name="connsiteY1223" fmla="*/ 4002080 h 4683863"/>
              <a:gd name="connsiteX1224" fmla="*/ 3439886 w 11346020"/>
              <a:gd name="connsiteY1224" fmla="*/ 4002080 h 4683863"/>
              <a:gd name="connsiteX1225" fmla="*/ 3465369 w 11346020"/>
              <a:gd name="connsiteY1225" fmla="*/ 3989349 h 4683863"/>
              <a:gd name="connsiteX1226" fmla="*/ 3452629 w 11346020"/>
              <a:gd name="connsiteY1226" fmla="*/ 3938437 h 4683863"/>
              <a:gd name="connsiteX1227" fmla="*/ 3452629 w 11346020"/>
              <a:gd name="connsiteY1227" fmla="*/ 3938433 h 4683863"/>
              <a:gd name="connsiteX1228" fmla="*/ 3495629 w 11346020"/>
              <a:gd name="connsiteY1228" fmla="*/ 3928884 h 4683863"/>
              <a:gd name="connsiteX1229" fmla="*/ 3495629 w 11346020"/>
              <a:gd name="connsiteY1229" fmla="*/ 3928888 h 4683863"/>
              <a:gd name="connsiteX1230" fmla="*/ 3490851 w 11346020"/>
              <a:gd name="connsiteY1230" fmla="*/ 3976621 h 4683863"/>
              <a:gd name="connsiteX1231" fmla="*/ 3503591 w 11346020"/>
              <a:gd name="connsiteY1231" fmla="*/ 4040268 h 4683863"/>
              <a:gd name="connsiteX1232" fmla="*/ 3524294 w 11346020"/>
              <a:gd name="connsiteY1232" fmla="*/ 4010036 h 4683863"/>
              <a:gd name="connsiteX1233" fmla="*/ 3554554 w 11346020"/>
              <a:gd name="connsiteY1233" fmla="*/ 3989349 h 4683863"/>
              <a:gd name="connsiteX1234" fmla="*/ 3540220 w 11346020"/>
              <a:gd name="connsiteY1234" fmla="*/ 3963896 h 4683863"/>
              <a:gd name="connsiteX1235" fmla="*/ 3516331 w 11346020"/>
              <a:gd name="connsiteY1235" fmla="*/ 3938437 h 4683863"/>
              <a:gd name="connsiteX1236" fmla="*/ 3516334 w 11346020"/>
              <a:gd name="connsiteY1236" fmla="*/ 3938437 h 4683863"/>
              <a:gd name="connsiteX1237" fmla="*/ 3516331 w 11346020"/>
              <a:gd name="connsiteY1237" fmla="*/ 3938433 h 4683863"/>
              <a:gd name="connsiteX1238" fmla="*/ 3567298 w 11346020"/>
              <a:gd name="connsiteY1238" fmla="*/ 3925704 h 4683863"/>
              <a:gd name="connsiteX1239" fmla="*/ 3936784 w 11346020"/>
              <a:gd name="connsiteY1239" fmla="*/ 3951161 h 4683863"/>
              <a:gd name="connsiteX1240" fmla="*/ 3965454 w 11346020"/>
              <a:gd name="connsiteY1240" fmla="*/ 3928888 h 4683863"/>
              <a:gd name="connsiteX1241" fmla="*/ 3975011 w 11346020"/>
              <a:gd name="connsiteY1241" fmla="*/ 3887516 h 4683863"/>
              <a:gd name="connsiteX1242" fmla="*/ 3968638 w 11346020"/>
              <a:gd name="connsiteY1242" fmla="*/ 3876383 h 4683863"/>
              <a:gd name="connsiteX1243" fmla="*/ 3962268 w 11346020"/>
              <a:gd name="connsiteY1243" fmla="*/ 3874789 h 4683863"/>
              <a:gd name="connsiteX1244" fmla="*/ 3924044 w 11346020"/>
              <a:gd name="connsiteY1244" fmla="*/ 3925708 h 4683863"/>
              <a:gd name="connsiteX1245" fmla="*/ 3809377 w 11346020"/>
              <a:gd name="connsiteY1245" fmla="*/ 3862061 h 4683863"/>
              <a:gd name="connsiteX1246" fmla="*/ 3643743 w 11346020"/>
              <a:gd name="connsiteY1246" fmla="*/ 3912977 h 4683863"/>
              <a:gd name="connsiteX1247" fmla="*/ 3567298 w 11346020"/>
              <a:gd name="connsiteY1247" fmla="*/ 3849329 h 4683863"/>
              <a:gd name="connsiteX1248" fmla="*/ 3503591 w 11346020"/>
              <a:gd name="connsiteY1248" fmla="*/ 3900249 h 4683863"/>
              <a:gd name="connsiteX1249" fmla="*/ 3261512 w 11346020"/>
              <a:gd name="connsiteY1249" fmla="*/ 3887516 h 4683863"/>
              <a:gd name="connsiteX1250" fmla="*/ 3197806 w 11346020"/>
              <a:gd name="connsiteY1250" fmla="*/ 3874789 h 4683863"/>
              <a:gd name="connsiteX1251" fmla="*/ 3108621 w 11346020"/>
              <a:gd name="connsiteY1251" fmla="*/ 3874789 h 4683863"/>
              <a:gd name="connsiteX1252" fmla="*/ 3070397 w 11346020"/>
              <a:gd name="connsiteY1252" fmla="*/ 3887516 h 4683863"/>
              <a:gd name="connsiteX1253" fmla="*/ 3019432 w 11346020"/>
              <a:gd name="connsiteY1253" fmla="*/ 3873199 h 4683863"/>
              <a:gd name="connsiteX1254" fmla="*/ 3002313 w 11346020"/>
              <a:gd name="connsiteY1254" fmla="*/ 3882146 h 4683863"/>
              <a:gd name="connsiteX1255" fmla="*/ 3006692 w 11346020"/>
              <a:gd name="connsiteY1255" fmla="*/ 3925704 h 4683863"/>
              <a:gd name="connsiteX1256" fmla="*/ 3006692 w 11346020"/>
              <a:gd name="connsiteY1256" fmla="*/ 3925708 h 4683863"/>
              <a:gd name="connsiteX1257" fmla="*/ 2981210 w 11346020"/>
              <a:gd name="connsiteY1257" fmla="*/ 3925708 h 4683863"/>
              <a:gd name="connsiteX1258" fmla="*/ 2968469 w 11346020"/>
              <a:gd name="connsiteY1258" fmla="*/ 3912977 h 4683863"/>
              <a:gd name="connsiteX1259" fmla="*/ 2930247 w 11346020"/>
              <a:gd name="connsiteY1259" fmla="*/ 3874789 h 4683863"/>
              <a:gd name="connsiteX1260" fmla="*/ 2509793 w 11346020"/>
              <a:gd name="connsiteY1260" fmla="*/ 3887516 h 4683863"/>
              <a:gd name="connsiteX1261" fmla="*/ 2356899 w 11346020"/>
              <a:gd name="connsiteY1261" fmla="*/ 3900249 h 4683863"/>
              <a:gd name="connsiteX1262" fmla="*/ 1872743 w 11346020"/>
              <a:gd name="connsiteY1262" fmla="*/ 3938437 h 4683863"/>
              <a:gd name="connsiteX1263" fmla="*/ 1490513 w 11346020"/>
              <a:gd name="connsiteY1263" fmla="*/ 3976625 h 4683863"/>
              <a:gd name="connsiteX1264" fmla="*/ 1363101 w 11346020"/>
              <a:gd name="connsiteY1264" fmla="*/ 4002084 h 4683863"/>
              <a:gd name="connsiteX1265" fmla="*/ 1261172 w 11346020"/>
              <a:gd name="connsiteY1265" fmla="*/ 3912977 h 4683863"/>
              <a:gd name="connsiteX1266" fmla="*/ 1261172 w 11346020"/>
              <a:gd name="connsiteY1266" fmla="*/ 3912973 h 4683863"/>
              <a:gd name="connsiteX1267" fmla="*/ 1261172 w 11346020"/>
              <a:gd name="connsiteY1267" fmla="*/ 3747497 h 4683863"/>
              <a:gd name="connsiteX1268" fmla="*/ 1261172 w 11346020"/>
              <a:gd name="connsiteY1268" fmla="*/ 3747493 h 4683863"/>
              <a:gd name="connsiteX1269" fmla="*/ 1298799 w 11346020"/>
              <a:gd name="connsiteY1269" fmla="*/ 3670521 h 4683863"/>
              <a:gd name="connsiteX1270" fmla="*/ 1299557 w 11346020"/>
              <a:gd name="connsiteY1270" fmla="*/ 3670532 h 4683863"/>
              <a:gd name="connsiteX1271" fmla="*/ 1300463 w 11346020"/>
              <a:gd name="connsiteY1271" fmla="*/ 3668136 h 4683863"/>
              <a:gd name="connsiteX1272" fmla="*/ 1300463 w 11346020"/>
              <a:gd name="connsiteY1272" fmla="*/ 3668132 h 4683863"/>
              <a:gd name="connsiteX1273" fmla="*/ 1327536 w 11346020"/>
              <a:gd name="connsiteY1273" fmla="*/ 3653810 h 4683863"/>
              <a:gd name="connsiteX1274" fmla="*/ 1327536 w 11346020"/>
              <a:gd name="connsiteY1274" fmla="*/ 3628358 h 4683863"/>
              <a:gd name="connsiteX1275" fmla="*/ 1314797 w 11346020"/>
              <a:gd name="connsiteY1275" fmla="*/ 3577439 h 4683863"/>
              <a:gd name="connsiteX1276" fmla="*/ 1276574 w 11346020"/>
              <a:gd name="connsiteY1276" fmla="*/ 3602898 h 4683863"/>
              <a:gd name="connsiteX1277" fmla="*/ 1174646 w 11346020"/>
              <a:gd name="connsiteY1277" fmla="*/ 3628358 h 4683863"/>
              <a:gd name="connsiteX1278" fmla="*/ 1123679 w 11346020"/>
              <a:gd name="connsiteY1278" fmla="*/ 3653814 h 4683863"/>
              <a:gd name="connsiteX1279" fmla="*/ 1047234 w 11346020"/>
              <a:gd name="connsiteY1279" fmla="*/ 3692002 h 4683863"/>
              <a:gd name="connsiteX1280" fmla="*/ 677746 w 11346020"/>
              <a:gd name="connsiteY1280" fmla="*/ 3692002 h 4683863"/>
              <a:gd name="connsiteX1281" fmla="*/ 652264 w 11346020"/>
              <a:gd name="connsiteY1281" fmla="*/ 3679274 h 4683863"/>
              <a:gd name="connsiteX1282" fmla="*/ 652268 w 11346020"/>
              <a:gd name="connsiteY1282" fmla="*/ 3679270 h 4683863"/>
              <a:gd name="connsiteX1283" fmla="*/ 652264 w 11346020"/>
              <a:gd name="connsiteY1283" fmla="*/ 3679270 h 4683863"/>
              <a:gd name="connsiteX1284" fmla="*/ 690486 w 11346020"/>
              <a:gd name="connsiteY1284" fmla="*/ 3641082 h 4683863"/>
              <a:gd name="connsiteX1285" fmla="*/ 843377 w 11346020"/>
              <a:gd name="connsiteY1285" fmla="*/ 3641082 h 4683863"/>
              <a:gd name="connsiteX1286" fmla="*/ 1021751 w 11346020"/>
              <a:gd name="connsiteY1286" fmla="*/ 3666543 h 4683863"/>
              <a:gd name="connsiteX1287" fmla="*/ 1053604 w 11346020"/>
              <a:gd name="connsiteY1287" fmla="*/ 3655404 h 4683863"/>
              <a:gd name="connsiteX1288" fmla="*/ 1085456 w 11346020"/>
              <a:gd name="connsiteY1288" fmla="*/ 3653810 h 4683863"/>
              <a:gd name="connsiteX1289" fmla="*/ 1059977 w 11346020"/>
              <a:gd name="connsiteY1289" fmla="*/ 3590170 h 4683863"/>
              <a:gd name="connsiteX1290" fmla="*/ 1063160 w 11346020"/>
              <a:gd name="connsiteY1290" fmla="*/ 3617216 h 4683863"/>
              <a:gd name="connsiteX1291" fmla="*/ 1063160 w 11346020"/>
              <a:gd name="connsiteY1291" fmla="*/ 3617220 h 4683863"/>
              <a:gd name="connsiteX1292" fmla="*/ 1047234 w 11346020"/>
              <a:gd name="connsiteY1292" fmla="*/ 3615627 h 4683863"/>
              <a:gd name="connsiteX1293" fmla="*/ 894343 w 11346020"/>
              <a:gd name="connsiteY1293" fmla="*/ 3602898 h 4683863"/>
              <a:gd name="connsiteX1294" fmla="*/ 868860 w 11346020"/>
              <a:gd name="connsiteY1294" fmla="*/ 3590170 h 4683863"/>
              <a:gd name="connsiteX1295" fmla="*/ 852934 w 11346020"/>
              <a:gd name="connsiteY1295" fmla="*/ 3582215 h 4683863"/>
              <a:gd name="connsiteX1296" fmla="*/ 856121 w 11346020"/>
              <a:gd name="connsiteY1296" fmla="*/ 3602894 h 4683863"/>
              <a:gd name="connsiteX1297" fmla="*/ 856121 w 11346020"/>
              <a:gd name="connsiteY1297" fmla="*/ 3602898 h 4683863"/>
              <a:gd name="connsiteX1298" fmla="*/ 856121 w 11346020"/>
              <a:gd name="connsiteY1298" fmla="*/ 3628354 h 4683863"/>
              <a:gd name="connsiteX1299" fmla="*/ 856121 w 11346020"/>
              <a:gd name="connsiteY1299" fmla="*/ 3628358 h 4683863"/>
              <a:gd name="connsiteX1300" fmla="*/ 703225 w 11346020"/>
              <a:gd name="connsiteY1300" fmla="*/ 3577439 h 4683863"/>
              <a:gd name="connsiteX1301" fmla="*/ 645894 w 11346020"/>
              <a:gd name="connsiteY1301" fmla="*/ 3566300 h 4683863"/>
              <a:gd name="connsiteX1302" fmla="*/ 588565 w 11346020"/>
              <a:gd name="connsiteY1302" fmla="*/ 3564710 h 4683863"/>
              <a:gd name="connsiteX1303" fmla="*/ 637930 w 11346020"/>
              <a:gd name="connsiteY1303" fmla="*/ 3586983 h 4683863"/>
              <a:gd name="connsiteX1304" fmla="*/ 647683 w 11346020"/>
              <a:gd name="connsiteY1304" fmla="*/ 3600506 h 4683863"/>
              <a:gd name="connsiteX1305" fmla="*/ 647683 w 11346020"/>
              <a:gd name="connsiteY1305" fmla="*/ 3600510 h 4683863"/>
              <a:gd name="connsiteX1306" fmla="*/ 601297 w 11346020"/>
              <a:gd name="connsiteY1306" fmla="*/ 3628358 h 4683863"/>
              <a:gd name="connsiteX1307" fmla="*/ 601297 w 11346020"/>
              <a:gd name="connsiteY1307" fmla="*/ 3649041 h 4683863"/>
              <a:gd name="connsiteX1308" fmla="*/ 601297 w 11346020"/>
              <a:gd name="connsiteY1308" fmla="*/ 3679270 h 4683863"/>
              <a:gd name="connsiteX1309" fmla="*/ 601297 w 11346020"/>
              <a:gd name="connsiteY1309" fmla="*/ 3679274 h 4683863"/>
              <a:gd name="connsiteX1310" fmla="*/ 575818 w 11346020"/>
              <a:gd name="connsiteY1310" fmla="*/ 3653814 h 4683863"/>
              <a:gd name="connsiteX1311" fmla="*/ 524852 w 11346020"/>
              <a:gd name="connsiteY1311" fmla="*/ 3615627 h 4683863"/>
              <a:gd name="connsiteX1312" fmla="*/ 499369 w 11346020"/>
              <a:gd name="connsiteY1312" fmla="*/ 3653814 h 4683863"/>
              <a:gd name="connsiteX1313" fmla="*/ 461146 w 11346020"/>
              <a:gd name="connsiteY1313" fmla="*/ 3679274 h 4683863"/>
              <a:gd name="connsiteX1314" fmla="*/ 193587 w 11346020"/>
              <a:gd name="connsiteY1314" fmla="*/ 3653814 h 4683863"/>
              <a:gd name="connsiteX1315" fmla="*/ 117142 w 11346020"/>
              <a:gd name="connsiteY1315" fmla="*/ 3641086 h 4683863"/>
              <a:gd name="connsiteX1316" fmla="*/ 15213 w 11346020"/>
              <a:gd name="connsiteY1316" fmla="*/ 3564710 h 4683863"/>
              <a:gd name="connsiteX1317" fmla="*/ 2470 w 11346020"/>
              <a:gd name="connsiteY1317" fmla="*/ 3361042 h 4683863"/>
              <a:gd name="connsiteX1318" fmla="*/ 2470 w 11346020"/>
              <a:gd name="connsiteY1318" fmla="*/ 3361038 h 4683863"/>
              <a:gd name="connsiteX1319" fmla="*/ 78915 w 11346020"/>
              <a:gd name="connsiteY1319" fmla="*/ 3259203 h 4683863"/>
              <a:gd name="connsiteX1320" fmla="*/ 219066 w 11346020"/>
              <a:gd name="connsiteY1320" fmla="*/ 3233746 h 4683863"/>
              <a:gd name="connsiteX1321" fmla="*/ 270032 w 11346020"/>
              <a:gd name="connsiteY1321" fmla="*/ 3233746 h 4683863"/>
              <a:gd name="connsiteX1322" fmla="*/ 320995 w 11346020"/>
              <a:gd name="connsiteY1322" fmla="*/ 3233746 h 4683863"/>
              <a:gd name="connsiteX1323" fmla="*/ 384701 w 11346020"/>
              <a:gd name="connsiteY1323" fmla="*/ 3297391 h 4683863"/>
              <a:gd name="connsiteX1324" fmla="*/ 486629 w 11346020"/>
              <a:gd name="connsiteY1324" fmla="*/ 3208287 h 4683863"/>
              <a:gd name="connsiteX1325" fmla="*/ 588558 w 11346020"/>
              <a:gd name="connsiteY1325" fmla="*/ 3182827 h 4683863"/>
              <a:gd name="connsiteX1326" fmla="*/ 1021751 w 11346020"/>
              <a:gd name="connsiteY1326" fmla="*/ 3131911 h 4683863"/>
              <a:gd name="connsiteX1327" fmla="*/ 1149162 w 11346020"/>
              <a:gd name="connsiteY1327" fmla="*/ 3119182 h 4683863"/>
              <a:gd name="connsiteX1328" fmla="*/ 1187385 w 11346020"/>
              <a:gd name="connsiteY1328" fmla="*/ 3144639 h 4683863"/>
              <a:gd name="connsiteX1329" fmla="*/ 1200125 w 11346020"/>
              <a:gd name="connsiteY1329" fmla="*/ 3170099 h 4683863"/>
              <a:gd name="connsiteX1330" fmla="*/ 1212868 w 11346020"/>
              <a:gd name="connsiteY1330" fmla="*/ 3144639 h 4683863"/>
              <a:gd name="connsiteX1331" fmla="*/ 1238352 w 11346020"/>
              <a:gd name="connsiteY1331" fmla="*/ 3106451 h 4683863"/>
              <a:gd name="connsiteX1332" fmla="*/ 1531393 w 11346020"/>
              <a:gd name="connsiteY1332" fmla="*/ 3080994 h 4683863"/>
              <a:gd name="connsiteX1333" fmla="*/ 1569616 w 11346020"/>
              <a:gd name="connsiteY1333" fmla="*/ 3080994 h 4683863"/>
              <a:gd name="connsiteX1334" fmla="*/ 1658805 w 11346020"/>
              <a:gd name="connsiteY1334" fmla="*/ 3119182 h 4683863"/>
              <a:gd name="connsiteX1335" fmla="*/ 1665095 w 11346020"/>
              <a:gd name="connsiteY1335" fmla="*/ 3128324 h 4683863"/>
              <a:gd name="connsiteX1336" fmla="*/ 1716041 w 11346020"/>
              <a:gd name="connsiteY1336" fmla="*/ 3124877 h 4683863"/>
              <a:gd name="connsiteX1337" fmla="*/ 1714546 w 11346020"/>
              <a:gd name="connsiteY1337" fmla="*/ 3114408 h 4683863"/>
              <a:gd name="connsiteX1338" fmla="*/ 1735250 w 11346020"/>
              <a:gd name="connsiteY1338" fmla="*/ 3068266 h 4683863"/>
              <a:gd name="connsiteX1339" fmla="*/ 1837179 w 11346020"/>
              <a:gd name="connsiteY1339" fmla="*/ 3080994 h 4683863"/>
              <a:gd name="connsiteX1340" fmla="*/ 1837179 w 11346020"/>
              <a:gd name="connsiteY1340" fmla="*/ 3080998 h 4683863"/>
              <a:gd name="connsiteX1341" fmla="*/ 1837179 w 11346020"/>
              <a:gd name="connsiteY1341" fmla="*/ 3106451 h 4683863"/>
              <a:gd name="connsiteX1342" fmla="*/ 1862658 w 11346020"/>
              <a:gd name="connsiteY1342" fmla="*/ 3080994 h 4683863"/>
              <a:gd name="connsiteX1343" fmla="*/ 1913624 w 11346020"/>
              <a:gd name="connsiteY1343" fmla="*/ 3055535 h 4683863"/>
              <a:gd name="connsiteX1344" fmla="*/ 1926363 w 11346020"/>
              <a:gd name="connsiteY1344" fmla="*/ 3093723 h 4683863"/>
              <a:gd name="connsiteX1345" fmla="*/ 1926363 w 11346020"/>
              <a:gd name="connsiteY1345" fmla="*/ 3093727 h 4683863"/>
              <a:gd name="connsiteX1346" fmla="*/ 1925974 w 11346020"/>
              <a:gd name="connsiteY1346" fmla="*/ 3102297 h 4683863"/>
              <a:gd name="connsiteX1347" fmla="*/ 2009812 w 11346020"/>
              <a:gd name="connsiteY1347" fmla="*/ 3090595 h 4683863"/>
              <a:gd name="connsiteX1348" fmla="*/ 2020728 w 11346020"/>
              <a:gd name="connsiteY1348" fmla="*/ 3065877 h 4683863"/>
              <a:gd name="connsiteX1349" fmla="*/ 2117482 w 11346020"/>
              <a:gd name="connsiteY1349" fmla="*/ 3030078 h 4683863"/>
              <a:gd name="connsiteX1350" fmla="*/ 2206666 w 11346020"/>
              <a:gd name="connsiteY1350" fmla="*/ 3042806 h 4683863"/>
              <a:gd name="connsiteX1351" fmla="*/ 2206666 w 11346020"/>
              <a:gd name="connsiteY1351" fmla="*/ 3042810 h 4683863"/>
              <a:gd name="connsiteX1352" fmla="*/ 2219406 w 11346020"/>
              <a:gd name="connsiteY1352" fmla="*/ 3042810 h 4683863"/>
              <a:gd name="connsiteX1353" fmla="*/ 2219410 w 11346020"/>
              <a:gd name="connsiteY1353" fmla="*/ 3042806 h 4683863"/>
              <a:gd name="connsiteX1354" fmla="*/ 2308595 w 11346020"/>
              <a:gd name="connsiteY1354" fmla="*/ 3030078 h 4683863"/>
              <a:gd name="connsiteX1355" fmla="*/ 2498515 w 11346020"/>
              <a:gd name="connsiteY1355" fmla="*/ 3017547 h 4683863"/>
              <a:gd name="connsiteX1356" fmla="*/ 2554287 w 11346020"/>
              <a:gd name="connsiteY1356" fmla="*/ 3028316 h 4683863"/>
              <a:gd name="connsiteX1357" fmla="*/ 2572475 w 11346020"/>
              <a:gd name="connsiteY1357" fmla="*/ 3025551 h 4683863"/>
              <a:gd name="connsiteX1358" fmla="*/ 2588897 w 11346020"/>
              <a:gd name="connsiteY1358" fmla="*/ 3017347 h 4683863"/>
              <a:gd name="connsiteX1359" fmla="*/ 2576157 w 11346020"/>
              <a:gd name="connsiteY1359" fmla="*/ 2966435 h 4683863"/>
              <a:gd name="connsiteX1360" fmla="*/ 2576157 w 11346020"/>
              <a:gd name="connsiteY1360" fmla="*/ 2966431 h 4683863"/>
              <a:gd name="connsiteX1361" fmla="*/ 2619157 w 11346020"/>
              <a:gd name="connsiteY1361" fmla="*/ 2956882 h 4683863"/>
              <a:gd name="connsiteX1362" fmla="*/ 2619157 w 11346020"/>
              <a:gd name="connsiteY1362" fmla="*/ 2956886 h 4683863"/>
              <a:gd name="connsiteX1363" fmla="*/ 2614380 w 11346020"/>
              <a:gd name="connsiteY1363" fmla="*/ 3004618 h 4683863"/>
              <a:gd name="connsiteX1364" fmla="*/ 2617209 w 11346020"/>
              <a:gd name="connsiteY1364" fmla="*/ 3018751 h 4683863"/>
              <a:gd name="connsiteX1365" fmla="*/ 2652429 w 11346020"/>
              <a:gd name="connsiteY1365" fmla="*/ 3013396 h 4683863"/>
              <a:gd name="connsiteX1366" fmla="*/ 2674748 w 11346020"/>
              <a:gd name="connsiteY1366" fmla="*/ 3011426 h 4683863"/>
              <a:gd name="connsiteX1367" fmla="*/ 2663749 w 11346020"/>
              <a:gd name="connsiteY1367" fmla="*/ 2991894 h 4683863"/>
              <a:gd name="connsiteX1368" fmla="*/ 2639859 w 11346020"/>
              <a:gd name="connsiteY1368" fmla="*/ 2966435 h 4683863"/>
              <a:gd name="connsiteX1369" fmla="*/ 2639864 w 11346020"/>
              <a:gd name="connsiteY1369" fmla="*/ 2966435 h 4683863"/>
              <a:gd name="connsiteX1370" fmla="*/ 2639859 w 11346020"/>
              <a:gd name="connsiteY1370" fmla="*/ 2966431 h 4683863"/>
              <a:gd name="connsiteX1371" fmla="*/ 2690826 w 11346020"/>
              <a:gd name="connsiteY1371" fmla="*/ 2953702 h 4683863"/>
              <a:gd name="connsiteX1372" fmla="*/ 2964955 w 11346020"/>
              <a:gd name="connsiteY1372" fmla="*/ 2975181 h 4683863"/>
              <a:gd name="connsiteX1373" fmla="*/ 2970772 w 11346020"/>
              <a:gd name="connsiteY1373" fmla="*/ 2975424 h 4683863"/>
              <a:gd name="connsiteX1374" fmla="*/ 2971655 w 11346020"/>
              <a:gd name="connsiteY1374" fmla="*/ 2974189 h 4683863"/>
              <a:gd name="connsiteX1375" fmla="*/ 3006692 w 11346020"/>
              <a:gd name="connsiteY1375" fmla="*/ 2971005 h 4683863"/>
              <a:gd name="connsiteX1376" fmla="*/ 3016013 w 11346020"/>
              <a:gd name="connsiteY1376" fmla="*/ 2977311 h 4683863"/>
              <a:gd name="connsiteX1377" fmla="*/ 3060313 w 11346020"/>
              <a:gd name="connsiteY1377" fmla="*/ 2979159 h 4683863"/>
              <a:gd name="connsiteX1378" fmla="*/ 3088983 w 11346020"/>
              <a:gd name="connsiteY1378" fmla="*/ 2956886 h 4683863"/>
              <a:gd name="connsiteX1379" fmla="*/ 3098540 w 11346020"/>
              <a:gd name="connsiteY1379" fmla="*/ 2915514 h 4683863"/>
              <a:gd name="connsiteX1380" fmla="*/ 3098181 w 11346020"/>
              <a:gd name="connsiteY1380" fmla="*/ 2914886 h 4683863"/>
              <a:gd name="connsiteX1381" fmla="*/ 3050389 w 11346020"/>
              <a:gd name="connsiteY1381" fmla="*/ 2916023 h 4683863"/>
              <a:gd name="connsiteX1382" fmla="*/ 3041003 w 11346020"/>
              <a:gd name="connsiteY1382" fmla="*/ 2926058 h 4683863"/>
              <a:gd name="connsiteX1383" fmla="*/ 3047573 w 11346020"/>
              <a:gd name="connsiteY1383" fmla="*/ 2953706 h 4683863"/>
              <a:gd name="connsiteX1384" fmla="*/ 2954407 w 11346020"/>
              <a:gd name="connsiteY1384" fmla="*/ 2919694 h 4683863"/>
              <a:gd name="connsiteX1385" fmla="*/ 2953417 w 11346020"/>
              <a:gd name="connsiteY1385" fmla="*/ 2918329 h 4683863"/>
              <a:gd name="connsiteX1386" fmla="*/ 2879281 w 11346020"/>
              <a:gd name="connsiteY1386" fmla="*/ 2920093 h 4683863"/>
              <a:gd name="connsiteX1387" fmla="*/ 2786956 w 11346020"/>
              <a:gd name="connsiteY1387" fmla="*/ 2923936 h 4683863"/>
              <a:gd name="connsiteX1388" fmla="*/ 2767271 w 11346020"/>
              <a:gd name="connsiteY1388" fmla="*/ 2940975 h 4683863"/>
              <a:gd name="connsiteX1389" fmla="*/ 2746368 w 11346020"/>
              <a:gd name="connsiteY1389" fmla="*/ 2925660 h 4683863"/>
              <a:gd name="connsiteX1390" fmla="*/ 2746348 w 11346020"/>
              <a:gd name="connsiteY1390" fmla="*/ 2925626 h 4683863"/>
              <a:gd name="connsiteX1391" fmla="*/ 2726390 w 11346020"/>
              <a:gd name="connsiteY1391" fmla="*/ 2926457 h 4683863"/>
              <a:gd name="connsiteX1392" fmla="*/ 2703020 w 11346020"/>
              <a:gd name="connsiteY1392" fmla="*/ 2927430 h 4683863"/>
              <a:gd name="connsiteX1393" fmla="*/ 2703020 w 11346020"/>
              <a:gd name="connsiteY1393" fmla="*/ 2927838 h 4683863"/>
              <a:gd name="connsiteX1394" fmla="*/ 2703020 w 11346020"/>
              <a:gd name="connsiteY1394" fmla="*/ 2927842 h 4683863"/>
              <a:gd name="connsiteX1395" fmla="*/ 2701610 w 11346020"/>
              <a:gd name="connsiteY1395" fmla="*/ 2927488 h 4683863"/>
              <a:gd name="connsiteX1396" fmla="*/ 2573499 w 11346020"/>
              <a:gd name="connsiteY1396" fmla="*/ 2932821 h 4683863"/>
              <a:gd name="connsiteX1397" fmla="*/ 2076595 w 11346020"/>
              <a:gd name="connsiteY1397" fmla="*/ 2971009 h 4683863"/>
              <a:gd name="connsiteX1398" fmla="*/ 1976263 w 11346020"/>
              <a:gd name="connsiteY1398" fmla="*/ 2935210 h 4683863"/>
              <a:gd name="connsiteX1399" fmla="*/ 1970857 w 11346020"/>
              <a:gd name="connsiteY1399" fmla="*/ 2919908 h 4683863"/>
              <a:gd name="connsiteX1400" fmla="*/ 1881599 w 11346020"/>
              <a:gd name="connsiteY1400" fmla="*/ 2933843 h 4683863"/>
              <a:gd name="connsiteX1401" fmla="*/ 1754187 w 11346020"/>
              <a:gd name="connsiteY1401" fmla="*/ 2959302 h 4683863"/>
              <a:gd name="connsiteX1402" fmla="*/ 1688891 w 11346020"/>
              <a:gd name="connsiteY1402" fmla="*/ 2933842 h 4683863"/>
              <a:gd name="connsiteX1403" fmla="*/ 1671129 w 11346020"/>
              <a:gd name="connsiteY1403" fmla="*/ 2914370 h 4683863"/>
              <a:gd name="connsiteX1404" fmla="*/ 1633322 w 11346020"/>
              <a:gd name="connsiteY1404" fmla="*/ 2915514 h 4683863"/>
              <a:gd name="connsiteX1405" fmla="*/ 1480428 w 11346020"/>
              <a:gd name="connsiteY1405" fmla="*/ 2928247 h 4683863"/>
              <a:gd name="connsiteX1406" fmla="*/ 996271 w 11346020"/>
              <a:gd name="connsiteY1406" fmla="*/ 2966435 h 4683863"/>
              <a:gd name="connsiteX1407" fmla="*/ 614040 w 11346020"/>
              <a:gd name="connsiteY1407" fmla="*/ 3004623 h 4683863"/>
              <a:gd name="connsiteX1408" fmla="*/ 486629 w 11346020"/>
              <a:gd name="connsiteY1408" fmla="*/ 3030082 h 4683863"/>
              <a:gd name="connsiteX1409" fmla="*/ 384701 w 11346020"/>
              <a:gd name="connsiteY1409" fmla="*/ 2940975 h 4683863"/>
              <a:gd name="connsiteX1410" fmla="*/ 384701 w 11346020"/>
              <a:gd name="connsiteY1410" fmla="*/ 2940971 h 4683863"/>
              <a:gd name="connsiteX1411" fmla="*/ 384701 w 11346020"/>
              <a:gd name="connsiteY1411" fmla="*/ 2775495 h 4683863"/>
              <a:gd name="connsiteX1412" fmla="*/ 384701 w 11346020"/>
              <a:gd name="connsiteY1412" fmla="*/ 2775491 h 4683863"/>
              <a:gd name="connsiteX1413" fmla="*/ 461146 w 11346020"/>
              <a:gd name="connsiteY1413" fmla="*/ 2699115 h 4683863"/>
              <a:gd name="connsiteX1414" fmla="*/ 512112 w 11346020"/>
              <a:gd name="connsiteY1414" fmla="*/ 2699115 h 4683863"/>
              <a:gd name="connsiteX1415" fmla="*/ 551928 w 11346020"/>
              <a:gd name="connsiteY1415" fmla="*/ 2683204 h 4683863"/>
              <a:gd name="connsiteX1416" fmla="*/ 563074 w 11346020"/>
              <a:gd name="connsiteY1416" fmla="*/ 2648199 h 4683863"/>
              <a:gd name="connsiteX1417" fmla="*/ 512112 w 11346020"/>
              <a:gd name="connsiteY1417" fmla="*/ 2482723 h 4683863"/>
              <a:gd name="connsiteX1418" fmla="*/ 486629 w 11346020"/>
              <a:gd name="connsiteY1418" fmla="*/ 2342699 h 4683863"/>
              <a:gd name="connsiteX1419" fmla="*/ 486629 w 11346020"/>
              <a:gd name="connsiteY1419" fmla="*/ 2342695 h 4683863"/>
              <a:gd name="connsiteX1420" fmla="*/ 499369 w 11346020"/>
              <a:gd name="connsiteY1420" fmla="*/ 2202675 h 4683863"/>
              <a:gd name="connsiteX1421" fmla="*/ 550335 w 11346020"/>
              <a:gd name="connsiteY1421" fmla="*/ 2177215 h 4683863"/>
              <a:gd name="connsiteX1422" fmla="*/ 1161902 w 11346020"/>
              <a:gd name="connsiteY1422" fmla="*/ 2126299 h 4683863"/>
              <a:gd name="connsiteX1423" fmla="*/ 1659997 w 11346020"/>
              <a:gd name="connsiteY1423" fmla="*/ 2061855 h 4683863"/>
              <a:gd name="connsiteX1424" fmla="*/ 1691668 w 11346020"/>
              <a:gd name="connsiteY1424" fmla="*/ 2057104 h 4683863"/>
              <a:gd name="connsiteX1425" fmla="*/ 1659396 w 11346020"/>
              <a:gd name="connsiteY1425" fmla="*/ 2047737 h 4683863"/>
              <a:gd name="connsiteX1426" fmla="*/ 1593101 w 11346020"/>
              <a:gd name="connsiteY1426" fmla="*/ 1968973 h 4683863"/>
              <a:gd name="connsiteX1427" fmla="*/ 1593101 w 11346020"/>
              <a:gd name="connsiteY1427" fmla="*/ 1968969 h 4683863"/>
              <a:gd name="connsiteX1428" fmla="*/ 1593101 w 11346020"/>
              <a:gd name="connsiteY1428" fmla="*/ 1964812 h 4683863"/>
              <a:gd name="connsiteX1429" fmla="*/ 1448576 w 11346020"/>
              <a:gd name="connsiteY1429" fmla="*/ 1970367 h 4683863"/>
              <a:gd name="connsiteX1430" fmla="*/ 1200125 w 11346020"/>
              <a:gd name="connsiteY1430" fmla="*/ 1999007 h 4683863"/>
              <a:gd name="connsiteX1431" fmla="*/ 1085456 w 11346020"/>
              <a:gd name="connsiteY1431" fmla="*/ 1922635 h 4683863"/>
              <a:gd name="connsiteX1432" fmla="*/ 1072717 w 11346020"/>
              <a:gd name="connsiteY1432" fmla="*/ 1884447 h 4683863"/>
              <a:gd name="connsiteX1433" fmla="*/ 1063557 w 11346020"/>
              <a:gd name="connsiteY1433" fmla="*/ 1813840 h 4683863"/>
              <a:gd name="connsiteX1434" fmla="*/ 1063557 w 11346020"/>
              <a:gd name="connsiteY1434" fmla="*/ 1813836 h 4683863"/>
              <a:gd name="connsiteX1435" fmla="*/ 1174646 w 11346020"/>
              <a:gd name="connsiteY1435" fmla="*/ 1718960 h 4683863"/>
              <a:gd name="connsiteX1436" fmla="*/ 1454948 w 11346020"/>
              <a:gd name="connsiteY1436" fmla="*/ 1693503 h 4683863"/>
              <a:gd name="connsiteX1437" fmla="*/ 1671544 w 11346020"/>
              <a:gd name="connsiteY1437" fmla="*/ 1655315 h 4683863"/>
              <a:gd name="connsiteX1438" fmla="*/ 1762629 w 11346020"/>
              <a:gd name="connsiteY1438" fmla="*/ 1647471 h 4683863"/>
              <a:gd name="connsiteX1439" fmla="*/ 1720513 w 11346020"/>
              <a:gd name="connsiteY1439" fmla="*/ 1510721 h 4683863"/>
              <a:gd name="connsiteX1440" fmla="*/ 1695029 w 11346020"/>
              <a:gd name="connsiteY1440" fmla="*/ 1370697 h 4683863"/>
              <a:gd name="connsiteX1441" fmla="*/ 1695029 w 11346020"/>
              <a:gd name="connsiteY1441" fmla="*/ 1370693 h 4683863"/>
              <a:gd name="connsiteX1442" fmla="*/ 1707769 w 11346020"/>
              <a:gd name="connsiteY1442" fmla="*/ 1230673 h 4683863"/>
              <a:gd name="connsiteX1443" fmla="*/ 1758735 w 11346020"/>
              <a:gd name="connsiteY1443" fmla="*/ 1205213 h 4683863"/>
              <a:gd name="connsiteX1444" fmla="*/ 2370303 w 11346020"/>
              <a:gd name="connsiteY1444" fmla="*/ 1154298 h 4683863"/>
              <a:gd name="connsiteX1445" fmla="*/ 3032835 w 11346020"/>
              <a:gd name="connsiteY1445" fmla="*/ 1065190 h 4683863"/>
              <a:gd name="connsiteX1446" fmla="*/ 3185732 w 11346020"/>
              <a:gd name="connsiteY1446" fmla="*/ 1039734 h 4683863"/>
              <a:gd name="connsiteX1447" fmla="*/ 3274916 w 11346020"/>
              <a:gd name="connsiteY1447" fmla="*/ 1077922 h 4683863"/>
              <a:gd name="connsiteX1448" fmla="*/ 3290842 w 11346020"/>
              <a:gd name="connsiteY1448" fmla="*/ 1069966 h 4683863"/>
              <a:gd name="connsiteX1449" fmla="*/ 3287660 w 11346020"/>
              <a:gd name="connsiteY1449" fmla="*/ 1052465 h 4683863"/>
              <a:gd name="connsiteX1450" fmla="*/ 3287660 w 11346020"/>
              <a:gd name="connsiteY1450" fmla="*/ 1052461 h 4683863"/>
              <a:gd name="connsiteX1451" fmla="*/ 3338622 w 11346020"/>
              <a:gd name="connsiteY1451" fmla="*/ 1027002 h 4683863"/>
              <a:gd name="connsiteX1452" fmla="*/ 3415067 w 11346020"/>
              <a:gd name="connsiteY1452" fmla="*/ 1052461 h 4683863"/>
              <a:gd name="connsiteX1453" fmla="*/ 3466034 w 11346020"/>
              <a:gd name="connsiteY1453" fmla="*/ 1039734 h 4683863"/>
              <a:gd name="connsiteX1454" fmla="*/ 3631665 w 11346020"/>
              <a:gd name="connsiteY1454" fmla="*/ 1001546 h 4683863"/>
              <a:gd name="connsiteX1455" fmla="*/ 3746325 w 11346020"/>
              <a:gd name="connsiteY1455" fmla="*/ 963361 h 4683863"/>
              <a:gd name="connsiteX1456" fmla="*/ 3211210 w 11346020"/>
              <a:gd name="connsiteY1456" fmla="*/ 976089 h 4683863"/>
              <a:gd name="connsiteX1457" fmla="*/ 2905429 w 11346020"/>
              <a:gd name="connsiteY1457" fmla="*/ 988818 h 4683863"/>
              <a:gd name="connsiteX1458" fmla="*/ 2408526 w 11346020"/>
              <a:gd name="connsiteY1458" fmla="*/ 1027006 h 4683863"/>
              <a:gd name="connsiteX1459" fmla="*/ 2293858 w 11346020"/>
              <a:gd name="connsiteY1459" fmla="*/ 950634 h 4683863"/>
              <a:gd name="connsiteX1460" fmla="*/ 2281117 w 11346020"/>
              <a:gd name="connsiteY1460" fmla="*/ 912445 h 4683863"/>
              <a:gd name="connsiteX1461" fmla="*/ 2271959 w 11346020"/>
              <a:gd name="connsiteY1461" fmla="*/ 841837 h 4683863"/>
              <a:gd name="connsiteX1462" fmla="*/ 2271959 w 11346020"/>
              <a:gd name="connsiteY1462" fmla="*/ 841833 h 4683863"/>
              <a:gd name="connsiteX1463" fmla="*/ 2383046 w 11346020"/>
              <a:gd name="connsiteY1463" fmla="*/ 746958 h 4683863"/>
              <a:gd name="connsiteX1464" fmla="*/ 2663349 w 11346020"/>
              <a:gd name="connsiteY1464" fmla="*/ 721502 h 4683863"/>
              <a:gd name="connsiteX1465" fmla="*/ 2879946 w 11346020"/>
              <a:gd name="connsiteY1465" fmla="*/ 683313 h 4683863"/>
              <a:gd name="connsiteX1466" fmla="*/ 3249432 w 11346020"/>
              <a:gd name="connsiteY1466" fmla="*/ 670586 h 4683863"/>
              <a:gd name="connsiteX1467" fmla="*/ 3466034 w 11346020"/>
              <a:gd name="connsiteY1467" fmla="*/ 657853 h 4683863"/>
              <a:gd name="connsiteX1468" fmla="*/ 3618924 w 11346020"/>
              <a:gd name="connsiteY1468" fmla="*/ 670586 h 4683863"/>
              <a:gd name="connsiteX1469" fmla="*/ 3720852 w 11346020"/>
              <a:gd name="connsiteY1469" fmla="*/ 657853 h 4683863"/>
              <a:gd name="connsiteX1470" fmla="*/ 3835520 w 11346020"/>
              <a:gd name="connsiteY1470" fmla="*/ 670586 h 4683863"/>
              <a:gd name="connsiteX1471" fmla="*/ 3988412 w 11346020"/>
              <a:gd name="connsiteY1471" fmla="*/ 670586 h 4683863"/>
              <a:gd name="connsiteX1472" fmla="*/ 4090338 w 11346020"/>
              <a:gd name="connsiteY1472" fmla="*/ 657853 h 4683863"/>
              <a:gd name="connsiteX1473" fmla="*/ 4523535 w 11346020"/>
              <a:gd name="connsiteY1473" fmla="*/ 657853 h 4683863"/>
              <a:gd name="connsiteX1474" fmla="*/ 5045917 w 11346020"/>
              <a:gd name="connsiteY1474" fmla="*/ 708770 h 4683863"/>
              <a:gd name="connsiteX1475" fmla="*/ 5154216 w 11346020"/>
              <a:gd name="connsiteY1475" fmla="*/ 716727 h 4683863"/>
              <a:gd name="connsiteX1476" fmla="*/ 5210982 w 11346020"/>
              <a:gd name="connsiteY1476" fmla="*/ 725901 h 4683863"/>
              <a:gd name="connsiteX1477" fmla="*/ 5194772 w 11346020"/>
              <a:gd name="connsiteY1477" fmla="*/ 708087 h 4683863"/>
              <a:gd name="connsiteX1478" fmla="*/ 5180437 w 11346020"/>
              <a:gd name="connsiteY1478" fmla="*/ 667514 h 4683863"/>
              <a:gd name="connsiteX1479" fmla="*/ 5167697 w 11346020"/>
              <a:gd name="connsiteY1479" fmla="*/ 629325 h 4683863"/>
              <a:gd name="connsiteX1480" fmla="*/ 5158538 w 11346020"/>
              <a:gd name="connsiteY1480" fmla="*/ 558718 h 4683863"/>
              <a:gd name="connsiteX1481" fmla="*/ 5158538 w 11346020"/>
              <a:gd name="connsiteY1481" fmla="*/ 558714 h 4683863"/>
              <a:gd name="connsiteX1482" fmla="*/ 5269626 w 11346020"/>
              <a:gd name="connsiteY1482" fmla="*/ 463837 h 4683863"/>
              <a:gd name="connsiteX1483" fmla="*/ 5549928 w 11346020"/>
              <a:gd name="connsiteY1483" fmla="*/ 438381 h 4683863"/>
              <a:gd name="connsiteX1484" fmla="*/ 5766524 w 11346020"/>
              <a:gd name="connsiteY1484" fmla="*/ 400193 h 4683863"/>
              <a:gd name="connsiteX1485" fmla="*/ 6136012 w 11346020"/>
              <a:gd name="connsiteY1485" fmla="*/ 387466 h 4683863"/>
              <a:gd name="connsiteX1486" fmla="*/ 6352612 w 11346020"/>
              <a:gd name="connsiteY1486" fmla="*/ 374733 h 4683863"/>
              <a:gd name="connsiteX1487" fmla="*/ 6505503 w 11346020"/>
              <a:gd name="connsiteY1487" fmla="*/ 387466 h 4683863"/>
              <a:gd name="connsiteX1488" fmla="*/ 6607431 w 11346020"/>
              <a:gd name="connsiteY1488" fmla="*/ 374733 h 4683863"/>
              <a:gd name="connsiteX1489" fmla="*/ 6630724 w 11346020"/>
              <a:gd name="connsiteY1489" fmla="*/ 371352 h 4683863"/>
              <a:gd name="connsiteX1490" fmla="*/ 6722100 w 11346020"/>
              <a:gd name="connsiteY1490" fmla="*/ 387466 h 4683863"/>
              <a:gd name="connsiteX1491" fmla="*/ 6874990 w 11346020"/>
              <a:gd name="connsiteY1491" fmla="*/ 387466 h 4683863"/>
              <a:gd name="connsiteX1492" fmla="*/ 6976919 w 11346020"/>
              <a:gd name="connsiteY1492" fmla="*/ 374733 h 4683863"/>
              <a:gd name="connsiteX1493" fmla="*/ 7410115 w 11346020"/>
              <a:gd name="connsiteY1493" fmla="*/ 374733 h 4683863"/>
              <a:gd name="connsiteX1494" fmla="*/ 7932498 w 11346020"/>
              <a:gd name="connsiteY1494" fmla="*/ 425650 h 4683863"/>
              <a:gd name="connsiteX1495" fmla="*/ 8040796 w 11346020"/>
              <a:gd name="connsiteY1495" fmla="*/ 433607 h 4683863"/>
              <a:gd name="connsiteX1496" fmla="*/ 8087504 w 11346020"/>
              <a:gd name="connsiteY1496" fmla="*/ 441155 h 4683863"/>
              <a:gd name="connsiteX1497" fmla="*/ 8134398 w 11346020"/>
              <a:gd name="connsiteY1497" fmla="*/ 435564 h 4683863"/>
              <a:gd name="connsiteX1498" fmla="*/ 8298836 w 11346020"/>
              <a:gd name="connsiteY1498" fmla="*/ 410901 h 4683863"/>
              <a:gd name="connsiteX1499" fmla="*/ 8451731 w 11346020"/>
              <a:gd name="connsiteY1499" fmla="*/ 385444 h 4683863"/>
              <a:gd name="connsiteX1500" fmla="*/ 8540915 w 11346020"/>
              <a:gd name="connsiteY1500" fmla="*/ 423632 h 4683863"/>
              <a:gd name="connsiteX1501" fmla="*/ 8556842 w 11346020"/>
              <a:gd name="connsiteY1501" fmla="*/ 415677 h 4683863"/>
              <a:gd name="connsiteX1502" fmla="*/ 8553659 w 11346020"/>
              <a:gd name="connsiteY1502" fmla="*/ 398176 h 4683863"/>
              <a:gd name="connsiteX1503" fmla="*/ 8553659 w 11346020"/>
              <a:gd name="connsiteY1503" fmla="*/ 398172 h 4683863"/>
              <a:gd name="connsiteX1504" fmla="*/ 8604621 w 11346020"/>
              <a:gd name="connsiteY1504" fmla="*/ 372713 h 4683863"/>
              <a:gd name="connsiteX1505" fmla="*/ 8681066 w 11346020"/>
              <a:gd name="connsiteY1505" fmla="*/ 398172 h 4683863"/>
              <a:gd name="connsiteX1506" fmla="*/ 8732033 w 11346020"/>
              <a:gd name="connsiteY1506" fmla="*/ 385444 h 4683863"/>
              <a:gd name="connsiteX1507" fmla="*/ 8897664 w 11346020"/>
              <a:gd name="connsiteY1507" fmla="*/ 347256 h 4683863"/>
              <a:gd name="connsiteX1508" fmla="*/ 9012324 w 11346020"/>
              <a:gd name="connsiteY1508" fmla="*/ 309072 h 4683863"/>
              <a:gd name="connsiteX1509" fmla="*/ 8477209 w 11346020"/>
              <a:gd name="connsiteY1509" fmla="*/ 321801 h 4683863"/>
              <a:gd name="connsiteX1510" fmla="*/ 8171429 w 11346020"/>
              <a:gd name="connsiteY1510" fmla="*/ 334528 h 4683863"/>
              <a:gd name="connsiteX1511" fmla="*/ 7674526 w 11346020"/>
              <a:gd name="connsiteY1511" fmla="*/ 372716 h 4683863"/>
              <a:gd name="connsiteX1512" fmla="*/ 7559858 w 11346020"/>
              <a:gd name="connsiteY1512" fmla="*/ 296344 h 4683863"/>
              <a:gd name="connsiteX1513" fmla="*/ 7547118 w 11346020"/>
              <a:gd name="connsiteY1513" fmla="*/ 258156 h 4683863"/>
              <a:gd name="connsiteX1514" fmla="*/ 7537959 w 11346020"/>
              <a:gd name="connsiteY1514" fmla="*/ 187548 h 4683863"/>
              <a:gd name="connsiteX1515" fmla="*/ 7537959 w 11346020"/>
              <a:gd name="connsiteY1515" fmla="*/ 187544 h 4683863"/>
              <a:gd name="connsiteX1516" fmla="*/ 7649047 w 11346020"/>
              <a:gd name="connsiteY1516" fmla="*/ 92669 h 4683863"/>
              <a:gd name="connsiteX1517" fmla="*/ 7929349 w 11346020"/>
              <a:gd name="connsiteY1517" fmla="*/ 67212 h 4683863"/>
              <a:gd name="connsiteX1518" fmla="*/ 8145945 w 11346020"/>
              <a:gd name="connsiteY1518" fmla="*/ 29024 h 4683863"/>
              <a:gd name="connsiteX1519" fmla="*/ 8515433 w 11346020"/>
              <a:gd name="connsiteY1519" fmla="*/ 16296 h 4683863"/>
              <a:gd name="connsiteX1520" fmla="*/ 8732033 w 11346020"/>
              <a:gd name="connsiteY1520" fmla="*/ 3565 h 4683863"/>
              <a:gd name="connsiteX1521" fmla="*/ 8884924 w 11346020"/>
              <a:gd name="connsiteY1521" fmla="*/ 16296 h 4683863"/>
              <a:gd name="connsiteX1522" fmla="*/ 8986852 w 11346020"/>
              <a:gd name="connsiteY1522" fmla="*/ 3565 h 4683863"/>
              <a:gd name="connsiteX1523" fmla="*/ 9010145 w 11346020"/>
              <a:gd name="connsiteY1523" fmla="*/ 184 h 468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Lst>
            <a:rect l="l" t="t" r="r" b="b"/>
            <a:pathLst>
              <a:path w="11346020" h="4683863">
                <a:moveTo>
                  <a:pt x="2086570" y="4621041"/>
                </a:moveTo>
                <a:cubicBezTo>
                  <a:pt x="2106478" y="4616445"/>
                  <a:pt x="2127914" y="4622572"/>
                  <a:pt x="2140163" y="4640944"/>
                </a:cubicBezTo>
                <a:cubicBezTo>
                  <a:pt x="2140163" y="4640944"/>
                  <a:pt x="2140163" y="4653194"/>
                  <a:pt x="2140163" y="4665443"/>
                </a:cubicBezTo>
                <a:cubicBezTo>
                  <a:pt x="2127914" y="4665443"/>
                  <a:pt x="2103414" y="4665443"/>
                  <a:pt x="2103414" y="4665443"/>
                </a:cubicBezTo>
                <a:cubicBezTo>
                  <a:pt x="2091164" y="4616445"/>
                  <a:pt x="2066665" y="4665443"/>
                  <a:pt x="2042166" y="4665443"/>
                </a:cubicBezTo>
                <a:cubicBezTo>
                  <a:pt x="2048290" y="4640944"/>
                  <a:pt x="2066665" y="4625631"/>
                  <a:pt x="2086570" y="4621041"/>
                </a:cubicBezTo>
                <a:close/>
                <a:moveTo>
                  <a:pt x="4419997" y="4566374"/>
                </a:moveTo>
                <a:cubicBezTo>
                  <a:pt x="4431610" y="4568057"/>
                  <a:pt x="4441564" y="4574796"/>
                  <a:pt x="4448201" y="4588269"/>
                </a:cubicBezTo>
                <a:lnTo>
                  <a:pt x="4448196" y="4588273"/>
                </a:lnTo>
                <a:lnTo>
                  <a:pt x="4448201" y="4588273"/>
                </a:lnTo>
                <a:cubicBezTo>
                  <a:pt x="4461468" y="4601746"/>
                  <a:pt x="4448201" y="4615222"/>
                  <a:pt x="4434928" y="4615222"/>
                </a:cubicBezTo>
                <a:cubicBezTo>
                  <a:pt x="4408388" y="4628695"/>
                  <a:pt x="4395116" y="4601746"/>
                  <a:pt x="4381844" y="4574800"/>
                </a:cubicBezTo>
                <a:lnTo>
                  <a:pt x="4381848" y="4574800"/>
                </a:lnTo>
                <a:lnTo>
                  <a:pt x="4381844" y="4574796"/>
                </a:lnTo>
                <a:cubicBezTo>
                  <a:pt x="4395116" y="4568057"/>
                  <a:pt x="4408388" y="4564688"/>
                  <a:pt x="4419997" y="4566374"/>
                </a:cubicBezTo>
                <a:close/>
                <a:moveTo>
                  <a:pt x="4865799" y="4562964"/>
                </a:moveTo>
                <a:cubicBezTo>
                  <a:pt x="4882296" y="4561098"/>
                  <a:pt x="4898595" y="4561513"/>
                  <a:pt x="4913701" y="4564002"/>
                </a:cubicBezTo>
                <a:cubicBezTo>
                  <a:pt x="4943914" y="4568975"/>
                  <a:pt x="4969355" y="4582247"/>
                  <a:pt x="4982076" y="4602150"/>
                </a:cubicBezTo>
                <a:lnTo>
                  <a:pt x="4982072" y="4602150"/>
                </a:lnTo>
                <a:lnTo>
                  <a:pt x="4982076" y="4602155"/>
                </a:lnTo>
                <a:cubicBezTo>
                  <a:pt x="4918470" y="4628695"/>
                  <a:pt x="4880309" y="4575614"/>
                  <a:pt x="4816703" y="4575614"/>
                </a:cubicBezTo>
                <a:lnTo>
                  <a:pt x="4816715" y="4575614"/>
                </a:lnTo>
                <a:lnTo>
                  <a:pt x="4816703" y="4575611"/>
                </a:lnTo>
                <a:cubicBezTo>
                  <a:pt x="4832605" y="4568977"/>
                  <a:pt x="4849301" y="4564830"/>
                  <a:pt x="4865799" y="4562964"/>
                </a:cubicBezTo>
                <a:close/>
                <a:moveTo>
                  <a:pt x="4602337" y="4524571"/>
                </a:moveTo>
                <a:cubicBezTo>
                  <a:pt x="4678135" y="4538048"/>
                  <a:pt x="4728665" y="4551521"/>
                  <a:pt x="4791826" y="4551521"/>
                </a:cubicBezTo>
                <a:cubicBezTo>
                  <a:pt x="4791826" y="4551521"/>
                  <a:pt x="4804458" y="4564992"/>
                  <a:pt x="4804458" y="4578469"/>
                </a:cubicBezTo>
                <a:lnTo>
                  <a:pt x="4804458" y="4578473"/>
                </a:lnTo>
                <a:cubicBezTo>
                  <a:pt x="4804458" y="4591946"/>
                  <a:pt x="4791826" y="4591946"/>
                  <a:pt x="4779194" y="4591946"/>
                </a:cubicBezTo>
                <a:cubicBezTo>
                  <a:pt x="4728665" y="4564996"/>
                  <a:pt x="4665499" y="4578473"/>
                  <a:pt x="4602337" y="4524575"/>
                </a:cubicBezTo>
                <a:lnTo>
                  <a:pt x="4602349" y="4524579"/>
                </a:lnTo>
                <a:close/>
                <a:moveTo>
                  <a:pt x="3760791" y="4169332"/>
                </a:moveTo>
                <a:cubicBezTo>
                  <a:pt x="3774264" y="4169332"/>
                  <a:pt x="3787741" y="4181582"/>
                  <a:pt x="3774264" y="4193831"/>
                </a:cubicBezTo>
                <a:lnTo>
                  <a:pt x="3774264" y="4193835"/>
                </a:lnTo>
                <a:cubicBezTo>
                  <a:pt x="3774264" y="4206084"/>
                  <a:pt x="3760791" y="4218334"/>
                  <a:pt x="3733838" y="4218334"/>
                </a:cubicBezTo>
                <a:cubicBezTo>
                  <a:pt x="3720366" y="4218334"/>
                  <a:pt x="3720366" y="4218334"/>
                  <a:pt x="3720366" y="4206084"/>
                </a:cubicBezTo>
                <a:lnTo>
                  <a:pt x="3720366" y="4206081"/>
                </a:lnTo>
                <a:cubicBezTo>
                  <a:pt x="3720366" y="4181582"/>
                  <a:pt x="3747314" y="4181582"/>
                  <a:pt x="3760791" y="4169332"/>
                </a:cubicBezTo>
                <a:close/>
                <a:moveTo>
                  <a:pt x="3567243" y="3887590"/>
                </a:moveTo>
                <a:cubicBezTo>
                  <a:pt x="3579493" y="3887590"/>
                  <a:pt x="3579493" y="3887590"/>
                  <a:pt x="3579493" y="3887590"/>
                </a:cubicBezTo>
                <a:lnTo>
                  <a:pt x="3579493" y="3887594"/>
                </a:lnTo>
                <a:lnTo>
                  <a:pt x="3579493" y="3899840"/>
                </a:lnTo>
                <a:lnTo>
                  <a:pt x="3579493" y="3899844"/>
                </a:lnTo>
                <a:cubicBezTo>
                  <a:pt x="3579493" y="3899844"/>
                  <a:pt x="3567243" y="3899844"/>
                  <a:pt x="3567243" y="3887594"/>
                </a:cubicBezTo>
                <a:lnTo>
                  <a:pt x="3567247" y="3887594"/>
                </a:lnTo>
                <a:close/>
                <a:moveTo>
                  <a:pt x="5899287" y="3789370"/>
                </a:moveTo>
                <a:cubicBezTo>
                  <a:pt x="5919194" y="3784775"/>
                  <a:pt x="5940630" y="3790901"/>
                  <a:pt x="5952880" y="3809274"/>
                </a:cubicBezTo>
                <a:cubicBezTo>
                  <a:pt x="5952880" y="3809274"/>
                  <a:pt x="5952880" y="3821524"/>
                  <a:pt x="5952880" y="3833773"/>
                </a:cubicBezTo>
                <a:cubicBezTo>
                  <a:pt x="5940630" y="3833773"/>
                  <a:pt x="5916131" y="3833773"/>
                  <a:pt x="5916131" y="3833773"/>
                </a:cubicBezTo>
                <a:cubicBezTo>
                  <a:pt x="5903882" y="3784775"/>
                  <a:pt x="5879383" y="3833773"/>
                  <a:pt x="5854884" y="3833773"/>
                </a:cubicBezTo>
                <a:cubicBezTo>
                  <a:pt x="5861006" y="3809274"/>
                  <a:pt x="5879383" y="3793961"/>
                  <a:pt x="5899287" y="3789370"/>
                </a:cubicBezTo>
                <a:close/>
                <a:moveTo>
                  <a:pt x="8232715" y="3734703"/>
                </a:moveTo>
                <a:cubicBezTo>
                  <a:pt x="8244328" y="3736386"/>
                  <a:pt x="8254282" y="3743126"/>
                  <a:pt x="8260918" y="3756598"/>
                </a:cubicBezTo>
                <a:lnTo>
                  <a:pt x="8260914" y="3756602"/>
                </a:lnTo>
                <a:lnTo>
                  <a:pt x="8260918" y="3756602"/>
                </a:lnTo>
                <a:cubicBezTo>
                  <a:pt x="8274186" y="3770075"/>
                  <a:pt x="8260918" y="3783552"/>
                  <a:pt x="8247647" y="3783552"/>
                </a:cubicBezTo>
                <a:cubicBezTo>
                  <a:pt x="8221106" y="3797025"/>
                  <a:pt x="8207834" y="3770075"/>
                  <a:pt x="8194562" y="3743130"/>
                </a:cubicBezTo>
                <a:lnTo>
                  <a:pt x="8194566" y="3743130"/>
                </a:lnTo>
                <a:lnTo>
                  <a:pt x="8194562" y="3743126"/>
                </a:lnTo>
                <a:cubicBezTo>
                  <a:pt x="8207834" y="3736386"/>
                  <a:pt x="8221106" y="3733018"/>
                  <a:pt x="8232715" y="3734703"/>
                </a:cubicBezTo>
                <a:close/>
                <a:moveTo>
                  <a:pt x="8678517" y="3731294"/>
                </a:moveTo>
                <a:cubicBezTo>
                  <a:pt x="8695014" y="3729428"/>
                  <a:pt x="8711313" y="3729843"/>
                  <a:pt x="8726420" y="3732331"/>
                </a:cubicBezTo>
                <a:cubicBezTo>
                  <a:pt x="8756632" y="3737305"/>
                  <a:pt x="8782073" y="3750576"/>
                  <a:pt x="8794794" y="3770480"/>
                </a:cubicBezTo>
                <a:lnTo>
                  <a:pt x="8794790" y="3770480"/>
                </a:lnTo>
                <a:lnTo>
                  <a:pt x="8794794" y="3770484"/>
                </a:lnTo>
                <a:cubicBezTo>
                  <a:pt x="8731188" y="3797025"/>
                  <a:pt x="8693027" y="3743943"/>
                  <a:pt x="8629422" y="3743943"/>
                </a:cubicBezTo>
                <a:lnTo>
                  <a:pt x="8629434" y="3743943"/>
                </a:lnTo>
                <a:lnTo>
                  <a:pt x="8629422" y="3743940"/>
                </a:lnTo>
                <a:cubicBezTo>
                  <a:pt x="8645324" y="3737306"/>
                  <a:pt x="8662020" y="3733159"/>
                  <a:pt x="8678517" y="3731294"/>
                </a:cubicBezTo>
                <a:close/>
                <a:moveTo>
                  <a:pt x="8415055" y="3692901"/>
                </a:moveTo>
                <a:cubicBezTo>
                  <a:pt x="8490852" y="3706377"/>
                  <a:pt x="8541382" y="3719850"/>
                  <a:pt x="8604545" y="3719850"/>
                </a:cubicBezTo>
                <a:cubicBezTo>
                  <a:pt x="8604545" y="3719850"/>
                  <a:pt x="8617177" y="3733322"/>
                  <a:pt x="8617177" y="3746799"/>
                </a:cubicBezTo>
                <a:lnTo>
                  <a:pt x="8617177" y="3746803"/>
                </a:lnTo>
                <a:cubicBezTo>
                  <a:pt x="8617177" y="3760276"/>
                  <a:pt x="8604545" y="3760276"/>
                  <a:pt x="8591913" y="3760276"/>
                </a:cubicBezTo>
                <a:cubicBezTo>
                  <a:pt x="8541382" y="3733326"/>
                  <a:pt x="8478217" y="3746803"/>
                  <a:pt x="8415055" y="3692905"/>
                </a:cubicBezTo>
                <a:lnTo>
                  <a:pt x="8415067" y="3692909"/>
                </a:lnTo>
                <a:close/>
                <a:moveTo>
                  <a:pt x="1210098" y="3649038"/>
                </a:moveTo>
                <a:cubicBezTo>
                  <a:pt x="1230006" y="3644443"/>
                  <a:pt x="1251442" y="3650569"/>
                  <a:pt x="1263691" y="3668942"/>
                </a:cubicBezTo>
                <a:cubicBezTo>
                  <a:pt x="1263691" y="3668942"/>
                  <a:pt x="1263691" y="3681192"/>
                  <a:pt x="1263691" y="3693441"/>
                </a:cubicBezTo>
                <a:cubicBezTo>
                  <a:pt x="1251442" y="3693441"/>
                  <a:pt x="1226942" y="3693441"/>
                  <a:pt x="1226942" y="3693441"/>
                </a:cubicBezTo>
                <a:cubicBezTo>
                  <a:pt x="1214693" y="3644443"/>
                  <a:pt x="1190193" y="3693441"/>
                  <a:pt x="1165694" y="3693441"/>
                </a:cubicBezTo>
                <a:cubicBezTo>
                  <a:pt x="1171818" y="3668942"/>
                  <a:pt x="1190193" y="3653629"/>
                  <a:pt x="1210098" y="3649038"/>
                </a:cubicBezTo>
                <a:close/>
                <a:moveTo>
                  <a:pt x="1428958" y="3585821"/>
                </a:moveTo>
                <a:lnTo>
                  <a:pt x="1394429" y="3607670"/>
                </a:lnTo>
                <a:lnTo>
                  <a:pt x="1403741" y="3665060"/>
                </a:lnTo>
                <a:lnTo>
                  <a:pt x="1428400" y="3655206"/>
                </a:lnTo>
                <a:lnTo>
                  <a:pt x="1439546" y="3620201"/>
                </a:lnTo>
                <a:close/>
                <a:moveTo>
                  <a:pt x="7176786" y="3582464"/>
                </a:moveTo>
                <a:cubicBezTo>
                  <a:pt x="7170813" y="3582265"/>
                  <a:pt x="7165239" y="3583458"/>
                  <a:pt x="7160461" y="3585845"/>
                </a:cubicBezTo>
                <a:lnTo>
                  <a:pt x="7158484" y="3589203"/>
                </a:lnTo>
                <a:lnTo>
                  <a:pt x="7204809" y="3589649"/>
                </a:lnTo>
                <a:lnTo>
                  <a:pt x="7195500" y="3587437"/>
                </a:lnTo>
                <a:cubicBezTo>
                  <a:pt x="7189130" y="3584254"/>
                  <a:pt x="7182759" y="3582663"/>
                  <a:pt x="7176786" y="3582464"/>
                </a:cubicBezTo>
                <a:close/>
                <a:moveTo>
                  <a:pt x="9564381" y="3553451"/>
                </a:moveTo>
                <a:cubicBezTo>
                  <a:pt x="9575994" y="3555134"/>
                  <a:pt x="9585949" y="3561873"/>
                  <a:pt x="9592585" y="3575346"/>
                </a:cubicBezTo>
                <a:lnTo>
                  <a:pt x="9592581" y="3575350"/>
                </a:lnTo>
                <a:lnTo>
                  <a:pt x="9592585" y="3575350"/>
                </a:lnTo>
                <a:cubicBezTo>
                  <a:pt x="9605853" y="3588823"/>
                  <a:pt x="9592585" y="3602299"/>
                  <a:pt x="9579312" y="3602299"/>
                </a:cubicBezTo>
                <a:cubicBezTo>
                  <a:pt x="9552772" y="3615772"/>
                  <a:pt x="9539500" y="3588823"/>
                  <a:pt x="9526228" y="3561877"/>
                </a:cubicBezTo>
                <a:lnTo>
                  <a:pt x="9526233" y="3561877"/>
                </a:lnTo>
                <a:lnTo>
                  <a:pt x="9526228" y="3561873"/>
                </a:lnTo>
                <a:cubicBezTo>
                  <a:pt x="9539500" y="3555134"/>
                  <a:pt x="9552772" y="3551765"/>
                  <a:pt x="9564381" y="3553451"/>
                </a:cubicBezTo>
                <a:close/>
                <a:moveTo>
                  <a:pt x="10010183" y="3550041"/>
                </a:moveTo>
                <a:cubicBezTo>
                  <a:pt x="10026680" y="3548175"/>
                  <a:pt x="10042978" y="3548590"/>
                  <a:pt x="10058086" y="3551079"/>
                </a:cubicBezTo>
                <a:cubicBezTo>
                  <a:pt x="10088299" y="3556052"/>
                  <a:pt x="10113740" y="3569324"/>
                  <a:pt x="10126459" y="3589228"/>
                </a:cubicBezTo>
                <a:lnTo>
                  <a:pt x="10126456" y="3589228"/>
                </a:lnTo>
                <a:lnTo>
                  <a:pt x="10126459" y="3589232"/>
                </a:lnTo>
                <a:cubicBezTo>
                  <a:pt x="10062855" y="3615772"/>
                  <a:pt x="10024693" y="3562691"/>
                  <a:pt x="9961088" y="3562691"/>
                </a:cubicBezTo>
                <a:lnTo>
                  <a:pt x="9961100" y="3562691"/>
                </a:lnTo>
                <a:lnTo>
                  <a:pt x="9961088" y="3562688"/>
                </a:lnTo>
                <a:cubicBezTo>
                  <a:pt x="9976989" y="3556053"/>
                  <a:pt x="9993686" y="3551907"/>
                  <a:pt x="10010183" y="3550041"/>
                </a:cubicBezTo>
                <a:close/>
                <a:moveTo>
                  <a:pt x="6873788" y="3541294"/>
                </a:moveTo>
                <a:lnTo>
                  <a:pt x="6876685" y="3560088"/>
                </a:lnTo>
                <a:lnTo>
                  <a:pt x="6899040" y="3561833"/>
                </a:lnTo>
                <a:cubicBezTo>
                  <a:pt x="6918152" y="3565016"/>
                  <a:pt x="6940449" y="3571380"/>
                  <a:pt x="6959561" y="3577746"/>
                </a:cubicBezTo>
                <a:lnTo>
                  <a:pt x="7095912" y="3586915"/>
                </a:lnTo>
                <a:lnTo>
                  <a:pt x="7080832" y="3549249"/>
                </a:lnTo>
                <a:lnTo>
                  <a:pt x="7084015" y="3576295"/>
                </a:lnTo>
                <a:lnTo>
                  <a:pt x="7084015" y="3576299"/>
                </a:lnTo>
                <a:cubicBezTo>
                  <a:pt x="7084015" y="3584254"/>
                  <a:pt x="7080832" y="3587433"/>
                  <a:pt x="7068089" y="3574706"/>
                </a:cubicBezTo>
                <a:cubicBezTo>
                  <a:pt x="7017126" y="3549249"/>
                  <a:pt x="6966160" y="3561978"/>
                  <a:pt x="6915198" y="3561978"/>
                </a:cubicBezTo>
                <a:cubicBezTo>
                  <a:pt x="6902455" y="3561978"/>
                  <a:pt x="6902455" y="3561978"/>
                  <a:pt x="6889715" y="3549249"/>
                </a:cubicBezTo>
                <a:close/>
                <a:moveTo>
                  <a:pt x="7463059" y="3536518"/>
                </a:moveTo>
                <a:lnTo>
                  <a:pt x="7415284" y="3566750"/>
                </a:lnTo>
                <a:lnTo>
                  <a:pt x="7421411" y="3604516"/>
                </a:lnTo>
                <a:lnTo>
                  <a:pt x="7440533" y="3605392"/>
                </a:lnTo>
                <a:cubicBezTo>
                  <a:pt x="7456459" y="3604397"/>
                  <a:pt x="7472387" y="3602409"/>
                  <a:pt x="7488313" y="3601613"/>
                </a:cubicBezTo>
                <a:lnTo>
                  <a:pt x="7505239" y="3602811"/>
                </a:lnTo>
                <a:lnTo>
                  <a:pt x="7475803" y="3589027"/>
                </a:lnTo>
                <a:cubicBezTo>
                  <a:pt x="7459876" y="3581072"/>
                  <a:pt x="7450320" y="3568343"/>
                  <a:pt x="7463059" y="3536518"/>
                </a:cubicBezTo>
                <a:close/>
                <a:moveTo>
                  <a:pt x="7320720" y="3531546"/>
                </a:moveTo>
                <a:cubicBezTo>
                  <a:pt x="7309372" y="3530949"/>
                  <a:pt x="7306984" y="3542883"/>
                  <a:pt x="7297428" y="3561978"/>
                </a:cubicBezTo>
                <a:cubicBezTo>
                  <a:pt x="7291058" y="3571525"/>
                  <a:pt x="7283891" y="3578684"/>
                  <a:pt x="7276127" y="3583857"/>
                </a:cubicBezTo>
                <a:lnTo>
                  <a:pt x="7260299" y="3590181"/>
                </a:lnTo>
                <a:lnTo>
                  <a:pt x="7290826" y="3590474"/>
                </a:lnTo>
                <a:cubicBezTo>
                  <a:pt x="7309937" y="3590474"/>
                  <a:pt x="7329049" y="3593656"/>
                  <a:pt x="7346568" y="3596838"/>
                </a:cubicBezTo>
                <a:lnTo>
                  <a:pt x="7348391" y="3597089"/>
                </a:lnTo>
                <a:lnTo>
                  <a:pt x="7348391" y="3587437"/>
                </a:lnTo>
                <a:cubicBezTo>
                  <a:pt x="7322908" y="3574706"/>
                  <a:pt x="7361130" y="3536518"/>
                  <a:pt x="7335652" y="3536518"/>
                </a:cubicBezTo>
                <a:cubicBezTo>
                  <a:pt x="7329281" y="3533335"/>
                  <a:pt x="7324503" y="3531745"/>
                  <a:pt x="7320720" y="3531546"/>
                </a:cubicBezTo>
                <a:close/>
                <a:moveTo>
                  <a:pt x="6609421" y="3523790"/>
                </a:moveTo>
                <a:lnTo>
                  <a:pt x="6658786" y="3546062"/>
                </a:lnTo>
                <a:cubicBezTo>
                  <a:pt x="6667543" y="3549245"/>
                  <a:pt x="6672721" y="3553224"/>
                  <a:pt x="6668539" y="3559585"/>
                </a:cubicBezTo>
                <a:lnTo>
                  <a:pt x="6668539" y="3559589"/>
                </a:lnTo>
                <a:cubicBezTo>
                  <a:pt x="6666447" y="3562772"/>
                  <a:pt x="6662019" y="3566551"/>
                  <a:pt x="6654529" y="3571126"/>
                </a:cubicBezTo>
                <a:lnTo>
                  <a:pt x="6638988" y="3578956"/>
                </a:lnTo>
                <a:lnTo>
                  <a:pt x="6647407" y="3582518"/>
                </a:lnTo>
                <a:cubicBezTo>
                  <a:pt x="6666519" y="3587292"/>
                  <a:pt x="6685631" y="3584109"/>
                  <a:pt x="6704742" y="3565015"/>
                </a:cubicBezTo>
                <a:cubicBezTo>
                  <a:pt x="6717481" y="3552286"/>
                  <a:pt x="6768448" y="3577746"/>
                  <a:pt x="6793926" y="3577746"/>
                </a:cubicBezTo>
                <a:cubicBezTo>
                  <a:pt x="6816224" y="3577746"/>
                  <a:pt x="6828765" y="3606984"/>
                  <a:pt x="6848624" y="3580181"/>
                </a:cubicBezTo>
                <a:lnTo>
                  <a:pt x="6855389" y="3568791"/>
                </a:lnTo>
                <a:lnTo>
                  <a:pt x="6838751" y="3554419"/>
                </a:lnTo>
                <a:cubicBezTo>
                  <a:pt x="6800528" y="3526971"/>
                  <a:pt x="6762305" y="3517425"/>
                  <a:pt x="6724081" y="3536518"/>
                </a:cubicBezTo>
                <a:cubicBezTo>
                  <a:pt x="6704971" y="3542884"/>
                  <a:pt x="6685858" y="3533335"/>
                  <a:pt x="6666749" y="3525379"/>
                </a:cubicBezTo>
                <a:close/>
                <a:moveTo>
                  <a:pt x="9746722" y="3511648"/>
                </a:moveTo>
                <a:cubicBezTo>
                  <a:pt x="9822519" y="3525125"/>
                  <a:pt x="9873049" y="3538598"/>
                  <a:pt x="9936211" y="3538598"/>
                </a:cubicBezTo>
                <a:cubicBezTo>
                  <a:pt x="9936211" y="3538598"/>
                  <a:pt x="9948842" y="3552069"/>
                  <a:pt x="9948842" y="3565546"/>
                </a:cubicBezTo>
                <a:lnTo>
                  <a:pt x="9948842" y="3565550"/>
                </a:lnTo>
                <a:cubicBezTo>
                  <a:pt x="9948842" y="3579023"/>
                  <a:pt x="9936211" y="3579023"/>
                  <a:pt x="9923579" y="3579023"/>
                </a:cubicBezTo>
                <a:cubicBezTo>
                  <a:pt x="9873049" y="3552073"/>
                  <a:pt x="9809883" y="3565550"/>
                  <a:pt x="9746722" y="3511652"/>
                </a:cubicBezTo>
                <a:lnTo>
                  <a:pt x="9746733" y="3511656"/>
                </a:lnTo>
                <a:close/>
                <a:moveTo>
                  <a:pt x="6033237" y="3414905"/>
                </a:moveTo>
                <a:lnTo>
                  <a:pt x="6031855" y="3416047"/>
                </a:lnTo>
                <a:cubicBezTo>
                  <a:pt x="6027874" y="3421019"/>
                  <a:pt x="6023096" y="3428179"/>
                  <a:pt x="6016725" y="3437727"/>
                </a:cubicBezTo>
                <a:cubicBezTo>
                  <a:pt x="6003985" y="3463186"/>
                  <a:pt x="5953019" y="3475915"/>
                  <a:pt x="5953019" y="3475915"/>
                </a:cubicBezTo>
                <a:cubicBezTo>
                  <a:pt x="5914797" y="3450458"/>
                  <a:pt x="5889313" y="3488646"/>
                  <a:pt x="5863834" y="3463186"/>
                </a:cubicBezTo>
                <a:lnTo>
                  <a:pt x="5851095" y="3475915"/>
                </a:lnTo>
                <a:lnTo>
                  <a:pt x="5863834" y="3488642"/>
                </a:lnTo>
                <a:cubicBezTo>
                  <a:pt x="5914797" y="3488642"/>
                  <a:pt x="5965762" y="3514098"/>
                  <a:pt x="6029464" y="3501370"/>
                </a:cubicBezTo>
                <a:lnTo>
                  <a:pt x="6035672" y="3499698"/>
                </a:lnTo>
                <a:lnTo>
                  <a:pt x="6034474" y="3426728"/>
                </a:lnTo>
                <a:close/>
                <a:moveTo>
                  <a:pt x="7800471" y="3361354"/>
                </a:moveTo>
                <a:lnTo>
                  <a:pt x="7810552" y="3376002"/>
                </a:lnTo>
                <a:lnTo>
                  <a:pt x="7825929" y="3372529"/>
                </a:lnTo>
                <a:close/>
                <a:moveTo>
                  <a:pt x="8479127" y="3332711"/>
                </a:moveTo>
                <a:cubicBezTo>
                  <a:pt x="8476141" y="3333507"/>
                  <a:pt x="8473354" y="3335894"/>
                  <a:pt x="8470963" y="3339077"/>
                </a:cubicBezTo>
                <a:lnTo>
                  <a:pt x="8463004" y="3361351"/>
                </a:lnTo>
                <a:lnTo>
                  <a:pt x="8488484" y="3386806"/>
                </a:lnTo>
                <a:cubicBezTo>
                  <a:pt x="8501223" y="3386806"/>
                  <a:pt x="8513967" y="3374078"/>
                  <a:pt x="8539446" y="3399535"/>
                </a:cubicBezTo>
                <a:lnTo>
                  <a:pt x="8539438" y="3399535"/>
                </a:lnTo>
                <a:lnTo>
                  <a:pt x="8539446" y="3399539"/>
                </a:lnTo>
                <a:lnTo>
                  <a:pt x="8463286" y="3407693"/>
                </a:lnTo>
                <a:lnTo>
                  <a:pt x="8569847" y="3408716"/>
                </a:lnTo>
                <a:lnTo>
                  <a:pt x="8560153" y="3404313"/>
                </a:lnTo>
                <a:cubicBezTo>
                  <a:pt x="8555375" y="3399540"/>
                  <a:pt x="8552190" y="3393174"/>
                  <a:pt x="8552190" y="3386810"/>
                </a:cubicBezTo>
                <a:cubicBezTo>
                  <a:pt x="8552190" y="3335894"/>
                  <a:pt x="8501223" y="3361351"/>
                  <a:pt x="8488484" y="3335894"/>
                </a:cubicBezTo>
                <a:cubicBezTo>
                  <a:pt x="8485299" y="3332711"/>
                  <a:pt x="8482113" y="3331916"/>
                  <a:pt x="8479127" y="3332711"/>
                </a:cubicBezTo>
                <a:close/>
                <a:moveTo>
                  <a:pt x="7691291" y="3326216"/>
                </a:moveTo>
                <a:cubicBezTo>
                  <a:pt x="7688365" y="3325547"/>
                  <a:pt x="7684922" y="3326045"/>
                  <a:pt x="7680834" y="3328069"/>
                </a:cubicBezTo>
                <a:lnTo>
                  <a:pt x="7674185" y="3333176"/>
                </a:lnTo>
                <a:lnTo>
                  <a:pt x="7703193" y="3343716"/>
                </a:lnTo>
                <a:lnTo>
                  <a:pt x="7698639" y="3331369"/>
                </a:lnTo>
                <a:cubicBezTo>
                  <a:pt x="7696623" y="3328722"/>
                  <a:pt x="7694215" y="3326885"/>
                  <a:pt x="7691291" y="3326216"/>
                </a:cubicBezTo>
                <a:close/>
                <a:moveTo>
                  <a:pt x="1174646" y="3322854"/>
                </a:moveTo>
                <a:lnTo>
                  <a:pt x="1161905" y="3335583"/>
                </a:lnTo>
                <a:lnTo>
                  <a:pt x="1174646" y="3348310"/>
                </a:lnTo>
                <a:cubicBezTo>
                  <a:pt x="1200127" y="3348310"/>
                  <a:pt x="1225608" y="3354675"/>
                  <a:pt x="1252683" y="3359448"/>
                </a:cubicBezTo>
                <a:lnTo>
                  <a:pt x="1277571" y="3362394"/>
                </a:lnTo>
                <a:lnTo>
                  <a:pt x="1274422" y="3332276"/>
                </a:lnTo>
                <a:lnTo>
                  <a:pt x="1271993" y="3333196"/>
                </a:lnTo>
                <a:cubicBezTo>
                  <a:pt x="1267016" y="3334787"/>
                  <a:pt x="1263830" y="3335583"/>
                  <a:pt x="1263830" y="3335583"/>
                </a:cubicBezTo>
                <a:cubicBezTo>
                  <a:pt x="1225607" y="3310126"/>
                  <a:pt x="1200125" y="3348314"/>
                  <a:pt x="1174646" y="3322854"/>
                </a:cubicBezTo>
                <a:close/>
                <a:moveTo>
                  <a:pt x="7254196" y="3296113"/>
                </a:moveTo>
                <a:cubicBezTo>
                  <a:pt x="7243046" y="3300889"/>
                  <a:pt x="7233493" y="3310434"/>
                  <a:pt x="7227124" y="3310434"/>
                </a:cubicBezTo>
                <a:lnTo>
                  <a:pt x="7227108" y="3310498"/>
                </a:lnTo>
                <a:lnTo>
                  <a:pt x="7233921" y="3311168"/>
                </a:lnTo>
                <a:cubicBezTo>
                  <a:pt x="7246862" y="3313356"/>
                  <a:pt x="7260001" y="3316140"/>
                  <a:pt x="7273538" y="3318527"/>
                </a:cubicBezTo>
                <a:lnTo>
                  <a:pt x="7283835" y="3319746"/>
                </a:lnTo>
                <a:lnTo>
                  <a:pt x="7289165" y="3312646"/>
                </a:lnTo>
                <a:lnTo>
                  <a:pt x="7283370" y="3312646"/>
                </a:lnTo>
                <a:cubicBezTo>
                  <a:pt x="7280184" y="3312646"/>
                  <a:pt x="7276998" y="3312646"/>
                  <a:pt x="7270627" y="3312646"/>
                </a:cubicBezTo>
                <a:lnTo>
                  <a:pt x="7257578" y="3297435"/>
                </a:lnTo>
                <a:close/>
                <a:moveTo>
                  <a:pt x="7630482" y="3290274"/>
                </a:moveTo>
                <a:lnTo>
                  <a:pt x="7616184" y="3294520"/>
                </a:lnTo>
                <a:lnTo>
                  <a:pt x="7597137" y="3296734"/>
                </a:lnTo>
                <a:lnTo>
                  <a:pt x="7598434" y="3297845"/>
                </a:lnTo>
                <a:lnTo>
                  <a:pt x="7603210" y="3345578"/>
                </a:lnTo>
                <a:lnTo>
                  <a:pt x="7603210" y="3345581"/>
                </a:lnTo>
                <a:cubicBezTo>
                  <a:pt x="7615952" y="3342398"/>
                  <a:pt x="7627896" y="3339216"/>
                  <a:pt x="7639443" y="3336828"/>
                </a:cubicBezTo>
                <a:lnTo>
                  <a:pt x="7647577" y="3335872"/>
                </a:lnTo>
                <a:lnTo>
                  <a:pt x="7647577" y="3323163"/>
                </a:lnTo>
                <a:lnTo>
                  <a:pt x="7648966" y="3309978"/>
                </a:lnTo>
                <a:lnTo>
                  <a:pt x="7644819" y="3310575"/>
                </a:lnTo>
                <a:cubicBezTo>
                  <a:pt x="7639443" y="3309779"/>
                  <a:pt x="7635860" y="3307392"/>
                  <a:pt x="7633471" y="3304209"/>
                </a:cubicBezTo>
                <a:close/>
                <a:moveTo>
                  <a:pt x="7305589" y="3287451"/>
                </a:moveTo>
                <a:lnTo>
                  <a:pt x="7304362" y="3287917"/>
                </a:lnTo>
                <a:lnTo>
                  <a:pt x="7313897" y="3323303"/>
                </a:lnTo>
                <a:lnTo>
                  <a:pt x="7315543" y="3323498"/>
                </a:lnTo>
                <a:cubicBezTo>
                  <a:pt x="7330076" y="3324095"/>
                  <a:pt x="7345205" y="3323299"/>
                  <a:pt x="7361130" y="3320118"/>
                </a:cubicBezTo>
                <a:cubicBezTo>
                  <a:pt x="7367501" y="3316936"/>
                  <a:pt x="7375465" y="3315344"/>
                  <a:pt x="7384026" y="3313953"/>
                </a:cubicBezTo>
                <a:lnTo>
                  <a:pt x="7385939" y="3313593"/>
                </a:lnTo>
                <a:lnTo>
                  <a:pt x="7354531" y="3297706"/>
                </a:lnTo>
                <a:cubicBezTo>
                  <a:pt x="7354531" y="3294523"/>
                  <a:pt x="7352939" y="3292932"/>
                  <a:pt x="7350749" y="3291937"/>
                </a:cubicBezTo>
                <a:lnTo>
                  <a:pt x="7343703" y="3289845"/>
                </a:lnTo>
                <a:lnTo>
                  <a:pt x="7343703" y="3291185"/>
                </a:lnTo>
                <a:cubicBezTo>
                  <a:pt x="7331453" y="3291185"/>
                  <a:pt x="7306954" y="3291185"/>
                  <a:pt x="7306954" y="3291185"/>
                </a:cubicBezTo>
                <a:close/>
                <a:moveTo>
                  <a:pt x="5878975" y="3273134"/>
                </a:moveTo>
                <a:lnTo>
                  <a:pt x="5876574" y="3284971"/>
                </a:lnTo>
                <a:cubicBezTo>
                  <a:pt x="5870204" y="3291336"/>
                  <a:pt x="5870204" y="3297701"/>
                  <a:pt x="5873389" y="3302475"/>
                </a:cubicBezTo>
                <a:lnTo>
                  <a:pt x="5879964" y="3305760"/>
                </a:lnTo>
                <a:lnTo>
                  <a:pt x="5894598" y="3299910"/>
                </a:lnTo>
                <a:lnTo>
                  <a:pt x="5900562" y="3301399"/>
                </a:lnTo>
                <a:lnTo>
                  <a:pt x="5902010" y="3285484"/>
                </a:lnTo>
                <a:lnTo>
                  <a:pt x="5881858" y="3276047"/>
                </a:lnTo>
                <a:close/>
                <a:moveTo>
                  <a:pt x="5582842" y="3269485"/>
                </a:moveTo>
                <a:cubicBezTo>
                  <a:pt x="5576869" y="3269286"/>
                  <a:pt x="5571295" y="3270478"/>
                  <a:pt x="5566517" y="3272865"/>
                </a:cubicBezTo>
                <a:lnTo>
                  <a:pt x="5558301" y="3286819"/>
                </a:lnTo>
                <a:lnTo>
                  <a:pt x="5626270" y="3280328"/>
                </a:lnTo>
                <a:lnTo>
                  <a:pt x="5601556" y="3274458"/>
                </a:lnTo>
                <a:cubicBezTo>
                  <a:pt x="5595186" y="3271275"/>
                  <a:pt x="5588815" y="3269684"/>
                  <a:pt x="5582842" y="3269485"/>
                </a:cubicBezTo>
                <a:close/>
                <a:moveTo>
                  <a:pt x="8318404" y="3266569"/>
                </a:moveTo>
                <a:lnTo>
                  <a:pt x="8302375" y="3275569"/>
                </a:lnTo>
                <a:lnTo>
                  <a:pt x="8284627" y="3278235"/>
                </a:lnTo>
                <a:lnTo>
                  <a:pt x="8284627" y="3297702"/>
                </a:lnTo>
                <a:cubicBezTo>
                  <a:pt x="8291001" y="3310430"/>
                  <a:pt x="8291001" y="3323159"/>
                  <a:pt x="8284627" y="3332707"/>
                </a:cubicBezTo>
                <a:lnTo>
                  <a:pt x="8284627" y="3332711"/>
                </a:lnTo>
                <a:cubicBezTo>
                  <a:pt x="8278258" y="3342257"/>
                  <a:pt x="8265517" y="3348622"/>
                  <a:pt x="8246404" y="3348622"/>
                </a:cubicBezTo>
                <a:cubicBezTo>
                  <a:pt x="8233664" y="3361351"/>
                  <a:pt x="8220922" y="3361351"/>
                  <a:pt x="8220922" y="3374082"/>
                </a:cubicBezTo>
                <a:lnTo>
                  <a:pt x="8218530" y="3379630"/>
                </a:lnTo>
                <a:lnTo>
                  <a:pt x="8230706" y="3380580"/>
                </a:lnTo>
                <a:cubicBezTo>
                  <a:pt x="8249818" y="3383763"/>
                  <a:pt x="8272115" y="3390128"/>
                  <a:pt x="8291226" y="3396493"/>
                </a:cubicBezTo>
                <a:lnTo>
                  <a:pt x="8402550" y="3403979"/>
                </a:lnTo>
                <a:lnTo>
                  <a:pt x="8361072" y="3399539"/>
                </a:lnTo>
                <a:lnTo>
                  <a:pt x="8361080" y="3399535"/>
                </a:lnTo>
                <a:lnTo>
                  <a:pt x="8361072" y="3399535"/>
                </a:lnTo>
                <a:cubicBezTo>
                  <a:pt x="8399294" y="3393172"/>
                  <a:pt x="8424778" y="3377262"/>
                  <a:pt x="8437522" y="3354984"/>
                </a:cubicBezTo>
                <a:lnTo>
                  <a:pt x="8437522" y="3272247"/>
                </a:lnTo>
                <a:lnTo>
                  <a:pt x="8421595" y="3326346"/>
                </a:lnTo>
                <a:cubicBezTo>
                  <a:pt x="8415226" y="3342257"/>
                  <a:pt x="8405668" y="3354988"/>
                  <a:pt x="8386555" y="3361351"/>
                </a:cubicBezTo>
                <a:lnTo>
                  <a:pt x="8386555" y="3361347"/>
                </a:lnTo>
                <a:lnTo>
                  <a:pt x="8386555" y="3272247"/>
                </a:lnTo>
                <a:cubicBezTo>
                  <a:pt x="8367443" y="3278610"/>
                  <a:pt x="8348332" y="3278610"/>
                  <a:pt x="8330814" y="3273837"/>
                </a:cubicBezTo>
                <a:close/>
                <a:moveTo>
                  <a:pt x="7349632" y="3254697"/>
                </a:moveTo>
                <a:lnTo>
                  <a:pt x="7348391" y="3256474"/>
                </a:lnTo>
                <a:lnTo>
                  <a:pt x="7339500" y="3263425"/>
                </a:lnTo>
                <a:lnTo>
                  <a:pt x="7343703" y="3266686"/>
                </a:lnTo>
                <a:lnTo>
                  <a:pt x="7343703" y="3268043"/>
                </a:lnTo>
                <a:lnTo>
                  <a:pt x="7349753" y="3254743"/>
                </a:lnTo>
                <a:close/>
                <a:moveTo>
                  <a:pt x="8080770" y="3235024"/>
                </a:moveTo>
                <a:lnTo>
                  <a:pt x="8080770" y="3335890"/>
                </a:lnTo>
                <a:cubicBezTo>
                  <a:pt x="8087140" y="3342253"/>
                  <a:pt x="8090327" y="3351801"/>
                  <a:pt x="8088734" y="3359757"/>
                </a:cubicBezTo>
                <a:lnTo>
                  <a:pt x="8088734" y="3359760"/>
                </a:lnTo>
                <a:lnTo>
                  <a:pt x="8070913" y="3372088"/>
                </a:lnTo>
                <a:lnTo>
                  <a:pt x="8072066" y="3378701"/>
                </a:lnTo>
                <a:lnTo>
                  <a:pt x="8066510" y="3378881"/>
                </a:lnTo>
                <a:lnTo>
                  <a:pt x="8065185" y="3383076"/>
                </a:lnTo>
                <a:lnTo>
                  <a:pt x="8076222" y="3385355"/>
                </a:lnTo>
                <a:cubicBezTo>
                  <a:pt x="8093742" y="3390129"/>
                  <a:pt x="8112853" y="3396493"/>
                  <a:pt x="8125592" y="3396493"/>
                </a:cubicBezTo>
                <a:cubicBezTo>
                  <a:pt x="8144704" y="3396493"/>
                  <a:pt x="8156649" y="3417975"/>
                  <a:pt x="8172177" y="3407233"/>
                </a:cubicBezTo>
                <a:lnTo>
                  <a:pt x="8172806" y="3406589"/>
                </a:lnTo>
                <a:lnTo>
                  <a:pt x="8157220" y="3399539"/>
                </a:lnTo>
                <a:cubicBezTo>
                  <a:pt x="8144476" y="3386810"/>
                  <a:pt x="8131736" y="3374082"/>
                  <a:pt x="8126960" y="3361351"/>
                </a:cubicBezTo>
                <a:lnTo>
                  <a:pt x="8126960" y="3361347"/>
                </a:lnTo>
                <a:cubicBezTo>
                  <a:pt x="8122179" y="3348618"/>
                  <a:pt x="8125366" y="3335890"/>
                  <a:pt x="8144476" y="3323159"/>
                </a:cubicBezTo>
                <a:lnTo>
                  <a:pt x="8158809" y="3310430"/>
                </a:lnTo>
                <a:lnTo>
                  <a:pt x="8144476" y="3297706"/>
                </a:lnTo>
                <a:cubicBezTo>
                  <a:pt x="8125365" y="3297706"/>
                  <a:pt x="8115809" y="3288160"/>
                  <a:pt x="8107846" y="3275429"/>
                </a:cubicBezTo>
                <a:lnTo>
                  <a:pt x="8081518" y="3235201"/>
                </a:lnTo>
                <a:close/>
                <a:moveTo>
                  <a:pt x="5869115" y="3223539"/>
                </a:moveTo>
                <a:lnTo>
                  <a:pt x="5821339" y="3253770"/>
                </a:lnTo>
                <a:lnTo>
                  <a:pt x="5821978" y="3257708"/>
                </a:lnTo>
                <a:lnTo>
                  <a:pt x="5838351" y="3259514"/>
                </a:lnTo>
                <a:lnTo>
                  <a:pt x="5868320" y="3262365"/>
                </a:lnTo>
                <a:lnTo>
                  <a:pt x="5864738" y="3258745"/>
                </a:lnTo>
                <a:cubicBezTo>
                  <a:pt x="5861950" y="3250590"/>
                  <a:pt x="5862745" y="3239451"/>
                  <a:pt x="5869115" y="3223539"/>
                </a:cubicBezTo>
                <a:close/>
                <a:moveTo>
                  <a:pt x="5726776" y="3218566"/>
                </a:moveTo>
                <a:cubicBezTo>
                  <a:pt x="5715428" y="3217970"/>
                  <a:pt x="5713040" y="3229903"/>
                  <a:pt x="5703484" y="3248998"/>
                </a:cubicBezTo>
                <a:cubicBezTo>
                  <a:pt x="5697114" y="3258546"/>
                  <a:pt x="5689947" y="3265705"/>
                  <a:pt x="5682183" y="3270877"/>
                </a:cubicBezTo>
                <a:lnTo>
                  <a:pt x="5668663" y="3276279"/>
                </a:lnTo>
                <a:lnTo>
                  <a:pt x="5710940" y="3272243"/>
                </a:lnTo>
                <a:cubicBezTo>
                  <a:pt x="5720496" y="3272243"/>
                  <a:pt x="5730848" y="3270651"/>
                  <a:pt x="5741598" y="3268463"/>
                </a:cubicBezTo>
                <a:lnTo>
                  <a:pt x="5749169" y="3266777"/>
                </a:lnTo>
                <a:lnTo>
                  <a:pt x="5745289" y="3261131"/>
                </a:lnTo>
                <a:cubicBezTo>
                  <a:pt x="5744093" y="3245019"/>
                  <a:pt x="5760816" y="3223539"/>
                  <a:pt x="5741707" y="3223539"/>
                </a:cubicBezTo>
                <a:cubicBezTo>
                  <a:pt x="5735337" y="3220356"/>
                  <a:pt x="5730558" y="3218765"/>
                  <a:pt x="5726776" y="3218566"/>
                </a:cubicBezTo>
                <a:close/>
                <a:moveTo>
                  <a:pt x="5015476" y="3210810"/>
                </a:moveTo>
                <a:lnTo>
                  <a:pt x="5064841" y="3233083"/>
                </a:lnTo>
                <a:cubicBezTo>
                  <a:pt x="5073599" y="3236266"/>
                  <a:pt x="5078776" y="3240244"/>
                  <a:pt x="5074595" y="3246606"/>
                </a:cubicBezTo>
                <a:lnTo>
                  <a:pt x="5074595" y="3246610"/>
                </a:lnTo>
                <a:cubicBezTo>
                  <a:pt x="5070412" y="3252976"/>
                  <a:pt x="5056878" y="3261727"/>
                  <a:pt x="5028208" y="3274458"/>
                </a:cubicBezTo>
                <a:lnTo>
                  <a:pt x="5028208" y="3295141"/>
                </a:lnTo>
                <a:lnTo>
                  <a:pt x="5028208" y="3325370"/>
                </a:lnTo>
                <a:lnTo>
                  <a:pt x="5028208" y="3325374"/>
                </a:lnTo>
                <a:cubicBezTo>
                  <a:pt x="5002729" y="3325374"/>
                  <a:pt x="5002729" y="3312646"/>
                  <a:pt x="5002729" y="3299914"/>
                </a:cubicBezTo>
                <a:cubicBezTo>
                  <a:pt x="4996357" y="3287186"/>
                  <a:pt x="4993171" y="3277639"/>
                  <a:pt x="4986801" y="3271274"/>
                </a:cubicBezTo>
                <a:lnTo>
                  <a:pt x="4956068" y="3262899"/>
                </a:lnTo>
                <a:lnTo>
                  <a:pt x="4956068" y="3352885"/>
                </a:lnTo>
                <a:lnTo>
                  <a:pt x="4956068" y="3352889"/>
                </a:lnTo>
                <a:lnTo>
                  <a:pt x="4957903" y="3373584"/>
                </a:lnTo>
                <a:lnTo>
                  <a:pt x="4959221" y="3374078"/>
                </a:lnTo>
                <a:cubicBezTo>
                  <a:pt x="4984704" y="3399535"/>
                  <a:pt x="4984704" y="3399535"/>
                  <a:pt x="5010184" y="3374078"/>
                </a:cubicBezTo>
                <a:cubicBezTo>
                  <a:pt x="5061150" y="3335890"/>
                  <a:pt x="5061150" y="3399535"/>
                  <a:pt x="5073890" y="3437723"/>
                </a:cubicBezTo>
                <a:cubicBezTo>
                  <a:pt x="5086633" y="3361347"/>
                  <a:pt x="5124856" y="3335890"/>
                  <a:pt x="5175818" y="3348618"/>
                </a:cubicBezTo>
                <a:cubicBezTo>
                  <a:pt x="5194930" y="3348618"/>
                  <a:pt x="5210856" y="3345437"/>
                  <a:pt x="5226782" y="3340663"/>
                </a:cubicBezTo>
                <a:lnTo>
                  <a:pt x="5234239" y="3338102"/>
                </a:lnTo>
                <a:lnTo>
                  <a:pt x="5104657" y="3338102"/>
                </a:lnTo>
                <a:cubicBezTo>
                  <a:pt x="5091914" y="3338102"/>
                  <a:pt x="5079174" y="3338102"/>
                  <a:pt x="5079174" y="3325374"/>
                </a:cubicBezTo>
                <a:lnTo>
                  <a:pt x="5079178" y="3325370"/>
                </a:lnTo>
                <a:lnTo>
                  <a:pt x="5079174" y="3325370"/>
                </a:lnTo>
                <a:cubicBezTo>
                  <a:pt x="5079174" y="3299910"/>
                  <a:pt x="5091914" y="3287182"/>
                  <a:pt x="5117397" y="3287182"/>
                </a:cubicBezTo>
                <a:cubicBezTo>
                  <a:pt x="5168359" y="3287182"/>
                  <a:pt x="5219325" y="3287182"/>
                  <a:pt x="5270288" y="3287182"/>
                </a:cubicBezTo>
                <a:cubicBezTo>
                  <a:pt x="5326030" y="3298319"/>
                  <a:pt x="5381773" y="3270474"/>
                  <a:pt x="5428978" y="3297451"/>
                </a:cubicBezTo>
                <a:lnTo>
                  <a:pt x="5434026" y="3301346"/>
                </a:lnTo>
                <a:lnTo>
                  <a:pt x="5494344" y="3292927"/>
                </a:lnTo>
                <a:lnTo>
                  <a:pt x="5509011" y="3291526"/>
                </a:lnTo>
                <a:lnTo>
                  <a:pt x="5486888" y="3236270"/>
                </a:lnTo>
                <a:lnTo>
                  <a:pt x="5490071" y="3263316"/>
                </a:lnTo>
                <a:lnTo>
                  <a:pt x="5490071" y="3263320"/>
                </a:lnTo>
                <a:cubicBezTo>
                  <a:pt x="5490071" y="3271275"/>
                  <a:pt x="5486888" y="3274454"/>
                  <a:pt x="5474145" y="3261727"/>
                </a:cubicBezTo>
                <a:cubicBezTo>
                  <a:pt x="5423183" y="3236270"/>
                  <a:pt x="5372216" y="3248998"/>
                  <a:pt x="5321254" y="3248998"/>
                </a:cubicBezTo>
                <a:cubicBezTo>
                  <a:pt x="5308511" y="3248998"/>
                  <a:pt x="5308511" y="3248998"/>
                  <a:pt x="5295770" y="3236270"/>
                </a:cubicBezTo>
                <a:lnTo>
                  <a:pt x="5279844" y="3228315"/>
                </a:lnTo>
                <a:lnTo>
                  <a:pt x="5283031" y="3248994"/>
                </a:lnTo>
                <a:lnTo>
                  <a:pt x="5283031" y="3248998"/>
                </a:lnTo>
                <a:lnTo>
                  <a:pt x="5283031" y="3274454"/>
                </a:lnTo>
                <a:lnTo>
                  <a:pt x="5283031" y="3274458"/>
                </a:lnTo>
                <a:cubicBezTo>
                  <a:pt x="5232065" y="3223539"/>
                  <a:pt x="5181102" y="3198082"/>
                  <a:pt x="5130137" y="3223539"/>
                </a:cubicBezTo>
                <a:cubicBezTo>
                  <a:pt x="5111027" y="3229904"/>
                  <a:pt x="5091914" y="3220356"/>
                  <a:pt x="5072805" y="3212400"/>
                </a:cubicBezTo>
                <a:close/>
                <a:moveTo>
                  <a:pt x="9623538" y="3192115"/>
                </a:moveTo>
                <a:cubicBezTo>
                  <a:pt x="9635151" y="3193798"/>
                  <a:pt x="9645104" y="3200537"/>
                  <a:pt x="9651741" y="3214010"/>
                </a:cubicBezTo>
                <a:lnTo>
                  <a:pt x="9651737" y="3214014"/>
                </a:lnTo>
                <a:lnTo>
                  <a:pt x="9651741" y="3214014"/>
                </a:lnTo>
                <a:cubicBezTo>
                  <a:pt x="9665009" y="3227487"/>
                  <a:pt x="9651741" y="3240964"/>
                  <a:pt x="9638469" y="3240964"/>
                </a:cubicBezTo>
                <a:cubicBezTo>
                  <a:pt x="9611929" y="3254437"/>
                  <a:pt x="9598657" y="3227487"/>
                  <a:pt x="9585384" y="3200541"/>
                </a:cubicBezTo>
                <a:lnTo>
                  <a:pt x="9585388" y="3200541"/>
                </a:lnTo>
                <a:lnTo>
                  <a:pt x="9585384" y="3200537"/>
                </a:lnTo>
                <a:cubicBezTo>
                  <a:pt x="9598657" y="3193798"/>
                  <a:pt x="9611929" y="3190429"/>
                  <a:pt x="9623538" y="3192115"/>
                </a:cubicBezTo>
                <a:close/>
                <a:moveTo>
                  <a:pt x="9975032" y="3149469"/>
                </a:moveTo>
                <a:cubicBezTo>
                  <a:pt x="9973837" y="3149867"/>
                  <a:pt x="9973040" y="3151459"/>
                  <a:pt x="9973040" y="3154642"/>
                </a:cubicBezTo>
                <a:cubicBezTo>
                  <a:pt x="9966671" y="3167370"/>
                  <a:pt x="9950746" y="3167370"/>
                  <a:pt x="9938005" y="3170553"/>
                </a:cubicBezTo>
                <a:lnTo>
                  <a:pt x="9936082" y="3171715"/>
                </a:lnTo>
                <a:lnTo>
                  <a:pt x="9984844" y="3176277"/>
                </a:lnTo>
                <a:lnTo>
                  <a:pt x="9985784" y="3167370"/>
                </a:lnTo>
                <a:lnTo>
                  <a:pt x="9979414" y="3151459"/>
                </a:lnTo>
                <a:cubicBezTo>
                  <a:pt x="9977821" y="3149867"/>
                  <a:pt x="9976227" y="3149072"/>
                  <a:pt x="9975032" y="3149469"/>
                </a:cubicBezTo>
                <a:close/>
                <a:moveTo>
                  <a:pt x="9769188" y="3090994"/>
                </a:moveTo>
                <a:lnTo>
                  <a:pt x="9753291" y="3144992"/>
                </a:lnTo>
                <a:lnTo>
                  <a:pt x="9763044" y="3146539"/>
                </a:lnTo>
                <a:lnTo>
                  <a:pt x="9769188" y="3153359"/>
                </a:lnTo>
                <a:close/>
                <a:moveTo>
                  <a:pt x="9616292" y="3065534"/>
                </a:moveTo>
                <a:lnTo>
                  <a:pt x="9616292" y="3116450"/>
                </a:lnTo>
                <a:lnTo>
                  <a:pt x="9616292" y="3135557"/>
                </a:lnTo>
                <a:lnTo>
                  <a:pt x="9688193" y="3149722"/>
                </a:lnTo>
                <a:cubicBezTo>
                  <a:pt x="9694563" y="3149722"/>
                  <a:pt x="9700933" y="3149722"/>
                  <a:pt x="9708895" y="3149722"/>
                </a:cubicBezTo>
                <a:lnTo>
                  <a:pt x="9718221" y="3149722"/>
                </a:lnTo>
                <a:lnTo>
                  <a:pt x="9718221" y="3090994"/>
                </a:lnTo>
                <a:cubicBezTo>
                  <a:pt x="9679999" y="3103722"/>
                  <a:pt x="9641776" y="3090994"/>
                  <a:pt x="9616292" y="3065534"/>
                </a:cubicBezTo>
                <a:close/>
                <a:moveTo>
                  <a:pt x="9412436" y="3052806"/>
                </a:moveTo>
                <a:lnTo>
                  <a:pt x="9412436" y="3119716"/>
                </a:lnTo>
                <a:lnTo>
                  <a:pt x="9471592" y="3124262"/>
                </a:lnTo>
                <a:lnTo>
                  <a:pt x="9484044" y="3123469"/>
                </a:lnTo>
                <a:lnTo>
                  <a:pt x="9476141" y="3116454"/>
                </a:lnTo>
                <a:cubicBezTo>
                  <a:pt x="9437919" y="3116454"/>
                  <a:pt x="9437919" y="3078266"/>
                  <a:pt x="9412436" y="3052806"/>
                </a:cubicBezTo>
                <a:close/>
                <a:moveTo>
                  <a:pt x="8691434" y="2963103"/>
                </a:moveTo>
                <a:lnTo>
                  <a:pt x="8666861" y="2979470"/>
                </a:lnTo>
                <a:lnTo>
                  <a:pt x="8689074" y="2983169"/>
                </a:lnTo>
                <a:lnTo>
                  <a:pt x="8698937" y="2976426"/>
                </a:lnTo>
                <a:close/>
                <a:moveTo>
                  <a:pt x="8924306" y="2834377"/>
                </a:moveTo>
                <a:lnTo>
                  <a:pt x="8880497" y="2841182"/>
                </a:lnTo>
                <a:lnTo>
                  <a:pt x="8870121" y="2845969"/>
                </a:lnTo>
                <a:lnTo>
                  <a:pt x="8860021" y="2869682"/>
                </a:lnTo>
                <a:cubicBezTo>
                  <a:pt x="8860021" y="2895138"/>
                  <a:pt x="8834542" y="2882410"/>
                  <a:pt x="8821799" y="2882410"/>
                </a:cubicBezTo>
                <a:lnTo>
                  <a:pt x="8805125" y="2885340"/>
                </a:lnTo>
                <a:lnTo>
                  <a:pt x="8788125" y="2900054"/>
                </a:lnTo>
                <a:lnTo>
                  <a:pt x="8777658" y="2892386"/>
                </a:lnTo>
                <a:lnTo>
                  <a:pt x="8776658" y="2892975"/>
                </a:lnTo>
                <a:lnTo>
                  <a:pt x="8772961" y="2892939"/>
                </a:lnTo>
                <a:lnTo>
                  <a:pt x="8773166" y="2894941"/>
                </a:lnTo>
                <a:lnTo>
                  <a:pt x="8762392" y="2923304"/>
                </a:lnTo>
                <a:lnTo>
                  <a:pt x="8799871" y="2931080"/>
                </a:lnTo>
                <a:cubicBezTo>
                  <a:pt x="8890053" y="2940626"/>
                  <a:pt x="8985611" y="2928692"/>
                  <a:pt x="9081167" y="2938238"/>
                </a:cubicBezTo>
                <a:cubicBezTo>
                  <a:pt x="9106650" y="2944604"/>
                  <a:pt x="9109837" y="2931876"/>
                  <a:pt x="9109837" y="2915965"/>
                </a:cubicBezTo>
                <a:lnTo>
                  <a:pt x="9118194" y="2879787"/>
                </a:lnTo>
                <a:lnTo>
                  <a:pt x="9072297" y="2873975"/>
                </a:lnTo>
                <a:lnTo>
                  <a:pt x="9061858" y="2885138"/>
                </a:lnTo>
                <a:cubicBezTo>
                  <a:pt x="9060464" y="2891303"/>
                  <a:pt x="9062057" y="2900056"/>
                  <a:pt x="9068427" y="2912786"/>
                </a:cubicBezTo>
                <a:cubicBezTo>
                  <a:pt x="9017466" y="2900054"/>
                  <a:pt x="8979243" y="2900054"/>
                  <a:pt x="8953759" y="2849138"/>
                </a:cubicBezTo>
                <a:lnTo>
                  <a:pt x="8942863" y="2842690"/>
                </a:lnTo>
                <a:lnTo>
                  <a:pt x="8937378" y="2844075"/>
                </a:lnTo>
                <a:cubicBezTo>
                  <a:pt x="8930641" y="2844075"/>
                  <a:pt x="8927273" y="2844075"/>
                  <a:pt x="8925589" y="2842544"/>
                </a:cubicBezTo>
                <a:close/>
                <a:moveTo>
                  <a:pt x="10034188" y="2788134"/>
                </a:moveTo>
                <a:cubicBezTo>
                  <a:pt x="10032994" y="2788532"/>
                  <a:pt x="10032197" y="2790123"/>
                  <a:pt x="10032197" y="2793306"/>
                </a:cubicBezTo>
                <a:lnTo>
                  <a:pt x="10020874" y="2801939"/>
                </a:lnTo>
                <a:lnTo>
                  <a:pt x="10044902" y="2805940"/>
                </a:lnTo>
                <a:lnTo>
                  <a:pt x="10038571" y="2790123"/>
                </a:lnTo>
                <a:cubicBezTo>
                  <a:pt x="10036977" y="2788532"/>
                  <a:pt x="10035384" y="2787736"/>
                  <a:pt x="10034188" y="2788134"/>
                </a:cubicBezTo>
                <a:close/>
                <a:moveTo>
                  <a:pt x="10908430" y="2591800"/>
                </a:moveTo>
                <a:cubicBezTo>
                  <a:pt x="10924927" y="2589934"/>
                  <a:pt x="10941226" y="2590349"/>
                  <a:pt x="10956332" y="2592838"/>
                </a:cubicBezTo>
                <a:cubicBezTo>
                  <a:pt x="10986545" y="2597811"/>
                  <a:pt x="11011986" y="2611083"/>
                  <a:pt x="11024707" y="2630987"/>
                </a:cubicBezTo>
                <a:lnTo>
                  <a:pt x="11024703" y="2630987"/>
                </a:lnTo>
                <a:lnTo>
                  <a:pt x="11024707" y="2630991"/>
                </a:lnTo>
                <a:cubicBezTo>
                  <a:pt x="10961100" y="2657531"/>
                  <a:pt x="10922940" y="2604450"/>
                  <a:pt x="10859334" y="2604450"/>
                </a:cubicBezTo>
                <a:lnTo>
                  <a:pt x="10859346" y="2604450"/>
                </a:lnTo>
                <a:lnTo>
                  <a:pt x="10859334" y="2604447"/>
                </a:lnTo>
                <a:cubicBezTo>
                  <a:pt x="10875236" y="2597812"/>
                  <a:pt x="10891932" y="2593666"/>
                  <a:pt x="10908430" y="2591800"/>
                </a:cubicBezTo>
                <a:close/>
                <a:moveTo>
                  <a:pt x="10644967" y="2553407"/>
                </a:moveTo>
                <a:cubicBezTo>
                  <a:pt x="10720765" y="2566884"/>
                  <a:pt x="10771295" y="2580357"/>
                  <a:pt x="10834457" y="2580357"/>
                </a:cubicBezTo>
                <a:cubicBezTo>
                  <a:pt x="10834457" y="2580357"/>
                  <a:pt x="10847089" y="2593828"/>
                  <a:pt x="10847089" y="2607305"/>
                </a:cubicBezTo>
                <a:lnTo>
                  <a:pt x="10847089" y="2607309"/>
                </a:lnTo>
                <a:cubicBezTo>
                  <a:pt x="10847089" y="2620782"/>
                  <a:pt x="10834457" y="2620782"/>
                  <a:pt x="10821825" y="2620782"/>
                </a:cubicBezTo>
                <a:cubicBezTo>
                  <a:pt x="10771295" y="2593832"/>
                  <a:pt x="10708130" y="2607309"/>
                  <a:pt x="10644967" y="2553411"/>
                </a:cubicBezTo>
                <a:lnTo>
                  <a:pt x="10644979" y="2553415"/>
                </a:lnTo>
                <a:close/>
                <a:moveTo>
                  <a:pt x="1975653" y="2012302"/>
                </a:moveTo>
                <a:lnTo>
                  <a:pt x="1917997" y="2017703"/>
                </a:lnTo>
                <a:cubicBezTo>
                  <a:pt x="1886146" y="2021482"/>
                  <a:pt x="1854294" y="2026256"/>
                  <a:pt x="1822441" y="2032620"/>
                </a:cubicBezTo>
                <a:cubicBezTo>
                  <a:pt x="1803330" y="2032620"/>
                  <a:pt x="1784219" y="2038985"/>
                  <a:pt x="1763515" y="2045351"/>
                </a:cubicBezTo>
                <a:lnTo>
                  <a:pt x="1755345" y="2047554"/>
                </a:lnTo>
                <a:lnTo>
                  <a:pt x="1824436" y="2037191"/>
                </a:lnTo>
                <a:cubicBezTo>
                  <a:pt x="1862660" y="2027645"/>
                  <a:pt x="1900882" y="2032419"/>
                  <a:pt x="1939107" y="2024662"/>
                </a:cubicBezTo>
                <a:close/>
                <a:moveTo>
                  <a:pt x="2094844" y="2002662"/>
                </a:moveTo>
                <a:lnTo>
                  <a:pt x="2013556" y="2008752"/>
                </a:lnTo>
                <a:lnTo>
                  <a:pt x="1980811" y="2011819"/>
                </a:lnTo>
                <a:lnTo>
                  <a:pt x="2002015" y="2012331"/>
                </a:lnTo>
                <a:cubicBezTo>
                  <a:pt x="2023515" y="2021281"/>
                  <a:pt x="2037848" y="2049923"/>
                  <a:pt x="2066515" y="2049923"/>
                </a:cubicBezTo>
                <a:lnTo>
                  <a:pt x="2082442" y="2041968"/>
                </a:lnTo>
                <a:lnTo>
                  <a:pt x="2079259" y="2024467"/>
                </a:lnTo>
                <a:lnTo>
                  <a:pt x="2079259" y="2024463"/>
                </a:lnTo>
                <a:close/>
                <a:moveTo>
                  <a:pt x="2317681" y="1983468"/>
                </a:moveTo>
                <a:lnTo>
                  <a:pt x="2204672" y="1994432"/>
                </a:lnTo>
                <a:lnTo>
                  <a:pt x="2131562" y="1999910"/>
                </a:lnTo>
                <a:lnTo>
                  <a:pt x="2149332" y="2011932"/>
                </a:lnTo>
                <a:cubicBezTo>
                  <a:pt x="2168443" y="2019690"/>
                  <a:pt x="2187554" y="2014917"/>
                  <a:pt x="2206666" y="2024463"/>
                </a:cubicBezTo>
                <a:cubicBezTo>
                  <a:pt x="2219410" y="2024463"/>
                  <a:pt x="2244889" y="2024463"/>
                  <a:pt x="2257632" y="2011735"/>
                </a:cubicBezTo>
                <a:cubicBezTo>
                  <a:pt x="2270373" y="2002188"/>
                  <a:pt x="2283114" y="1995028"/>
                  <a:pt x="2296053" y="1989657"/>
                </a:cubicBezTo>
                <a:close/>
                <a:moveTo>
                  <a:pt x="6632903" y="680241"/>
                </a:moveTo>
                <a:lnTo>
                  <a:pt x="6097790" y="692969"/>
                </a:lnTo>
                <a:cubicBezTo>
                  <a:pt x="5995861" y="692969"/>
                  <a:pt x="5893936" y="705697"/>
                  <a:pt x="5792008" y="705697"/>
                </a:cubicBezTo>
                <a:cubicBezTo>
                  <a:pt x="5626373" y="705697"/>
                  <a:pt x="5460739" y="718429"/>
                  <a:pt x="5295104" y="743885"/>
                </a:cubicBezTo>
                <a:lnTo>
                  <a:pt x="5281160" y="744660"/>
                </a:lnTo>
                <a:lnTo>
                  <a:pt x="5287997" y="759689"/>
                </a:lnTo>
                <a:lnTo>
                  <a:pt x="5294617" y="865517"/>
                </a:lnTo>
                <a:lnTo>
                  <a:pt x="5421322" y="846514"/>
                </a:lnTo>
                <a:cubicBezTo>
                  <a:pt x="5587354" y="825032"/>
                  <a:pt x="5756967" y="810711"/>
                  <a:pt x="5919415" y="782069"/>
                </a:cubicBezTo>
                <a:cubicBezTo>
                  <a:pt x="5970382" y="769341"/>
                  <a:pt x="6021343" y="782069"/>
                  <a:pt x="6072310" y="756613"/>
                </a:cubicBezTo>
                <a:cubicBezTo>
                  <a:pt x="6110533" y="743881"/>
                  <a:pt x="6123272" y="794802"/>
                  <a:pt x="6161495" y="794802"/>
                </a:cubicBezTo>
                <a:lnTo>
                  <a:pt x="6177422" y="786846"/>
                </a:lnTo>
                <a:lnTo>
                  <a:pt x="6174239" y="769345"/>
                </a:lnTo>
                <a:lnTo>
                  <a:pt x="6174239" y="769341"/>
                </a:lnTo>
                <a:cubicBezTo>
                  <a:pt x="6174239" y="756613"/>
                  <a:pt x="6199717" y="731153"/>
                  <a:pt x="6225200" y="743881"/>
                </a:cubicBezTo>
                <a:cubicBezTo>
                  <a:pt x="6250684" y="769341"/>
                  <a:pt x="6276163" y="756613"/>
                  <a:pt x="6301646" y="769341"/>
                </a:cubicBezTo>
                <a:cubicBezTo>
                  <a:pt x="6314390" y="769341"/>
                  <a:pt x="6339869" y="769341"/>
                  <a:pt x="6352612" y="756613"/>
                </a:cubicBezTo>
                <a:cubicBezTo>
                  <a:pt x="6403574" y="718426"/>
                  <a:pt x="6454537" y="718426"/>
                  <a:pt x="6518243" y="718426"/>
                </a:cubicBezTo>
                <a:close/>
                <a:moveTo>
                  <a:pt x="9010145" y="184"/>
                </a:moveTo>
                <a:cubicBezTo>
                  <a:pt x="9037021" y="1975"/>
                  <a:pt x="9072853" y="16296"/>
                  <a:pt x="9101521" y="16296"/>
                </a:cubicBezTo>
                <a:cubicBezTo>
                  <a:pt x="9152487" y="29024"/>
                  <a:pt x="9203448" y="54481"/>
                  <a:pt x="9254411" y="16296"/>
                </a:cubicBezTo>
                <a:cubicBezTo>
                  <a:pt x="9267154" y="3565"/>
                  <a:pt x="9318117" y="3565"/>
                  <a:pt x="9356340" y="3565"/>
                </a:cubicBezTo>
                <a:cubicBezTo>
                  <a:pt x="9496491" y="3565"/>
                  <a:pt x="9649385" y="3565"/>
                  <a:pt x="9789536" y="3565"/>
                </a:cubicBezTo>
                <a:cubicBezTo>
                  <a:pt x="9967911" y="16296"/>
                  <a:pt x="10146285" y="41753"/>
                  <a:pt x="10311918" y="54481"/>
                </a:cubicBezTo>
                <a:cubicBezTo>
                  <a:pt x="10388364" y="54481"/>
                  <a:pt x="10452071" y="67212"/>
                  <a:pt x="10528515" y="79941"/>
                </a:cubicBezTo>
                <a:cubicBezTo>
                  <a:pt x="10541259" y="79941"/>
                  <a:pt x="10553998" y="92669"/>
                  <a:pt x="10553998" y="105400"/>
                </a:cubicBezTo>
                <a:cubicBezTo>
                  <a:pt x="10566738" y="194504"/>
                  <a:pt x="10553998" y="270880"/>
                  <a:pt x="10579481" y="359985"/>
                </a:cubicBezTo>
                <a:lnTo>
                  <a:pt x="10579481" y="359989"/>
                </a:lnTo>
                <a:cubicBezTo>
                  <a:pt x="10579481" y="385448"/>
                  <a:pt x="10553998" y="398176"/>
                  <a:pt x="10528515" y="410904"/>
                </a:cubicBezTo>
                <a:cubicBezTo>
                  <a:pt x="10477553" y="423636"/>
                  <a:pt x="10439330" y="449092"/>
                  <a:pt x="10388364" y="436364"/>
                </a:cubicBezTo>
                <a:lnTo>
                  <a:pt x="10324662" y="461820"/>
                </a:lnTo>
                <a:lnTo>
                  <a:pt x="10375624" y="487277"/>
                </a:lnTo>
                <a:cubicBezTo>
                  <a:pt x="10388364" y="474548"/>
                  <a:pt x="10401107" y="474548"/>
                  <a:pt x="10401107" y="474548"/>
                </a:cubicBezTo>
                <a:cubicBezTo>
                  <a:pt x="10515775" y="465003"/>
                  <a:pt x="10558775" y="476937"/>
                  <a:pt x="10562358" y="542571"/>
                </a:cubicBezTo>
                <a:lnTo>
                  <a:pt x="10562358" y="542575"/>
                </a:lnTo>
                <a:cubicBezTo>
                  <a:pt x="10563555" y="564451"/>
                  <a:pt x="10560368" y="592299"/>
                  <a:pt x="10553998" y="627304"/>
                </a:cubicBezTo>
                <a:lnTo>
                  <a:pt x="10553998" y="661493"/>
                </a:lnTo>
                <a:lnTo>
                  <a:pt x="10756619" y="681610"/>
                </a:lnTo>
                <a:cubicBezTo>
                  <a:pt x="10833064" y="681610"/>
                  <a:pt x="10896771" y="694341"/>
                  <a:pt x="10973215" y="707070"/>
                </a:cubicBezTo>
                <a:cubicBezTo>
                  <a:pt x="10985959" y="707070"/>
                  <a:pt x="10998699" y="719798"/>
                  <a:pt x="10998699" y="732529"/>
                </a:cubicBezTo>
                <a:cubicBezTo>
                  <a:pt x="11011438" y="821634"/>
                  <a:pt x="10998699" y="898010"/>
                  <a:pt x="11024181" y="987114"/>
                </a:cubicBezTo>
                <a:lnTo>
                  <a:pt x="11024181" y="987118"/>
                </a:lnTo>
                <a:cubicBezTo>
                  <a:pt x="11024181" y="1012577"/>
                  <a:pt x="10998699" y="1025306"/>
                  <a:pt x="10973215" y="1038033"/>
                </a:cubicBezTo>
                <a:cubicBezTo>
                  <a:pt x="10922253" y="1050765"/>
                  <a:pt x="10884030" y="1076222"/>
                  <a:pt x="10833064" y="1063494"/>
                </a:cubicBezTo>
                <a:lnTo>
                  <a:pt x="10769362" y="1088949"/>
                </a:lnTo>
                <a:lnTo>
                  <a:pt x="10820324" y="1114406"/>
                </a:lnTo>
                <a:cubicBezTo>
                  <a:pt x="10833064" y="1101678"/>
                  <a:pt x="10845807" y="1101678"/>
                  <a:pt x="10845807" y="1101678"/>
                </a:cubicBezTo>
                <a:cubicBezTo>
                  <a:pt x="10960476" y="1092132"/>
                  <a:pt x="11003475" y="1104066"/>
                  <a:pt x="11007059" y="1169700"/>
                </a:cubicBezTo>
                <a:lnTo>
                  <a:pt x="11007059" y="1169705"/>
                </a:lnTo>
                <a:cubicBezTo>
                  <a:pt x="11008255" y="1191580"/>
                  <a:pt x="11005068" y="1219428"/>
                  <a:pt x="10998699" y="1254433"/>
                </a:cubicBezTo>
                <a:lnTo>
                  <a:pt x="10998699" y="1381721"/>
                </a:lnTo>
                <a:lnTo>
                  <a:pt x="10998699" y="1381725"/>
                </a:lnTo>
                <a:cubicBezTo>
                  <a:pt x="11011438" y="1432642"/>
                  <a:pt x="10985959" y="1445373"/>
                  <a:pt x="10947736" y="1445373"/>
                </a:cubicBezTo>
                <a:cubicBezTo>
                  <a:pt x="10934993" y="1445373"/>
                  <a:pt x="10922253" y="1442190"/>
                  <a:pt x="10909514" y="1442190"/>
                </a:cubicBezTo>
                <a:lnTo>
                  <a:pt x="10875053" y="1456535"/>
                </a:lnTo>
                <a:lnTo>
                  <a:pt x="10874879" y="1461684"/>
                </a:lnTo>
                <a:lnTo>
                  <a:pt x="10884030" y="1470826"/>
                </a:lnTo>
                <a:cubicBezTo>
                  <a:pt x="10922253" y="1470826"/>
                  <a:pt x="10960476" y="1458097"/>
                  <a:pt x="10998699" y="1483557"/>
                </a:cubicBezTo>
                <a:cubicBezTo>
                  <a:pt x="11017812" y="1496285"/>
                  <a:pt x="11017812" y="1512196"/>
                  <a:pt x="11013031" y="1529701"/>
                </a:cubicBezTo>
                <a:lnTo>
                  <a:pt x="11013031" y="1529705"/>
                </a:lnTo>
                <a:cubicBezTo>
                  <a:pt x="11008255" y="1547206"/>
                  <a:pt x="10998699" y="1566300"/>
                  <a:pt x="10998699" y="1585394"/>
                </a:cubicBezTo>
                <a:lnTo>
                  <a:pt x="10998699" y="1712682"/>
                </a:lnTo>
                <a:lnTo>
                  <a:pt x="10998699" y="1712686"/>
                </a:lnTo>
                <a:cubicBezTo>
                  <a:pt x="11011438" y="1776333"/>
                  <a:pt x="10998699" y="1814521"/>
                  <a:pt x="10934993" y="1814521"/>
                </a:cubicBezTo>
                <a:lnTo>
                  <a:pt x="10896774" y="1839978"/>
                </a:lnTo>
                <a:lnTo>
                  <a:pt x="10973215" y="1852705"/>
                </a:lnTo>
                <a:cubicBezTo>
                  <a:pt x="11024181" y="1878162"/>
                  <a:pt x="11075144" y="1852705"/>
                  <a:pt x="11138850" y="1878162"/>
                </a:cubicBezTo>
                <a:cubicBezTo>
                  <a:pt x="11177073" y="1890893"/>
                  <a:pt x="11240778" y="1878162"/>
                  <a:pt x="11291741" y="1890893"/>
                </a:cubicBezTo>
                <a:cubicBezTo>
                  <a:pt x="11329963" y="1903621"/>
                  <a:pt x="11355446" y="1929081"/>
                  <a:pt x="11342707" y="1979997"/>
                </a:cubicBezTo>
                <a:lnTo>
                  <a:pt x="11342707" y="1980001"/>
                </a:lnTo>
                <a:cubicBezTo>
                  <a:pt x="11317224" y="2030920"/>
                  <a:pt x="11317224" y="2094565"/>
                  <a:pt x="11317224" y="2158213"/>
                </a:cubicBezTo>
                <a:cubicBezTo>
                  <a:pt x="11317224" y="2221857"/>
                  <a:pt x="11291741" y="2260045"/>
                  <a:pt x="11228038" y="2247317"/>
                </a:cubicBezTo>
                <a:cubicBezTo>
                  <a:pt x="11138850" y="2247317"/>
                  <a:pt x="11049661" y="2272776"/>
                  <a:pt x="10960476" y="2272776"/>
                </a:cubicBezTo>
                <a:cubicBezTo>
                  <a:pt x="10934993" y="2272776"/>
                  <a:pt x="10896771" y="2260045"/>
                  <a:pt x="10858548" y="2260045"/>
                </a:cubicBezTo>
                <a:lnTo>
                  <a:pt x="10858551" y="2260041"/>
                </a:lnTo>
                <a:lnTo>
                  <a:pt x="10858548" y="2260041"/>
                </a:lnTo>
                <a:cubicBezTo>
                  <a:pt x="10858548" y="2247313"/>
                  <a:pt x="10871287" y="2244130"/>
                  <a:pt x="10880843" y="2239358"/>
                </a:cubicBezTo>
                <a:lnTo>
                  <a:pt x="10884030" y="2209129"/>
                </a:lnTo>
                <a:lnTo>
                  <a:pt x="10877661" y="2193218"/>
                </a:lnTo>
                <a:cubicBezTo>
                  <a:pt x="10874474" y="2190035"/>
                  <a:pt x="10871287" y="2190035"/>
                  <a:pt x="10871287" y="2196401"/>
                </a:cubicBezTo>
                <a:cubicBezTo>
                  <a:pt x="10858548" y="2221857"/>
                  <a:pt x="10807585" y="2196401"/>
                  <a:pt x="10820324" y="2247317"/>
                </a:cubicBezTo>
                <a:cubicBezTo>
                  <a:pt x="10820324" y="2260045"/>
                  <a:pt x="10833064" y="2272776"/>
                  <a:pt x="10807585" y="2272776"/>
                </a:cubicBezTo>
                <a:cubicBezTo>
                  <a:pt x="10794842" y="2272776"/>
                  <a:pt x="10782102" y="2260045"/>
                  <a:pt x="10782102" y="2247317"/>
                </a:cubicBezTo>
                <a:cubicBezTo>
                  <a:pt x="10782102" y="2196401"/>
                  <a:pt x="10731136" y="2221857"/>
                  <a:pt x="10718397" y="2196401"/>
                </a:cubicBezTo>
                <a:cubicBezTo>
                  <a:pt x="10712026" y="2190035"/>
                  <a:pt x="10705656" y="2193218"/>
                  <a:pt x="10700876" y="2199583"/>
                </a:cubicBezTo>
                <a:lnTo>
                  <a:pt x="10692917" y="2221857"/>
                </a:lnTo>
                <a:lnTo>
                  <a:pt x="10718397" y="2247313"/>
                </a:lnTo>
                <a:cubicBezTo>
                  <a:pt x="10731136" y="2247313"/>
                  <a:pt x="10743879" y="2234584"/>
                  <a:pt x="10769359" y="2260041"/>
                </a:cubicBezTo>
                <a:lnTo>
                  <a:pt x="10769351" y="2260041"/>
                </a:lnTo>
                <a:lnTo>
                  <a:pt x="10769359" y="2260045"/>
                </a:lnTo>
                <a:cubicBezTo>
                  <a:pt x="10705656" y="2272776"/>
                  <a:pt x="10654691" y="2272776"/>
                  <a:pt x="10590985" y="2260045"/>
                </a:cubicBezTo>
                <a:lnTo>
                  <a:pt x="10590992" y="2260041"/>
                </a:lnTo>
                <a:lnTo>
                  <a:pt x="10590985" y="2260041"/>
                </a:lnTo>
                <a:cubicBezTo>
                  <a:pt x="10629207" y="2253678"/>
                  <a:pt x="10654691" y="2237768"/>
                  <a:pt x="10667434" y="2215490"/>
                </a:cubicBezTo>
                <a:lnTo>
                  <a:pt x="10667434" y="2132753"/>
                </a:lnTo>
                <a:lnTo>
                  <a:pt x="10651508" y="2186852"/>
                </a:lnTo>
                <a:cubicBezTo>
                  <a:pt x="10645138" y="2202763"/>
                  <a:pt x="10635581" y="2215494"/>
                  <a:pt x="10616468" y="2221857"/>
                </a:cubicBezTo>
                <a:lnTo>
                  <a:pt x="10616468" y="2221853"/>
                </a:lnTo>
                <a:lnTo>
                  <a:pt x="10616468" y="2132753"/>
                </a:lnTo>
                <a:cubicBezTo>
                  <a:pt x="10578244" y="2145481"/>
                  <a:pt x="10540022" y="2132753"/>
                  <a:pt x="10514540" y="2107293"/>
                </a:cubicBezTo>
                <a:lnTo>
                  <a:pt x="10514540" y="2158209"/>
                </a:lnTo>
                <a:cubicBezTo>
                  <a:pt x="10520913" y="2170937"/>
                  <a:pt x="10520913" y="2183665"/>
                  <a:pt x="10514540" y="2193214"/>
                </a:cubicBezTo>
                <a:lnTo>
                  <a:pt x="10514540" y="2193218"/>
                </a:lnTo>
                <a:cubicBezTo>
                  <a:pt x="10508170" y="2202763"/>
                  <a:pt x="10495430" y="2209129"/>
                  <a:pt x="10476317" y="2209129"/>
                </a:cubicBezTo>
                <a:cubicBezTo>
                  <a:pt x="10463577" y="2221857"/>
                  <a:pt x="10450833" y="2221857"/>
                  <a:pt x="10450833" y="2234588"/>
                </a:cubicBezTo>
                <a:cubicBezTo>
                  <a:pt x="10438093" y="2285505"/>
                  <a:pt x="10412611" y="2272776"/>
                  <a:pt x="10387132" y="2260045"/>
                </a:cubicBezTo>
                <a:cubicBezTo>
                  <a:pt x="10374389" y="2247317"/>
                  <a:pt x="10361648" y="2234588"/>
                  <a:pt x="10356872" y="2221857"/>
                </a:cubicBezTo>
                <a:lnTo>
                  <a:pt x="10356872" y="2221853"/>
                </a:lnTo>
                <a:cubicBezTo>
                  <a:pt x="10352092" y="2209125"/>
                  <a:pt x="10355279" y="2196396"/>
                  <a:pt x="10374389" y="2183665"/>
                </a:cubicBezTo>
                <a:lnTo>
                  <a:pt x="10388721" y="2170937"/>
                </a:lnTo>
                <a:lnTo>
                  <a:pt x="10374389" y="2158213"/>
                </a:lnTo>
                <a:cubicBezTo>
                  <a:pt x="10336165" y="2158213"/>
                  <a:pt x="10336165" y="2120025"/>
                  <a:pt x="10310682" y="2094565"/>
                </a:cubicBezTo>
                <a:lnTo>
                  <a:pt x="10310682" y="2196396"/>
                </a:lnTo>
                <a:cubicBezTo>
                  <a:pt x="10317051" y="2202759"/>
                  <a:pt x="10320238" y="2212308"/>
                  <a:pt x="10318645" y="2220264"/>
                </a:cubicBezTo>
                <a:lnTo>
                  <a:pt x="10318645" y="2220267"/>
                </a:lnTo>
                <a:lnTo>
                  <a:pt x="10300825" y="2232594"/>
                </a:lnTo>
                <a:lnTo>
                  <a:pt x="10301978" y="2239207"/>
                </a:lnTo>
                <a:lnTo>
                  <a:pt x="10296422" y="2239388"/>
                </a:lnTo>
                <a:lnTo>
                  <a:pt x="10288386" y="2264821"/>
                </a:lnTo>
                <a:cubicBezTo>
                  <a:pt x="10285199" y="2272776"/>
                  <a:pt x="10278829" y="2279139"/>
                  <a:pt x="10259716" y="2285505"/>
                </a:cubicBezTo>
                <a:cubicBezTo>
                  <a:pt x="10234235" y="2291868"/>
                  <a:pt x="10211939" y="2291868"/>
                  <a:pt x="10191633" y="2288090"/>
                </a:cubicBezTo>
                <a:lnTo>
                  <a:pt x="10159609" y="2276630"/>
                </a:lnTo>
                <a:lnTo>
                  <a:pt x="10159609" y="2309587"/>
                </a:lnTo>
                <a:lnTo>
                  <a:pt x="10159609" y="2309590"/>
                </a:lnTo>
                <a:cubicBezTo>
                  <a:pt x="10172348" y="2373239"/>
                  <a:pt x="10159609" y="2411426"/>
                  <a:pt x="10095903" y="2411426"/>
                </a:cubicBezTo>
                <a:lnTo>
                  <a:pt x="10069754" y="2428843"/>
                </a:lnTo>
                <a:lnTo>
                  <a:pt x="10071785" y="2429068"/>
                </a:lnTo>
                <a:cubicBezTo>
                  <a:pt x="10081341" y="2431455"/>
                  <a:pt x="10090897" y="2435433"/>
                  <a:pt x="10100452" y="2441798"/>
                </a:cubicBezTo>
                <a:lnTo>
                  <a:pt x="10102365" y="2444322"/>
                </a:lnTo>
                <a:lnTo>
                  <a:pt x="10134125" y="2449610"/>
                </a:lnTo>
                <a:cubicBezTo>
                  <a:pt x="10185092" y="2475066"/>
                  <a:pt x="10236054" y="2449610"/>
                  <a:pt x="10299760" y="2475066"/>
                </a:cubicBezTo>
                <a:cubicBezTo>
                  <a:pt x="10337983" y="2487798"/>
                  <a:pt x="10401688" y="2475066"/>
                  <a:pt x="10452651" y="2487798"/>
                </a:cubicBezTo>
                <a:cubicBezTo>
                  <a:pt x="10481318" y="2497344"/>
                  <a:pt x="10502819" y="2514052"/>
                  <a:pt x="10506403" y="2543290"/>
                </a:cubicBezTo>
                <a:lnTo>
                  <a:pt x="10505962" y="2548616"/>
                </a:lnTo>
                <a:lnTo>
                  <a:pt x="10527283" y="2552816"/>
                </a:lnTo>
                <a:cubicBezTo>
                  <a:pt x="10540022" y="2552816"/>
                  <a:pt x="10552762" y="2552816"/>
                  <a:pt x="10578244" y="2552816"/>
                </a:cubicBezTo>
                <a:cubicBezTo>
                  <a:pt x="10590985" y="2540085"/>
                  <a:pt x="10616468" y="2552816"/>
                  <a:pt x="10616468" y="2565545"/>
                </a:cubicBezTo>
                <a:lnTo>
                  <a:pt x="10616468" y="2565549"/>
                </a:lnTo>
                <a:cubicBezTo>
                  <a:pt x="10616468" y="2591008"/>
                  <a:pt x="10590985" y="2603737"/>
                  <a:pt x="10578244" y="2591008"/>
                </a:cubicBezTo>
                <a:cubicBezTo>
                  <a:pt x="10555948" y="2581462"/>
                  <a:pt x="10532058" y="2576687"/>
                  <a:pt x="10507372" y="2574301"/>
                </a:cubicBezTo>
                <a:lnTo>
                  <a:pt x="10503842" y="2574190"/>
                </a:lnTo>
                <a:lnTo>
                  <a:pt x="10503617" y="2576902"/>
                </a:lnTo>
                <a:lnTo>
                  <a:pt x="10503617" y="2576907"/>
                </a:lnTo>
                <a:lnTo>
                  <a:pt x="10491701" y="2621972"/>
                </a:lnTo>
                <a:lnTo>
                  <a:pt x="10494148" y="2635636"/>
                </a:lnTo>
                <a:lnTo>
                  <a:pt x="10487149" y="2639189"/>
                </a:lnTo>
                <a:lnTo>
                  <a:pt x="10481320" y="2661238"/>
                </a:lnTo>
                <a:cubicBezTo>
                  <a:pt x="10478134" y="2691471"/>
                  <a:pt x="10478134" y="2723294"/>
                  <a:pt x="10478134" y="2755118"/>
                </a:cubicBezTo>
                <a:cubicBezTo>
                  <a:pt x="10478134" y="2818762"/>
                  <a:pt x="10452651" y="2856950"/>
                  <a:pt x="10388948" y="2844222"/>
                </a:cubicBezTo>
                <a:lnTo>
                  <a:pt x="10367409" y="2845503"/>
                </a:lnTo>
                <a:lnTo>
                  <a:pt x="10393494" y="2849134"/>
                </a:lnTo>
                <a:cubicBezTo>
                  <a:pt x="10431717" y="2861862"/>
                  <a:pt x="10457200" y="2887322"/>
                  <a:pt x="10444460" y="2938238"/>
                </a:cubicBezTo>
                <a:lnTo>
                  <a:pt x="10444460" y="2938242"/>
                </a:lnTo>
                <a:cubicBezTo>
                  <a:pt x="10418977" y="2989161"/>
                  <a:pt x="10418977" y="3052806"/>
                  <a:pt x="10418977" y="3116454"/>
                </a:cubicBezTo>
                <a:cubicBezTo>
                  <a:pt x="10418977" y="3180098"/>
                  <a:pt x="10393494" y="3218286"/>
                  <a:pt x="10329793" y="3205558"/>
                </a:cubicBezTo>
                <a:cubicBezTo>
                  <a:pt x="10285198" y="3205558"/>
                  <a:pt x="10240603" y="3211922"/>
                  <a:pt x="10196009" y="3218287"/>
                </a:cubicBezTo>
                <a:lnTo>
                  <a:pt x="10177564" y="3220700"/>
                </a:lnTo>
                <a:lnTo>
                  <a:pt x="10185617" y="3227892"/>
                </a:lnTo>
                <a:lnTo>
                  <a:pt x="10185613" y="3227892"/>
                </a:lnTo>
                <a:lnTo>
                  <a:pt x="10185617" y="3227896"/>
                </a:lnTo>
                <a:cubicBezTo>
                  <a:pt x="10169715" y="3234531"/>
                  <a:pt x="10155404" y="3236190"/>
                  <a:pt x="10141888" y="3234946"/>
                </a:cubicBezTo>
                <a:lnTo>
                  <a:pt x="10115273" y="3227863"/>
                </a:lnTo>
                <a:lnTo>
                  <a:pt x="10062229" y="3231017"/>
                </a:lnTo>
                <a:cubicBezTo>
                  <a:pt x="10036746" y="3231017"/>
                  <a:pt x="9998523" y="3218286"/>
                  <a:pt x="9960301" y="3218286"/>
                </a:cubicBezTo>
                <a:lnTo>
                  <a:pt x="9960305" y="3218282"/>
                </a:lnTo>
                <a:lnTo>
                  <a:pt x="9960301" y="3218282"/>
                </a:lnTo>
                <a:lnTo>
                  <a:pt x="9964365" y="3211124"/>
                </a:lnTo>
                <a:lnTo>
                  <a:pt x="9942666" y="3203371"/>
                </a:lnTo>
                <a:lnTo>
                  <a:pt x="9922279" y="3199041"/>
                </a:lnTo>
                <a:lnTo>
                  <a:pt x="9922078" y="3205558"/>
                </a:lnTo>
                <a:cubicBezTo>
                  <a:pt x="9922078" y="3218286"/>
                  <a:pt x="9934818" y="3231017"/>
                  <a:pt x="9909339" y="3231017"/>
                </a:cubicBezTo>
                <a:cubicBezTo>
                  <a:pt x="9896595" y="3231017"/>
                  <a:pt x="9883855" y="3218286"/>
                  <a:pt x="9883855" y="3205558"/>
                </a:cubicBezTo>
                <a:lnTo>
                  <a:pt x="9878191" y="3187616"/>
                </a:lnTo>
                <a:lnTo>
                  <a:pt x="9853052" y="3179792"/>
                </a:lnTo>
                <a:lnTo>
                  <a:pt x="9809421" y="3152530"/>
                </a:lnTo>
                <a:lnTo>
                  <a:pt x="9802630" y="3157824"/>
                </a:lnTo>
                <a:lnTo>
                  <a:pt x="9794670" y="3180098"/>
                </a:lnTo>
                <a:lnTo>
                  <a:pt x="9820150" y="3205554"/>
                </a:lnTo>
                <a:cubicBezTo>
                  <a:pt x="9832889" y="3205554"/>
                  <a:pt x="9845633" y="3192825"/>
                  <a:pt x="9871112" y="3218282"/>
                </a:cubicBezTo>
                <a:lnTo>
                  <a:pt x="9871104" y="3218282"/>
                </a:lnTo>
                <a:lnTo>
                  <a:pt x="9871112" y="3218286"/>
                </a:lnTo>
                <a:cubicBezTo>
                  <a:pt x="9807411" y="3231017"/>
                  <a:pt x="9756444" y="3231017"/>
                  <a:pt x="9692738" y="3218286"/>
                </a:cubicBezTo>
                <a:lnTo>
                  <a:pt x="9692746" y="3218282"/>
                </a:lnTo>
                <a:lnTo>
                  <a:pt x="9692738" y="3218282"/>
                </a:lnTo>
                <a:cubicBezTo>
                  <a:pt x="9711849" y="3215101"/>
                  <a:pt x="9727776" y="3209532"/>
                  <a:pt x="9740517" y="3201975"/>
                </a:cubicBezTo>
                <a:lnTo>
                  <a:pt x="9749977" y="3192656"/>
                </a:lnTo>
                <a:lnTo>
                  <a:pt x="9739155" y="3187914"/>
                </a:lnTo>
                <a:cubicBezTo>
                  <a:pt x="9694560" y="3168820"/>
                  <a:pt x="9643596" y="3168820"/>
                  <a:pt x="9592632" y="3168820"/>
                </a:cubicBezTo>
                <a:lnTo>
                  <a:pt x="9576763" y="3168319"/>
                </a:lnTo>
                <a:lnTo>
                  <a:pt x="9560551" y="3180098"/>
                </a:lnTo>
                <a:cubicBezTo>
                  <a:pt x="9555773" y="3183281"/>
                  <a:pt x="9552587" y="3186464"/>
                  <a:pt x="9552587" y="3192829"/>
                </a:cubicBezTo>
                <a:cubicBezTo>
                  <a:pt x="9539847" y="3243746"/>
                  <a:pt x="9514364" y="3231017"/>
                  <a:pt x="9488884" y="3218286"/>
                </a:cubicBezTo>
                <a:cubicBezTo>
                  <a:pt x="9476141" y="3205558"/>
                  <a:pt x="9463402" y="3192829"/>
                  <a:pt x="9458625" y="3180098"/>
                </a:cubicBezTo>
                <a:lnTo>
                  <a:pt x="9458625" y="3180094"/>
                </a:lnTo>
                <a:cubicBezTo>
                  <a:pt x="9456235" y="3173729"/>
                  <a:pt x="9455837" y="3167366"/>
                  <a:pt x="9458425" y="3161001"/>
                </a:cubicBezTo>
                <a:lnTo>
                  <a:pt x="9464798" y="3154131"/>
                </a:lnTo>
                <a:lnTo>
                  <a:pt x="9446109" y="3149726"/>
                </a:lnTo>
                <a:lnTo>
                  <a:pt x="9412436" y="3144032"/>
                </a:lnTo>
                <a:lnTo>
                  <a:pt x="9412436" y="3154638"/>
                </a:lnTo>
                <a:cubicBezTo>
                  <a:pt x="9418806" y="3161000"/>
                  <a:pt x="9421993" y="3170549"/>
                  <a:pt x="9420399" y="3178505"/>
                </a:cubicBezTo>
                <a:lnTo>
                  <a:pt x="9420399" y="3178508"/>
                </a:lnTo>
                <a:lnTo>
                  <a:pt x="9402578" y="3190835"/>
                </a:lnTo>
                <a:lnTo>
                  <a:pt x="9403732" y="3197448"/>
                </a:lnTo>
                <a:lnTo>
                  <a:pt x="9398176" y="3197629"/>
                </a:lnTo>
                <a:lnTo>
                  <a:pt x="9390139" y="3223062"/>
                </a:lnTo>
                <a:cubicBezTo>
                  <a:pt x="9386953" y="3231017"/>
                  <a:pt x="9380583" y="3237380"/>
                  <a:pt x="9361470" y="3243746"/>
                </a:cubicBezTo>
                <a:cubicBezTo>
                  <a:pt x="9335988" y="3250109"/>
                  <a:pt x="9313692" y="3250109"/>
                  <a:pt x="9293387" y="3246331"/>
                </a:cubicBezTo>
                <a:lnTo>
                  <a:pt x="9241357" y="3227713"/>
                </a:lnTo>
                <a:lnTo>
                  <a:pt x="9242252" y="3238830"/>
                </a:lnTo>
                <a:lnTo>
                  <a:pt x="9242252" y="3251554"/>
                </a:lnTo>
                <a:lnTo>
                  <a:pt x="9242252" y="3251558"/>
                </a:lnTo>
                <a:cubicBezTo>
                  <a:pt x="9219957" y="3218143"/>
                  <a:pt x="9187907" y="3282190"/>
                  <a:pt x="9163171" y="3256084"/>
                </a:cubicBezTo>
                <a:lnTo>
                  <a:pt x="9154555" y="3241370"/>
                </a:lnTo>
                <a:lnTo>
                  <a:pt x="9145870" y="3243547"/>
                </a:lnTo>
                <a:cubicBezTo>
                  <a:pt x="9128550" y="3245734"/>
                  <a:pt x="9110633" y="3246132"/>
                  <a:pt x="9092318" y="3245336"/>
                </a:cubicBezTo>
                <a:lnTo>
                  <a:pt x="9089103" y="3244929"/>
                </a:lnTo>
                <a:lnTo>
                  <a:pt x="9087311" y="3297706"/>
                </a:lnTo>
                <a:cubicBezTo>
                  <a:pt x="9087311" y="3361351"/>
                  <a:pt x="9061829" y="3399539"/>
                  <a:pt x="8998126" y="3386810"/>
                </a:cubicBezTo>
                <a:cubicBezTo>
                  <a:pt x="8908937" y="3386810"/>
                  <a:pt x="8819749" y="3412270"/>
                  <a:pt x="8730563" y="3412270"/>
                </a:cubicBezTo>
                <a:cubicBezTo>
                  <a:pt x="8705080" y="3412270"/>
                  <a:pt x="8666858" y="3399539"/>
                  <a:pt x="8628635" y="3399539"/>
                </a:cubicBezTo>
                <a:lnTo>
                  <a:pt x="8628638" y="3399535"/>
                </a:lnTo>
                <a:lnTo>
                  <a:pt x="8628635" y="3399535"/>
                </a:lnTo>
                <a:cubicBezTo>
                  <a:pt x="8628635" y="3386806"/>
                  <a:pt x="8641374" y="3383624"/>
                  <a:pt x="8650931" y="3378851"/>
                </a:cubicBezTo>
                <a:lnTo>
                  <a:pt x="8654118" y="3348622"/>
                </a:lnTo>
                <a:lnTo>
                  <a:pt x="8647748" y="3332711"/>
                </a:lnTo>
                <a:cubicBezTo>
                  <a:pt x="8644561" y="3329528"/>
                  <a:pt x="8641374" y="3329528"/>
                  <a:pt x="8641374" y="3335894"/>
                </a:cubicBezTo>
                <a:cubicBezTo>
                  <a:pt x="8628635" y="3361351"/>
                  <a:pt x="8577673" y="3335894"/>
                  <a:pt x="8590412" y="3386810"/>
                </a:cubicBezTo>
                <a:cubicBezTo>
                  <a:pt x="8590412" y="3393174"/>
                  <a:pt x="8593597" y="3399540"/>
                  <a:pt x="8593597" y="3404313"/>
                </a:cubicBezTo>
                <a:lnTo>
                  <a:pt x="8584503" y="3408857"/>
                </a:lnTo>
                <a:lnTo>
                  <a:pt x="8622491" y="3409222"/>
                </a:lnTo>
                <a:cubicBezTo>
                  <a:pt x="8660714" y="3409222"/>
                  <a:pt x="8698940" y="3421950"/>
                  <a:pt x="8724419" y="3421950"/>
                </a:cubicBezTo>
                <a:cubicBezTo>
                  <a:pt x="8788125" y="3434681"/>
                  <a:pt x="8851831" y="3396493"/>
                  <a:pt x="8915537" y="3447410"/>
                </a:cubicBezTo>
                <a:cubicBezTo>
                  <a:pt x="9081167" y="3421950"/>
                  <a:pt x="9246801" y="3485598"/>
                  <a:pt x="9412436" y="3485598"/>
                </a:cubicBezTo>
                <a:cubicBezTo>
                  <a:pt x="9476141" y="3472869"/>
                  <a:pt x="9552587" y="3498326"/>
                  <a:pt x="9629037" y="3511057"/>
                </a:cubicBezTo>
                <a:cubicBezTo>
                  <a:pt x="9641776" y="3511057"/>
                  <a:pt x="9654515" y="3511057"/>
                  <a:pt x="9679999" y="3511057"/>
                </a:cubicBezTo>
                <a:cubicBezTo>
                  <a:pt x="9692738" y="3498326"/>
                  <a:pt x="9718221" y="3511057"/>
                  <a:pt x="9718221" y="3523786"/>
                </a:cubicBezTo>
                <a:lnTo>
                  <a:pt x="9718221" y="3523790"/>
                </a:lnTo>
                <a:cubicBezTo>
                  <a:pt x="9718221" y="3549249"/>
                  <a:pt x="9692738" y="3561978"/>
                  <a:pt x="9679999" y="3549249"/>
                </a:cubicBezTo>
                <a:cubicBezTo>
                  <a:pt x="9590809" y="3511061"/>
                  <a:pt x="9476141" y="3549249"/>
                  <a:pt x="9386953" y="3511061"/>
                </a:cubicBezTo>
                <a:cubicBezTo>
                  <a:pt x="9297768" y="3485602"/>
                  <a:pt x="9221319" y="3511061"/>
                  <a:pt x="9144874" y="3498330"/>
                </a:cubicBezTo>
                <a:lnTo>
                  <a:pt x="9144874" y="3499402"/>
                </a:lnTo>
                <a:lnTo>
                  <a:pt x="9144874" y="3531742"/>
                </a:lnTo>
                <a:lnTo>
                  <a:pt x="9183096" y="3536514"/>
                </a:lnTo>
                <a:cubicBezTo>
                  <a:pt x="9221319" y="3511057"/>
                  <a:pt x="9272284" y="3523786"/>
                  <a:pt x="9323247" y="3561974"/>
                </a:cubicBezTo>
                <a:lnTo>
                  <a:pt x="9323243" y="3561974"/>
                </a:lnTo>
                <a:lnTo>
                  <a:pt x="9323247" y="3561978"/>
                </a:lnTo>
                <a:cubicBezTo>
                  <a:pt x="9285025" y="3561978"/>
                  <a:pt x="9259545" y="3574706"/>
                  <a:pt x="9234062" y="3561978"/>
                </a:cubicBezTo>
                <a:cubicBezTo>
                  <a:pt x="9195839" y="3549249"/>
                  <a:pt x="9170356" y="3536518"/>
                  <a:pt x="9183096" y="3600166"/>
                </a:cubicBezTo>
                <a:lnTo>
                  <a:pt x="9183096" y="3612890"/>
                </a:lnTo>
                <a:lnTo>
                  <a:pt x="9183096" y="3612894"/>
                </a:lnTo>
                <a:cubicBezTo>
                  <a:pt x="9157617" y="3574706"/>
                  <a:pt x="9119394" y="3663813"/>
                  <a:pt x="9093910" y="3600166"/>
                </a:cubicBezTo>
                <a:cubicBezTo>
                  <a:pt x="9093910" y="3600166"/>
                  <a:pt x="9081167" y="3587437"/>
                  <a:pt x="9081167" y="3587437"/>
                </a:cubicBezTo>
                <a:cubicBezTo>
                  <a:pt x="9030205" y="3625625"/>
                  <a:pt x="9004721" y="3561978"/>
                  <a:pt x="8966499" y="3561978"/>
                </a:cubicBezTo>
                <a:lnTo>
                  <a:pt x="8966502" y="3561974"/>
                </a:lnTo>
                <a:lnTo>
                  <a:pt x="8966499" y="3561974"/>
                </a:lnTo>
                <a:cubicBezTo>
                  <a:pt x="8972873" y="3549245"/>
                  <a:pt x="8982426" y="3542880"/>
                  <a:pt x="8990389" y="3534925"/>
                </a:cubicBezTo>
                <a:lnTo>
                  <a:pt x="9004721" y="3498330"/>
                </a:lnTo>
                <a:lnTo>
                  <a:pt x="8979243" y="3485602"/>
                </a:lnTo>
                <a:cubicBezTo>
                  <a:pt x="8979243" y="3485602"/>
                  <a:pt x="8966499" y="3485602"/>
                  <a:pt x="8966499" y="3485602"/>
                </a:cubicBezTo>
                <a:cubicBezTo>
                  <a:pt x="8966499" y="3517424"/>
                  <a:pt x="8937833" y="3530155"/>
                  <a:pt x="8913943" y="3546066"/>
                </a:cubicBezTo>
                <a:lnTo>
                  <a:pt x="8885872" y="3575103"/>
                </a:lnTo>
                <a:lnTo>
                  <a:pt x="8890054" y="3625622"/>
                </a:lnTo>
                <a:lnTo>
                  <a:pt x="8890054" y="3625625"/>
                </a:lnTo>
                <a:cubicBezTo>
                  <a:pt x="8877314" y="3625625"/>
                  <a:pt x="8877314" y="3625625"/>
                  <a:pt x="8864570" y="3625625"/>
                </a:cubicBezTo>
                <a:cubicBezTo>
                  <a:pt x="8839092" y="3600166"/>
                  <a:pt x="8813608" y="3561978"/>
                  <a:pt x="8788125" y="3536518"/>
                </a:cubicBezTo>
                <a:lnTo>
                  <a:pt x="8724419" y="3536518"/>
                </a:lnTo>
                <a:lnTo>
                  <a:pt x="8729200" y="3560380"/>
                </a:lnTo>
                <a:cubicBezTo>
                  <a:pt x="8737163" y="3565156"/>
                  <a:pt x="8749903" y="3568339"/>
                  <a:pt x="8762642" y="3574702"/>
                </a:cubicBezTo>
                <a:lnTo>
                  <a:pt x="8762642" y="3574706"/>
                </a:lnTo>
                <a:lnTo>
                  <a:pt x="8762642" y="3600161"/>
                </a:lnTo>
                <a:lnTo>
                  <a:pt x="8762642" y="3600166"/>
                </a:lnTo>
                <a:cubicBezTo>
                  <a:pt x="8749903" y="3600166"/>
                  <a:pt x="8737163" y="3600166"/>
                  <a:pt x="8724419" y="3587437"/>
                </a:cubicBezTo>
                <a:cubicBezTo>
                  <a:pt x="8698940" y="3587437"/>
                  <a:pt x="8724419" y="3536518"/>
                  <a:pt x="8686196" y="3523790"/>
                </a:cubicBezTo>
                <a:cubicBezTo>
                  <a:pt x="8698940" y="3574706"/>
                  <a:pt x="8660714" y="3574706"/>
                  <a:pt x="8635235" y="3574706"/>
                </a:cubicBezTo>
                <a:cubicBezTo>
                  <a:pt x="8584268" y="3587437"/>
                  <a:pt x="8546045" y="3587437"/>
                  <a:pt x="8495084" y="3600166"/>
                </a:cubicBezTo>
                <a:cubicBezTo>
                  <a:pt x="8482340" y="3600166"/>
                  <a:pt x="8469600" y="3600166"/>
                  <a:pt x="8456861" y="3600166"/>
                </a:cubicBezTo>
                <a:cubicBezTo>
                  <a:pt x="8418638" y="3561978"/>
                  <a:pt x="8393155" y="3536518"/>
                  <a:pt x="8380412" y="3612894"/>
                </a:cubicBezTo>
                <a:cubicBezTo>
                  <a:pt x="8380412" y="3625625"/>
                  <a:pt x="8367672" y="3625625"/>
                  <a:pt x="8354932" y="3612894"/>
                </a:cubicBezTo>
                <a:cubicBezTo>
                  <a:pt x="8329449" y="3523790"/>
                  <a:pt x="8303966" y="3638353"/>
                  <a:pt x="8278486" y="3612894"/>
                </a:cubicBezTo>
                <a:cubicBezTo>
                  <a:pt x="8291226" y="3561978"/>
                  <a:pt x="8214780" y="3587437"/>
                  <a:pt x="8202038" y="3549249"/>
                </a:cubicBezTo>
                <a:cubicBezTo>
                  <a:pt x="8163815" y="3574706"/>
                  <a:pt x="8163815" y="3561978"/>
                  <a:pt x="8163815" y="3523790"/>
                </a:cubicBezTo>
                <a:cubicBezTo>
                  <a:pt x="8176559" y="3511061"/>
                  <a:pt x="8176559" y="3498330"/>
                  <a:pt x="8151075" y="3485602"/>
                </a:cubicBezTo>
                <a:cubicBezTo>
                  <a:pt x="8138336" y="3511061"/>
                  <a:pt x="8112853" y="3498330"/>
                  <a:pt x="8100114" y="3523790"/>
                </a:cubicBezTo>
                <a:cubicBezTo>
                  <a:pt x="8087370" y="3561978"/>
                  <a:pt x="8061886" y="3574706"/>
                  <a:pt x="8023664" y="3536518"/>
                </a:cubicBezTo>
                <a:cubicBezTo>
                  <a:pt x="7985441" y="3498330"/>
                  <a:pt x="7959962" y="3511061"/>
                  <a:pt x="7959962" y="3549249"/>
                </a:cubicBezTo>
                <a:cubicBezTo>
                  <a:pt x="7959962" y="3612894"/>
                  <a:pt x="7896257" y="3574706"/>
                  <a:pt x="7883512" y="3600166"/>
                </a:cubicBezTo>
                <a:cubicBezTo>
                  <a:pt x="7870773" y="3600166"/>
                  <a:pt x="7896257" y="3498330"/>
                  <a:pt x="7832551" y="3574706"/>
                </a:cubicBezTo>
                <a:cubicBezTo>
                  <a:pt x="7832551" y="3561978"/>
                  <a:pt x="7819810" y="3561978"/>
                  <a:pt x="7807067" y="3549249"/>
                </a:cubicBezTo>
                <a:cubicBezTo>
                  <a:pt x="7794328" y="3536518"/>
                  <a:pt x="7756105" y="3549249"/>
                  <a:pt x="7756105" y="3561978"/>
                </a:cubicBezTo>
                <a:cubicBezTo>
                  <a:pt x="7756105" y="3625625"/>
                  <a:pt x="7705139" y="3600166"/>
                  <a:pt x="7679659" y="3600166"/>
                </a:cubicBezTo>
                <a:cubicBezTo>
                  <a:pt x="7660546" y="3606531"/>
                  <a:pt x="7644620" y="3606531"/>
                  <a:pt x="7628693" y="3604938"/>
                </a:cubicBezTo>
                <a:lnTo>
                  <a:pt x="7577743" y="3600166"/>
                </a:lnTo>
                <a:lnTo>
                  <a:pt x="7641935" y="3623363"/>
                </a:lnTo>
                <a:lnTo>
                  <a:pt x="7645983" y="3622994"/>
                </a:lnTo>
                <a:cubicBezTo>
                  <a:pt x="7666687" y="3622298"/>
                  <a:pt x="7687390" y="3622694"/>
                  <a:pt x="7708095" y="3623888"/>
                </a:cubicBezTo>
                <a:lnTo>
                  <a:pt x="7723131" y="3625622"/>
                </a:lnTo>
                <a:lnTo>
                  <a:pt x="7773624" y="3625622"/>
                </a:lnTo>
                <a:cubicBezTo>
                  <a:pt x="7791143" y="3625622"/>
                  <a:pt x="7807069" y="3625622"/>
                  <a:pt x="7819810" y="3625622"/>
                </a:cubicBezTo>
                <a:cubicBezTo>
                  <a:pt x="7826180" y="3625622"/>
                  <a:pt x="7832551" y="3628804"/>
                  <a:pt x="7837328" y="3633576"/>
                </a:cubicBezTo>
                <a:lnTo>
                  <a:pt x="7839970" y="3639385"/>
                </a:lnTo>
                <a:lnTo>
                  <a:pt x="7956545" y="3657303"/>
                </a:lnTo>
                <a:cubicBezTo>
                  <a:pt x="7997953" y="3662873"/>
                  <a:pt x="8039362" y="3666850"/>
                  <a:pt x="8080770" y="3666850"/>
                </a:cubicBezTo>
                <a:cubicBezTo>
                  <a:pt x="8144476" y="3654122"/>
                  <a:pt x="8220922" y="3679579"/>
                  <a:pt x="8297370" y="3692310"/>
                </a:cubicBezTo>
                <a:cubicBezTo>
                  <a:pt x="8310110" y="3692310"/>
                  <a:pt x="8322849" y="3692310"/>
                  <a:pt x="8348332" y="3692310"/>
                </a:cubicBezTo>
                <a:cubicBezTo>
                  <a:pt x="8361072" y="3679579"/>
                  <a:pt x="8386555" y="3692310"/>
                  <a:pt x="8386555" y="3705038"/>
                </a:cubicBezTo>
                <a:lnTo>
                  <a:pt x="8386555" y="3705042"/>
                </a:lnTo>
                <a:cubicBezTo>
                  <a:pt x="8386555" y="3730502"/>
                  <a:pt x="8361072" y="3743230"/>
                  <a:pt x="8348332" y="3730502"/>
                </a:cubicBezTo>
                <a:cubicBezTo>
                  <a:pt x="8259144" y="3692314"/>
                  <a:pt x="8144476" y="3730502"/>
                  <a:pt x="8055287" y="3692314"/>
                </a:cubicBezTo>
                <a:cubicBezTo>
                  <a:pt x="7966102" y="3666854"/>
                  <a:pt x="7889653" y="3692314"/>
                  <a:pt x="7813208" y="3679583"/>
                </a:cubicBezTo>
                <a:lnTo>
                  <a:pt x="7813208" y="3680655"/>
                </a:lnTo>
                <a:lnTo>
                  <a:pt x="7813208" y="3712994"/>
                </a:lnTo>
                <a:lnTo>
                  <a:pt x="7851430" y="3717766"/>
                </a:lnTo>
                <a:cubicBezTo>
                  <a:pt x="7889653" y="3692310"/>
                  <a:pt x="7940618" y="3705038"/>
                  <a:pt x="7991581" y="3743226"/>
                </a:cubicBezTo>
                <a:lnTo>
                  <a:pt x="7991577" y="3743226"/>
                </a:lnTo>
                <a:lnTo>
                  <a:pt x="7991581" y="3743230"/>
                </a:lnTo>
                <a:cubicBezTo>
                  <a:pt x="7953359" y="3743230"/>
                  <a:pt x="7927879" y="3755958"/>
                  <a:pt x="7902396" y="3743230"/>
                </a:cubicBezTo>
                <a:cubicBezTo>
                  <a:pt x="7864173" y="3730502"/>
                  <a:pt x="7838690" y="3717771"/>
                  <a:pt x="7851430" y="3781418"/>
                </a:cubicBezTo>
                <a:lnTo>
                  <a:pt x="7851430" y="3794142"/>
                </a:lnTo>
                <a:lnTo>
                  <a:pt x="7851430" y="3794146"/>
                </a:lnTo>
                <a:cubicBezTo>
                  <a:pt x="7825951" y="3755958"/>
                  <a:pt x="7787728" y="3845066"/>
                  <a:pt x="7762245" y="3781418"/>
                </a:cubicBezTo>
                <a:cubicBezTo>
                  <a:pt x="7762245" y="3781418"/>
                  <a:pt x="7749502" y="3768690"/>
                  <a:pt x="7749502" y="3768690"/>
                </a:cubicBezTo>
                <a:cubicBezTo>
                  <a:pt x="7698539" y="3806878"/>
                  <a:pt x="7673056" y="3743230"/>
                  <a:pt x="7634834" y="3743230"/>
                </a:cubicBezTo>
                <a:lnTo>
                  <a:pt x="7634838" y="3743226"/>
                </a:lnTo>
                <a:lnTo>
                  <a:pt x="7634834" y="3743226"/>
                </a:lnTo>
                <a:cubicBezTo>
                  <a:pt x="7641207" y="3730498"/>
                  <a:pt x="7650760" y="3724132"/>
                  <a:pt x="7658723" y="3716177"/>
                </a:cubicBezTo>
                <a:lnTo>
                  <a:pt x="7673056" y="3679583"/>
                </a:lnTo>
                <a:lnTo>
                  <a:pt x="7647577" y="3666854"/>
                </a:lnTo>
                <a:cubicBezTo>
                  <a:pt x="7647577" y="3666854"/>
                  <a:pt x="7634834" y="3666854"/>
                  <a:pt x="7634834" y="3666854"/>
                </a:cubicBezTo>
                <a:cubicBezTo>
                  <a:pt x="7634834" y="3698677"/>
                  <a:pt x="7606167" y="3711408"/>
                  <a:pt x="7582278" y="3727319"/>
                </a:cubicBezTo>
                <a:lnTo>
                  <a:pt x="7554206" y="3756355"/>
                </a:lnTo>
                <a:lnTo>
                  <a:pt x="7558388" y="3806875"/>
                </a:lnTo>
                <a:lnTo>
                  <a:pt x="7558388" y="3806878"/>
                </a:lnTo>
                <a:cubicBezTo>
                  <a:pt x="7545648" y="3806878"/>
                  <a:pt x="7545648" y="3806878"/>
                  <a:pt x="7532905" y="3806878"/>
                </a:cubicBezTo>
                <a:cubicBezTo>
                  <a:pt x="7507426" y="3781418"/>
                  <a:pt x="7481942" y="3743230"/>
                  <a:pt x="7456459" y="3717771"/>
                </a:cubicBezTo>
                <a:lnTo>
                  <a:pt x="7392754" y="3717771"/>
                </a:lnTo>
                <a:lnTo>
                  <a:pt x="7397534" y="3741633"/>
                </a:lnTo>
                <a:cubicBezTo>
                  <a:pt x="7405497" y="3746409"/>
                  <a:pt x="7418237" y="3749592"/>
                  <a:pt x="7430977" y="3755954"/>
                </a:cubicBezTo>
                <a:lnTo>
                  <a:pt x="7430977" y="3755958"/>
                </a:lnTo>
                <a:lnTo>
                  <a:pt x="7430977" y="3781414"/>
                </a:lnTo>
                <a:lnTo>
                  <a:pt x="7430977" y="3781418"/>
                </a:lnTo>
                <a:cubicBezTo>
                  <a:pt x="7418237" y="3781418"/>
                  <a:pt x="7405497" y="3781418"/>
                  <a:pt x="7392754" y="3768690"/>
                </a:cubicBezTo>
                <a:cubicBezTo>
                  <a:pt x="7367275" y="3768690"/>
                  <a:pt x="7392754" y="3717771"/>
                  <a:pt x="7354531" y="3705042"/>
                </a:cubicBezTo>
                <a:cubicBezTo>
                  <a:pt x="7367275" y="3755958"/>
                  <a:pt x="7329048" y="3755958"/>
                  <a:pt x="7303569" y="3755958"/>
                </a:cubicBezTo>
                <a:cubicBezTo>
                  <a:pt x="7252603" y="3768690"/>
                  <a:pt x="7214379" y="3768690"/>
                  <a:pt x="7163418" y="3781418"/>
                </a:cubicBezTo>
                <a:cubicBezTo>
                  <a:pt x="7150675" y="3781418"/>
                  <a:pt x="7137934" y="3781418"/>
                  <a:pt x="7125195" y="3781418"/>
                </a:cubicBezTo>
                <a:cubicBezTo>
                  <a:pt x="7086972" y="3743230"/>
                  <a:pt x="7061489" y="3717771"/>
                  <a:pt x="7048746" y="3794146"/>
                </a:cubicBezTo>
                <a:cubicBezTo>
                  <a:pt x="7048746" y="3806878"/>
                  <a:pt x="7036006" y="3806878"/>
                  <a:pt x="7023266" y="3794146"/>
                </a:cubicBezTo>
                <a:cubicBezTo>
                  <a:pt x="6997783" y="3705042"/>
                  <a:pt x="6972300" y="3819606"/>
                  <a:pt x="6946821" y="3794146"/>
                </a:cubicBezTo>
                <a:cubicBezTo>
                  <a:pt x="6959561" y="3743230"/>
                  <a:pt x="6883115" y="3768690"/>
                  <a:pt x="6870371" y="3730502"/>
                </a:cubicBezTo>
                <a:cubicBezTo>
                  <a:pt x="6832149" y="3755958"/>
                  <a:pt x="6832149" y="3743230"/>
                  <a:pt x="6832149" y="3705042"/>
                </a:cubicBezTo>
                <a:cubicBezTo>
                  <a:pt x="6844893" y="3692314"/>
                  <a:pt x="6844893" y="3679583"/>
                  <a:pt x="6819409" y="3666854"/>
                </a:cubicBezTo>
                <a:cubicBezTo>
                  <a:pt x="6806670" y="3692314"/>
                  <a:pt x="6781187" y="3679583"/>
                  <a:pt x="6768448" y="3705042"/>
                </a:cubicBezTo>
                <a:cubicBezTo>
                  <a:pt x="6755704" y="3743230"/>
                  <a:pt x="6730220" y="3755958"/>
                  <a:pt x="6691998" y="3717771"/>
                </a:cubicBezTo>
                <a:cubicBezTo>
                  <a:pt x="6653775" y="3679583"/>
                  <a:pt x="6628296" y="3692314"/>
                  <a:pt x="6628296" y="3730502"/>
                </a:cubicBezTo>
                <a:cubicBezTo>
                  <a:pt x="6628296" y="3794146"/>
                  <a:pt x="6564591" y="3755958"/>
                  <a:pt x="6551846" y="3781418"/>
                </a:cubicBezTo>
                <a:cubicBezTo>
                  <a:pt x="6539107" y="3781418"/>
                  <a:pt x="6564591" y="3679583"/>
                  <a:pt x="6500885" y="3755958"/>
                </a:cubicBezTo>
                <a:cubicBezTo>
                  <a:pt x="6500885" y="3743230"/>
                  <a:pt x="6488144" y="3743230"/>
                  <a:pt x="6475401" y="3730502"/>
                </a:cubicBezTo>
                <a:cubicBezTo>
                  <a:pt x="6462662" y="3717771"/>
                  <a:pt x="6424439" y="3730502"/>
                  <a:pt x="6424439" y="3743230"/>
                </a:cubicBezTo>
                <a:cubicBezTo>
                  <a:pt x="6424439" y="3806878"/>
                  <a:pt x="6373473" y="3781418"/>
                  <a:pt x="6347993" y="3781418"/>
                </a:cubicBezTo>
                <a:cubicBezTo>
                  <a:pt x="6328880" y="3787784"/>
                  <a:pt x="6312954" y="3787784"/>
                  <a:pt x="6297027" y="3786190"/>
                </a:cubicBezTo>
                <a:lnTo>
                  <a:pt x="6246077" y="3781418"/>
                </a:lnTo>
                <a:lnTo>
                  <a:pt x="6320917" y="3808464"/>
                </a:lnTo>
                <a:cubicBezTo>
                  <a:pt x="6344807" y="3810054"/>
                  <a:pt x="6367103" y="3806875"/>
                  <a:pt x="6386217" y="3806875"/>
                </a:cubicBezTo>
                <a:cubicBezTo>
                  <a:pt x="6424439" y="3806875"/>
                  <a:pt x="6462662" y="3806875"/>
                  <a:pt x="6488144" y="3806875"/>
                </a:cubicBezTo>
                <a:cubicBezTo>
                  <a:pt x="6500885" y="3806875"/>
                  <a:pt x="6513624" y="3819602"/>
                  <a:pt x="6513624" y="3832330"/>
                </a:cubicBezTo>
                <a:lnTo>
                  <a:pt x="6513624" y="3832334"/>
                </a:lnTo>
                <a:cubicBezTo>
                  <a:pt x="6513624" y="3845066"/>
                  <a:pt x="6500885" y="3832334"/>
                  <a:pt x="6488144" y="3832334"/>
                </a:cubicBezTo>
                <a:cubicBezTo>
                  <a:pt x="6449918" y="3832334"/>
                  <a:pt x="6411695" y="3832334"/>
                  <a:pt x="6386217" y="3845066"/>
                </a:cubicBezTo>
                <a:cubicBezTo>
                  <a:pt x="6347993" y="3870522"/>
                  <a:pt x="6322511" y="3819606"/>
                  <a:pt x="6284288" y="3819606"/>
                </a:cubicBezTo>
                <a:cubicBezTo>
                  <a:pt x="6246065" y="3832334"/>
                  <a:pt x="6207842" y="3845066"/>
                  <a:pt x="6156876" y="3845066"/>
                </a:cubicBezTo>
                <a:cubicBezTo>
                  <a:pt x="6144137" y="3845066"/>
                  <a:pt x="6118654" y="3857794"/>
                  <a:pt x="6118654" y="3832334"/>
                </a:cubicBezTo>
                <a:lnTo>
                  <a:pt x="6118654" y="3832330"/>
                </a:lnTo>
                <a:cubicBezTo>
                  <a:pt x="6118654" y="3806875"/>
                  <a:pt x="6144137" y="3794142"/>
                  <a:pt x="6156876" y="3794142"/>
                </a:cubicBezTo>
                <a:cubicBezTo>
                  <a:pt x="6163246" y="3794142"/>
                  <a:pt x="6169616" y="3797325"/>
                  <a:pt x="6175990" y="3798915"/>
                </a:cubicBezTo>
                <a:lnTo>
                  <a:pt x="6195095" y="3794142"/>
                </a:lnTo>
                <a:lnTo>
                  <a:pt x="6144137" y="3770279"/>
                </a:lnTo>
                <a:cubicBezTo>
                  <a:pt x="6128210" y="3762324"/>
                  <a:pt x="6118654" y="3749596"/>
                  <a:pt x="6131393" y="3717771"/>
                </a:cubicBezTo>
                <a:lnTo>
                  <a:pt x="6083618" y="3748002"/>
                </a:lnTo>
                <a:lnTo>
                  <a:pt x="6093170" y="3806875"/>
                </a:lnTo>
                <a:lnTo>
                  <a:pt x="6093170" y="3806878"/>
                </a:lnTo>
                <a:cubicBezTo>
                  <a:pt x="6105914" y="3819606"/>
                  <a:pt x="6093170" y="3832334"/>
                  <a:pt x="6067691" y="3832334"/>
                </a:cubicBezTo>
                <a:cubicBezTo>
                  <a:pt x="6042209" y="3845066"/>
                  <a:pt x="6016725" y="3857794"/>
                  <a:pt x="5991242" y="3832334"/>
                </a:cubicBezTo>
                <a:cubicBezTo>
                  <a:pt x="5984872" y="3819606"/>
                  <a:pt x="5984872" y="3813240"/>
                  <a:pt x="5989653" y="3808468"/>
                </a:cubicBezTo>
                <a:lnTo>
                  <a:pt x="5989653" y="3808464"/>
                </a:lnTo>
                <a:cubicBezTo>
                  <a:pt x="5994429" y="3803691"/>
                  <a:pt x="6003985" y="3800508"/>
                  <a:pt x="6016725" y="3794142"/>
                </a:cubicBezTo>
                <a:lnTo>
                  <a:pt x="6016725" y="3768690"/>
                </a:lnTo>
                <a:cubicBezTo>
                  <a:pt x="5991242" y="3755958"/>
                  <a:pt x="6029464" y="3717771"/>
                  <a:pt x="6003985" y="3717771"/>
                </a:cubicBezTo>
                <a:cubicBezTo>
                  <a:pt x="5978503" y="3705042"/>
                  <a:pt x="5978503" y="3717771"/>
                  <a:pt x="5965762" y="3743230"/>
                </a:cubicBezTo>
                <a:cubicBezTo>
                  <a:pt x="5940280" y="3781418"/>
                  <a:pt x="5902057" y="3781418"/>
                  <a:pt x="5863834" y="3768690"/>
                </a:cubicBezTo>
                <a:cubicBezTo>
                  <a:pt x="5838351" y="3755958"/>
                  <a:pt x="5812868" y="3768690"/>
                  <a:pt x="5812868" y="3794146"/>
                </a:cubicBezTo>
                <a:cubicBezTo>
                  <a:pt x="5800129" y="3845066"/>
                  <a:pt x="5774646" y="3832334"/>
                  <a:pt x="5736423" y="3832334"/>
                </a:cubicBezTo>
                <a:cubicBezTo>
                  <a:pt x="5621754" y="3832334"/>
                  <a:pt x="5494344" y="3832334"/>
                  <a:pt x="5366935" y="3832334"/>
                </a:cubicBezTo>
                <a:cubicBezTo>
                  <a:pt x="5354192" y="3832334"/>
                  <a:pt x="5341452" y="3832334"/>
                  <a:pt x="5341452" y="3819606"/>
                </a:cubicBezTo>
                <a:lnTo>
                  <a:pt x="5341456" y="3819602"/>
                </a:lnTo>
                <a:lnTo>
                  <a:pt x="5341452" y="3819602"/>
                </a:lnTo>
                <a:cubicBezTo>
                  <a:pt x="5341452" y="3794142"/>
                  <a:pt x="5354192" y="3781414"/>
                  <a:pt x="5379675" y="3781414"/>
                </a:cubicBezTo>
                <a:cubicBezTo>
                  <a:pt x="5430637" y="3781414"/>
                  <a:pt x="5481603" y="3781414"/>
                  <a:pt x="5532566" y="3781414"/>
                </a:cubicBezTo>
                <a:cubicBezTo>
                  <a:pt x="5596272" y="3794142"/>
                  <a:pt x="5659978" y="3755954"/>
                  <a:pt x="5710940" y="3806875"/>
                </a:cubicBezTo>
                <a:cubicBezTo>
                  <a:pt x="5717314" y="3794142"/>
                  <a:pt x="5730053" y="3794142"/>
                  <a:pt x="5742792" y="3795736"/>
                </a:cubicBezTo>
                <a:lnTo>
                  <a:pt x="5774646" y="3794142"/>
                </a:lnTo>
                <a:lnTo>
                  <a:pt x="5749166" y="3730502"/>
                </a:lnTo>
                <a:lnTo>
                  <a:pt x="5752349" y="3757548"/>
                </a:lnTo>
                <a:lnTo>
                  <a:pt x="5752349" y="3757552"/>
                </a:lnTo>
                <a:cubicBezTo>
                  <a:pt x="5752349" y="3765507"/>
                  <a:pt x="5749166" y="3768686"/>
                  <a:pt x="5736423" y="3755958"/>
                </a:cubicBezTo>
                <a:cubicBezTo>
                  <a:pt x="5685460" y="3730502"/>
                  <a:pt x="5634494" y="3743230"/>
                  <a:pt x="5583532" y="3743230"/>
                </a:cubicBezTo>
                <a:cubicBezTo>
                  <a:pt x="5570789" y="3743230"/>
                  <a:pt x="5570789" y="3743230"/>
                  <a:pt x="5558049" y="3730502"/>
                </a:cubicBezTo>
                <a:lnTo>
                  <a:pt x="5542122" y="3722547"/>
                </a:lnTo>
                <a:lnTo>
                  <a:pt x="5545309" y="3743226"/>
                </a:lnTo>
                <a:lnTo>
                  <a:pt x="5545309" y="3743230"/>
                </a:lnTo>
                <a:lnTo>
                  <a:pt x="5545309" y="3768686"/>
                </a:lnTo>
                <a:lnTo>
                  <a:pt x="5545309" y="3768690"/>
                </a:lnTo>
                <a:cubicBezTo>
                  <a:pt x="5494344" y="3717771"/>
                  <a:pt x="5443380" y="3692314"/>
                  <a:pt x="5392415" y="3717771"/>
                </a:cubicBezTo>
                <a:cubicBezTo>
                  <a:pt x="5373305" y="3724136"/>
                  <a:pt x="5354192" y="3714588"/>
                  <a:pt x="5335083" y="3706632"/>
                </a:cubicBezTo>
                <a:lnTo>
                  <a:pt x="5277755" y="3705042"/>
                </a:lnTo>
                <a:lnTo>
                  <a:pt x="5327120" y="3727315"/>
                </a:lnTo>
                <a:cubicBezTo>
                  <a:pt x="5335877" y="3730498"/>
                  <a:pt x="5341054" y="3734476"/>
                  <a:pt x="5336873" y="3740838"/>
                </a:cubicBezTo>
                <a:lnTo>
                  <a:pt x="5336873" y="3740842"/>
                </a:lnTo>
                <a:cubicBezTo>
                  <a:pt x="5332690" y="3747208"/>
                  <a:pt x="5319156" y="3755958"/>
                  <a:pt x="5290486" y="3768690"/>
                </a:cubicBezTo>
                <a:lnTo>
                  <a:pt x="5290486" y="3789373"/>
                </a:lnTo>
                <a:lnTo>
                  <a:pt x="5290486" y="3819602"/>
                </a:lnTo>
                <a:lnTo>
                  <a:pt x="5290486" y="3819606"/>
                </a:lnTo>
                <a:cubicBezTo>
                  <a:pt x="5265007" y="3819606"/>
                  <a:pt x="5265007" y="3806878"/>
                  <a:pt x="5265007" y="3794146"/>
                </a:cubicBezTo>
                <a:cubicBezTo>
                  <a:pt x="5252264" y="3768690"/>
                  <a:pt x="5252264" y="3755958"/>
                  <a:pt x="5214041" y="3755958"/>
                </a:cubicBezTo>
                <a:cubicBezTo>
                  <a:pt x="5188558" y="3755958"/>
                  <a:pt x="5201301" y="3781418"/>
                  <a:pt x="5188558" y="3794146"/>
                </a:cubicBezTo>
                <a:cubicBezTo>
                  <a:pt x="5188558" y="3819606"/>
                  <a:pt x="5175818" y="3819606"/>
                  <a:pt x="5150335" y="3819606"/>
                </a:cubicBezTo>
                <a:cubicBezTo>
                  <a:pt x="5061150" y="3819606"/>
                  <a:pt x="4971961" y="3806878"/>
                  <a:pt x="4882776" y="3794146"/>
                </a:cubicBezTo>
                <a:lnTo>
                  <a:pt x="4880281" y="3793730"/>
                </a:lnTo>
                <a:lnTo>
                  <a:pt x="4854143" y="3811141"/>
                </a:lnTo>
                <a:lnTo>
                  <a:pt x="4930585" y="3823869"/>
                </a:lnTo>
                <a:cubicBezTo>
                  <a:pt x="4981550" y="3849324"/>
                  <a:pt x="5032513" y="3823869"/>
                  <a:pt x="5096219" y="3849324"/>
                </a:cubicBezTo>
                <a:cubicBezTo>
                  <a:pt x="5134442" y="3862057"/>
                  <a:pt x="5198148" y="3849324"/>
                  <a:pt x="5249110" y="3862057"/>
                </a:cubicBezTo>
                <a:cubicBezTo>
                  <a:pt x="5287332" y="3874785"/>
                  <a:pt x="5312816" y="3900245"/>
                  <a:pt x="5300076" y="3951161"/>
                </a:cubicBezTo>
                <a:lnTo>
                  <a:pt x="5300076" y="3951165"/>
                </a:lnTo>
                <a:cubicBezTo>
                  <a:pt x="5274593" y="4002084"/>
                  <a:pt x="5274593" y="4065729"/>
                  <a:pt x="5274593" y="4129376"/>
                </a:cubicBezTo>
                <a:cubicBezTo>
                  <a:pt x="5274593" y="4193021"/>
                  <a:pt x="5249110" y="4231209"/>
                  <a:pt x="5185408" y="4218481"/>
                </a:cubicBezTo>
                <a:cubicBezTo>
                  <a:pt x="5096219" y="4218481"/>
                  <a:pt x="5007030" y="4243940"/>
                  <a:pt x="4917844" y="4243940"/>
                </a:cubicBezTo>
                <a:cubicBezTo>
                  <a:pt x="4892362" y="4243940"/>
                  <a:pt x="4854140" y="4231209"/>
                  <a:pt x="4815917" y="4231209"/>
                </a:cubicBezTo>
                <a:lnTo>
                  <a:pt x="4815921" y="4231205"/>
                </a:lnTo>
                <a:lnTo>
                  <a:pt x="4815917" y="4231205"/>
                </a:lnTo>
                <a:cubicBezTo>
                  <a:pt x="4815917" y="4218477"/>
                  <a:pt x="4828656" y="4215294"/>
                  <a:pt x="4838212" y="4210522"/>
                </a:cubicBezTo>
                <a:lnTo>
                  <a:pt x="4841399" y="4180293"/>
                </a:lnTo>
                <a:lnTo>
                  <a:pt x="4835031" y="4164382"/>
                </a:lnTo>
                <a:cubicBezTo>
                  <a:pt x="4831843" y="4161199"/>
                  <a:pt x="4828656" y="4161199"/>
                  <a:pt x="4828656" y="4167564"/>
                </a:cubicBezTo>
                <a:cubicBezTo>
                  <a:pt x="4815917" y="4193021"/>
                  <a:pt x="4764954" y="4167564"/>
                  <a:pt x="4777693" y="4218481"/>
                </a:cubicBezTo>
                <a:cubicBezTo>
                  <a:pt x="4777693" y="4231209"/>
                  <a:pt x="4790434" y="4243940"/>
                  <a:pt x="4764954" y="4243940"/>
                </a:cubicBezTo>
                <a:cubicBezTo>
                  <a:pt x="4752211" y="4243940"/>
                  <a:pt x="4739471" y="4231209"/>
                  <a:pt x="4739471" y="4218481"/>
                </a:cubicBezTo>
                <a:cubicBezTo>
                  <a:pt x="4739471" y="4167564"/>
                  <a:pt x="4688505" y="4193021"/>
                  <a:pt x="4675765" y="4167564"/>
                </a:cubicBezTo>
                <a:cubicBezTo>
                  <a:pt x="4669396" y="4161199"/>
                  <a:pt x="4663026" y="4164382"/>
                  <a:pt x="4658246" y="4170747"/>
                </a:cubicBezTo>
                <a:lnTo>
                  <a:pt x="4650286" y="4193021"/>
                </a:lnTo>
                <a:lnTo>
                  <a:pt x="4675765" y="4218477"/>
                </a:lnTo>
                <a:cubicBezTo>
                  <a:pt x="4688505" y="4218477"/>
                  <a:pt x="4701248" y="4205748"/>
                  <a:pt x="4726728" y="4231205"/>
                </a:cubicBezTo>
                <a:lnTo>
                  <a:pt x="4726720" y="4231205"/>
                </a:lnTo>
                <a:lnTo>
                  <a:pt x="4726728" y="4231209"/>
                </a:lnTo>
                <a:cubicBezTo>
                  <a:pt x="4663026" y="4243940"/>
                  <a:pt x="4612060" y="4243940"/>
                  <a:pt x="4548354" y="4231209"/>
                </a:cubicBezTo>
                <a:lnTo>
                  <a:pt x="4548362" y="4231205"/>
                </a:lnTo>
                <a:lnTo>
                  <a:pt x="4548354" y="4231205"/>
                </a:lnTo>
                <a:cubicBezTo>
                  <a:pt x="4586576" y="4224842"/>
                  <a:pt x="4612060" y="4208932"/>
                  <a:pt x="4624803" y="4186654"/>
                </a:cubicBezTo>
                <a:lnTo>
                  <a:pt x="4624803" y="4103917"/>
                </a:lnTo>
                <a:lnTo>
                  <a:pt x="4608877" y="4158016"/>
                </a:lnTo>
                <a:cubicBezTo>
                  <a:pt x="4602507" y="4173927"/>
                  <a:pt x="4592950" y="4186658"/>
                  <a:pt x="4573837" y="4193021"/>
                </a:cubicBezTo>
                <a:lnTo>
                  <a:pt x="4573837" y="4193017"/>
                </a:lnTo>
                <a:lnTo>
                  <a:pt x="4573837" y="4103917"/>
                </a:lnTo>
                <a:cubicBezTo>
                  <a:pt x="4535614" y="4116645"/>
                  <a:pt x="4497391" y="4103917"/>
                  <a:pt x="4471909" y="4078457"/>
                </a:cubicBezTo>
                <a:lnTo>
                  <a:pt x="4471909" y="4129372"/>
                </a:lnTo>
                <a:cubicBezTo>
                  <a:pt x="4478282" y="4142101"/>
                  <a:pt x="4478282" y="4154829"/>
                  <a:pt x="4471909" y="4164378"/>
                </a:cubicBezTo>
                <a:lnTo>
                  <a:pt x="4471909" y="4164382"/>
                </a:lnTo>
                <a:cubicBezTo>
                  <a:pt x="4465539" y="4173927"/>
                  <a:pt x="4452799" y="4180293"/>
                  <a:pt x="4433685" y="4180293"/>
                </a:cubicBezTo>
                <a:cubicBezTo>
                  <a:pt x="4420946" y="4193021"/>
                  <a:pt x="4408203" y="4193021"/>
                  <a:pt x="4408203" y="4205752"/>
                </a:cubicBezTo>
                <a:cubicBezTo>
                  <a:pt x="4395462" y="4256669"/>
                  <a:pt x="4369980" y="4243940"/>
                  <a:pt x="4344501" y="4231209"/>
                </a:cubicBezTo>
                <a:cubicBezTo>
                  <a:pt x="4331758" y="4218481"/>
                  <a:pt x="4319017" y="4205752"/>
                  <a:pt x="4314241" y="4193021"/>
                </a:cubicBezTo>
                <a:lnTo>
                  <a:pt x="4314241" y="4193017"/>
                </a:lnTo>
                <a:cubicBezTo>
                  <a:pt x="4309461" y="4180289"/>
                  <a:pt x="4312647" y="4167560"/>
                  <a:pt x="4331758" y="4154829"/>
                </a:cubicBezTo>
                <a:lnTo>
                  <a:pt x="4346090" y="4142101"/>
                </a:lnTo>
                <a:lnTo>
                  <a:pt x="4331758" y="4129376"/>
                </a:lnTo>
                <a:cubicBezTo>
                  <a:pt x="4293534" y="4129376"/>
                  <a:pt x="4293534" y="4091188"/>
                  <a:pt x="4268052" y="4065729"/>
                </a:cubicBezTo>
                <a:lnTo>
                  <a:pt x="4268052" y="4167560"/>
                </a:lnTo>
                <a:cubicBezTo>
                  <a:pt x="4274421" y="4173923"/>
                  <a:pt x="4277608" y="4183471"/>
                  <a:pt x="4276015" y="4191428"/>
                </a:cubicBezTo>
                <a:lnTo>
                  <a:pt x="4276015" y="4191431"/>
                </a:lnTo>
                <a:lnTo>
                  <a:pt x="4258194" y="4203758"/>
                </a:lnTo>
                <a:lnTo>
                  <a:pt x="4259347" y="4210371"/>
                </a:lnTo>
                <a:lnTo>
                  <a:pt x="4253791" y="4210552"/>
                </a:lnTo>
                <a:lnTo>
                  <a:pt x="4245755" y="4235985"/>
                </a:lnTo>
                <a:cubicBezTo>
                  <a:pt x="4242569" y="4243940"/>
                  <a:pt x="4236198" y="4250303"/>
                  <a:pt x="4217085" y="4256669"/>
                </a:cubicBezTo>
                <a:cubicBezTo>
                  <a:pt x="4166123" y="4269397"/>
                  <a:pt x="4127900" y="4256669"/>
                  <a:pt x="4092860" y="4239164"/>
                </a:cubicBezTo>
                <a:lnTo>
                  <a:pt x="3987755" y="4193024"/>
                </a:lnTo>
                <a:lnTo>
                  <a:pt x="4005270" y="4218477"/>
                </a:lnTo>
                <a:cubicBezTo>
                  <a:pt x="4013233" y="4224842"/>
                  <a:pt x="4025974" y="4231205"/>
                  <a:pt x="4051454" y="4243936"/>
                </a:cubicBezTo>
                <a:lnTo>
                  <a:pt x="4051447" y="4243936"/>
                </a:lnTo>
                <a:lnTo>
                  <a:pt x="4051454" y="4243940"/>
                </a:lnTo>
                <a:cubicBezTo>
                  <a:pt x="3987751" y="4269397"/>
                  <a:pt x="3911306" y="4256669"/>
                  <a:pt x="3834860" y="4243940"/>
                </a:cubicBezTo>
                <a:lnTo>
                  <a:pt x="3834867" y="4243936"/>
                </a:lnTo>
                <a:lnTo>
                  <a:pt x="3834860" y="4243936"/>
                </a:lnTo>
                <a:cubicBezTo>
                  <a:pt x="3853969" y="4231205"/>
                  <a:pt x="3869896" y="4228026"/>
                  <a:pt x="3882636" y="4226433"/>
                </a:cubicBezTo>
                <a:lnTo>
                  <a:pt x="3911302" y="4218477"/>
                </a:lnTo>
                <a:lnTo>
                  <a:pt x="3899361" y="4210923"/>
                </a:lnTo>
                <a:cubicBezTo>
                  <a:pt x="3892191" y="4183476"/>
                  <a:pt x="3892191" y="4116648"/>
                  <a:pt x="3834860" y="4193021"/>
                </a:cubicBezTo>
                <a:lnTo>
                  <a:pt x="3834860" y="4193017"/>
                </a:lnTo>
                <a:lnTo>
                  <a:pt x="3834860" y="4154833"/>
                </a:lnTo>
                <a:cubicBezTo>
                  <a:pt x="3847599" y="4129376"/>
                  <a:pt x="3834860" y="4116645"/>
                  <a:pt x="3822117" y="4103917"/>
                </a:cubicBezTo>
                <a:cubicBezTo>
                  <a:pt x="3809377" y="4091188"/>
                  <a:pt x="3796633" y="4103917"/>
                  <a:pt x="3783894" y="4116645"/>
                </a:cubicBezTo>
                <a:cubicBezTo>
                  <a:pt x="3707448" y="4154833"/>
                  <a:pt x="3681965" y="4167564"/>
                  <a:pt x="3656482" y="4243940"/>
                </a:cubicBezTo>
                <a:cubicBezTo>
                  <a:pt x="3656482" y="4269397"/>
                  <a:pt x="3631002" y="4256669"/>
                  <a:pt x="3618260" y="4256669"/>
                </a:cubicBezTo>
                <a:cubicBezTo>
                  <a:pt x="3599150" y="4263034"/>
                  <a:pt x="3595963" y="4259852"/>
                  <a:pt x="3597557" y="4253486"/>
                </a:cubicBezTo>
                <a:lnTo>
                  <a:pt x="3597557" y="4253482"/>
                </a:lnTo>
                <a:lnTo>
                  <a:pt x="3605520" y="4231209"/>
                </a:lnTo>
                <a:lnTo>
                  <a:pt x="3592780" y="4170747"/>
                </a:lnTo>
                <a:cubicBezTo>
                  <a:pt x="3583224" y="4151653"/>
                  <a:pt x="3567298" y="4135739"/>
                  <a:pt x="3541814" y="4129376"/>
                </a:cubicBezTo>
                <a:cubicBezTo>
                  <a:pt x="3541814" y="4116645"/>
                  <a:pt x="3516331" y="4129376"/>
                  <a:pt x="3529074" y="4103917"/>
                </a:cubicBezTo>
                <a:cubicBezTo>
                  <a:pt x="3541814" y="4091188"/>
                  <a:pt x="3541814" y="4078457"/>
                  <a:pt x="3516331" y="4078457"/>
                </a:cubicBezTo>
                <a:lnTo>
                  <a:pt x="3490851" y="4116645"/>
                </a:lnTo>
                <a:lnTo>
                  <a:pt x="3501998" y="4158012"/>
                </a:lnTo>
                <a:cubicBezTo>
                  <a:pt x="3506778" y="4170743"/>
                  <a:pt x="3516331" y="4180289"/>
                  <a:pt x="3541814" y="4180289"/>
                </a:cubicBezTo>
                <a:lnTo>
                  <a:pt x="3541810" y="4180289"/>
                </a:lnTo>
                <a:lnTo>
                  <a:pt x="3541814" y="4180293"/>
                </a:lnTo>
                <a:cubicBezTo>
                  <a:pt x="3503591" y="4205752"/>
                  <a:pt x="3478108" y="4193021"/>
                  <a:pt x="3439886" y="4193021"/>
                </a:cubicBezTo>
                <a:lnTo>
                  <a:pt x="3439889" y="4193017"/>
                </a:lnTo>
                <a:lnTo>
                  <a:pt x="3439886" y="4193017"/>
                </a:lnTo>
                <a:lnTo>
                  <a:pt x="3478108" y="4142105"/>
                </a:lnTo>
                <a:lnTo>
                  <a:pt x="3441479" y="4127783"/>
                </a:lnTo>
                <a:cubicBezTo>
                  <a:pt x="3430329" y="4132559"/>
                  <a:pt x="3420776" y="4142105"/>
                  <a:pt x="3414406" y="4142105"/>
                </a:cubicBezTo>
                <a:lnTo>
                  <a:pt x="3413800" y="4144516"/>
                </a:lnTo>
                <a:lnTo>
                  <a:pt x="3401663" y="4193021"/>
                </a:lnTo>
                <a:cubicBezTo>
                  <a:pt x="3414406" y="4142105"/>
                  <a:pt x="3312478" y="4142105"/>
                  <a:pt x="3350700" y="4091188"/>
                </a:cubicBezTo>
                <a:cubicBezTo>
                  <a:pt x="3337957" y="4091188"/>
                  <a:pt x="3325218" y="4091188"/>
                  <a:pt x="3325218" y="4103917"/>
                </a:cubicBezTo>
                <a:cubicBezTo>
                  <a:pt x="3312478" y="4142105"/>
                  <a:pt x="3312478" y="4167564"/>
                  <a:pt x="3274255" y="4129376"/>
                </a:cubicBezTo>
                <a:cubicBezTo>
                  <a:pt x="3261512" y="4103917"/>
                  <a:pt x="3261512" y="4116645"/>
                  <a:pt x="3248772" y="4129376"/>
                </a:cubicBezTo>
                <a:cubicBezTo>
                  <a:pt x="3223289" y="4167564"/>
                  <a:pt x="3197806" y="4205752"/>
                  <a:pt x="3197806" y="4256669"/>
                </a:cubicBezTo>
                <a:cubicBezTo>
                  <a:pt x="3185067" y="4282128"/>
                  <a:pt x="3134104" y="4307585"/>
                  <a:pt x="3108621" y="4282128"/>
                </a:cubicBezTo>
                <a:cubicBezTo>
                  <a:pt x="3095881" y="4269397"/>
                  <a:pt x="3095881" y="4256669"/>
                  <a:pt x="3095881" y="4243940"/>
                </a:cubicBezTo>
                <a:lnTo>
                  <a:pt x="3095881" y="4243936"/>
                </a:lnTo>
                <a:cubicBezTo>
                  <a:pt x="3095881" y="4231205"/>
                  <a:pt x="3108621" y="4231205"/>
                  <a:pt x="3121361" y="4231205"/>
                </a:cubicBezTo>
                <a:cubicBezTo>
                  <a:pt x="3134104" y="4218477"/>
                  <a:pt x="3146843" y="4231205"/>
                  <a:pt x="3159583" y="4218477"/>
                </a:cubicBezTo>
                <a:lnTo>
                  <a:pt x="3185063" y="4193021"/>
                </a:lnTo>
                <a:lnTo>
                  <a:pt x="3170733" y="4172337"/>
                </a:lnTo>
                <a:cubicBezTo>
                  <a:pt x="3162770" y="4170743"/>
                  <a:pt x="3153214" y="4173927"/>
                  <a:pt x="3146843" y="4180293"/>
                </a:cubicBezTo>
                <a:cubicBezTo>
                  <a:pt x="3134104" y="4180293"/>
                  <a:pt x="3121361" y="4180293"/>
                  <a:pt x="3108621" y="4193021"/>
                </a:cubicBezTo>
                <a:cubicBezTo>
                  <a:pt x="3083138" y="4205752"/>
                  <a:pt x="3057655" y="4180293"/>
                  <a:pt x="3057655" y="4167564"/>
                </a:cubicBezTo>
                <a:cubicBezTo>
                  <a:pt x="3057655" y="4129376"/>
                  <a:pt x="3032175" y="4154833"/>
                  <a:pt x="3006692" y="4154833"/>
                </a:cubicBezTo>
                <a:cubicBezTo>
                  <a:pt x="2955730" y="4142105"/>
                  <a:pt x="2930247" y="4154833"/>
                  <a:pt x="2942987" y="4218481"/>
                </a:cubicBezTo>
                <a:cubicBezTo>
                  <a:pt x="2942987" y="4269397"/>
                  <a:pt x="2917504" y="4205752"/>
                  <a:pt x="2904764" y="4218481"/>
                </a:cubicBezTo>
                <a:cubicBezTo>
                  <a:pt x="2892024" y="4243940"/>
                  <a:pt x="2892024" y="4256669"/>
                  <a:pt x="2892024" y="4282128"/>
                </a:cubicBezTo>
                <a:lnTo>
                  <a:pt x="2892024" y="4282124"/>
                </a:lnTo>
                <a:lnTo>
                  <a:pt x="2892024" y="4167564"/>
                </a:lnTo>
                <a:cubicBezTo>
                  <a:pt x="2892024" y="4154833"/>
                  <a:pt x="2892024" y="4142105"/>
                  <a:pt x="2879281" y="4142105"/>
                </a:cubicBezTo>
                <a:cubicBezTo>
                  <a:pt x="2879281" y="4142105"/>
                  <a:pt x="2866541" y="4142105"/>
                  <a:pt x="2866541" y="4154833"/>
                </a:cubicBezTo>
                <a:cubicBezTo>
                  <a:pt x="2853801" y="4180293"/>
                  <a:pt x="2853801" y="4218481"/>
                  <a:pt x="2802834" y="4231209"/>
                </a:cubicBezTo>
                <a:lnTo>
                  <a:pt x="2802834" y="4243936"/>
                </a:lnTo>
                <a:cubicBezTo>
                  <a:pt x="2815579" y="4263030"/>
                  <a:pt x="2821150" y="4275759"/>
                  <a:pt x="2821949" y="4284112"/>
                </a:cubicBezTo>
                <a:lnTo>
                  <a:pt x="2821945" y="4284116"/>
                </a:lnTo>
                <a:lnTo>
                  <a:pt x="2821949" y="4284116"/>
                </a:lnTo>
                <a:cubicBezTo>
                  <a:pt x="2824337" y="4309178"/>
                  <a:pt x="2783726" y="4294857"/>
                  <a:pt x="2764613" y="4294857"/>
                </a:cubicBezTo>
                <a:cubicBezTo>
                  <a:pt x="2739130" y="4307585"/>
                  <a:pt x="2700907" y="4333045"/>
                  <a:pt x="2700907" y="4294857"/>
                </a:cubicBezTo>
                <a:lnTo>
                  <a:pt x="2700912" y="4294853"/>
                </a:lnTo>
                <a:lnTo>
                  <a:pt x="2700907" y="4294853"/>
                </a:lnTo>
                <a:cubicBezTo>
                  <a:pt x="2694537" y="4275759"/>
                  <a:pt x="2704093" y="4272576"/>
                  <a:pt x="2718427" y="4272576"/>
                </a:cubicBezTo>
                <a:lnTo>
                  <a:pt x="2764608" y="4269393"/>
                </a:lnTo>
                <a:lnTo>
                  <a:pt x="2708871" y="4224846"/>
                </a:lnTo>
                <a:cubicBezTo>
                  <a:pt x="2688167" y="4212115"/>
                  <a:pt x="2669053" y="4199387"/>
                  <a:pt x="2662684" y="4180293"/>
                </a:cubicBezTo>
                <a:cubicBezTo>
                  <a:pt x="2656315" y="4173927"/>
                  <a:pt x="2646758" y="4170743"/>
                  <a:pt x="2637201" y="4172337"/>
                </a:cubicBezTo>
                <a:lnTo>
                  <a:pt x="2611721" y="4193021"/>
                </a:lnTo>
                <a:lnTo>
                  <a:pt x="2637201" y="4205748"/>
                </a:lnTo>
                <a:cubicBezTo>
                  <a:pt x="2649944" y="4218477"/>
                  <a:pt x="2662684" y="4218477"/>
                  <a:pt x="2662684" y="4243936"/>
                </a:cubicBezTo>
                <a:lnTo>
                  <a:pt x="2662684" y="4243940"/>
                </a:lnTo>
                <a:cubicBezTo>
                  <a:pt x="2649944" y="4256669"/>
                  <a:pt x="2637201" y="4269397"/>
                  <a:pt x="2624461" y="4256669"/>
                </a:cubicBezTo>
                <a:cubicBezTo>
                  <a:pt x="2611721" y="4243940"/>
                  <a:pt x="2598978" y="4243940"/>
                  <a:pt x="2598978" y="4243940"/>
                </a:cubicBezTo>
                <a:cubicBezTo>
                  <a:pt x="2573499" y="4243940"/>
                  <a:pt x="2548016" y="4218481"/>
                  <a:pt x="2535277" y="4231209"/>
                </a:cubicBezTo>
                <a:lnTo>
                  <a:pt x="2505017" y="4270986"/>
                </a:lnTo>
                <a:lnTo>
                  <a:pt x="2522533" y="4320312"/>
                </a:lnTo>
                <a:lnTo>
                  <a:pt x="2522533" y="4320316"/>
                </a:lnTo>
                <a:cubicBezTo>
                  <a:pt x="2484310" y="4333045"/>
                  <a:pt x="2484310" y="4307585"/>
                  <a:pt x="2484310" y="4294857"/>
                </a:cubicBezTo>
                <a:cubicBezTo>
                  <a:pt x="2471571" y="4282128"/>
                  <a:pt x="2471571" y="4256669"/>
                  <a:pt x="2458828" y="4269397"/>
                </a:cubicBezTo>
                <a:cubicBezTo>
                  <a:pt x="2395126" y="4282128"/>
                  <a:pt x="2344158" y="4218481"/>
                  <a:pt x="2280453" y="4269397"/>
                </a:cubicBezTo>
                <a:cubicBezTo>
                  <a:pt x="2280453" y="4269397"/>
                  <a:pt x="2267713" y="4269397"/>
                  <a:pt x="2254974" y="4256669"/>
                </a:cubicBezTo>
                <a:cubicBezTo>
                  <a:pt x="2229491" y="4231209"/>
                  <a:pt x="2229491" y="4231209"/>
                  <a:pt x="2204008" y="4269397"/>
                </a:cubicBezTo>
                <a:cubicBezTo>
                  <a:pt x="2191268" y="4294857"/>
                  <a:pt x="2140301" y="4307585"/>
                  <a:pt x="2140301" y="4307585"/>
                </a:cubicBezTo>
                <a:cubicBezTo>
                  <a:pt x="2102079" y="4282128"/>
                  <a:pt x="2076595" y="4320316"/>
                  <a:pt x="2051117" y="4294857"/>
                </a:cubicBezTo>
                <a:lnTo>
                  <a:pt x="2038377" y="4307585"/>
                </a:lnTo>
                <a:lnTo>
                  <a:pt x="2051117" y="4320312"/>
                </a:lnTo>
                <a:cubicBezTo>
                  <a:pt x="2102079" y="4320312"/>
                  <a:pt x="2153046" y="4345769"/>
                  <a:pt x="2216748" y="4333041"/>
                </a:cubicBezTo>
                <a:cubicBezTo>
                  <a:pt x="2242230" y="4320312"/>
                  <a:pt x="2293197" y="4333041"/>
                  <a:pt x="2305936" y="4282124"/>
                </a:cubicBezTo>
                <a:cubicBezTo>
                  <a:pt x="2344158" y="4320312"/>
                  <a:pt x="2382381" y="4282124"/>
                  <a:pt x="2420604" y="4282124"/>
                </a:cubicBezTo>
                <a:lnTo>
                  <a:pt x="2420690" y="4282198"/>
                </a:lnTo>
                <a:lnTo>
                  <a:pt x="2454051" y="4310768"/>
                </a:lnTo>
                <a:lnTo>
                  <a:pt x="2458828" y="4358501"/>
                </a:lnTo>
                <a:lnTo>
                  <a:pt x="2458828" y="4358504"/>
                </a:lnTo>
                <a:cubicBezTo>
                  <a:pt x="2484310" y="4352139"/>
                  <a:pt x="2506606" y="4345773"/>
                  <a:pt x="2528903" y="4345773"/>
                </a:cubicBezTo>
                <a:lnTo>
                  <a:pt x="2598809" y="4371171"/>
                </a:lnTo>
                <a:lnTo>
                  <a:pt x="2598978" y="4371228"/>
                </a:lnTo>
                <a:cubicBezTo>
                  <a:pt x="2611721" y="4383957"/>
                  <a:pt x="2662684" y="4396685"/>
                  <a:pt x="2688167" y="4383957"/>
                </a:cubicBezTo>
                <a:cubicBezTo>
                  <a:pt x="2726390" y="4371228"/>
                  <a:pt x="2751873" y="4371228"/>
                  <a:pt x="2777353" y="4383957"/>
                </a:cubicBezTo>
                <a:cubicBezTo>
                  <a:pt x="2815579" y="4409416"/>
                  <a:pt x="2853801" y="4434873"/>
                  <a:pt x="2892024" y="4396685"/>
                </a:cubicBezTo>
                <a:cubicBezTo>
                  <a:pt x="2904764" y="4383957"/>
                  <a:pt x="2955730" y="4409416"/>
                  <a:pt x="2981210" y="4409416"/>
                </a:cubicBezTo>
                <a:cubicBezTo>
                  <a:pt x="3006692" y="4409416"/>
                  <a:pt x="3019432" y="4447604"/>
                  <a:pt x="3044914" y="4396685"/>
                </a:cubicBezTo>
                <a:cubicBezTo>
                  <a:pt x="3057655" y="4383957"/>
                  <a:pt x="3108621" y="4396685"/>
                  <a:pt x="3146843" y="4409416"/>
                </a:cubicBezTo>
                <a:cubicBezTo>
                  <a:pt x="3261512" y="4422145"/>
                  <a:pt x="3363440" y="4422145"/>
                  <a:pt x="3478108" y="4422145"/>
                </a:cubicBezTo>
                <a:cubicBezTo>
                  <a:pt x="3516331" y="4422145"/>
                  <a:pt x="3554557" y="4434873"/>
                  <a:pt x="3580037" y="4434873"/>
                </a:cubicBezTo>
                <a:cubicBezTo>
                  <a:pt x="3643743" y="4447604"/>
                  <a:pt x="3707448" y="4409416"/>
                  <a:pt x="3771154" y="4460333"/>
                </a:cubicBezTo>
                <a:cubicBezTo>
                  <a:pt x="3936784" y="4434873"/>
                  <a:pt x="4102417" y="4498521"/>
                  <a:pt x="4268052" y="4498521"/>
                </a:cubicBezTo>
                <a:cubicBezTo>
                  <a:pt x="4331758" y="4485792"/>
                  <a:pt x="4408203" y="4511249"/>
                  <a:pt x="4484652" y="4523980"/>
                </a:cubicBezTo>
                <a:cubicBezTo>
                  <a:pt x="4497391" y="4523980"/>
                  <a:pt x="4510131" y="4523980"/>
                  <a:pt x="4535614" y="4523980"/>
                </a:cubicBezTo>
                <a:cubicBezTo>
                  <a:pt x="4548354" y="4511249"/>
                  <a:pt x="4573837" y="4523980"/>
                  <a:pt x="4573837" y="4536709"/>
                </a:cubicBezTo>
                <a:lnTo>
                  <a:pt x="4573837" y="4536713"/>
                </a:lnTo>
                <a:cubicBezTo>
                  <a:pt x="4573837" y="4562172"/>
                  <a:pt x="4548354" y="4574901"/>
                  <a:pt x="4535614" y="4562172"/>
                </a:cubicBezTo>
                <a:cubicBezTo>
                  <a:pt x="4446425" y="4523984"/>
                  <a:pt x="4331758" y="4562172"/>
                  <a:pt x="4242569" y="4523984"/>
                </a:cubicBezTo>
                <a:cubicBezTo>
                  <a:pt x="4153383" y="4498525"/>
                  <a:pt x="4076934" y="4523984"/>
                  <a:pt x="4000490" y="4511253"/>
                </a:cubicBezTo>
                <a:lnTo>
                  <a:pt x="4000490" y="4512325"/>
                </a:lnTo>
                <a:lnTo>
                  <a:pt x="4000490" y="4544665"/>
                </a:lnTo>
                <a:lnTo>
                  <a:pt x="4038712" y="4549437"/>
                </a:lnTo>
                <a:cubicBezTo>
                  <a:pt x="4076934" y="4523980"/>
                  <a:pt x="4127900" y="4536709"/>
                  <a:pt x="4178862" y="4574897"/>
                </a:cubicBezTo>
                <a:lnTo>
                  <a:pt x="4178858" y="4574897"/>
                </a:lnTo>
                <a:lnTo>
                  <a:pt x="4178862" y="4574901"/>
                </a:lnTo>
                <a:cubicBezTo>
                  <a:pt x="4140640" y="4574901"/>
                  <a:pt x="4115160" y="4587629"/>
                  <a:pt x="4089677" y="4574901"/>
                </a:cubicBezTo>
                <a:cubicBezTo>
                  <a:pt x="4051454" y="4562172"/>
                  <a:pt x="4025974" y="4549441"/>
                  <a:pt x="4038712" y="4613088"/>
                </a:cubicBezTo>
                <a:lnTo>
                  <a:pt x="4038712" y="4625813"/>
                </a:lnTo>
                <a:lnTo>
                  <a:pt x="4038712" y="4625817"/>
                </a:lnTo>
                <a:cubicBezTo>
                  <a:pt x="4013233" y="4587629"/>
                  <a:pt x="3975011" y="4676736"/>
                  <a:pt x="3949528" y="4613088"/>
                </a:cubicBezTo>
                <a:cubicBezTo>
                  <a:pt x="3949528" y="4613088"/>
                  <a:pt x="3936784" y="4600360"/>
                  <a:pt x="3936784" y="4600360"/>
                </a:cubicBezTo>
                <a:cubicBezTo>
                  <a:pt x="3885822" y="4638548"/>
                  <a:pt x="3860339" y="4574901"/>
                  <a:pt x="3822117" y="4574901"/>
                </a:cubicBezTo>
                <a:lnTo>
                  <a:pt x="3822120" y="4574897"/>
                </a:lnTo>
                <a:lnTo>
                  <a:pt x="3822117" y="4574897"/>
                </a:lnTo>
                <a:cubicBezTo>
                  <a:pt x="3828491" y="4562168"/>
                  <a:pt x="3838043" y="4555803"/>
                  <a:pt x="3846005" y="4547847"/>
                </a:cubicBezTo>
                <a:lnTo>
                  <a:pt x="3860339" y="4511253"/>
                </a:lnTo>
                <a:lnTo>
                  <a:pt x="3834860" y="4498525"/>
                </a:lnTo>
                <a:cubicBezTo>
                  <a:pt x="3834860" y="4498525"/>
                  <a:pt x="3822117" y="4498525"/>
                  <a:pt x="3822117" y="4498525"/>
                </a:cubicBezTo>
                <a:cubicBezTo>
                  <a:pt x="3822117" y="4530347"/>
                  <a:pt x="3793450" y="4543078"/>
                  <a:pt x="3769561" y="4558989"/>
                </a:cubicBezTo>
                <a:lnTo>
                  <a:pt x="3741488" y="4588026"/>
                </a:lnTo>
                <a:lnTo>
                  <a:pt x="3745671" y="4638545"/>
                </a:lnTo>
                <a:lnTo>
                  <a:pt x="3745671" y="4638548"/>
                </a:lnTo>
                <a:cubicBezTo>
                  <a:pt x="3732931" y="4638548"/>
                  <a:pt x="3732931" y="4638548"/>
                  <a:pt x="3720188" y="4638548"/>
                </a:cubicBezTo>
                <a:cubicBezTo>
                  <a:pt x="3694709" y="4613088"/>
                  <a:pt x="3669226" y="4574901"/>
                  <a:pt x="3643743" y="4549441"/>
                </a:cubicBezTo>
                <a:lnTo>
                  <a:pt x="3580037" y="4549441"/>
                </a:lnTo>
                <a:lnTo>
                  <a:pt x="3584817" y="4573303"/>
                </a:lnTo>
                <a:cubicBezTo>
                  <a:pt x="3592780" y="4578079"/>
                  <a:pt x="3605520" y="4581262"/>
                  <a:pt x="3618260" y="4587625"/>
                </a:cubicBezTo>
                <a:lnTo>
                  <a:pt x="3618260" y="4587629"/>
                </a:lnTo>
                <a:lnTo>
                  <a:pt x="3618260" y="4613084"/>
                </a:lnTo>
                <a:lnTo>
                  <a:pt x="3618260" y="4613088"/>
                </a:lnTo>
                <a:cubicBezTo>
                  <a:pt x="3605520" y="4613088"/>
                  <a:pt x="3592780" y="4613088"/>
                  <a:pt x="3580037" y="4600360"/>
                </a:cubicBezTo>
                <a:cubicBezTo>
                  <a:pt x="3554557" y="4600360"/>
                  <a:pt x="3580037" y="4549441"/>
                  <a:pt x="3541814" y="4536713"/>
                </a:cubicBezTo>
                <a:cubicBezTo>
                  <a:pt x="3554557" y="4587629"/>
                  <a:pt x="3516331" y="4587629"/>
                  <a:pt x="3490851" y="4587629"/>
                </a:cubicBezTo>
                <a:cubicBezTo>
                  <a:pt x="3439886" y="4600360"/>
                  <a:pt x="3401663" y="4600360"/>
                  <a:pt x="3350700" y="4613088"/>
                </a:cubicBezTo>
                <a:cubicBezTo>
                  <a:pt x="3337957" y="4613088"/>
                  <a:pt x="3325218" y="4613088"/>
                  <a:pt x="3312478" y="4613088"/>
                </a:cubicBezTo>
                <a:cubicBezTo>
                  <a:pt x="3274255" y="4574901"/>
                  <a:pt x="3248772" y="4549441"/>
                  <a:pt x="3236028" y="4625817"/>
                </a:cubicBezTo>
                <a:cubicBezTo>
                  <a:pt x="3236028" y="4638548"/>
                  <a:pt x="3223289" y="4638548"/>
                  <a:pt x="3210549" y="4625817"/>
                </a:cubicBezTo>
                <a:cubicBezTo>
                  <a:pt x="3185067" y="4536713"/>
                  <a:pt x="3159583" y="4651276"/>
                  <a:pt x="3134104" y="4625817"/>
                </a:cubicBezTo>
                <a:cubicBezTo>
                  <a:pt x="3146843" y="4574901"/>
                  <a:pt x="3070397" y="4600360"/>
                  <a:pt x="3057655" y="4562172"/>
                </a:cubicBezTo>
                <a:cubicBezTo>
                  <a:pt x="3019432" y="4587629"/>
                  <a:pt x="3019432" y="4574901"/>
                  <a:pt x="3019432" y="4536713"/>
                </a:cubicBezTo>
                <a:cubicBezTo>
                  <a:pt x="3032175" y="4523984"/>
                  <a:pt x="3032175" y="4511253"/>
                  <a:pt x="3006692" y="4498525"/>
                </a:cubicBezTo>
                <a:cubicBezTo>
                  <a:pt x="2993953" y="4523984"/>
                  <a:pt x="2968469" y="4511253"/>
                  <a:pt x="2955730" y="4536713"/>
                </a:cubicBezTo>
                <a:cubicBezTo>
                  <a:pt x="2942987" y="4574901"/>
                  <a:pt x="2917504" y="4587629"/>
                  <a:pt x="2879281" y="4549441"/>
                </a:cubicBezTo>
                <a:cubicBezTo>
                  <a:pt x="2841059" y="4511253"/>
                  <a:pt x="2815579" y="4523984"/>
                  <a:pt x="2815579" y="4562172"/>
                </a:cubicBezTo>
                <a:cubicBezTo>
                  <a:pt x="2815579" y="4625817"/>
                  <a:pt x="2751873" y="4587629"/>
                  <a:pt x="2739130" y="4613088"/>
                </a:cubicBezTo>
                <a:cubicBezTo>
                  <a:pt x="2726390" y="4613088"/>
                  <a:pt x="2751873" y="4511253"/>
                  <a:pt x="2688167" y="4587629"/>
                </a:cubicBezTo>
                <a:cubicBezTo>
                  <a:pt x="2688167" y="4574901"/>
                  <a:pt x="2675428" y="4574901"/>
                  <a:pt x="2662684" y="4562172"/>
                </a:cubicBezTo>
                <a:cubicBezTo>
                  <a:pt x="2649944" y="4549441"/>
                  <a:pt x="2611721" y="4562172"/>
                  <a:pt x="2611721" y="4574901"/>
                </a:cubicBezTo>
                <a:cubicBezTo>
                  <a:pt x="2611721" y="4638548"/>
                  <a:pt x="2560755" y="4613088"/>
                  <a:pt x="2535277" y="4613088"/>
                </a:cubicBezTo>
                <a:cubicBezTo>
                  <a:pt x="2516164" y="4619454"/>
                  <a:pt x="2500236" y="4619454"/>
                  <a:pt x="2484310" y="4617861"/>
                </a:cubicBezTo>
                <a:lnTo>
                  <a:pt x="2433359" y="4613088"/>
                </a:lnTo>
                <a:lnTo>
                  <a:pt x="2508200" y="4640134"/>
                </a:lnTo>
                <a:cubicBezTo>
                  <a:pt x="2532090" y="4641724"/>
                  <a:pt x="2554386" y="4638545"/>
                  <a:pt x="2573499" y="4638545"/>
                </a:cubicBezTo>
                <a:cubicBezTo>
                  <a:pt x="2611721" y="4638545"/>
                  <a:pt x="2649944" y="4638545"/>
                  <a:pt x="2675428" y="4638545"/>
                </a:cubicBezTo>
                <a:cubicBezTo>
                  <a:pt x="2688167" y="4638545"/>
                  <a:pt x="2700907" y="4651272"/>
                  <a:pt x="2700907" y="4664001"/>
                </a:cubicBezTo>
                <a:lnTo>
                  <a:pt x="2700907" y="4664005"/>
                </a:lnTo>
                <a:cubicBezTo>
                  <a:pt x="2700907" y="4676736"/>
                  <a:pt x="2688167" y="4664005"/>
                  <a:pt x="2675428" y="4664005"/>
                </a:cubicBezTo>
                <a:cubicBezTo>
                  <a:pt x="2637201" y="4664005"/>
                  <a:pt x="2598978" y="4664005"/>
                  <a:pt x="2573499" y="4676736"/>
                </a:cubicBezTo>
                <a:cubicBezTo>
                  <a:pt x="2535277" y="4702193"/>
                  <a:pt x="2509793" y="4651276"/>
                  <a:pt x="2471571" y="4651276"/>
                </a:cubicBezTo>
                <a:cubicBezTo>
                  <a:pt x="2433348" y="4664005"/>
                  <a:pt x="2395126" y="4676736"/>
                  <a:pt x="2344158" y="4676736"/>
                </a:cubicBezTo>
                <a:cubicBezTo>
                  <a:pt x="2331419" y="4676736"/>
                  <a:pt x="2305936" y="4689464"/>
                  <a:pt x="2305936" y="4664005"/>
                </a:cubicBezTo>
                <a:lnTo>
                  <a:pt x="2305936" y="4664001"/>
                </a:lnTo>
                <a:cubicBezTo>
                  <a:pt x="2305936" y="4638545"/>
                  <a:pt x="2331419" y="4625813"/>
                  <a:pt x="2344158" y="4625813"/>
                </a:cubicBezTo>
                <a:cubicBezTo>
                  <a:pt x="2350529" y="4625813"/>
                  <a:pt x="2356899" y="4628996"/>
                  <a:pt x="2363272" y="4630585"/>
                </a:cubicBezTo>
                <a:lnTo>
                  <a:pt x="2382378" y="4625813"/>
                </a:lnTo>
                <a:lnTo>
                  <a:pt x="2331419" y="4601950"/>
                </a:lnTo>
                <a:cubicBezTo>
                  <a:pt x="2315494" y="4593994"/>
                  <a:pt x="2305936" y="4581266"/>
                  <a:pt x="2318676" y="4549441"/>
                </a:cubicBezTo>
                <a:lnTo>
                  <a:pt x="2270901" y="4579673"/>
                </a:lnTo>
                <a:lnTo>
                  <a:pt x="2280453" y="4638545"/>
                </a:lnTo>
                <a:lnTo>
                  <a:pt x="2280453" y="4638548"/>
                </a:lnTo>
                <a:cubicBezTo>
                  <a:pt x="2293197" y="4651276"/>
                  <a:pt x="2280453" y="4664005"/>
                  <a:pt x="2254974" y="4664005"/>
                </a:cubicBezTo>
                <a:cubicBezTo>
                  <a:pt x="2229491" y="4676736"/>
                  <a:pt x="2204008" y="4689464"/>
                  <a:pt x="2178525" y="4664005"/>
                </a:cubicBezTo>
                <a:cubicBezTo>
                  <a:pt x="2172155" y="4651276"/>
                  <a:pt x="2172155" y="4644911"/>
                  <a:pt x="2176935" y="4640139"/>
                </a:cubicBezTo>
                <a:lnTo>
                  <a:pt x="2176935" y="4640134"/>
                </a:lnTo>
                <a:cubicBezTo>
                  <a:pt x="2181711" y="4635361"/>
                  <a:pt x="2191268" y="4632178"/>
                  <a:pt x="2204008" y="4625813"/>
                </a:cubicBezTo>
                <a:lnTo>
                  <a:pt x="2204008" y="4600360"/>
                </a:lnTo>
                <a:cubicBezTo>
                  <a:pt x="2178525" y="4587629"/>
                  <a:pt x="2216748" y="4549441"/>
                  <a:pt x="2191268" y="4549441"/>
                </a:cubicBezTo>
                <a:cubicBezTo>
                  <a:pt x="2165785" y="4536713"/>
                  <a:pt x="2165785" y="4549441"/>
                  <a:pt x="2153046" y="4574901"/>
                </a:cubicBezTo>
                <a:cubicBezTo>
                  <a:pt x="2127563" y="4613088"/>
                  <a:pt x="2089340" y="4613088"/>
                  <a:pt x="2051117" y="4600360"/>
                </a:cubicBezTo>
                <a:cubicBezTo>
                  <a:pt x="2025634" y="4587629"/>
                  <a:pt x="2000151" y="4600360"/>
                  <a:pt x="2000151" y="4625817"/>
                </a:cubicBezTo>
                <a:cubicBezTo>
                  <a:pt x="1987412" y="4676736"/>
                  <a:pt x="1961928" y="4664005"/>
                  <a:pt x="1923705" y="4664005"/>
                </a:cubicBezTo>
                <a:cubicBezTo>
                  <a:pt x="1809037" y="4664005"/>
                  <a:pt x="1681625" y="4664005"/>
                  <a:pt x="1554218" y="4664005"/>
                </a:cubicBezTo>
                <a:cubicBezTo>
                  <a:pt x="1541475" y="4664005"/>
                  <a:pt x="1528735" y="4664005"/>
                  <a:pt x="1528735" y="4651276"/>
                </a:cubicBezTo>
                <a:lnTo>
                  <a:pt x="1528739" y="4651272"/>
                </a:lnTo>
                <a:lnTo>
                  <a:pt x="1528735" y="4651272"/>
                </a:lnTo>
                <a:cubicBezTo>
                  <a:pt x="1528735" y="4625813"/>
                  <a:pt x="1541475" y="4613084"/>
                  <a:pt x="1566958" y="4613084"/>
                </a:cubicBezTo>
                <a:cubicBezTo>
                  <a:pt x="1617920" y="4613084"/>
                  <a:pt x="1668886" y="4613084"/>
                  <a:pt x="1719848" y="4613084"/>
                </a:cubicBezTo>
                <a:cubicBezTo>
                  <a:pt x="1783554" y="4625813"/>
                  <a:pt x="1847260" y="4587625"/>
                  <a:pt x="1898222" y="4638545"/>
                </a:cubicBezTo>
                <a:cubicBezTo>
                  <a:pt x="1904596" y="4625813"/>
                  <a:pt x="1917335" y="4625813"/>
                  <a:pt x="1930076" y="4627406"/>
                </a:cubicBezTo>
                <a:lnTo>
                  <a:pt x="1961928" y="4625813"/>
                </a:lnTo>
                <a:lnTo>
                  <a:pt x="1936448" y="4562172"/>
                </a:lnTo>
                <a:lnTo>
                  <a:pt x="1939631" y="4589218"/>
                </a:lnTo>
                <a:lnTo>
                  <a:pt x="1939631" y="4589222"/>
                </a:lnTo>
                <a:cubicBezTo>
                  <a:pt x="1939631" y="4597177"/>
                  <a:pt x="1936448" y="4600356"/>
                  <a:pt x="1923705" y="4587629"/>
                </a:cubicBezTo>
                <a:cubicBezTo>
                  <a:pt x="1872743" y="4562172"/>
                  <a:pt x="1821777" y="4574901"/>
                  <a:pt x="1770815" y="4574901"/>
                </a:cubicBezTo>
                <a:cubicBezTo>
                  <a:pt x="1758071" y="4574901"/>
                  <a:pt x="1758071" y="4574901"/>
                  <a:pt x="1745331" y="4562172"/>
                </a:cubicBezTo>
                <a:lnTo>
                  <a:pt x="1729405" y="4554217"/>
                </a:lnTo>
                <a:lnTo>
                  <a:pt x="1732592" y="4574897"/>
                </a:lnTo>
                <a:lnTo>
                  <a:pt x="1732592" y="4574901"/>
                </a:lnTo>
                <a:lnTo>
                  <a:pt x="1732592" y="4600356"/>
                </a:lnTo>
                <a:lnTo>
                  <a:pt x="1732592" y="4600360"/>
                </a:lnTo>
                <a:cubicBezTo>
                  <a:pt x="1681625" y="4549441"/>
                  <a:pt x="1630663" y="4523984"/>
                  <a:pt x="1579697" y="4549441"/>
                </a:cubicBezTo>
                <a:cubicBezTo>
                  <a:pt x="1560588" y="4555807"/>
                  <a:pt x="1541475" y="4546258"/>
                  <a:pt x="1522365" y="4538302"/>
                </a:cubicBezTo>
                <a:lnTo>
                  <a:pt x="1465037" y="4536713"/>
                </a:lnTo>
                <a:lnTo>
                  <a:pt x="1514402" y="4558985"/>
                </a:lnTo>
                <a:cubicBezTo>
                  <a:pt x="1523160" y="4562168"/>
                  <a:pt x="1528338" y="4566147"/>
                  <a:pt x="1524155" y="4572508"/>
                </a:cubicBezTo>
                <a:lnTo>
                  <a:pt x="1524155" y="4572512"/>
                </a:lnTo>
                <a:cubicBezTo>
                  <a:pt x="1519973" y="4578878"/>
                  <a:pt x="1506439" y="4587629"/>
                  <a:pt x="1477769" y="4600360"/>
                </a:cubicBezTo>
                <a:lnTo>
                  <a:pt x="1477769" y="4621044"/>
                </a:lnTo>
                <a:lnTo>
                  <a:pt x="1477769" y="4651272"/>
                </a:lnTo>
                <a:lnTo>
                  <a:pt x="1477769" y="4651276"/>
                </a:lnTo>
                <a:cubicBezTo>
                  <a:pt x="1452290" y="4651276"/>
                  <a:pt x="1452290" y="4638548"/>
                  <a:pt x="1452290" y="4625817"/>
                </a:cubicBezTo>
                <a:cubicBezTo>
                  <a:pt x="1439546" y="4600360"/>
                  <a:pt x="1439546" y="4587629"/>
                  <a:pt x="1401323" y="4587629"/>
                </a:cubicBezTo>
                <a:cubicBezTo>
                  <a:pt x="1375840" y="4587629"/>
                  <a:pt x="1388584" y="4613088"/>
                  <a:pt x="1375840" y="4625817"/>
                </a:cubicBezTo>
                <a:cubicBezTo>
                  <a:pt x="1375840" y="4651276"/>
                  <a:pt x="1363101" y="4651276"/>
                  <a:pt x="1337618" y="4651276"/>
                </a:cubicBezTo>
                <a:cubicBezTo>
                  <a:pt x="1248432" y="4651276"/>
                  <a:pt x="1159243" y="4638548"/>
                  <a:pt x="1070058" y="4625817"/>
                </a:cubicBezTo>
                <a:cubicBezTo>
                  <a:pt x="1044576" y="4625817"/>
                  <a:pt x="1019092" y="4613088"/>
                  <a:pt x="993613" y="4613088"/>
                </a:cubicBezTo>
                <a:cubicBezTo>
                  <a:pt x="929907" y="4613088"/>
                  <a:pt x="891685" y="4600360"/>
                  <a:pt x="891685" y="4536713"/>
                </a:cubicBezTo>
                <a:cubicBezTo>
                  <a:pt x="904425" y="4473065"/>
                  <a:pt x="878941" y="4409420"/>
                  <a:pt x="878941" y="4333045"/>
                </a:cubicBezTo>
                <a:lnTo>
                  <a:pt x="878941" y="4333041"/>
                </a:lnTo>
                <a:cubicBezTo>
                  <a:pt x="866201" y="4269393"/>
                  <a:pt x="904425" y="4231205"/>
                  <a:pt x="955386" y="4231205"/>
                </a:cubicBezTo>
                <a:cubicBezTo>
                  <a:pt x="1006352" y="4218477"/>
                  <a:pt x="1044576" y="4218477"/>
                  <a:pt x="1095538" y="4205748"/>
                </a:cubicBezTo>
                <a:cubicBezTo>
                  <a:pt x="1108281" y="4193017"/>
                  <a:pt x="1133764" y="4193017"/>
                  <a:pt x="1146504" y="4205748"/>
                </a:cubicBezTo>
                <a:cubicBezTo>
                  <a:pt x="1171987" y="4231205"/>
                  <a:pt x="1171987" y="4231205"/>
                  <a:pt x="1197466" y="4205748"/>
                </a:cubicBezTo>
                <a:cubicBezTo>
                  <a:pt x="1248432" y="4167560"/>
                  <a:pt x="1248432" y="4231205"/>
                  <a:pt x="1261172" y="4269393"/>
                </a:cubicBezTo>
                <a:cubicBezTo>
                  <a:pt x="1273915" y="4193017"/>
                  <a:pt x="1312138" y="4167560"/>
                  <a:pt x="1363101" y="4180289"/>
                </a:cubicBezTo>
                <a:cubicBezTo>
                  <a:pt x="1401323" y="4180289"/>
                  <a:pt x="1426807" y="4167560"/>
                  <a:pt x="1465029" y="4154829"/>
                </a:cubicBezTo>
                <a:cubicBezTo>
                  <a:pt x="1605180" y="4129372"/>
                  <a:pt x="1758071" y="4116641"/>
                  <a:pt x="1898222" y="4103913"/>
                </a:cubicBezTo>
                <a:cubicBezTo>
                  <a:pt x="1936445" y="4103913"/>
                  <a:pt x="1987412" y="4078453"/>
                  <a:pt x="2025634" y="4091184"/>
                </a:cubicBezTo>
                <a:cubicBezTo>
                  <a:pt x="2051117" y="4091184"/>
                  <a:pt x="2076595" y="4091184"/>
                  <a:pt x="2063856" y="4116641"/>
                </a:cubicBezTo>
                <a:cubicBezTo>
                  <a:pt x="2051117" y="4129372"/>
                  <a:pt x="2063856" y="4142101"/>
                  <a:pt x="2076595" y="4142101"/>
                </a:cubicBezTo>
                <a:cubicBezTo>
                  <a:pt x="2089340" y="4142101"/>
                  <a:pt x="2089340" y="4129372"/>
                  <a:pt x="2089340" y="4116641"/>
                </a:cubicBezTo>
                <a:cubicBezTo>
                  <a:pt x="2076595" y="4091184"/>
                  <a:pt x="2089340" y="4078453"/>
                  <a:pt x="2114824" y="4078453"/>
                </a:cubicBezTo>
                <a:cubicBezTo>
                  <a:pt x="2216748" y="4065725"/>
                  <a:pt x="2305936" y="4040268"/>
                  <a:pt x="2407865" y="4052997"/>
                </a:cubicBezTo>
                <a:cubicBezTo>
                  <a:pt x="2420604" y="4052997"/>
                  <a:pt x="2433348" y="4052997"/>
                  <a:pt x="2446088" y="4052997"/>
                </a:cubicBezTo>
                <a:cubicBezTo>
                  <a:pt x="2484310" y="4052997"/>
                  <a:pt x="2509793" y="4027537"/>
                  <a:pt x="2535277" y="4091184"/>
                </a:cubicBezTo>
                <a:cubicBezTo>
                  <a:pt x="2535277" y="4103913"/>
                  <a:pt x="2560755" y="4129372"/>
                  <a:pt x="2598978" y="4142101"/>
                </a:cubicBezTo>
                <a:cubicBezTo>
                  <a:pt x="2586238" y="4103913"/>
                  <a:pt x="2586238" y="4065725"/>
                  <a:pt x="2611721" y="4040268"/>
                </a:cubicBezTo>
                <a:cubicBezTo>
                  <a:pt x="2649944" y="4014809"/>
                  <a:pt x="2675428" y="4052997"/>
                  <a:pt x="2713650" y="4052997"/>
                </a:cubicBezTo>
                <a:lnTo>
                  <a:pt x="2713650" y="4053001"/>
                </a:lnTo>
                <a:lnTo>
                  <a:pt x="2713650" y="4078453"/>
                </a:lnTo>
                <a:cubicBezTo>
                  <a:pt x="2726390" y="4065725"/>
                  <a:pt x="2739130" y="4052997"/>
                  <a:pt x="2739130" y="4052997"/>
                </a:cubicBezTo>
                <a:cubicBezTo>
                  <a:pt x="2751873" y="4040268"/>
                  <a:pt x="2764613" y="4014809"/>
                  <a:pt x="2790096" y="4027537"/>
                </a:cubicBezTo>
                <a:cubicBezTo>
                  <a:pt x="2802834" y="4040268"/>
                  <a:pt x="2802834" y="4052997"/>
                  <a:pt x="2802834" y="4065725"/>
                </a:cubicBezTo>
                <a:lnTo>
                  <a:pt x="2802834" y="4065729"/>
                </a:lnTo>
                <a:lnTo>
                  <a:pt x="2801242" y="4100730"/>
                </a:lnTo>
                <a:lnTo>
                  <a:pt x="2828318" y="4116641"/>
                </a:lnTo>
                <a:cubicBezTo>
                  <a:pt x="2853801" y="4116641"/>
                  <a:pt x="2879281" y="4116641"/>
                  <a:pt x="2879281" y="4078453"/>
                </a:cubicBezTo>
                <a:cubicBezTo>
                  <a:pt x="2892024" y="4014809"/>
                  <a:pt x="2955730" y="3989349"/>
                  <a:pt x="2993953" y="4002080"/>
                </a:cubicBezTo>
                <a:cubicBezTo>
                  <a:pt x="3032175" y="4027537"/>
                  <a:pt x="3057655" y="4002080"/>
                  <a:pt x="3083138" y="4014809"/>
                </a:cubicBezTo>
                <a:lnTo>
                  <a:pt x="3083138" y="4014813"/>
                </a:lnTo>
                <a:lnTo>
                  <a:pt x="3095877" y="4014813"/>
                </a:lnTo>
                <a:lnTo>
                  <a:pt x="3095881" y="4014809"/>
                </a:lnTo>
                <a:cubicBezTo>
                  <a:pt x="3121361" y="3976621"/>
                  <a:pt x="3159583" y="4002080"/>
                  <a:pt x="3185067" y="4002080"/>
                </a:cubicBezTo>
                <a:cubicBezTo>
                  <a:pt x="3274255" y="3989349"/>
                  <a:pt x="3350700" y="3976621"/>
                  <a:pt x="3439886" y="4002080"/>
                </a:cubicBezTo>
                <a:lnTo>
                  <a:pt x="3465369" y="3989349"/>
                </a:lnTo>
                <a:lnTo>
                  <a:pt x="3452629" y="3938437"/>
                </a:lnTo>
                <a:lnTo>
                  <a:pt x="3452629" y="3938433"/>
                </a:lnTo>
                <a:cubicBezTo>
                  <a:pt x="3471738" y="3932067"/>
                  <a:pt x="3487665" y="3925704"/>
                  <a:pt x="3495629" y="3928884"/>
                </a:cubicBezTo>
                <a:lnTo>
                  <a:pt x="3495629" y="3928888"/>
                </a:lnTo>
                <a:lnTo>
                  <a:pt x="3490851" y="3976621"/>
                </a:lnTo>
                <a:lnTo>
                  <a:pt x="3503591" y="4040268"/>
                </a:lnTo>
                <a:cubicBezTo>
                  <a:pt x="3516334" y="4033903"/>
                  <a:pt x="3519518" y="4021171"/>
                  <a:pt x="3524294" y="4010036"/>
                </a:cubicBezTo>
                <a:lnTo>
                  <a:pt x="3554554" y="3989349"/>
                </a:lnTo>
                <a:lnTo>
                  <a:pt x="3540220" y="3963896"/>
                </a:lnTo>
                <a:cubicBezTo>
                  <a:pt x="3532257" y="3957531"/>
                  <a:pt x="3522704" y="3951165"/>
                  <a:pt x="3516331" y="3938437"/>
                </a:cubicBezTo>
                <a:lnTo>
                  <a:pt x="3516334" y="3938437"/>
                </a:lnTo>
                <a:lnTo>
                  <a:pt x="3516331" y="3938433"/>
                </a:lnTo>
                <a:cubicBezTo>
                  <a:pt x="3529074" y="3925704"/>
                  <a:pt x="3541814" y="3925704"/>
                  <a:pt x="3567298" y="3925704"/>
                </a:cubicBezTo>
                <a:cubicBezTo>
                  <a:pt x="3681965" y="3963892"/>
                  <a:pt x="3809377" y="3938433"/>
                  <a:pt x="3936784" y="3951161"/>
                </a:cubicBezTo>
                <a:cubicBezTo>
                  <a:pt x="3962268" y="3957527"/>
                  <a:pt x="3965454" y="3944798"/>
                  <a:pt x="3965454" y="3928888"/>
                </a:cubicBezTo>
                <a:lnTo>
                  <a:pt x="3975011" y="3887516"/>
                </a:lnTo>
                <a:lnTo>
                  <a:pt x="3968638" y="3876383"/>
                </a:lnTo>
                <a:cubicBezTo>
                  <a:pt x="3965454" y="3871605"/>
                  <a:pt x="3962268" y="3868427"/>
                  <a:pt x="3962268" y="3874789"/>
                </a:cubicBezTo>
                <a:cubicBezTo>
                  <a:pt x="3949528" y="3887516"/>
                  <a:pt x="3898562" y="3874789"/>
                  <a:pt x="3924044" y="3925708"/>
                </a:cubicBezTo>
                <a:cubicBezTo>
                  <a:pt x="3873082" y="3912977"/>
                  <a:pt x="3834860" y="3912977"/>
                  <a:pt x="3809377" y="3862061"/>
                </a:cubicBezTo>
                <a:cubicBezTo>
                  <a:pt x="3796633" y="3823873"/>
                  <a:pt x="3681965" y="3862061"/>
                  <a:pt x="3643743" y="3912977"/>
                </a:cubicBezTo>
                <a:cubicBezTo>
                  <a:pt x="3605520" y="3900249"/>
                  <a:pt x="3618260" y="3849329"/>
                  <a:pt x="3567298" y="3849329"/>
                </a:cubicBezTo>
                <a:cubicBezTo>
                  <a:pt x="3516331" y="3849329"/>
                  <a:pt x="3516331" y="3874789"/>
                  <a:pt x="3503591" y="3900249"/>
                </a:cubicBezTo>
                <a:cubicBezTo>
                  <a:pt x="3427146" y="3849329"/>
                  <a:pt x="3350700" y="3849329"/>
                  <a:pt x="3261512" y="3887516"/>
                </a:cubicBezTo>
                <a:cubicBezTo>
                  <a:pt x="3248772" y="3887516"/>
                  <a:pt x="3223289" y="3887516"/>
                  <a:pt x="3197806" y="3874789"/>
                </a:cubicBezTo>
                <a:cubicBezTo>
                  <a:pt x="3172326" y="3862061"/>
                  <a:pt x="3146843" y="3849329"/>
                  <a:pt x="3108621" y="3874789"/>
                </a:cubicBezTo>
                <a:cubicBezTo>
                  <a:pt x="3095881" y="3887516"/>
                  <a:pt x="3083138" y="3887516"/>
                  <a:pt x="3070397" y="3887516"/>
                </a:cubicBezTo>
                <a:cubicBezTo>
                  <a:pt x="3057658" y="3887516"/>
                  <a:pt x="3035358" y="3874789"/>
                  <a:pt x="3019432" y="3873199"/>
                </a:cubicBezTo>
                <a:lnTo>
                  <a:pt x="3002313" y="3882146"/>
                </a:lnTo>
                <a:lnTo>
                  <a:pt x="3006692" y="3925704"/>
                </a:lnTo>
                <a:lnTo>
                  <a:pt x="3006692" y="3925708"/>
                </a:lnTo>
                <a:cubicBezTo>
                  <a:pt x="3006692" y="3925708"/>
                  <a:pt x="2993953" y="3925708"/>
                  <a:pt x="2981210" y="3925708"/>
                </a:cubicBezTo>
                <a:cubicBezTo>
                  <a:pt x="2968469" y="3925708"/>
                  <a:pt x="2968469" y="3925708"/>
                  <a:pt x="2968469" y="3912977"/>
                </a:cubicBezTo>
                <a:cubicBezTo>
                  <a:pt x="2981210" y="3874789"/>
                  <a:pt x="2955730" y="3874789"/>
                  <a:pt x="2930247" y="3874789"/>
                </a:cubicBezTo>
                <a:cubicBezTo>
                  <a:pt x="2790096" y="3874789"/>
                  <a:pt x="2649944" y="3887516"/>
                  <a:pt x="2509793" y="3887516"/>
                </a:cubicBezTo>
                <a:cubicBezTo>
                  <a:pt x="2458828" y="3887516"/>
                  <a:pt x="2395126" y="3900249"/>
                  <a:pt x="2356899" y="3900249"/>
                </a:cubicBezTo>
                <a:cubicBezTo>
                  <a:pt x="2191268" y="3938437"/>
                  <a:pt x="2025634" y="3912977"/>
                  <a:pt x="1872743" y="3938437"/>
                </a:cubicBezTo>
                <a:cubicBezTo>
                  <a:pt x="1745331" y="3951165"/>
                  <a:pt x="1617920" y="3951165"/>
                  <a:pt x="1490513" y="3976625"/>
                </a:cubicBezTo>
                <a:cubicBezTo>
                  <a:pt x="1452290" y="3976625"/>
                  <a:pt x="1414067" y="4002084"/>
                  <a:pt x="1363101" y="4002084"/>
                </a:cubicBezTo>
                <a:cubicBezTo>
                  <a:pt x="1312138" y="3989353"/>
                  <a:pt x="1273915" y="3976625"/>
                  <a:pt x="1261172" y="3912977"/>
                </a:cubicBezTo>
                <a:lnTo>
                  <a:pt x="1261172" y="3912973"/>
                </a:lnTo>
                <a:lnTo>
                  <a:pt x="1261172" y="3747497"/>
                </a:lnTo>
                <a:lnTo>
                  <a:pt x="1261172" y="3747493"/>
                </a:lnTo>
                <a:cubicBezTo>
                  <a:pt x="1261172" y="3709306"/>
                  <a:pt x="1268340" y="3678278"/>
                  <a:pt x="1298799" y="3670521"/>
                </a:cubicBezTo>
                <a:lnTo>
                  <a:pt x="1299557" y="3670532"/>
                </a:lnTo>
                <a:lnTo>
                  <a:pt x="1300463" y="3668136"/>
                </a:lnTo>
                <a:lnTo>
                  <a:pt x="1300463" y="3668132"/>
                </a:lnTo>
                <a:cubicBezTo>
                  <a:pt x="1305240" y="3663359"/>
                  <a:pt x="1314797" y="3660176"/>
                  <a:pt x="1327536" y="3653810"/>
                </a:cubicBezTo>
                <a:lnTo>
                  <a:pt x="1327536" y="3628358"/>
                </a:lnTo>
                <a:cubicBezTo>
                  <a:pt x="1302053" y="3615627"/>
                  <a:pt x="1340275" y="3577439"/>
                  <a:pt x="1314797" y="3577439"/>
                </a:cubicBezTo>
                <a:cubicBezTo>
                  <a:pt x="1289314" y="3564710"/>
                  <a:pt x="1289314" y="3577439"/>
                  <a:pt x="1276574" y="3602898"/>
                </a:cubicBezTo>
                <a:cubicBezTo>
                  <a:pt x="1251091" y="3641086"/>
                  <a:pt x="1212868" y="3641086"/>
                  <a:pt x="1174646" y="3628358"/>
                </a:cubicBezTo>
                <a:cubicBezTo>
                  <a:pt x="1149162" y="3615627"/>
                  <a:pt x="1123679" y="3628358"/>
                  <a:pt x="1123679" y="3653814"/>
                </a:cubicBezTo>
                <a:cubicBezTo>
                  <a:pt x="1110940" y="3704734"/>
                  <a:pt x="1085456" y="3692002"/>
                  <a:pt x="1047234" y="3692002"/>
                </a:cubicBezTo>
                <a:cubicBezTo>
                  <a:pt x="932566" y="3692002"/>
                  <a:pt x="805154" y="3692002"/>
                  <a:pt x="677746" y="3692002"/>
                </a:cubicBezTo>
                <a:cubicBezTo>
                  <a:pt x="665003" y="3692002"/>
                  <a:pt x="652264" y="3692002"/>
                  <a:pt x="652264" y="3679274"/>
                </a:cubicBezTo>
                <a:lnTo>
                  <a:pt x="652268" y="3679270"/>
                </a:lnTo>
                <a:lnTo>
                  <a:pt x="652264" y="3679270"/>
                </a:lnTo>
                <a:cubicBezTo>
                  <a:pt x="652264" y="3653810"/>
                  <a:pt x="665003" y="3641082"/>
                  <a:pt x="690486" y="3641082"/>
                </a:cubicBezTo>
                <a:cubicBezTo>
                  <a:pt x="741448" y="3641082"/>
                  <a:pt x="792415" y="3641082"/>
                  <a:pt x="843377" y="3641082"/>
                </a:cubicBezTo>
                <a:cubicBezTo>
                  <a:pt x="907083" y="3653810"/>
                  <a:pt x="970788" y="3615623"/>
                  <a:pt x="1021751" y="3666543"/>
                </a:cubicBezTo>
                <a:cubicBezTo>
                  <a:pt x="1028124" y="3653810"/>
                  <a:pt x="1040864" y="3653810"/>
                  <a:pt x="1053604" y="3655404"/>
                </a:cubicBezTo>
                <a:lnTo>
                  <a:pt x="1085456" y="3653810"/>
                </a:lnTo>
                <a:lnTo>
                  <a:pt x="1059977" y="3590170"/>
                </a:lnTo>
                <a:lnTo>
                  <a:pt x="1063160" y="3617216"/>
                </a:lnTo>
                <a:lnTo>
                  <a:pt x="1063160" y="3617220"/>
                </a:lnTo>
                <a:cubicBezTo>
                  <a:pt x="1063160" y="3625175"/>
                  <a:pt x="1059977" y="3628354"/>
                  <a:pt x="1047234" y="3615627"/>
                </a:cubicBezTo>
                <a:cubicBezTo>
                  <a:pt x="996271" y="3590170"/>
                  <a:pt x="945305" y="3602898"/>
                  <a:pt x="894343" y="3602898"/>
                </a:cubicBezTo>
                <a:cubicBezTo>
                  <a:pt x="881599" y="3602898"/>
                  <a:pt x="881599" y="3602898"/>
                  <a:pt x="868860" y="3590170"/>
                </a:cubicBezTo>
                <a:lnTo>
                  <a:pt x="852934" y="3582215"/>
                </a:lnTo>
                <a:lnTo>
                  <a:pt x="856121" y="3602894"/>
                </a:lnTo>
                <a:lnTo>
                  <a:pt x="856121" y="3602898"/>
                </a:lnTo>
                <a:lnTo>
                  <a:pt x="856121" y="3628354"/>
                </a:lnTo>
                <a:lnTo>
                  <a:pt x="856121" y="3628358"/>
                </a:lnTo>
                <a:cubicBezTo>
                  <a:pt x="805154" y="3577439"/>
                  <a:pt x="754191" y="3551982"/>
                  <a:pt x="703225" y="3577439"/>
                </a:cubicBezTo>
                <a:cubicBezTo>
                  <a:pt x="684116" y="3583804"/>
                  <a:pt x="665003" y="3574256"/>
                  <a:pt x="645894" y="3566300"/>
                </a:cubicBezTo>
                <a:lnTo>
                  <a:pt x="588565" y="3564710"/>
                </a:lnTo>
                <a:lnTo>
                  <a:pt x="637930" y="3586983"/>
                </a:lnTo>
                <a:cubicBezTo>
                  <a:pt x="646689" y="3590166"/>
                  <a:pt x="651866" y="3594144"/>
                  <a:pt x="647683" y="3600506"/>
                </a:cubicBezTo>
                <a:lnTo>
                  <a:pt x="647683" y="3600510"/>
                </a:lnTo>
                <a:cubicBezTo>
                  <a:pt x="643502" y="3606876"/>
                  <a:pt x="629967" y="3615627"/>
                  <a:pt x="601297" y="3628358"/>
                </a:cubicBezTo>
                <a:lnTo>
                  <a:pt x="601297" y="3649041"/>
                </a:lnTo>
                <a:lnTo>
                  <a:pt x="601297" y="3679270"/>
                </a:lnTo>
                <a:lnTo>
                  <a:pt x="601297" y="3679274"/>
                </a:lnTo>
                <a:cubicBezTo>
                  <a:pt x="575818" y="3679274"/>
                  <a:pt x="575818" y="3666546"/>
                  <a:pt x="575818" y="3653814"/>
                </a:cubicBezTo>
                <a:cubicBezTo>
                  <a:pt x="563074" y="3628358"/>
                  <a:pt x="563074" y="3615627"/>
                  <a:pt x="524852" y="3615627"/>
                </a:cubicBezTo>
                <a:cubicBezTo>
                  <a:pt x="499369" y="3615627"/>
                  <a:pt x="512112" y="3641086"/>
                  <a:pt x="499369" y="3653814"/>
                </a:cubicBezTo>
                <a:cubicBezTo>
                  <a:pt x="499369" y="3679274"/>
                  <a:pt x="486629" y="3679274"/>
                  <a:pt x="461146" y="3679274"/>
                </a:cubicBezTo>
                <a:cubicBezTo>
                  <a:pt x="371960" y="3679274"/>
                  <a:pt x="282772" y="3666546"/>
                  <a:pt x="193587" y="3653814"/>
                </a:cubicBezTo>
                <a:cubicBezTo>
                  <a:pt x="168104" y="3653814"/>
                  <a:pt x="142621" y="3641086"/>
                  <a:pt x="117142" y="3641086"/>
                </a:cubicBezTo>
                <a:cubicBezTo>
                  <a:pt x="53436" y="3641086"/>
                  <a:pt x="15213" y="3628358"/>
                  <a:pt x="15213" y="3564710"/>
                </a:cubicBezTo>
                <a:cubicBezTo>
                  <a:pt x="27952" y="3501063"/>
                  <a:pt x="2470" y="3437418"/>
                  <a:pt x="2470" y="3361042"/>
                </a:cubicBezTo>
                <a:lnTo>
                  <a:pt x="2470" y="3361038"/>
                </a:lnTo>
                <a:cubicBezTo>
                  <a:pt x="-10270" y="3297391"/>
                  <a:pt x="27952" y="3259203"/>
                  <a:pt x="78915" y="3259203"/>
                </a:cubicBezTo>
                <a:cubicBezTo>
                  <a:pt x="129881" y="3246474"/>
                  <a:pt x="168104" y="3246474"/>
                  <a:pt x="219066" y="3233746"/>
                </a:cubicBezTo>
                <a:cubicBezTo>
                  <a:pt x="231809" y="3221015"/>
                  <a:pt x="257293" y="3221015"/>
                  <a:pt x="270032" y="3233746"/>
                </a:cubicBezTo>
                <a:cubicBezTo>
                  <a:pt x="295515" y="3259203"/>
                  <a:pt x="295515" y="3259203"/>
                  <a:pt x="320995" y="3233746"/>
                </a:cubicBezTo>
                <a:cubicBezTo>
                  <a:pt x="371960" y="3195558"/>
                  <a:pt x="371960" y="3259203"/>
                  <a:pt x="384701" y="3297391"/>
                </a:cubicBezTo>
                <a:cubicBezTo>
                  <a:pt x="397444" y="3221015"/>
                  <a:pt x="435666" y="3195558"/>
                  <a:pt x="486629" y="3208287"/>
                </a:cubicBezTo>
                <a:cubicBezTo>
                  <a:pt x="524852" y="3208287"/>
                  <a:pt x="550335" y="3195558"/>
                  <a:pt x="588558" y="3182827"/>
                </a:cubicBezTo>
                <a:cubicBezTo>
                  <a:pt x="728709" y="3157370"/>
                  <a:pt x="881599" y="3144639"/>
                  <a:pt x="1021751" y="3131911"/>
                </a:cubicBezTo>
                <a:cubicBezTo>
                  <a:pt x="1059973" y="3131911"/>
                  <a:pt x="1110940" y="3106451"/>
                  <a:pt x="1149162" y="3119182"/>
                </a:cubicBezTo>
                <a:cubicBezTo>
                  <a:pt x="1174646" y="3119182"/>
                  <a:pt x="1200125" y="3119182"/>
                  <a:pt x="1187385" y="3144639"/>
                </a:cubicBezTo>
                <a:cubicBezTo>
                  <a:pt x="1174646" y="3157370"/>
                  <a:pt x="1187385" y="3170099"/>
                  <a:pt x="1200125" y="3170099"/>
                </a:cubicBezTo>
                <a:cubicBezTo>
                  <a:pt x="1212868" y="3170099"/>
                  <a:pt x="1212868" y="3157370"/>
                  <a:pt x="1212868" y="3144639"/>
                </a:cubicBezTo>
                <a:cubicBezTo>
                  <a:pt x="1200125" y="3119182"/>
                  <a:pt x="1212868" y="3106451"/>
                  <a:pt x="1238352" y="3106451"/>
                </a:cubicBezTo>
                <a:cubicBezTo>
                  <a:pt x="1340275" y="3093723"/>
                  <a:pt x="1429465" y="3068266"/>
                  <a:pt x="1531393" y="3080994"/>
                </a:cubicBezTo>
                <a:cubicBezTo>
                  <a:pt x="1544133" y="3080994"/>
                  <a:pt x="1556877" y="3080994"/>
                  <a:pt x="1569616" y="3080994"/>
                </a:cubicBezTo>
                <a:cubicBezTo>
                  <a:pt x="1607839" y="3080994"/>
                  <a:pt x="1633322" y="3055535"/>
                  <a:pt x="1658805" y="3119182"/>
                </a:cubicBezTo>
                <a:lnTo>
                  <a:pt x="1665095" y="3128324"/>
                </a:lnTo>
                <a:lnTo>
                  <a:pt x="1716041" y="3124877"/>
                </a:lnTo>
                <a:lnTo>
                  <a:pt x="1714546" y="3114408"/>
                </a:lnTo>
                <a:cubicBezTo>
                  <a:pt x="1716138" y="3096906"/>
                  <a:pt x="1722509" y="3080994"/>
                  <a:pt x="1735250" y="3068266"/>
                </a:cubicBezTo>
                <a:cubicBezTo>
                  <a:pt x="1773473" y="3042806"/>
                  <a:pt x="1798956" y="3080994"/>
                  <a:pt x="1837179" y="3080994"/>
                </a:cubicBezTo>
                <a:lnTo>
                  <a:pt x="1837179" y="3080998"/>
                </a:lnTo>
                <a:lnTo>
                  <a:pt x="1837179" y="3106451"/>
                </a:lnTo>
                <a:cubicBezTo>
                  <a:pt x="1849918" y="3093723"/>
                  <a:pt x="1862658" y="3080994"/>
                  <a:pt x="1862658" y="3080994"/>
                </a:cubicBezTo>
                <a:cubicBezTo>
                  <a:pt x="1875401" y="3068266"/>
                  <a:pt x="1888141" y="3042806"/>
                  <a:pt x="1913624" y="3055535"/>
                </a:cubicBezTo>
                <a:cubicBezTo>
                  <a:pt x="1926363" y="3068266"/>
                  <a:pt x="1926363" y="3080994"/>
                  <a:pt x="1926363" y="3093723"/>
                </a:cubicBezTo>
                <a:lnTo>
                  <a:pt x="1926363" y="3093727"/>
                </a:lnTo>
                <a:lnTo>
                  <a:pt x="1925974" y="3102297"/>
                </a:lnTo>
                <a:lnTo>
                  <a:pt x="2009812" y="3090595"/>
                </a:lnTo>
                <a:lnTo>
                  <a:pt x="2020728" y="3065877"/>
                </a:lnTo>
                <a:cubicBezTo>
                  <a:pt x="2045813" y="3032463"/>
                  <a:pt x="2088813" y="3020530"/>
                  <a:pt x="2117482" y="3030078"/>
                </a:cubicBezTo>
                <a:cubicBezTo>
                  <a:pt x="2155704" y="3055535"/>
                  <a:pt x="2181183" y="3030078"/>
                  <a:pt x="2206666" y="3042806"/>
                </a:cubicBezTo>
                <a:lnTo>
                  <a:pt x="2206666" y="3042810"/>
                </a:lnTo>
                <a:lnTo>
                  <a:pt x="2219406" y="3042810"/>
                </a:lnTo>
                <a:lnTo>
                  <a:pt x="2219410" y="3042806"/>
                </a:lnTo>
                <a:cubicBezTo>
                  <a:pt x="2244889" y="3004618"/>
                  <a:pt x="2283112" y="3030078"/>
                  <a:pt x="2308595" y="3030078"/>
                </a:cubicBezTo>
                <a:cubicBezTo>
                  <a:pt x="2375486" y="3020530"/>
                  <a:pt x="2435209" y="3010983"/>
                  <a:pt x="2498515" y="3017547"/>
                </a:cubicBezTo>
                <a:lnTo>
                  <a:pt x="2554287" y="3028316"/>
                </a:lnTo>
                <a:lnTo>
                  <a:pt x="2572475" y="3025551"/>
                </a:lnTo>
                <a:lnTo>
                  <a:pt x="2588897" y="3017347"/>
                </a:lnTo>
                <a:lnTo>
                  <a:pt x="2576157" y="2966435"/>
                </a:lnTo>
                <a:lnTo>
                  <a:pt x="2576157" y="2966431"/>
                </a:lnTo>
                <a:cubicBezTo>
                  <a:pt x="2595267" y="2960065"/>
                  <a:pt x="2611194" y="2953702"/>
                  <a:pt x="2619157" y="2956882"/>
                </a:cubicBezTo>
                <a:lnTo>
                  <a:pt x="2619157" y="2956886"/>
                </a:lnTo>
                <a:lnTo>
                  <a:pt x="2614380" y="3004618"/>
                </a:lnTo>
                <a:lnTo>
                  <a:pt x="2617209" y="3018751"/>
                </a:lnTo>
                <a:lnTo>
                  <a:pt x="2652429" y="3013396"/>
                </a:lnTo>
                <a:lnTo>
                  <a:pt x="2674748" y="3011426"/>
                </a:lnTo>
                <a:lnTo>
                  <a:pt x="2663749" y="2991894"/>
                </a:lnTo>
                <a:cubicBezTo>
                  <a:pt x="2655785" y="2985529"/>
                  <a:pt x="2646234" y="2979163"/>
                  <a:pt x="2639859" y="2966435"/>
                </a:cubicBezTo>
                <a:lnTo>
                  <a:pt x="2639864" y="2966435"/>
                </a:lnTo>
                <a:lnTo>
                  <a:pt x="2639859" y="2966431"/>
                </a:lnTo>
                <a:cubicBezTo>
                  <a:pt x="2652603" y="2953702"/>
                  <a:pt x="2665342" y="2953702"/>
                  <a:pt x="2690826" y="2953702"/>
                </a:cubicBezTo>
                <a:cubicBezTo>
                  <a:pt x="2776827" y="2982344"/>
                  <a:pt x="2869996" y="2975182"/>
                  <a:pt x="2964955" y="2975181"/>
                </a:cubicBezTo>
                <a:lnTo>
                  <a:pt x="2970772" y="2975424"/>
                </a:lnTo>
                <a:lnTo>
                  <a:pt x="2971655" y="2974189"/>
                </a:lnTo>
                <a:cubicBezTo>
                  <a:pt x="2981211" y="2967824"/>
                  <a:pt x="2993951" y="2964641"/>
                  <a:pt x="3006692" y="2971005"/>
                </a:cubicBezTo>
                <a:lnTo>
                  <a:pt x="3016013" y="2977311"/>
                </a:lnTo>
                <a:lnTo>
                  <a:pt x="3060313" y="2979159"/>
                </a:lnTo>
                <a:cubicBezTo>
                  <a:pt x="3085796" y="2985525"/>
                  <a:pt x="3088983" y="2972796"/>
                  <a:pt x="3088983" y="2956886"/>
                </a:cubicBezTo>
                <a:lnTo>
                  <a:pt x="3098540" y="2915514"/>
                </a:lnTo>
                <a:lnTo>
                  <a:pt x="3098181" y="2914886"/>
                </a:lnTo>
                <a:lnTo>
                  <a:pt x="3050389" y="2916023"/>
                </a:lnTo>
                <a:lnTo>
                  <a:pt x="3041003" y="2926058"/>
                </a:lnTo>
                <a:cubicBezTo>
                  <a:pt x="3039610" y="2932224"/>
                  <a:pt x="3041202" y="2940976"/>
                  <a:pt x="3047573" y="2953706"/>
                </a:cubicBezTo>
                <a:cubicBezTo>
                  <a:pt x="3009352" y="2944158"/>
                  <a:pt x="2978296" y="2941771"/>
                  <a:pt x="2954407" y="2919694"/>
                </a:cubicBezTo>
                <a:lnTo>
                  <a:pt x="2953417" y="2918329"/>
                </a:lnTo>
                <a:lnTo>
                  <a:pt x="2879281" y="2920093"/>
                </a:lnTo>
                <a:lnTo>
                  <a:pt x="2786956" y="2923936"/>
                </a:lnTo>
                <a:lnTo>
                  <a:pt x="2767271" y="2940975"/>
                </a:lnTo>
                <a:cubicBezTo>
                  <a:pt x="2757715" y="2937792"/>
                  <a:pt x="2751346" y="2932223"/>
                  <a:pt x="2746368" y="2925660"/>
                </a:cubicBezTo>
                <a:lnTo>
                  <a:pt x="2746348" y="2925626"/>
                </a:lnTo>
                <a:lnTo>
                  <a:pt x="2726390" y="2926457"/>
                </a:lnTo>
                <a:lnTo>
                  <a:pt x="2703020" y="2927430"/>
                </a:lnTo>
                <a:lnTo>
                  <a:pt x="2703020" y="2927838"/>
                </a:lnTo>
                <a:lnTo>
                  <a:pt x="2703020" y="2927842"/>
                </a:lnTo>
                <a:lnTo>
                  <a:pt x="2701610" y="2927488"/>
                </a:lnTo>
                <a:lnTo>
                  <a:pt x="2573499" y="2932821"/>
                </a:lnTo>
                <a:cubicBezTo>
                  <a:pt x="2407865" y="2932821"/>
                  <a:pt x="2242230" y="2945553"/>
                  <a:pt x="2076595" y="2971009"/>
                </a:cubicBezTo>
                <a:cubicBezTo>
                  <a:pt x="2028820" y="2980558"/>
                  <a:pt x="1995376" y="2968624"/>
                  <a:pt x="1976263" y="2935210"/>
                </a:cubicBezTo>
                <a:lnTo>
                  <a:pt x="1970857" y="2919908"/>
                </a:lnTo>
                <a:lnTo>
                  <a:pt x="1881599" y="2933843"/>
                </a:lnTo>
                <a:cubicBezTo>
                  <a:pt x="1843376" y="2933843"/>
                  <a:pt x="1805154" y="2959302"/>
                  <a:pt x="1754187" y="2959302"/>
                </a:cubicBezTo>
                <a:cubicBezTo>
                  <a:pt x="1728705" y="2952937"/>
                  <a:pt x="1706409" y="2946572"/>
                  <a:pt x="1688891" y="2933842"/>
                </a:cubicBezTo>
                <a:lnTo>
                  <a:pt x="1671129" y="2914370"/>
                </a:lnTo>
                <a:lnTo>
                  <a:pt x="1633322" y="2915514"/>
                </a:lnTo>
                <a:cubicBezTo>
                  <a:pt x="1582356" y="2915514"/>
                  <a:pt x="1518654" y="2928247"/>
                  <a:pt x="1480428" y="2928247"/>
                </a:cubicBezTo>
                <a:cubicBezTo>
                  <a:pt x="1314797" y="2966435"/>
                  <a:pt x="1149162" y="2940975"/>
                  <a:pt x="996271" y="2966435"/>
                </a:cubicBezTo>
                <a:cubicBezTo>
                  <a:pt x="868860" y="2979163"/>
                  <a:pt x="741448" y="2979163"/>
                  <a:pt x="614040" y="3004623"/>
                </a:cubicBezTo>
                <a:cubicBezTo>
                  <a:pt x="575818" y="3004623"/>
                  <a:pt x="537595" y="3030082"/>
                  <a:pt x="486629" y="3030082"/>
                </a:cubicBezTo>
                <a:cubicBezTo>
                  <a:pt x="435666" y="3017351"/>
                  <a:pt x="397444" y="3004623"/>
                  <a:pt x="384701" y="2940975"/>
                </a:cubicBezTo>
                <a:lnTo>
                  <a:pt x="384701" y="2940971"/>
                </a:lnTo>
                <a:lnTo>
                  <a:pt x="384701" y="2775495"/>
                </a:lnTo>
                <a:lnTo>
                  <a:pt x="384701" y="2775491"/>
                </a:lnTo>
                <a:cubicBezTo>
                  <a:pt x="384701" y="2724575"/>
                  <a:pt x="397444" y="2686387"/>
                  <a:pt x="461146" y="2699115"/>
                </a:cubicBezTo>
                <a:cubicBezTo>
                  <a:pt x="486629" y="2699115"/>
                  <a:pt x="499369" y="2699115"/>
                  <a:pt x="512112" y="2699115"/>
                </a:cubicBezTo>
                <a:cubicBezTo>
                  <a:pt x="531221" y="2692749"/>
                  <a:pt x="543965" y="2689565"/>
                  <a:pt x="551928" y="2683204"/>
                </a:cubicBezTo>
                <a:lnTo>
                  <a:pt x="563074" y="2648199"/>
                </a:lnTo>
                <a:lnTo>
                  <a:pt x="512112" y="2482723"/>
                </a:lnTo>
                <a:cubicBezTo>
                  <a:pt x="486629" y="2438169"/>
                  <a:pt x="483446" y="2390436"/>
                  <a:pt x="486629" y="2342699"/>
                </a:cubicBezTo>
                <a:lnTo>
                  <a:pt x="486629" y="2342695"/>
                </a:lnTo>
                <a:cubicBezTo>
                  <a:pt x="489816" y="2294962"/>
                  <a:pt x="499369" y="2247225"/>
                  <a:pt x="499369" y="2202675"/>
                </a:cubicBezTo>
                <a:cubicBezTo>
                  <a:pt x="499369" y="2177215"/>
                  <a:pt x="524852" y="2177215"/>
                  <a:pt x="550335" y="2177215"/>
                </a:cubicBezTo>
                <a:cubicBezTo>
                  <a:pt x="754191" y="2151755"/>
                  <a:pt x="958049" y="2151755"/>
                  <a:pt x="1161902" y="2126299"/>
                </a:cubicBezTo>
                <a:cubicBezTo>
                  <a:pt x="1324352" y="2097658"/>
                  <a:pt x="1493967" y="2083336"/>
                  <a:pt x="1659997" y="2061855"/>
                </a:cubicBezTo>
                <a:lnTo>
                  <a:pt x="1691668" y="2057104"/>
                </a:lnTo>
                <a:lnTo>
                  <a:pt x="1659396" y="2047737"/>
                </a:lnTo>
                <a:cubicBezTo>
                  <a:pt x="1626548" y="2035802"/>
                  <a:pt x="1602659" y="2016708"/>
                  <a:pt x="1593101" y="1968973"/>
                </a:cubicBezTo>
                <a:lnTo>
                  <a:pt x="1593101" y="1968969"/>
                </a:lnTo>
                <a:lnTo>
                  <a:pt x="1593101" y="1964812"/>
                </a:lnTo>
                <a:lnTo>
                  <a:pt x="1448576" y="1970367"/>
                </a:lnTo>
                <a:cubicBezTo>
                  <a:pt x="1365759" y="1976732"/>
                  <a:pt x="1282941" y="1986280"/>
                  <a:pt x="1200125" y="1999007"/>
                </a:cubicBezTo>
                <a:cubicBezTo>
                  <a:pt x="1136423" y="2011739"/>
                  <a:pt x="1098199" y="1986280"/>
                  <a:pt x="1085456" y="1922635"/>
                </a:cubicBezTo>
                <a:cubicBezTo>
                  <a:pt x="1085456" y="1909903"/>
                  <a:pt x="1072717" y="1897175"/>
                  <a:pt x="1072717" y="1884447"/>
                </a:cubicBezTo>
                <a:cubicBezTo>
                  <a:pt x="1069530" y="1855805"/>
                  <a:pt x="1065548" y="1832733"/>
                  <a:pt x="1063557" y="1813840"/>
                </a:cubicBezTo>
                <a:lnTo>
                  <a:pt x="1063557" y="1813836"/>
                </a:lnTo>
                <a:cubicBezTo>
                  <a:pt x="1057585" y="1757148"/>
                  <a:pt x="1069530" y="1738054"/>
                  <a:pt x="1174646" y="1718960"/>
                </a:cubicBezTo>
                <a:cubicBezTo>
                  <a:pt x="1263830" y="1706232"/>
                  <a:pt x="1353020" y="1693503"/>
                  <a:pt x="1454948" y="1693503"/>
                </a:cubicBezTo>
                <a:cubicBezTo>
                  <a:pt x="1531393" y="1693503"/>
                  <a:pt x="1595099" y="1668044"/>
                  <a:pt x="1671544" y="1655315"/>
                </a:cubicBezTo>
                <a:lnTo>
                  <a:pt x="1762629" y="1647471"/>
                </a:lnTo>
                <a:lnTo>
                  <a:pt x="1720513" y="1510721"/>
                </a:lnTo>
                <a:cubicBezTo>
                  <a:pt x="1695029" y="1466167"/>
                  <a:pt x="1691848" y="1418434"/>
                  <a:pt x="1695029" y="1370697"/>
                </a:cubicBezTo>
                <a:lnTo>
                  <a:pt x="1695029" y="1370693"/>
                </a:lnTo>
                <a:cubicBezTo>
                  <a:pt x="1698216" y="1322961"/>
                  <a:pt x="1707769" y="1275223"/>
                  <a:pt x="1707769" y="1230673"/>
                </a:cubicBezTo>
                <a:cubicBezTo>
                  <a:pt x="1707769" y="1205213"/>
                  <a:pt x="1733253" y="1205213"/>
                  <a:pt x="1758735" y="1205213"/>
                </a:cubicBezTo>
                <a:cubicBezTo>
                  <a:pt x="1962593" y="1179753"/>
                  <a:pt x="2166449" y="1179753"/>
                  <a:pt x="2370303" y="1154298"/>
                </a:cubicBezTo>
                <a:cubicBezTo>
                  <a:pt x="2586903" y="1116110"/>
                  <a:pt x="2816240" y="1103377"/>
                  <a:pt x="3032835" y="1065190"/>
                </a:cubicBezTo>
                <a:cubicBezTo>
                  <a:pt x="3083803" y="1052461"/>
                  <a:pt x="3134765" y="1065190"/>
                  <a:pt x="3185732" y="1039734"/>
                </a:cubicBezTo>
                <a:cubicBezTo>
                  <a:pt x="3223954" y="1027002"/>
                  <a:pt x="3236693" y="1077922"/>
                  <a:pt x="3274916" y="1077922"/>
                </a:cubicBezTo>
                <a:lnTo>
                  <a:pt x="3290842" y="1069966"/>
                </a:lnTo>
                <a:lnTo>
                  <a:pt x="3287660" y="1052465"/>
                </a:lnTo>
                <a:lnTo>
                  <a:pt x="3287660" y="1052461"/>
                </a:lnTo>
                <a:cubicBezTo>
                  <a:pt x="3287660" y="1039734"/>
                  <a:pt x="3313138" y="1014273"/>
                  <a:pt x="3338622" y="1027002"/>
                </a:cubicBezTo>
                <a:cubicBezTo>
                  <a:pt x="3364105" y="1052461"/>
                  <a:pt x="3389583" y="1039734"/>
                  <a:pt x="3415067" y="1052461"/>
                </a:cubicBezTo>
                <a:cubicBezTo>
                  <a:pt x="3427811" y="1052461"/>
                  <a:pt x="3453289" y="1052461"/>
                  <a:pt x="3466034" y="1039734"/>
                </a:cubicBezTo>
                <a:cubicBezTo>
                  <a:pt x="3516995" y="1001546"/>
                  <a:pt x="3567959" y="1001546"/>
                  <a:pt x="3631665" y="1001546"/>
                </a:cubicBezTo>
                <a:lnTo>
                  <a:pt x="3746325" y="963361"/>
                </a:lnTo>
                <a:lnTo>
                  <a:pt x="3211210" y="976089"/>
                </a:lnTo>
                <a:cubicBezTo>
                  <a:pt x="3109282" y="976089"/>
                  <a:pt x="3007356" y="988818"/>
                  <a:pt x="2905429" y="988818"/>
                </a:cubicBezTo>
                <a:cubicBezTo>
                  <a:pt x="2739795" y="988818"/>
                  <a:pt x="2574159" y="1001549"/>
                  <a:pt x="2408526" y="1027006"/>
                </a:cubicBezTo>
                <a:cubicBezTo>
                  <a:pt x="2344824" y="1039737"/>
                  <a:pt x="2306601" y="1014277"/>
                  <a:pt x="2293858" y="950634"/>
                </a:cubicBezTo>
                <a:cubicBezTo>
                  <a:pt x="2293858" y="937901"/>
                  <a:pt x="2281117" y="925173"/>
                  <a:pt x="2281117" y="912445"/>
                </a:cubicBezTo>
                <a:cubicBezTo>
                  <a:pt x="2277931" y="883802"/>
                  <a:pt x="2273949" y="860731"/>
                  <a:pt x="2271959" y="841837"/>
                </a:cubicBezTo>
                <a:lnTo>
                  <a:pt x="2271959" y="841833"/>
                </a:lnTo>
                <a:cubicBezTo>
                  <a:pt x="2265987" y="785146"/>
                  <a:pt x="2277931" y="766052"/>
                  <a:pt x="2383046" y="746958"/>
                </a:cubicBezTo>
                <a:cubicBezTo>
                  <a:pt x="2472232" y="734229"/>
                  <a:pt x="2561421" y="721502"/>
                  <a:pt x="2663349" y="721502"/>
                </a:cubicBezTo>
                <a:cubicBezTo>
                  <a:pt x="2739795" y="721502"/>
                  <a:pt x="2803501" y="696041"/>
                  <a:pt x="2879946" y="683313"/>
                </a:cubicBezTo>
                <a:cubicBezTo>
                  <a:pt x="3007356" y="670586"/>
                  <a:pt x="3122025" y="657853"/>
                  <a:pt x="3249432" y="670586"/>
                </a:cubicBezTo>
                <a:cubicBezTo>
                  <a:pt x="3313138" y="670586"/>
                  <a:pt x="3389583" y="657853"/>
                  <a:pt x="3466034" y="657853"/>
                </a:cubicBezTo>
                <a:cubicBezTo>
                  <a:pt x="3516995" y="657853"/>
                  <a:pt x="3567959" y="657853"/>
                  <a:pt x="3618924" y="670586"/>
                </a:cubicBezTo>
                <a:cubicBezTo>
                  <a:pt x="3657147" y="670586"/>
                  <a:pt x="3682630" y="670586"/>
                  <a:pt x="3720852" y="657853"/>
                </a:cubicBezTo>
                <a:cubicBezTo>
                  <a:pt x="3746336" y="645125"/>
                  <a:pt x="3797298" y="670586"/>
                  <a:pt x="3835520" y="670586"/>
                </a:cubicBezTo>
                <a:cubicBezTo>
                  <a:pt x="3886487" y="683313"/>
                  <a:pt x="3937449" y="708770"/>
                  <a:pt x="3988412" y="670586"/>
                </a:cubicBezTo>
                <a:cubicBezTo>
                  <a:pt x="4001156" y="657853"/>
                  <a:pt x="4052116" y="657853"/>
                  <a:pt x="4090338" y="657853"/>
                </a:cubicBezTo>
                <a:cubicBezTo>
                  <a:pt x="4230490" y="657853"/>
                  <a:pt x="4383384" y="657853"/>
                  <a:pt x="4523535" y="657853"/>
                </a:cubicBezTo>
                <a:cubicBezTo>
                  <a:pt x="4701909" y="670586"/>
                  <a:pt x="4880283" y="696041"/>
                  <a:pt x="5045917" y="708770"/>
                </a:cubicBezTo>
                <a:cubicBezTo>
                  <a:pt x="5084140" y="708770"/>
                  <a:pt x="5119179" y="711953"/>
                  <a:pt x="5154216" y="716727"/>
                </a:cubicBezTo>
                <a:lnTo>
                  <a:pt x="5210982" y="725901"/>
                </a:lnTo>
                <a:lnTo>
                  <a:pt x="5194772" y="708087"/>
                </a:lnTo>
                <a:cubicBezTo>
                  <a:pt x="5188401" y="696949"/>
                  <a:pt x="5183623" y="683424"/>
                  <a:pt x="5180437" y="667514"/>
                </a:cubicBezTo>
                <a:cubicBezTo>
                  <a:pt x="5180437" y="654781"/>
                  <a:pt x="5167697" y="642053"/>
                  <a:pt x="5167697" y="629325"/>
                </a:cubicBezTo>
                <a:cubicBezTo>
                  <a:pt x="5164510" y="600682"/>
                  <a:pt x="5160528" y="577611"/>
                  <a:pt x="5158538" y="558718"/>
                </a:cubicBezTo>
                <a:lnTo>
                  <a:pt x="5158538" y="558714"/>
                </a:lnTo>
                <a:cubicBezTo>
                  <a:pt x="5152565" y="502025"/>
                  <a:pt x="5164510" y="482931"/>
                  <a:pt x="5269626" y="463837"/>
                </a:cubicBezTo>
                <a:cubicBezTo>
                  <a:pt x="5358810" y="451109"/>
                  <a:pt x="5448000" y="438381"/>
                  <a:pt x="5549928" y="438381"/>
                </a:cubicBezTo>
                <a:cubicBezTo>
                  <a:pt x="5626373" y="438381"/>
                  <a:pt x="5690079" y="412921"/>
                  <a:pt x="5766524" y="400193"/>
                </a:cubicBezTo>
                <a:cubicBezTo>
                  <a:pt x="5893936" y="387466"/>
                  <a:pt x="6008604" y="374733"/>
                  <a:pt x="6136012" y="387466"/>
                </a:cubicBezTo>
                <a:cubicBezTo>
                  <a:pt x="6199717" y="387466"/>
                  <a:pt x="6276163" y="374733"/>
                  <a:pt x="6352612" y="374733"/>
                </a:cubicBezTo>
                <a:cubicBezTo>
                  <a:pt x="6403574" y="374733"/>
                  <a:pt x="6454537" y="374733"/>
                  <a:pt x="6505503" y="387466"/>
                </a:cubicBezTo>
                <a:cubicBezTo>
                  <a:pt x="6543725" y="387466"/>
                  <a:pt x="6569209" y="387466"/>
                  <a:pt x="6607431" y="374733"/>
                </a:cubicBezTo>
                <a:cubicBezTo>
                  <a:pt x="6613802" y="371551"/>
                  <a:pt x="6621765" y="370756"/>
                  <a:pt x="6630724" y="371352"/>
                </a:cubicBezTo>
                <a:cubicBezTo>
                  <a:pt x="6657600" y="373144"/>
                  <a:pt x="6693432" y="387466"/>
                  <a:pt x="6722100" y="387466"/>
                </a:cubicBezTo>
                <a:cubicBezTo>
                  <a:pt x="6773066" y="400193"/>
                  <a:pt x="6824029" y="425650"/>
                  <a:pt x="6874990" y="387466"/>
                </a:cubicBezTo>
                <a:cubicBezTo>
                  <a:pt x="6887733" y="374733"/>
                  <a:pt x="6938696" y="374733"/>
                  <a:pt x="6976919" y="374733"/>
                </a:cubicBezTo>
                <a:cubicBezTo>
                  <a:pt x="7117070" y="374733"/>
                  <a:pt x="7269964" y="374733"/>
                  <a:pt x="7410115" y="374733"/>
                </a:cubicBezTo>
                <a:cubicBezTo>
                  <a:pt x="7588490" y="387466"/>
                  <a:pt x="7766864" y="412921"/>
                  <a:pt x="7932498" y="425650"/>
                </a:cubicBezTo>
                <a:cubicBezTo>
                  <a:pt x="7970721" y="425650"/>
                  <a:pt x="8005759" y="428832"/>
                  <a:pt x="8040796" y="433607"/>
                </a:cubicBezTo>
                <a:lnTo>
                  <a:pt x="8087504" y="441155"/>
                </a:lnTo>
                <a:lnTo>
                  <a:pt x="8134398" y="435564"/>
                </a:lnTo>
                <a:cubicBezTo>
                  <a:pt x="8189742" y="428403"/>
                  <a:pt x="8244687" y="420447"/>
                  <a:pt x="8298836" y="410901"/>
                </a:cubicBezTo>
                <a:cubicBezTo>
                  <a:pt x="8349802" y="398172"/>
                  <a:pt x="8400764" y="410901"/>
                  <a:pt x="8451731" y="385444"/>
                </a:cubicBezTo>
                <a:cubicBezTo>
                  <a:pt x="8489954" y="372713"/>
                  <a:pt x="8502693" y="423632"/>
                  <a:pt x="8540915" y="423632"/>
                </a:cubicBezTo>
                <a:lnTo>
                  <a:pt x="8556842" y="415677"/>
                </a:lnTo>
                <a:lnTo>
                  <a:pt x="8553659" y="398176"/>
                </a:lnTo>
                <a:lnTo>
                  <a:pt x="8553659" y="398172"/>
                </a:lnTo>
                <a:cubicBezTo>
                  <a:pt x="8553659" y="385444"/>
                  <a:pt x="8579138" y="359985"/>
                  <a:pt x="8604621" y="372713"/>
                </a:cubicBezTo>
                <a:cubicBezTo>
                  <a:pt x="8630105" y="398172"/>
                  <a:pt x="8655584" y="385444"/>
                  <a:pt x="8681066" y="398172"/>
                </a:cubicBezTo>
                <a:cubicBezTo>
                  <a:pt x="8693810" y="398172"/>
                  <a:pt x="8719289" y="398172"/>
                  <a:pt x="8732033" y="385444"/>
                </a:cubicBezTo>
                <a:cubicBezTo>
                  <a:pt x="8782995" y="347256"/>
                  <a:pt x="8833958" y="347256"/>
                  <a:pt x="8897664" y="347256"/>
                </a:cubicBezTo>
                <a:lnTo>
                  <a:pt x="9012324" y="309072"/>
                </a:lnTo>
                <a:lnTo>
                  <a:pt x="8477209" y="321801"/>
                </a:lnTo>
                <a:cubicBezTo>
                  <a:pt x="8375282" y="321801"/>
                  <a:pt x="8273356" y="334528"/>
                  <a:pt x="8171429" y="334528"/>
                </a:cubicBezTo>
                <a:cubicBezTo>
                  <a:pt x="8005794" y="334528"/>
                  <a:pt x="7840160" y="347260"/>
                  <a:pt x="7674526" y="372716"/>
                </a:cubicBezTo>
                <a:cubicBezTo>
                  <a:pt x="7610824" y="385448"/>
                  <a:pt x="7572602" y="359989"/>
                  <a:pt x="7559858" y="296344"/>
                </a:cubicBezTo>
                <a:cubicBezTo>
                  <a:pt x="7559858" y="283613"/>
                  <a:pt x="7547118" y="270884"/>
                  <a:pt x="7547118" y="258156"/>
                </a:cubicBezTo>
                <a:cubicBezTo>
                  <a:pt x="7543931" y="229514"/>
                  <a:pt x="7539949" y="206441"/>
                  <a:pt x="7537959" y="187548"/>
                </a:cubicBezTo>
                <a:lnTo>
                  <a:pt x="7537959" y="187544"/>
                </a:lnTo>
                <a:cubicBezTo>
                  <a:pt x="7531986" y="130857"/>
                  <a:pt x="7543931" y="111763"/>
                  <a:pt x="7649047" y="92669"/>
                </a:cubicBezTo>
                <a:cubicBezTo>
                  <a:pt x="7738231" y="79941"/>
                  <a:pt x="7827421" y="67212"/>
                  <a:pt x="7929349" y="67212"/>
                </a:cubicBezTo>
                <a:cubicBezTo>
                  <a:pt x="8005794" y="67212"/>
                  <a:pt x="8069500" y="41753"/>
                  <a:pt x="8145945" y="29024"/>
                </a:cubicBezTo>
                <a:cubicBezTo>
                  <a:pt x="8273356" y="16296"/>
                  <a:pt x="8388025" y="3565"/>
                  <a:pt x="8515433" y="16296"/>
                </a:cubicBezTo>
                <a:cubicBezTo>
                  <a:pt x="8579138" y="16296"/>
                  <a:pt x="8655584" y="3565"/>
                  <a:pt x="8732033" y="3565"/>
                </a:cubicBezTo>
                <a:cubicBezTo>
                  <a:pt x="8782995" y="3565"/>
                  <a:pt x="8833958" y="3565"/>
                  <a:pt x="8884924" y="16296"/>
                </a:cubicBezTo>
                <a:cubicBezTo>
                  <a:pt x="8923146" y="16296"/>
                  <a:pt x="8948629" y="16296"/>
                  <a:pt x="8986852" y="3565"/>
                </a:cubicBezTo>
                <a:cubicBezTo>
                  <a:pt x="8993223" y="383"/>
                  <a:pt x="9001186" y="-413"/>
                  <a:pt x="9010145" y="184"/>
                </a:cubicBezTo>
                <a:close/>
              </a:path>
            </a:pathLst>
          </a:custGeom>
          <a:solidFill>
            <a:schemeClr val="bg1">
              <a:lumMod val="95000"/>
            </a:schemeClr>
          </a:solidFill>
          <a:ln>
            <a:noFill/>
          </a:ln>
        </p:spPr>
        <p:txBody>
          <a:bodyPr wrap="square">
            <a:noAutofit/>
          </a:bodyPr>
          <a:lstStyle>
            <a:lvl1pPr>
              <a:defRPr sz="1575"/>
            </a:lvl1pPr>
          </a:lstStyle>
          <a:p>
            <a:endParaRPr lang="en-US"/>
          </a:p>
        </p:txBody>
      </p:sp>
    </p:spTree>
    <p:extLst>
      <p:ext uri="{BB962C8B-B14F-4D97-AF65-F5344CB8AC3E}">
        <p14:creationId xmlns:p14="http://schemas.microsoft.com/office/powerpoint/2010/main" val="26462238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6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6747B1A8-F63E-4246-B071-F000B79AD252}"/>
              </a:ext>
            </a:extLst>
          </p:cNvPr>
          <p:cNvSpPr>
            <a:spLocks noGrp="1"/>
          </p:cNvSpPr>
          <p:nvPr>
            <p:ph type="pic" sz="quarter" idx="20"/>
          </p:nvPr>
        </p:nvSpPr>
        <p:spPr>
          <a:xfrm>
            <a:off x="0" y="3"/>
            <a:ext cx="12611804" cy="7782809"/>
          </a:xfrm>
          <a:custGeom>
            <a:avLst/>
            <a:gdLst>
              <a:gd name="connsiteX0" fmla="*/ 0 w 9490364"/>
              <a:gd name="connsiteY0" fmla="*/ 0 h 5929759"/>
              <a:gd name="connsiteX1" fmla="*/ 8036155 w 9490364"/>
              <a:gd name="connsiteY1" fmla="*/ 0 h 5929759"/>
              <a:gd name="connsiteX2" fmla="*/ 8064023 w 9490364"/>
              <a:gd name="connsiteY2" fmla="*/ 11389 h 5929759"/>
              <a:gd name="connsiteX3" fmla="*/ 8081757 w 9490364"/>
              <a:gd name="connsiteY3" fmla="*/ 0 h 5929759"/>
              <a:gd name="connsiteX4" fmla="*/ 8438976 w 9490364"/>
              <a:gd name="connsiteY4" fmla="*/ 0 h 5929759"/>
              <a:gd name="connsiteX5" fmla="*/ 8451643 w 9490364"/>
              <a:gd name="connsiteY5" fmla="*/ 20247 h 5929759"/>
              <a:gd name="connsiteX6" fmla="*/ 8463043 w 9490364"/>
              <a:gd name="connsiteY6" fmla="*/ 0 h 5929759"/>
              <a:gd name="connsiteX7" fmla="*/ 8468110 w 9490364"/>
              <a:gd name="connsiteY7" fmla="*/ 0 h 5929759"/>
              <a:gd name="connsiteX8" fmla="*/ 8512446 w 9490364"/>
              <a:gd name="connsiteY8" fmla="*/ 17716 h 5929759"/>
              <a:gd name="connsiteX9" fmla="*/ 8578316 w 9490364"/>
              <a:gd name="connsiteY9" fmla="*/ 0 h 5929759"/>
              <a:gd name="connsiteX10" fmla="*/ 8641653 w 9490364"/>
              <a:gd name="connsiteY10" fmla="*/ 0 h 5929759"/>
              <a:gd name="connsiteX11" fmla="*/ 8622652 w 9490364"/>
              <a:gd name="connsiteY11" fmla="*/ 16451 h 5929759"/>
              <a:gd name="connsiteX12" fmla="*/ 8593517 w 9490364"/>
              <a:gd name="connsiteY12" fmla="*/ 22778 h 5929759"/>
              <a:gd name="connsiteX13" fmla="*/ 8639120 w 9490364"/>
              <a:gd name="connsiteY13" fmla="*/ 40494 h 5929759"/>
              <a:gd name="connsiteX14" fmla="*/ 8687255 w 9490364"/>
              <a:gd name="connsiteY14" fmla="*/ 40494 h 5929759"/>
              <a:gd name="connsiteX15" fmla="*/ 8707523 w 9490364"/>
              <a:gd name="connsiteY15" fmla="*/ 45555 h 5929759"/>
              <a:gd name="connsiteX16" fmla="*/ 8706257 w 9490364"/>
              <a:gd name="connsiteY16" fmla="*/ 48086 h 5929759"/>
              <a:gd name="connsiteX17" fmla="*/ 8447843 w 9490364"/>
              <a:gd name="connsiteY17" fmla="*/ 63271 h 5929759"/>
              <a:gd name="connsiteX18" fmla="*/ 8469377 w 9490364"/>
              <a:gd name="connsiteY18" fmla="*/ 32901 h 5929759"/>
              <a:gd name="connsiteX19" fmla="*/ 8442776 w 9490364"/>
              <a:gd name="connsiteY19" fmla="*/ 32901 h 5929759"/>
              <a:gd name="connsiteX20" fmla="*/ 8409841 w 9490364"/>
              <a:gd name="connsiteY20" fmla="*/ 43024 h 5929759"/>
              <a:gd name="connsiteX21" fmla="*/ 8407307 w 9490364"/>
              <a:gd name="connsiteY21" fmla="*/ 26574 h 5929759"/>
              <a:gd name="connsiteX22" fmla="*/ 8398440 w 9490364"/>
              <a:gd name="connsiteY22" fmla="*/ 46820 h 5929759"/>
              <a:gd name="connsiteX23" fmla="*/ 8416174 w 9490364"/>
              <a:gd name="connsiteY23" fmla="*/ 55679 h 5929759"/>
              <a:gd name="connsiteX24" fmla="*/ 8435175 w 9490364"/>
              <a:gd name="connsiteY24" fmla="*/ 70864 h 5929759"/>
              <a:gd name="connsiteX25" fmla="*/ 8297102 w 9490364"/>
              <a:gd name="connsiteY25" fmla="*/ 135400 h 5929759"/>
              <a:gd name="connsiteX26" fmla="*/ 8531447 w 9490364"/>
              <a:gd name="connsiteY26" fmla="*/ 167035 h 5929759"/>
              <a:gd name="connsiteX27" fmla="*/ 8753125 w 9490364"/>
              <a:gd name="connsiteY27" fmla="*/ 125277 h 5929759"/>
              <a:gd name="connsiteX28" fmla="*/ 8803795 w 9490364"/>
              <a:gd name="connsiteY28" fmla="*/ 172098 h 5929759"/>
              <a:gd name="connsiteX29" fmla="*/ 8721457 w 9490364"/>
              <a:gd name="connsiteY29" fmla="*/ 178425 h 5929759"/>
              <a:gd name="connsiteX30" fmla="*/ 8627719 w 9490364"/>
              <a:gd name="connsiteY30" fmla="*/ 196140 h 5929759"/>
              <a:gd name="connsiteX31" fmla="*/ 8588450 w 9490364"/>
              <a:gd name="connsiteY31" fmla="*/ 234103 h 5929759"/>
              <a:gd name="connsiteX32" fmla="*/ 8645453 w 9490364"/>
              <a:gd name="connsiteY32" fmla="*/ 251819 h 5929759"/>
              <a:gd name="connsiteX33" fmla="*/ 8713857 w 9490364"/>
              <a:gd name="connsiteY33" fmla="*/ 244226 h 5929759"/>
              <a:gd name="connsiteX34" fmla="*/ 8817728 w 9490364"/>
              <a:gd name="connsiteY34" fmla="*/ 221449 h 5929759"/>
              <a:gd name="connsiteX35" fmla="*/ 8883599 w 9490364"/>
              <a:gd name="connsiteY35" fmla="*/ 227776 h 5929759"/>
              <a:gd name="connsiteX36" fmla="*/ 8877265 w 9490364"/>
              <a:gd name="connsiteY36" fmla="*/ 258146 h 5929759"/>
              <a:gd name="connsiteX37" fmla="*/ 8836730 w 9490364"/>
              <a:gd name="connsiteY37" fmla="*/ 285986 h 5929759"/>
              <a:gd name="connsiteX38" fmla="*/ 8725257 w 9490364"/>
              <a:gd name="connsiteY38" fmla="*/ 287251 h 5929759"/>
              <a:gd name="connsiteX39" fmla="*/ 8561849 w 9490364"/>
              <a:gd name="connsiteY39" fmla="*/ 358114 h 5929759"/>
              <a:gd name="connsiteX40" fmla="*/ 8571983 w 9490364"/>
              <a:gd name="connsiteY40" fmla="*/ 387219 h 5929759"/>
              <a:gd name="connsiteX41" fmla="*/ 8541581 w 9490364"/>
              <a:gd name="connsiteY41" fmla="*/ 397342 h 5929759"/>
              <a:gd name="connsiteX42" fmla="*/ 8579583 w 9490364"/>
              <a:gd name="connsiteY42" fmla="*/ 450490 h 5929759"/>
              <a:gd name="connsiteX43" fmla="*/ 8584650 w 9490364"/>
              <a:gd name="connsiteY43" fmla="*/ 418854 h 5929759"/>
              <a:gd name="connsiteX44" fmla="*/ 8602384 w 9490364"/>
              <a:gd name="connsiteY44" fmla="*/ 409997 h 5929759"/>
              <a:gd name="connsiteX45" fmla="*/ 8596051 w 9490364"/>
              <a:gd name="connsiteY45" fmla="*/ 391015 h 5929759"/>
              <a:gd name="connsiteX46" fmla="*/ 8584650 w 9490364"/>
              <a:gd name="connsiteY46" fmla="*/ 375830 h 5929759"/>
              <a:gd name="connsiteX47" fmla="*/ 8682188 w 9490364"/>
              <a:gd name="connsiteY47" fmla="*/ 384688 h 5929759"/>
              <a:gd name="connsiteX48" fmla="*/ 8789860 w 9490364"/>
              <a:gd name="connsiteY48" fmla="*/ 477063 h 5929759"/>
              <a:gd name="connsiteX49" fmla="*/ 8758193 w 9490364"/>
              <a:gd name="connsiteY49" fmla="*/ 539069 h 5929759"/>
              <a:gd name="connsiteX50" fmla="*/ 8737924 w 9490364"/>
              <a:gd name="connsiteY50" fmla="*/ 556785 h 5929759"/>
              <a:gd name="connsiteX51" fmla="*/ 8654320 w 9490364"/>
              <a:gd name="connsiteY51" fmla="*/ 578297 h 5929759"/>
              <a:gd name="connsiteX52" fmla="*/ 8596051 w 9490364"/>
              <a:gd name="connsiteY52" fmla="*/ 579563 h 5929759"/>
              <a:gd name="connsiteX53" fmla="*/ 8596051 w 9490364"/>
              <a:gd name="connsiteY53" fmla="*/ 574501 h 5929759"/>
              <a:gd name="connsiteX54" fmla="*/ 8602384 w 9490364"/>
              <a:gd name="connsiteY54" fmla="*/ 569440 h 5929759"/>
              <a:gd name="connsiteX55" fmla="*/ 8606185 w 9490364"/>
              <a:gd name="connsiteY55" fmla="*/ 530211 h 5929759"/>
              <a:gd name="connsiteX56" fmla="*/ 8599851 w 9490364"/>
              <a:gd name="connsiteY56" fmla="*/ 515026 h 5929759"/>
              <a:gd name="connsiteX57" fmla="*/ 8601118 w 9490364"/>
              <a:gd name="connsiteY57" fmla="*/ 453021 h 5929759"/>
              <a:gd name="connsiteX58" fmla="*/ 8565649 w 9490364"/>
              <a:gd name="connsiteY58" fmla="*/ 504903 h 5929759"/>
              <a:gd name="connsiteX59" fmla="*/ 8575782 w 9490364"/>
              <a:gd name="connsiteY59" fmla="*/ 513760 h 5929759"/>
              <a:gd name="connsiteX60" fmla="*/ 8582116 w 9490364"/>
              <a:gd name="connsiteY60" fmla="*/ 523884 h 5929759"/>
              <a:gd name="connsiteX61" fmla="*/ 8302169 w 9490364"/>
              <a:gd name="connsiteY61" fmla="*/ 570705 h 5929759"/>
              <a:gd name="connsiteX62" fmla="*/ 8280634 w 9490364"/>
              <a:gd name="connsiteY62" fmla="*/ 528946 h 5929759"/>
              <a:gd name="connsiteX63" fmla="*/ 8266701 w 9490364"/>
              <a:gd name="connsiteY63" fmla="*/ 507434 h 5929759"/>
              <a:gd name="connsiteX64" fmla="*/ 8255300 w 9490364"/>
              <a:gd name="connsiteY64" fmla="*/ 504903 h 5929759"/>
              <a:gd name="connsiteX65" fmla="*/ 8252766 w 9490364"/>
              <a:gd name="connsiteY65" fmla="*/ 520088 h 5929759"/>
              <a:gd name="connsiteX66" fmla="*/ 8264167 w 9490364"/>
              <a:gd name="connsiteY66" fmla="*/ 535273 h 5929759"/>
              <a:gd name="connsiteX67" fmla="*/ 8212231 w 9490364"/>
              <a:gd name="connsiteY67" fmla="*/ 549192 h 5929759"/>
              <a:gd name="connsiteX68" fmla="*/ 8241365 w 9490364"/>
              <a:gd name="connsiteY68" fmla="*/ 563113 h 5929759"/>
              <a:gd name="connsiteX69" fmla="*/ 8184363 w 9490364"/>
              <a:gd name="connsiteY69" fmla="*/ 613729 h 5929759"/>
              <a:gd name="connsiteX70" fmla="*/ 8136226 w 9490364"/>
              <a:gd name="connsiteY70" fmla="*/ 651692 h 5929759"/>
              <a:gd name="connsiteX71" fmla="*/ 8131160 w 9490364"/>
              <a:gd name="connsiteY71" fmla="*/ 658019 h 5929759"/>
              <a:gd name="connsiteX72" fmla="*/ 8188163 w 9490364"/>
              <a:gd name="connsiteY72" fmla="*/ 731413 h 5929759"/>
              <a:gd name="connsiteX73" fmla="*/ 8191963 w 9490364"/>
              <a:gd name="connsiteY73" fmla="*/ 706104 h 5929759"/>
              <a:gd name="connsiteX74" fmla="*/ 8175495 w 9490364"/>
              <a:gd name="connsiteY74" fmla="*/ 675735 h 5929759"/>
              <a:gd name="connsiteX75" fmla="*/ 8203363 w 9490364"/>
              <a:gd name="connsiteY75" fmla="*/ 661815 h 5929759"/>
              <a:gd name="connsiteX76" fmla="*/ 8316102 w 9490364"/>
              <a:gd name="connsiteY76" fmla="*/ 642834 h 5929759"/>
              <a:gd name="connsiteX77" fmla="*/ 8327503 w 9490364"/>
              <a:gd name="connsiteY77" fmla="*/ 635242 h 5929759"/>
              <a:gd name="connsiteX78" fmla="*/ 8298368 w 9490364"/>
              <a:gd name="connsiteY78" fmla="*/ 617525 h 5929759"/>
              <a:gd name="connsiteX79" fmla="*/ 8385773 w 9490364"/>
              <a:gd name="connsiteY79" fmla="*/ 608668 h 5929759"/>
              <a:gd name="connsiteX80" fmla="*/ 8408574 w 9490364"/>
              <a:gd name="connsiteY80" fmla="*/ 655488 h 5929759"/>
              <a:gd name="connsiteX81" fmla="*/ 8400973 w 9490364"/>
              <a:gd name="connsiteY81" fmla="*/ 665611 h 5929759"/>
              <a:gd name="connsiteX82" fmla="*/ 8341437 w 9490364"/>
              <a:gd name="connsiteY82" fmla="*/ 671938 h 5929759"/>
              <a:gd name="connsiteX83" fmla="*/ 8248965 w 9490364"/>
              <a:gd name="connsiteY83" fmla="*/ 714963 h 5929759"/>
              <a:gd name="connsiteX84" fmla="*/ 8267967 w 9490364"/>
              <a:gd name="connsiteY84" fmla="*/ 771907 h 5929759"/>
              <a:gd name="connsiteX85" fmla="*/ 8232498 w 9490364"/>
              <a:gd name="connsiteY85" fmla="*/ 766845 h 5929759"/>
              <a:gd name="connsiteX86" fmla="*/ 8236298 w 9490364"/>
              <a:gd name="connsiteY86" fmla="*/ 799746 h 5929759"/>
              <a:gd name="connsiteX87" fmla="*/ 8273034 w 9490364"/>
              <a:gd name="connsiteY87" fmla="*/ 799746 h 5929759"/>
              <a:gd name="connsiteX88" fmla="*/ 8304702 w 9490364"/>
              <a:gd name="connsiteY88" fmla="*/ 797215 h 5929759"/>
              <a:gd name="connsiteX89" fmla="*/ 8324970 w 9490364"/>
              <a:gd name="connsiteY89" fmla="*/ 773172 h 5929759"/>
              <a:gd name="connsiteX90" fmla="*/ 8343970 w 9490364"/>
              <a:gd name="connsiteY90" fmla="*/ 811134 h 5929759"/>
              <a:gd name="connsiteX91" fmla="*/ 8341437 w 9490364"/>
              <a:gd name="connsiteY91" fmla="*/ 841505 h 5929759"/>
              <a:gd name="connsiteX92" fmla="*/ 8373106 w 9490364"/>
              <a:gd name="connsiteY92" fmla="*/ 803542 h 5929759"/>
              <a:gd name="connsiteX93" fmla="*/ 8380706 w 9490364"/>
              <a:gd name="connsiteY93" fmla="*/ 765580 h 5929759"/>
              <a:gd name="connsiteX94" fmla="*/ 8322437 w 9490364"/>
              <a:gd name="connsiteY94" fmla="*/ 744067 h 5929759"/>
              <a:gd name="connsiteX95" fmla="*/ 8327503 w 9490364"/>
              <a:gd name="connsiteY95" fmla="*/ 742802 h 5929759"/>
              <a:gd name="connsiteX96" fmla="*/ 8715123 w 9490364"/>
              <a:gd name="connsiteY96" fmla="*/ 742802 h 5929759"/>
              <a:gd name="connsiteX97" fmla="*/ 8884865 w 9490364"/>
              <a:gd name="connsiteY97" fmla="*/ 776968 h 5929759"/>
              <a:gd name="connsiteX98" fmla="*/ 8912733 w 9490364"/>
              <a:gd name="connsiteY98" fmla="*/ 788357 h 5929759"/>
              <a:gd name="connsiteX99" fmla="*/ 8878532 w 9490364"/>
              <a:gd name="connsiteY99" fmla="*/ 827585 h 5929759"/>
              <a:gd name="connsiteX100" fmla="*/ 8955803 w 9490364"/>
              <a:gd name="connsiteY100" fmla="*/ 838974 h 5929759"/>
              <a:gd name="connsiteX101" fmla="*/ 9044474 w 9490364"/>
              <a:gd name="connsiteY101" fmla="*/ 840239 h 5929759"/>
              <a:gd name="connsiteX102" fmla="*/ 9085010 w 9490364"/>
              <a:gd name="connsiteY102" fmla="*/ 869344 h 5929759"/>
              <a:gd name="connsiteX103" fmla="*/ 9100211 w 9490364"/>
              <a:gd name="connsiteY103" fmla="*/ 922492 h 5929759"/>
              <a:gd name="connsiteX104" fmla="*/ 9171147 w 9490364"/>
              <a:gd name="connsiteY104" fmla="*/ 918695 h 5929759"/>
              <a:gd name="connsiteX105" fmla="*/ 9230684 w 9490364"/>
              <a:gd name="connsiteY105" fmla="*/ 921226 h 5929759"/>
              <a:gd name="connsiteX106" fmla="*/ 9257285 w 9490364"/>
              <a:gd name="connsiteY106" fmla="*/ 942739 h 5929759"/>
              <a:gd name="connsiteX107" fmla="*/ 9221816 w 9490364"/>
              <a:gd name="connsiteY107" fmla="*/ 947800 h 5929759"/>
              <a:gd name="connsiteX108" fmla="*/ 9169881 w 9490364"/>
              <a:gd name="connsiteY108" fmla="*/ 944004 h 5929759"/>
              <a:gd name="connsiteX109" fmla="*/ 9088810 w 9490364"/>
              <a:gd name="connsiteY109" fmla="*/ 970577 h 5929759"/>
              <a:gd name="connsiteX110" fmla="*/ 9101477 w 9490364"/>
              <a:gd name="connsiteY110" fmla="*/ 1037645 h 5929759"/>
              <a:gd name="connsiteX111" fmla="*/ 9134412 w 9490364"/>
              <a:gd name="connsiteY111" fmla="*/ 1079404 h 5929759"/>
              <a:gd name="connsiteX112" fmla="*/ 9147079 w 9490364"/>
              <a:gd name="connsiteY112" fmla="*/ 1009805 h 5929759"/>
              <a:gd name="connsiteX113" fmla="*/ 9162280 w 9490364"/>
              <a:gd name="connsiteY113" fmla="*/ 1052830 h 5929759"/>
              <a:gd name="connsiteX114" fmla="*/ 9168614 w 9490364"/>
              <a:gd name="connsiteY114" fmla="*/ 1088261 h 5929759"/>
              <a:gd name="connsiteX115" fmla="*/ 9291487 w 9490364"/>
              <a:gd name="connsiteY115" fmla="*/ 994621 h 5929759"/>
              <a:gd name="connsiteX116" fmla="*/ 9285153 w 9490364"/>
              <a:gd name="connsiteY116" fmla="*/ 1033849 h 5929759"/>
              <a:gd name="connsiteX117" fmla="*/ 9263619 w 9490364"/>
              <a:gd name="connsiteY117" fmla="*/ 1060423 h 5929759"/>
              <a:gd name="connsiteX118" fmla="*/ 9257285 w 9490364"/>
              <a:gd name="connsiteY118" fmla="*/ 1105978 h 5929759"/>
              <a:gd name="connsiteX119" fmla="*/ 9261085 w 9490364"/>
              <a:gd name="connsiteY119" fmla="*/ 1122428 h 5929759"/>
              <a:gd name="connsiteX120" fmla="*/ 9196482 w 9490364"/>
              <a:gd name="connsiteY120" fmla="*/ 1122428 h 5929759"/>
              <a:gd name="connsiteX121" fmla="*/ 9273752 w 9490364"/>
              <a:gd name="connsiteY121" fmla="*/ 1146471 h 5929759"/>
              <a:gd name="connsiteX122" fmla="*/ 9339623 w 9490364"/>
              <a:gd name="connsiteY122" fmla="*/ 1150267 h 5929759"/>
              <a:gd name="connsiteX123" fmla="*/ 9329489 w 9490364"/>
              <a:gd name="connsiteY123" fmla="*/ 1202149 h 5929759"/>
              <a:gd name="connsiteX124" fmla="*/ 9362424 w 9490364"/>
              <a:gd name="connsiteY124" fmla="*/ 1145206 h 5929759"/>
              <a:gd name="connsiteX125" fmla="*/ 9309221 w 9490364"/>
              <a:gd name="connsiteY125" fmla="*/ 1132551 h 5929759"/>
              <a:gd name="connsiteX126" fmla="*/ 9278819 w 9490364"/>
              <a:gd name="connsiteY126" fmla="*/ 1112305 h 5929759"/>
              <a:gd name="connsiteX127" fmla="*/ 9342157 w 9490364"/>
              <a:gd name="connsiteY127" fmla="*/ 1060423 h 5929759"/>
              <a:gd name="connsiteX128" fmla="*/ 9413093 w 9490364"/>
              <a:gd name="connsiteY128" fmla="*/ 1104712 h 5929759"/>
              <a:gd name="connsiteX129" fmla="*/ 9490364 w 9490364"/>
              <a:gd name="connsiteY129" fmla="*/ 1138879 h 5929759"/>
              <a:gd name="connsiteX130" fmla="*/ 9470096 w 9490364"/>
              <a:gd name="connsiteY130" fmla="*/ 1150267 h 5929759"/>
              <a:gd name="connsiteX131" fmla="*/ 9389025 w 9490364"/>
              <a:gd name="connsiteY131" fmla="*/ 1267951 h 5929759"/>
              <a:gd name="connsiteX132" fmla="*/ 9371291 w 9490364"/>
              <a:gd name="connsiteY132" fmla="*/ 1310976 h 5929759"/>
              <a:gd name="connsiteX133" fmla="*/ 9358624 w 9490364"/>
              <a:gd name="connsiteY133" fmla="*/ 1338815 h 5929759"/>
              <a:gd name="connsiteX134" fmla="*/ 9410560 w 9490364"/>
              <a:gd name="connsiteY134" fmla="*/ 1338815 h 5929759"/>
              <a:gd name="connsiteX135" fmla="*/ 9452362 w 9490364"/>
              <a:gd name="connsiteY135" fmla="*/ 1345142 h 5929759"/>
              <a:gd name="connsiteX136" fmla="*/ 9461229 w 9490364"/>
              <a:gd name="connsiteY136" fmla="*/ 1380574 h 5929759"/>
              <a:gd name="connsiteX137" fmla="*/ 9425761 w 9490364"/>
              <a:gd name="connsiteY137" fmla="*/ 1413475 h 5929759"/>
              <a:gd name="connsiteX138" fmla="*/ 9424494 w 9490364"/>
              <a:gd name="connsiteY138" fmla="*/ 1481807 h 5929759"/>
              <a:gd name="connsiteX139" fmla="*/ 9364958 w 9490364"/>
              <a:gd name="connsiteY139" fmla="*/ 1513443 h 5929759"/>
              <a:gd name="connsiteX140" fmla="*/ 9305421 w 9490364"/>
              <a:gd name="connsiteY140" fmla="*/ 1524832 h 5929759"/>
              <a:gd name="connsiteX141" fmla="*/ 9256018 w 9490364"/>
              <a:gd name="connsiteY141" fmla="*/ 1566591 h 5929759"/>
              <a:gd name="connsiteX142" fmla="*/ 9315555 w 9490364"/>
              <a:gd name="connsiteY142" fmla="*/ 1561528 h 5929759"/>
              <a:gd name="connsiteX143" fmla="*/ 9409294 w 9490364"/>
              <a:gd name="connsiteY143" fmla="*/ 1545078 h 5929759"/>
              <a:gd name="connsiteX144" fmla="*/ 9468829 w 9490364"/>
              <a:gd name="connsiteY144" fmla="*/ 1545078 h 5929759"/>
              <a:gd name="connsiteX145" fmla="*/ 9475163 w 9490364"/>
              <a:gd name="connsiteY145" fmla="*/ 1602023 h 5929759"/>
              <a:gd name="connsiteX146" fmla="*/ 9386492 w 9490364"/>
              <a:gd name="connsiteY146" fmla="*/ 1609615 h 5929759"/>
              <a:gd name="connsiteX147" fmla="*/ 9326956 w 9490364"/>
              <a:gd name="connsiteY147" fmla="*/ 1590633 h 5929759"/>
              <a:gd name="connsiteX148" fmla="*/ 9271219 w 9490364"/>
              <a:gd name="connsiteY148" fmla="*/ 1598226 h 5929759"/>
              <a:gd name="connsiteX149" fmla="*/ 9299087 w 9490364"/>
              <a:gd name="connsiteY149" fmla="*/ 1637454 h 5929759"/>
              <a:gd name="connsiteX150" fmla="*/ 9353557 w 9490364"/>
              <a:gd name="connsiteY150" fmla="*/ 1657701 h 5929759"/>
              <a:gd name="connsiteX151" fmla="*/ 9376358 w 9490364"/>
              <a:gd name="connsiteY151" fmla="*/ 1680479 h 5929759"/>
              <a:gd name="connsiteX152" fmla="*/ 9330756 w 9490364"/>
              <a:gd name="connsiteY152" fmla="*/ 1672886 h 5929759"/>
              <a:gd name="connsiteX153" fmla="*/ 9340889 w 9490364"/>
              <a:gd name="connsiteY153" fmla="*/ 1753872 h 5929759"/>
              <a:gd name="connsiteX154" fmla="*/ 9166080 w 9490364"/>
              <a:gd name="connsiteY154" fmla="*/ 1852576 h 5929759"/>
              <a:gd name="connsiteX155" fmla="*/ 9193948 w 9490364"/>
              <a:gd name="connsiteY155" fmla="*/ 1862699 h 5929759"/>
              <a:gd name="connsiteX156" fmla="*/ 9228150 w 9490364"/>
              <a:gd name="connsiteY156" fmla="*/ 1858902 h 5929759"/>
              <a:gd name="connsiteX157" fmla="*/ 9300354 w 9490364"/>
              <a:gd name="connsiteY157" fmla="*/ 1838656 h 5929759"/>
              <a:gd name="connsiteX158" fmla="*/ 9362424 w 9490364"/>
              <a:gd name="connsiteY158" fmla="*/ 1860168 h 5929759"/>
              <a:gd name="connsiteX159" fmla="*/ 9324422 w 9490364"/>
              <a:gd name="connsiteY159" fmla="*/ 1875353 h 5929759"/>
              <a:gd name="connsiteX160" fmla="*/ 9204082 w 9490364"/>
              <a:gd name="connsiteY160" fmla="*/ 1915847 h 5929759"/>
              <a:gd name="connsiteX161" fmla="*/ 9105277 w 9490364"/>
              <a:gd name="connsiteY161" fmla="*/ 1987975 h 5929759"/>
              <a:gd name="connsiteX162" fmla="*/ 9088810 w 9490364"/>
              <a:gd name="connsiteY162" fmla="*/ 1971525 h 5929759"/>
              <a:gd name="connsiteX163" fmla="*/ 9071075 w 9490364"/>
              <a:gd name="connsiteY163" fmla="*/ 1970260 h 5929759"/>
              <a:gd name="connsiteX164" fmla="*/ 9052074 w 9490364"/>
              <a:gd name="connsiteY164" fmla="*/ 2001895 h 5929759"/>
              <a:gd name="connsiteX165" fmla="*/ 9055875 w 9490364"/>
              <a:gd name="connsiteY165" fmla="*/ 2032266 h 5929759"/>
              <a:gd name="connsiteX166" fmla="*/ 9095144 w 9490364"/>
              <a:gd name="connsiteY166" fmla="*/ 2013284 h 5929759"/>
              <a:gd name="connsiteX167" fmla="*/ 9131878 w 9490364"/>
              <a:gd name="connsiteY167" fmla="*/ 2076555 h 5929759"/>
              <a:gd name="connsiteX168" fmla="*/ 9035607 w 9490364"/>
              <a:gd name="connsiteY168" fmla="*/ 2086678 h 5929759"/>
              <a:gd name="connsiteX169" fmla="*/ 8964670 w 9490364"/>
              <a:gd name="connsiteY169" fmla="*/ 2095536 h 5929759"/>
              <a:gd name="connsiteX170" fmla="*/ 8948203 w 9490364"/>
              <a:gd name="connsiteY170" fmla="*/ 2096801 h 5929759"/>
              <a:gd name="connsiteX171" fmla="*/ 8872198 w 9490364"/>
              <a:gd name="connsiteY171" fmla="*/ 2141091 h 5929759"/>
              <a:gd name="connsiteX172" fmla="*/ 8839263 w 9490364"/>
              <a:gd name="connsiteY172" fmla="*/ 2158807 h 5929759"/>
              <a:gd name="connsiteX173" fmla="*/ 8547914 w 9490364"/>
              <a:gd name="connsiteY173" fmla="*/ 2200566 h 5929759"/>
              <a:gd name="connsiteX174" fmla="*/ 8004486 w 9490364"/>
              <a:gd name="connsiteY174" fmla="*/ 2365070 h 5929759"/>
              <a:gd name="connsiteX175" fmla="*/ 7985486 w 9490364"/>
              <a:gd name="connsiteY175" fmla="*/ 2371397 h 5929759"/>
              <a:gd name="connsiteX176" fmla="*/ 7989285 w 9490364"/>
              <a:gd name="connsiteY176" fmla="*/ 2337231 h 5929759"/>
              <a:gd name="connsiteX177" fmla="*/ 7912015 w 9490364"/>
              <a:gd name="connsiteY177" fmla="*/ 2366336 h 5929759"/>
              <a:gd name="connsiteX178" fmla="*/ 7879080 w 9490364"/>
              <a:gd name="connsiteY178" fmla="*/ 2377724 h 5929759"/>
              <a:gd name="connsiteX179" fmla="*/ 7851212 w 9490364"/>
              <a:gd name="connsiteY179" fmla="*/ 2411892 h 5929759"/>
              <a:gd name="connsiteX180" fmla="*/ 7922148 w 9490364"/>
              <a:gd name="connsiteY180" fmla="*/ 2387848 h 5929759"/>
              <a:gd name="connsiteX181" fmla="*/ 7863879 w 9490364"/>
              <a:gd name="connsiteY181" fmla="*/ 2425811 h 5929759"/>
              <a:gd name="connsiteX182" fmla="*/ 7790409 w 9490364"/>
              <a:gd name="connsiteY182" fmla="*/ 2454916 h 5929759"/>
              <a:gd name="connsiteX183" fmla="*/ 7785342 w 9490364"/>
              <a:gd name="connsiteY183" fmla="*/ 2454916 h 5929759"/>
              <a:gd name="connsiteX184" fmla="*/ 7776474 w 9490364"/>
              <a:gd name="connsiteY184" fmla="*/ 2430873 h 5929759"/>
              <a:gd name="connsiteX185" fmla="*/ 7735939 w 9490364"/>
              <a:gd name="connsiteY185" fmla="*/ 2470101 h 5929759"/>
              <a:gd name="connsiteX186" fmla="*/ 7678936 w 9490364"/>
              <a:gd name="connsiteY186" fmla="*/ 2485285 h 5929759"/>
              <a:gd name="connsiteX187" fmla="*/ 7704271 w 9490364"/>
              <a:gd name="connsiteY187" fmla="*/ 2453650 h 5929759"/>
              <a:gd name="connsiteX188" fmla="*/ 7652334 w 9490364"/>
              <a:gd name="connsiteY188" fmla="*/ 2453650 h 5929759"/>
              <a:gd name="connsiteX189" fmla="*/ 7557329 w 9490364"/>
              <a:gd name="connsiteY189" fmla="*/ 2492878 h 5929759"/>
              <a:gd name="connsiteX190" fmla="*/ 7436990 w 9490364"/>
              <a:gd name="connsiteY190" fmla="*/ 2547291 h 5929759"/>
              <a:gd name="connsiteX191" fmla="*/ 7322985 w 9490364"/>
              <a:gd name="connsiteY191" fmla="*/ 2602969 h 5929759"/>
              <a:gd name="connsiteX192" fmla="*/ 7290049 w 9490364"/>
              <a:gd name="connsiteY192" fmla="*/ 2628278 h 5929759"/>
              <a:gd name="connsiteX193" fmla="*/ 7320450 w 9490364"/>
              <a:gd name="connsiteY193" fmla="*/ 2630809 h 5929759"/>
              <a:gd name="connsiteX194" fmla="*/ 7260915 w 9490364"/>
              <a:gd name="connsiteY194" fmla="*/ 2668771 h 5929759"/>
              <a:gd name="connsiteX195" fmla="*/ 6780822 w 9490364"/>
              <a:gd name="connsiteY195" fmla="*/ 2820622 h 5929759"/>
              <a:gd name="connsiteX196" fmla="*/ 6763088 w 9490364"/>
              <a:gd name="connsiteY196" fmla="*/ 2823153 h 5929759"/>
              <a:gd name="connsiteX197" fmla="*/ 6770689 w 9490364"/>
              <a:gd name="connsiteY197" fmla="*/ 2810499 h 5929759"/>
              <a:gd name="connsiteX198" fmla="*/ 6840359 w 9490364"/>
              <a:gd name="connsiteY198" fmla="*/ 2780129 h 5929759"/>
              <a:gd name="connsiteX199" fmla="*/ 6863160 w 9490364"/>
              <a:gd name="connsiteY199" fmla="*/ 2758616 h 5929759"/>
              <a:gd name="connsiteX200" fmla="*/ 6766889 w 9490364"/>
              <a:gd name="connsiteY200" fmla="*/ 2776332 h 5929759"/>
              <a:gd name="connsiteX201" fmla="*/ 6669350 w 9490364"/>
              <a:gd name="connsiteY201" fmla="*/ 2810499 h 5929759"/>
              <a:gd name="connsiteX202" fmla="*/ 6606013 w 9490364"/>
              <a:gd name="connsiteY202" fmla="*/ 2838338 h 5929759"/>
              <a:gd name="connsiteX203" fmla="*/ 6498341 w 9490364"/>
              <a:gd name="connsiteY203" fmla="*/ 2883893 h 5929759"/>
              <a:gd name="connsiteX204" fmla="*/ 6467940 w 9490364"/>
              <a:gd name="connsiteY204" fmla="*/ 2918059 h 5929759"/>
              <a:gd name="connsiteX205" fmla="*/ 6504675 w 9490364"/>
              <a:gd name="connsiteY205" fmla="*/ 2909201 h 5929759"/>
              <a:gd name="connsiteX206" fmla="*/ 6497074 w 9490364"/>
              <a:gd name="connsiteY206" fmla="*/ 2923121 h 5929759"/>
              <a:gd name="connsiteX207" fmla="*/ 6478073 w 9490364"/>
              <a:gd name="connsiteY207" fmla="*/ 2953491 h 5929759"/>
              <a:gd name="connsiteX208" fmla="*/ 6498341 w 9490364"/>
              <a:gd name="connsiteY208" fmla="*/ 2990189 h 5929759"/>
              <a:gd name="connsiteX209" fmla="*/ 6535077 w 9490364"/>
              <a:gd name="connsiteY209" fmla="*/ 2991454 h 5929759"/>
              <a:gd name="connsiteX210" fmla="*/ 6622481 w 9490364"/>
              <a:gd name="connsiteY210" fmla="*/ 2986392 h 5929759"/>
              <a:gd name="connsiteX211" fmla="*/ 6655416 w 9490364"/>
              <a:gd name="connsiteY211" fmla="*/ 2991454 h 5929759"/>
              <a:gd name="connsiteX212" fmla="*/ 6727620 w 9490364"/>
              <a:gd name="connsiteY212" fmla="*/ 3023089 h 5929759"/>
              <a:gd name="connsiteX213" fmla="*/ 6736486 w 9490364"/>
              <a:gd name="connsiteY213" fmla="*/ 3029416 h 5929759"/>
              <a:gd name="connsiteX214" fmla="*/ 6725086 w 9490364"/>
              <a:gd name="connsiteY214" fmla="*/ 3066113 h 5929759"/>
              <a:gd name="connsiteX215" fmla="*/ 6752954 w 9490364"/>
              <a:gd name="connsiteY215" fmla="*/ 3047132 h 5929759"/>
              <a:gd name="connsiteX216" fmla="*/ 6720019 w 9490364"/>
              <a:gd name="connsiteY216" fmla="*/ 3007905 h 5929759"/>
              <a:gd name="connsiteX217" fmla="*/ 6682018 w 9490364"/>
              <a:gd name="connsiteY217" fmla="*/ 2991454 h 5929759"/>
              <a:gd name="connsiteX218" fmla="*/ 7007568 w 9490364"/>
              <a:gd name="connsiteY218" fmla="*/ 2947164 h 5929759"/>
              <a:gd name="connsiteX219" fmla="*/ 7277382 w 9490364"/>
              <a:gd name="connsiteY219" fmla="*/ 2921856 h 5929759"/>
              <a:gd name="connsiteX220" fmla="*/ 7324251 w 9490364"/>
              <a:gd name="connsiteY220" fmla="*/ 2945898 h 5929759"/>
              <a:gd name="connsiteX221" fmla="*/ 7277382 w 9490364"/>
              <a:gd name="connsiteY221" fmla="*/ 2963615 h 5929759"/>
              <a:gd name="connsiteX222" fmla="*/ 7371120 w 9490364"/>
              <a:gd name="connsiteY222" fmla="*/ 2949694 h 5929759"/>
              <a:gd name="connsiteX223" fmla="*/ 7347052 w 9490364"/>
              <a:gd name="connsiteY223" fmla="*/ 2935775 h 5929759"/>
              <a:gd name="connsiteX224" fmla="*/ 7326784 w 9490364"/>
              <a:gd name="connsiteY224" fmla="*/ 2915528 h 5929759"/>
              <a:gd name="connsiteX225" fmla="*/ 8454177 w 9490364"/>
              <a:gd name="connsiteY225" fmla="*/ 2999047 h 5929759"/>
              <a:gd name="connsiteX226" fmla="*/ 8488378 w 9490364"/>
              <a:gd name="connsiteY226" fmla="*/ 3054725 h 5929759"/>
              <a:gd name="connsiteX227" fmla="*/ 8489645 w 9490364"/>
              <a:gd name="connsiteY227" fmla="*/ 3042071 h 5929759"/>
              <a:gd name="connsiteX228" fmla="*/ 8527647 w 9490364"/>
              <a:gd name="connsiteY228" fmla="*/ 2999047 h 5929759"/>
              <a:gd name="connsiteX229" fmla="*/ 8677121 w 9490364"/>
              <a:gd name="connsiteY229" fmla="*/ 3028151 h 5929759"/>
              <a:gd name="connsiteX230" fmla="*/ 8805061 w 9490364"/>
              <a:gd name="connsiteY230" fmla="*/ 3188859 h 5929759"/>
              <a:gd name="connsiteX231" fmla="*/ 8759459 w 9490364"/>
              <a:gd name="connsiteY231" fmla="*/ 3286297 h 5929759"/>
              <a:gd name="connsiteX232" fmla="*/ 8732857 w 9490364"/>
              <a:gd name="connsiteY232" fmla="*/ 3301481 h 5929759"/>
              <a:gd name="connsiteX233" fmla="*/ 8490911 w 9490364"/>
              <a:gd name="connsiteY233" fmla="*/ 3414104 h 5929759"/>
              <a:gd name="connsiteX234" fmla="*/ 7817010 w 9490364"/>
              <a:gd name="connsiteY234" fmla="*/ 3627960 h 5929759"/>
              <a:gd name="connsiteX235" fmla="*/ 7785342 w 9490364"/>
              <a:gd name="connsiteY235" fmla="*/ 3626695 h 5929759"/>
              <a:gd name="connsiteX236" fmla="*/ 7729605 w 9490364"/>
              <a:gd name="connsiteY236" fmla="*/ 3617836 h 5929759"/>
              <a:gd name="connsiteX237" fmla="*/ 7703004 w 9490364"/>
              <a:gd name="connsiteY237" fmla="*/ 3648206 h 5929759"/>
              <a:gd name="connsiteX238" fmla="*/ 7703004 w 9490364"/>
              <a:gd name="connsiteY238" fmla="*/ 3659596 h 5929759"/>
              <a:gd name="connsiteX239" fmla="*/ 7529461 w 9490364"/>
              <a:gd name="connsiteY239" fmla="*/ 3697558 h 5929759"/>
              <a:gd name="connsiteX240" fmla="*/ 7548463 w 9490364"/>
              <a:gd name="connsiteY240" fmla="*/ 3670984 h 5929759"/>
              <a:gd name="connsiteX241" fmla="*/ 7442057 w 9490364"/>
              <a:gd name="connsiteY241" fmla="*/ 3664657 h 5929759"/>
              <a:gd name="connsiteX242" fmla="*/ 7473726 w 9490364"/>
              <a:gd name="connsiteY242" fmla="*/ 3708947 h 5929759"/>
              <a:gd name="connsiteX243" fmla="*/ 6701018 w 9490364"/>
              <a:gd name="connsiteY243" fmla="*/ 3894964 h 5929759"/>
              <a:gd name="connsiteX244" fmla="*/ 6689618 w 9490364"/>
              <a:gd name="connsiteY244" fmla="*/ 3834223 h 5929759"/>
              <a:gd name="connsiteX245" fmla="*/ 6651615 w 9490364"/>
              <a:gd name="connsiteY245" fmla="*/ 3858267 h 5929759"/>
              <a:gd name="connsiteX246" fmla="*/ 6673150 w 9490364"/>
              <a:gd name="connsiteY246" fmla="*/ 3882309 h 5929759"/>
              <a:gd name="connsiteX247" fmla="*/ 6628814 w 9490364"/>
              <a:gd name="connsiteY247" fmla="*/ 3920272 h 5929759"/>
              <a:gd name="connsiteX248" fmla="*/ 6559144 w 9490364"/>
              <a:gd name="connsiteY248" fmla="*/ 3932927 h 5929759"/>
              <a:gd name="connsiteX249" fmla="*/ 6379268 w 9490364"/>
              <a:gd name="connsiteY249" fmla="*/ 3973420 h 5929759"/>
              <a:gd name="connsiteX250" fmla="*/ 6341266 w 9490364"/>
              <a:gd name="connsiteY250" fmla="*/ 3967093 h 5929759"/>
              <a:gd name="connsiteX251" fmla="*/ 6359000 w 9490364"/>
              <a:gd name="connsiteY251" fmla="*/ 3945580 h 5929759"/>
              <a:gd name="connsiteX252" fmla="*/ 6324798 w 9490364"/>
              <a:gd name="connsiteY252" fmla="*/ 3960765 h 5929759"/>
              <a:gd name="connsiteX253" fmla="*/ 6285530 w 9490364"/>
              <a:gd name="connsiteY253" fmla="*/ 4002525 h 5929759"/>
              <a:gd name="connsiteX254" fmla="*/ 6087919 w 9490364"/>
              <a:gd name="connsiteY254" fmla="*/ 4044284 h 5929759"/>
              <a:gd name="connsiteX255" fmla="*/ 6133522 w 9490364"/>
              <a:gd name="connsiteY255" fmla="*/ 3999993 h 5929759"/>
              <a:gd name="connsiteX256" fmla="*/ 6053718 w 9490364"/>
              <a:gd name="connsiteY256" fmla="*/ 4006321 h 5929759"/>
              <a:gd name="connsiteX257" fmla="*/ 6044850 w 9490364"/>
              <a:gd name="connsiteY257" fmla="*/ 4055672 h 5929759"/>
              <a:gd name="connsiteX258" fmla="*/ 5686366 w 9490364"/>
              <a:gd name="connsiteY258" fmla="*/ 4148047 h 5929759"/>
              <a:gd name="connsiteX259" fmla="*/ 5244275 w 9490364"/>
              <a:gd name="connsiteY259" fmla="*/ 4240424 h 5929759"/>
              <a:gd name="connsiteX260" fmla="*/ 5129003 w 9490364"/>
              <a:gd name="connsiteY260" fmla="*/ 4266997 h 5929759"/>
              <a:gd name="connsiteX261" fmla="*/ 5031464 w 9490364"/>
              <a:gd name="connsiteY261" fmla="*/ 4312553 h 5929759"/>
              <a:gd name="connsiteX262" fmla="*/ 5009929 w 9490364"/>
              <a:gd name="connsiteY262" fmla="*/ 4351781 h 5929759"/>
              <a:gd name="connsiteX263" fmla="*/ 4999796 w 9490364"/>
              <a:gd name="connsiteY263" fmla="*/ 4368231 h 5929759"/>
              <a:gd name="connsiteX264" fmla="*/ 5018797 w 9490364"/>
              <a:gd name="connsiteY264" fmla="*/ 4404928 h 5929759"/>
              <a:gd name="connsiteX265" fmla="*/ 5085934 w 9490364"/>
              <a:gd name="connsiteY265" fmla="*/ 4397336 h 5929759"/>
              <a:gd name="connsiteX266" fmla="*/ 5089734 w 9490364"/>
              <a:gd name="connsiteY266" fmla="*/ 4380885 h 5929759"/>
              <a:gd name="connsiteX267" fmla="*/ 5205007 w 9490364"/>
              <a:gd name="connsiteY267" fmla="*/ 4402397 h 5929759"/>
              <a:gd name="connsiteX268" fmla="*/ 5886509 w 9490364"/>
              <a:gd name="connsiteY268" fmla="*/ 4546656 h 5929759"/>
              <a:gd name="connsiteX269" fmla="*/ 6566744 w 9490364"/>
              <a:gd name="connsiteY269" fmla="*/ 4782024 h 5929759"/>
              <a:gd name="connsiteX270" fmla="*/ 6669350 w 9490364"/>
              <a:gd name="connsiteY270" fmla="*/ 4831375 h 5929759"/>
              <a:gd name="connsiteX271" fmla="*/ 6722553 w 9490364"/>
              <a:gd name="connsiteY271" fmla="*/ 4906035 h 5929759"/>
              <a:gd name="connsiteX272" fmla="*/ 6722553 w 9490364"/>
              <a:gd name="connsiteY272" fmla="*/ 4866807 h 5929759"/>
              <a:gd name="connsiteX273" fmla="*/ 6698485 w 9490364"/>
              <a:gd name="connsiteY273" fmla="*/ 4880726 h 5929759"/>
              <a:gd name="connsiteX274" fmla="*/ 6680751 w 9490364"/>
              <a:gd name="connsiteY274" fmla="*/ 4844029 h 5929759"/>
              <a:gd name="connsiteX275" fmla="*/ 6820091 w 9490364"/>
              <a:gd name="connsiteY275" fmla="*/ 4919954 h 5929759"/>
              <a:gd name="connsiteX276" fmla="*/ 6718752 w 9490364"/>
              <a:gd name="connsiteY276" fmla="*/ 4945263 h 5929759"/>
              <a:gd name="connsiteX277" fmla="*/ 6718752 w 9490364"/>
              <a:gd name="connsiteY277" fmla="*/ 4951590 h 5929759"/>
              <a:gd name="connsiteX278" fmla="*/ 6751688 w 9490364"/>
              <a:gd name="connsiteY278" fmla="*/ 4951590 h 5929759"/>
              <a:gd name="connsiteX279" fmla="*/ 6792223 w 9490364"/>
              <a:gd name="connsiteY279" fmla="*/ 4938936 h 5929759"/>
              <a:gd name="connsiteX280" fmla="*/ 6856827 w 9490364"/>
              <a:gd name="connsiteY280" fmla="*/ 4936405 h 5929759"/>
              <a:gd name="connsiteX281" fmla="*/ 6950565 w 9490364"/>
              <a:gd name="connsiteY281" fmla="*/ 4979429 h 5929759"/>
              <a:gd name="connsiteX282" fmla="*/ 7002501 w 9490364"/>
              <a:gd name="connsiteY282" fmla="*/ 5024984 h 5929759"/>
              <a:gd name="connsiteX283" fmla="*/ 7021502 w 9490364"/>
              <a:gd name="connsiteY283" fmla="*/ 5100909 h 5929759"/>
              <a:gd name="connsiteX284" fmla="*/ 7003768 w 9490364"/>
              <a:gd name="connsiteY284" fmla="*/ 5127483 h 5929759"/>
              <a:gd name="connsiteX285" fmla="*/ 6817558 w 9490364"/>
              <a:gd name="connsiteY285" fmla="*/ 5231247 h 5929759"/>
              <a:gd name="connsiteX286" fmla="*/ 6792223 w 9490364"/>
              <a:gd name="connsiteY286" fmla="*/ 5238840 h 5929759"/>
              <a:gd name="connsiteX287" fmla="*/ 6788423 w 9490364"/>
              <a:gd name="connsiteY287" fmla="*/ 5233778 h 5929759"/>
              <a:gd name="connsiteX288" fmla="*/ 6823891 w 9490364"/>
              <a:gd name="connsiteY288" fmla="*/ 5174304 h 5929759"/>
              <a:gd name="connsiteX289" fmla="*/ 6787156 w 9490364"/>
              <a:gd name="connsiteY289" fmla="*/ 5178100 h 5929759"/>
              <a:gd name="connsiteX290" fmla="*/ 6809957 w 9490364"/>
              <a:gd name="connsiteY290" fmla="*/ 5179365 h 5929759"/>
              <a:gd name="connsiteX291" fmla="*/ 6780822 w 9490364"/>
              <a:gd name="connsiteY291" fmla="*/ 5211001 h 5929759"/>
              <a:gd name="connsiteX292" fmla="*/ 6751688 w 9490364"/>
              <a:gd name="connsiteY292" fmla="*/ 5240105 h 5929759"/>
              <a:gd name="connsiteX293" fmla="*/ 6722553 w 9490364"/>
              <a:gd name="connsiteY293" fmla="*/ 5204674 h 5929759"/>
              <a:gd name="connsiteX294" fmla="*/ 6725086 w 9490364"/>
              <a:gd name="connsiteY294" fmla="*/ 5252760 h 5929759"/>
              <a:gd name="connsiteX295" fmla="*/ 6725086 w 9490364"/>
              <a:gd name="connsiteY295" fmla="*/ 5232513 h 5929759"/>
              <a:gd name="connsiteX296" fmla="*/ 6756755 w 9490364"/>
              <a:gd name="connsiteY296" fmla="*/ 5252760 h 5929759"/>
              <a:gd name="connsiteX297" fmla="*/ 6104387 w 9490364"/>
              <a:gd name="connsiteY297" fmla="*/ 5445104 h 5929759"/>
              <a:gd name="connsiteX298" fmla="*/ 6132255 w 9490364"/>
              <a:gd name="connsiteY298" fmla="*/ 5405876 h 5929759"/>
              <a:gd name="connsiteX299" fmla="*/ 6090453 w 9490364"/>
              <a:gd name="connsiteY299" fmla="*/ 5428653 h 5929759"/>
              <a:gd name="connsiteX300" fmla="*/ 6080319 w 9490364"/>
              <a:gd name="connsiteY300" fmla="*/ 5404610 h 5929759"/>
              <a:gd name="connsiteX301" fmla="*/ 6100587 w 9490364"/>
              <a:gd name="connsiteY301" fmla="*/ 5395752 h 5929759"/>
              <a:gd name="connsiteX302" fmla="*/ 6103121 w 9490364"/>
              <a:gd name="connsiteY302" fmla="*/ 5381832 h 5929759"/>
              <a:gd name="connsiteX303" fmla="*/ 6091720 w 9490364"/>
              <a:gd name="connsiteY303" fmla="*/ 5379302 h 5929759"/>
              <a:gd name="connsiteX304" fmla="*/ 6079052 w 9490364"/>
              <a:gd name="connsiteY304" fmla="*/ 5385629 h 5929759"/>
              <a:gd name="connsiteX305" fmla="*/ 6033450 w 9490364"/>
              <a:gd name="connsiteY305" fmla="*/ 5397018 h 5929759"/>
              <a:gd name="connsiteX306" fmla="*/ 6033450 w 9490364"/>
              <a:gd name="connsiteY306" fmla="*/ 5446369 h 5929759"/>
              <a:gd name="connsiteX307" fmla="*/ 6054984 w 9490364"/>
              <a:gd name="connsiteY307" fmla="*/ 5404610 h 5929759"/>
              <a:gd name="connsiteX308" fmla="*/ 6091720 w 9490364"/>
              <a:gd name="connsiteY308" fmla="*/ 5447635 h 5929759"/>
              <a:gd name="connsiteX309" fmla="*/ 6082852 w 9490364"/>
              <a:gd name="connsiteY309" fmla="*/ 5450165 h 5929759"/>
              <a:gd name="connsiteX310" fmla="*/ 5873842 w 9490364"/>
              <a:gd name="connsiteY310" fmla="*/ 5489393 h 5929759"/>
              <a:gd name="connsiteX311" fmla="*/ 5521689 w 9490364"/>
              <a:gd name="connsiteY311" fmla="*/ 5558992 h 5929759"/>
              <a:gd name="connsiteX312" fmla="*/ 5298745 w 9490364"/>
              <a:gd name="connsiteY312" fmla="*/ 5642509 h 5929759"/>
              <a:gd name="connsiteX313" fmla="*/ 5273410 w 9490364"/>
              <a:gd name="connsiteY313" fmla="*/ 5660225 h 5929759"/>
              <a:gd name="connsiteX314" fmla="*/ 5275944 w 9490364"/>
              <a:gd name="connsiteY314" fmla="*/ 5665286 h 5929759"/>
              <a:gd name="connsiteX315" fmla="*/ 5606561 w 9490364"/>
              <a:gd name="connsiteY315" fmla="*/ 5651367 h 5929759"/>
              <a:gd name="connsiteX316" fmla="*/ 5586293 w 9490364"/>
              <a:gd name="connsiteY316" fmla="*/ 5689330 h 5929759"/>
              <a:gd name="connsiteX317" fmla="*/ 5581226 w 9490364"/>
              <a:gd name="connsiteY317" fmla="*/ 5665286 h 5929759"/>
              <a:gd name="connsiteX318" fmla="*/ 5588826 w 9490364"/>
              <a:gd name="connsiteY318" fmla="*/ 5719700 h 5929759"/>
              <a:gd name="connsiteX319" fmla="*/ 5617961 w 9490364"/>
              <a:gd name="connsiteY319" fmla="*/ 5698187 h 5929759"/>
              <a:gd name="connsiteX320" fmla="*/ 5624296 w 9490364"/>
              <a:gd name="connsiteY320" fmla="*/ 5650102 h 5929759"/>
              <a:gd name="connsiteX321" fmla="*/ 5677498 w 9490364"/>
              <a:gd name="connsiteY321" fmla="*/ 5643775 h 5929759"/>
              <a:gd name="connsiteX322" fmla="*/ 6243728 w 9490364"/>
              <a:gd name="connsiteY322" fmla="*/ 5561522 h 5929759"/>
              <a:gd name="connsiteX323" fmla="*/ 6636415 w 9490364"/>
              <a:gd name="connsiteY323" fmla="*/ 5500782 h 5929759"/>
              <a:gd name="connsiteX324" fmla="*/ 7040503 w 9490364"/>
              <a:gd name="connsiteY324" fmla="*/ 5457758 h 5929759"/>
              <a:gd name="connsiteX325" fmla="*/ 7154509 w 9490364"/>
              <a:gd name="connsiteY325" fmla="*/ 5452696 h 5929759"/>
              <a:gd name="connsiteX326" fmla="*/ 7216579 w 9490364"/>
              <a:gd name="connsiteY326" fmla="*/ 5522294 h 5929759"/>
              <a:gd name="connsiteX327" fmla="*/ 7206445 w 9490364"/>
              <a:gd name="connsiteY327" fmla="*/ 5560257 h 5929759"/>
              <a:gd name="connsiteX328" fmla="*/ 7184910 w 9490364"/>
              <a:gd name="connsiteY328" fmla="*/ 5589361 h 5929759"/>
              <a:gd name="connsiteX329" fmla="*/ 7077238 w 9490364"/>
              <a:gd name="connsiteY329" fmla="*/ 5650102 h 5929759"/>
              <a:gd name="connsiteX330" fmla="*/ 6942964 w 9490364"/>
              <a:gd name="connsiteY330" fmla="*/ 5713373 h 5929759"/>
              <a:gd name="connsiteX331" fmla="*/ 6657949 w 9490364"/>
              <a:gd name="connsiteY331" fmla="*/ 5814606 h 5929759"/>
              <a:gd name="connsiteX332" fmla="*/ 6275396 w 9490364"/>
              <a:gd name="connsiteY332" fmla="*/ 5929759 h 5929759"/>
              <a:gd name="connsiteX333" fmla="*/ 6275396 w 9490364"/>
              <a:gd name="connsiteY333" fmla="*/ 5922167 h 5929759"/>
              <a:gd name="connsiteX334" fmla="*/ 6243728 w 9490364"/>
              <a:gd name="connsiteY334" fmla="*/ 5904451 h 5929759"/>
              <a:gd name="connsiteX335" fmla="*/ 6194325 w 9490364"/>
              <a:gd name="connsiteY335" fmla="*/ 5889266 h 5929759"/>
              <a:gd name="connsiteX336" fmla="*/ 6177858 w 9490364"/>
              <a:gd name="connsiteY336" fmla="*/ 5857630 h 5929759"/>
              <a:gd name="connsiteX337" fmla="*/ 6303264 w 9490364"/>
              <a:gd name="connsiteY337" fmla="*/ 5899389 h 5929759"/>
              <a:gd name="connsiteX338" fmla="*/ 6280463 w 9490364"/>
              <a:gd name="connsiteY338" fmla="*/ 5870285 h 5929759"/>
              <a:gd name="connsiteX339" fmla="*/ 6260196 w 9490364"/>
              <a:gd name="connsiteY339" fmla="*/ 5881673 h 5929759"/>
              <a:gd name="connsiteX340" fmla="*/ 6256395 w 9490364"/>
              <a:gd name="connsiteY340" fmla="*/ 5810810 h 5929759"/>
              <a:gd name="connsiteX341" fmla="*/ 6320998 w 9490364"/>
              <a:gd name="connsiteY341" fmla="*/ 5788033 h 5929759"/>
              <a:gd name="connsiteX342" fmla="*/ 6376734 w 9490364"/>
              <a:gd name="connsiteY342" fmla="*/ 5742477 h 5929759"/>
              <a:gd name="connsiteX343" fmla="*/ 6345067 w 9490364"/>
              <a:gd name="connsiteY343" fmla="*/ 5742477 h 5929759"/>
              <a:gd name="connsiteX344" fmla="*/ 6047384 w 9490364"/>
              <a:gd name="connsiteY344" fmla="*/ 5775378 h 5929759"/>
              <a:gd name="connsiteX345" fmla="*/ 6003048 w 9490364"/>
              <a:gd name="connsiteY345" fmla="*/ 5766520 h 5929759"/>
              <a:gd name="connsiteX346" fmla="*/ 5963780 w 9490364"/>
              <a:gd name="connsiteY346" fmla="*/ 5769051 h 5929759"/>
              <a:gd name="connsiteX347" fmla="*/ 5984048 w 9490364"/>
              <a:gd name="connsiteY347" fmla="*/ 5734885 h 5929759"/>
              <a:gd name="connsiteX348" fmla="*/ 5947312 w 9490364"/>
              <a:gd name="connsiteY348" fmla="*/ 5789298 h 5929759"/>
              <a:gd name="connsiteX349" fmla="*/ 5920710 w 9490364"/>
              <a:gd name="connsiteY349" fmla="*/ 5794360 h 5929759"/>
              <a:gd name="connsiteX350" fmla="*/ 5695232 w 9490364"/>
              <a:gd name="connsiteY350" fmla="*/ 5820933 h 5929759"/>
              <a:gd name="connsiteX351" fmla="*/ 5414017 w 9490364"/>
              <a:gd name="connsiteY351" fmla="*/ 5838649 h 5929759"/>
              <a:gd name="connsiteX352" fmla="*/ 5376016 w 9490364"/>
              <a:gd name="connsiteY352" fmla="*/ 5836119 h 5929759"/>
              <a:gd name="connsiteX353" fmla="*/ 5408951 w 9490364"/>
              <a:gd name="connsiteY353" fmla="*/ 5813341 h 5929759"/>
              <a:gd name="connsiteX354" fmla="*/ 5434285 w 9490364"/>
              <a:gd name="connsiteY354" fmla="*/ 5822198 h 5929759"/>
              <a:gd name="connsiteX355" fmla="*/ 5457087 w 9490364"/>
              <a:gd name="connsiteY355" fmla="*/ 5775378 h 5929759"/>
              <a:gd name="connsiteX356" fmla="*/ 5440619 w 9490364"/>
              <a:gd name="connsiteY356" fmla="*/ 5748805 h 5929759"/>
              <a:gd name="connsiteX357" fmla="*/ 5406417 w 9490364"/>
              <a:gd name="connsiteY357" fmla="*/ 5781705 h 5929759"/>
              <a:gd name="connsiteX358" fmla="*/ 5339281 w 9490364"/>
              <a:gd name="connsiteY358" fmla="*/ 5799421 h 5929759"/>
              <a:gd name="connsiteX359" fmla="*/ 5306345 w 9490364"/>
              <a:gd name="connsiteY359" fmla="*/ 5833588 h 5929759"/>
              <a:gd name="connsiteX360" fmla="*/ 5320279 w 9490364"/>
              <a:gd name="connsiteY360" fmla="*/ 5832322 h 5929759"/>
              <a:gd name="connsiteX361" fmla="*/ 5353214 w 9490364"/>
              <a:gd name="connsiteY361" fmla="*/ 5823465 h 5929759"/>
              <a:gd name="connsiteX362" fmla="*/ 5365882 w 9490364"/>
              <a:gd name="connsiteY362" fmla="*/ 5832322 h 5929759"/>
              <a:gd name="connsiteX363" fmla="*/ 5355748 w 9490364"/>
              <a:gd name="connsiteY363" fmla="*/ 5844976 h 5929759"/>
              <a:gd name="connsiteX364" fmla="*/ 5344347 w 9490364"/>
              <a:gd name="connsiteY364" fmla="*/ 5846242 h 5929759"/>
              <a:gd name="connsiteX365" fmla="*/ 4940259 w 9490364"/>
              <a:gd name="connsiteY365" fmla="*/ 5881673 h 5929759"/>
              <a:gd name="connsiteX366" fmla="*/ 4642577 w 9490364"/>
              <a:gd name="connsiteY366" fmla="*/ 5908248 h 5929759"/>
              <a:gd name="connsiteX367" fmla="*/ 4508303 w 9490364"/>
              <a:gd name="connsiteY367" fmla="*/ 5925963 h 5929759"/>
              <a:gd name="connsiteX368" fmla="*/ 4463968 w 9490364"/>
              <a:gd name="connsiteY368" fmla="*/ 5870285 h 5929759"/>
              <a:gd name="connsiteX369" fmla="*/ 4488036 w 9490364"/>
              <a:gd name="connsiteY369" fmla="*/ 5861426 h 5929759"/>
              <a:gd name="connsiteX370" fmla="*/ 4479169 w 9490364"/>
              <a:gd name="connsiteY370" fmla="*/ 5836119 h 5929759"/>
              <a:gd name="connsiteX371" fmla="*/ 4458901 w 9490364"/>
              <a:gd name="connsiteY371" fmla="*/ 5839915 h 5929759"/>
              <a:gd name="connsiteX372" fmla="*/ 4443700 w 9490364"/>
              <a:gd name="connsiteY372" fmla="*/ 5810810 h 5929759"/>
              <a:gd name="connsiteX373" fmla="*/ 4737582 w 9490364"/>
              <a:gd name="connsiteY373" fmla="*/ 5674145 h 5929759"/>
              <a:gd name="connsiteX374" fmla="*/ 4776851 w 9490364"/>
              <a:gd name="connsiteY374" fmla="*/ 5695657 h 5929759"/>
              <a:gd name="connsiteX375" fmla="*/ 4819920 w 9490364"/>
              <a:gd name="connsiteY375" fmla="*/ 5671614 h 5929759"/>
              <a:gd name="connsiteX376" fmla="*/ 4818653 w 9490364"/>
              <a:gd name="connsiteY376" fmla="*/ 5661490 h 5929759"/>
              <a:gd name="connsiteX377" fmla="*/ 4783184 w 9490364"/>
              <a:gd name="connsiteY377" fmla="*/ 5676676 h 5929759"/>
              <a:gd name="connsiteX378" fmla="*/ 4750249 w 9490364"/>
              <a:gd name="connsiteY378" fmla="*/ 5669083 h 5929759"/>
              <a:gd name="connsiteX379" fmla="*/ 4960527 w 9490364"/>
              <a:gd name="connsiteY379" fmla="*/ 5603281 h 5929759"/>
              <a:gd name="connsiteX380" fmla="*/ 5023864 w 9490364"/>
              <a:gd name="connsiteY380" fmla="*/ 5642509 h 5929759"/>
              <a:gd name="connsiteX381" fmla="*/ 5016263 w 9490364"/>
              <a:gd name="connsiteY381" fmla="*/ 5624793 h 5929759"/>
              <a:gd name="connsiteX382" fmla="*/ 5066933 w 9490364"/>
              <a:gd name="connsiteY382" fmla="*/ 5647571 h 5929759"/>
              <a:gd name="connsiteX383" fmla="*/ 5087200 w 9490364"/>
              <a:gd name="connsiteY383" fmla="*/ 5602016 h 5929759"/>
              <a:gd name="connsiteX384" fmla="*/ 5054265 w 9490364"/>
              <a:gd name="connsiteY384" fmla="*/ 5610874 h 5929759"/>
              <a:gd name="connsiteX385" fmla="*/ 5027664 w 9490364"/>
              <a:gd name="connsiteY385" fmla="*/ 5609608 h 5929759"/>
              <a:gd name="connsiteX386" fmla="*/ 5074533 w 9490364"/>
              <a:gd name="connsiteY386" fmla="*/ 5575442 h 5929759"/>
              <a:gd name="connsiteX387" fmla="*/ 5672431 w 9490364"/>
              <a:gd name="connsiteY387" fmla="*/ 5438777 h 5929759"/>
              <a:gd name="connsiteX388" fmla="*/ 5758569 w 9490364"/>
              <a:gd name="connsiteY388" fmla="*/ 5426122 h 5929759"/>
              <a:gd name="connsiteX389" fmla="*/ 5769969 w 9490364"/>
              <a:gd name="connsiteY389" fmla="*/ 5484332 h 5929759"/>
              <a:gd name="connsiteX390" fmla="*/ 5825705 w 9490364"/>
              <a:gd name="connsiteY390" fmla="*/ 5460288 h 5929759"/>
              <a:gd name="connsiteX391" fmla="*/ 5773770 w 9490364"/>
              <a:gd name="connsiteY391" fmla="*/ 5452696 h 5929759"/>
              <a:gd name="connsiteX392" fmla="*/ 5781370 w 9490364"/>
              <a:gd name="connsiteY392" fmla="*/ 5417264 h 5929759"/>
              <a:gd name="connsiteX393" fmla="*/ 6400803 w 9490364"/>
              <a:gd name="connsiteY393" fmla="*/ 5291988 h 5929759"/>
              <a:gd name="connsiteX394" fmla="*/ 6397002 w 9490364"/>
              <a:gd name="connsiteY394" fmla="*/ 5329951 h 5929759"/>
              <a:gd name="connsiteX395" fmla="*/ 6446405 w 9490364"/>
              <a:gd name="connsiteY395" fmla="*/ 5310969 h 5929759"/>
              <a:gd name="connsiteX396" fmla="*/ 6461606 w 9490364"/>
              <a:gd name="connsiteY396" fmla="*/ 5328685 h 5929759"/>
              <a:gd name="connsiteX397" fmla="*/ 6495808 w 9490364"/>
              <a:gd name="connsiteY397" fmla="*/ 5291988 h 5929759"/>
              <a:gd name="connsiteX398" fmla="*/ 6445139 w 9490364"/>
              <a:gd name="connsiteY398" fmla="*/ 5295784 h 5929759"/>
              <a:gd name="connsiteX399" fmla="*/ 6433738 w 9490364"/>
              <a:gd name="connsiteY399" fmla="*/ 5294519 h 5929759"/>
              <a:gd name="connsiteX400" fmla="*/ 6418537 w 9490364"/>
              <a:gd name="connsiteY400" fmla="*/ 5279333 h 5929759"/>
              <a:gd name="connsiteX401" fmla="*/ 6476806 w 9490364"/>
              <a:gd name="connsiteY401" fmla="*/ 5260352 h 5929759"/>
              <a:gd name="connsiteX402" fmla="*/ 6676951 w 9490364"/>
              <a:gd name="connsiteY402" fmla="*/ 5195815 h 5929759"/>
              <a:gd name="connsiteX403" fmla="*/ 6815024 w 9490364"/>
              <a:gd name="connsiteY403" fmla="*/ 5116094 h 5929759"/>
              <a:gd name="connsiteX404" fmla="*/ 6850493 w 9490364"/>
              <a:gd name="connsiteY404" fmla="*/ 5078131 h 5929759"/>
              <a:gd name="connsiteX405" fmla="*/ 6809957 w 9490364"/>
              <a:gd name="connsiteY405" fmla="*/ 5046496 h 5929759"/>
              <a:gd name="connsiteX406" fmla="*/ 6771956 w 9490364"/>
              <a:gd name="connsiteY406" fmla="*/ 5027515 h 5929759"/>
              <a:gd name="connsiteX407" fmla="*/ 6768155 w 9490364"/>
              <a:gd name="connsiteY407" fmla="*/ 5021188 h 5929759"/>
              <a:gd name="connsiteX408" fmla="*/ 6780822 w 9490364"/>
              <a:gd name="connsiteY408" fmla="*/ 5012330 h 5929759"/>
              <a:gd name="connsiteX409" fmla="*/ 6764355 w 9490364"/>
              <a:gd name="connsiteY409" fmla="*/ 4975633 h 5929759"/>
              <a:gd name="connsiteX410" fmla="*/ 6844160 w 9490364"/>
              <a:gd name="connsiteY410" fmla="*/ 5007268 h 5929759"/>
              <a:gd name="connsiteX411" fmla="*/ 6828958 w 9490364"/>
              <a:gd name="connsiteY411" fmla="*/ 4960447 h 5929759"/>
              <a:gd name="connsiteX412" fmla="*/ 6787156 w 9490364"/>
              <a:gd name="connsiteY412" fmla="*/ 4960447 h 5929759"/>
              <a:gd name="connsiteX413" fmla="*/ 6783356 w 9490364"/>
              <a:gd name="connsiteY413" fmla="*/ 4960447 h 5929759"/>
              <a:gd name="connsiteX414" fmla="*/ 6742821 w 9490364"/>
              <a:gd name="connsiteY414" fmla="*/ 5011065 h 5929759"/>
              <a:gd name="connsiteX415" fmla="*/ 5785170 w 9490364"/>
              <a:gd name="connsiteY415" fmla="*/ 4756715 h 5929759"/>
              <a:gd name="connsiteX416" fmla="*/ 5790237 w 9490364"/>
              <a:gd name="connsiteY416" fmla="*/ 4704833 h 5929759"/>
              <a:gd name="connsiteX417" fmla="*/ 5712966 w 9490364"/>
              <a:gd name="connsiteY417" fmla="*/ 4730141 h 5929759"/>
              <a:gd name="connsiteX418" fmla="*/ 5735767 w 9490364"/>
              <a:gd name="connsiteY418" fmla="*/ 4742796 h 5929759"/>
              <a:gd name="connsiteX419" fmla="*/ 5649630 w 9490364"/>
              <a:gd name="connsiteY419" fmla="*/ 4736468 h 5929759"/>
              <a:gd name="connsiteX420" fmla="*/ 5255676 w 9490364"/>
              <a:gd name="connsiteY420" fmla="*/ 4721283 h 5929759"/>
              <a:gd name="connsiteX421" fmla="*/ 4690713 w 9490364"/>
              <a:gd name="connsiteY421" fmla="*/ 4728875 h 5929759"/>
              <a:gd name="connsiteX422" fmla="*/ 4346162 w 9490364"/>
              <a:gd name="connsiteY422" fmla="*/ 4726345 h 5929759"/>
              <a:gd name="connsiteX423" fmla="*/ 4317027 w 9490364"/>
              <a:gd name="connsiteY423" fmla="*/ 4723814 h 5929759"/>
              <a:gd name="connsiteX424" fmla="*/ 4348695 w 9490364"/>
              <a:gd name="connsiteY424" fmla="*/ 4671932 h 5929759"/>
              <a:gd name="connsiteX425" fmla="*/ 4308160 w 9490364"/>
              <a:gd name="connsiteY425" fmla="*/ 4649154 h 5929759"/>
              <a:gd name="connsiteX426" fmla="*/ 4303093 w 9490364"/>
              <a:gd name="connsiteY426" fmla="*/ 4731406 h 5929759"/>
              <a:gd name="connsiteX427" fmla="*/ 4203021 w 9490364"/>
              <a:gd name="connsiteY427" fmla="*/ 4735202 h 5929759"/>
              <a:gd name="connsiteX428" fmla="*/ 4042145 w 9490364"/>
              <a:gd name="connsiteY428" fmla="*/ 4665605 h 5929759"/>
              <a:gd name="connsiteX429" fmla="*/ 4002877 w 9490364"/>
              <a:gd name="connsiteY429" fmla="*/ 4626377 h 5929759"/>
              <a:gd name="connsiteX430" fmla="*/ 3947140 w 9490364"/>
              <a:gd name="connsiteY430" fmla="*/ 4614988 h 5929759"/>
              <a:gd name="connsiteX431" fmla="*/ 3940807 w 9490364"/>
              <a:gd name="connsiteY431" fmla="*/ 4614988 h 5929759"/>
              <a:gd name="connsiteX432" fmla="*/ 3862269 w 9490364"/>
              <a:gd name="connsiteY432" fmla="*/ 4604864 h 5929759"/>
              <a:gd name="connsiteX433" fmla="*/ 3858470 w 9490364"/>
              <a:gd name="connsiteY433" fmla="*/ 4575760 h 5929759"/>
              <a:gd name="connsiteX434" fmla="*/ 3771065 w 9490364"/>
              <a:gd name="connsiteY434" fmla="*/ 4606130 h 5929759"/>
              <a:gd name="connsiteX435" fmla="*/ 3670993 w 9490364"/>
              <a:gd name="connsiteY435" fmla="*/ 4664340 h 5929759"/>
              <a:gd name="connsiteX436" fmla="*/ 3625391 w 9490364"/>
              <a:gd name="connsiteY436" fmla="*/ 4678259 h 5929759"/>
              <a:gd name="connsiteX437" fmla="*/ 3608923 w 9490364"/>
              <a:gd name="connsiteY437" fmla="*/ 4684586 h 5929759"/>
              <a:gd name="connsiteX438" fmla="*/ 3601323 w 9490364"/>
              <a:gd name="connsiteY438" fmla="*/ 4716222 h 5929759"/>
              <a:gd name="connsiteX439" fmla="*/ 3525318 w 9490364"/>
              <a:gd name="connsiteY439" fmla="*/ 4746592 h 5929759"/>
              <a:gd name="connsiteX440" fmla="*/ 3427780 w 9490364"/>
              <a:gd name="connsiteY440" fmla="*/ 4737733 h 5929759"/>
              <a:gd name="connsiteX441" fmla="*/ 3296041 w 9490364"/>
              <a:gd name="connsiteY441" fmla="*/ 4736468 h 5929759"/>
              <a:gd name="connsiteX442" fmla="*/ 3232703 w 9490364"/>
              <a:gd name="connsiteY442" fmla="*/ 4754184 h 5929759"/>
              <a:gd name="connsiteX443" fmla="*/ 3223837 w 9490364"/>
              <a:gd name="connsiteY443" fmla="*/ 4718752 h 5929759"/>
              <a:gd name="connsiteX444" fmla="*/ 3232703 w 9490364"/>
              <a:gd name="connsiteY444" fmla="*/ 4670667 h 5929759"/>
              <a:gd name="connsiteX445" fmla="*/ 3223837 w 9490364"/>
              <a:gd name="connsiteY445" fmla="*/ 4607395 h 5929759"/>
              <a:gd name="connsiteX446" fmla="*/ 3235237 w 9490364"/>
              <a:gd name="connsiteY446" fmla="*/ 4537797 h 5929759"/>
              <a:gd name="connsiteX447" fmla="*/ 3171900 w 9490364"/>
              <a:gd name="connsiteY447" fmla="*/ 4554248 h 5929759"/>
              <a:gd name="connsiteX448" fmla="*/ 3107297 w 9490364"/>
              <a:gd name="connsiteY448" fmla="*/ 4575760 h 5929759"/>
              <a:gd name="connsiteX449" fmla="*/ 3107297 w 9490364"/>
              <a:gd name="connsiteY449" fmla="*/ 4531470 h 5929759"/>
              <a:gd name="connsiteX450" fmla="*/ 3024959 w 9490364"/>
              <a:gd name="connsiteY450" fmla="*/ 4483384 h 5929759"/>
              <a:gd name="connsiteX451" fmla="*/ 3055361 w 9490364"/>
              <a:gd name="connsiteY451" fmla="*/ 4494773 h 5929759"/>
              <a:gd name="connsiteX452" fmla="*/ 3059161 w 9490364"/>
              <a:gd name="connsiteY452" fmla="*/ 4489711 h 5929759"/>
              <a:gd name="connsiteX453" fmla="*/ 3037627 w 9490364"/>
              <a:gd name="connsiteY453" fmla="*/ 4465668 h 5929759"/>
              <a:gd name="connsiteX454" fmla="*/ 3018625 w 9490364"/>
              <a:gd name="connsiteY454" fmla="*/ 4436564 h 5929759"/>
              <a:gd name="connsiteX455" fmla="*/ 2999625 w 9490364"/>
              <a:gd name="connsiteY455" fmla="*/ 4436564 h 5929759"/>
              <a:gd name="connsiteX456" fmla="*/ 2993291 w 9490364"/>
              <a:gd name="connsiteY456" fmla="*/ 4347984 h 5929759"/>
              <a:gd name="connsiteX457" fmla="*/ 3030026 w 9490364"/>
              <a:gd name="connsiteY457" fmla="*/ 4260670 h 5929759"/>
              <a:gd name="connsiteX458" fmla="*/ 3051560 w 9490364"/>
              <a:gd name="connsiteY458" fmla="*/ 4106289 h 5929759"/>
              <a:gd name="connsiteX459" fmla="*/ 3075628 w 9490364"/>
              <a:gd name="connsiteY459" fmla="*/ 4080981 h 5929759"/>
              <a:gd name="connsiteX460" fmla="*/ 3121230 w 9490364"/>
              <a:gd name="connsiteY460" fmla="*/ 4059468 h 5929759"/>
              <a:gd name="connsiteX461" fmla="*/ 3107297 w 9490364"/>
              <a:gd name="connsiteY461" fmla="*/ 4010117 h 5929759"/>
              <a:gd name="connsiteX462" fmla="*/ 3095896 w 9490364"/>
              <a:gd name="connsiteY462" fmla="*/ 4070857 h 5929759"/>
              <a:gd name="connsiteX463" fmla="*/ 3081962 w 9490364"/>
              <a:gd name="connsiteY463" fmla="*/ 4054407 h 5929759"/>
              <a:gd name="connsiteX464" fmla="*/ 3113630 w 9490364"/>
              <a:gd name="connsiteY464" fmla="*/ 3959500 h 5929759"/>
              <a:gd name="connsiteX465" fmla="*/ 3132632 w 9490364"/>
              <a:gd name="connsiteY465" fmla="*/ 3910149 h 5929759"/>
              <a:gd name="connsiteX466" fmla="*/ 3151632 w 9490364"/>
              <a:gd name="connsiteY466" fmla="*/ 3840550 h 5929759"/>
              <a:gd name="connsiteX467" fmla="*/ 3174434 w 9490364"/>
              <a:gd name="connsiteY467" fmla="*/ 3797526 h 5929759"/>
              <a:gd name="connsiteX468" fmla="*/ 3187101 w 9490364"/>
              <a:gd name="connsiteY468" fmla="*/ 3755767 h 5929759"/>
              <a:gd name="connsiteX469" fmla="*/ 3099697 w 9490364"/>
              <a:gd name="connsiteY469" fmla="*/ 3762094 h 5929759"/>
              <a:gd name="connsiteX470" fmla="*/ 3104763 w 9490364"/>
              <a:gd name="connsiteY470" fmla="*/ 3739317 h 5929759"/>
              <a:gd name="connsiteX471" fmla="*/ 3066761 w 9490364"/>
              <a:gd name="connsiteY471" fmla="*/ 3714009 h 5929759"/>
              <a:gd name="connsiteX472" fmla="*/ 3084495 w 9490364"/>
              <a:gd name="connsiteY472" fmla="*/ 3708947 h 5929759"/>
              <a:gd name="connsiteX473" fmla="*/ 3094630 w 9490364"/>
              <a:gd name="connsiteY473" fmla="*/ 3701355 h 5929759"/>
              <a:gd name="connsiteX474" fmla="*/ 3014826 w 9490364"/>
              <a:gd name="connsiteY474" fmla="*/ 3735521 h 5929759"/>
              <a:gd name="connsiteX475" fmla="*/ 3026226 w 9490364"/>
              <a:gd name="connsiteY475" fmla="*/ 3749440 h 5929759"/>
              <a:gd name="connsiteX476" fmla="*/ 3041426 w 9490364"/>
              <a:gd name="connsiteY476" fmla="*/ 3738052 h 5929759"/>
              <a:gd name="connsiteX477" fmla="*/ 3080695 w 9490364"/>
              <a:gd name="connsiteY477" fmla="*/ 3743113 h 5929759"/>
              <a:gd name="connsiteX478" fmla="*/ 3055361 w 9490364"/>
              <a:gd name="connsiteY478" fmla="*/ 3778545 h 5929759"/>
              <a:gd name="connsiteX479" fmla="*/ 2924888 w 9490364"/>
              <a:gd name="connsiteY479" fmla="*/ 3811446 h 5929759"/>
              <a:gd name="connsiteX480" fmla="*/ 2899553 w 9490364"/>
              <a:gd name="connsiteY480" fmla="*/ 3815242 h 5929759"/>
              <a:gd name="connsiteX481" fmla="*/ 2910953 w 9490364"/>
              <a:gd name="connsiteY481" fmla="*/ 3787403 h 5929759"/>
              <a:gd name="connsiteX482" fmla="*/ 2941355 w 9490364"/>
              <a:gd name="connsiteY482" fmla="*/ 3782341 h 5929759"/>
              <a:gd name="connsiteX483" fmla="*/ 2971757 w 9490364"/>
              <a:gd name="connsiteY483" fmla="*/ 3776014 h 5929759"/>
              <a:gd name="connsiteX484" fmla="*/ 2921087 w 9490364"/>
              <a:gd name="connsiteY484" fmla="*/ 3763360 h 5929759"/>
              <a:gd name="connsiteX485" fmla="*/ 2885619 w 9490364"/>
              <a:gd name="connsiteY485" fmla="*/ 3808916 h 5929759"/>
              <a:gd name="connsiteX486" fmla="*/ 2886886 w 9490364"/>
              <a:gd name="connsiteY486" fmla="*/ 3822835 h 5929759"/>
              <a:gd name="connsiteX487" fmla="*/ 2718410 w 9490364"/>
              <a:gd name="connsiteY487" fmla="*/ 3862063 h 5929759"/>
              <a:gd name="connsiteX488" fmla="*/ 2714609 w 9490364"/>
              <a:gd name="connsiteY488" fmla="*/ 3855736 h 5929759"/>
              <a:gd name="connsiteX489" fmla="*/ 2734878 w 9490364"/>
              <a:gd name="connsiteY489" fmla="*/ 3820304 h 5929759"/>
              <a:gd name="connsiteX490" fmla="*/ 2728543 w 9490364"/>
              <a:gd name="connsiteY490" fmla="*/ 3815242 h 5929759"/>
              <a:gd name="connsiteX491" fmla="*/ 2701942 w 9490364"/>
              <a:gd name="connsiteY491" fmla="*/ 3846878 h 5929759"/>
              <a:gd name="connsiteX492" fmla="*/ 2674074 w 9490364"/>
              <a:gd name="connsiteY492" fmla="*/ 3810181 h 5929759"/>
              <a:gd name="connsiteX493" fmla="*/ 2701942 w 9490364"/>
              <a:gd name="connsiteY493" fmla="*/ 3864594 h 5929759"/>
              <a:gd name="connsiteX494" fmla="*/ 2529666 w 9490364"/>
              <a:gd name="connsiteY494" fmla="*/ 3912679 h 5929759"/>
              <a:gd name="connsiteX495" fmla="*/ 2383992 w 9490364"/>
              <a:gd name="connsiteY495" fmla="*/ 3924068 h 5929759"/>
              <a:gd name="connsiteX496" fmla="*/ 2366258 w 9490364"/>
              <a:gd name="connsiteY496" fmla="*/ 3949377 h 5929759"/>
              <a:gd name="connsiteX497" fmla="*/ 2343457 w 9490364"/>
              <a:gd name="connsiteY497" fmla="*/ 3925334 h 5929759"/>
              <a:gd name="connsiteX498" fmla="*/ 2329523 w 9490364"/>
              <a:gd name="connsiteY498" fmla="*/ 3958234 h 5929759"/>
              <a:gd name="connsiteX499" fmla="*/ 2258586 w 9490364"/>
              <a:gd name="connsiteY499" fmla="*/ 3941784 h 5929759"/>
              <a:gd name="connsiteX500" fmla="*/ 2205383 w 9490364"/>
              <a:gd name="connsiteY500" fmla="*/ 3954438 h 5929759"/>
              <a:gd name="connsiteX501" fmla="*/ 2016640 w 9490364"/>
              <a:gd name="connsiteY501" fmla="*/ 3977216 h 5929759"/>
              <a:gd name="connsiteX502" fmla="*/ 1816495 w 9490364"/>
              <a:gd name="connsiteY502" fmla="*/ 3992401 h 5929759"/>
              <a:gd name="connsiteX503" fmla="*/ 1708823 w 9490364"/>
              <a:gd name="connsiteY503" fmla="*/ 4006321 h 5929759"/>
              <a:gd name="connsiteX504" fmla="*/ 1648020 w 9490364"/>
              <a:gd name="connsiteY504" fmla="*/ 3989870 h 5929759"/>
              <a:gd name="connsiteX505" fmla="*/ 1674622 w 9490364"/>
              <a:gd name="connsiteY505" fmla="*/ 4021506 h 5929759"/>
              <a:gd name="connsiteX506" fmla="*/ 1508680 w 9490364"/>
              <a:gd name="connsiteY506" fmla="*/ 4050611 h 5929759"/>
              <a:gd name="connsiteX507" fmla="*/ 1520080 w 9490364"/>
              <a:gd name="connsiteY507" fmla="*/ 4020240 h 5929759"/>
              <a:gd name="connsiteX508" fmla="*/ 1488412 w 9490364"/>
              <a:gd name="connsiteY508" fmla="*/ 4015179 h 5929759"/>
              <a:gd name="connsiteX509" fmla="*/ 1487145 w 9490364"/>
              <a:gd name="connsiteY509" fmla="*/ 4008852 h 5929759"/>
              <a:gd name="connsiteX510" fmla="*/ 1713890 w 9490364"/>
              <a:gd name="connsiteY510" fmla="*/ 3959500 h 5929759"/>
              <a:gd name="connsiteX511" fmla="*/ 1720224 w 9490364"/>
              <a:gd name="connsiteY511" fmla="*/ 3920272 h 5929759"/>
              <a:gd name="connsiteX512" fmla="*/ 1620152 w 9490364"/>
              <a:gd name="connsiteY512" fmla="*/ 3888637 h 5929759"/>
              <a:gd name="connsiteX513" fmla="*/ 1604793 w 9490364"/>
              <a:gd name="connsiteY513" fmla="*/ 3861746 h 5929759"/>
              <a:gd name="connsiteX514" fmla="*/ 1596638 w 9490364"/>
              <a:gd name="connsiteY514" fmla="*/ 3834787 h 5929759"/>
              <a:gd name="connsiteX515" fmla="*/ 1597350 w 9490364"/>
              <a:gd name="connsiteY515" fmla="*/ 3834223 h 5929759"/>
              <a:gd name="connsiteX516" fmla="*/ 1598617 w 9490364"/>
              <a:gd name="connsiteY516" fmla="*/ 3831693 h 5929759"/>
              <a:gd name="connsiteX517" fmla="*/ 1631553 w 9490364"/>
              <a:gd name="connsiteY517" fmla="*/ 3815242 h 5929759"/>
              <a:gd name="connsiteX518" fmla="*/ 1630286 w 9490364"/>
              <a:gd name="connsiteY518" fmla="*/ 3787403 h 5929759"/>
              <a:gd name="connsiteX519" fmla="*/ 1606218 w 9490364"/>
              <a:gd name="connsiteY519" fmla="*/ 3816508 h 5929759"/>
              <a:gd name="connsiteX520" fmla="*/ 1598617 w 9490364"/>
              <a:gd name="connsiteY520" fmla="*/ 3831693 h 5929759"/>
              <a:gd name="connsiteX521" fmla="*/ 1596084 w 9490364"/>
              <a:gd name="connsiteY521" fmla="*/ 3832958 h 5929759"/>
              <a:gd name="connsiteX522" fmla="*/ 1596638 w 9490364"/>
              <a:gd name="connsiteY522" fmla="*/ 3834787 h 5929759"/>
              <a:gd name="connsiteX523" fmla="*/ 1573283 w 9490364"/>
              <a:gd name="connsiteY523" fmla="*/ 3853205 h 5929759"/>
              <a:gd name="connsiteX524" fmla="*/ 1532748 w 9490364"/>
              <a:gd name="connsiteY524" fmla="*/ 3868390 h 5929759"/>
              <a:gd name="connsiteX525" fmla="*/ 1599885 w 9490364"/>
              <a:gd name="connsiteY525" fmla="*/ 3884840 h 5929759"/>
              <a:gd name="connsiteX526" fmla="*/ 1549215 w 9490364"/>
              <a:gd name="connsiteY526" fmla="*/ 3911414 h 5929759"/>
              <a:gd name="connsiteX527" fmla="*/ 1551748 w 9490364"/>
              <a:gd name="connsiteY527" fmla="*/ 3888637 h 5929759"/>
              <a:gd name="connsiteX528" fmla="*/ 1507412 w 9490364"/>
              <a:gd name="connsiteY528" fmla="*/ 3836754 h 5929759"/>
              <a:gd name="connsiteX529" fmla="*/ 1570750 w 9490364"/>
              <a:gd name="connsiteY529" fmla="*/ 3805118 h 5929759"/>
              <a:gd name="connsiteX530" fmla="*/ 1483345 w 9490364"/>
              <a:gd name="connsiteY530" fmla="*/ 3821569 h 5929759"/>
              <a:gd name="connsiteX531" fmla="*/ 1502346 w 9490364"/>
              <a:gd name="connsiteY531" fmla="*/ 3887372 h 5929759"/>
              <a:gd name="connsiteX532" fmla="*/ 1436476 w 9490364"/>
              <a:gd name="connsiteY532" fmla="*/ 3881044 h 5929759"/>
              <a:gd name="connsiteX533" fmla="*/ 1371872 w 9490364"/>
              <a:gd name="connsiteY533" fmla="*/ 3882309 h 5929759"/>
              <a:gd name="connsiteX534" fmla="*/ 1341471 w 9490364"/>
              <a:gd name="connsiteY534" fmla="*/ 3879778 h 5929759"/>
              <a:gd name="connsiteX535" fmla="*/ 1288268 w 9490364"/>
              <a:gd name="connsiteY535" fmla="*/ 3874717 h 5929759"/>
              <a:gd name="connsiteX536" fmla="*/ 1235065 w 9490364"/>
              <a:gd name="connsiteY536" fmla="*/ 3921537 h 5929759"/>
              <a:gd name="connsiteX537" fmla="*/ 1229998 w 9490364"/>
              <a:gd name="connsiteY537" fmla="*/ 3930396 h 5929759"/>
              <a:gd name="connsiteX538" fmla="*/ 1197063 w 9490364"/>
              <a:gd name="connsiteY538" fmla="*/ 3958234 h 5929759"/>
              <a:gd name="connsiteX539" fmla="*/ 1179329 w 9490364"/>
              <a:gd name="connsiteY539" fmla="*/ 3881044 h 5929759"/>
              <a:gd name="connsiteX540" fmla="*/ 1140060 w 9490364"/>
              <a:gd name="connsiteY540" fmla="*/ 3936723 h 5929759"/>
              <a:gd name="connsiteX541" fmla="*/ 1156528 w 9490364"/>
              <a:gd name="connsiteY541" fmla="*/ 3903822 h 5929759"/>
              <a:gd name="connsiteX542" fmla="*/ 1171729 w 9490364"/>
              <a:gd name="connsiteY542" fmla="*/ 3943050 h 5929759"/>
              <a:gd name="connsiteX543" fmla="*/ 1184396 w 9490364"/>
              <a:gd name="connsiteY543" fmla="*/ 3968358 h 5929759"/>
              <a:gd name="connsiteX544" fmla="*/ 1217331 w 9490364"/>
              <a:gd name="connsiteY544" fmla="*/ 4013913 h 5929759"/>
              <a:gd name="connsiteX545" fmla="*/ 1245199 w 9490364"/>
              <a:gd name="connsiteY545" fmla="*/ 4029098 h 5929759"/>
              <a:gd name="connsiteX546" fmla="*/ 1328803 w 9490364"/>
              <a:gd name="connsiteY546" fmla="*/ 4024036 h 5929759"/>
              <a:gd name="connsiteX547" fmla="*/ 1463077 w 9490364"/>
              <a:gd name="connsiteY547" fmla="*/ 3996197 h 5929759"/>
              <a:gd name="connsiteX548" fmla="*/ 1474477 w 9490364"/>
              <a:gd name="connsiteY548" fmla="*/ 4054407 h 5929759"/>
              <a:gd name="connsiteX549" fmla="*/ 1449143 w 9490364"/>
              <a:gd name="connsiteY549" fmla="*/ 4086042 h 5929759"/>
              <a:gd name="connsiteX550" fmla="*/ 1257866 w 9490364"/>
              <a:gd name="connsiteY550" fmla="*/ 4089839 h 5929759"/>
              <a:gd name="connsiteX551" fmla="*/ 1180595 w 9490364"/>
              <a:gd name="connsiteY551" fmla="*/ 4097431 h 5929759"/>
              <a:gd name="connsiteX552" fmla="*/ 1128660 w 9490364"/>
              <a:gd name="connsiteY552" fmla="*/ 4058203 h 5929759"/>
              <a:gd name="connsiteX553" fmla="*/ 1085590 w 9490364"/>
              <a:gd name="connsiteY553" fmla="*/ 4005056 h 5929759"/>
              <a:gd name="connsiteX554" fmla="*/ 1108392 w 9490364"/>
              <a:gd name="connsiteY554" fmla="*/ 3946846 h 5929759"/>
              <a:gd name="connsiteX555" fmla="*/ 1098258 w 9490364"/>
              <a:gd name="connsiteY555" fmla="*/ 3941784 h 5929759"/>
              <a:gd name="connsiteX556" fmla="*/ 798042 w 9490364"/>
              <a:gd name="connsiteY556" fmla="*/ 3905087 h 5929759"/>
              <a:gd name="connsiteX557" fmla="*/ 700504 w 9490364"/>
              <a:gd name="connsiteY557" fmla="*/ 3906352 h 5929759"/>
              <a:gd name="connsiteX558" fmla="*/ 668835 w 9490364"/>
              <a:gd name="connsiteY558" fmla="*/ 3878513 h 5929759"/>
              <a:gd name="connsiteX559" fmla="*/ 694171 w 9490364"/>
              <a:gd name="connsiteY559" fmla="*/ 3878513 h 5929759"/>
              <a:gd name="connsiteX560" fmla="*/ 894314 w 9490364"/>
              <a:gd name="connsiteY560" fmla="*/ 3822835 h 5929759"/>
              <a:gd name="connsiteX561" fmla="*/ 966518 w 9490364"/>
              <a:gd name="connsiteY561" fmla="*/ 3758298 h 5929759"/>
              <a:gd name="connsiteX562" fmla="*/ 970318 w 9490364"/>
              <a:gd name="connsiteY562" fmla="*/ 3625429 h 5929759"/>
              <a:gd name="connsiteX563" fmla="*/ 951317 w 9490364"/>
              <a:gd name="connsiteY563" fmla="*/ 3625429 h 5929759"/>
              <a:gd name="connsiteX564" fmla="*/ 732172 w 9490364"/>
              <a:gd name="connsiteY564" fmla="*/ 3711478 h 5929759"/>
              <a:gd name="connsiteX565" fmla="*/ 673902 w 9490364"/>
              <a:gd name="connsiteY565" fmla="*/ 3762094 h 5929759"/>
              <a:gd name="connsiteX566" fmla="*/ 643501 w 9490364"/>
              <a:gd name="connsiteY566" fmla="*/ 3843081 h 5929759"/>
              <a:gd name="connsiteX567" fmla="*/ 619432 w 9490364"/>
              <a:gd name="connsiteY567" fmla="*/ 3881044 h 5929759"/>
              <a:gd name="connsiteX568" fmla="*/ 642234 w 9490364"/>
              <a:gd name="connsiteY568" fmla="*/ 3900025 h 5929759"/>
              <a:gd name="connsiteX569" fmla="*/ 659969 w 9490364"/>
              <a:gd name="connsiteY569" fmla="*/ 3920272 h 5929759"/>
              <a:gd name="connsiteX570" fmla="*/ 608032 w 9490364"/>
              <a:gd name="connsiteY570" fmla="*/ 3907618 h 5929759"/>
              <a:gd name="connsiteX571" fmla="*/ 572564 w 9490364"/>
              <a:gd name="connsiteY571" fmla="*/ 3838020 h 5929759"/>
              <a:gd name="connsiteX572" fmla="*/ 604232 w 9490364"/>
              <a:gd name="connsiteY572" fmla="*/ 3777280 h 5929759"/>
              <a:gd name="connsiteX573" fmla="*/ 722039 w 9490364"/>
              <a:gd name="connsiteY573" fmla="*/ 3655799 h 5929759"/>
              <a:gd name="connsiteX574" fmla="*/ 749907 w 9490364"/>
              <a:gd name="connsiteY574" fmla="*/ 3641879 h 5929759"/>
              <a:gd name="connsiteX575" fmla="*/ 874047 w 9490364"/>
              <a:gd name="connsiteY575" fmla="*/ 3587467 h 5929759"/>
              <a:gd name="connsiteX576" fmla="*/ 948784 w 9490364"/>
              <a:gd name="connsiteY576" fmla="*/ 3535584 h 5929759"/>
              <a:gd name="connsiteX577" fmla="*/ 970318 w 9490364"/>
              <a:gd name="connsiteY577" fmla="*/ 3448270 h 5929759"/>
              <a:gd name="connsiteX578" fmla="*/ 986786 w 9490364"/>
              <a:gd name="connsiteY578" fmla="*/ 3420431 h 5929759"/>
              <a:gd name="connsiteX579" fmla="*/ 932316 w 9490364"/>
              <a:gd name="connsiteY579" fmla="*/ 3400184 h 5929759"/>
              <a:gd name="connsiteX580" fmla="*/ 939916 w 9490364"/>
              <a:gd name="connsiteY580" fmla="*/ 3387530 h 5929759"/>
              <a:gd name="connsiteX581" fmla="*/ 914582 w 9490364"/>
              <a:gd name="connsiteY581" fmla="*/ 3357160 h 5929759"/>
              <a:gd name="connsiteX582" fmla="*/ 838577 w 9490364"/>
              <a:gd name="connsiteY582" fmla="*/ 3371080 h 5929759"/>
              <a:gd name="connsiteX583" fmla="*/ 804376 w 9490364"/>
              <a:gd name="connsiteY583" fmla="*/ 3349568 h 5929759"/>
              <a:gd name="connsiteX584" fmla="*/ 794242 w 9490364"/>
              <a:gd name="connsiteY584" fmla="*/ 3320463 h 5929759"/>
              <a:gd name="connsiteX585" fmla="*/ 761307 w 9490364"/>
              <a:gd name="connsiteY585" fmla="*/ 3376141 h 5929759"/>
              <a:gd name="connsiteX586" fmla="*/ 728372 w 9490364"/>
              <a:gd name="connsiteY586" fmla="*/ 3428024 h 5929759"/>
              <a:gd name="connsiteX587" fmla="*/ 770174 w 9490364"/>
              <a:gd name="connsiteY587" fmla="*/ 3438147 h 5929759"/>
              <a:gd name="connsiteX588" fmla="*/ 811977 w 9490364"/>
              <a:gd name="connsiteY588" fmla="*/ 3378672 h 5929759"/>
              <a:gd name="connsiteX589" fmla="*/ 808176 w 9490364"/>
              <a:gd name="connsiteY589" fmla="*/ 3412838 h 5929759"/>
              <a:gd name="connsiteX590" fmla="*/ 838577 w 9490364"/>
              <a:gd name="connsiteY590" fmla="*/ 3407777 h 5929759"/>
              <a:gd name="connsiteX591" fmla="*/ 872779 w 9490364"/>
              <a:gd name="connsiteY591" fmla="*/ 3400184 h 5929759"/>
              <a:gd name="connsiteX592" fmla="*/ 894314 w 9490364"/>
              <a:gd name="connsiteY592" fmla="*/ 3402715 h 5929759"/>
              <a:gd name="connsiteX593" fmla="*/ 924716 w 9490364"/>
              <a:gd name="connsiteY593" fmla="*/ 3412838 h 5929759"/>
              <a:gd name="connsiteX594" fmla="*/ 948784 w 9490364"/>
              <a:gd name="connsiteY594" fmla="*/ 3417900 h 5929759"/>
              <a:gd name="connsiteX595" fmla="*/ 950050 w 9490364"/>
              <a:gd name="connsiteY595" fmla="*/ 3424227 h 5929759"/>
              <a:gd name="connsiteX596" fmla="*/ 924716 w 9490364"/>
              <a:gd name="connsiteY596" fmla="*/ 3439412 h 5929759"/>
              <a:gd name="connsiteX597" fmla="*/ 875313 w 9490364"/>
              <a:gd name="connsiteY597" fmla="*/ 3455863 h 5929759"/>
              <a:gd name="connsiteX598" fmla="*/ 673902 w 9490364"/>
              <a:gd name="connsiteY598" fmla="*/ 3440678 h 5929759"/>
              <a:gd name="connsiteX599" fmla="*/ 646034 w 9490364"/>
              <a:gd name="connsiteY599" fmla="*/ 3417900 h 5929759"/>
              <a:gd name="connsiteX600" fmla="*/ 611833 w 9490364"/>
              <a:gd name="connsiteY600" fmla="*/ 3400184 h 5929759"/>
              <a:gd name="connsiteX601" fmla="*/ 596631 w 9490364"/>
              <a:gd name="connsiteY601" fmla="*/ 3398919 h 5929759"/>
              <a:gd name="connsiteX602" fmla="*/ 595365 w 9490364"/>
              <a:gd name="connsiteY602" fmla="*/ 3392592 h 5929759"/>
              <a:gd name="connsiteX603" fmla="*/ 620700 w 9490364"/>
              <a:gd name="connsiteY603" fmla="*/ 3383733 h 5929759"/>
              <a:gd name="connsiteX604" fmla="*/ 639701 w 9490364"/>
              <a:gd name="connsiteY604" fmla="*/ 3379937 h 5929759"/>
              <a:gd name="connsiteX605" fmla="*/ 667569 w 9490364"/>
              <a:gd name="connsiteY605" fmla="*/ 3312871 h 5929759"/>
              <a:gd name="connsiteX606" fmla="*/ 654902 w 9490364"/>
              <a:gd name="connsiteY606" fmla="*/ 3296420 h 5929759"/>
              <a:gd name="connsiteX607" fmla="*/ 581431 w 9490364"/>
              <a:gd name="connsiteY607" fmla="*/ 3250865 h 5929759"/>
              <a:gd name="connsiteX608" fmla="*/ 558630 w 9490364"/>
              <a:gd name="connsiteY608" fmla="*/ 3244538 h 5929759"/>
              <a:gd name="connsiteX609" fmla="*/ 530762 w 9490364"/>
              <a:gd name="connsiteY609" fmla="*/ 3226821 h 5929759"/>
              <a:gd name="connsiteX610" fmla="*/ 570030 w 9490364"/>
              <a:gd name="connsiteY610" fmla="*/ 3192656 h 5929759"/>
              <a:gd name="connsiteX611" fmla="*/ 597899 w 9490364"/>
              <a:gd name="connsiteY611" fmla="*/ 3144569 h 5929759"/>
              <a:gd name="connsiteX612" fmla="*/ 609299 w 9490364"/>
              <a:gd name="connsiteY612" fmla="*/ 3110403 h 5929759"/>
              <a:gd name="connsiteX613" fmla="*/ 409155 w 9490364"/>
              <a:gd name="connsiteY613" fmla="*/ 3133181 h 5929759"/>
              <a:gd name="connsiteX614" fmla="*/ 420556 w 9490364"/>
              <a:gd name="connsiteY614" fmla="*/ 3095218 h 5929759"/>
              <a:gd name="connsiteX615" fmla="*/ 362286 w 9490364"/>
              <a:gd name="connsiteY615" fmla="*/ 3102810 h 5929759"/>
              <a:gd name="connsiteX616" fmla="*/ 366086 w 9490364"/>
              <a:gd name="connsiteY616" fmla="*/ 3109137 h 5929759"/>
              <a:gd name="connsiteX617" fmla="*/ 371153 w 9490364"/>
              <a:gd name="connsiteY617" fmla="*/ 3131915 h 5929759"/>
              <a:gd name="connsiteX618" fmla="*/ 344551 w 9490364"/>
              <a:gd name="connsiteY618" fmla="*/ 3131915 h 5929759"/>
              <a:gd name="connsiteX619" fmla="*/ 321750 w 9490364"/>
              <a:gd name="connsiteY619" fmla="*/ 3125588 h 5929759"/>
              <a:gd name="connsiteX620" fmla="*/ 300216 w 9490364"/>
              <a:gd name="connsiteY620" fmla="*/ 3124323 h 5929759"/>
              <a:gd name="connsiteX621" fmla="*/ 315417 w 9490364"/>
              <a:gd name="connsiteY621" fmla="*/ 3105341 h 5929759"/>
              <a:gd name="connsiteX622" fmla="*/ 333151 w 9490364"/>
              <a:gd name="connsiteY622" fmla="*/ 3106607 h 5929759"/>
              <a:gd name="connsiteX623" fmla="*/ 344551 w 9490364"/>
              <a:gd name="connsiteY623" fmla="*/ 3088891 h 5929759"/>
              <a:gd name="connsiteX624" fmla="*/ 309083 w 9490364"/>
              <a:gd name="connsiteY624" fmla="*/ 3087626 h 5929759"/>
              <a:gd name="connsiteX625" fmla="*/ 350886 w 9490364"/>
              <a:gd name="connsiteY625" fmla="*/ 3049663 h 5929759"/>
              <a:gd name="connsiteX626" fmla="*/ 305283 w 9490364"/>
              <a:gd name="connsiteY626" fmla="*/ 3037009 h 5929759"/>
              <a:gd name="connsiteX627" fmla="*/ 292615 w 9490364"/>
              <a:gd name="connsiteY627" fmla="*/ 3071175 h 5929759"/>
              <a:gd name="connsiteX628" fmla="*/ 286282 w 9490364"/>
              <a:gd name="connsiteY628" fmla="*/ 3096483 h 5929759"/>
              <a:gd name="connsiteX629" fmla="*/ 271081 w 9490364"/>
              <a:gd name="connsiteY629" fmla="*/ 3085095 h 5929759"/>
              <a:gd name="connsiteX630" fmla="*/ 264747 w 9490364"/>
              <a:gd name="connsiteY630" fmla="*/ 3053459 h 5929759"/>
              <a:gd name="connsiteX631" fmla="*/ 274881 w 9490364"/>
              <a:gd name="connsiteY631" fmla="*/ 3033213 h 5929759"/>
              <a:gd name="connsiteX632" fmla="*/ 281215 w 9490364"/>
              <a:gd name="connsiteY632" fmla="*/ 3006639 h 5929759"/>
              <a:gd name="connsiteX633" fmla="*/ 231812 w 9490364"/>
              <a:gd name="connsiteY633" fmla="*/ 2918059 h 5929759"/>
              <a:gd name="connsiteX634" fmla="*/ 141874 w 9490364"/>
              <a:gd name="connsiteY634" fmla="*/ 2916794 h 5929759"/>
              <a:gd name="connsiteX635" fmla="*/ 38002 w 9490364"/>
              <a:gd name="connsiteY635" fmla="*/ 2911732 h 5929759"/>
              <a:gd name="connsiteX636" fmla="*/ 0 w 9490364"/>
              <a:gd name="connsiteY636" fmla="*/ 2905405 h 5929759"/>
              <a:gd name="connsiteX637" fmla="*/ 0 w 9490364"/>
              <a:gd name="connsiteY637" fmla="*/ 2778863 h 5929759"/>
              <a:gd name="connsiteX638" fmla="*/ 50670 w 9490364"/>
              <a:gd name="connsiteY638" fmla="*/ 2743431 h 5929759"/>
              <a:gd name="connsiteX639" fmla="*/ 158342 w 9490364"/>
              <a:gd name="connsiteY639" fmla="*/ 2618155 h 5929759"/>
              <a:gd name="connsiteX640" fmla="*/ 190010 w 9490364"/>
              <a:gd name="connsiteY640" fmla="*/ 2628278 h 5929759"/>
              <a:gd name="connsiteX641" fmla="*/ 221679 w 9490364"/>
              <a:gd name="connsiteY641" fmla="*/ 2619420 h 5929759"/>
              <a:gd name="connsiteX642" fmla="*/ 230546 w 9490364"/>
              <a:gd name="connsiteY642" fmla="*/ 2601705 h 5929759"/>
              <a:gd name="connsiteX643" fmla="*/ 285016 w 9490364"/>
              <a:gd name="connsiteY643" fmla="*/ 2571334 h 5929759"/>
              <a:gd name="connsiteX644" fmla="*/ 350886 w 9490364"/>
              <a:gd name="connsiteY644" fmla="*/ 2556149 h 5929759"/>
              <a:gd name="connsiteX645" fmla="*/ 357219 w 9490364"/>
              <a:gd name="connsiteY645" fmla="*/ 2551087 h 5929759"/>
              <a:gd name="connsiteX646" fmla="*/ 340752 w 9490364"/>
              <a:gd name="connsiteY646" fmla="*/ 2532106 h 5929759"/>
              <a:gd name="connsiteX647" fmla="*/ 382553 w 9490364"/>
              <a:gd name="connsiteY647" fmla="*/ 2508063 h 5929759"/>
              <a:gd name="connsiteX648" fmla="*/ 444623 w 9490364"/>
              <a:gd name="connsiteY648" fmla="*/ 2475162 h 5929759"/>
              <a:gd name="connsiteX649" fmla="*/ 469959 w 9490364"/>
              <a:gd name="connsiteY649" fmla="*/ 2443526 h 5929759"/>
              <a:gd name="connsiteX650" fmla="*/ 430690 w 9490364"/>
              <a:gd name="connsiteY650" fmla="*/ 2437200 h 5929759"/>
              <a:gd name="connsiteX651" fmla="*/ 374954 w 9490364"/>
              <a:gd name="connsiteY651" fmla="*/ 2443526 h 5929759"/>
              <a:gd name="connsiteX652" fmla="*/ 367352 w 9490364"/>
              <a:gd name="connsiteY652" fmla="*/ 2439730 h 5929759"/>
              <a:gd name="connsiteX653" fmla="*/ 369887 w 9490364"/>
              <a:gd name="connsiteY653" fmla="*/ 2425811 h 5929759"/>
              <a:gd name="connsiteX654" fmla="*/ 350886 w 9490364"/>
              <a:gd name="connsiteY654" fmla="*/ 2423280 h 5929759"/>
              <a:gd name="connsiteX655" fmla="*/ 355953 w 9490364"/>
              <a:gd name="connsiteY655" fmla="*/ 2386583 h 5929759"/>
              <a:gd name="connsiteX656" fmla="*/ 319217 w 9490364"/>
              <a:gd name="connsiteY656" fmla="*/ 2394175 h 5929759"/>
              <a:gd name="connsiteX657" fmla="*/ 288816 w 9490364"/>
              <a:gd name="connsiteY657" fmla="*/ 2408095 h 5929759"/>
              <a:gd name="connsiteX658" fmla="*/ 343285 w 9490364"/>
              <a:gd name="connsiteY658" fmla="*/ 2449855 h 5929759"/>
              <a:gd name="connsiteX659" fmla="*/ 293882 w 9490364"/>
              <a:gd name="connsiteY659" fmla="*/ 2462508 h 5929759"/>
              <a:gd name="connsiteX660" fmla="*/ 272348 w 9490364"/>
              <a:gd name="connsiteY660" fmla="*/ 2475162 h 5929759"/>
              <a:gd name="connsiteX661" fmla="*/ 255881 w 9490364"/>
              <a:gd name="connsiteY661" fmla="*/ 2475162 h 5929759"/>
              <a:gd name="connsiteX662" fmla="*/ 282481 w 9490364"/>
              <a:gd name="connsiteY662" fmla="*/ 2454916 h 5929759"/>
              <a:gd name="connsiteX663" fmla="*/ 278682 w 9490364"/>
              <a:gd name="connsiteY663" fmla="*/ 2428342 h 5929759"/>
              <a:gd name="connsiteX664" fmla="*/ 248280 w 9490364"/>
              <a:gd name="connsiteY664" fmla="*/ 2440996 h 5929759"/>
              <a:gd name="connsiteX665" fmla="*/ 122873 w 9490364"/>
              <a:gd name="connsiteY665" fmla="*/ 2492878 h 5929759"/>
              <a:gd name="connsiteX666" fmla="*/ 0 w 9490364"/>
              <a:gd name="connsiteY666" fmla="*/ 2503002 h 5929759"/>
              <a:gd name="connsiteX667" fmla="*/ 0 w 9490364"/>
              <a:gd name="connsiteY667" fmla="*/ 2439730 h 5929759"/>
              <a:gd name="connsiteX668" fmla="*/ 34202 w 9490364"/>
              <a:gd name="connsiteY668" fmla="*/ 2463774 h 5929759"/>
              <a:gd name="connsiteX669" fmla="*/ 12667 w 9490364"/>
              <a:gd name="connsiteY669" fmla="*/ 2478958 h 5929759"/>
              <a:gd name="connsiteX670" fmla="*/ 87405 w 9490364"/>
              <a:gd name="connsiteY670" fmla="*/ 2478958 h 5929759"/>
              <a:gd name="connsiteX671" fmla="*/ 58270 w 9490364"/>
              <a:gd name="connsiteY671" fmla="*/ 2448588 h 5929759"/>
              <a:gd name="connsiteX672" fmla="*/ 0 w 9490364"/>
              <a:gd name="connsiteY672" fmla="*/ 2428342 h 5929759"/>
              <a:gd name="connsiteX673" fmla="*/ 0 w 9490364"/>
              <a:gd name="connsiteY673" fmla="*/ 2422015 h 5929759"/>
              <a:gd name="connsiteX674" fmla="*/ 35468 w 9490364"/>
              <a:gd name="connsiteY674" fmla="*/ 2411892 h 5929759"/>
              <a:gd name="connsiteX675" fmla="*/ 108940 w 9490364"/>
              <a:gd name="connsiteY675" fmla="*/ 2465039 h 5929759"/>
              <a:gd name="connsiteX676" fmla="*/ 83605 w 9490364"/>
              <a:gd name="connsiteY676" fmla="*/ 2419484 h 5929759"/>
              <a:gd name="connsiteX677" fmla="*/ 101339 w 9490364"/>
              <a:gd name="connsiteY677" fmla="*/ 2444792 h 5929759"/>
              <a:gd name="connsiteX678" fmla="*/ 54470 w 9490364"/>
              <a:gd name="connsiteY678" fmla="*/ 2405564 h 5929759"/>
              <a:gd name="connsiteX679" fmla="*/ 82338 w 9490364"/>
              <a:gd name="connsiteY679" fmla="*/ 2360009 h 5929759"/>
              <a:gd name="connsiteX680" fmla="*/ 124140 w 9490364"/>
              <a:gd name="connsiteY680" fmla="*/ 2348620 h 5929759"/>
              <a:gd name="connsiteX681" fmla="*/ 153275 w 9490364"/>
              <a:gd name="connsiteY681" fmla="*/ 2295472 h 5929759"/>
              <a:gd name="connsiteX682" fmla="*/ 124595 w 9490364"/>
              <a:gd name="connsiteY682" fmla="*/ 2262729 h 5929759"/>
              <a:gd name="connsiteX683" fmla="*/ 107672 w 9490364"/>
              <a:gd name="connsiteY683" fmla="*/ 2263837 h 5929759"/>
              <a:gd name="connsiteX684" fmla="*/ 51936 w 9490364"/>
              <a:gd name="connsiteY684" fmla="*/ 2285349 h 5929759"/>
              <a:gd name="connsiteX685" fmla="*/ 43069 w 9490364"/>
              <a:gd name="connsiteY685" fmla="*/ 2382787 h 5929759"/>
              <a:gd name="connsiteX686" fmla="*/ 20268 w 9490364"/>
              <a:gd name="connsiteY686" fmla="*/ 2394175 h 5929759"/>
              <a:gd name="connsiteX687" fmla="*/ 0 w 9490364"/>
              <a:gd name="connsiteY687" fmla="*/ 2353682 h 5929759"/>
              <a:gd name="connsiteX688" fmla="*/ 0 w 9490364"/>
              <a:gd name="connsiteY688" fmla="*/ 2249917 h 5929759"/>
              <a:gd name="connsiteX689" fmla="*/ 13935 w 9490364"/>
              <a:gd name="connsiteY689" fmla="*/ 2248652 h 5929759"/>
              <a:gd name="connsiteX690" fmla="*/ 35468 w 9490364"/>
              <a:gd name="connsiteY690" fmla="*/ 2222079 h 5929759"/>
              <a:gd name="connsiteX691" fmla="*/ 17734 w 9490364"/>
              <a:gd name="connsiteY691" fmla="*/ 2192974 h 5929759"/>
              <a:gd name="connsiteX692" fmla="*/ 0 w 9490364"/>
              <a:gd name="connsiteY692" fmla="*/ 2186647 h 5929759"/>
              <a:gd name="connsiteX693" fmla="*/ 0 w 9490364"/>
              <a:gd name="connsiteY693" fmla="*/ 2139825 h 5929759"/>
              <a:gd name="connsiteX694" fmla="*/ 16468 w 9490364"/>
              <a:gd name="connsiteY694" fmla="*/ 2098067 h 5929759"/>
              <a:gd name="connsiteX695" fmla="*/ 39269 w 9490364"/>
              <a:gd name="connsiteY695" fmla="*/ 2108191 h 5929759"/>
              <a:gd name="connsiteX696" fmla="*/ 0 w 9490364"/>
              <a:gd name="connsiteY696" fmla="*/ 2071494 h 5929759"/>
              <a:gd name="connsiteX697" fmla="*/ 0 w 9490364"/>
              <a:gd name="connsiteY697" fmla="*/ 1766527 h 5929759"/>
              <a:gd name="connsiteX698" fmla="*/ 11401 w 9490364"/>
              <a:gd name="connsiteY698" fmla="*/ 1757669 h 5929759"/>
              <a:gd name="connsiteX699" fmla="*/ 0 w 9490364"/>
              <a:gd name="connsiteY699" fmla="*/ 1743749 h 5929759"/>
              <a:gd name="connsiteX700" fmla="*/ 0 w 9490364"/>
              <a:gd name="connsiteY700" fmla="*/ 1714644 h 5929759"/>
              <a:gd name="connsiteX701" fmla="*/ 34202 w 9490364"/>
              <a:gd name="connsiteY701" fmla="*/ 1729830 h 5929759"/>
              <a:gd name="connsiteX702" fmla="*/ 53204 w 9490364"/>
              <a:gd name="connsiteY702" fmla="*/ 1726034 h 5929759"/>
              <a:gd name="connsiteX703" fmla="*/ 24068 w 9490364"/>
              <a:gd name="connsiteY703" fmla="*/ 1675416 h 5929759"/>
              <a:gd name="connsiteX704" fmla="*/ 0 w 9490364"/>
              <a:gd name="connsiteY704" fmla="*/ 1703256 h 5929759"/>
              <a:gd name="connsiteX705" fmla="*/ 0 w 9490364"/>
              <a:gd name="connsiteY705" fmla="*/ 1495727 h 5929759"/>
              <a:gd name="connsiteX706" fmla="*/ 17734 w 9490364"/>
              <a:gd name="connsiteY706" fmla="*/ 1450172 h 5929759"/>
              <a:gd name="connsiteX707" fmla="*/ 0 w 9490364"/>
              <a:gd name="connsiteY707" fmla="*/ 1455234 h 5929759"/>
              <a:gd name="connsiteX708" fmla="*/ 0 w 9490364"/>
              <a:gd name="connsiteY708" fmla="*/ 966781 h 5929759"/>
              <a:gd name="connsiteX709" fmla="*/ 55736 w 9490364"/>
              <a:gd name="connsiteY709" fmla="*/ 959189 h 5929759"/>
              <a:gd name="connsiteX710" fmla="*/ 45603 w 9490364"/>
              <a:gd name="connsiteY710" fmla="*/ 933880 h 5929759"/>
              <a:gd name="connsiteX711" fmla="*/ 0 w 9490364"/>
              <a:gd name="connsiteY711" fmla="*/ 926288 h 5929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Lst>
            <a:rect l="l" t="t" r="r" b="b"/>
            <a:pathLst>
              <a:path w="9490364" h="5929759">
                <a:moveTo>
                  <a:pt x="0" y="0"/>
                </a:moveTo>
                <a:lnTo>
                  <a:pt x="8036155" y="0"/>
                </a:lnTo>
                <a:cubicBezTo>
                  <a:pt x="8045022" y="3796"/>
                  <a:pt x="8053889" y="7592"/>
                  <a:pt x="8064023" y="11389"/>
                </a:cubicBezTo>
                <a:cubicBezTo>
                  <a:pt x="8072890" y="13919"/>
                  <a:pt x="8080490" y="10123"/>
                  <a:pt x="8081757" y="0"/>
                </a:cubicBezTo>
                <a:lnTo>
                  <a:pt x="8438976" y="0"/>
                </a:lnTo>
                <a:cubicBezTo>
                  <a:pt x="8442776" y="5062"/>
                  <a:pt x="8446576" y="11389"/>
                  <a:pt x="8451643" y="20247"/>
                </a:cubicBezTo>
                <a:cubicBezTo>
                  <a:pt x="8456710" y="10123"/>
                  <a:pt x="8459244" y="5062"/>
                  <a:pt x="8463043" y="0"/>
                </a:cubicBezTo>
                <a:lnTo>
                  <a:pt x="8468110" y="0"/>
                </a:lnTo>
                <a:cubicBezTo>
                  <a:pt x="8479511" y="15185"/>
                  <a:pt x="8494712" y="21513"/>
                  <a:pt x="8512446" y="17716"/>
                </a:cubicBezTo>
                <a:cubicBezTo>
                  <a:pt x="8535247" y="13919"/>
                  <a:pt x="8556782" y="6327"/>
                  <a:pt x="8578316" y="0"/>
                </a:cubicBezTo>
                <a:lnTo>
                  <a:pt x="8641653" y="0"/>
                </a:lnTo>
                <a:cubicBezTo>
                  <a:pt x="8640386" y="11389"/>
                  <a:pt x="8634053" y="15185"/>
                  <a:pt x="8622652" y="16451"/>
                </a:cubicBezTo>
                <a:cubicBezTo>
                  <a:pt x="8613785" y="17716"/>
                  <a:pt x="8604918" y="20247"/>
                  <a:pt x="8593517" y="22778"/>
                </a:cubicBezTo>
                <a:cubicBezTo>
                  <a:pt x="8607451" y="39228"/>
                  <a:pt x="8622652" y="40494"/>
                  <a:pt x="8639120" y="40494"/>
                </a:cubicBezTo>
                <a:cubicBezTo>
                  <a:pt x="8655587" y="40494"/>
                  <a:pt x="8670787" y="40494"/>
                  <a:pt x="8687255" y="40494"/>
                </a:cubicBezTo>
                <a:cubicBezTo>
                  <a:pt x="8694856" y="40494"/>
                  <a:pt x="8701190" y="43024"/>
                  <a:pt x="8707523" y="45555"/>
                </a:cubicBezTo>
                <a:cubicBezTo>
                  <a:pt x="8707523" y="46820"/>
                  <a:pt x="8707523" y="46820"/>
                  <a:pt x="8706257" y="48086"/>
                </a:cubicBezTo>
                <a:cubicBezTo>
                  <a:pt x="8620118" y="53148"/>
                  <a:pt x="8533981" y="58210"/>
                  <a:pt x="8447843" y="63271"/>
                </a:cubicBezTo>
                <a:cubicBezTo>
                  <a:pt x="8454177" y="54414"/>
                  <a:pt x="8461777" y="44290"/>
                  <a:pt x="8469377" y="32901"/>
                </a:cubicBezTo>
                <a:cubicBezTo>
                  <a:pt x="8460510" y="18982"/>
                  <a:pt x="8451643" y="25309"/>
                  <a:pt x="8442776" y="32901"/>
                </a:cubicBezTo>
                <a:cubicBezTo>
                  <a:pt x="8433909" y="41759"/>
                  <a:pt x="8425042" y="49351"/>
                  <a:pt x="8409841" y="43024"/>
                </a:cubicBezTo>
                <a:cubicBezTo>
                  <a:pt x="8409841" y="36697"/>
                  <a:pt x="8408574" y="31636"/>
                  <a:pt x="8407307" y="26574"/>
                </a:cubicBezTo>
                <a:cubicBezTo>
                  <a:pt x="8402240" y="32901"/>
                  <a:pt x="8397174" y="40494"/>
                  <a:pt x="8398440" y="46820"/>
                </a:cubicBezTo>
                <a:cubicBezTo>
                  <a:pt x="8399707" y="56944"/>
                  <a:pt x="8407307" y="56944"/>
                  <a:pt x="8416174" y="55679"/>
                </a:cubicBezTo>
                <a:cubicBezTo>
                  <a:pt x="8426308" y="54414"/>
                  <a:pt x="8432642" y="59475"/>
                  <a:pt x="8435175" y="70864"/>
                </a:cubicBezTo>
                <a:cubicBezTo>
                  <a:pt x="8387040" y="84783"/>
                  <a:pt x="8341437" y="102499"/>
                  <a:pt x="8297102" y="135400"/>
                </a:cubicBezTo>
                <a:cubicBezTo>
                  <a:pt x="8379440" y="153116"/>
                  <a:pt x="8454177" y="167035"/>
                  <a:pt x="8531447" y="167035"/>
                </a:cubicBezTo>
                <a:cubicBezTo>
                  <a:pt x="8609984" y="168301"/>
                  <a:pt x="8684722" y="150585"/>
                  <a:pt x="8753125" y="125277"/>
                </a:cubicBezTo>
                <a:cubicBezTo>
                  <a:pt x="8772126" y="142993"/>
                  <a:pt x="8787327" y="156912"/>
                  <a:pt x="8803795" y="172098"/>
                </a:cubicBezTo>
                <a:cubicBezTo>
                  <a:pt x="8775927" y="174629"/>
                  <a:pt x="8748058" y="174629"/>
                  <a:pt x="8721457" y="178425"/>
                </a:cubicBezTo>
                <a:cubicBezTo>
                  <a:pt x="8689789" y="182221"/>
                  <a:pt x="8658120" y="188548"/>
                  <a:pt x="8627719" y="196140"/>
                </a:cubicBezTo>
                <a:cubicBezTo>
                  <a:pt x="8609984" y="201202"/>
                  <a:pt x="8593517" y="212591"/>
                  <a:pt x="8588450" y="234103"/>
                </a:cubicBezTo>
                <a:cubicBezTo>
                  <a:pt x="8606185" y="248023"/>
                  <a:pt x="8625185" y="253085"/>
                  <a:pt x="8645453" y="251819"/>
                </a:cubicBezTo>
                <a:cubicBezTo>
                  <a:pt x="8668254" y="250554"/>
                  <a:pt x="8691056" y="248023"/>
                  <a:pt x="8713857" y="244226"/>
                </a:cubicBezTo>
                <a:cubicBezTo>
                  <a:pt x="8748058" y="236634"/>
                  <a:pt x="8783527" y="227776"/>
                  <a:pt x="8817728" y="221449"/>
                </a:cubicBezTo>
                <a:cubicBezTo>
                  <a:pt x="8840530" y="216387"/>
                  <a:pt x="8862064" y="217653"/>
                  <a:pt x="8883599" y="227776"/>
                </a:cubicBezTo>
                <a:cubicBezTo>
                  <a:pt x="8881066" y="239164"/>
                  <a:pt x="8878532" y="249288"/>
                  <a:pt x="8877265" y="258146"/>
                </a:cubicBezTo>
                <a:cubicBezTo>
                  <a:pt x="8870932" y="284720"/>
                  <a:pt x="8863331" y="291047"/>
                  <a:pt x="8836730" y="285986"/>
                </a:cubicBezTo>
                <a:cubicBezTo>
                  <a:pt x="8799994" y="278392"/>
                  <a:pt x="8761992" y="279658"/>
                  <a:pt x="8725257" y="287251"/>
                </a:cubicBezTo>
                <a:cubicBezTo>
                  <a:pt x="8665720" y="298640"/>
                  <a:pt x="8611252" y="323947"/>
                  <a:pt x="8561849" y="358114"/>
                </a:cubicBezTo>
                <a:cubicBezTo>
                  <a:pt x="8565649" y="369503"/>
                  <a:pt x="8568182" y="378361"/>
                  <a:pt x="8571983" y="387219"/>
                </a:cubicBezTo>
                <a:cubicBezTo>
                  <a:pt x="8560582" y="391015"/>
                  <a:pt x="8551715" y="394811"/>
                  <a:pt x="8541581" y="397342"/>
                </a:cubicBezTo>
                <a:cubicBezTo>
                  <a:pt x="8558048" y="435304"/>
                  <a:pt x="8560582" y="436570"/>
                  <a:pt x="8579583" y="450490"/>
                </a:cubicBezTo>
                <a:cubicBezTo>
                  <a:pt x="8580849" y="437835"/>
                  <a:pt x="8583383" y="427712"/>
                  <a:pt x="8584650" y="418854"/>
                </a:cubicBezTo>
                <a:cubicBezTo>
                  <a:pt x="8590984" y="416324"/>
                  <a:pt x="8601118" y="413793"/>
                  <a:pt x="8602384" y="409997"/>
                </a:cubicBezTo>
                <a:cubicBezTo>
                  <a:pt x="8604918" y="404935"/>
                  <a:pt x="8599851" y="396076"/>
                  <a:pt x="8596051" y="391015"/>
                </a:cubicBezTo>
                <a:cubicBezTo>
                  <a:pt x="8593517" y="384688"/>
                  <a:pt x="8588450" y="380892"/>
                  <a:pt x="8584650" y="375830"/>
                </a:cubicBezTo>
                <a:cubicBezTo>
                  <a:pt x="8618852" y="353052"/>
                  <a:pt x="8647986" y="356848"/>
                  <a:pt x="8682188" y="384688"/>
                </a:cubicBezTo>
                <a:cubicBezTo>
                  <a:pt x="8718924" y="415058"/>
                  <a:pt x="8744258" y="458082"/>
                  <a:pt x="8789860" y="477063"/>
                </a:cubicBezTo>
                <a:cubicBezTo>
                  <a:pt x="8777193" y="499841"/>
                  <a:pt x="8767059" y="518822"/>
                  <a:pt x="8758193" y="539069"/>
                </a:cubicBezTo>
                <a:cubicBezTo>
                  <a:pt x="8753125" y="549192"/>
                  <a:pt x="8748058" y="554254"/>
                  <a:pt x="8737924" y="556785"/>
                </a:cubicBezTo>
                <a:cubicBezTo>
                  <a:pt x="8710056" y="563113"/>
                  <a:pt x="8682188" y="571970"/>
                  <a:pt x="8654320" y="578297"/>
                </a:cubicBezTo>
                <a:cubicBezTo>
                  <a:pt x="8635319" y="582093"/>
                  <a:pt x="8615051" y="583359"/>
                  <a:pt x="8596051" y="579563"/>
                </a:cubicBezTo>
                <a:cubicBezTo>
                  <a:pt x="8596051" y="575766"/>
                  <a:pt x="8596051" y="575766"/>
                  <a:pt x="8596051" y="574501"/>
                </a:cubicBezTo>
                <a:cubicBezTo>
                  <a:pt x="8598584" y="573236"/>
                  <a:pt x="8601118" y="570705"/>
                  <a:pt x="8602384" y="569440"/>
                </a:cubicBezTo>
                <a:cubicBezTo>
                  <a:pt x="8621385" y="551723"/>
                  <a:pt x="8621385" y="550458"/>
                  <a:pt x="8606185" y="530211"/>
                </a:cubicBezTo>
                <a:cubicBezTo>
                  <a:pt x="8602384" y="525150"/>
                  <a:pt x="8599851" y="520088"/>
                  <a:pt x="8599851" y="515026"/>
                </a:cubicBezTo>
                <a:cubicBezTo>
                  <a:pt x="8599851" y="494780"/>
                  <a:pt x="8601118" y="474532"/>
                  <a:pt x="8601118" y="453021"/>
                </a:cubicBezTo>
                <a:cubicBezTo>
                  <a:pt x="8578316" y="463144"/>
                  <a:pt x="8575782" y="485922"/>
                  <a:pt x="8565649" y="504903"/>
                </a:cubicBezTo>
                <a:cubicBezTo>
                  <a:pt x="8569449" y="508699"/>
                  <a:pt x="8573249" y="509964"/>
                  <a:pt x="8575782" y="513760"/>
                </a:cubicBezTo>
                <a:cubicBezTo>
                  <a:pt x="8577050" y="516291"/>
                  <a:pt x="8578316" y="518822"/>
                  <a:pt x="8582116" y="523884"/>
                </a:cubicBezTo>
                <a:cubicBezTo>
                  <a:pt x="8492178" y="563113"/>
                  <a:pt x="8397174" y="563113"/>
                  <a:pt x="8302169" y="570705"/>
                </a:cubicBezTo>
                <a:cubicBezTo>
                  <a:pt x="8294569" y="555519"/>
                  <a:pt x="8288234" y="542865"/>
                  <a:pt x="8280634" y="528946"/>
                </a:cubicBezTo>
                <a:cubicBezTo>
                  <a:pt x="8276834" y="521354"/>
                  <a:pt x="8273034" y="513760"/>
                  <a:pt x="8266701" y="507434"/>
                </a:cubicBezTo>
                <a:cubicBezTo>
                  <a:pt x="8265433" y="504903"/>
                  <a:pt x="8255300" y="503637"/>
                  <a:pt x="8255300" y="504903"/>
                </a:cubicBezTo>
                <a:cubicBezTo>
                  <a:pt x="8252766" y="509964"/>
                  <a:pt x="8250233" y="516291"/>
                  <a:pt x="8252766" y="520088"/>
                </a:cubicBezTo>
                <a:cubicBezTo>
                  <a:pt x="8254032" y="525150"/>
                  <a:pt x="8259099" y="530211"/>
                  <a:pt x="8264167" y="535273"/>
                </a:cubicBezTo>
                <a:cubicBezTo>
                  <a:pt x="8219831" y="536538"/>
                  <a:pt x="8219831" y="536538"/>
                  <a:pt x="8212231" y="549192"/>
                </a:cubicBezTo>
                <a:cubicBezTo>
                  <a:pt x="8229965" y="551723"/>
                  <a:pt x="8229965" y="551723"/>
                  <a:pt x="8241365" y="563113"/>
                </a:cubicBezTo>
                <a:cubicBezTo>
                  <a:pt x="8208430" y="565643"/>
                  <a:pt x="8193230" y="585890"/>
                  <a:pt x="8184363" y="613729"/>
                </a:cubicBezTo>
                <a:cubicBezTo>
                  <a:pt x="8176762" y="636507"/>
                  <a:pt x="8165362" y="655488"/>
                  <a:pt x="8136226" y="651692"/>
                </a:cubicBezTo>
                <a:cubicBezTo>
                  <a:pt x="8136226" y="651692"/>
                  <a:pt x="8134960" y="655488"/>
                  <a:pt x="8131160" y="658019"/>
                </a:cubicBezTo>
                <a:cubicBezTo>
                  <a:pt x="8150161" y="682062"/>
                  <a:pt x="8169161" y="706104"/>
                  <a:pt x="8188163" y="731413"/>
                </a:cubicBezTo>
                <a:cubicBezTo>
                  <a:pt x="8202097" y="721290"/>
                  <a:pt x="8199564" y="713698"/>
                  <a:pt x="8191963" y="706104"/>
                </a:cubicBezTo>
                <a:cubicBezTo>
                  <a:pt x="8183096" y="697247"/>
                  <a:pt x="8171695" y="692185"/>
                  <a:pt x="8175495" y="675735"/>
                </a:cubicBezTo>
                <a:cubicBezTo>
                  <a:pt x="8184363" y="671938"/>
                  <a:pt x="8193230" y="664346"/>
                  <a:pt x="8203363" y="661815"/>
                </a:cubicBezTo>
                <a:cubicBezTo>
                  <a:pt x="8240099" y="654222"/>
                  <a:pt x="8278101" y="649161"/>
                  <a:pt x="8316102" y="642834"/>
                </a:cubicBezTo>
                <a:cubicBezTo>
                  <a:pt x="8319903" y="641569"/>
                  <a:pt x="8322437" y="639038"/>
                  <a:pt x="8327503" y="635242"/>
                </a:cubicBezTo>
                <a:cubicBezTo>
                  <a:pt x="8317370" y="628914"/>
                  <a:pt x="8308502" y="623852"/>
                  <a:pt x="8298368" y="617525"/>
                </a:cubicBezTo>
                <a:cubicBezTo>
                  <a:pt x="8328770" y="607402"/>
                  <a:pt x="8355371" y="601075"/>
                  <a:pt x="8385773" y="608668"/>
                </a:cubicBezTo>
                <a:cubicBezTo>
                  <a:pt x="8416174" y="616260"/>
                  <a:pt x="8421241" y="625118"/>
                  <a:pt x="8408574" y="655488"/>
                </a:cubicBezTo>
                <a:cubicBezTo>
                  <a:pt x="8407307" y="658019"/>
                  <a:pt x="8404774" y="660549"/>
                  <a:pt x="8400973" y="665611"/>
                </a:cubicBezTo>
                <a:cubicBezTo>
                  <a:pt x="8379440" y="646630"/>
                  <a:pt x="8360438" y="658019"/>
                  <a:pt x="8341437" y="671938"/>
                </a:cubicBezTo>
                <a:cubicBezTo>
                  <a:pt x="8313569" y="692185"/>
                  <a:pt x="8284435" y="711167"/>
                  <a:pt x="8248965" y="714963"/>
                </a:cubicBezTo>
                <a:cubicBezTo>
                  <a:pt x="8241365" y="739005"/>
                  <a:pt x="8266701" y="750395"/>
                  <a:pt x="8267967" y="771907"/>
                </a:cubicBezTo>
                <a:cubicBezTo>
                  <a:pt x="8256566" y="770641"/>
                  <a:pt x="8245166" y="768110"/>
                  <a:pt x="8232498" y="766845"/>
                </a:cubicBezTo>
                <a:cubicBezTo>
                  <a:pt x="8233765" y="778233"/>
                  <a:pt x="8235032" y="788357"/>
                  <a:pt x="8236298" y="799746"/>
                </a:cubicBezTo>
                <a:cubicBezTo>
                  <a:pt x="8250233" y="799746"/>
                  <a:pt x="8261633" y="799746"/>
                  <a:pt x="8273034" y="799746"/>
                </a:cubicBezTo>
                <a:cubicBezTo>
                  <a:pt x="8284435" y="799746"/>
                  <a:pt x="8295835" y="801011"/>
                  <a:pt x="8304702" y="797215"/>
                </a:cubicBezTo>
                <a:cubicBezTo>
                  <a:pt x="8312303" y="792154"/>
                  <a:pt x="8317370" y="780764"/>
                  <a:pt x="8324970" y="773172"/>
                </a:cubicBezTo>
                <a:cubicBezTo>
                  <a:pt x="8341437" y="780764"/>
                  <a:pt x="8345238" y="793419"/>
                  <a:pt x="8343970" y="811134"/>
                </a:cubicBezTo>
                <a:cubicBezTo>
                  <a:pt x="8342704" y="821258"/>
                  <a:pt x="8341437" y="831382"/>
                  <a:pt x="8341437" y="841505"/>
                </a:cubicBezTo>
                <a:cubicBezTo>
                  <a:pt x="8352838" y="827585"/>
                  <a:pt x="8362972" y="814931"/>
                  <a:pt x="8373106" y="803542"/>
                </a:cubicBezTo>
                <a:cubicBezTo>
                  <a:pt x="8384507" y="790888"/>
                  <a:pt x="8388306" y="779499"/>
                  <a:pt x="8380706" y="765580"/>
                </a:cubicBezTo>
                <a:cubicBezTo>
                  <a:pt x="8331303" y="773172"/>
                  <a:pt x="8330037" y="771907"/>
                  <a:pt x="8322437" y="744067"/>
                </a:cubicBezTo>
                <a:cubicBezTo>
                  <a:pt x="8323703" y="744067"/>
                  <a:pt x="8324970" y="742802"/>
                  <a:pt x="8327503" y="742802"/>
                </a:cubicBezTo>
                <a:cubicBezTo>
                  <a:pt x="8456710" y="739005"/>
                  <a:pt x="8585916" y="730148"/>
                  <a:pt x="8715123" y="742802"/>
                </a:cubicBezTo>
                <a:cubicBezTo>
                  <a:pt x="8773393" y="747863"/>
                  <a:pt x="8830396" y="757987"/>
                  <a:pt x="8884865" y="776968"/>
                </a:cubicBezTo>
                <a:cubicBezTo>
                  <a:pt x="8893733" y="779499"/>
                  <a:pt x="8902600" y="784560"/>
                  <a:pt x="8912733" y="788357"/>
                </a:cubicBezTo>
                <a:cubicBezTo>
                  <a:pt x="8897533" y="801011"/>
                  <a:pt x="8878532" y="803542"/>
                  <a:pt x="8878532" y="827585"/>
                </a:cubicBezTo>
                <a:cubicBezTo>
                  <a:pt x="8903867" y="832647"/>
                  <a:pt x="8929201" y="837709"/>
                  <a:pt x="8955803" y="838974"/>
                </a:cubicBezTo>
                <a:cubicBezTo>
                  <a:pt x="8984937" y="841505"/>
                  <a:pt x="9015339" y="841505"/>
                  <a:pt x="9044474" y="840239"/>
                </a:cubicBezTo>
                <a:cubicBezTo>
                  <a:pt x="9066009" y="840239"/>
                  <a:pt x="9078676" y="850363"/>
                  <a:pt x="9085010" y="869344"/>
                </a:cubicBezTo>
                <a:cubicBezTo>
                  <a:pt x="9090077" y="885794"/>
                  <a:pt x="9093876" y="902244"/>
                  <a:pt x="9100211" y="922492"/>
                </a:cubicBezTo>
                <a:cubicBezTo>
                  <a:pt x="9124278" y="921226"/>
                  <a:pt x="9147079" y="918695"/>
                  <a:pt x="9171147" y="918695"/>
                </a:cubicBezTo>
                <a:cubicBezTo>
                  <a:pt x="9191415" y="917430"/>
                  <a:pt x="9211682" y="918695"/>
                  <a:pt x="9230684" y="921226"/>
                </a:cubicBezTo>
                <a:cubicBezTo>
                  <a:pt x="9240818" y="923757"/>
                  <a:pt x="9253485" y="927553"/>
                  <a:pt x="9257285" y="942739"/>
                </a:cubicBezTo>
                <a:cubicBezTo>
                  <a:pt x="9244617" y="944004"/>
                  <a:pt x="9233217" y="947800"/>
                  <a:pt x="9221816" y="947800"/>
                </a:cubicBezTo>
                <a:cubicBezTo>
                  <a:pt x="9204082" y="947800"/>
                  <a:pt x="9187615" y="945269"/>
                  <a:pt x="9169881" y="944004"/>
                </a:cubicBezTo>
                <a:cubicBezTo>
                  <a:pt x="9139479" y="942739"/>
                  <a:pt x="9111611" y="950331"/>
                  <a:pt x="9088810" y="970577"/>
                </a:cubicBezTo>
                <a:cubicBezTo>
                  <a:pt x="9093876" y="994621"/>
                  <a:pt x="9096410" y="1016132"/>
                  <a:pt x="9101477" y="1037645"/>
                </a:cubicBezTo>
                <a:cubicBezTo>
                  <a:pt x="9105277" y="1056626"/>
                  <a:pt x="9114144" y="1073077"/>
                  <a:pt x="9134412" y="1079404"/>
                </a:cubicBezTo>
                <a:cubicBezTo>
                  <a:pt x="9159746" y="1060423"/>
                  <a:pt x="9138212" y="1033849"/>
                  <a:pt x="9147079" y="1009805"/>
                </a:cubicBezTo>
                <a:cubicBezTo>
                  <a:pt x="9162280" y="1022460"/>
                  <a:pt x="9166080" y="1036380"/>
                  <a:pt x="9162280" y="1052830"/>
                </a:cubicBezTo>
                <a:cubicBezTo>
                  <a:pt x="9161013" y="1064219"/>
                  <a:pt x="9157213" y="1076873"/>
                  <a:pt x="9168614" y="1088261"/>
                </a:cubicBezTo>
                <a:cubicBezTo>
                  <a:pt x="9218017" y="1068015"/>
                  <a:pt x="9245885" y="1021194"/>
                  <a:pt x="9291487" y="994621"/>
                </a:cubicBezTo>
                <a:cubicBezTo>
                  <a:pt x="9299087" y="1011071"/>
                  <a:pt x="9294020" y="1022460"/>
                  <a:pt x="9285153" y="1033849"/>
                </a:cubicBezTo>
                <a:cubicBezTo>
                  <a:pt x="9278819" y="1042706"/>
                  <a:pt x="9271219" y="1051564"/>
                  <a:pt x="9263619" y="1060423"/>
                </a:cubicBezTo>
                <a:cubicBezTo>
                  <a:pt x="9252219" y="1074342"/>
                  <a:pt x="9247152" y="1088261"/>
                  <a:pt x="9257285" y="1105978"/>
                </a:cubicBezTo>
                <a:cubicBezTo>
                  <a:pt x="9258552" y="1109774"/>
                  <a:pt x="9259819" y="1113570"/>
                  <a:pt x="9261085" y="1122428"/>
                </a:cubicBezTo>
                <a:cubicBezTo>
                  <a:pt x="9238284" y="1122428"/>
                  <a:pt x="9218017" y="1122428"/>
                  <a:pt x="9196482" y="1122428"/>
                </a:cubicBezTo>
                <a:cubicBezTo>
                  <a:pt x="9224350" y="1130020"/>
                  <a:pt x="9249685" y="1137614"/>
                  <a:pt x="9273752" y="1146471"/>
                </a:cubicBezTo>
                <a:cubicBezTo>
                  <a:pt x="9296554" y="1155329"/>
                  <a:pt x="9316821" y="1167983"/>
                  <a:pt x="9339623" y="1150267"/>
                </a:cubicBezTo>
                <a:cubicBezTo>
                  <a:pt x="9356090" y="1171779"/>
                  <a:pt x="9320622" y="1180638"/>
                  <a:pt x="9329489" y="1202149"/>
                </a:cubicBezTo>
                <a:cubicBezTo>
                  <a:pt x="9342157" y="1181903"/>
                  <a:pt x="9363690" y="1170514"/>
                  <a:pt x="9362424" y="1145206"/>
                </a:cubicBezTo>
                <a:cubicBezTo>
                  <a:pt x="9345956" y="1131286"/>
                  <a:pt x="9326956" y="1131286"/>
                  <a:pt x="9309221" y="1132551"/>
                </a:cubicBezTo>
                <a:cubicBezTo>
                  <a:pt x="9294020" y="1133816"/>
                  <a:pt x="9282620" y="1131286"/>
                  <a:pt x="9278819" y="1112305"/>
                </a:cubicBezTo>
                <a:cubicBezTo>
                  <a:pt x="9304154" y="1100916"/>
                  <a:pt x="9311754" y="1065484"/>
                  <a:pt x="9342157" y="1060423"/>
                </a:cubicBezTo>
                <a:cubicBezTo>
                  <a:pt x="9367491" y="1076873"/>
                  <a:pt x="9389025" y="1092058"/>
                  <a:pt x="9413093" y="1104712"/>
                </a:cubicBezTo>
                <a:cubicBezTo>
                  <a:pt x="9437162" y="1117366"/>
                  <a:pt x="9462496" y="1127489"/>
                  <a:pt x="9490364" y="1138879"/>
                </a:cubicBezTo>
                <a:cubicBezTo>
                  <a:pt x="9482764" y="1142675"/>
                  <a:pt x="9476430" y="1146471"/>
                  <a:pt x="9470096" y="1150267"/>
                </a:cubicBezTo>
                <a:cubicBezTo>
                  <a:pt x="9421961" y="1174310"/>
                  <a:pt x="9395359" y="1214804"/>
                  <a:pt x="9389025" y="1267951"/>
                </a:cubicBezTo>
                <a:cubicBezTo>
                  <a:pt x="9387759" y="1284402"/>
                  <a:pt x="9385225" y="1299587"/>
                  <a:pt x="9371291" y="1310976"/>
                </a:cubicBezTo>
                <a:cubicBezTo>
                  <a:pt x="9364958" y="1316037"/>
                  <a:pt x="9363690" y="1326160"/>
                  <a:pt x="9358624" y="1338815"/>
                </a:cubicBezTo>
                <a:cubicBezTo>
                  <a:pt x="9378891" y="1338815"/>
                  <a:pt x="9395359" y="1337550"/>
                  <a:pt x="9410560" y="1338815"/>
                </a:cubicBezTo>
                <a:cubicBezTo>
                  <a:pt x="9424494" y="1340081"/>
                  <a:pt x="9439695" y="1340081"/>
                  <a:pt x="9452362" y="1345142"/>
                </a:cubicBezTo>
                <a:cubicBezTo>
                  <a:pt x="9472630" y="1352734"/>
                  <a:pt x="9475163" y="1364123"/>
                  <a:pt x="9461229" y="1380574"/>
                </a:cubicBezTo>
                <a:cubicBezTo>
                  <a:pt x="9451095" y="1391962"/>
                  <a:pt x="9438428" y="1402085"/>
                  <a:pt x="9425761" y="1413475"/>
                </a:cubicBezTo>
                <a:cubicBezTo>
                  <a:pt x="9392826" y="1442579"/>
                  <a:pt x="9391558" y="1451438"/>
                  <a:pt x="9424494" y="1481807"/>
                </a:cubicBezTo>
                <a:cubicBezTo>
                  <a:pt x="9408026" y="1498258"/>
                  <a:pt x="9387759" y="1508381"/>
                  <a:pt x="9364958" y="1513443"/>
                </a:cubicBezTo>
                <a:cubicBezTo>
                  <a:pt x="9344690" y="1517239"/>
                  <a:pt x="9324422" y="1519770"/>
                  <a:pt x="9305421" y="1524832"/>
                </a:cubicBezTo>
                <a:cubicBezTo>
                  <a:pt x="9285153" y="1531159"/>
                  <a:pt x="9266152" y="1540017"/>
                  <a:pt x="9256018" y="1566591"/>
                </a:cubicBezTo>
                <a:cubicBezTo>
                  <a:pt x="9278819" y="1565326"/>
                  <a:pt x="9296554" y="1565326"/>
                  <a:pt x="9315555" y="1561528"/>
                </a:cubicBezTo>
                <a:cubicBezTo>
                  <a:pt x="9347223" y="1557732"/>
                  <a:pt x="9377625" y="1550140"/>
                  <a:pt x="9409294" y="1545078"/>
                </a:cubicBezTo>
                <a:cubicBezTo>
                  <a:pt x="9430827" y="1541282"/>
                  <a:pt x="9452362" y="1538751"/>
                  <a:pt x="9468829" y="1545078"/>
                </a:cubicBezTo>
                <a:cubicBezTo>
                  <a:pt x="9471363" y="1566591"/>
                  <a:pt x="9473896" y="1584306"/>
                  <a:pt x="9475163" y="1602023"/>
                </a:cubicBezTo>
                <a:cubicBezTo>
                  <a:pt x="9447295" y="1618473"/>
                  <a:pt x="9425761" y="1621004"/>
                  <a:pt x="9386492" y="1609615"/>
                </a:cubicBezTo>
                <a:cubicBezTo>
                  <a:pt x="9367491" y="1603288"/>
                  <a:pt x="9347223" y="1595695"/>
                  <a:pt x="9326956" y="1590633"/>
                </a:cubicBezTo>
                <a:cubicBezTo>
                  <a:pt x="9307955" y="1585572"/>
                  <a:pt x="9288953" y="1588103"/>
                  <a:pt x="9271219" y="1598226"/>
                </a:cubicBezTo>
                <a:cubicBezTo>
                  <a:pt x="9268686" y="1619738"/>
                  <a:pt x="9282620" y="1629861"/>
                  <a:pt x="9299087" y="1637454"/>
                </a:cubicBezTo>
                <a:cubicBezTo>
                  <a:pt x="9316821" y="1645047"/>
                  <a:pt x="9335823" y="1650108"/>
                  <a:pt x="9353557" y="1657701"/>
                </a:cubicBezTo>
                <a:cubicBezTo>
                  <a:pt x="9363690" y="1661497"/>
                  <a:pt x="9375091" y="1666559"/>
                  <a:pt x="9376358" y="1680479"/>
                </a:cubicBezTo>
                <a:cubicBezTo>
                  <a:pt x="9359891" y="1677947"/>
                  <a:pt x="9344690" y="1675416"/>
                  <a:pt x="9330756" y="1672886"/>
                </a:cubicBezTo>
                <a:cubicBezTo>
                  <a:pt x="9319355" y="1703256"/>
                  <a:pt x="9330756" y="1728565"/>
                  <a:pt x="9340889" y="1753872"/>
                </a:cubicBezTo>
                <a:cubicBezTo>
                  <a:pt x="9248418" y="1755138"/>
                  <a:pt x="9182548" y="1791835"/>
                  <a:pt x="9166080" y="1852576"/>
                </a:cubicBezTo>
                <a:cubicBezTo>
                  <a:pt x="9174948" y="1856372"/>
                  <a:pt x="9185082" y="1861433"/>
                  <a:pt x="9193948" y="1862699"/>
                </a:cubicBezTo>
                <a:cubicBezTo>
                  <a:pt x="9205349" y="1863964"/>
                  <a:pt x="9216749" y="1861433"/>
                  <a:pt x="9228150" y="1858902"/>
                </a:cubicBezTo>
                <a:cubicBezTo>
                  <a:pt x="9252219" y="1852576"/>
                  <a:pt x="9276286" y="1843718"/>
                  <a:pt x="9300354" y="1838656"/>
                </a:cubicBezTo>
                <a:cubicBezTo>
                  <a:pt x="9323155" y="1832328"/>
                  <a:pt x="9344690" y="1834860"/>
                  <a:pt x="9362424" y="1860168"/>
                </a:cubicBezTo>
                <a:cubicBezTo>
                  <a:pt x="9348490" y="1866495"/>
                  <a:pt x="9337090" y="1871557"/>
                  <a:pt x="9324422" y="1875353"/>
                </a:cubicBezTo>
                <a:cubicBezTo>
                  <a:pt x="9283886" y="1889273"/>
                  <a:pt x="9244617" y="1901927"/>
                  <a:pt x="9204082" y="1915847"/>
                </a:cubicBezTo>
                <a:cubicBezTo>
                  <a:pt x="9164814" y="1931032"/>
                  <a:pt x="9129345" y="1950012"/>
                  <a:pt x="9105277" y="1987975"/>
                </a:cubicBezTo>
                <a:cubicBezTo>
                  <a:pt x="9098943" y="1981648"/>
                  <a:pt x="9095144" y="1974056"/>
                  <a:pt x="9088810" y="1971525"/>
                </a:cubicBezTo>
                <a:cubicBezTo>
                  <a:pt x="9083743" y="1968994"/>
                  <a:pt x="9073609" y="1967729"/>
                  <a:pt x="9071075" y="1970260"/>
                </a:cubicBezTo>
                <a:cubicBezTo>
                  <a:pt x="9063475" y="1980383"/>
                  <a:pt x="9055875" y="1990507"/>
                  <a:pt x="9052074" y="2001895"/>
                </a:cubicBezTo>
                <a:cubicBezTo>
                  <a:pt x="9049541" y="2010753"/>
                  <a:pt x="9054608" y="2020876"/>
                  <a:pt x="9055875" y="2032266"/>
                </a:cubicBezTo>
                <a:cubicBezTo>
                  <a:pt x="9072342" y="2024672"/>
                  <a:pt x="9083743" y="2018345"/>
                  <a:pt x="9095144" y="2013284"/>
                </a:cubicBezTo>
                <a:cubicBezTo>
                  <a:pt x="9106544" y="2033531"/>
                  <a:pt x="9116678" y="2051246"/>
                  <a:pt x="9131878" y="2076555"/>
                </a:cubicBezTo>
                <a:cubicBezTo>
                  <a:pt x="9092610" y="2065166"/>
                  <a:pt x="9064741" y="2076555"/>
                  <a:pt x="9035607" y="2086678"/>
                </a:cubicBezTo>
                <a:cubicBezTo>
                  <a:pt x="9012806" y="2094271"/>
                  <a:pt x="8990004" y="2103128"/>
                  <a:pt x="8964670" y="2095536"/>
                </a:cubicBezTo>
                <a:cubicBezTo>
                  <a:pt x="8960870" y="2094271"/>
                  <a:pt x="8953269" y="2095536"/>
                  <a:pt x="8948203" y="2096801"/>
                </a:cubicBezTo>
                <a:cubicBezTo>
                  <a:pt x="8919067" y="2105659"/>
                  <a:pt x="8892466" y="2118314"/>
                  <a:pt x="8872198" y="2141091"/>
                </a:cubicBezTo>
                <a:cubicBezTo>
                  <a:pt x="8862064" y="2152480"/>
                  <a:pt x="8853198" y="2156276"/>
                  <a:pt x="8839263" y="2158807"/>
                </a:cubicBezTo>
                <a:cubicBezTo>
                  <a:pt x="8741725" y="2171461"/>
                  <a:pt x="8644186" y="2184116"/>
                  <a:pt x="8547914" y="2200566"/>
                </a:cubicBezTo>
                <a:cubicBezTo>
                  <a:pt x="8360438" y="2233467"/>
                  <a:pt x="8179295" y="2287880"/>
                  <a:pt x="8004486" y="2365070"/>
                </a:cubicBezTo>
                <a:cubicBezTo>
                  <a:pt x="7998153" y="2367601"/>
                  <a:pt x="7993086" y="2368867"/>
                  <a:pt x="7985486" y="2371397"/>
                </a:cubicBezTo>
                <a:cubicBezTo>
                  <a:pt x="7993086" y="2347355"/>
                  <a:pt x="7993086" y="2347355"/>
                  <a:pt x="7989285" y="2337231"/>
                </a:cubicBezTo>
                <a:cubicBezTo>
                  <a:pt x="7962684" y="2347355"/>
                  <a:pt x="7937350" y="2356213"/>
                  <a:pt x="7912015" y="2366336"/>
                </a:cubicBezTo>
                <a:cubicBezTo>
                  <a:pt x="7900614" y="2370132"/>
                  <a:pt x="7889213" y="2372663"/>
                  <a:pt x="7879080" y="2377724"/>
                </a:cubicBezTo>
                <a:cubicBezTo>
                  <a:pt x="7866412" y="2384052"/>
                  <a:pt x="7855012" y="2394175"/>
                  <a:pt x="7851212" y="2411892"/>
                </a:cubicBezTo>
                <a:cubicBezTo>
                  <a:pt x="7879080" y="2416953"/>
                  <a:pt x="7894280" y="2391645"/>
                  <a:pt x="7922148" y="2387848"/>
                </a:cubicBezTo>
                <a:cubicBezTo>
                  <a:pt x="7904414" y="2410625"/>
                  <a:pt x="7884147" y="2422015"/>
                  <a:pt x="7863879" y="2425811"/>
                </a:cubicBezTo>
                <a:cubicBezTo>
                  <a:pt x="7837277" y="2430873"/>
                  <a:pt x="7814476" y="2443526"/>
                  <a:pt x="7790409" y="2454916"/>
                </a:cubicBezTo>
                <a:cubicBezTo>
                  <a:pt x="7789142" y="2456181"/>
                  <a:pt x="7786608" y="2454916"/>
                  <a:pt x="7785342" y="2454916"/>
                </a:cubicBezTo>
                <a:cubicBezTo>
                  <a:pt x="7782808" y="2446057"/>
                  <a:pt x="7780275" y="2438465"/>
                  <a:pt x="7776474" y="2430873"/>
                </a:cubicBezTo>
                <a:cubicBezTo>
                  <a:pt x="7751140" y="2435934"/>
                  <a:pt x="7746073" y="2458712"/>
                  <a:pt x="7735939" y="2470101"/>
                </a:cubicBezTo>
                <a:cubicBezTo>
                  <a:pt x="7715672" y="2475162"/>
                  <a:pt x="7699204" y="2480224"/>
                  <a:pt x="7678936" y="2485285"/>
                </a:cubicBezTo>
                <a:cubicBezTo>
                  <a:pt x="7689070" y="2472631"/>
                  <a:pt x="7696670" y="2463774"/>
                  <a:pt x="7704271" y="2453650"/>
                </a:cubicBezTo>
                <a:cubicBezTo>
                  <a:pt x="7684003" y="2448588"/>
                  <a:pt x="7672602" y="2447323"/>
                  <a:pt x="7652334" y="2453650"/>
                </a:cubicBezTo>
                <a:cubicBezTo>
                  <a:pt x="7620667" y="2465039"/>
                  <a:pt x="7587731" y="2476428"/>
                  <a:pt x="7557329" y="2492878"/>
                </a:cubicBezTo>
                <a:cubicBezTo>
                  <a:pt x="7518060" y="2513125"/>
                  <a:pt x="7477525" y="2530841"/>
                  <a:pt x="7436990" y="2547291"/>
                </a:cubicBezTo>
                <a:cubicBezTo>
                  <a:pt x="7397721" y="2563742"/>
                  <a:pt x="7360986" y="2582723"/>
                  <a:pt x="7322985" y="2602969"/>
                </a:cubicBezTo>
                <a:cubicBezTo>
                  <a:pt x="7312850" y="2608031"/>
                  <a:pt x="7303983" y="2616889"/>
                  <a:pt x="7290049" y="2628278"/>
                </a:cubicBezTo>
                <a:cubicBezTo>
                  <a:pt x="7305250" y="2629544"/>
                  <a:pt x="7312850" y="2629544"/>
                  <a:pt x="7320450" y="2630809"/>
                </a:cubicBezTo>
                <a:cubicBezTo>
                  <a:pt x="7302716" y="2648525"/>
                  <a:pt x="7283716" y="2661179"/>
                  <a:pt x="7260915" y="2668771"/>
                </a:cubicBezTo>
                <a:cubicBezTo>
                  <a:pt x="7101306" y="2719389"/>
                  <a:pt x="6941698" y="2770006"/>
                  <a:pt x="6780822" y="2820622"/>
                </a:cubicBezTo>
                <a:cubicBezTo>
                  <a:pt x="6777023" y="2821887"/>
                  <a:pt x="6770689" y="2821887"/>
                  <a:pt x="6763088" y="2823153"/>
                </a:cubicBezTo>
                <a:cubicBezTo>
                  <a:pt x="6766889" y="2816826"/>
                  <a:pt x="6768155" y="2813030"/>
                  <a:pt x="6770689" y="2810499"/>
                </a:cubicBezTo>
                <a:cubicBezTo>
                  <a:pt x="6792223" y="2795313"/>
                  <a:pt x="6812491" y="2778863"/>
                  <a:pt x="6840359" y="2780129"/>
                </a:cubicBezTo>
                <a:cubicBezTo>
                  <a:pt x="6851760" y="2780129"/>
                  <a:pt x="6861894" y="2776332"/>
                  <a:pt x="6863160" y="2758616"/>
                </a:cubicBezTo>
                <a:cubicBezTo>
                  <a:pt x="6830225" y="2764943"/>
                  <a:pt x="6798556" y="2770006"/>
                  <a:pt x="6766889" y="2776332"/>
                </a:cubicBezTo>
                <a:cubicBezTo>
                  <a:pt x="6732687" y="2782659"/>
                  <a:pt x="6699752" y="2794048"/>
                  <a:pt x="6669350" y="2810499"/>
                </a:cubicBezTo>
                <a:cubicBezTo>
                  <a:pt x="6649082" y="2820622"/>
                  <a:pt x="6627548" y="2829480"/>
                  <a:pt x="6606013" y="2838338"/>
                </a:cubicBezTo>
                <a:cubicBezTo>
                  <a:pt x="6570545" y="2853523"/>
                  <a:pt x="6533809" y="2867442"/>
                  <a:pt x="6498341" y="2883893"/>
                </a:cubicBezTo>
                <a:cubicBezTo>
                  <a:pt x="6485674" y="2890220"/>
                  <a:pt x="6473007" y="2897813"/>
                  <a:pt x="6467940" y="2918059"/>
                </a:cubicBezTo>
                <a:cubicBezTo>
                  <a:pt x="6481873" y="2914264"/>
                  <a:pt x="6492007" y="2911732"/>
                  <a:pt x="6504675" y="2909201"/>
                </a:cubicBezTo>
                <a:cubicBezTo>
                  <a:pt x="6500874" y="2915528"/>
                  <a:pt x="6499607" y="2919325"/>
                  <a:pt x="6497074" y="2923121"/>
                </a:cubicBezTo>
                <a:cubicBezTo>
                  <a:pt x="6490741" y="2933245"/>
                  <a:pt x="6481873" y="2942102"/>
                  <a:pt x="6478073" y="2953491"/>
                </a:cubicBezTo>
                <a:cubicBezTo>
                  <a:pt x="6469206" y="2975003"/>
                  <a:pt x="6475540" y="2986392"/>
                  <a:pt x="6498341" y="2990189"/>
                </a:cubicBezTo>
                <a:cubicBezTo>
                  <a:pt x="6511008" y="2991454"/>
                  <a:pt x="6523676" y="2991454"/>
                  <a:pt x="6535077" y="2991454"/>
                </a:cubicBezTo>
                <a:cubicBezTo>
                  <a:pt x="6564211" y="2990189"/>
                  <a:pt x="6593346" y="2987657"/>
                  <a:pt x="6622481" y="2986392"/>
                </a:cubicBezTo>
                <a:cubicBezTo>
                  <a:pt x="6632615" y="2986392"/>
                  <a:pt x="6647816" y="2985126"/>
                  <a:pt x="6655416" y="2991454"/>
                </a:cubicBezTo>
                <a:cubicBezTo>
                  <a:pt x="6675684" y="3010435"/>
                  <a:pt x="6702285" y="3014231"/>
                  <a:pt x="6727620" y="3023089"/>
                </a:cubicBezTo>
                <a:cubicBezTo>
                  <a:pt x="6730153" y="3024355"/>
                  <a:pt x="6732687" y="3026885"/>
                  <a:pt x="6736486" y="3029416"/>
                </a:cubicBezTo>
                <a:cubicBezTo>
                  <a:pt x="6721286" y="3050928"/>
                  <a:pt x="6721286" y="3050928"/>
                  <a:pt x="6725086" y="3066113"/>
                </a:cubicBezTo>
                <a:cubicBezTo>
                  <a:pt x="6733953" y="3059786"/>
                  <a:pt x="6742821" y="3053459"/>
                  <a:pt x="6752954" y="3047132"/>
                </a:cubicBezTo>
                <a:cubicBezTo>
                  <a:pt x="6752954" y="3025620"/>
                  <a:pt x="6737754" y="3015497"/>
                  <a:pt x="6720019" y="3007905"/>
                </a:cubicBezTo>
                <a:cubicBezTo>
                  <a:pt x="6707352" y="3002843"/>
                  <a:pt x="6695951" y="2997780"/>
                  <a:pt x="6682018" y="2991454"/>
                </a:cubicBezTo>
                <a:cubicBezTo>
                  <a:pt x="6793490" y="2976269"/>
                  <a:pt x="6899895" y="2962349"/>
                  <a:pt x="7007568" y="2947164"/>
                </a:cubicBezTo>
                <a:cubicBezTo>
                  <a:pt x="7097506" y="2935775"/>
                  <a:pt x="7186177" y="2923121"/>
                  <a:pt x="7277382" y="2921856"/>
                </a:cubicBezTo>
                <a:cubicBezTo>
                  <a:pt x="7297649" y="2921856"/>
                  <a:pt x="7312850" y="2926917"/>
                  <a:pt x="7324251" y="2945898"/>
                </a:cubicBezTo>
                <a:cubicBezTo>
                  <a:pt x="7290049" y="2938306"/>
                  <a:pt x="7281182" y="2942102"/>
                  <a:pt x="7277382" y="2963615"/>
                </a:cubicBezTo>
                <a:cubicBezTo>
                  <a:pt x="7307783" y="2958552"/>
                  <a:pt x="7338185" y="2954756"/>
                  <a:pt x="7371120" y="2949694"/>
                </a:cubicBezTo>
                <a:cubicBezTo>
                  <a:pt x="7360986" y="2944633"/>
                  <a:pt x="7353386" y="2940837"/>
                  <a:pt x="7347052" y="2935775"/>
                </a:cubicBezTo>
                <a:cubicBezTo>
                  <a:pt x="7339452" y="2931979"/>
                  <a:pt x="7329318" y="2929448"/>
                  <a:pt x="7326784" y="2915528"/>
                </a:cubicBezTo>
                <a:cubicBezTo>
                  <a:pt x="7705538" y="2934510"/>
                  <a:pt x="8079223" y="2968676"/>
                  <a:pt x="8454177" y="2999047"/>
                </a:cubicBezTo>
                <a:cubicBezTo>
                  <a:pt x="8459244" y="3021824"/>
                  <a:pt x="8463043" y="3043336"/>
                  <a:pt x="8488378" y="3054725"/>
                </a:cubicBezTo>
                <a:cubicBezTo>
                  <a:pt x="8489645" y="3048398"/>
                  <a:pt x="8489645" y="3044601"/>
                  <a:pt x="8489645" y="3042071"/>
                </a:cubicBezTo>
                <a:cubicBezTo>
                  <a:pt x="8490911" y="3016762"/>
                  <a:pt x="8502312" y="3002843"/>
                  <a:pt x="8527647" y="2999047"/>
                </a:cubicBezTo>
                <a:cubicBezTo>
                  <a:pt x="8579583" y="2992719"/>
                  <a:pt x="8630252" y="2999047"/>
                  <a:pt x="8677121" y="3028151"/>
                </a:cubicBezTo>
                <a:cubicBezTo>
                  <a:pt x="8737924" y="3067379"/>
                  <a:pt x="8775927" y="3125588"/>
                  <a:pt x="8805061" y="3188859"/>
                </a:cubicBezTo>
                <a:cubicBezTo>
                  <a:pt x="8755659" y="3235680"/>
                  <a:pt x="8754392" y="3239476"/>
                  <a:pt x="8759459" y="3286297"/>
                </a:cubicBezTo>
                <a:cubicBezTo>
                  <a:pt x="8751859" y="3291358"/>
                  <a:pt x="8742991" y="3297685"/>
                  <a:pt x="8732857" y="3301481"/>
                </a:cubicBezTo>
                <a:cubicBezTo>
                  <a:pt x="8651787" y="3339444"/>
                  <a:pt x="8571983" y="3379937"/>
                  <a:pt x="8490911" y="3414104"/>
                </a:cubicBezTo>
                <a:cubicBezTo>
                  <a:pt x="8271767" y="3503949"/>
                  <a:pt x="8043755" y="3565954"/>
                  <a:pt x="7817010" y="3627960"/>
                </a:cubicBezTo>
                <a:cubicBezTo>
                  <a:pt x="7806876" y="3630491"/>
                  <a:pt x="7795476" y="3627960"/>
                  <a:pt x="7785342" y="3626695"/>
                </a:cubicBezTo>
                <a:cubicBezTo>
                  <a:pt x="7766341" y="3624164"/>
                  <a:pt x="7748606" y="3619102"/>
                  <a:pt x="7729605" y="3617836"/>
                </a:cubicBezTo>
                <a:cubicBezTo>
                  <a:pt x="7705538" y="3617836"/>
                  <a:pt x="7700471" y="3624164"/>
                  <a:pt x="7703004" y="3648206"/>
                </a:cubicBezTo>
                <a:cubicBezTo>
                  <a:pt x="7703004" y="3650737"/>
                  <a:pt x="7703004" y="3654533"/>
                  <a:pt x="7703004" y="3659596"/>
                </a:cubicBezTo>
                <a:cubicBezTo>
                  <a:pt x="7646001" y="3672250"/>
                  <a:pt x="7590264" y="3683638"/>
                  <a:pt x="7529461" y="3697558"/>
                </a:cubicBezTo>
                <a:cubicBezTo>
                  <a:pt x="7538329" y="3684904"/>
                  <a:pt x="7543396" y="3678577"/>
                  <a:pt x="7548463" y="3670984"/>
                </a:cubicBezTo>
                <a:cubicBezTo>
                  <a:pt x="7523127" y="3653268"/>
                  <a:pt x="7473726" y="3650737"/>
                  <a:pt x="7442057" y="3664657"/>
                </a:cubicBezTo>
                <a:cubicBezTo>
                  <a:pt x="7452191" y="3678577"/>
                  <a:pt x="7461058" y="3692496"/>
                  <a:pt x="7473726" y="3708947"/>
                </a:cubicBezTo>
                <a:cubicBezTo>
                  <a:pt x="7216579" y="3786138"/>
                  <a:pt x="6963232" y="3849409"/>
                  <a:pt x="6701018" y="3894964"/>
                </a:cubicBezTo>
                <a:cubicBezTo>
                  <a:pt x="6695951" y="3873451"/>
                  <a:pt x="6693418" y="3854471"/>
                  <a:pt x="6689618" y="3834223"/>
                </a:cubicBezTo>
                <a:cubicBezTo>
                  <a:pt x="6674417" y="3840550"/>
                  <a:pt x="6661749" y="3845612"/>
                  <a:pt x="6651615" y="3858267"/>
                </a:cubicBezTo>
                <a:cubicBezTo>
                  <a:pt x="6659216" y="3865859"/>
                  <a:pt x="6665550" y="3873451"/>
                  <a:pt x="6673150" y="3882309"/>
                </a:cubicBezTo>
                <a:cubicBezTo>
                  <a:pt x="6650349" y="3887372"/>
                  <a:pt x="6623747" y="3887372"/>
                  <a:pt x="6628814" y="3920272"/>
                </a:cubicBezTo>
                <a:cubicBezTo>
                  <a:pt x="6603480" y="3924068"/>
                  <a:pt x="6580679" y="3929130"/>
                  <a:pt x="6559144" y="3932927"/>
                </a:cubicBezTo>
                <a:cubicBezTo>
                  <a:pt x="6498341" y="3946846"/>
                  <a:pt x="6438804" y="3960765"/>
                  <a:pt x="6379268" y="3973420"/>
                </a:cubicBezTo>
                <a:cubicBezTo>
                  <a:pt x="6366601" y="3975951"/>
                  <a:pt x="6352667" y="3981012"/>
                  <a:pt x="6341266" y="3967093"/>
                </a:cubicBezTo>
                <a:cubicBezTo>
                  <a:pt x="6347600" y="3959500"/>
                  <a:pt x="6352667" y="3953173"/>
                  <a:pt x="6359000" y="3945580"/>
                </a:cubicBezTo>
                <a:cubicBezTo>
                  <a:pt x="6346333" y="3949377"/>
                  <a:pt x="6336199" y="3956969"/>
                  <a:pt x="6324798" y="3960765"/>
                </a:cubicBezTo>
                <a:cubicBezTo>
                  <a:pt x="6305798" y="3968358"/>
                  <a:pt x="6290597" y="3979747"/>
                  <a:pt x="6285530" y="4002525"/>
                </a:cubicBezTo>
                <a:cubicBezTo>
                  <a:pt x="6217126" y="4005056"/>
                  <a:pt x="6157589" y="4040487"/>
                  <a:pt x="6087919" y="4044284"/>
                </a:cubicBezTo>
                <a:cubicBezTo>
                  <a:pt x="6091720" y="4015179"/>
                  <a:pt x="6128455" y="4025302"/>
                  <a:pt x="6133522" y="3999993"/>
                </a:cubicBezTo>
                <a:cubicBezTo>
                  <a:pt x="6104387" y="3977216"/>
                  <a:pt x="6079052" y="3998728"/>
                  <a:pt x="6053718" y="4006321"/>
                </a:cubicBezTo>
                <a:cubicBezTo>
                  <a:pt x="6051184" y="4022771"/>
                  <a:pt x="6048651" y="4039221"/>
                  <a:pt x="6044850" y="4055672"/>
                </a:cubicBezTo>
                <a:cubicBezTo>
                  <a:pt x="5927044" y="4093635"/>
                  <a:pt x="5806705" y="4122740"/>
                  <a:pt x="5686366" y="4148047"/>
                </a:cubicBezTo>
                <a:cubicBezTo>
                  <a:pt x="5539424" y="4179683"/>
                  <a:pt x="5391216" y="4210054"/>
                  <a:pt x="5244275" y="4240424"/>
                </a:cubicBezTo>
                <a:cubicBezTo>
                  <a:pt x="5205007" y="4249282"/>
                  <a:pt x="5168271" y="4261935"/>
                  <a:pt x="5129003" y="4266997"/>
                </a:cubicBezTo>
                <a:cubicBezTo>
                  <a:pt x="5091001" y="4272059"/>
                  <a:pt x="5060599" y="4289775"/>
                  <a:pt x="5031464" y="4312553"/>
                </a:cubicBezTo>
                <a:cubicBezTo>
                  <a:pt x="5020063" y="4321411"/>
                  <a:pt x="5009929" y="4334065"/>
                  <a:pt x="5009929" y="4351781"/>
                </a:cubicBezTo>
                <a:cubicBezTo>
                  <a:pt x="5009929" y="4356842"/>
                  <a:pt x="5003596" y="4361904"/>
                  <a:pt x="4999796" y="4368231"/>
                </a:cubicBezTo>
                <a:cubicBezTo>
                  <a:pt x="5004862" y="4379620"/>
                  <a:pt x="5011197" y="4391009"/>
                  <a:pt x="5018797" y="4404928"/>
                </a:cubicBezTo>
                <a:cubicBezTo>
                  <a:pt x="5040332" y="4377089"/>
                  <a:pt x="5064399" y="4406194"/>
                  <a:pt x="5085934" y="4397336"/>
                </a:cubicBezTo>
                <a:cubicBezTo>
                  <a:pt x="5087200" y="4391009"/>
                  <a:pt x="5088467" y="4385946"/>
                  <a:pt x="5089734" y="4380885"/>
                </a:cubicBezTo>
                <a:cubicBezTo>
                  <a:pt x="5129003" y="4388477"/>
                  <a:pt x="5167004" y="4394805"/>
                  <a:pt x="5205007" y="4402397"/>
                </a:cubicBezTo>
                <a:cubicBezTo>
                  <a:pt x="5433019" y="4444156"/>
                  <a:pt x="5661030" y="4488446"/>
                  <a:pt x="5886509" y="4546656"/>
                </a:cubicBezTo>
                <a:cubicBezTo>
                  <a:pt x="6119588" y="4606130"/>
                  <a:pt x="6347600" y="4679524"/>
                  <a:pt x="6566744" y="4782024"/>
                </a:cubicBezTo>
                <a:cubicBezTo>
                  <a:pt x="6602213" y="4798474"/>
                  <a:pt x="6636415" y="4814924"/>
                  <a:pt x="6669350" y="4831375"/>
                </a:cubicBezTo>
                <a:cubicBezTo>
                  <a:pt x="6673150" y="4890849"/>
                  <a:pt x="6676951" y="4894646"/>
                  <a:pt x="6722553" y="4906035"/>
                </a:cubicBezTo>
                <a:cubicBezTo>
                  <a:pt x="6722553" y="4894646"/>
                  <a:pt x="6722553" y="4881991"/>
                  <a:pt x="6722553" y="4866807"/>
                </a:cubicBezTo>
                <a:cubicBezTo>
                  <a:pt x="6712419" y="4873134"/>
                  <a:pt x="6704819" y="4876930"/>
                  <a:pt x="6698485" y="4880726"/>
                </a:cubicBezTo>
                <a:cubicBezTo>
                  <a:pt x="6683284" y="4873134"/>
                  <a:pt x="6680751" y="4860480"/>
                  <a:pt x="6680751" y="4844029"/>
                </a:cubicBezTo>
                <a:cubicBezTo>
                  <a:pt x="6736486" y="4851621"/>
                  <a:pt x="6775755" y="4881991"/>
                  <a:pt x="6820091" y="4919954"/>
                </a:cubicBezTo>
                <a:cubicBezTo>
                  <a:pt x="6782089" y="4928812"/>
                  <a:pt x="6750421" y="4936405"/>
                  <a:pt x="6718752" y="4945263"/>
                </a:cubicBezTo>
                <a:cubicBezTo>
                  <a:pt x="6718752" y="4946528"/>
                  <a:pt x="6718752" y="4949059"/>
                  <a:pt x="6718752" y="4951590"/>
                </a:cubicBezTo>
                <a:cubicBezTo>
                  <a:pt x="6730153" y="4951590"/>
                  <a:pt x="6741553" y="4952855"/>
                  <a:pt x="6751688" y="4951590"/>
                </a:cubicBezTo>
                <a:cubicBezTo>
                  <a:pt x="6765622" y="4949059"/>
                  <a:pt x="6779556" y="4943997"/>
                  <a:pt x="6792223" y="4938936"/>
                </a:cubicBezTo>
                <a:cubicBezTo>
                  <a:pt x="6813757" y="4930077"/>
                  <a:pt x="6835292" y="4927546"/>
                  <a:pt x="6856827" y="4936405"/>
                </a:cubicBezTo>
                <a:cubicBezTo>
                  <a:pt x="6888494" y="4950324"/>
                  <a:pt x="6921430" y="4962978"/>
                  <a:pt x="6950565" y="4979429"/>
                </a:cubicBezTo>
                <a:cubicBezTo>
                  <a:pt x="6969566" y="4990818"/>
                  <a:pt x="6987300" y="5008533"/>
                  <a:pt x="7002501" y="5024984"/>
                </a:cubicBezTo>
                <a:cubicBezTo>
                  <a:pt x="7021502" y="5046496"/>
                  <a:pt x="7026569" y="5073070"/>
                  <a:pt x="7021502" y="5100909"/>
                </a:cubicBezTo>
                <a:cubicBezTo>
                  <a:pt x="7020235" y="5112298"/>
                  <a:pt x="7015168" y="5121156"/>
                  <a:pt x="7003768" y="5127483"/>
                </a:cubicBezTo>
                <a:cubicBezTo>
                  <a:pt x="6941698" y="5162914"/>
                  <a:pt x="6879628" y="5197081"/>
                  <a:pt x="6817558" y="5231247"/>
                </a:cubicBezTo>
                <a:cubicBezTo>
                  <a:pt x="6809957" y="5236309"/>
                  <a:pt x="6801090" y="5237574"/>
                  <a:pt x="6792223" y="5238840"/>
                </a:cubicBezTo>
                <a:cubicBezTo>
                  <a:pt x="6790956" y="5237574"/>
                  <a:pt x="6789690" y="5235044"/>
                  <a:pt x="6788423" y="5233778"/>
                </a:cubicBezTo>
                <a:cubicBezTo>
                  <a:pt x="6799824" y="5213532"/>
                  <a:pt x="6812491" y="5194550"/>
                  <a:pt x="6823891" y="5174304"/>
                </a:cubicBezTo>
                <a:cubicBezTo>
                  <a:pt x="6796023" y="5157853"/>
                  <a:pt x="6792223" y="5159118"/>
                  <a:pt x="6787156" y="5178100"/>
                </a:cubicBezTo>
                <a:cubicBezTo>
                  <a:pt x="6793490" y="5178100"/>
                  <a:pt x="6801090" y="5179365"/>
                  <a:pt x="6809957" y="5179365"/>
                </a:cubicBezTo>
                <a:cubicBezTo>
                  <a:pt x="6798556" y="5192019"/>
                  <a:pt x="6788423" y="5200877"/>
                  <a:pt x="6780822" y="5211001"/>
                </a:cubicBezTo>
                <a:cubicBezTo>
                  <a:pt x="6770689" y="5221124"/>
                  <a:pt x="6765622" y="5235044"/>
                  <a:pt x="6751688" y="5240105"/>
                </a:cubicBezTo>
                <a:cubicBezTo>
                  <a:pt x="6741553" y="5227451"/>
                  <a:pt x="6732687" y="5217328"/>
                  <a:pt x="6722553" y="5204674"/>
                </a:cubicBezTo>
                <a:cubicBezTo>
                  <a:pt x="6708618" y="5248964"/>
                  <a:pt x="6708618" y="5248964"/>
                  <a:pt x="6725086" y="5252760"/>
                </a:cubicBezTo>
                <a:cubicBezTo>
                  <a:pt x="6725086" y="5246433"/>
                  <a:pt x="6725086" y="5241370"/>
                  <a:pt x="6725086" y="5232513"/>
                </a:cubicBezTo>
                <a:cubicBezTo>
                  <a:pt x="6735220" y="5238840"/>
                  <a:pt x="6744087" y="5245168"/>
                  <a:pt x="6756755" y="5252760"/>
                </a:cubicBezTo>
                <a:cubicBezTo>
                  <a:pt x="6543943" y="5341339"/>
                  <a:pt x="6329865" y="5399549"/>
                  <a:pt x="6104387" y="5445104"/>
                </a:cubicBezTo>
                <a:cubicBezTo>
                  <a:pt x="6115788" y="5428653"/>
                  <a:pt x="6123388" y="5417264"/>
                  <a:pt x="6132255" y="5405876"/>
                </a:cubicBezTo>
                <a:cubicBezTo>
                  <a:pt x="6108188" y="5398283"/>
                  <a:pt x="6106920" y="5424857"/>
                  <a:pt x="6090453" y="5428653"/>
                </a:cubicBezTo>
                <a:cubicBezTo>
                  <a:pt x="6086653" y="5421060"/>
                  <a:pt x="6084119" y="5413468"/>
                  <a:pt x="6080319" y="5404610"/>
                </a:cubicBezTo>
                <a:cubicBezTo>
                  <a:pt x="6089186" y="5402080"/>
                  <a:pt x="6096787" y="5400814"/>
                  <a:pt x="6100587" y="5395752"/>
                </a:cubicBezTo>
                <a:cubicBezTo>
                  <a:pt x="6104387" y="5393221"/>
                  <a:pt x="6104387" y="5385629"/>
                  <a:pt x="6103121" y="5381832"/>
                </a:cubicBezTo>
                <a:cubicBezTo>
                  <a:pt x="6103121" y="5379302"/>
                  <a:pt x="6095520" y="5378036"/>
                  <a:pt x="6091720" y="5379302"/>
                </a:cubicBezTo>
                <a:cubicBezTo>
                  <a:pt x="6086653" y="5379302"/>
                  <a:pt x="6082852" y="5383098"/>
                  <a:pt x="6079052" y="5385629"/>
                </a:cubicBezTo>
                <a:cubicBezTo>
                  <a:pt x="6066385" y="5398283"/>
                  <a:pt x="6052451" y="5402080"/>
                  <a:pt x="6033450" y="5397018"/>
                </a:cubicBezTo>
                <a:cubicBezTo>
                  <a:pt x="6033450" y="5414733"/>
                  <a:pt x="6033450" y="5429918"/>
                  <a:pt x="6033450" y="5446369"/>
                </a:cubicBezTo>
                <a:cubicBezTo>
                  <a:pt x="6061318" y="5445104"/>
                  <a:pt x="6052451" y="5423591"/>
                  <a:pt x="6054984" y="5404610"/>
                </a:cubicBezTo>
                <a:cubicBezTo>
                  <a:pt x="6068919" y="5422326"/>
                  <a:pt x="6080319" y="5434980"/>
                  <a:pt x="6091720" y="5447635"/>
                </a:cubicBezTo>
                <a:cubicBezTo>
                  <a:pt x="6090453" y="5448900"/>
                  <a:pt x="6086653" y="5448900"/>
                  <a:pt x="6082852" y="5450165"/>
                </a:cubicBezTo>
                <a:cubicBezTo>
                  <a:pt x="6013182" y="5462819"/>
                  <a:pt x="5943512" y="5476739"/>
                  <a:pt x="5873842" y="5489393"/>
                </a:cubicBezTo>
                <a:cubicBezTo>
                  <a:pt x="5756035" y="5512170"/>
                  <a:pt x="5638229" y="5534948"/>
                  <a:pt x="5521689" y="5558992"/>
                </a:cubicBezTo>
                <a:cubicBezTo>
                  <a:pt x="5443152" y="5575442"/>
                  <a:pt x="5367149" y="5602016"/>
                  <a:pt x="5298745" y="5642509"/>
                </a:cubicBezTo>
                <a:cubicBezTo>
                  <a:pt x="5289878" y="5648836"/>
                  <a:pt x="5282278" y="5653898"/>
                  <a:pt x="5273410" y="5660225"/>
                </a:cubicBezTo>
                <a:cubicBezTo>
                  <a:pt x="5274676" y="5661490"/>
                  <a:pt x="5274676" y="5664021"/>
                  <a:pt x="5275944" y="5665286"/>
                </a:cubicBezTo>
                <a:cubicBezTo>
                  <a:pt x="5386149" y="5667817"/>
                  <a:pt x="5495089" y="5660225"/>
                  <a:pt x="5606561" y="5651367"/>
                </a:cubicBezTo>
                <a:cubicBezTo>
                  <a:pt x="5604027" y="5669083"/>
                  <a:pt x="5607828" y="5686799"/>
                  <a:pt x="5586293" y="5689330"/>
                </a:cubicBezTo>
                <a:cubicBezTo>
                  <a:pt x="5583759" y="5683003"/>
                  <a:pt x="5583759" y="5676676"/>
                  <a:pt x="5581226" y="5665286"/>
                </a:cubicBezTo>
                <a:cubicBezTo>
                  <a:pt x="5568559" y="5689330"/>
                  <a:pt x="5572359" y="5703249"/>
                  <a:pt x="5588826" y="5719700"/>
                </a:cubicBezTo>
                <a:cubicBezTo>
                  <a:pt x="5598960" y="5712108"/>
                  <a:pt x="5612895" y="5707046"/>
                  <a:pt x="5617961" y="5698187"/>
                </a:cubicBezTo>
                <a:cubicBezTo>
                  <a:pt x="5623028" y="5684268"/>
                  <a:pt x="5623028" y="5666552"/>
                  <a:pt x="5624296" y="5650102"/>
                </a:cubicBezTo>
                <a:cubicBezTo>
                  <a:pt x="5642030" y="5647571"/>
                  <a:pt x="5659764" y="5646305"/>
                  <a:pt x="5677498" y="5643775"/>
                </a:cubicBezTo>
                <a:cubicBezTo>
                  <a:pt x="5866242" y="5617201"/>
                  <a:pt x="6054984" y="5589361"/>
                  <a:pt x="6243728" y="5561522"/>
                </a:cubicBezTo>
                <a:cubicBezTo>
                  <a:pt x="6375468" y="5542541"/>
                  <a:pt x="6505941" y="5521029"/>
                  <a:pt x="6636415" y="5500782"/>
                </a:cubicBezTo>
                <a:cubicBezTo>
                  <a:pt x="6770689" y="5480536"/>
                  <a:pt x="6904962" y="5466615"/>
                  <a:pt x="7040503" y="5457758"/>
                </a:cubicBezTo>
                <a:cubicBezTo>
                  <a:pt x="7079771" y="5455227"/>
                  <a:pt x="7120307" y="5453962"/>
                  <a:pt x="7154509" y="5452696"/>
                </a:cubicBezTo>
                <a:cubicBezTo>
                  <a:pt x="7179843" y="5480536"/>
                  <a:pt x="7200111" y="5502047"/>
                  <a:pt x="7216579" y="5522294"/>
                </a:cubicBezTo>
                <a:cubicBezTo>
                  <a:pt x="7212778" y="5538744"/>
                  <a:pt x="7207711" y="5548868"/>
                  <a:pt x="7206445" y="5560257"/>
                </a:cubicBezTo>
                <a:cubicBezTo>
                  <a:pt x="7203912" y="5574176"/>
                  <a:pt x="7197577" y="5581769"/>
                  <a:pt x="7184910" y="5589361"/>
                </a:cubicBezTo>
                <a:cubicBezTo>
                  <a:pt x="7149442" y="5608343"/>
                  <a:pt x="7112706" y="5628589"/>
                  <a:pt x="7077238" y="5650102"/>
                </a:cubicBezTo>
                <a:cubicBezTo>
                  <a:pt x="7034169" y="5675410"/>
                  <a:pt x="6989833" y="5696922"/>
                  <a:pt x="6942964" y="5713373"/>
                </a:cubicBezTo>
                <a:cubicBezTo>
                  <a:pt x="6847959" y="5747539"/>
                  <a:pt x="6754222" y="5784236"/>
                  <a:pt x="6657949" y="5814606"/>
                </a:cubicBezTo>
                <a:cubicBezTo>
                  <a:pt x="6531276" y="5855099"/>
                  <a:pt x="6403336" y="5891797"/>
                  <a:pt x="6275396" y="5929759"/>
                </a:cubicBezTo>
                <a:cubicBezTo>
                  <a:pt x="6275396" y="5927228"/>
                  <a:pt x="6275396" y="5924698"/>
                  <a:pt x="6275396" y="5922167"/>
                </a:cubicBezTo>
                <a:cubicBezTo>
                  <a:pt x="6265263" y="5915840"/>
                  <a:pt x="6255128" y="5909513"/>
                  <a:pt x="6243728" y="5904451"/>
                </a:cubicBezTo>
                <a:cubicBezTo>
                  <a:pt x="6227260" y="5899389"/>
                  <a:pt x="6209526" y="5895593"/>
                  <a:pt x="6194325" y="5889266"/>
                </a:cubicBezTo>
                <a:cubicBezTo>
                  <a:pt x="6180391" y="5884204"/>
                  <a:pt x="6171524" y="5875347"/>
                  <a:pt x="6177858" y="5857630"/>
                </a:cubicBezTo>
                <a:cubicBezTo>
                  <a:pt x="6220927" y="5869020"/>
                  <a:pt x="6255128" y="5904451"/>
                  <a:pt x="6303264" y="5899389"/>
                </a:cubicBezTo>
                <a:cubicBezTo>
                  <a:pt x="6294397" y="5888000"/>
                  <a:pt x="6288064" y="5879143"/>
                  <a:pt x="6280463" y="5870285"/>
                </a:cubicBezTo>
                <a:cubicBezTo>
                  <a:pt x="6272863" y="5874081"/>
                  <a:pt x="6267796" y="5876612"/>
                  <a:pt x="6260196" y="5881673"/>
                </a:cubicBezTo>
                <a:cubicBezTo>
                  <a:pt x="6258928" y="5856365"/>
                  <a:pt x="6257661" y="5834853"/>
                  <a:pt x="6256395" y="5810810"/>
                </a:cubicBezTo>
                <a:cubicBezTo>
                  <a:pt x="6277930" y="5803217"/>
                  <a:pt x="6299464" y="5795625"/>
                  <a:pt x="6320998" y="5788033"/>
                </a:cubicBezTo>
                <a:cubicBezTo>
                  <a:pt x="6342533" y="5779174"/>
                  <a:pt x="6364067" y="5770316"/>
                  <a:pt x="6376734" y="5742477"/>
                </a:cubicBezTo>
                <a:cubicBezTo>
                  <a:pt x="6364067" y="5742477"/>
                  <a:pt x="6353933" y="5742477"/>
                  <a:pt x="6345067" y="5742477"/>
                </a:cubicBezTo>
                <a:cubicBezTo>
                  <a:pt x="6244994" y="5747539"/>
                  <a:pt x="6146189" y="5758928"/>
                  <a:pt x="6047384" y="5775378"/>
                </a:cubicBezTo>
                <a:cubicBezTo>
                  <a:pt x="6030917" y="5779174"/>
                  <a:pt x="6011916" y="5786767"/>
                  <a:pt x="6003048" y="5766520"/>
                </a:cubicBezTo>
                <a:cubicBezTo>
                  <a:pt x="5987847" y="5763989"/>
                  <a:pt x="5977713" y="5782970"/>
                  <a:pt x="5963780" y="5769051"/>
                </a:cubicBezTo>
                <a:cubicBezTo>
                  <a:pt x="5970113" y="5758928"/>
                  <a:pt x="5975180" y="5748805"/>
                  <a:pt x="5984048" y="5734885"/>
                </a:cubicBezTo>
                <a:cubicBezTo>
                  <a:pt x="5947312" y="5741212"/>
                  <a:pt x="5956180" y="5769051"/>
                  <a:pt x="5947312" y="5789298"/>
                </a:cubicBezTo>
                <a:cubicBezTo>
                  <a:pt x="5939712" y="5790564"/>
                  <a:pt x="5929578" y="5793094"/>
                  <a:pt x="5920710" y="5794360"/>
                </a:cubicBezTo>
                <a:cubicBezTo>
                  <a:pt x="5845973" y="5803217"/>
                  <a:pt x="5769969" y="5812075"/>
                  <a:pt x="5695232" y="5820933"/>
                </a:cubicBezTo>
                <a:cubicBezTo>
                  <a:pt x="5601494" y="5831057"/>
                  <a:pt x="5507756" y="5839915"/>
                  <a:pt x="5414017" y="5838649"/>
                </a:cubicBezTo>
                <a:cubicBezTo>
                  <a:pt x="5401350" y="5838649"/>
                  <a:pt x="5389950" y="5837384"/>
                  <a:pt x="5376016" y="5836119"/>
                </a:cubicBezTo>
                <a:cubicBezTo>
                  <a:pt x="5386149" y="5809544"/>
                  <a:pt x="5388683" y="5807014"/>
                  <a:pt x="5408951" y="5813341"/>
                </a:cubicBezTo>
                <a:cubicBezTo>
                  <a:pt x="5417818" y="5817137"/>
                  <a:pt x="5426684" y="5819668"/>
                  <a:pt x="5434285" y="5822198"/>
                </a:cubicBezTo>
                <a:cubicBezTo>
                  <a:pt x="5443152" y="5804483"/>
                  <a:pt x="5450753" y="5790564"/>
                  <a:pt x="5457087" y="5775378"/>
                </a:cubicBezTo>
                <a:cubicBezTo>
                  <a:pt x="5464687" y="5760193"/>
                  <a:pt x="5462154" y="5757662"/>
                  <a:pt x="5440619" y="5748805"/>
                </a:cubicBezTo>
                <a:cubicBezTo>
                  <a:pt x="5443152" y="5775378"/>
                  <a:pt x="5422885" y="5776643"/>
                  <a:pt x="5406417" y="5781705"/>
                </a:cubicBezTo>
                <a:cubicBezTo>
                  <a:pt x="5383616" y="5788033"/>
                  <a:pt x="5360816" y="5793094"/>
                  <a:pt x="5339281" y="5799421"/>
                </a:cubicBezTo>
                <a:cubicBezTo>
                  <a:pt x="5324080" y="5804483"/>
                  <a:pt x="5311412" y="5813341"/>
                  <a:pt x="5306345" y="5833588"/>
                </a:cubicBezTo>
                <a:cubicBezTo>
                  <a:pt x="5312679" y="5833588"/>
                  <a:pt x="5316479" y="5832322"/>
                  <a:pt x="5320279" y="5832322"/>
                </a:cubicBezTo>
                <a:cubicBezTo>
                  <a:pt x="5330413" y="5829792"/>
                  <a:pt x="5341813" y="5824730"/>
                  <a:pt x="5353214" y="5823465"/>
                </a:cubicBezTo>
                <a:cubicBezTo>
                  <a:pt x="5357015" y="5823465"/>
                  <a:pt x="5362082" y="5829792"/>
                  <a:pt x="5365882" y="5832322"/>
                </a:cubicBezTo>
                <a:cubicBezTo>
                  <a:pt x="5362082" y="5836119"/>
                  <a:pt x="5359548" y="5841180"/>
                  <a:pt x="5355748" y="5844976"/>
                </a:cubicBezTo>
                <a:cubicBezTo>
                  <a:pt x="5353214" y="5846242"/>
                  <a:pt x="5348147" y="5846242"/>
                  <a:pt x="5344347" y="5846242"/>
                </a:cubicBezTo>
                <a:cubicBezTo>
                  <a:pt x="5210074" y="5857630"/>
                  <a:pt x="5075800" y="5869020"/>
                  <a:pt x="4940259" y="5881673"/>
                </a:cubicBezTo>
                <a:cubicBezTo>
                  <a:pt x="4841454" y="5890531"/>
                  <a:pt x="4741383" y="5898124"/>
                  <a:pt x="4642577" y="5908248"/>
                </a:cubicBezTo>
                <a:cubicBezTo>
                  <a:pt x="4596975" y="5912044"/>
                  <a:pt x="4552639" y="5919636"/>
                  <a:pt x="4508303" y="5925963"/>
                </a:cubicBezTo>
                <a:cubicBezTo>
                  <a:pt x="4494370" y="5905717"/>
                  <a:pt x="4467769" y="5899389"/>
                  <a:pt x="4463968" y="5870285"/>
                </a:cubicBezTo>
                <a:cubicBezTo>
                  <a:pt x="4472835" y="5866489"/>
                  <a:pt x="4480435" y="5863958"/>
                  <a:pt x="4488036" y="5861426"/>
                </a:cubicBezTo>
                <a:cubicBezTo>
                  <a:pt x="4485503" y="5852569"/>
                  <a:pt x="4481702" y="5844976"/>
                  <a:pt x="4479169" y="5836119"/>
                </a:cubicBezTo>
                <a:cubicBezTo>
                  <a:pt x="4471569" y="5837384"/>
                  <a:pt x="4466502" y="5838649"/>
                  <a:pt x="4458901" y="5839915"/>
                </a:cubicBezTo>
                <a:cubicBezTo>
                  <a:pt x="4453833" y="5829792"/>
                  <a:pt x="4448767" y="5820933"/>
                  <a:pt x="4443700" y="5810810"/>
                </a:cubicBezTo>
                <a:cubicBezTo>
                  <a:pt x="4526037" y="5727292"/>
                  <a:pt x="4636244" y="5708311"/>
                  <a:pt x="4737582" y="5674145"/>
                </a:cubicBezTo>
                <a:cubicBezTo>
                  <a:pt x="4756583" y="5700718"/>
                  <a:pt x="4762916" y="5705780"/>
                  <a:pt x="4776851" y="5695657"/>
                </a:cubicBezTo>
                <a:cubicBezTo>
                  <a:pt x="4790785" y="5686799"/>
                  <a:pt x="4811053" y="5688064"/>
                  <a:pt x="4819920" y="5671614"/>
                </a:cubicBezTo>
                <a:cubicBezTo>
                  <a:pt x="4821187" y="5670349"/>
                  <a:pt x="4819920" y="5666552"/>
                  <a:pt x="4818653" y="5661490"/>
                </a:cubicBezTo>
                <a:cubicBezTo>
                  <a:pt x="4805986" y="5666552"/>
                  <a:pt x="4794586" y="5671614"/>
                  <a:pt x="4783184" y="5676676"/>
                </a:cubicBezTo>
                <a:cubicBezTo>
                  <a:pt x="4771784" y="5680472"/>
                  <a:pt x="4760383" y="5685533"/>
                  <a:pt x="4750249" y="5669083"/>
                </a:cubicBezTo>
                <a:cubicBezTo>
                  <a:pt x="4822453" y="5646305"/>
                  <a:pt x="4892123" y="5624793"/>
                  <a:pt x="4960527" y="5603281"/>
                </a:cubicBezTo>
                <a:cubicBezTo>
                  <a:pt x="4989662" y="5645040"/>
                  <a:pt x="4994729" y="5647571"/>
                  <a:pt x="5023864" y="5642509"/>
                </a:cubicBezTo>
                <a:cubicBezTo>
                  <a:pt x="5022597" y="5638713"/>
                  <a:pt x="5020063" y="5633651"/>
                  <a:pt x="5016263" y="5624793"/>
                </a:cubicBezTo>
                <a:cubicBezTo>
                  <a:pt x="5036531" y="5633651"/>
                  <a:pt x="5050465" y="5641244"/>
                  <a:pt x="5066933" y="5647571"/>
                </a:cubicBezTo>
                <a:cubicBezTo>
                  <a:pt x="5065666" y="5626058"/>
                  <a:pt x="5065666" y="5626058"/>
                  <a:pt x="5087200" y="5602016"/>
                </a:cubicBezTo>
                <a:cubicBezTo>
                  <a:pt x="5071999" y="5594423"/>
                  <a:pt x="5063133" y="5603281"/>
                  <a:pt x="5054265" y="5610874"/>
                </a:cubicBezTo>
                <a:cubicBezTo>
                  <a:pt x="5044131" y="5620997"/>
                  <a:pt x="5035265" y="5622262"/>
                  <a:pt x="5027664" y="5609608"/>
                </a:cubicBezTo>
                <a:cubicBezTo>
                  <a:pt x="5037798" y="5588096"/>
                  <a:pt x="5055532" y="5581769"/>
                  <a:pt x="5074533" y="5575442"/>
                </a:cubicBezTo>
                <a:cubicBezTo>
                  <a:pt x="5270877" y="5515967"/>
                  <a:pt x="5469754" y="5472942"/>
                  <a:pt x="5672431" y="5438777"/>
                </a:cubicBezTo>
                <a:cubicBezTo>
                  <a:pt x="5701566" y="5433714"/>
                  <a:pt x="5731968" y="5429918"/>
                  <a:pt x="5758569" y="5426122"/>
                </a:cubicBezTo>
                <a:cubicBezTo>
                  <a:pt x="5763635" y="5448900"/>
                  <a:pt x="5767436" y="5467881"/>
                  <a:pt x="5769969" y="5484332"/>
                </a:cubicBezTo>
                <a:cubicBezTo>
                  <a:pt x="5788971" y="5475474"/>
                  <a:pt x="5805438" y="5469146"/>
                  <a:pt x="5825705" y="5460288"/>
                </a:cubicBezTo>
                <a:cubicBezTo>
                  <a:pt x="5806705" y="5457758"/>
                  <a:pt x="5790237" y="5455227"/>
                  <a:pt x="5773770" y="5452696"/>
                </a:cubicBezTo>
                <a:cubicBezTo>
                  <a:pt x="5776304" y="5440042"/>
                  <a:pt x="5778837" y="5429918"/>
                  <a:pt x="5781370" y="5417264"/>
                </a:cubicBezTo>
                <a:cubicBezTo>
                  <a:pt x="5987847" y="5375505"/>
                  <a:pt x="6193059" y="5333747"/>
                  <a:pt x="6400803" y="5291988"/>
                </a:cubicBezTo>
                <a:cubicBezTo>
                  <a:pt x="6399536" y="5303376"/>
                  <a:pt x="6398269" y="5316030"/>
                  <a:pt x="6397002" y="5329951"/>
                </a:cubicBezTo>
                <a:cubicBezTo>
                  <a:pt x="6414736" y="5324889"/>
                  <a:pt x="6433738" y="5326154"/>
                  <a:pt x="6446405" y="5310969"/>
                </a:cubicBezTo>
                <a:cubicBezTo>
                  <a:pt x="6451472" y="5316030"/>
                  <a:pt x="6456539" y="5322358"/>
                  <a:pt x="6461606" y="5328685"/>
                </a:cubicBezTo>
                <a:cubicBezTo>
                  <a:pt x="6502141" y="5308438"/>
                  <a:pt x="6502141" y="5308438"/>
                  <a:pt x="6495808" y="5291988"/>
                </a:cubicBezTo>
                <a:cubicBezTo>
                  <a:pt x="6479340" y="5304642"/>
                  <a:pt x="6462873" y="5303376"/>
                  <a:pt x="6445139" y="5295784"/>
                </a:cubicBezTo>
                <a:cubicBezTo>
                  <a:pt x="6442605" y="5293253"/>
                  <a:pt x="6437538" y="5294519"/>
                  <a:pt x="6433738" y="5294519"/>
                </a:cubicBezTo>
                <a:cubicBezTo>
                  <a:pt x="6429938" y="5290722"/>
                  <a:pt x="6424871" y="5285661"/>
                  <a:pt x="6418537" y="5279333"/>
                </a:cubicBezTo>
                <a:cubicBezTo>
                  <a:pt x="6438804" y="5273006"/>
                  <a:pt x="6457806" y="5265414"/>
                  <a:pt x="6476806" y="5260352"/>
                </a:cubicBezTo>
                <a:cubicBezTo>
                  <a:pt x="6542677" y="5238840"/>
                  <a:pt x="6609814" y="5219859"/>
                  <a:pt x="6676951" y="5195815"/>
                </a:cubicBezTo>
                <a:cubicBezTo>
                  <a:pt x="6727620" y="5179365"/>
                  <a:pt x="6774489" y="5152791"/>
                  <a:pt x="6815024" y="5116094"/>
                </a:cubicBezTo>
                <a:cubicBezTo>
                  <a:pt x="6827692" y="5103440"/>
                  <a:pt x="6839093" y="5089521"/>
                  <a:pt x="6850493" y="5078131"/>
                </a:cubicBezTo>
                <a:cubicBezTo>
                  <a:pt x="6840359" y="5059151"/>
                  <a:pt x="6823891" y="5052824"/>
                  <a:pt x="6809957" y="5046496"/>
                </a:cubicBezTo>
                <a:cubicBezTo>
                  <a:pt x="6796023" y="5041434"/>
                  <a:pt x="6784623" y="5033842"/>
                  <a:pt x="6771956" y="5027515"/>
                </a:cubicBezTo>
                <a:cubicBezTo>
                  <a:pt x="6769422" y="5026250"/>
                  <a:pt x="6769422" y="5022453"/>
                  <a:pt x="6768155" y="5021188"/>
                </a:cubicBezTo>
                <a:cubicBezTo>
                  <a:pt x="6771956" y="5017392"/>
                  <a:pt x="6777023" y="5014861"/>
                  <a:pt x="6780822" y="5012330"/>
                </a:cubicBezTo>
                <a:cubicBezTo>
                  <a:pt x="6777023" y="4997145"/>
                  <a:pt x="6758021" y="4992083"/>
                  <a:pt x="6764355" y="4975633"/>
                </a:cubicBezTo>
                <a:cubicBezTo>
                  <a:pt x="6798556" y="4969305"/>
                  <a:pt x="6811224" y="5007268"/>
                  <a:pt x="6844160" y="5007268"/>
                </a:cubicBezTo>
                <a:cubicBezTo>
                  <a:pt x="6837825" y="4990818"/>
                  <a:pt x="6834026" y="4975633"/>
                  <a:pt x="6828958" y="4960447"/>
                </a:cubicBezTo>
                <a:cubicBezTo>
                  <a:pt x="6815024" y="4960447"/>
                  <a:pt x="6801090" y="4959182"/>
                  <a:pt x="6787156" y="4960447"/>
                </a:cubicBezTo>
                <a:cubicBezTo>
                  <a:pt x="6785889" y="4960447"/>
                  <a:pt x="6784623" y="4960447"/>
                  <a:pt x="6783356" y="4960447"/>
                </a:cubicBezTo>
                <a:cubicBezTo>
                  <a:pt x="6754222" y="4961713"/>
                  <a:pt x="6741553" y="4979429"/>
                  <a:pt x="6742821" y="5011065"/>
                </a:cubicBezTo>
                <a:cubicBezTo>
                  <a:pt x="6428671" y="4900973"/>
                  <a:pt x="6114521" y="4799739"/>
                  <a:pt x="5785170" y="4756715"/>
                </a:cubicBezTo>
                <a:cubicBezTo>
                  <a:pt x="5788971" y="4738999"/>
                  <a:pt x="5801638" y="4725079"/>
                  <a:pt x="5790237" y="4704833"/>
                </a:cubicBezTo>
                <a:cubicBezTo>
                  <a:pt x="5766169" y="4712425"/>
                  <a:pt x="5742102" y="4720018"/>
                  <a:pt x="5712966" y="4730141"/>
                </a:cubicBezTo>
                <a:cubicBezTo>
                  <a:pt x="5724367" y="4736468"/>
                  <a:pt x="5730701" y="4738999"/>
                  <a:pt x="5735767" y="4742796"/>
                </a:cubicBezTo>
                <a:cubicBezTo>
                  <a:pt x="5706633" y="4742796"/>
                  <a:pt x="5678764" y="4737733"/>
                  <a:pt x="5649630" y="4736468"/>
                </a:cubicBezTo>
                <a:cubicBezTo>
                  <a:pt x="5517890" y="4731406"/>
                  <a:pt x="5387416" y="4722549"/>
                  <a:pt x="5255676" y="4721283"/>
                </a:cubicBezTo>
                <a:cubicBezTo>
                  <a:pt x="5068200" y="4721283"/>
                  <a:pt x="4879457" y="4727610"/>
                  <a:pt x="4690713" y="4728875"/>
                </a:cubicBezTo>
                <a:cubicBezTo>
                  <a:pt x="4576707" y="4730141"/>
                  <a:pt x="4461435" y="4727610"/>
                  <a:pt x="4346162" y="4726345"/>
                </a:cubicBezTo>
                <a:cubicBezTo>
                  <a:pt x="4336027" y="4726345"/>
                  <a:pt x="4325894" y="4725079"/>
                  <a:pt x="4317027" y="4723814"/>
                </a:cubicBezTo>
                <a:cubicBezTo>
                  <a:pt x="4309427" y="4693444"/>
                  <a:pt x="4342362" y="4690913"/>
                  <a:pt x="4348695" y="4671932"/>
                </a:cubicBezTo>
                <a:cubicBezTo>
                  <a:pt x="4333494" y="4664340"/>
                  <a:pt x="4320827" y="4656746"/>
                  <a:pt x="4308160" y="4649154"/>
                </a:cubicBezTo>
                <a:cubicBezTo>
                  <a:pt x="4279024" y="4674463"/>
                  <a:pt x="4289158" y="4702302"/>
                  <a:pt x="4303093" y="4731406"/>
                </a:cubicBezTo>
                <a:cubicBezTo>
                  <a:pt x="4267624" y="4740265"/>
                  <a:pt x="4235956" y="4738999"/>
                  <a:pt x="4203021" y="4735202"/>
                </a:cubicBezTo>
                <a:cubicBezTo>
                  <a:pt x="4143484" y="4728875"/>
                  <a:pt x="4087748" y="4708629"/>
                  <a:pt x="4042145" y="4665605"/>
                </a:cubicBezTo>
                <a:cubicBezTo>
                  <a:pt x="4028212" y="4652950"/>
                  <a:pt x="4019345" y="4633969"/>
                  <a:pt x="4002877" y="4626377"/>
                </a:cubicBezTo>
                <a:cubicBezTo>
                  <a:pt x="3987677" y="4617518"/>
                  <a:pt x="3966142" y="4618784"/>
                  <a:pt x="3947140" y="4614988"/>
                </a:cubicBezTo>
                <a:cubicBezTo>
                  <a:pt x="3944607" y="4614988"/>
                  <a:pt x="3943341" y="4614988"/>
                  <a:pt x="3940807" y="4614988"/>
                </a:cubicBezTo>
                <a:cubicBezTo>
                  <a:pt x="3915473" y="4611191"/>
                  <a:pt x="3888871" y="4608661"/>
                  <a:pt x="3862269" y="4604864"/>
                </a:cubicBezTo>
                <a:cubicBezTo>
                  <a:pt x="3861003" y="4596007"/>
                  <a:pt x="3859736" y="4585884"/>
                  <a:pt x="3858470" y="4575760"/>
                </a:cubicBezTo>
                <a:cubicBezTo>
                  <a:pt x="3826801" y="4582087"/>
                  <a:pt x="3797666" y="4592211"/>
                  <a:pt x="3771065" y="4606130"/>
                </a:cubicBezTo>
                <a:cubicBezTo>
                  <a:pt x="3738130" y="4625112"/>
                  <a:pt x="3703928" y="4645358"/>
                  <a:pt x="3670993" y="4664340"/>
                </a:cubicBezTo>
                <a:cubicBezTo>
                  <a:pt x="3657059" y="4671932"/>
                  <a:pt x="3644392" y="4680790"/>
                  <a:pt x="3625391" y="4678259"/>
                </a:cubicBezTo>
                <a:cubicBezTo>
                  <a:pt x="3620324" y="4676994"/>
                  <a:pt x="3612723" y="4683321"/>
                  <a:pt x="3608923" y="4684586"/>
                </a:cubicBezTo>
                <a:cubicBezTo>
                  <a:pt x="3606390" y="4697240"/>
                  <a:pt x="3606390" y="4712425"/>
                  <a:pt x="3601323" y="4716222"/>
                </a:cubicBezTo>
                <a:cubicBezTo>
                  <a:pt x="3577254" y="4730141"/>
                  <a:pt x="3555720" y="4749123"/>
                  <a:pt x="3525318" y="4746592"/>
                </a:cubicBezTo>
                <a:cubicBezTo>
                  <a:pt x="3493650" y="4745326"/>
                  <a:pt x="3460716" y="4741530"/>
                  <a:pt x="3427780" y="4737733"/>
                </a:cubicBezTo>
                <a:cubicBezTo>
                  <a:pt x="3384711" y="4732672"/>
                  <a:pt x="3340376" y="4726345"/>
                  <a:pt x="3296041" y="4736468"/>
                </a:cubicBezTo>
                <a:cubicBezTo>
                  <a:pt x="3275772" y="4741530"/>
                  <a:pt x="3256772" y="4747857"/>
                  <a:pt x="3232703" y="4754184"/>
                </a:cubicBezTo>
                <a:cubicBezTo>
                  <a:pt x="3228903" y="4742796"/>
                  <a:pt x="3223837" y="4730141"/>
                  <a:pt x="3223837" y="4718752"/>
                </a:cubicBezTo>
                <a:cubicBezTo>
                  <a:pt x="3223837" y="4703568"/>
                  <a:pt x="3227636" y="4687117"/>
                  <a:pt x="3232703" y="4670667"/>
                </a:cubicBezTo>
                <a:cubicBezTo>
                  <a:pt x="3239037" y="4647889"/>
                  <a:pt x="3244104" y="4625112"/>
                  <a:pt x="3223837" y="4607395"/>
                </a:cubicBezTo>
                <a:cubicBezTo>
                  <a:pt x="3228903" y="4583353"/>
                  <a:pt x="3254238" y="4565636"/>
                  <a:pt x="3235237" y="4537797"/>
                </a:cubicBezTo>
                <a:cubicBezTo>
                  <a:pt x="3213703" y="4542859"/>
                  <a:pt x="3193434" y="4547921"/>
                  <a:pt x="3171900" y="4554248"/>
                </a:cubicBezTo>
                <a:cubicBezTo>
                  <a:pt x="3150366" y="4561840"/>
                  <a:pt x="3128831" y="4569433"/>
                  <a:pt x="3107297" y="4575760"/>
                </a:cubicBezTo>
                <a:cubicBezTo>
                  <a:pt x="3089563" y="4560575"/>
                  <a:pt x="3114897" y="4545390"/>
                  <a:pt x="3107297" y="4531470"/>
                </a:cubicBezTo>
                <a:cubicBezTo>
                  <a:pt x="3033826" y="4517551"/>
                  <a:pt x="3026226" y="4513755"/>
                  <a:pt x="3024959" y="4483384"/>
                </a:cubicBezTo>
                <a:cubicBezTo>
                  <a:pt x="3035093" y="4487180"/>
                  <a:pt x="3045227" y="4490977"/>
                  <a:pt x="3055361" y="4494773"/>
                </a:cubicBezTo>
                <a:cubicBezTo>
                  <a:pt x="3056628" y="4493507"/>
                  <a:pt x="3057894" y="4492242"/>
                  <a:pt x="3059161" y="4489711"/>
                </a:cubicBezTo>
                <a:cubicBezTo>
                  <a:pt x="3051560" y="4482119"/>
                  <a:pt x="3043960" y="4474527"/>
                  <a:pt x="3037627" y="4465668"/>
                </a:cubicBezTo>
                <a:cubicBezTo>
                  <a:pt x="3030026" y="4456810"/>
                  <a:pt x="3024959" y="4447952"/>
                  <a:pt x="3018625" y="4436564"/>
                </a:cubicBezTo>
                <a:cubicBezTo>
                  <a:pt x="3013558" y="4436564"/>
                  <a:pt x="3007225" y="4436564"/>
                  <a:pt x="2999625" y="4436564"/>
                </a:cubicBezTo>
                <a:cubicBezTo>
                  <a:pt x="2983157" y="4408724"/>
                  <a:pt x="2983157" y="4378354"/>
                  <a:pt x="2993291" y="4347984"/>
                </a:cubicBezTo>
                <a:cubicBezTo>
                  <a:pt x="3003425" y="4318880"/>
                  <a:pt x="3017359" y="4289775"/>
                  <a:pt x="3030026" y="4260670"/>
                </a:cubicBezTo>
                <a:cubicBezTo>
                  <a:pt x="3052827" y="4211319"/>
                  <a:pt x="3070561" y="4160702"/>
                  <a:pt x="3051560" y="4106289"/>
                </a:cubicBezTo>
                <a:cubicBezTo>
                  <a:pt x="3060427" y="4097431"/>
                  <a:pt x="3068028" y="4088573"/>
                  <a:pt x="3075628" y="4080981"/>
                </a:cubicBezTo>
                <a:cubicBezTo>
                  <a:pt x="3102230" y="4086042"/>
                  <a:pt x="3113630" y="4080981"/>
                  <a:pt x="3121230" y="4059468"/>
                </a:cubicBezTo>
                <a:cubicBezTo>
                  <a:pt x="3130098" y="4036690"/>
                  <a:pt x="3125031" y="4018975"/>
                  <a:pt x="3107297" y="4010117"/>
                </a:cubicBezTo>
                <a:cubicBezTo>
                  <a:pt x="3104763" y="4029098"/>
                  <a:pt x="3100963" y="4048080"/>
                  <a:pt x="3095896" y="4070857"/>
                </a:cubicBezTo>
                <a:cubicBezTo>
                  <a:pt x="3089563" y="4063264"/>
                  <a:pt x="3081962" y="4059468"/>
                  <a:pt x="3081962" y="4054407"/>
                </a:cubicBezTo>
                <a:cubicBezTo>
                  <a:pt x="3083229" y="4020240"/>
                  <a:pt x="3089563" y="3986074"/>
                  <a:pt x="3113630" y="3959500"/>
                </a:cubicBezTo>
                <a:cubicBezTo>
                  <a:pt x="3127565" y="3944315"/>
                  <a:pt x="3135165" y="3929130"/>
                  <a:pt x="3132632" y="3910149"/>
                </a:cubicBezTo>
                <a:cubicBezTo>
                  <a:pt x="3127565" y="3883574"/>
                  <a:pt x="3137698" y="3862063"/>
                  <a:pt x="3151632" y="3840550"/>
                </a:cubicBezTo>
                <a:cubicBezTo>
                  <a:pt x="3159233" y="3826631"/>
                  <a:pt x="3168100" y="3811446"/>
                  <a:pt x="3174434" y="3797526"/>
                </a:cubicBezTo>
                <a:cubicBezTo>
                  <a:pt x="3179501" y="3784872"/>
                  <a:pt x="3182034" y="3770953"/>
                  <a:pt x="3187101" y="3755767"/>
                </a:cubicBezTo>
                <a:cubicBezTo>
                  <a:pt x="3155433" y="3748175"/>
                  <a:pt x="3128831" y="3762094"/>
                  <a:pt x="3099697" y="3762094"/>
                </a:cubicBezTo>
                <a:cubicBezTo>
                  <a:pt x="3100963" y="3753237"/>
                  <a:pt x="3102230" y="3746910"/>
                  <a:pt x="3104763" y="3739317"/>
                </a:cubicBezTo>
                <a:cubicBezTo>
                  <a:pt x="3093363" y="3731724"/>
                  <a:pt x="3081962" y="3724132"/>
                  <a:pt x="3066761" y="3714009"/>
                </a:cubicBezTo>
                <a:cubicBezTo>
                  <a:pt x="3076896" y="3711478"/>
                  <a:pt x="3080695" y="3711478"/>
                  <a:pt x="3084495" y="3708947"/>
                </a:cubicBezTo>
                <a:cubicBezTo>
                  <a:pt x="3088296" y="3707682"/>
                  <a:pt x="3092096" y="3703885"/>
                  <a:pt x="3094630" y="3701355"/>
                </a:cubicBezTo>
                <a:cubicBezTo>
                  <a:pt x="3065495" y="3707682"/>
                  <a:pt x="3032560" y="3703885"/>
                  <a:pt x="3014826" y="3735521"/>
                </a:cubicBezTo>
                <a:cubicBezTo>
                  <a:pt x="3018625" y="3740583"/>
                  <a:pt x="3022426" y="3744379"/>
                  <a:pt x="3026226" y="3749440"/>
                </a:cubicBezTo>
                <a:cubicBezTo>
                  <a:pt x="3032560" y="3744379"/>
                  <a:pt x="3038893" y="3740583"/>
                  <a:pt x="3041426" y="3738052"/>
                </a:cubicBezTo>
                <a:cubicBezTo>
                  <a:pt x="3056628" y="3740583"/>
                  <a:pt x="3068028" y="3741848"/>
                  <a:pt x="3080695" y="3743113"/>
                </a:cubicBezTo>
                <a:cubicBezTo>
                  <a:pt x="3079429" y="3759563"/>
                  <a:pt x="3076896" y="3773484"/>
                  <a:pt x="3055361" y="3778545"/>
                </a:cubicBezTo>
                <a:cubicBezTo>
                  <a:pt x="3012292" y="3788668"/>
                  <a:pt x="2967956" y="3800057"/>
                  <a:pt x="2924888" y="3811446"/>
                </a:cubicBezTo>
                <a:cubicBezTo>
                  <a:pt x="2917287" y="3812712"/>
                  <a:pt x="2908420" y="3813977"/>
                  <a:pt x="2899553" y="3815242"/>
                </a:cubicBezTo>
                <a:cubicBezTo>
                  <a:pt x="2895752" y="3800057"/>
                  <a:pt x="2899553" y="3791199"/>
                  <a:pt x="2910953" y="3787403"/>
                </a:cubicBezTo>
                <a:cubicBezTo>
                  <a:pt x="2919820" y="3783607"/>
                  <a:pt x="2931221" y="3782341"/>
                  <a:pt x="2941355" y="3782341"/>
                </a:cubicBezTo>
                <a:cubicBezTo>
                  <a:pt x="2951488" y="3782341"/>
                  <a:pt x="2961622" y="3784872"/>
                  <a:pt x="2971757" y="3776014"/>
                </a:cubicBezTo>
                <a:cubicBezTo>
                  <a:pt x="2955289" y="3762094"/>
                  <a:pt x="2938821" y="3762094"/>
                  <a:pt x="2921087" y="3763360"/>
                </a:cubicBezTo>
                <a:cubicBezTo>
                  <a:pt x="2884352" y="3764625"/>
                  <a:pt x="2878018" y="3773484"/>
                  <a:pt x="2885619" y="3808916"/>
                </a:cubicBezTo>
                <a:cubicBezTo>
                  <a:pt x="2885619" y="3812712"/>
                  <a:pt x="2885619" y="3816508"/>
                  <a:pt x="2886886" y="3822835"/>
                </a:cubicBezTo>
                <a:cubicBezTo>
                  <a:pt x="2828615" y="3832958"/>
                  <a:pt x="2774146" y="3851940"/>
                  <a:pt x="2718410" y="3862063"/>
                </a:cubicBezTo>
                <a:cubicBezTo>
                  <a:pt x="2717143" y="3859532"/>
                  <a:pt x="2715876" y="3858267"/>
                  <a:pt x="2714609" y="3855736"/>
                </a:cubicBezTo>
                <a:cubicBezTo>
                  <a:pt x="2720943" y="3844346"/>
                  <a:pt x="2727277" y="3831693"/>
                  <a:pt x="2734878" y="3820304"/>
                </a:cubicBezTo>
                <a:cubicBezTo>
                  <a:pt x="2732344" y="3817773"/>
                  <a:pt x="2731077" y="3816508"/>
                  <a:pt x="2728543" y="3815242"/>
                </a:cubicBezTo>
                <a:cubicBezTo>
                  <a:pt x="2719676" y="3825366"/>
                  <a:pt x="2710809" y="3835489"/>
                  <a:pt x="2701942" y="3846878"/>
                </a:cubicBezTo>
                <a:cubicBezTo>
                  <a:pt x="2686741" y="3835489"/>
                  <a:pt x="2696875" y="3812712"/>
                  <a:pt x="2674074" y="3810181"/>
                </a:cubicBezTo>
                <a:cubicBezTo>
                  <a:pt x="2663940" y="3838020"/>
                  <a:pt x="2693075" y="3848144"/>
                  <a:pt x="2701942" y="3864594"/>
                </a:cubicBezTo>
                <a:cubicBezTo>
                  <a:pt x="2643673" y="3881044"/>
                  <a:pt x="2586669" y="3896229"/>
                  <a:pt x="2529666" y="3912679"/>
                </a:cubicBezTo>
                <a:cubicBezTo>
                  <a:pt x="2481530" y="3925334"/>
                  <a:pt x="2433395" y="3937988"/>
                  <a:pt x="2383992" y="3924068"/>
                </a:cubicBezTo>
                <a:cubicBezTo>
                  <a:pt x="2375125" y="3931661"/>
                  <a:pt x="2385259" y="3950642"/>
                  <a:pt x="2366258" y="3949377"/>
                </a:cubicBezTo>
                <a:cubicBezTo>
                  <a:pt x="2358658" y="3941784"/>
                  <a:pt x="2352324" y="3934192"/>
                  <a:pt x="2343457" y="3925334"/>
                </a:cubicBezTo>
                <a:cubicBezTo>
                  <a:pt x="2338390" y="3937988"/>
                  <a:pt x="2348524" y="3955704"/>
                  <a:pt x="2329523" y="3958234"/>
                </a:cubicBezTo>
                <a:cubicBezTo>
                  <a:pt x="2301655" y="3934192"/>
                  <a:pt x="2294054" y="3932927"/>
                  <a:pt x="2258586" y="3941784"/>
                </a:cubicBezTo>
                <a:cubicBezTo>
                  <a:pt x="2240852" y="3945580"/>
                  <a:pt x="2223117" y="3953173"/>
                  <a:pt x="2205383" y="3954438"/>
                </a:cubicBezTo>
                <a:cubicBezTo>
                  <a:pt x="2143313" y="3963297"/>
                  <a:pt x="2079976" y="3970889"/>
                  <a:pt x="2016640" y="3977216"/>
                </a:cubicBezTo>
                <a:cubicBezTo>
                  <a:pt x="1950769" y="3983543"/>
                  <a:pt x="1883632" y="3987339"/>
                  <a:pt x="1816495" y="3992401"/>
                </a:cubicBezTo>
                <a:cubicBezTo>
                  <a:pt x="1779761" y="3996197"/>
                  <a:pt x="1744291" y="4002525"/>
                  <a:pt x="1708823" y="4006321"/>
                </a:cubicBezTo>
                <a:cubicBezTo>
                  <a:pt x="1696156" y="3979747"/>
                  <a:pt x="1684755" y="3975951"/>
                  <a:pt x="1648020" y="3989870"/>
                </a:cubicBezTo>
                <a:cubicBezTo>
                  <a:pt x="1640420" y="4013913"/>
                  <a:pt x="1668288" y="4007586"/>
                  <a:pt x="1674622" y="4021506"/>
                </a:cubicBezTo>
                <a:cubicBezTo>
                  <a:pt x="1621419" y="4039221"/>
                  <a:pt x="1565683" y="4045549"/>
                  <a:pt x="1508680" y="4050611"/>
                </a:cubicBezTo>
                <a:cubicBezTo>
                  <a:pt x="1513746" y="4037956"/>
                  <a:pt x="1516280" y="4029098"/>
                  <a:pt x="1520080" y="4020240"/>
                </a:cubicBezTo>
                <a:cubicBezTo>
                  <a:pt x="1507412" y="4017710"/>
                  <a:pt x="1497279" y="4016444"/>
                  <a:pt x="1488412" y="4015179"/>
                </a:cubicBezTo>
                <a:cubicBezTo>
                  <a:pt x="1487145" y="4012648"/>
                  <a:pt x="1487145" y="4010117"/>
                  <a:pt x="1487145" y="4008852"/>
                </a:cubicBezTo>
                <a:cubicBezTo>
                  <a:pt x="1559349" y="3978482"/>
                  <a:pt x="1639153" y="3978482"/>
                  <a:pt x="1713890" y="3959500"/>
                </a:cubicBezTo>
                <a:cubicBezTo>
                  <a:pt x="1716423" y="3944315"/>
                  <a:pt x="1717691" y="3932927"/>
                  <a:pt x="1720224" y="3920272"/>
                </a:cubicBezTo>
                <a:cubicBezTo>
                  <a:pt x="1688556" y="3901291"/>
                  <a:pt x="1656887" y="3886106"/>
                  <a:pt x="1620152" y="3888637"/>
                </a:cubicBezTo>
                <a:cubicBezTo>
                  <a:pt x="1616352" y="3878513"/>
                  <a:pt x="1610019" y="3870288"/>
                  <a:pt x="1604793" y="3861746"/>
                </a:cubicBezTo>
                <a:lnTo>
                  <a:pt x="1596638" y="3834787"/>
                </a:lnTo>
                <a:lnTo>
                  <a:pt x="1597350" y="3834223"/>
                </a:lnTo>
                <a:lnTo>
                  <a:pt x="1598617" y="3831693"/>
                </a:lnTo>
                <a:lnTo>
                  <a:pt x="1631553" y="3815242"/>
                </a:lnTo>
                <a:cubicBezTo>
                  <a:pt x="1642953" y="3808916"/>
                  <a:pt x="1644220" y="3800057"/>
                  <a:pt x="1630286" y="3787403"/>
                </a:cubicBezTo>
                <a:cubicBezTo>
                  <a:pt x="1622686" y="3797526"/>
                  <a:pt x="1613818" y="3806384"/>
                  <a:pt x="1606218" y="3816508"/>
                </a:cubicBezTo>
                <a:lnTo>
                  <a:pt x="1598617" y="3831693"/>
                </a:lnTo>
                <a:lnTo>
                  <a:pt x="1596084" y="3832958"/>
                </a:lnTo>
                <a:lnTo>
                  <a:pt x="1596638" y="3834787"/>
                </a:lnTo>
                <a:lnTo>
                  <a:pt x="1573283" y="3853205"/>
                </a:lnTo>
                <a:cubicBezTo>
                  <a:pt x="1542882" y="3838020"/>
                  <a:pt x="1537815" y="3839285"/>
                  <a:pt x="1532748" y="3868390"/>
                </a:cubicBezTo>
                <a:cubicBezTo>
                  <a:pt x="1560616" y="3851940"/>
                  <a:pt x="1579616" y="3864594"/>
                  <a:pt x="1599885" y="3884840"/>
                </a:cubicBezTo>
                <a:cubicBezTo>
                  <a:pt x="1583417" y="3894964"/>
                  <a:pt x="1572016" y="3911414"/>
                  <a:pt x="1549215" y="3911414"/>
                </a:cubicBezTo>
                <a:cubicBezTo>
                  <a:pt x="1550482" y="3902556"/>
                  <a:pt x="1551748" y="3894964"/>
                  <a:pt x="1551748" y="3888637"/>
                </a:cubicBezTo>
                <a:cubicBezTo>
                  <a:pt x="1513746" y="3878513"/>
                  <a:pt x="1513746" y="3878513"/>
                  <a:pt x="1507412" y="3836754"/>
                </a:cubicBezTo>
                <a:cubicBezTo>
                  <a:pt x="1528947" y="3830427"/>
                  <a:pt x="1559349" y="3843081"/>
                  <a:pt x="1570750" y="3805118"/>
                </a:cubicBezTo>
                <a:cubicBezTo>
                  <a:pt x="1539081" y="3811446"/>
                  <a:pt x="1511213" y="3816508"/>
                  <a:pt x="1483345" y="3821569"/>
                </a:cubicBezTo>
                <a:cubicBezTo>
                  <a:pt x="1475745" y="3846878"/>
                  <a:pt x="1512479" y="3858267"/>
                  <a:pt x="1502346" y="3887372"/>
                </a:cubicBezTo>
                <a:cubicBezTo>
                  <a:pt x="1480812" y="3884840"/>
                  <a:pt x="1459277" y="3882309"/>
                  <a:pt x="1436476" y="3881044"/>
                </a:cubicBezTo>
                <a:cubicBezTo>
                  <a:pt x="1414941" y="3881044"/>
                  <a:pt x="1393407" y="3882309"/>
                  <a:pt x="1371872" y="3882309"/>
                </a:cubicBezTo>
                <a:cubicBezTo>
                  <a:pt x="1361738" y="3882309"/>
                  <a:pt x="1351605" y="3881044"/>
                  <a:pt x="1341471" y="3879778"/>
                </a:cubicBezTo>
                <a:cubicBezTo>
                  <a:pt x="1323737" y="3877248"/>
                  <a:pt x="1304735" y="3870921"/>
                  <a:pt x="1288268" y="3874717"/>
                </a:cubicBezTo>
                <a:cubicBezTo>
                  <a:pt x="1261667" y="3878513"/>
                  <a:pt x="1236332" y="3887372"/>
                  <a:pt x="1235065" y="3921537"/>
                </a:cubicBezTo>
                <a:cubicBezTo>
                  <a:pt x="1235065" y="3924068"/>
                  <a:pt x="1232531" y="3927865"/>
                  <a:pt x="1229998" y="3930396"/>
                </a:cubicBezTo>
                <a:cubicBezTo>
                  <a:pt x="1219864" y="3940519"/>
                  <a:pt x="1208464" y="3949377"/>
                  <a:pt x="1197063" y="3958234"/>
                </a:cubicBezTo>
                <a:cubicBezTo>
                  <a:pt x="1164128" y="3939253"/>
                  <a:pt x="1178063" y="3908883"/>
                  <a:pt x="1179329" y="3881044"/>
                </a:cubicBezTo>
                <a:cubicBezTo>
                  <a:pt x="1140060" y="3902556"/>
                  <a:pt x="1134993" y="3911414"/>
                  <a:pt x="1140060" y="3936723"/>
                </a:cubicBezTo>
                <a:cubicBezTo>
                  <a:pt x="1145127" y="3926600"/>
                  <a:pt x="1150194" y="3917741"/>
                  <a:pt x="1156528" y="3903822"/>
                </a:cubicBezTo>
                <a:cubicBezTo>
                  <a:pt x="1162861" y="3920272"/>
                  <a:pt x="1166662" y="3931661"/>
                  <a:pt x="1171729" y="3943050"/>
                </a:cubicBezTo>
                <a:cubicBezTo>
                  <a:pt x="1174262" y="3951907"/>
                  <a:pt x="1176796" y="3963297"/>
                  <a:pt x="1184396" y="3968358"/>
                </a:cubicBezTo>
                <a:cubicBezTo>
                  <a:pt x="1200864" y="3979747"/>
                  <a:pt x="1208464" y="3997462"/>
                  <a:pt x="1217331" y="4013913"/>
                </a:cubicBezTo>
                <a:cubicBezTo>
                  <a:pt x="1223665" y="4025302"/>
                  <a:pt x="1232531" y="4030363"/>
                  <a:pt x="1245199" y="4029098"/>
                </a:cubicBezTo>
                <a:cubicBezTo>
                  <a:pt x="1273067" y="4027833"/>
                  <a:pt x="1300936" y="4029098"/>
                  <a:pt x="1328803" y="4024036"/>
                </a:cubicBezTo>
                <a:cubicBezTo>
                  <a:pt x="1373139" y="4016444"/>
                  <a:pt x="1416208" y="4006321"/>
                  <a:pt x="1463077" y="3996197"/>
                </a:cubicBezTo>
                <a:cubicBezTo>
                  <a:pt x="1466877" y="4013913"/>
                  <a:pt x="1470678" y="4032894"/>
                  <a:pt x="1474477" y="4054407"/>
                </a:cubicBezTo>
                <a:cubicBezTo>
                  <a:pt x="1452944" y="4054407"/>
                  <a:pt x="1452944" y="4070857"/>
                  <a:pt x="1449143" y="4086042"/>
                </a:cubicBezTo>
                <a:cubicBezTo>
                  <a:pt x="1384539" y="4069591"/>
                  <a:pt x="1321203" y="4080981"/>
                  <a:pt x="1257866" y="4089839"/>
                </a:cubicBezTo>
                <a:cubicBezTo>
                  <a:pt x="1231265" y="4092369"/>
                  <a:pt x="1205931" y="4094900"/>
                  <a:pt x="1180595" y="4097431"/>
                </a:cubicBezTo>
                <a:cubicBezTo>
                  <a:pt x="1153995" y="4098696"/>
                  <a:pt x="1132460" y="4083512"/>
                  <a:pt x="1128660" y="4058203"/>
                </a:cubicBezTo>
                <a:cubicBezTo>
                  <a:pt x="1124859" y="4031629"/>
                  <a:pt x="1114726" y="4013913"/>
                  <a:pt x="1085590" y="4005056"/>
                </a:cubicBezTo>
                <a:cubicBezTo>
                  <a:pt x="1093191" y="3984808"/>
                  <a:pt x="1100791" y="3965828"/>
                  <a:pt x="1108392" y="3946846"/>
                </a:cubicBezTo>
                <a:cubicBezTo>
                  <a:pt x="1103325" y="3944315"/>
                  <a:pt x="1100791" y="3943050"/>
                  <a:pt x="1098258" y="3941784"/>
                </a:cubicBezTo>
                <a:cubicBezTo>
                  <a:pt x="998186" y="3925334"/>
                  <a:pt x="899381" y="3907618"/>
                  <a:pt x="798042" y="3905087"/>
                </a:cubicBezTo>
                <a:cubicBezTo>
                  <a:pt x="765107" y="3903822"/>
                  <a:pt x="733439" y="3906352"/>
                  <a:pt x="700504" y="3906352"/>
                </a:cubicBezTo>
                <a:cubicBezTo>
                  <a:pt x="678969" y="3906352"/>
                  <a:pt x="672636" y="3901291"/>
                  <a:pt x="668835" y="3878513"/>
                </a:cubicBezTo>
                <a:cubicBezTo>
                  <a:pt x="677703" y="3878513"/>
                  <a:pt x="686569" y="3878513"/>
                  <a:pt x="694171" y="3878513"/>
                </a:cubicBezTo>
                <a:cubicBezTo>
                  <a:pt x="766374" y="3877248"/>
                  <a:pt x="833510" y="3859532"/>
                  <a:pt x="894314" y="3822835"/>
                </a:cubicBezTo>
                <a:cubicBezTo>
                  <a:pt x="923448" y="3806384"/>
                  <a:pt x="948784" y="3786138"/>
                  <a:pt x="966518" y="3758298"/>
                </a:cubicBezTo>
                <a:cubicBezTo>
                  <a:pt x="994386" y="3714009"/>
                  <a:pt x="993119" y="3669719"/>
                  <a:pt x="970318" y="3625429"/>
                </a:cubicBezTo>
                <a:cubicBezTo>
                  <a:pt x="962717" y="3625429"/>
                  <a:pt x="956384" y="3625429"/>
                  <a:pt x="951317" y="3625429"/>
                </a:cubicBezTo>
                <a:cubicBezTo>
                  <a:pt x="874047" y="3641879"/>
                  <a:pt x="799309" y="3667188"/>
                  <a:pt x="732172" y="3711478"/>
                </a:cubicBezTo>
                <a:cubicBezTo>
                  <a:pt x="711905" y="3725397"/>
                  <a:pt x="691636" y="3743113"/>
                  <a:pt x="673902" y="3762094"/>
                </a:cubicBezTo>
                <a:cubicBezTo>
                  <a:pt x="652368" y="3783607"/>
                  <a:pt x="639701" y="3811446"/>
                  <a:pt x="643501" y="3843081"/>
                </a:cubicBezTo>
                <a:cubicBezTo>
                  <a:pt x="644768" y="3863328"/>
                  <a:pt x="643501" y="3878513"/>
                  <a:pt x="619432" y="3881044"/>
                </a:cubicBezTo>
                <a:cubicBezTo>
                  <a:pt x="620700" y="3897495"/>
                  <a:pt x="632101" y="3898760"/>
                  <a:pt x="642234" y="3900025"/>
                </a:cubicBezTo>
                <a:cubicBezTo>
                  <a:pt x="651101" y="3901291"/>
                  <a:pt x="659969" y="3903822"/>
                  <a:pt x="659969" y="3920272"/>
                </a:cubicBezTo>
                <a:cubicBezTo>
                  <a:pt x="640967" y="3916476"/>
                  <a:pt x="624499" y="3913945"/>
                  <a:pt x="608032" y="3907618"/>
                </a:cubicBezTo>
                <a:cubicBezTo>
                  <a:pt x="575097" y="3896229"/>
                  <a:pt x="561163" y="3872186"/>
                  <a:pt x="572564" y="3838020"/>
                </a:cubicBezTo>
                <a:cubicBezTo>
                  <a:pt x="580164" y="3816508"/>
                  <a:pt x="591564" y="3796261"/>
                  <a:pt x="604232" y="3777280"/>
                </a:cubicBezTo>
                <a:cubicBezTo>
                  <a:pt x="635900" y="3730459"/>
                  <a:pt x="677703" y="3691231"/>
                  <a:pt x="722039" y="3655799"/>
                </a:cubicBezTo>
                <a:cubicBezTo>
                  <a:pt x="729639" y="3649472"/>
                  <a:pt x="739773" y="3645676"/>
                  <a:pt x="749907" y="3641879"/>
                </a:cubicBezTo>
                <a:cubicBezTo>
                  <a:pt x="791708" y="3624164"/>
                  <a:pt x="833510" y="3607713"/>
                  <a:pt x="874047" y="3587467"/>
                </a:cubicBezTo>
                <a:cubicBezTo>
                  <a:pt x="900647" y="3573547"/>
                  <a:pt x="925982" y="3555831"/>
                  <a:pt x="948784" y="3535584"/>
                </a:cubicBezTo>
                <a:cubicBezTo>
                  <a:pt x="976652" y="3511541"/>
                  <a:pt x="990585" y="3482437"/>
                  <a:pt x="970318" y="3448270"/>
                </a:cubicBezTo>
                <a:cubicBezTo>
                  <a:pt x="975385" y="3438147"/>
                  <a:pt x="980452" y="3430555"/>
                  <a:pt x="986786" y="3420431"/>
                </a:cubicBezTo>
                <a:cubicBezTo>
                  <a:pt x="966518" y="3412838"/>
                  <a:pt x="950050" y="3406511"/>
                  <a:pt x="932316" y="3400184"/>
                </a:cubicBezTo>
                <a:cubicBezTo>
                  <a:pt x="936117" y="3395123"/>
                  <a:pt x="938650" y="3391327"/>
                  <a:pt x="939916" y="3387530"/>
                </a:cubicBezTo>
                <a:cubicBezTo>
                  <a:pt x="944983" y="3368549"/>
                  <a:pt x="933583" y="3354629"/>
                  <a:pt x="914582" y="3357160"/>
                </a:cubicBezTo>
                <a:cubicBezTo>
                  <a:pt x="889247" y="3360956"/>
                  <a:pt x="863912" y="3368549"/>
                  <a:pt x="838577" y="3371080"/>
                </a:cubicBezTo>
                <a:cubicBezTo>
                  <a:pt x="815776" y="3374876"/>
                  <a:pt x="811977" y="3369814"/>
                  <a:pt x="804376" y="3349568"/>
                </a:cubicBezTo>
                <a:cubicBezTo>
                  <a:pt x="801843" y="3341975"/>
                  <a:pt x="799309" y="3334382"/>
                  <a:pt x="794242" y="3320463"/>
                </a:cubicBezTo>
                <a:cubicBezTo>
                  <a:pt x="780308" y="3341975"/>
                  <a:pt x="771440" y="3359691"/>
                  <a:pt x="761307" y="3376141"/>
                </a:cubicBezTo>
                <a:cubicBezTo>
                  <a:pt x="751173" y="3392592"/>
                  <a:pt x="739773" y="3409042"/>
                  <a:pt x="728372" y="3428024"/>
                </a:cubicBezTo>
                <a:cubicBezTo>
                  <a:pt x="742306" y="3431820"/>
                  <a:pt x="754973" y="3434351"/>
                  <a:pt x="770174" y="3438147"/>
                </a:cubicBezTo>
                <a:cubicBezTo>
                  <a:pt x="756240" y="3401450"/>
                  <a:pt x="776507" y="3374876"/>
                  <a:pt x="811977" y="3378672"/>
                </a:cubicBezTo>
                <a:cubicBezTo>
                  <a:pt x="810709" y="3388796"/>
                  <a:pt x="809443" y="3398919"/>
                  <a:pt x="808176" y="3412838"/>
                </a:cubicBezTo>
                <a:cubicBezTo>
                  <a:pt x="820843" y="3410308"/>
                  <a:pt x="829711" y="3409042"/>
                  <a:pt x="838577" y="3407777"/>
                </a:cubicBezTo>
                <a:cubicBezTo>
                  <a:pt x="849978" y="3405246"/>
                  <a:pt x="861378" y="3401450"/>
                  <a:pt x="872779" y="3400184"/>
                </a:cubicBezTo>
                <a:cubicBezTo>
                  <a:pt x="880380" y="3398919"/>
                  <a:pt x="890514" y="3398919"/>
                  <a:pt x="894314" y="3402715"/>
                </a:cubicBezTo>
                <a:cubicBezTo>
                  <a:pt x="903181" y="3414104"/>
                  <a:pt x="914582" y="3411573"/>
                  <a:pt x="924716" y="3412838"/>
                </a:cubicBezTo>
                <a:cubicBezTo>
                  <a:pt x="933583" y="3414104"/>
                  <a:pt x="941183" y="3416634"/>
                  <a:pt x="948784" y="3417900"/>
                </a:cubicBezTo>
                <a:cubicBezTo>
                  <a:pt x="948784" y="3420431"/>
                  <a:pt x="950050" y="3421696"/>
                  <a:pt x="950050" y="3424227"/>
                </a:cubicBezTo>
                <a:cubicBezTo>
                  <a:pt x="942450" y="3429289"/>
                  <a:pt x="933583" y="3435616"/>
                  <a:pt x="924716" y="3439412"/>
                </a:cubicBezTo>
                <a:cubicBezTo>
                  <a:pt x="909515" y="3447005"/>
                  <a:pt x="893047" y="3452066"/>
                  <a:pt x="875313" y="3455863"/>
                </a:cubicBezTo>
                <a:cubicBezTo>
                  <a:pt x="806910" y="3474844"/>
                  <a:pt x="738506" y="3473579"/>
                  <a:pt x="673902" y="3440678"/>
                </a:cubicBezTo>
                <a:cubicBezTo>
                  <a:pt x="663768" y="3435616"/>
                  <a:pt x="652368" y="3428024"/>
                  <a:pt x="646034" y="3417900"/>
                </a:cubicBezTo>
                <a:cubicBezTo>
                  <a:pt x="637167" y="3403981"/>
                  <a:pt x="628300" y="3396388"/>
                  <a:pt x="611833" y="3400184"/>
                </a:cubicBezTo>
                <a:cubicBezTo>
                  <a:pt x="606765" y="3401450"/>
                  <a:pt x="601698" y="3398919"/>
                  <a:pt x="596631" y="3398919"/>
                </a:cubicBezTo>
                <a:cubicBezTo>
                  <a:pt x="596631" y="3396388"/>
                  <a:pt x="595365" y="3395123"/>
                  <a:pt x="595365" y="3392592"/>
                </a:cubicBezTo>
                <a:cubicBezTo>
                  <a:pt x="604232" y="3390061"/>
                  <a:pt x="611833" y="3386264"/>
                  <a:pt x="620700" y="3383733"/>
                </a:cubicBezTo>
                <a:cubicBezTo>
                  <a:pt x="627034" y="3382468"/>
                  <a:pt x="633367" y="3382468"/>
                  <a:pt x="639701" y="3379937"/>
                </a:cubicBezTo>
                <a:cubicBezTo>
                  <a:pt x="675169" y="3372345"/>
                  <a:pt x="686569" y="3343240"/>
                  <a:pt x="667569" y="3312871"/>
                </a:cubicBezTo>
                <a:cubicBezTo>
                  <a:pt x="663768" y="3306543"/>
                  <a:pt x="658701" y="3301481"/>
                  <a:pt x="654902" y="3296420"/>
                </a:cubicBezTo>
                <a:cubicBezTo>
                  <a:pt x="634634" y="3274908"/>
                  <a:pt x="601698" y="3273643"/>
                  <a:pt x="581431" y="3250865"/>
                </a:cubicBezTo>
                <a:cubicBezTo>
                  <a:pt x="576364" y="3245803"/>
                  <a:pt x="566230" y="3247069"/>
                  <a:pt x="558630" y="3244538"/>
                </a:cubicBezTo>
                <a:cubicBezTo>
                  <a:pt x="549763" y="3240742"/>
                  <a:pt x="537095" y="3240742"/>
                  <a:pt x="530762" y="3226821"/>
                </a:cubicBezTo>
                <a:cubicBezTo>
                  <a:pt x="551029" y="3221760"/>
                  <a:pt x="570030" y="3212902"/>
                  <a:pt x="570030" y="3192656"/>
                </a:cubicBezTo>
                <a:cubicBezTo>
                  <a:pt x="570030" y="3169878"/>
                  <a:pt x="580164" y="3155959"/>
                  <a:pt x="597899" y="3144569"/>
                </a:cubicBezTo>
                <a:cubicBezTo>
                  <a:pt x="609299" y="3136977"/>
                  <a:pt x="615633" y="3128119"/>
                  <a:pt x="609299" y="3110403"/>
                </a:cubicBezTo>
                <a:cubicBezTo>
                  <a:pt x="542163" y="3115465"/>
                  <a:pt x="478825" y="3148365"/>
                  <a:pt x="409155" y="3133181"/>
                </a:cubicBezTo>
                <a:cubicBezTo>
                  <a:pt x="412956" y="3119261"/>
                  <a:pt x="434490" y="3114199"/>
                  <a:pt x="420556" y="3095218"/>
                </a:cubicBezTo>
                <a:cubicBezTo>
                  <a:pt x="405355" y="3124323"/>
                  <a:pt x="382553" y="3101545"/>
                  <a:pt x="362286" y="3102810"/>
                </a:cubicBezTo>
                <a:cubicBezTo>
                  <a:pt x="364819" y="3106607"/>
                  <a:pt x="364819" y="3107872"/>
                  <a:pt x="366086" y="3109137"/>
                </a:cubicBezTo>
                <a:cubicBezTo>
                  <a:pt x="372420" y="3116731"/>
                  <a:pt x="378754" y="3124323"/>
                  <a:pt x="371153" y="3131915"/>
                </a:cubicBezTo>
                <a:cubicBezTo>
                  <a:pt x="363553" y="3139508"/>
                  <a:pt x="354685" y="3139508"/>
                  <a:pt x="344551" y="3131915"/>
                </a:cubicBezTo>
                <a:cubicBezTo>
                  <a:pt x="338218" y="3126854"/>
                  <a:pt x="329351" y="3126854"/>
                  <a:pt x="321750" y="3125588"/>
                </a:cubicBezTo>
                <a:cubicBezTo>
                  <a:pt x="314150" y="3124323"/>
                  <a:pt x="307817" y="3124323"/>
                  <a:pt x="300216" y="3124323"/>
                </a:cubicBezTo>
                <a:cubicBezTo>
                  <a:pt x="298949" y="3110403"/>
                  <a:pt x="305283" y="3105341"/>
                  <a:pt x="315417" y="3105341"/>
                </a:cubicBezTo>
                <a:cubicBezTo>
                  <a:pt x="321750" y="3105341"/>
                  <a:pt x="326817" y="3106607"/>
                  <a:pt x="333151" y="3106607"/>
                </a:cubicBezTo>
                <a:cubicBezTo>
                  <a:pt x="342018" y="3106607"/>
                  <a:pt x="347085" y="3101545"/>
                  <a:pt x="344551" y="3088891"/>
                </a:cubicBezTo>
                <a:cubicBezTo>
                  <a:pt x="331884" y="3097749"/>
                  <a:pt x="317951" y="3105341"/>
                  <a:pt x="309083" y="3087626"/>
                </a:cubicBezTo>
                <a:cubicBezTo>
                  <a:pt x="312884" y="3064848"/>
                  <a:pt x="340752" y="3071175"/>
                  <a:pt x="350886" y="3049663"/>
                </a:cubicBezTo>
                <a:cubicBezTo>
                  <a:pt x="328084" y="3066113"/>
                  <a:pt x="317951" y="3044601"/>
                  <a:pt x="305283" y="3037009"/>
                </a:cubicBezTo>
                <a:cubicBezTo>
                  <a:pt x="290082" y="3044601"/>
                  <a:pt x="287548" y="3055990"/>
                  <a:pt x="292615" y="3071175"/>
                </a:cubicBezTo>
                <a:cubicBezTo>
                  <a:pt x="295149" y="3080033"/>
                  <a:pt x="300216" y="3090156"/>
                  <a:pt x="286282" y="3096483"/>
                </a:cubicBezTo>
                <a:cubicBezTo>
                  <a:pt x="281215" y="3092687"/>
                  <a:pt x="276148" y="3088891"/>
                  <a:pt x="271081" y="3085095"/>
                </a:cubicBezTo>
                <a:cubicBezTo>
                  <a:pt x="252080" y="3073705"/>
                  <a:pt x="252080" y="3071175"/>
                  <a:pt x="264747" y="3053459"/>
                </a:cubicBezTo>
                <a:cubicBezTo>
                  <a:pt x="268548" y="3047132"/>
                  <a:pt x="272348" y="3040805"/>
                  <a:pt x="274881" y="3033213"/>
                </a:cubicBezTo>
                <a:cubicBezTo>
                  <a:pt x="277415" y="3024355"/>
                  <a:pt x="277415" y="3015497"/>
                  <a:pt x="281215" y="3006639"/>
                </a:cubicBezTo>
                <a:cubicBezTo>
                  <a:pt x="305283" y="2952226"/>
                  <a:pt x="290082" y="2924387"/>
                  <a:pt x="231812" y="2918059"/>
                </a:cubicBezTo>
                <a:cubicBezTo>
                  <a:pt x="201411" y="2915528"/>
                  <a:pt x="172276" y="2916794"/>
                  <a:pt x="141874" y="2916794"/>
                </a:cubicBezTo>
                <a:cubicBezTo>
                  <a:pt x="107672" y="2915528"/>
                  <a:pt x="73471" y="2914264"/>
                  <a:pt x="38002" y="2911732"/>
                </a:cubicBezTo>
                <a:cubicBezTo>
                  <a:pt x="25335" y="2910466"/>
                  <a:pt x="12667" y="2907936"/>
                  <a:pt x="0" y="2905405"/>
                </a:cubicBezTo>
                <a:lnTo>
                  <a:pt x="0" y="2778863"/>
                </a:lnTo>
                <a:cubicBezTo>
                  <a:pt x="16468" y="2767475"/>
                  <a:pt x="34202" y="2754820"/>
                  <a:pt x="50670" y="2743431"/>
                </a:cubicBezTo>
                <a:cubicBezTo>
                  <a:pt x="96272" y="2710530"/>
                  <a:pt x="143141" y="2678895"/>
                  <a:pt x="158342" y="2618155"/>
                </a:cubicBezTo>
                <a:cubicBezTo>
                  <a:pt x="171010" y="2621951"/>
                  <a:pt x="181143" y="2623216"/>
                  <a:pt x="190010" y="2628278"/>
                </a:cubicBezTo>
                <a:cubicBezTo>
                  <a:pt x="203944" y="2635870"/>
                  <a:pt x="214078" y="2630809"/>
                  <a:pt x="221679" y="2619420"/>
                </a:cubicBezTo>
                <a:cubicBezTo>
                  <a:pt x="225479" y="2613093"/>
                  <a:pt x="226745" y="2606767"/>
                  <a:pt x="230546" y="2601705"/>
                </a:cubicBezTo>
                <a:cubicBezTo>
                  <a:pt x="244480" y="2582723"/>
                  <a:pt x="262214" y="2568804"/>
                  <a:pt x="285016" y="2571334"/>
                </a:cubicBezTo>
                <a:cubicBezTo>
                  <a:pt x="310350" y="2573866"/>
                  <a:pt x="330618" y="2567537"/>
                  <a:pt x="350886" y="2556149"/>
                </a:cubicBezTo>
                <a:cubicBezTo>
                  <a:pt x="353419" y="2554884"/>
                  <a:pt x="354685" y="2552353"/>
                  <a:pt x="357219" y="2551087"/>
                </a:cubicBezTo>
                <a:cubicBezTo>
                  <a:pt x="352152" y="2544760"/>
                  <a:pt x="347085" y="2539699"/>
                  <a:pt x="340752" y="2532106"/>
                </a:cubicBezTo>
                <a:cubicBezTo>
                  <a:pt x="355953" y="2523248"/>
                  <a:pt x="368620" y="2515656"/>
                  <a:pt x="382553" y="2508063"/>
                </a:cubicBezTo>
                <a:cubicBezTo>
                  <a:pt x="402822" y="2496675"/>
                  <a:pt x="424356" y="2486551"/>
                  <a:pt x="444623" y="2475162"/>
                </a:cubicBezTo>
                <a:cubicBezTo>
                  <a:pt x="457291" y="2467570"/>
                  <a:pt x="468691" y="2458712"/>
                  <a:pt x="469959" y="2443526"/>
                </a:cubicBezTo>
                <a:cubicBezTo>
                  <a:pt x="457291" y="2432138"/>
                  <a:pt x="444623" y="2434669"/>
                  <a:pt x="430690" y="2437200"/>
                </a:cubicBezTo>
                <a:cubicBezTo>
                  <a:pt x="412956" y="2440996"/>
                  <a:pt x="393954" y="2442261"/>
                  <a:pt x="374954" y="2443526"/>
                </a:cubicBezTo>
                <a:cubicBezTo>
                  <a:pt x="372420" y="2443526"/>
                  <a:pt x="369887" y="2440996"/>
                  <a:pt x="367352" y="2439730"/>
                </a:cubicBezTo>
                <a:cubicBezTo>
                  <a:pt x="367352" y="2434669"/>
                  <a:pt x="368620" y="2430873"/>
                  <a:pt x="369887" y="2425811"/>
                </a:cubicBezTo>
                <a:cubicBezTo>
                  <a:pt x="363553" y="2424546"/>
                  <a:pt x="357219" y="2424546"/>
                  <a:pt x="350886" y="2423280"/>
                </a:cubicBezTo>
                <a:cubicBezTo>
                  <a:pt x="353419" y="2410625"/>
                  <a:pt x="354685" y="2397972"/>
                  <a:pt x="355953" y="2386583"/>
                </a:cubicBezTo>
                <a:cubicBezTo>
                  <a:pt x="342018" y="2389114"/>
                  <a:pt x="330618" y="2391645"/>
                  <a:pt x="319217" y="2394175"/>
                </a:cubicBezTo>
                <a:cubicBezTo>
                  <a:pt x="309083" y="2397972"/>
                  <a:pt x="295149" y="2392910"/>
                  <a:pt x="288816" y="2408095"/>
                </a:cubicBezTo>
                <a:cubicBezTo>
                  <a:pt x="331884" y="2409360"/>
                  <a:pt x="340752" y="2415687"/>
                  <a:pt x="343285" y="2449855"/>
                </a:cubicBezTo>
                <a:cubicBezTo>
                  <a:pt x="323018" y="2439730"/>
                  <a:pt x="309083" y="2451119"/>
                  <a:pt x="293882" y="2462508"/>
                </a:cubicBezTo>
                <a:cubicBezTo>
                  <a:pt x="287548" y="2467570"/>
                  <a:pt x="279948" y="2472631"/>
                  <a:pt x="272348" y="2475162"/>
                </a:cubicBezTo>
                <a:cubicBezTo>
                  <a:pt x="267281" y="2477693"/>
                  <a:pt x="260948" y="2475162"/>
                  <a:pt x="255881" y="2475162"/>
                </a:cubicBezTo>
                <a:cubicBezTo>
                  <a:pt x="264747" y="2466305"/>
                  <a:pt x="273615" y="2461243"/>
                  <a:pt x="282481" y="2454916"/>
                </a:cubicBezTo>
                <a:cubicBezTo>
                  <a:pt x="293882" y="2447323"/>
                  <a:pt x="292615" y="2443526"/>
                  <a:pt x="278682" y="2428342"/>
                </a:cubicBezTo>
                <a:cubicBezTo>
                  <a:pt x="268548" y="2432138"/>
                  <a:pt x="258414" y="2437200"/>
                  <a:pt x="248280" y="2440996"/>
                </a:cubicBezTo>
                <a:cubicBezTo>
                  <a:pt x="206478" y="2458712"/>
                  <a:pt x="164675" y="2476428"/>
                  <a:pt x="122873" y="2492878"/>
                </a:cubicBezTo>
                <a:cubicBezTo>
                  <a:pt x="83605" y="2508063"/>
                  <a:pt x="41802" y="2515656"/>
                  <a:pt x="0" y="2503002"/>
                </a:cubicBezTo>
                <a:lnTo>
                  <a:pt x="0" y="2439730"/>
                </a:lnTo>
                <a:cubicBezTo>
                  <a:pt x="15201" y="2442261"/>
                  <a:pt x="24068" y="2451119"/>
                  <a:pt x="34202" y="2463774"/>
                </a:cubicBezTo>
                <a:cubicBezTo>
                  <a:pt x="26602" y="2468835"/>
                  <a:pt x="20268" y="2472631"/>
                  <a:pt x="12667" y="2478958"/>
                </a:cubicBezTo>
                <a:cubicBezTo>
                  <a:pt x="39269" y="2486551"/>
                  <a:pt x="62070" y="2482754"/>
                  <a:pt x="87405" y="2478958"/>
                </a:cubicBezTo>
                <a:cubicBezTo>
                  <a:pt x="81071" y="2462508"/>
                  <a:pt x="70938" y="2453650"/>
                  <a:pt x="58270" y="2448588"/>
                </a:cubicBezTo>
                <a:cubicBezTo>
                  <a:pt x="39269" y="2442261"/>
                  <a:pt x="19001" y="2434669"/>
                  <a:pt x="0" y="2428342"/>
                </a:cubicBezTo>
                <a:lnTo>
                  <a:pt x="0" y="2422015"/>
                </a:lnTo>
                <a:cubicBezTo>
                  <a:pt x="10134" y="2419484"/>
                  <a:pt x="21535" y="2415687"/>
                  <a:pt x="35468" y="2411892"/>
                </a:cubicBezTo>
                <a:cubicBezTo>
                  <a:pt x="50670" y="2439730"/>
                  <a:pt x="77271" y="2453650"/>
                  <a:pt x="108940" y="2465039"/>
                </a:cubicBezTo>
                <a:cubicBezTo>
                  <a:pt x="117806" y="2429607"/>
                  <a:pt x="114006" y="2424546"/>
                  <a:pt x="83605" y="2419484"/>
                </a:cubicBezTo>
                <a:cubicBezTo>
                  <a:pt x="89938" y="2428342"/>
                  <a:pt x="95005" y="2435934"/>
                  <a:pt x="101339" y="2444792"/>
                </a:cubicBezTo>
                <a:cubicBezTo>
                  <a:pt x="73471" y="2442261"/>
                  <a:pt x="58270" y="2428342"/>
                  <a:pt x="54470" y="2405564"/>
                </a:cubicBezTo>
                <a:cubicBezTo>
                  <a:pt x="49403" y="2384052"/>
                  <a:pt x="58270" y="2368867"/>
                  <a:pt x="82338" y="2360009"/>
                </a:cubicBezTo>
                <a:cubicBezTo>
                  <a:pt x="96272" y="2354947"/>
                  <a:pt x="110206" y="2351151"/>
                  <a:pt x="124140" y="2348620"/>
                </a:cubicBezTo>
                <a:cubicBezTo>
                  <a:pt x="152008" y="2343559"/>
                  <a:pt x="157075" y="2322046"/>
                  <a:pt x="153275" y="2295472"/>
                </a:cubicBezTo>
                <a:cubicBezTo>
                  <a:pt x="151375" y="2277440"/>
                  <a:pt x="140212" y="2265103"/>
                  <a:pt x="124595" y="2262729"/>
                </a:cubicBezTo>
                <a:cubicBezTo>
                  <a:pt x="119390" y="2261940"/>
                  <a:pt x="113690" y="2262255"/>
                  <a:pt x="107672" y="2263837"/>
                </a:cubicBezTo>
                <a:cubicBezTo>
                  <a:pt x="88672" y="2267634"/>
                  <a:pt x="68404" y="2275226"/>
                  <a:pt x="51936" y="2285349"/>
                </a:cubicBezTo>
                <a:cubicBezTo>
                  <a:pt x="7601" y="2314454"/>
                  <a:pt x="6334" y="2343559"/>
                  <a:pt x="43069" y="2382787"/>
                </a:cubicBezTo>
                <a:cubicBezTo>
                  <a:pt x="35468" y="2386583"/>
                  <a:pt x="27868" y="2390379"/>
                  <a:pt x="20268" y="2394175"/>
                </a:cubicBezTo>
                <a:cubicBezTo>
                  <a:pt x="11401" y="2378991"/>
                  <a:pt x="19001" y="2360009"/>
                  <a:pt x="0" y="2353682"/>
                </a:cubicBezTo>
                <a:lnTo>
                  <a:pt x="0" y="2249917"/>
                </a:lnTo>
                <a:cubicBezTo>
                  <a:pt x="3801" y="2248652"/>
                  <a:pt x="8868" y="2248652"/>
                  <a:pt x="13935" y="2248652"/>
                </a:cubicBezTo>
                <a:cubicBezTo>
                  <a:pt x="27868" y="2244856"/>
                  <a:pt x="34202" y="2235998"/>
                  <a:pt x="35468" y="2222079"/>
                </a:cubicBezTo>
                <a:cubicBezTo>
                  <a:pt x="36736" y="2208158"/>
                  <a:pt x="31669" y="2198035"/>
                  <a:pt x="17734" y="2192974"/>
                </a:cubicBezTo>
                <a:cubicBezTo>
                  <a:pt x="11401" y="2191708"/>
                  <a:pt x="5067" y="2189178"/>
                  <a:pt x="0" y="2186647"/>
                </a:cubicBezTo>
                <a:lnTo>
                  <a:pt x="0" y="2139825"/>
                </a:lnTo>
                <a:cubicBezTo>
                  <a:pt x="17734" y="2132233"/>
                  <a:pt x="5067" y="2110721"/>
                  <a:pt x="16468" y="2098067"/>
                </a:cubicBezTo>
                <a:cubicBezTo>
                  <a:pt x="24068" y="2101863"/>
                  <a:pt x="30402" y="2104395"/>
                  <a:pt x="39269" y="2108191"/>
                </a:cubicBezTo>
                <a:cubicBezTo>
                  <a:pt x="35468" y="2081617"/>
                  <a:pt x="31669" y="2077820"/>
                  <a:pt x="0" y="2071494"/>
                </a:cubicBezTo>
                <a:lnTo>
                  <a:pt x="0" y="1766527"/>
                </a:lnTo>
                <a:cubicBezTo>
                  <a:pt x="3801" y="1763996"/>
                  <a:pt x="10134" y="1761466"/>
                  <a:pt x="11401" y="1757669"/>
                </a:cubicBezTo>
                <a:cubicBezTo>
                  <a:pt x="12667" y="1750076"/>
                  <a:pt x="10134" y="1743749"/>
                  <a:pt x="0" y="1743749"/>
                </a:cubicBezTo>
                <a:lnTo>
                  <a:pt x="0" y="1714644"/>
                </a:lnTo>
                <a:cubicBezTo>
                  <a:pt x="13935" y="1712114"/>
                  <a:pt x="26602" y="1712114"/>
                  <a:pt x="34202" y="1729830"/>
                </a:cubicBezTo>
                <a:cubicBezTo>
                  <a:pt x="38002" y="1739953"/>
                  <a:pt x="46870" y="1736157"/>
                  <a:pt x="53204" y="1726034"/>
                </a:cubicBezTo>
                <a:cubicBezTo>
                  <a:pt x="44336" y="1709583"/>
                  <a:pt x="34202" y="1691867"/>
                  <a:pt x="24068" y="1675416"/>
                </a:cubicBezTo>
                <a:cubicBezTo>
                  <a:pt x="13935" y="1686806"/>
                  <a:pt x="6334" y="1694398"/>
                  <a:pt x="0" y="1703256"/>
                </a:cubicBezTo>
                <a:lnTo>
                  <a:pt x="0" y="1495727"/>
                </a:lnTo>
                <a:cubicBezTo>
                  <a:pt x="21535" y="1478011"/>
                  <a:pt x="24068" y="1471684"/>
                  <a:pt x="17734" y="1450172"/>
                </a:cubicBezTo>
                <a:cubicBezTo>
                  <a:pt x="11401" y="1451438"/>
                  <a:pt x="5067" y="1453968"/>
                  <a:pt x="0" y="1455234"/>
                </a:cubicBezTo>
                <a:lnTo>
                  <a:pt x="0" y="966781"/>
                </a:lnTo>
                <a:cubicBezTo>
                  <a:pt x="17734" y="961720"/>
                  <a:pt x="31669" y="938942"/>
                  <a:pt x="55736" y="959189"/>
                </a:cubicBezTo>
                <a:cubicBezTo>
                  <a:pt x="50670" y="946535"/>
                  <a:pt x="48137" y="940207"/>
                  <a:pt x="45603" y="933880"/>
                </a:cubicBezTo>
                <a:cubicBezTo>
                  <a:pt x="30402" y="931349"/>
                  <a:pt x="15201" y="928819"/>
                  <a:pt x="0" y="926288"/>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9726223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7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37307B9C-8004-41F6-A233-307B1F519855}"/>
              </a:ext>
            </a:extLst>
          </p:cNvPr>
          <p:cNvSpPr>
            <a:spLocks noGrp="1"/>
          </p:cNvSpPr>
          <p:nvPr>
            <p:ph type="pic" sz="quarter" idx="20"/>
          </p:nvPr>
        </p:nvSpPr>
        <p:spPr>
          <a:xfrm>
            <a:off x="864501" y="739612"/>
            <a:ext cx="14473029" cy="5469908"/>
          </a:xfrm>
          <a:custGeom>
            <a:avLst/>
            <a:gdLst>
              <a:gd name="connsiteX0" fmla="*/ 1260840 w 10890933"/>
              <a:gd name="connsiteY0" fmla="*/ 4154179 h 4167549"/>
              <a:gd name="connsiteX1" fmla="*/ 1279352 w 10890933"/>
              <a:gd name="connsiteY1" fmla="*/ 4159140 h 4167549"/>
              <a:gd name="connsiteX2" fmla="*/ 1260840 w 10890933"/>
              <a:gd name="connsiteY2" fmla="*/ 4154179 h 4167549"/>
              <a:gd name="connsiteX3" fmla="*/ 2082663 w 10890933"/>
              <a:gd name="connsiteY3" fmla="*/ 4061340 h 4167549"/>
              <a:gd name="connsiteX4" fmla="*/ 2088686 w 10890933"/>
              <a:gd name="connsiteY4" fmla="*/ 4071772 h 4167549"/>
              <a:gd name="connsiteX5" fmla="*/ 2070026 w 10890933"/>
              <a:gd name="connsiteY5" fmla="*/ 4075590 h 4167549"/>
              <a:gd name="connsiteX6" fmla="*/ 2082663 w 10890933"/>
              <a:gd name="connsiteY6" fmla="*/ 4061340 h 4167549"/>
              <a:gd name="connsiteX7" fmla="*/ 2167854 w 10890933"/>
              <a:gd name="connsiteY7" fmla="*/ 4053305 h 4167549"/>
              <a:gd name="connsiteX8" fmla="*/ 2166752 w 10890933"/>
              <a:gd name="connsiteY8" fmla="*/ 4057417 h 4167549"/>
              <a:gd name="connsiteX9" fmla="*/ 2117777 w 10890933"/>
              <a:gd name="connsiteY9" fmla="*/ 4061931 h 4167549"/>
              <a:gd name="connsiteX10" fmla="*/ 2177871 w 10890933"/>
              <a:gd name="connsiteY10" fmla="*/ 4051578 h 4167549"/>
              <a:gd name="connsiteX11" fmla="*/ 2172587 w 10890933"/>
              <a:gd name="connsiteY11" fmla="*/ 4053470 h 4167549"/>
              <a:gd name="connsiteX12" fmla="*/ 2171860 w 10890933"/>
              <a:gd name="connsiteY12" fmla="*/ 4052615 h 4167549"/>
              <a:gd name="connsiteX13" fmla="*/ 2168957 w 10890933"/>
              <a:gd name="connsiteY13" fmla="*/ 4049189 h 4167549"/>
              <a:gd name="connsiteX14" fmla="*/ 2171860 w 10890933"/>
              <a:gd name="connsiteY14" fmla="*/ 4052615 h 4167549"/>
              <a:gd name="connsiteX15" fmla="*/ 2167854 w 10890933"/>
              <a:gd name="connsiteY15" fmla="*/ 4053305 h 4167549"/>
              <a:gd name="connsiteX16" fmla="*/ 2546872 w 10890933"/>
              <a:gd name="connsiteY16" fmla="*/ 4040222 h 4167549"/>
              <a:gd name="connsiteX17" fmla="*/ 2550690 w 10890933"/>
              <a:gd name="connsiteY17" fmla="*/ 4058882 h 4167549"/>
              <a:gd name="connsiteX18" fmla="*/ 2526008 w 10890933"/>
              <a:gd name="connsiteY18" fmla="*/ 4052268 h 4167549"/>
              <a:gd name="connsiteX19" fmla="*/ 2544668 w 10890933"/>
              <a:gd name="connsiteY19" fmla="*/ 4048450 h 4167549"/>
              <a:gd name="connsiteX20" fmla="*/ 2546872 w 10890933"/>
              <a:gd name="connsiteY20" fmla="*/ 4040222 h 4167549"/>
              <a:gd name="connsiteX21" fmla="*/ 2247589 w 10890933"/>
              <a:gd name="connsiteY21" fmla="*/ 4021757 h 4167549"/>
              <a:gd name="connsiteX22" fmla="*/ 2206963 w 10890933"/>
              <a:gd name="connsiteY22" fmla="*/ 4041737 h 4167549"/>
              <a:gd name="connsiteX23" fmla="*/ 2247589 w 10890933"/>
              <a:gd name="connsiteY23" fmla="*/ 4021757 h 4167549"/>
              <a:gd name="connsiteX24" fmla="*/ 2724129 w 10890933"/>
              <a:gd name="connsiteY24" fmla="*/ 4019115 h 4167549"/>
              <a:gd name="connsiteX25" fmla="*/ 2725707 w 10890933"/>
              <a:gd name="connsiteY25" fmla="*/ 4021125 h 4167549"/>
              <a:gd name="connsiteX26" fmla="*/ 2723841 w 10890933"/>
              <a:gd name="connsiteY26" fmla="*/ 4021506 h 4167549"/>
              <a:gd name="connsiteX27" fmla="*/ 2742501 w 10890933"/>
              <a:gd name="connsiteY27" fmla="*/ 4017687 h 4167549"/>
              <a:gd name="connsiteX28" fmla="*/ 2727678 w 10890933"/>
              <a:gd name="connsiteY28" fmla="*/ 4023636 h 4167549"/>
              <a:gd name="connsiteX29" fmla="*/ 2725707 w 10890933"/>
              <a:gd name="connsiteY29" fmla="*/ 4021125 h 4167549"/>
              <a:gd name="connsiteX30" fmla="*/ 1800428 w 10890933"/>
              <a:gd name="connsiteY30" fmla="*/ 4012170 h 4167549"/>
              <a:gd name="connsiteX31" fmla="*/ 1794916 w 10890933"/>
              <a:gd name="connsiteY31" fmla="*/ 4032740 h 4167549"/>
              <a:gd name="connsiteX32" fmla="*/ 1786689 w 10890933"/>
              <a:gd name="connsiteY32" fmla="*/ 4030535 h 4167549"/>
              <a:gd name="connsiteX33" fmla="*/ 1800428 w 10890933"/>
              <a:gd name="connsiteY33" fmla="*/ 4012170 h 4167549"/>
              <a:gd name="connsiteX34" fmla="*/ 2717818 w 10890933"/>
              <a:gd name="connsiteY34" fmla="*/ 4011073 h 4167549"/>
              <a:gd name="connsiteX35" fmla="*/ 2724742 w 10890933"/>
              <a:gd name="connsiteY35" fmla="*/ 4014031 h 4167549"/>
              <a:gd name="connsiteX36" fmla="*/ 2724129 w 10890933"/>
              <a:gd name="connsiteY36" fmla="*/ 4019115 h 4167549"/>
              <a:gd name="connsiteX37" fmla="*/ 2353227 w 10890933"/>
              <a:gd name="connsiteY37" fmla="*/ 4005972 h 4167549"/>
              <a:gd name="connsiteX38" fmla="*/ 2324136 w 10890933"/>
              <a:gd name="connsiteY38" fmla="*/ 4015813 h 4167549"/>
              <a:gd name="connsiteX39" fmla="*/ 2326340 w 10890933"/>
              <a:gd name="connsiteY39" fmla="*/ 4007585 h 4167549"/>
              <a:gd name="connsiteX40" fmla="*/ 2353227 w 10890933"/>
              <a:gd name="connsiteY40" fmla="*/ 4005972 h 4167549"/>
              <a:gd name="connsiteX41" fmla="*/ 2877231 w 10890933"/>
              <a:gd name="connsiteY41" fmla="*/ 3992060 h 4167549"/>
              <a:gd name="connsiteX42" fmla="*/ 2883254 w 10890933"/>
              <a:gd name="connsiteY42" fmla="*/ 4002492 h 4167549"/>
              <a:gd name="connsiteX43" fmla="*/ 2881049 w 10890933"/>
              <a:gd name="connsiteY43" fmla="*/ 4010720 h 4167549"/>
              <a:gd name="connsiteX44" fmla="*/ 2848139 w 10890933"/>
              <a:gd name="connsiteY44" fmla="*/ 4001902 h 4167549"/>
              <a:gd name="connsiteX45" fmla="*/ 2856367 w 10890933"/>
              <a:gd name="connsiteY45" fmla="*/ 4004106 h 4167549"/>
              <a:gd name="connsiteX46" fmla="*/ 2875026 w 10890933"/>
              <a:gd name="connsiteY46" fmla="*/ 4000288 h 4167549"/>
              <a:gd name="connsiteX47" fmla="*/ 2877231 w 10890933"/>
              <a:gd name="connsiteY47" fmla="*/ 3992060 h 4167549"/>
              <a:gd name="connsiteX48" fmla="*/ 2466949 w 10890933"/>
              <a:gd name="connsiteY48" fmla="*/ 3978025 h 4167549"/>
              <a:gd name="connsiteX49" fmla="*/ 2470034 w 10890933"/>
              <a:gd name="connsiteY49" fmla="*/ 3981425 h 4167549"/>
              <a:gd name="connsiteX50" fmla="*/ 2448435 w 10890933"/>
              <a:gd name="connsiteY50" fmla="*/ 3996212 h 4167549"/>
              <a:gd name="connsiteX51" fmla="*/ 2466949 w 10890933"/>
              <a:gd name="connsiteY51" fmla="*/ 3978025 h 4167549"/>
              <a:gd name="connsiteX52" fmla="*/ 2371028 w 10890933"/>
              <a:gd name="connsiteY52" fmla="*/ 3976571 h 4167549"/>
              <a:gd name="connsiteX53" fmla="*/ 2386730 w 10890933"/>
              <a:gd name="connsiteY53" fmla="*/ 3979676 h 4167549"/>
              <a:gd name="connsiteX54" fmla="*/ 2368071 w 10890933"/>
              <a:gd name="connsiteY54" fmla="*/ 3983494 h 4167549"/>
              <a:gd name="connsiteX55" fmla="*/ 2368068 w 10890933"/>
              <a:gd name="connsiteY55" fmla="*/ 3983494 h 4167549"/>
              <a:gd name="connsiteX56" fmla="*/ 2359844 w 10890933"/>
              <a:gd name="connsiteY56" fmla="*/ 3981290 h 4167549"/>
              <a:gd name="connsiteX57" fmla="*/ 2371028 w 10890933"/>
              <a:gd name="connsiteY57" fmla="*/ 3976571 h 4167549"/>
              <a:gd name="connsiteX58" fmla="*/ 3105718 w 10890933"/>
              <a:gd name="connsiteY58" fmla="*/ 3966203 h 4167549"/>
              <a:gd name="connsiteX59" fmla="*/ 3112090 w 10890933"/>
              <a:gd name="connsiteY59" fmla="*/ 3971216 h 4167549"/>
              <a:gd name="connsiteX60" fmla="*/ 3066543 w 10890933"/>
              <a:gd name="connsiteY60" fmla="*/ 3976648 h 4167549"/>
              <a:gd name="connsiteX61" fmla="*/ 3103863 w 10890933"/>
              <a:gd name="connsiteY61" fmla="*/ 3969011 h 4167549"/>
              <a:gd name="connsiteX62" fmla="*/ 3105718 w 10890933"/>
              <a:gd name="connsiteY62" fmla="*/ 3966203 h 4167549"/>
              <a:gd name="connsiteX63" fmla="*/ 7875720 w 10890933"/>
              <a:gd name="connsiteY63" fmla="*/ 3964574 h 4167549"/>
              <a:gd name="connsiteX64" fmla="*/ 7939633 w 10890933"/>
              <a:gd name="connsiteY64" fmla="*/ 3972881 h 4167549"/>
              <a:gd name="connsiteX65" fmla="*/ 7875720 w 10890933"/>
              <a:gd name="connsiteY65" fmla="*/ 3964574 h 4167549"/>
              <a:gd name="connsiteX66" fmla="*/ 2450129 w 10890933"/>
              <a:gd name="connsiteY66" fmla="*/ 3956983 h 4167549"/>
              <a:gd name="connsiteX67" fmla="*/ 2395639 w 10890933"/>
              <a:gd name="connsiteY67" fmla="*/ 3982066 h 4167549"/>
              <a:gd name="connsiteX68" fmla="*/ 2389208 w 10890933"/>
              <a:gd name="connsiteY68" fmla="*/ 3970421 h 4167549"/>
              <a:gd name="connsiteX69" fmla="*/ 2398119 w 10890933"/>
              <a:gd name="connsiteY69" fmla="*/ 3972809 h 4167549"/>
              <a:gd name="connsiteX70" fmla="*/ 2450129 w 10890933"/>
              <a:gd name="connsiteY70" fmla="*/ 3956983 h 4167549"/>
              <a:gd name="connsiteX71" fmla="*/ 3116499 w 10890933"/>
              <a:gd name="connsiteY71" fmla="*/ 3954761 h 4167549"/>
              <a:gd name="connsiteX72" fmla="*/ 3134600 w 10890933"/>
              <a:gd name="connsiteY72" fmla="*/ 3959611 h 4167549"/>
              <a:gd name="connsiteX73" fmla="*/ 3143651 w 10890933"/>
              <a:gd name="connsiteY73" fmla="*/ 3962036 h 4167549"/>
              <a:gd name="connsiteX74" fmla="*/ 3161752 w 10890933"/>
              <a:gd name="connsiteY74" fmla="*/ 3966886 h 4167549"/>
              <a:gd name="connsiteX75" fmla="*/ 3123346 w 10890933"/>
              <a:gd name="connsiteY75" fmla="*/ 3965414 h 4167549"/>
              <a:gd name="connsiteX76" fmla="*/ 3114295 w 10890933"/>
              <a:gd name="connsiteY76" fmla="*/ 3962989 h 4167549"/>
              <a:gd name="connsiteX77" fmla="*/ 3116499 w 10890933"/>
              <a:gd name="connsiteY77" fmla="*/ 3954761 h 4167549"/>
              <a:gd name="connsiteX78" fmla="*/ 2700340 w 10890933"/>
              <a:gd name="connsiteY78" fmla="*/ 3944662 h 4167549"/>
              <a:gd name="connsiteX79" fmla="*/ 2628843 w 10890933"/>
              <a:gd name="connsiteY79" fmla="*/ 3969596 h 4167549"/>
              <a:gd name="connsiteX80" fmla="*/ 2602930 w 10890933"/>
              <a:gd name="connsiteY80" fmla="*/ 3962653 h 4167549"/>
              <a:gd name="connsiteX81" fmla="*/ 2602927 w 10890933"/>
              <a:gd name="connsiteY81" fmla="*/ 3962652 h 4167549"/>
              <a:gd name="connsiteX82" fmla="*/ 2700340 w 10890933"/>
              <a:gd name="connsiteY82" fmla="*/ 3944662 h 4167549"/>
              <a:gd name="connsiteX83" fmla="*/ 2497880 w 10890933"/>
              <a:gd name="connsiteY83" fmla="*/ 3943323 h 4167549"/>
              <a:gd name="connsiteX84" fmla="*/ 2514335 w 10890933"/>
              <a:gd name="connsiteY84" fmla="*/ 3947732 h 4167549"/>
              <a:gd name="connsiteX85" fmla="*/ 2458356 w 10890933"/>
              <a:gd name="connsiteY85" fmla="*/ 3959187 h 4167549"/>
              <a:gd name="connsiteX86" fmla="*/ 2497880 w 10890933"/>
              <a:gd name="connsiteY86" fmla="*/ 3943323 h 4167549"/>
              <a:gd name="connsiteX87" fmla="*/ 3239697 w 10890933"/>
              <a:gd name="connsiteY87" fmla="*/ 3939272 h 4167549"/>
              <a:gd name="connsiteX88" fmla="*/ 3245169 w 10890933"/>
              <a:gd name="connsiteY88" fmla="*/ 3951762 h 4167549"/>
              <a:gd name="connsiteX89" fmla="*/ 3228714 w 10890933"/>
              <a:gd name="connsiteY89" fmla="*/ 3947353 h 4167549"/>
              <a:gd name="connsiteX90" fmla="*/ 3239697 w 10890933"/>
              <a:gd name="connsiteY90" fmla="*/ 3939272 h 4167549"/>
              <a:gd name="connsiteX91" fmla="*/ 3258356 w 10890933"/>
              <a:gd name="connsiteY91" fmla="*/ 3935454 h 4167549"/>
              <a:gd name="connsiteX92" fmla="*/ 3267958 w 10890933"/>
              <a:gd name="connsiteY92" fmla="*/ 3938027 h 4167549"/>
              <a:gd name="connsiteX93" fmla="*/ 3277556 w 10890933"/>
              <a:gd name="connsiteY93" fmla="*/ 3940599 h 4167549"/>
              <a:gd name="connsiteX94" fmla="*/ 3287154 w 10890933"/>
              <a:gd name="connsiteY94" fmla="*/ 3943171 h 4167549"/>
              <a:gd name="connsiteX95" fmla="*/ 3284950 w 10890933"/>
              <a:gd name="connsiteY95" fmla="*/ 3951398 h 4167549"/>
              <a:gd name="connsiteX96" fmla="*/ 3258356 w 10890933"/>
              <a:gd name="connsiteY96" fmla="*/ 3935454 h 4167549"/>
              <a:gd name="connsiteX97" fmla="*/ 2761214 w 10890933"/>
              <a:gd name="connsiteY97" fmla="*/ 3932866 h 4167549"/>
              <a:gd name="connsiteX98" fmla="*/ 2804879 w 10890933"/>
              <a:gd name="connsiteY98" fmla="*/ 3932990 h 4167549"/>
              <a:gd name="connsiteX99" fmla="*/ 2735455 w 10890933"/>
              <a:gd name="connsiteY99" fmla="*/ 3945253 h 4167549"/>
              <a:gd name="connsiteX100" fmla="*/ 2761214 w 10890933"/>
              <a:gd name="connsiteY100" fmla="*/ 3932866 h 4167549"/>
              <a:gd name="connsiteX101" fmla="*/ 2638635 w 10890933"/>
              <a:gd name="connsiteY101" fmla="*/ 3928128 h 4167549"/>
              <a:gd name="connsiteX102" fmla="*/ 2589168 w 10890933"/>
              <a:gd name="connsiteY102" fmla="*/ 3941329 h 4167549"/>
              <a:gd name="connsiteX103" fmla="*/ 2524767 w 10890933"/>
              <a:gd name="connsiteY103" fmla="*/ 3941709 h 4167549"/>
              <a:gd name="connsiteX104" fmla="*/ 2638635 w 10890933"/>
              <a:gd name="connsiteY104" fmla="*/ 3928128 h 4167549"/>
              <a:gd name="connsiteX105" fmla="*/ 2684684 w 10890933"/>
              <a:gd name="connsiteY105" fmla="*/ 3926294 h 4167549"/>
              <a:gd name="connsiteX106" fmla="*/ 2683503 w 10890933"/>
              <a:gd name="connsiteY106" fmla="*/ 3930702 h 4167549"/>
              <a:gd name="connsiteX107" fmla="*/ 2674369 w 10890933"/>
              <a:gd name="connsiteY107" fmla="*/ 3927425 h 4167549"/>
              <a:gd name="connsiteX108" fmla="*/ 2823334 w 10890933"/>
              <a:gd name="connsiteY108" fmla="*/ 3925810 h 4167549"/>
              <a:gd name="connsiteX109" fmla="*/ 2850423 w 10890933"/>
              <a:gd name="connsiteY109" fmla="*/ 3927557 h 4167549"/>
              <a:gd name="connsiteX110" fmla="*/ 2813104 w 10890933"/>
              <a:gd name="connsiteY110" fmla="*/ 3935194 h 4167549"/>
              <a:gd name="connsiteX111" fmla="*/ 2823334 w 10890933"/>
              <a:gd name="connsiteY111" fmla="*/ 3925810 h 4167549"/>
              <a:gd name="connsiteX112" fmla="*/ 2657524 w 10890933"/>
              <a:gd name="connsiteY112" fmla="*/ 3921380 h 4167549"/>
              <a:gd name="connsiteX113" fmla="*/ 2674369 w 10890933"/>
              <a:gd name="connsiteY113" fmla="*/ 3927425 h 4167549"/>
              <a:gd name="connsiteX114" fmla="*/ 2647134 w 10890933"/>
              <a:gd name="connsiteY114" fmla="*/ 3930406 h 4167549"/>
              <a:gd name="connsiteX115" fmla="*/ 2657524 w 10890933"/>
              <a:gd name="connsiteY115" fmla="*/ 3921380 h 4167549"/>
              <a:gd name="connsiteX116" fmla="*/ 2753786 w 10890933"/>
              <a:gd name="connsiteY116" fmla="*/ 3902737 h 4167549"/>
              <a:gd name="connsiteX117" fmla="*/ 2771831 w 10890933"/>
              <a:gd name="connsiteY117" fmla="*/ 3907129 h 4167549"/>
              <a:gd name="connsiteX118" fmla="*/ 2770591 w 10890933"/>
              <a:gd name="connsiteY118" fmla="*/ 3903256 h 4167549"/>
              <a:gd name="connsiteX119" fmla="*/ 2780333 w 10890933"/>
              <a:gd name="connsiteY119" fmla="*/ 3909407 h 4167549"/>
              <a:gd name="connsiteX120" fmla="*/ 2712847 w 10890933"/>
              <a:gd name="connsiteY120" fmla="*/ 3923215 h 4167549"/>
              <a:gd name="connsiteX121" fmla="*/ 2684684 w 10890933"/>
              <a:gd name="connsiteY121" fmla="*/ 3926294 h 4167549"/>
              <a:gd name="connsiteX122" fmla="*/ 2688227 w 10890933"/>
              <a:gd name="connsiteY122" fmla="*/ 3913073 h 4167549"/>
              <a:gd name="connsiteX123" fmla="*/ 2753786 w 10890933"/>
              <a:gd name="connsiteY123" fmla="*/ 3902737 h 4167549"/>
              <a:gd name="connsiteX124" fmla="*/ 2813697 w 10890933"/>
              <a:gd name="connsiteY124" fmla="*/ 3900080 h 4167549"/>
              <a:gd name="connsiteX125" fmla="*/ 2792293 w 10890933"/>
              <a:gd name="connsiteY125" fmla="*/ 3903163 h 4167549"/>
              <a:gd name="connsiteX126" fmla="*/ 2790089 w 10890933"/>
              <a:gd name="connsiteY126" fmla="*/ 3911391 h 4167549"/>
              <a:gd name="connsiteX127" fmla="*/ 2780491 w 10890933"/>
              <a:gd name="connsiteY127" fmla="*/ 3908819 h 4167549"/>
              <a:gd name="connsiteX128" fmla="*/ 2782695 w 10890933"/>
              <a:gd name="connsiteY128" fmla="*/ 3900591 h 4167549"/>
              <a:gd name="connsiteX129" fmla="*/ 2813697 w 10890933"/>
              <a:gd name="connsiteY129" fmla="*/ 3900080 h 4167549"/>
              <a:gd name="connsiteX130" fmla="*/ 3758029 w 10890933"/>
              <a:gd name="connsiteY130" fmla="*/ 3894077 h 4167549"/>
              <a:gd name="connsiteX131" fmla="*/ 3784863 w 10890933"/>
              <a:gd name="connsiteY131" fmla="*/ 3895756 h 4167549"/>
              <a:gd name="connsiteX132" fmla="*/ 3743427 w 10890933"/>
              <a:gd name="connsiteY132" fmla="*/ 3902290 h 4167549"/>
              <a:gd name="connsiteX133" fmla="*/ 3758029 w 10890933"/>
              <a:gd name="connsiteY133" fmla="*/ 3894077 h 4167549"/>
              <a:gd name="connsiteX134" fmla="*/ 7444821 w 10890933"/>
              <a:gd name="connsiteY134" fmla="*/ 3891945 h 4167549"/>
              <a:gd name="connsiteX135" fmla="*/ 7451686 w 10890933"/>
              <a:gd name="connsiteY135" fmla="*/ 3893069 h 4167549"/>
              <a:gd name="connsiteX136" fmla="*/ 7446936 w 10890933"/>
              <a:gd name="connsiteY136" fmla="*/ 3893773 h 4167549"/>
              <a:gd name="connsiteX137" fmla="*/ 2842786 w 10890933"/>
              <a:gd name="connsiteY137" fmla="*/ 3890238 h 4167549"/>
              <a:gd name="connsiteX138" fmla="*/ 2886129 w 10890933"/>
              <a:gd name="connsiteY138" fmla="*/ 3893033 h 4167549"/>
              <a:gd name="connsiteX139" fmla="*/ 2859241 w 10890933"/>
              <a:gd name="connsiteY139" fmla="*/ 3894647 h 4167549"/>
              <a:gd name="connsiteX140" fmla="*/ 2865264 w 10890933"/>
              <a:gd name="connsiteY140" fmla="*/ 3905079 h 4167549"/>
              <a:gd name="connsiteX141" fmla="*/ 2848809 w 10890933"/>
              <a:gd name="connsiteY141" fmla="*/ 3900670 h 4167549"/>
              <a:gd name="connsiteX142" fmla="*/ 2842786 w 10890933"/>
              <a:gd name="connsiteY142" fmla="*/ 3890238 h 4167549"/>
              <a:gd name="connsiteX143" fmla="*/ 7481374 w 10890933"/>
              <a:gd name="connsiteY143" fmla="*/ 3888672 h 4167549"/>
              <a:gd name="connsiteX144" fmla="*/ 7517231 w 10890933"/>
              <a:gd name="connsiteY144" fmla="*/ 3903790 h 4167549"/>
              <a:gd name="connsiteX145" fmla="*/ 7451686 w 10890933"/>
              <a:gd name="connsiteY145" fmla="*/ 3893069 h 4167549"/>
              <a:gd name="connsiteX146" fmla="*/ 3884102 w 10890933"/>
              <a:gd name="connsiteY146" fmla="*/ 3884979 h 4167549"/>
              <a:gd name="connsiteX147" fmla="*/ 3897628 w 10890933"/>
              <a:gd name="connsiteY147" fmla="*/ 3886291 h 4167549"/>
              <a:gd name="connsiteX148" fmla="*/ 3884714 w 10890933"/>
              <a:gd name="connsiteY148" fmla="*/ 3885310 h 4167549"/>
              <a:gd name="connsiteX149" fmla="*/ 2916866 w 10890933"/>
              <a:gd name="connsiteY149" fmla="*/ 3883633 h 4167549"/>
              <a:gd name="connsiteX150" fmla="*/ 2944018 w 10890933"/>
              <a:gd name="connsiteY150" fmla="*/ 3890908 h 4167549"/>
              <a:gd name="connsiteX151" fmla="*/ 2894356 w 10890933"/>
              <a:gd name="connsiteY151" fmla="*/ 3895238 h 4167549"/>
              <a:gd name="connsiteX152" fmla="*/ 2916866 w 10890933"/>
              <a:gd name="connsiteY152" fmla="*/ 3883633 h 4167549"/>
              <a:gd name="connsiteX153" fmla="*/ 3137445 w 10890933"/>
              <a:gd name="connsiteY153" fmla="*/ 3876601 h 4167549"/>
              <a:gd name="connsiteX154" fmla="*/ 3097921 w 10890933"/>
              <a:gd name="connsiteY154" fmla="*/ 3892466 h 4167549"/>
              <a:gd name="connsiteX155" fmla="*/ 3137445 w 10890933"/>
              <a:gd name="connsiteY155" fmla="*/ 3876601 h 4167549"/>
              <a:gd name="connsiteX156" fmla="*/ 3868309 w 10890933"/>
              <a:gd name="connsiteY156" fmla="*/ 3875955 h 4167549"/>
              <a:gd name="connsiteX157" fmla="*/ 3875644 w 10890933"/>
              <a:gd name="connsiteY157" fmla="*/ 3880400 h 4167549"/>
              <a:gd name="connsiteX158" fmla="*/ 3884102 w 10890933"/>
              <a:gd name="connsiteY158" fmla="*/ 3884979 h 4167549"/>
              <a:gd name="connsiteX159" fmla="*/ 3878288 w 10890933"/>
              <a:gd name="connsiteY159" fmla="*/ 3884415 h 4167549"/>
              <a:gd name="connsiteX160" fmla="*/ 3860602 w 10890933"/>
              <a:gd name="connsiteY160" fmla="*/ 3876370 h 4167549"/>
              <a:gd name="connsiteX161" fmla="*/ 3868309 w 10890933"/>
              <a:gd name="connsiteY161" fmla="*/ 3875955 h 4167549"/>
              <a:gd name="connsiteX162" fmla="*/ 4019721 w 10890933"/>
              <a:gd name="connsiteY162" fmla="*/ 3874914 h 4167549"/>
              <a:gd name="connsiteX163" fmla="*/ 3980051 w 10890933"/>
              <a:gd name="connsiteY163" fmla="*/ 3881921 h 4167549"/>
              <a:gd name="connsiteX164" fmla="*/ 3962419 w 10890933"/>
              <a:gd name="connsiteY164" fmla="*/ 3877197 h 4167549"/>
              <a:gd name="connsiteX165" fmla="*/ 4019721 w 10890933"/>
              <a:gd name="connsiteY165" fmla="*/ 3874914 h 4167549"/>
              <a:gd name="connsiteX166" fmla="*/ 2362715 w 10890933"/>
              <a:gd name="connsiteY166" fmla="*/ 3871833 h 4167549"/>
              <a:gd name="connsiteX167" fmla="*/ 2341851 w 10890933"/>
              <a:gd name="connsiteY167" fmla="*/ 3883879 h 4167549"/>
              <a:gd name="connsiteX168" fmla="*/ 2362715 w 10890933"/>
              <a:gd name="connsiteY168" fmla="*/ 3871833 h 4167549"/>
              <a:gd name="connsiteX169" fmla="*/ 4091880 w 10890933"/>
              <a:gd name="connsiteY169" fmla="*/ 3868896 h 4167549"/>
              <a:gd name="connsiteX170" fmla="*/ 4108610 w 10890933"/>
              <a:gd name="connsiteY170" fmla="*/ 3872277 h 4167549"/>
              <a:gd name="connsiteX171" fmla="*/ 4073495 w 10890933"/>
              <a:gd name="connsiteY171" fmla="*/ 3871686 h 4167549"/>
              <a:gd name="connsiteX172" fmla="*/ 4091880 w 10890933"/>
              <a:gd name="connsiteY172" fmla="*/ 3868896 h 4167549"/>
              <a:gd name="connsiteX173" fmla="*/ 6493179 w 10890933"/>
              <a:gd name="connsiteY173" fmla="*/ 3858671 h 4167549"/>
              <a:gd name="connsiteX174" fmla="*/ 6509634 w 10890933"/>
              <a:gd name="connsiteY174" fmla="*/ 3863080 h 4167549"/>
              <a:gd name="connsiteX175" fmla="*/ 6493179 w 10890933"/>
              <a:gd name="connsiteY175" fmla="*/ 3858671 h 4167549"/>
              <a:gd name="connsiteX176" fmla="*/ 7283019 w 10890933"/>
              <a:gd name="connsiteY176" fmla="*/ 3858670 h 4167549"/>
              <a:gd name="connsiteX177" fmla="*/ 7432118 w 10890933"/>
              <a:gd name="connsiteY177" fmla="*/ 3880985 h 4167549"/>
              <a:gd name="connsiteX178" fmla="*/ 7444821 w 10890933"/>
              <a:gd name="connsiteY178" fmla="*/ 3891945 h 4167549"/>
              <a:gd name="connsiteX179" fmla="*/ 7263792 w 10890933"/>
              <a:gd name="connsiteY179" fmla="*/ 3862336 h 4167549"/>
              <a:gd name="connsiteX180" fmla="*/ 7283019 w 10890933"/>
              <a:gd name="connsiteY180" fmla="*/ 3858670 h 4167549"/>
              <a:gd name="connsiteX181" fmla="*/ 3117169 w 10890933"/>
              <a:gd name="connsiteY181" fmla="*/ 3853532 h 4167549"/>
              <a:gd name="connsiteX182" fmla="*/ 3133624 w 10890933"/>
              <a:gd name="connsiteY182" fmla="*/ 3857941 h 4167549"/>
              <a:gd name="connsiteX183" fmla="*/ 3104532 w 10890933"/>
              <a:gd name="connsiteY183" fmla="*/ 3867782 h 4167549"/>
              <a:gd name="connsiteX184" fmla="*/ 3117169 w 10890933"/>
              <a:gd name="connsiteY184" fmla="*/ 3853532 h 4167549"/>
              <a:gd name="connsiteX185" fmla="*/ 3152709 w 10890933"/>
              <a:gd name="connsiteY185" fmla="*/ 3852032 h 4167549"/>
              <a:gd name="connsiteX186" fmla="*/ 3160514 w 10890933"/>
              <a:gd name="connsiteY186" fmla="*/ 3856328 h 4167549"/>
              <a:gd name="connsiteX187" fmla="*/ 3139649 w 10890933"/>
              <a:gd name="connsiteY187" fmla="*/ 3868374 h 4167549"/>
              <a:gd name="connsiteX188" fmla="*/ 3152709 w 10890933"/>
              <a:gd name="connsiteY188" fmla="*/ 3852032 h 4167549"/>
              <a:gd name="connsiteX189" fmla="*/ 4207123 w 10890933"/>
              <a:gd name="connsiteY189" fmla="*/ 3850172 h 4167549"/>
              <a:gd name="connsiteX190" fmla="*/ 4231805 w 10890933"/>
              <a:gd name="connsiteY190" fmla="*/ 3856785 h 4167549"/>
              <a:gd name="connsiteX191" fmla="*/ 4201611 w 10890933"/>
              <a:gd name="connsiteY191" fmla="*/ 3870742 h 4167549"/>
              <a:gd name="connsiteX192" fmla="*/ 4207123 w 10890933"/>
              <a:gd name="connsiteY192" fmla="*/ 3850172 h 4167549"/>
              <a:gd name="connsiteX193" fmla="*/ 4293403 w 10890933"/>
              <a:gd name="connsiteY193" fmla="*/ 3849041 h 4167549"/>
              <a:gd name="connsiteX194" fmla="*/ 4297920 w 10890933"/>
              <a:gd name="connsiteY194" fmla="*/ 3856864 h 4167549"/>
              <a:gd name="connsiteX195" fmla="*/ 4262807 w 10890933"/>
              <a:gd name="connsiteY195" fmla="*/ 3856274 h 4167549"/>
              <a:gd name="connsiteX196" fmla="*/ 4273237 w 10890933"/>
              <a:gd name="connsiteY196" fmla="*/ 3850250 h 4167549"/>
              <a:gd name="connsiteX197" fmla="*/ 4293403 w 10890933"/>
              <a:gd name="connsiteY197" fmla="*/ 3849041 h 4167549"/>
              <a:gd name="connsiteX198" fmla="*/ 6157902 w 10890933"/>
              <a:gd name="connsiteY198" fmla="*/ 3848750 h 4167549"/>
              <a:gd name="connsiteX199" fmla="*/ 6186477 w 10890933"/>
              <a:gd name="connsiteY199" fmla="*/ 3851447 h 4167549"/>
              <a:gd name="connsiteX200" fmla="*/ 6156503 w 10890933"/>
              <a:gd name="connsiteY200" fmla="*/ 3852233 h 4167549"/>
              <a:gd name="connsiteX201" fmla="*/ 6157902 w 10890933"/>
              <a:gd name="connsiteY201" fmla="*/ 3848750 h 4167549"/>
              <a:gd name="connsiteX202" fmla="*/ 7172667 w 10890933"/>
              <a:gd name="connsiteY202" fmla="*/ 3844533 h 4167549"/>
              <a:gd name="connsiteX203" fmla="*/ 7191654 w 10890933"/>
              <a:gd name="connsiteY203" fmla="*/ 3851825 h 4167549"/>
              <a:gd name="connsiteX204" fmla="*/ 7156540 w 10890933"/>
              <a:gd name="connsiteY204" fmla="*/ 3851235 h 4167549"/>
              <a:gd name="connsiteX205" fmla="*/ 7172667 w 10890933"/>
              <a:gd name="connsiteY205" fmla="*/ 3844533 h 4167549"/>
              <a:gd name="connsiteX206" fmla="*/ 4310556 w 10890933"/>
              <a:gd name="connsiteY206" fmla="*/ 3842614 h 4167549"/>
              <a:gd name="connsiteX207" fmla="*/ 4327011 w 10890933"/>
              <a:gd name="connsiteY207" fmla="*/ 3847023 h 4167549"/>
              <a:gd name="connsiteX208" fmla="*/ 4308352 w 10890933"/>
              <a:gd name="connsiteY208" fmla="*/ 3850841 h 4167549"/>
              <a:gd name="connsiteX209" fmla="*/ 4310556 w 10890933"/>
              <a:gd name="connsiteY209" fmla="*/ 3842614 h 4167549"/>
              <a:gd name="connsiteX210" fmla="*/ 7143153 w 10890933"/>
              <a:gd name="connsiteY210" fmla="*/ 3841035 h 4167549"/>
              <a:gd name="connsiteX211" fmla="*/ 7156540 w 10890933"/>
              <a:gd name="connsiteY211" fmla="*/ 3851235 h 4167549"/>
              <a:gd name="connsiteX212" fmla="*/ 7119514 w 10890933"/>
              <a:gd name="connsiteY212" fmla="*/ 3841314 h 4167549"/>
              <a:gd name="connsiteX213" fmla="*/ 7143153 w 10890933"/>
              <a:gd name="connsiteY213" fmla="*/ 3841035 h 4167549"/>
              <a:gd name="connsiteX214" fmla="*/ 8411928 w 10890933"/>
              <a:gd name="connsiteY214" fmla="*/ 3839296 h 4167549"/>
              <a:gd name="connsiteX215" fmla="*/ 8433303 w 10890933"/>
              <a:gd name="connsiteY215" fmla="*/ 3858252 h 4167549"/>
              <a:gd name="connsiteX216" fmla="*/ 8416848 w 10890933"/>
              <a:gd name="connsiteY216" fmla="*/ 3853843 h 4167549"/>
              <a:gd name="connsiteX217" fmla="*/ 8411928 w 10890933"/>
              <a:gd name="connsiteY217" fmla="*/ 3839296 h 4167549"/>
              <a:gd name="connsiteX218" fmla="*/ 8191911 w 10890933"/>
              <a:gd name="connsiteY218" fmla="*/ 3837660 h 4167549"/>
              <a:gd name="connsiteX219" fmla="*/ 8296961 w 10890933"/>
              <a:gd name="connsiteY219" fmla="*/ 3856990 h 4167549"/>
              <a:gd name="connsiteX220" fmla="*/ 8191911 w 10890933"/>
              <a:gd name="connsiteY220" fmla="*/ 3837660 h 4167549"/>
              <a:gd name="connsiteX221" fmla="*/ 6061742 w 10890933"/>
              <a:gd name="connsiteY221" fmla="*/ 3835658 h 4167549"/>
              <a:gd name="connsiteX222" fmla="*/ 6048077 w 10890933"/>
              <a:gd name="connsiteY222" fmla="*/ 3849633 h 4167549"/>
              <a:gd name="connsiteX223" fmla="*/ 6061742 w 10890933"/>
              <a:gd name="connsiteY223" fmla="*/ 3835658 h 4167549"/>
              <a:gd name="connsiteX224" fmla="*/ 7071676 w 10890933"/>
              <a:gd name="connsiteY224" fmla="*/ 3835601 h 4167549"/>
              <a:gd name="connsiteX225" fmla="*/ 7080837 w 10890933"/>
              <a:gd name="connsiteY225" fmla="*/ 3837565 h 4167549"/>
              <a:gd name="connsiteX226" fmla="*/ 7081496 w 10890933"/>
              <a:gd name="connsiteY226" fmla="*/ 3837706 h 4167549"/>
              <a:gd name="connsiteX227" fmla="*/ 7079375 w 10890933"/>
              <a:gd name="connsiteY227" fmla="*/ 3839423 h 4167549"/>
              <a:gd name="connsiteX228" fmla="*/ 4347878 w 10890933"/>
              <a:gd name="connsiteY228" fmla="*/ 3834978 h 4167549"/>
              <a:gd name="connsiteX229" fmla="*/ 4362129 w 10890933"/>
              <a:gd name="connsiteY229" fmla="*/ 3847614 h 4167549"/>
              <a:gd name="connsiteX230" fmla="*/ 4335241 w 10890933"/>
              <a:gd name="connsiteY230" fmla="*/ 3849228 h 4167549"/>
              <a:gd name="connsiteX231" fmla="*/ 4347878 w 10890933"/>
              <a:gd name="connsiteY231" fmla="*/ 3834978 h 4167549"/>
              <a:gd name="connsiteX232" fmla="*/ 6124769 w 10890933"/>
              <a:gd name="connsiteY232" fmla="*/ 3834912 h 4167549"/>
              <a:gd name="connsiteX233" fmla="*/ 6145042 w 10890933"/>
              <a:gd name="connsiteY233" fmla="*/ 3857981 h 4167549"/>
              <a:gd name="connsiteX234" fmla="*/ 6120360 w 10890933"/>
              <a:gd name="connsiteY234" fmla="*/ 3851367 h 4167549"/>
              <a:gd name="connsiteX235" fmla="*/ 6124769 w 10890933"/>
              <a:gd name="connsiteY235" fmla="*/ 3834912 h 4167549"/>
              <a:gd name="connsiteX236" fmla="*/ 6089654 w 10890933"/>
              <a:gd name="connsiteY236" fmla="*/ 3834321 h 4167549"/>
              <a:gd name="connsiteX237" fmla="*/ 6087450 w 10890933"/>
              <a:gd name="connsiteY237" fmla="*/ 3842549 h 4167549"/>
              <a:gd name="connsiteX238" fmla="*/ 6109928 w 10890933"/>
              <a:gd name="connsiteY238" fmla="*/ 3857390 h 4167549"/>
              <a:gd name="connsiteX239" fmla="*/ 6085245 w 10890933"/>
              <a:gd name="connsiteY239" fmla="*/ 3850776 h 4167549"/>
              <a:gd name="connsiteX240" fmla="*/ 6079222 w 10890933"/>
              <a:gd name="connsiteY240" fmla="*/ 3840344 h 4167549"/>
              <a:gd name="connsiteX241" fmla="*/ 6089654 w 10890933"/>
              <a:gd name="connsiteY241" fmla="*/ 3834321 h 4167549"/>
              <a:gd name="connsiteX242" fmla="*/ 7086237 w 10890933"/>
              <a:gd name="connsiteY242" fmla="*/ 3833866 h 4167549"/>
              <a:gd name="connsiteX243" fmla="*/ 7102692 w 10890933"/>
              <a:gd name="connsiteY243" fmla="*/ 3838276 h 4167549"/>
              <a:gd name="connsiteX244" fmla="*/ 7092825 w 10890933"/>
              <a:gd name="connsiteY244" fmla="*/ 3840134 h 4167549"/>
              <a:gd name="connsiteX245" fmla="*/ 7081496 w 10890933"/>
              <a:gd name="connsiteY245" fmla="*/ 3837706 h 4167549"/>
              <a:gd name="connsiteX246" fmla="*/ 7061216 w 10890933"/>
              <a:gd name="connsiteY246" fmla="*/ 3830057 h 4167549"/>
              <a:gd name="connsiteX247" fmla="*/ 7069524 w 10890933"/>
              <a:gd name="connsiteY247" fmla="*/ 3834533 h 4167549"/>
              <a:gd name="connsiteX248" fmla="*/ 7071676 w 10890933"/>
              <a:gd name="connsiteY248" fmla="*/ 3835601 h 4167549"/>
              <a:gd name="connsiteX249" fmla="*/ 7068849 w 10890933"/>
              <a:gd name="connsiteY249" fmla="*/ 3834996 h 4167549"/>
              <a:gd name="connsiteX250" fmla="*/ 7058982 w 10890933"/>
              <a:gd name="connsiteY250" fmla="*/ 3836854 h 4167549"/>
              <a:gd name="connsiteX251" fmla="*/ 7061216 w 10890933"/>
              <a:gd name="connsiteY251" fmla="*/ 3830057 h 4167549"/>
              <a:gd name="connsiteX252" fmla="*/ 5963743 w 10890933"/>
              <a:gd name="connsiteY252" fmla="*/ 3827036 h 4167549"/>
              <a:gd name="connsiteX253" fmla="*/ 5980199 w 10890933"/>
              <a:gd name="connsiteY253" fmla="*/ 3831445 h 4167549"/>
              <a:gd name="connsiteX254" fmla="*/ 5986222 w 10890933"/>
              <a:gd name="connsiteY254" fmla="*/ 3841877 h 4167549"/>
              <a:gd name="connsiteX255" fmla="*/ 5975789 w 10890933"/>
              <a:gd name="connsiteY255" fmla="*/ 3847900 h 4167549"/>
              <a:gd name="connsiteX256" fmla="*/ 5963743 w 10890933"/>
              <a:gd name="connsiteY256" fmla="*/ 3827036 h 4167549"/>
              <a:gd name="connsiteX257" fmla="*/ 6025746 w 10890933"/>
              <a:gd name="connsiteY257" fmla="*/ 3826012 h 4167549"/>
              <a:gd name="connsiteX258" fmla="*/ 6019132 w 10890933"/>
              <a:gd name="connsiteY258" fmla="*/ 3850695 h 4167549"/>
              <a:gd name="connsiteX259" fmla="*/ 6013109 w 10890933"/>
              <a:gd name="connsiteY259" fmla="*/ 3840263 h 4167549"/>
              <a:gd name="connsiteX260" fmla="*/ 6025746 w 10890933"/>
              <a:gd name="connsiteY260" fmla="*/ 3826012 h 4167549"/>
              <a:gd name="connsiteX261" fmla="*/ 4452098 w 10890933"/>
              <a:gd name="connsiteY261" fmla="*/ 3824484 h 4167549"/>
              <a:gd name="connsiteX262" fmla="*/ 4479041 w 10890933"/>
              <a:gd name="connsiteY262" fmla="*/ 3830373 h 4167549"/>
              <a:gd name="connsiteX263" fmla="*/ 4482647 w 10890933"/>
              <a:gd name="connsiteY263" fmla="*/ 3842115 h 4167549"/>
              <a:gd name="connsiteX264" fmla="*/ 4387420 w 10890933"/>
              <a:gd name="connsiteY264" fmla="*/ 3835496 h 4167549"/>
              <a:gd name="connsiteX265" fmla="*/ 4425055 w 10890933"/>
              <a:gd name="connsiteY265" fmla="*/ 3826683 h 4167549"/>
              <a:gd name="connsiteX266" fmla="*/ 4449737 w 10890933"/>
              <a:gd name="connsiteY266" fmla="*/ 3833297 h 4167549"/>
              <a:gd name="connsiteX267" fmla="*/ 4452098 w 10890933"/>
              <a:gd name="connsiteY267" fmla="*/ 3824484 h 4167549"/>
              <a:gd name="connsiteX268" fmla="*/ 4559112 w 10890933"/>
              <a:gd name="connsiteY268" fmla="*/ 3823115 h 4167549"/>
              <a:gd name="connsiteX269" fmla="*/ 4569659 w 10890933"/>
              <a:gd name="connsiteY269" fmla="*/ 3830032 h 4167549"/>
              <a:gd name="connsiteX270" fmla="*/ 4542551 w 10890933"/>
              <a:gd name="connsiteY270" fmla="*/ 3832470 h 4167549"/>
              <a:gd name="connsiteX271" fmla="*/ 4553204 w 10890933"/>
              <a:gd name="connsiteY271" fmla="*/ 3825623 h 4167549"/>
              <a:gd name="connsiteX272" fmla="*/ 4559112 w 10890933"/>
              <a:gd name="connsiteY272" fmla="*/ 3823115 h 4167549"/>
              <a:gd name="connsiteX273" fmla="*/ 4503445 w 10890933"/>
              <a:gd name="connsiteY273" fmla="*/ 3822100 h 4167549"/>
              <a:gd name="connsiteX274" fmla="*/ 4515775 w 10890933"/>
              <a:gd name="connsiteY274" fmla="*/ 3833672 h 4167549"/>
              <a:gd name="connsiteX275" fmla="*/ 4503420 w 10890933"/>
              <a:gd name="connsiteY275" fmla="*/ 3841385 h 4167549"/>
              <a:gd name="connsiteX276" fmla="*/ 4486977 w 10890933"/>
              <a:gd name="connsiteY276" fmla="*/ 3825956 h 4167549"/>
              <a:gd name="connsiteX277" fmla="*/ 4503445 w 10890933"/>
              <a:gd name="connsiteY277" fmla="*/ 3822100 h 4167549"/>
              <a:gd name="connsiteX278" fmla="*/ 7006001 w 10890933"/>
              <a:gd name="connsiteY278" fmla="*/ 3821186 h 4167549"/>
              <a:gd name="connsiteX279" fmla="*/ 7018342 w 10890933"/>
              <a:gd name="connsiteY279" fmla="*/ 3821920 h 4167549"/>
              <a:gd name="connsiteX280" fmla="*/ 7051125 w 10890933"/>
              <a:gd name="connsiteY280" fmla="*/ 3833276 h 4167549"/>
              <a:gd name="connsiteX281" fmla="*/ 6995072 w 10890933"/>
              <a:gd name="connsiteY281" fmla="*/ 3828548 h 4167549"/>
              <a:gd name="connsiteX282" fmla="*/ 7006001 w 10890933"/>
              <a:gd name="connsiteY282" fmla="*/ 3821186 h 4167549"/>
              <a:gd name="connsiteX283" fmla="*/ 5107549 w 10890933"/>
              <a:gd name="connsiteY283" fmla="*/ 3819315 h 4167549"/>
              <a:gd name="connsiteX284" fmla="*/ 5122900 w 10890933"/>
              <a:gd name="connsiteY284" fmla="*/ 3822188 h 4167549"/>
              <a:gd name="connsiteX285" fmla="*/ 5104240 w 10890933"/>
              <a:gd name="connsiteY285" fmla="*/ 3826006 h 4167549"/>
              <a:gd name="connsiteX286" fmla="*/ 5107549 w 10890933"/>
              <a:gd name="connsiteY286" fmla="*/ 3819315 h 4167549"/>
              <a:gd name="connsiteX287" fmla="*/ 4721101 w 10890933"/>
              <a:gd name="connsiteY287" fmla="*/ 3818142 h 4167549"/>
              <a:gd name="connsiteX288" fmla="*/ 4739651 w 10890933"/>
              <a:gd name="connsiteY288" fmla="*/ 3820908 h 4167549"/>
              <a:gd name="connsiteX289" fmla="*/ 4706444 w 10890933"/>
              <a:gd name="connsiteY289" fmla="*/ 3829647 h 4167549"/>
              <a:gd name="connsiteX290" fmla="*/ 4721101 w 10890933"/>
              <a:gd name="connsiteY290" fmla="*/ 3818142 h 4167549"/>
              <a:gd name="connsiteX291" fmla="*/ 4630191 w 10890933"/>
              <a:gd name="connsiteY291" fmla="*/ 3818033 h 4167549"/>
              <a:gd name="connsiteX292" fmla="*/ 4616184 w 10890933"/>
              <a:gd name="connsiteY292" fmla="*/ 3831916 h 4167549"/>
              <a:gd name="connsiteX293" fmla="*/ 4606585 w 10890933"/>
              <a:gd name="connsiteY293" fmla="*/ 3829344 h 4167549"/>
              <a:gd name="connsiteX294" fmla="*/ 4630191 w 10890933"/>
              <a:gd name="connsiteY294" fmla="*/ 3818033 h 4167549"/>
              <a:gd name="connsiteX295" fmla="*/ 4868318 w 10890933"/>
              <a:gd name="connsiteY295" fmla="*/ 3817906 h 4167549"/>
              <a:gd name="connsiteX296" fmla="*/ 4875237 w 10890933"/>
              <a:gd name="connsiteY296" fmla="*/ 3821224 h 4167549"/>
              <a:gd name="connsiteX297" fmla="*/ 4874897 w 10890933"/>
              <a:gd name="connsiteY297" fmla="*/ 3822149 h 4167549"/>
              <a:gd name="connsiteX298" fmla="*/ 4868318 w 10890933"/>
              <a:gd name="connsiteY298" fmla="*/ 3817906 h 4167549"/>
              <a:gd name="connsiteX299" fmla="*/ 4528963 w 10890933"/>
              <a:gd name="connsiteY299" fmla="*/ 3817363 h 4167549"/>
              <a:gd name="connsiteX300" fmla="*/ 4521247 w 10890933"/>
              <a:gd name="connsiteY300" fmla="*/ 3846161 h 4167549"/>
              <a:gd name="connsiteX301" fmla="*/ 4528963 w 10890933"/>
              <a:gd name="connsiteY301" fmla="*/ 3817363 h 4167549"/>
              <a:gd name="connsiteX302" fmla="*/ 5624811 w 10890933"/>
              <a:gd name="connsiteY302" fmla="*/ 3816686 h 4167549"/>
              <a:gd name="connsiteX303" fmla="*/ 5642494 w 10890933"/>
              <a:gd name="connsiteY303" fmla="*/ 3824732 h 4167549"/>
              <a:gd name="connsiteX304" fmla="*/ 5632062 w 10890933"/>
              <a:gd name="connsiteY304" fmla="*/ 3830755 h 4167549"/>
              <a:gd name="connsiteX305" fmla="*/ 5634266 w 10890933"/>
              <a:gd name="connsiteY305" fmla="*/ 3822527 h 4167549"/>
              <a:gd name="connsiteX306" fmla="*/ 5613402 w 10890933"/>
              <a:gd name="connsiteY306" fmla="*/ 3834573 h 4167549"/>
              <a:gd name="connsiteX307" fmla="*/ 5617811 w 10890933"/>
              <a:gd name="connsiteY307" fmla="*/ 3818118 h 4167549"/>
              <a:gd name="connsiteX308" fmla="*/ 5624811 w 10890933"/>
              <a:gd name="connsiteY308" fmla="*/ 3816686 h 4167549"/>
              <a:gd name="connsiteX309" fmla="*/ 6910225 w 10890933"/>
              <a:gd name="connsiteY309" fmla="*/ 3816100 h 4167549"/>
              <a:gd name="connsiteX310" fmla="*/ 6923394 w 10890933"/>
              <a:gd name="connsiteY310" fmla="*/ 3816321 h 4167549"/>
              <a:gd name="connsiteX311" fmla="*/ 6934908 w 10890933"/>
              <a:gd name="connsiteY311" fmla="*/ 3822714 h 4167549"/>
              <a:gd name="connsiteX312" fmla="*/ 6910225 w 10890933"/>
              <a:gd name="connsiteY312" fmla="*/ 3816100 h 4167549"/>
              <a:gd name="connsiteX313" fmla="*/ 5573648 w 10890933"/>
              <a:gd name="connsiteY313" fmla="*/ 3815103 h 4167549"/>
              <a:gd name="connsiteX314" fmla="*/ 5569239 w 10890933"/>
              <a:gd name="connsiteY314" fmla="*/ 3831558 h 4167549"/>
              <a:gd name="connsiteX315" fmla="*/ 5542087 w 10890933"/>
              <a:gd name="connsiteY315" fmla="*/ 3824282 h 4167549"/>
              <a:gd name="connsiteX316" fmla="*/ 5573648 w 10890933"/>
              <a:gd name="connsiteY316" fmla="*/ 3815103 h 4167549"/>
              <a:gd name="connsiteX317" fmla="*/ 5747032 w 10890933"/>
              <a:gd name="connsiteY317" fmla="*/ 3813062 h 4167549"/>
              <a:gd name="connsiteX318" fmla="*/ 5766570 w 10890933"/>
              <a:gd name="connsiteY318" fmla="*/ 3838875 h 4167549"/>
              <a:gd name="connsiteX319" fmla="*/ 5744460 w 10890933"/>
              <a:gd name="connsiteY319" fmla="*/ 3822660 h 4167549"/>
              <a:gd name="connsiteX320" fmla="*/ 5739316 w 10890933"/>
              <a:gd name="connsiteY320" fmla="*/ 3841860 h 4167549"/>
              <a:gd name="connsiteX321" fmla="*/ 5706406 w 10890933"/>
              <a:gd name="connsiteY321" fmla="*/ 3833041 h 4167549"/>
              <a:gd name="connsiteX322" fmla="*/ 5728005 w 10890933"/>
              <a:gd name="connsiteY322" fmla="*/ 3818251 h 4167549"/>
              <a:gd name="connsiteX323" fmla="*/ 5725432 w 10890933"/>
              <a:gd name="connsiteY323" fmla="*/ 3827852 h 4167549"/>
              <a:gd name="connsiteX324" fmla="*/ 5733660 w 10890933"/>
              <a:gd name="connsiteY324" fmla="*/ 3830057 h 4167549"/>
              <a:gd name="connsiteX325" fmla="*/ 5747032 w 10890933"/>
              <a:gd name="connsiteY325" fmla="*/ 3813062 h 4167549"/>
              <a:gd name="connsiteX326" fmla="*/ 5187106 w 10890933"/>
              <a:gd name="connsiteY326" fmla="*/ 3812937 h 4167549"/>
              <a:gd name="connsiteX327" fmla="*/ 5193129 w 10890933"/>
              <a:gd name="connsiteY327" fmla="*/ 3823370 h 4167549"/>
              <a:gd name="connsiteX328" fmla="*/ 5167814 w 10890933"/>
              <a:gd name="connsiteY328" fmla="*/ 3816586 h 4167549"/>
              <a:gd name="connsiteX329" fmla="*/ 4988761 w 10890933"/>
              <a:gd name="connsiteY329" fmla="*/ 3812700 h 4167549"/>
              <a:gd name="connsiteX330" fmla="*/ 5021671 w 10890933"/>
              <a:gd name="connsiteY330" fmla="*/ 3821519 h 4167549"/>
              <a:gd name="connsiteX331" fmla="*/ 4976124 w 10890933"/>
              <a:gd name="connsiteY331" fmla="*/ 3826951 h 4167549"/>
              <a:gd name="connsiteX332" fmla="*/ 4988761 w 10890933"/>
              <a:gd name="connsiteY332" fmla="*/ 3812700 h 4167549"/>
              <a:gd name="connsiteX333" fmla="*/ 5151991 w 10890933"/>
              <a:gd name="connsiteY333" fmla="*/ 3812347 h 4167549"/>
              <a:gd name="connsiteX334" fmla="*/ 5167814 w 10890933"/>
              <a:gd name="connsiteY334" fmla="*/ 3816586 h 4167549"/>
              <a:gd name="connsiteX335" fmla="*/ 5155757 w 10890933"/>
              <a:gd name="connsiteY335" fmla="*/ 3818866 h 4167549"/>
              <a:gd name="connsiteX336" fmla="*/ 5150942 w 10890933"/>
              <a:gd name="connsiteY336" fmla="*/ 3816265 h 4167549"/>
              <a:gd name="connsiteX337" fmla="*/ 5809034 w 10890933"/>
              <a:gd name="connsiteY337" fmla="*/ 3812039 h 4167549"/>
              <a:gd name="connsiteX338" fmla="*/ 5813674 w 10890933"/>
              <a:gd name="connsiteY338" fmla="*/ 3833124 h 4167549"/>
              <a:gd name="connsiteX339" fmla="*/ 5832871 w 10890933"/>
              <a:gd name="connsiteY339" fmla="*/ 3838268 h 4167549"/>
              <a:gd name="connsiteX340" fmla="*/ 5806554 w 10890933"/>
              <a:gd name="connsiteY340" fmla="*/ 3821295 h 4167549"/>
              <a:gd name="connsiteX341" fmla="*/ 5809034 w 10890933"/>
              <a:gd name="connsiteY341" fmla="*/ 3812039 h 4167549"/>
              <a:gd name="connsiteX342" fmla="*/ 4640624 w 10890933"/>
              <a:gd name="connsiteY342" fmla="*/ 3812010 h 4167549"/>
              <a:gd name="connsiteX343" fmla="*/ 4663101 w 10890933"/>
              <a:gd name="connsiteY343" fmla="*/ 3826851 h 4167549"/>
              <a:gd name="connsiteX344" fmla="*/ 4710853 w 10890933"/>
              <a:gd name="connsiteY344" fmla="*/ 3813192 h 4167549"/>
              <a:gd name="connsiteX345" fmla="*/ 4706444 w 10890933"/>
              <a:gd name="connsiteY345" fmla="*/ 3829647 h 4167549"/>
              <a:gd name="connsiteX346" fmla="*/ 4704239 w 10890933"/>
              <a:gd name="connsiteY346" fmla="*/ 3837874 h 4167549"/>
              <a:gd name="connsiteX347" fmla="*/ 4634010 w 10890933"/>
              <a:gd name="connsiteY347" fmla="*/ 3836693 h 4167549"/>
              <a:gd name="connsiteX348" fmla="*/ 4640624 w 10890933"/>
              <a:gd name="connsiteY348" fmla="*/ 3812010 h 4167549"/>
              <a:gd name="connsiteX349" fmla="*/ 4879027 w 10890933"/>
              <a:gd name="connsiteY349" fmla="*/ 3810854 h 4167549"/>
              <a:gd name="connsiteX350" fmla="*/ 4922644 w 10890933"/>
              <a:gd name="connsiteY350" fmla="*/ 3812621 h 4167549"/>
              <a:gd name="connsiteX351" fmla="*/ 4891761 w 10890933"/>
              <a:gd name="connsiteY351" fmla="*/ 3829148 h 4167549"/>
              <a:gd name="connsiteX352" fmla="*/ 4875237 w 10890933"/>
              <a:gd name="connsiteY352" fmla="*/ 3821224 h 4167549"/>
              <a:gd name="connsiteX353" fmla="*/ 4795627 w 10890933"/>
              <a:gd name="connsiteY353" fmla="*/ 3809452 h 4167549"/>
              <a:gd name="connsiteX354" fmla="*/ 4799446 w 10890933"/>
              <a:gd name="connsiteY354" fmla="*/ 3828111 h 4167549"/>
              <a:gd name="connsiteX355" fmla="*/ 4772558 w 10890933"/>
              <a:gd name="connsiteY355" fmla="*/ 3829726 h 4167549"/>
              <a:gd name="connsiteX356" fmla="*/ 4776967 w 10890933"/>
              <a:gd name="connsiteY356" fmla="*/ 3813270 h 4167549"/>
              <a:gd name="connsiteX357" fmla="*/ 4793423 w 10890933"/>
              <a:gd name="connsiteY357" fmla="*/ 3817679 h 4167549"/>
              <a:gd name="connsiteX358" fmla="*/ 4795627 w 10890933"/>
              <a:gd name="connsiteY358" fmla="*/ 3809452 h 4167549"/>
              <a:gd name="connsiteX359" fmla="*/ 4760515 w 10890933"/>
              <a:gd name="connsiteY359" fmla="*/ 3808862 h 4167549"/>
              <a:gd name="connsiteX360" fmla="*/ 4762128 w 10890933"/>
              <a:gd name="connsiteY360" fmla="*/ 3835749 h 4167549"/>
              <a:gd name="connsiteX361" fmla="*/ 4745675 w 10890933"/>
              <a:gd name="connsiteY361" fmla="*/ 3831340 h 4167549"/>
              <a:gd name="connsiteX362" fmla="*/ 4760515 w 10890933"/>
              <a:gd name="connsiteY362" fmla="*/ 3808862 h 4167549"/>
              <a:gd name="connsiteX363" fmla="*/ 2717787 w 10890933"/>
              <a:gd name="connsiteY363" fmla="*/ 3808246 h 4167549"/>
              <a:gd name="connsiteX364" fmla="*/ 2685536 w 10890933"/>
              <a:gd name="connsiteY364" fmla="*/ 3821651 h 4167549"/>
              <a:gd name="connsiteX365" fmla="*/ 2717787 w 10890933"/>
              <a:gd name="connsiteY365" fmla="*/ 3808246 h 4167549"/>
              <a:gd name="connsiteX366" fmla="*/ 5382441 w 10890933"/>
              <a:gd name="connsiteY366" fmla="*/ 3807960 h 4167549"/>
              <a:gd name="connsiteX367" fmla="*/ 5351144 w 10890933"/>
              <a:gd name="connsiteY367" fmla="*/ 3826029 h 4167549"/>
              <a:gd name="connsiteX368" fmla="*/ 5355553 w 10890933"/>
              <a:gd name="connsiteY368" fmla="*/ 3809574 h 4167549"/>
              <a:gd name="connsiteX369" fmla="*/ 5382441 w 10890933"/>
              <a:gd name="connsiteY369" fmla="*/ 3807960 h 4167549"/>
              <a:gd name="connsiteX370" fmla="*/ 5382441 w 10890933"/>
              <a:gd name="connsiteY370" fmla="*/ 3807960 h 4167549"/>
              <a:gd name="connsiteX371" fmla="*/ 5398418 w 10890933"/>
              <a:gd name="connsiteY371" fmla="*/ 3810036 h 4167549"/>
              <a:gd name="connsiteX372" fmla="*/ 5404918 w 10890933"/>
              <a:gd name="connsiteY372" fmla="*/ 3822801 h 4167549"/>
              <a:gd name="connsiteX373" fmla="*/ 5378032 w 10890933"/>
              <a:gd name="connsiteY373" fmla="*/ 3824415 h 4167549"/>
              <a:gd name="connsiteX374" fmla="*/ 5382441 w 10890933"/>
              <a:gd name="connsiteY374" fmla="*/ 3807960 h 4167549"/>
              <a:gd name="connsiteX375" fmla="*/ 5347326 w 10890933"/>
              <a:gd name="connsiteY375" fmla="*/ 3807369 h 4167549"/>
              <a:gd name="connsiteX376" fmla="*/ 5335705 w 10890933"/>
              <a:gd name="connsiteY376" fmla="*/ 3814543 h 4167549"/>
              <a:gd name="connsiteX377" fmla="*/ 5333132 w 10890933"/>
              <a:gd name="connsiteY377" fmla="*/ 3824144 h 4167549"/>
              <a:gd name="connsiteX378" fmla="*/ 5294357 w 10890933"/>
              <a:gd name="connsiteY378" fmla="*/ 3824041 h 4167549"/>
              <a:gd name="connsiteX379" fmla="*/ 5347326 w 10890933"/>
              <a:gd name="connsiteY379" fmla="*/ 3807369 h 4167549"/>
              <a:gd name="connsiteX380" fmla="*/ 5451762 w 10890933"/>
              <a:gd name="connsiteY380" fmla="*/ 3806556 h 4167549"/>
              <a:gd name="connsiteX381" fmla="*/ 5461266 w 10890933"/>
              <a:gd name="connsiteY381" fmla="*/ 3820263 h 4167549"/>
              <a:gd name="connsiteX382" fmla="*/ 5483159 w 10890933"/>
              <a:gd name="connsiteY382" fmla="*/ 3808493 h 4167549"/>
              <a:gd name="connsiteX383" fmla="*/ 5487491 w 10890933"/>
              <a:gd name="connsiteY383" fmla="*/ 3827290 h 4167549"/>
              <a:gd name="connsiteX384" fmla="*/ 5413146 w 10890933"/>
              <a:gd name="connsiteY384" fmla="*/ 3825006 h 4167549"/>
              <a:gd name="connsiteX385" fmla="*/ 5415351 w 10890933"/>
              <a:gd name="connsiteY385" fmla="*/ 3816778 h 4167549"/>
              <a:gd name="connsiteX386" fmla="*/ 5445987 w 10890933"/>
              <a:gd name="connsiteY386" fmla="*/ 3807351 h 4167549"/>
              <a:gd name="connsiteX387" fmla="*/ 5451762 w 10890933"/>
              <a:gd name="connsiteY387" fmla="*/ 3806556 h 4167549"/>
              <a:gd name="connsiteX388" fmla="*/ 4956727 w 10890933"/>
              <a:gd name="connsiteY388" fmla="*/ 3806300 h 4167549"/>
              <a:gd name="connsiteX389" fmla="*/ 4951176 w 10890933"/>
              <a:gd name="connsiteY389" fmla="*/ 3811448 h 4167549"/>
              <a:gd name="connsiteX390" fmla="*/ 4953688 w 10890933"/>
              <a:gd name="connsiteY390" fmla="*/ 3806609 h 4167549"/>
              <a:gd name="connsiteX391" fmla="*/ 5127309 w 10890933"/>
              <a:gd name="connsiteY391" fmla="*/ 3805733 h 4167549"/>
              <a:gd name="connsiteX392" fmla="*/ 5135536 w 10890933"/>
              <a:gd name="connsiteY392" fmla="*/ 3807938 h 4167549"/>
              <a:gd name="connsiteX393" fmla="*/ 5150942 w 10890933"/>
              <a:gd name="connsiteY393" fmla="*/ 3816265 h 4167549"/>
              <a:gd name="connsiteX394" fmla="*/ 5149786 w 10890933"/>
              <a:gd name="connsiteY394" fmla="*/ 3820574 h 4167549"/>
              <a:gd name="connsiteX395" fmla="*/ 5131127 w 10890933"/>
              <a:gd name="connsiteY395" fmla="*/ 3824393 h 4167549"/>
              <a:gd name="connsiteX396" fmla="*/ 5125104 w 10890933"/>
              <a:gd name="connsiteY396" fmla="*/ 3813961 h 4167549"/>
              <a:gd name="connsiteX397" fmla="*/ 5127309 w 10890933"/>
              <a:gd name="connsiteY397" fmla="*/ 3805733 h 4167549"/>
              <a:gd name="connsiteX398" fmla="*/ 4957631 w 10890933"/>
              <a:gd name="connsiteY398" fmla="*/ 3805461 h 4167549"/>
              <a:gd name="connsiteX399" fmla="*/ 4962285 w 10890933"/>
              <a:gd name="connsiteY399" fmla="*/ 3805640 h 4167549"/>
              <a:gd name="connsiteX400" fmla="*/ 4962257 w 10890933"/>
              <a:gd name="connsiteY400" fmla="*/ 3805737 h 4167549"/>
              <a:gd name="connsiteX401" fmla="*/ 4956727 w 10890933"/>
              <a:gd name="connsiteY401" fmla="*/ 3806300 h 4167549"/>
              <a:gd name="connsiteX402" fmla="*/ 5537444 w 10890933"/>
              <a:gd name="connsiteY402" fmla="*/ 3805402 h 4167549"/>
              <a:gd name="connsiteX403" fmla="*/ 5546496 w 10890933"/>
              <a:gd name="connsiteY403" fmla="*/ 3807827 h 4167549"/>
              <a:gd name="connsiteX404" fmla="*/ 5542087 w 10890933"/>
              <a:gd name="connsiteY404" fmla="*/ 3824282 h 4167549"/>
              <a:gd name="connsiteX405" fmla="*/ 5533035 w 10890933"/>
              <a:gd name="connsiteY405" fmla="*/ 3821857 h 4167549"/>
              <a:gd name="connsiteX406" fmla="*/ 5535240 w 10890933"/>
              <a:gd name="connsiteY406" fmla="*/ 3813629 h 4167549"/>
              <a:gd name="connsiteX407" fmla="*/ 5537444 w 10890933"/>
              <a:gd name="connsiteY407" fmla="*/ 3805402 h 4167549"/>
              <a:gd name="connsiteX408" fmla="*/ 5026077 w 10890933"/>
              <a:gd name="connsiteY408" fmla="*/ 3805063 h 4167549"/>
              <a:gd name="connsiteX409" fmla="*/ 5050760 w 10890933"/>
              <a:gd name="connsiteY409" fmla="*/ 3811676 h 4167549"/>
              <a:gd name="connsiteX410" fmla="*/ 5046350 w 10890933"/>
              <a:gd name="connsiteY410" fmla="*/ 3828131 h 4167549"/>
              <a:gd name="connsiteX411" fmla="*/ 5026077 w 10890933"/>
              <a:gd name="connsiteY411" fmla="*/ 3805063 h 4167549"/>
              <a:gd name="connsiteX412" fmla="*/ 5219284 w 10890933"/>
              <a:gd name="connsiteY412" fmla="*/ 3803923 h 4167549"/>
              <a:gd name="connsiteX413" fmla="*/ 5224131 w 10890933"/>
              <a:gd name="connsiteY413" fmla="*/ 3822858 h 4167549"/>
              <a:gd name="connsiteX414" fmla="*/ 5194158 w 10890933"/>
              <a:gd name="connsiteY414" fmla="*/ 3823645 h 4167549"/>
              <a:gd name="connsiteX415" fmla="*/ 5189310 w 10890933"/>
              <a:gd name="connsiteY415" fmla="*/ 3804710 h 4167549"/>
              <a:gd name="connsiteX416" fmla="*/ 5205619 w 10890933"/>
              <a:gd name="connsiteY416" fmla="*/ 3817898 h 4167549"/>
              <a:gd name="connsiteX417" fmla="*/ 5219284 w 10890933"/>
              <a:gd name="connsiteY417" fmla="*/ 3803923 h 4167549"/>
              <a:gd name="connsiteX418" fmla="*/ 3874443 w 10890933"/>
              <a:gd name="connsiteY418" fmla="*/ 3802919 h 4167549"/>
              <a:gd name="connsiteX419" fmla="*/ 3901014 w 10890933"/>
              <a:gd name="connsiteY419" fmla="*/ 3807834 h 4167549"/>
              <a:gd name="connsiteX420" fmla="*/ 3851352 w 10890933"/>
              <a:gd name="connsiteY420" fmla="*/ 3812163 h 4167549"/>
              <a:gd name="connsiteX421" fmla="*/ 3874443 w 10890933"/>
              <a:gd name="connsiteY421" fmla="*/ 3802919 h 4167549"/>
              <a:gd name="connsiteX422" fmla="*/ 4850504 w 10890933"/>
              <a:gd name="connsiteY422" fmla="*/ 3802109 h 4167549"/>
              <a:gd name="connsiteX423" fmla="*/ 4844992 w 10890933"/>
              <a:gd name="connsiteY423" fmla="*/ 3822679 h 4167549"/>
              <a:gd name="connsiteX424" fmla="*/ 4839520 w 10890933"/>
              <a:gd name="connsiteY424" fmla="*/ 3810190 h 4167549"/>
              <a:gd name="connsiteX425" fmla="*/ 4836764 w 10890933"/>
              <a:gd name="connsiteY425" fmla="*/ 3820475 h 4167549"/>
              <a:gd name="connsiteX426" fmla="*/ 4850504 w 10890933"/>
              <a:gd name="connsiteY426" fmla="*/ 3802109 h 4167549"/>
              <a:gd name="connsiteX427" fmla="*/ 4964637 w 10890933"/>
              <a:gd name="connsiteY427" fmla="*/ 3797418 h 4167549"/>
              <a:gd name="connsiteX428" fmla="*/ 4976124 w 10890933"/>
              <a:gd name="connsiteY428" fmla="*/ 3826951 h 4167549"/>
              <a:gd name="connsiteX429" fmla="*/ 4948971 w 10890933"/>
              <a:gd name="connsiteY429" fmla="*/ 3819675 h 4167549"/>
              <a:gd name="connsiteX430" fmla="*/ 4962432 w 10890933"/>
              <a:gd name="connsiteY430" fmla="*/ 3805646 h 4167549"/>
              <a:gd name="connsiteX431" fmla="*/ 4962285 w 10890933"/>
              <a:gd name="connsiteY431" fmla="*/ 3805640 h 4167549"/>
              <a:gd name="connsiteX432" fmla="*/ 6730833 w 10890933"/>
              <a:gd name="connsiteY432" fmla="*/ 3794487 h 4167549"/>
              <a:gd name="connsiteX433" fmla="*/ 6901998 w 10890933"/>
              <a:gd name="connsiteY433" fmla="*/ 3813896 h 4167549"/>
              <a:gd name="connsiteX434" fmla="*/ 6730833 w 10890933"/>
              <a:gd name="connsiteY434" fmla="*/ 3794487 h 4167549"/>
              <a:gd name="connsiteX435" fmla="*/ 3959805 w 10890933"/>
              <a:gd name="connsiteY435" fmla="*/ 3794100 h 4167549"/>
              <a:gd name="connsiteX436" fmla="*/ 3974548 w 10890933"/>
              <a:gd name="connsiteY436" fmla="*/ 3796672 h 4167549"/>
              <a:gd name="connsiteX437" fmla="*/ 3955337 w 10890933"/>
              <a:gd name="connsiteY437" fmla="*/ 3802548 h 4167549"/>
              <a:gd name="connsiteX438" fmla="*/ 3959805 w 10890933"/>
              <a:gd name="connsiteY438" fmla="*/ 3794100 h 4167549"/>
              <a:gd name="connsiteX439" fmla="*/ 2831649 w 10890933"/>
              <a:gd name="connsiteY439" fmla="*/ 3792459 h 4167549"/>
              <a:gd name="connsiteX440" fmla="*/ 2849482 w 10890933"/>
              <a:gd name="connsiteY440" fmla="*/ 3799442 h 4167549"/>
              <a:gd name="connsiteX441" fmla="*/ 2791592 w 10890933"/>
              <a:gd name="connsiteY441" fmla="*/ 3801567 h 4167549"/>
              <a:gd name="connsiteX442" fmla="*/ 2831649 w 10890933"/>
              <a:gd name="connsiteY442" fmla="*/ 3792459 h 4167549"/>
              <a:gd name="connsiteX443" fmla="*/ 4096643 w 10890933"/>
              <a:gd name="connsiteY443" fmla="*/ 3785296 h 4167549"/>
              <a:gd name="connsiteX444" fmla="*/ 3984979 w 10890933"/>
              <a:gd name="connsiteY444" fmla="*/ 3790648 h 4167549"/>
              <a:gd name="connsiteX445" fmla="*/ 4096643 w 10890933"/>
              <a:gd name="connsiteY445" fmla="*/ 3785296 h 4167549"/>
              <a:gd name="connsiteX446" fmla="*/ 4164962 w 10890933"/>
              <a:gd name="connsiteY446" fmla="*/ 3777147 h 4167549"/>
              <a:gd name="connsiteX447" fmla="*/ 4104868 w 10890933"/>
              <a:gd name="connsiteY447" fmla="*/ 3787500 h 4167549"/>
              <a:gd name="connsiteX448" fmla="*/ 4164962 w 10890933"/>
              <a:gd name="connsiteY448" fmla="*/ 3777147 h 4167549"/>
              <a:gd name="connsiteX449" fmla="*/ 6542695 w 10890933"/>
              <a:gd name="connsiteY449" fmla="*/ 3767774 h 4167549"/>
              <a:gd name="connsiteX450" fmla="*/ 6599867 w 10890933"/>
              <a:gd name="connsiteY450" fmla="*/ 3768213 h 4167549"/>
              <a:gd name="connsiteX451" fmla="*/ 6714378 w 10890933"/>
              <a:gd name="connsiteY451" fmla="*/ 3790078 h 4167549"/>
              <a:gd name="connsiteX452" fmla="*/ 6660341 w 10890933"/>
              <a:gd name="connsiteY452" fmla="*/ 3784417 h 4167549"/>
              <a:gd name="connsiteX453" fmla="*/ 6532782 w 10890933"/>
              <a:gd name="connsiteY453" fmla="*/ 3776692 h 4167549"/>
              <a:gd name="connsiteX454" fmla="*/ 6542695 w 10890933"/>
              <a:gd name="connsiteY454" fmla="*/ 3767774 h 4167549"/>
              <a:gd name="connsiteX455" fmla="*/ 4052042 w 10890933"/>
              <a:gd name="connsiteY455" fmla="*/ 3763799 h 4167549"/>
              <a:gd name="connsiteX456" fmla="*/ 4039050 w 10890933"/>
              <a:gd name="connsiteY456" fmla="*/ 3769864 h 4167549"/>
              <a:gd name="connsiteX457" fmla="*/ 4049483 w 10890933"/>
              <a:gd name="connsiteY457" fmla="*/ 3763841 h 4167549"/>
              <a:gd name="connsiteX458" fmla="*/ 6483417 w 10890933"/>
              <a:gd name="connsiteY458" fmla="*/ 3763465 h 4167549"/>
              <a:gd name="connsiteX459" fmla="*/ 6526759 w 10890933"/>
              <a:gd name="connsiteY459" fmla="*/ 3766260 h 4167549"/>
              <a:gd name="connsiteX460" fmla="*/ 6524555 w 10890933"/>
              <a:gd name="connsiteY460" fmla="*/ 3774488 h 4167549"/>
              <a:gd name="connsiteX461" fmla="*/ 6508100 w 10890933"/>
              <a:gd name="connsiteY461" fmla="*/ 3770079 h 4167549"/>
              <a:gd name="connsiteX462" fmla="*/ 6489440 w 10890933"/>
              <a:gd name="connsiteY462" fmla="*/ 3773897 h 4167549"/>
              <a:gd name="connsiteX463" fmla="*/ 6483417 w 10890933"/>
              <a:gd name="connsiteY463" fmla="*/ 3763465 h 4167549"/>
              <a:gd name="connsiteX464" fmla="*/ 6170395 w 10890933"/>
              <a:gd name="connsiteY464" fmla="*/ 3763363 h 4167549"/>
              <a:gd name="connsiteX465" fmla="*/ 6151736 w 10890933"/>
              <a:gd name="connsiteY465" fmla="*/ 3767181 h 4167549"/>
              <a:gd name="connsiteX466" fmla="*/ 6170395 w 10890933"/>
              <a:gd name="connsiteY466" fmla="*/ 3763363 h 4167549"/>
              <a:gd name="connsiteX467" fmla="*/ 6135281 w 10890933"/>
              <a:gd name="connsiteY467" fmla="*/ 3762772 h 4167549"/>
              <a:gd name="connsiteX468" fmla="*/ 6108393 w 10890933"/>
              <a:gd name="connsiteY468" fmla="*/ 3764386 h 4167549"/>
              <a:gd name="connsiteX469" fmla="*/ 6135281 w 10890933"/>
              <a:gd name="connsiteY469" fmla="*/ 3762772 h 4167549"/>
              <a:gd name="connsiteX470" fmla="*/ 3998665 w 10890933"/>
              <a:gd name="connsiteY470" fmla="*/ 3760145 h 4167549"/>
              <a:gd name="connsiteX471" fmla="*/ 4010253 w 10890933"/>
              <a:gd name="connsiteY471" fmla="*/ 3762148 h 4167549"/>
              <a:gd name="connsiteX472" fmla="*/ 4018480 w 10890933"/>
              <a:gd name="connsiteY472" fmla="*/ 3764352 h 4167549"/>
              <a:gd name="connsiteX473" fmla="*/ 3991594 w 10890933"/>
              <a:gd name="connsiteY473" fmla="*/ 3765966 h 4167549"/>
              <a:gd name="connsiteX474" fmla="*/ 3998665 w 10890933"/>
              <a:gd name="connsiteY474" fmla="*/ 3760145 h 4167549"/>
              <a:gd name="connsiteX475" fmla="*/ 8944273 w 10890933"/>
              <a:gd name="connsiteY475" fmla="*/ 3759035 h 4167549"/>
              <a:gd name="connsiteX476" fmla="*/ 8964091 w 10890933"/>
              <a:gd name="connsiteY476" fmla="*/ 3764864 h 4167549"/>
              <a:gd name="connsiteX477" fmla="*/ 9005395 w 10890933"/>
              <a:gd name="connsiteY477" fmla="*/ 3780064 h 4167549"/>
              <a:gd name="connsiteX478" fmla="*/ 8927232 w 10890933"/>
              <a:gd name="connsiteY478" fmla="*/ 3759121 h 4167549"/>
              <a:gd name="connsiteX479" fmla="*/ 8944273 w 10890933"/>
              <a:gd name="connsiteY479" fmla="*/ 3759035 h 4167549"/>
              <a:gd name="connsiteX480" fmla="*/ 4091169 w 10890933"/>
              <a:gd name="connsiteY480" fmla="*/ 3758597 h 4167549"/>
              <a:gd name="connsiteX481" fmla="*/ 4103257 w 10890933"/>
              <a:gd name="connsiteY481" fmla="*/ 3760614 h 4167549"/>
              <a:gd name="connsiteX482" fmla="*/ 4097839 w 10890933"/>
              <a:gd name="connsiteY482" fmla="*/ 3760264 h 4167549"/>
              <a:gd name="connsiteX483" fmla="*/ 4090220 w 10890933"/>
              <a:gd name="connsiteY483" fmla="*/ 3758360 h 4167549"/>
              <a:gd name="connsiteX484" fmla="*/ 4091169 w 10890933"/>
              <a:gd name="connsiteY484" fmla="*/ 3758597 h 4167549"/>
              <a:gd name="connsiteX485" fmla="*/ 4090157 w 10890933"/>
              <a:gd name="connsiteY485" fmla="*/ 3758428 h 4167549"/>
              <a:gd name="connsiteX486" fmla="*/ 6010398 w 10890933"/>
              <a:gd name="connsiteY486" fmla="*/ 3755765 h 4167549"/>
              <a:gd name="connsiteX487" fmla="*/ 6044484 w 10890933"/>
              <a:gd name="connsiteY487" fmla="*/ 3756080 h 4167549"/>
              <a:gd name="connsiteX488" fmla="*/ 5982482 w 10890933"/>
              <a:gd name="connsiteY488" fmla="*/ 3757103 h 4167549"/>
              <a:gd name="connsiteX489" fmla="*/ 6010398 w 10890933"/>
              <a:gd name="connsiteY489" fmla="*/ 3755765 h 4167549"/>
              <a:gd name="connsiteX490" fmla="*/ 4524528 w 10890933"/>
              <a:gd name="connsiteY490" fmla="*/ 3755551 h 4167549"/>
              <a:gd name="connsiteX491" fmla="*/ 4524848 w 10890933"/>
              <a:gd name="connsiteY491" fmla="*/ 3755614 h 4167549"/>
              <a:gd name="connsiteX492" fmla="*/ 4507672 w 10890933"/>
              <a:gd name="connsiteY492" fmla="*/ 3758119 h 4167549"/>
              <a:gd name="connsiteX493" fmla="*/ 4505663 w 10890933"/>
              <a:gd name="connsiteY493" fmla="*/ 3756303 h 4167549"/>
              <a:gd name="connsiteX494" fmla="*/ 4070548 w 10890933"/>
              <a:gd name="connsiteY494" fmla="*/ 3755157 h 4167549"/>
              <a:gd name="connsiteX495" fmla="*/ 4090157 w 10890933"/>
              <a:gd name="connsiteY495" fmla="*/ 3758428 h 4167549"/>
              <a:gd name="connsiteX496" fmla="*/ 4084597 w 10890933"/>
              <a:gd name="connsiteY496" fmla="*/ 3764432 h 4167549"/>
              <a:gd name="connsiteX497" fmla="*/ 4068142 w 10890933"/>
              <a:gd name="connsiteY497" fmla="*/ 3760023 h 4167549"/>
              <a:gd name="connsiteX498" fmla="*/ 4064985 w 10890933"/>
              <a:gd name="connsiteY498" fmla="*/ 3763584 h 4167549"/>
              <a:gd name="connsiteX499" fmla="*/ 4052042 w 10890933"/>
              <a:gd name="connsiteY499" fmla="*/ 3763799 h 4167549"/>
              <a:gd name="connsiteX500" fmla="*/ 6422657 w 10890933"/>
              <a:gd name="connsiteY500" fmla="*/ 3753293 h 4167549"/>
              <a:gd name="connsiteX501" fmla="*/ 6434095 w 10890933"/>
              <a:gd name="connsiteY501" fmla="*/ 3757965 h 4167549"/>
              <a:gd name="connsiteX502" fmla="*/ 6445362 w 10890933"/>
              <a:gd name="connsiteY502" fmla="*/ 3773846 h 4167549"/>
              <a:gd name="connsiteX503" fmla="*/ 6389310 w 10890933"/>
              <a:gd name="connsiteY503" fmla="*/ 3769114 h 4167549"/>
              <a:gd name="connsiteX504" fmla="*/ 6412283 w 10890933"/>
              <a:gd name="connsiteY504" fmla="*/ 3754692 h 4167549"/>
              <a:gd name="connsiteX505" fmla="*/ 6422657 w 10890933"/>
              <a:gd name="connsiteY505" fmla="*/ 3753293 h 4167549"/>
              <a:gd name="connsiteX506" fmla="*/ 4132347 w 10890933"/>
              <a:gd name="connsiteY506" fmla="*/ 3750771 h 4167549"/>
              <a:gd name="connsiteX507" fmla="*/ 4105459 w 10890933"/>
              <a:gd name="connsiteY507" fmla="*/ 3752385 h 4167549"/>
              <a:gd name="connsiteX508" fmla="*/ 4132347 w 10890933"/>
              <a:gd name="connsiteY508" fmla="*/ 3750771 h 4167549"/>
              <a:gd name="connsiteX509" fmla="*/ 5964841 w 10890933"/>
              <a:gd name="connsiteY509" fmla="*/ 3749666 h 4167549"/>
              <a:gd name="connsiteX510" fmla="*/ 5972988 w 10890933"/>
              <a:gd name="connsiteY510" fmla="*/ 3753456 h 4167549"/>
              <a:gd name="connsiteX511" fmla="*/ 5979542 w 10890933"/>
              <a:gd name="connsiteY511" fmla="*/ 3768075 h 4167549"/>
              <a:gd name="connsiteX512" fmla="*/ 5898807 w 10890933"/>
              <a:gd name="connsiteY512" fmla="*/ 3756729 h 4167549"/>
              <a:gd name="connsiteX513" fmla="*/ 5956061 w 10890933"/>
              <a:gd name="connsiteY513" fmla="*/ 3751493 h 4167549"/>
              <a:gd name="connsiteX514" fmla="*/ 5964841 w 10890933"/>
              <a:gd name="connsiteY514" fmla="*/ 3749666 h 4167549"/>
              <a:gd name="connsiteX515" fmla="*/ 6309848 w 10890933"/>
              <a:gd name="connsiteY515" fmla="*/ 3748922 h 4167549"/>
              <a:gd name="connsiteX516" fmla="*/ 6331721 w 10890933"/>
              <a:gd name="connsiteY516" fmla="*/ 3753680 h 4167549"/>
              <a:gd name="connsiteX517" fmla="*/ 6300719 w 10890933"/>
              <a:gd name="connsiteY517" fmla="*/ 3754192 h 4167549"/>
              <a:gd name="connsiteX518" fmla="*/ 6309848 w 10890933"/>
              <a:gd name="connsiteY518" fmla="*/ 3748922 h 4167549"/>
              <a:gd name="connsiteX519" fmla="*/ 4592185 w 10890933"/>
              <a:gd name="connsiteY519" fmla="*/ 3747120 h 4167549"/>
              <a:gd name="connsiteX520" fmla="*/ 4584305 w 10890933"/>
              <a:gd name="connsiteY520" fmla="*/ 3747946 h 4167549"/>
              <a:gd name="connsiteX521" fmla="*/ 4561753 w 10890933"/>
              <a:gd name="connsiteY521" fmla="*/ 3763161 h 4167549"/>
              <a:gd name="connsiteX522" fmla="*/ 4524848 w 10890933"/>
              <a:gd name="connsiteY522" fmla="*/ 3755614 h 4167549"/>
              <a:gd name="connsiteX523" fmla="*/ 4576174 w 10890933"/>
              <a:gd name="connsiteY523" fmla="*/ 3748128 h 4167549"/>
              <a:gd name="connsiteX524" fmla="*/ 4603314 w 10890933"/>
              <a:gd name="connsiteY524" fmla="*/ 3745954 h 4167549"/>
              <a:gd name="connsiteX525" fmla="*/ 4606495 w 10890933"/>
              <a:gd name="connsiteY525" fmla="*/ 3746220 h 4167549"/>
              <a:gd name="connsiteX526" fmla="*/ 4592185 w 10890933"/>
              <a:gd name="connsiteY526" fmla="*/ 3747120 h 4167549"/>
              <a:gd name="connsiteX527" fmla="*/ 5261335 w 10890933"/>
              <a:gd name="connsiteY527" fmla="*/ 3745528 h 4167549"/>
              <a:gd name="connsiteX528" fmla="*/ 5262898 w 10890933"/>
              <a:gd name="connsiteY528" fmla="*/ 3746536 h 4167549"/>
              <a:gd name="connsiteX529" fmla="*/ 5262164 w 10890933"/>
              <a:gd name="connsiteY529" fmla="*/ 3749277 h 4167549"/>
              <a:gd name="connsiteX530" fmla="*/ 4455800 w 10890933"/>
              <a:gd name="connsiteY530" fmla="*/ 3744850 h 4167549"/>
              <a:gd name="connsiteX531" fmla="*/ 4418480 w 10890933"/>
              <a:gd name="connsiteY531" fmla="*/ 3752487 h 4167549"/>
              <a:gd name="connsiteX532" fmla="*/ 4455800 w 10890933"/>
              <a:gd name="connsiteY532" fmla="*/ 3744850 h 4167549"/>
              <a:gd name="connsiteX533" fmla="*/ 4492797 w 10890933"/>
              <a:gd name="connsiteY533" fmla="*/ 3744685 h 4167549"/>
              <a:gd name="connsiteX534" fmla="*/ 4505663 w 10890933"/>
              <a:gd name="connsiteY534" fmla="*/ 3756303 h 4167549"/>
              <a:gd name="connsiteX535" fmla="*/ 4470836 w 10890933"/>
              <a:gd name="connsiteY535" fmla="*/ 3757697 h 4167549"/>
              <a:gd name="connsiteX536" fmla="*/ 4492797 w 10890933"/>
              <a:gd name="connsiteY536" fmla="*/ 3744685 h 4167549"/>
              <a:gd name="connsiteX537" fmla="*/ 8413277 w 10890933"/>
              <a:gd name="connsiteY537" fmla="*/ 3743759 h 4167549"/>
              <a:gd name="connsiteX538" fmla="*/ 8444405 w 10890933"/>
              <a:gd name="connsiteY538" fmla="*/ 3750998 h 4167549"/>
              <a:gd name="connsiteX539" fmla="*/ 8392836 w 10890933"/>
              <a:gd name="connsiteY539" fmla="*/ 3745998 h 4167549"/>
              <a:gd name="connsiteX540" fmla="*/ 8413277 w 10890933"/>
              <a:gd name="connsiteY540" fmla="*/ 3743759 h 4167549"/>
              <a:gd name="connsiteX541" fmla="*/ 5553981 w 10890933"/>
              <a:gd name="connsiteY541" fmla="*/ 3743695 h 4167549"/>
              <a:gd name="connsiteX542" fmla="*/ 5601438 w 10890933"/>
              <a:gd name="connsiteY542" fmla="*/ 3747593 h 4167549"/>
              <a:gd name="connsiteX543" fmla="*/ 5553981 w 10890933"/>
              <a:gd name="connsiteY543" fmla="*/ 3743695 h 4167549"/>
              <a:gd name="connsiteX544" fmla="*/ 5783328 w 10890933"/>
              <a:gd name="connsiteY544" fmla="*/ 3743423 h 4167549"/>
              <a:gd name="connsiteX545" fmla="*/ 5798279 w 10890933"/>
              <a:gd name="connsiteY545" fmla="*/ 3745224 h 4167549"/>
              <a:gd name="connsiteX546" fmla="*/ 5797578 w 10890933"/>
              <a:gd name="connsiteY546" fmla="*/ 3756060 h 4167549"/>
              <a:gd name="connsiteX547" fmla="*/ 5770691 w 10890933"/>
              <a:gd name="connsiteY547" fmla="*/ 3757674 h 4167549"/>
              <a:gd name="connsiteX548" fmla="*/ 5754236 w 10890933"/>
              <a:gd name="connsiteY548" fmla="*/ 3753264 h 4167549"/>
              <a:gd name="connsiteX549" fmla="*/ 5783328 w 10890933"/>
              <a:gd name="connsiteY549" fmla="*/ 3743423 h 4167549"/>
              <a:gd name="connsiteX550" fmla="*/ 6370140 w 10890933"/>
              <a:gd name="connsiteY550" fmla="*/ 3741928 h 4167549"/>
              <a:gd name="connsiteX551" fmla="*/ 6372856 w 10890933"/>
              <a:gd name="connsiteY551" fmla="*/ 3764703 h 4167549"/>
              <a:gd name="connsiteX552" fmla="*/ 6356401 w 10890933"/>
              <a:gd name="connsiteY552" fmla="*/ 3760293 h 4167549"/>
              <a:gd name="connsiteX553" fmla="*/ 6370140 w 10890933"/>
              <a:gd name="connsiteY553" fmla="*/ 3741928 h 4167549"/>
              <a:gd name="connsiteX554" fmla="*/ 4245112 w 10890933"/>
              <a:gd name="connsiteY554" fmla="*/ 3741306 h 4167549"/>
              <a:gd name="connsiteX555" fmla="*/ 4163347 w 10890933"/>
              <a:gd name="connsiteY555" fmla="*/ 3750262 h 4167549"/>
              <a:gd name="connsiteX556" fmla="*/ 4245112 w 10890933"/>
              <a:gd name="connsiteY556" fmla="*/ 3741306 h 4167549"/>
              <a:gd name="connsiteX557" fmla="*/ 7634296 w 10890933"/>
              <a:gd name="connsiteY557" fmla="*/ 3741157 h 4167549"/>
              <a:gd name="connsiteX558" fmla="*/ 7643894 w 10890933"/>
              <a:gd name="connsiteY558" fmla="*/ 3743729 h 4167549"/>
              <a:gd name="connsiteX559" fmla="*/ 7640587 w 10890933"/>
              <a:gd name="connsiteY559" fmla="*/ 3756071 h 4167549"/>
              <a:gd name="connsiteX560" fmla="*/ 7634296 w 10890933"/>
              <a:gd name="connsiteY560" fmla="*/ 3741157 h 4167549"/>
              <a:gd name="connsiteX561" fmla="*/ 4651136 w 10890933"/>
              <a:gd name="connsiteY561" fmla="*/ 3739870 h 4167549"/>
              <a:gd name="connsiteX562" fmla="*/ 4646412 w 10890933"/>
              <a:gd name="connsiteY562" fmla="*/ 3757502 h 4167549"/>
              <a:gd name="connsiteX563" fmla="*/ 4622516 w 10890933"/>
              <a:gd name="connsiteY563" fmla="*/ 3747556 h 4167549"/>
              <a:gd name="connsiteX564" fmla="*/ 4606495 w 10890933"/>
              <a:gd name="connsiteY564" fmla="*/ 3746220 h 4167549"/>
              <a:gd name="connsiteX565" fmla="*/ 4610970 w 10890933"/>
              <a:gd name="connsiteY565" fmla="*/ 3745938 h 4167549"/>
              <a:gd name="connsiteX566" fmla="*/ 4651136 w 10890933"/>
              <a:gd name="connsiteY566" fmla="*/ 3739870 h 4167549"/>
              <a:gd name="connsiteX567" fmla="*/ 6182975 w 10890933"/>
              <a:gd name="connsiteY567" fmla="*/ 3739865 h 4167549"/>
              <a:gd name="connsiteX568" fmla="*/ 6294695 w 10890933"/>
              <a:gd name="connsiteY568" fmla="*/ 3743760 h 4167549"/>
              <a:gd name="connsiteX569" fmla="*/ 6245573 w 10890933"/>
              <a:gd name="connsiteY569" fmla="*/ 3757052 h 4167549"/>
              <a:gd name="connsiteX570" fmla="*/ 6156145 w 10890933"/>
              <a:gd name="connsiteY570" fmla="*/ 3750726 h 4167549"/>
              <a:gd name="connsiteX571" fmla="*/ 6182975 w 10890933"/>
              <a:gd name="connsiteY571" fmla="*/ 3739865 h 4167549"/>
              <a:gd name="connsiteX572" fmla="*/ 6092983 w 10890933"/>
              <a:gd name="connsiteY572" fmla="*/ 3739793 h 4167549"/>
              <a:gd name="connsiteX573" fmla="*/ 6107436 w 10890933"/>
              <a:gd name="connsiteY573" fmla="*/ 3740727 h 4167549"/>
              <a:gd name="connsiteX574" fmla="*/ 6094979 w 10890933"/>
              <a:gd name="connsiteY574" fmla="*/ 3743155 h 4167549"/>
              <a:gd name="connsiteX575" fmla="*/ 6121175 w 10890933"/>
              <a:gd name="connsiteY575" fmla="*/ 3738048 h 4167549"/>
              <a:gd name="connsiteX576" fmla="*/ 6158352 w 10890933"/>
              <a:gd name="connsiteY576" fmla="*/ 3742499 h 4167549"/>
              <a:gd name="connsiteX577" fmla="*/ 6122455 w 10890933"/>
              <a:gd name="connsiteY577" fmla="*/ 3741699 h 4167549"/>
              <a:gd name="connsiteX578" fmla="*/ 6107436 w 10890933"/>
              <a:gd name="connsiteY578" fmla="*/ 3740727 h 4167549"/>
              <a:gd name="connsiteX579" fmla="*/ 4672185 w 10890933"/>
              <a:gd name="connsiteY579" fmla="*/ 3737932 h 4167549"/>
              <a:gd name="connsiteX580" fmla="*/ 4694477 w 10890933"/>
              <a:gd name="connsiteY580" fmla="*/ 3742666 h 4167549"/>
              <a:gd name="connsiteX581" fmla="*/ 4667590 w 10890933"/>
              <a:gd name="connsiteY581" fmla="*/ 3744279 h 4167549"/>
              <a:gd name="connsiteX582" fmla="*/ 4672185 w 10890933"/>
              <a:gd name="connsiteY582" fmla="*/ 3737932 h 4167549"/>
              <a:gd name="connsiteX583" fmla="*/ 5450882 w 10890933"/>
              <a:gd name="connsiteY583" fmla="*/ 3736685 h 4167549"/>
              <a:gd name="connsiteX584" fmla="*/ 5545753 w 10890933"/>
              <a:gd name="connsiteY584" fmla="*/ 3741493 h 4167549"/>
              <a:gd name="connsiteX585" fmla="*/ 5428705 w 10890933"/>
              <a:gd name="connsiteY585" fmla="*/ 3739232 h 4167549"/>
              <a:gd name="connsiteX586" fmla="*/ 5373189 w 10890933"/>
              <a:gd name="connsiteY586" fmla="*/ 3743756 h 4167549"/>
              <a:gd name="connsiteX587" fmla="*/ 5450882 w 10890933"/>
              <a:gd name="connsiteY587" fmla="*/ 3736685 h 4167549"/>
              <a:gd name="connsiteX588" fmla="*/ 5247279 w 10890933"/>
              <a:gd name="connsiteY588" fmla="*/ 3736470 h 4167549"/>
              <a:gd name="connsiteX589" fmla="*/ 5259579 w 10890933"/>
              <a:gd name="connsiteY589" fmla="*/ 3737561 h 4167549"/>
              <a:gd name="connsiteX590" fmla="*/ 5261335 w 10890933"/>
              <a:gd name="connsiteY590" fmla="*/ 3745528 h 4167549"/>
              <a:gd name="connsiteX591" fmla="*/ 6043232 w 10890933"/>
              <a:gd name="connsiteY591" fmla="*/ 3734112 h 4167549"/>
              <a:gd name="connsiteX592" fmla="*/ 6047102 w 10890933"/>
              <a:gd name="connsiteY592" fmla="*/ 3734676 h 4167549"/>
              <a:gd name="connsiteX593" fmla="*/ 6042233 w 10890933"/>
              <a:gd name="connsiteY593" fmla="*/ 3737840 h 4167549"/>
              <a:gd name="connsiteX594" fmla="*/ 6039511 w 10890933"/>
              <a:gd name="connsiteY594" fmla="*/ 3735493 h 4167549"/>
              <a:gd name="connsiteX595" fmla="*/ 5217103 w 10890933"/>
              <a:gd name="connsiteY595" fmla="*/ 3733895 h 4167549"/>
              <a:gd name="connsiteX596" fmla="*/ 5224504 w 10890933"/>
              <a:gd name="connsiteY596" fmla="*/ 3739186 h 4167549"/>
              <a:gd name="connsiteX597" fmla="*/ 5205844 w 10890933"/>
              <a:gd name="connsiteY597" fmla="*/ 3743005 h 4167549"/>
              <a:gd name="connsiteX598" fmla="*/ 5208049 w 10890933"/>
              <a:gd name="connsiteY598" fmla="*/ 3734777 h 4167549"/>
              <a:gd name="connsiteX599" fmla="*/ 5217103 w 10890933"/>
              <a:gd name="connsiteY599" fmla="*/ 3733895 h 4167549"/>
              <a:gd name="connsiteX600" fmla="*/ 4390517 w 10890933"/>
              <a:gd name="connsiteY600" fmla="*/ 3733679 h 4167549"/>
              <a:gd name="connsiteX601" fmla="*/ 4386808 w 10890933"/>
              <a:gd name="connsiteY601" fmla="*/ 3735182 h 4167549"/>
              <a:gd name="connsiteX602" fmla="*/ 4381242 w 10890933"/>
              <a:gd name="connsiteY602" fmla="*/ 3734877 h 4167549"/>
              <a:gd name="connsiteX603" fmla="*/ 5266573 w 10890933"/>
              <a:gd name="connsiteY603" fmla="*/ 3732822 h 4167549"/>
              <a:gd name="connsiteX604" fmla="*/ 5339335 w 10890933"/>
              <a:gd name="connsiteY604" fmla="*/ 3734682 h 4167549"/>
              <a:gd name="connsiteX605" fmla="*/ 5355905 w 10890933"/>
              <a:gd name="connsiteY605" fmla="*/ 3736917 h 4167549"/>
              <a:gd name="connsiteX606" fmla="*/ 5362760 w 10890933"/>
              <a:gd name="connsiteY606" fmla="*/ 3749777 h 4167549"/>
              <a:gd name="connsiteX607" fmla="*/ 5337130 w 10890933"/>
              <a:gd name="connsiteY607" fmla="*/ 3742910 h 4167549"/>
              <a:gd name="connsiteX608" fmla="*/ 5270708 w 10890933"/>
              <a:gd name="connsiteY608" fmla="*/ 3751567 h 4167549"/>
              <a:gd name="connsiteX609" fmla="*/ 5262898 w 10890933"/>
              <a:gd name="connsiteY609" fmla="*/ 3746536 h 4167549"/>
              <a:gd name="connsiteX610" fmla="*/ 4917802 w 10890933"/>
              <a:gd name="connsiteY610" fmla="*/ 3731959 h 4167549"/>
              <a:gd name="connsiteX611" fmla="*/ 4942485 w 10890933"/>
              <a:gd name="connsiteY611" fmla="*/ 3738573 h 4167549"/>
              <a:gd name="connsiteX612" fmla="*/ 4921621 w 10890933"/>
              <a:gd name="connsiteY612" fmla="*/ 3750619 h 4167549"/>
              <a:gd name="connsiteX613" fmla="*/ 4917802 w 10890933"/>
              <a:gd name="connsiteY613" fmla="*/ 3731959 h 4167549"/>
              <a:gd name="connsiteX614" fmla="*/ 1840268 w 10890933"/>
              <a:gd name="connsiteY614" fmla="*/ 3731844 h 4167549"/>
              <a:gd name="connsiteX615" fmla="*/ 1873178 w 10890933"/>
              <a:gd name="connsiteY615" fmla="*/ 3740662 h 4167549"/>
              <a:gd name="connsiteX616" fmla="*/ 1870974 w 10890933"/>
              <a:gd name="connsiteY616" fmla="*/ 3748889 h 4167549"/>
              <a:gd name="connsiteX617" fmla="*/ 1840268 w 10890933"/>
              <a:gd name="connsiteY617" fmla="*/ 3731844 h 4167549"/>
              <a:gd name="connsiteX618" fmla="*/ 4817856 w 10890933"/>
              <a:gd name="connsiteY618" fmla="*/ 3731634 h 4167549"/>
              <a:gd name="connsiteX619" fmla="*/ 4815652 w 10890933"/>
              <a:gd name="connsiteY619" fmla="*/ 3739861 h 4167549"/>
              <a:gd name="connsiteX620" fmla="*/ 4915598 w 10890933"/>
              <a:gd name="connsiteY620" fmla="*/ 3740187 h 4167549"/>
              <a:gd name="connsiteX621" fmla="*/ 4768821 w 10890933"/>
              <a:gd name="connsiteY621" fmla="*/ 3744950 h 4167549"/>
              <a:gd name="connsiteX622" fmla="*/ 4748104 w 10890933"/>
              <a:gd name="connsiteY622" fmla="*/ 3748217 h 4167549"/>
              <a:gd name="connsiteX623" fmla="*/ 4761771 w 10890933"/>
              <a:gd name="connsiteY623" fmla="*/ 3734242 h 4167549"/>
              <a:gd name="connsiteX624" fmla="*/ 4768822 w 10890933"/>
              <a:gd name="connsiteY624" fmla="*/ 3744947 h 4167549"/>
              <a:gd name="connsiteX625" fmla="*/ 4782691 w 10890933"/>
              <a:gd name="connsiteY625" fmla="*/ 3739847 h 4167549"/>
              <a:gd name="connsiteX626" fmla="*/ 4790199 w 10890933"/>
              <a:gd name="connsiteY626" fmla="*/ 3733041 h 4167549"/>
              <a:gd name="connsiteX627" fmla="*/ 4796479 w 10890933"/>
              <a:gd name="connsiteY627" fmla="*/ 3743542 h 4167549"/>
              <a:gd name="connsiteX628" fmla="*/ 4817856 w 10890933"/>
              <a:gd name="connsiteY628" fmla="*/ 3731634 h 4167549"/>
              <a:gd name="connsiteX629" fmla="*/ 4406434 w 10890933"/>
              <a:gd name="connsiteY629" fmla="*/ 3731623 h 4167549"/>
              <a:gd name="connsiteX630" fmla="*/ 4390517 w 10890933"/>
              <a:gd name="connsiteY630" fmla="*/ 3733679 h 4167549"/>
              <a:gd name="connsiteX631" fmla="*/ 4393355 w 10890933"/>
              <a:gd name="connsiteY631" fmla="*/ 3732526 h 4167549"/>
              <a:gd name="connsiteX632" fmla="*/ 4406434 w 10890933"/>
              <a:gd name="connsiteY632" fmla="*/ 3731623 h 4167549"/>
              <a:gd name="connsiteX633" fmla="*/ 4314348 w 10890933"/>
              <a:gd name="connsiteY633" fmla="*/ 3731198 h 4167549"/>
              <a:gd name="connsiteX634" fmla="*/ 4381242 w 10890933"/>
              <a:gd name="connsiteY634" fmla="*/ 3734877 h 4167549"/>
              <a:gd name="connsiteX635" fmla="*/ 4331482 w 10890933"/>
              <a:gd name="connsiteY635" fmla="*/ 3741299 h 4167549"/>
              <a:gd name="connsiteX636" fmla="*/ 4245112 w 10890933"/>
              <a:gd name="connsiteY636" fmla="*/ 3741306 h 4167549"/>
              <a:gd name="connsiteX637" fmla="*/ 4314348 w 10890933"/>
              <a:gd name="connsiteY637" fmla="*/ 3731198 h 4167549"/>
              <a:gd name="connsiteX638" fmla="*/ 5191594 w 10890933"/>
              <a:gd name="connsiteY638" fmla="*/ 3730368 h 4167549"/>
              <a:gd name="connsiteX639" fmla="*/ 5203639 w 10890933"/>
              <a:gd name="connsiteY639" fmla="*/ 3751232 h 4167549"/>
              <a:gd name="connsiteX640" fmla="*/ 5127388 w 10890933"/>
              <a:gd name="connsiteY640" fmla="*/ 3739619 h 4167549"/>
              <a:gd name="connsiteX641" fmla="*/ 5191594 w 10890933"/>
              <a:gd name="connsiteY641" fmla="*/ 3730368 h 4167549"/>
              <a:gd name="connsiteX642" fmla="*/ 5909208 w 10890933"/>
              <a:gd name="connsiteY642" fmla="*/ 3730042 h 4167549"/>
              <a:gd name="connsiteX643" fmla="*/ 5914751 w 10890933"/>
              <a:gd name="connsiteY643" fmla="*/ 3730136 h 4167549"/>
              <a:gd name="connsiteX644" fmla="*/ 5912895 w 10890933"/>
              <a:gd name="connsiteY644" fmla="*/ 3732947 h 4167549"/>
              <a:gd name="connsiteX645" fmla="*/ 6012249 w 10890933"/>
              <a:gd name="connsiteY645" fmla="*/ 3727602 h 4167549"/>
              <a:gd name="connsiteX646" fmla="*/ 6032035 w 10890933"/>
              <a:gd name="connsiteY646" fmla="*/ 3729045 h 4167549"/>
              <a:gd name="connsiteX647" fmla="*/ 6039511 w 10890933"/>
              <a:gd name="connsiteY647" fmla="*/ 3735493 h 4167549"/>
              <a:gd name="connsiteX648" fmla="*/ 6023182 w 10890933"/>
              <a:gd name="connsiteY648" fmla="*/ 3741554 h 4167549"/>
              <a:gd name="connsiteX649" fmla="*/ 5995707 w 10890933"/>
              <a:gd name="connsiteY649" fmla="*/ 3743010 h 4167549"/>
              <a:gd name="connsiteX650" fmla="*/ 5987282 w 10890933"/>
              <a:gd name="connsiteY650" fmla="*/ 3740753 h 4167549"/>
              <a:gd name="connsiteX651" fmla="*/ 5972641 w 10890933"/>
              <a:gd name="connsiteY651" fmla="*/ 3728011 h 4167549"/>
              <a:gd name="connsiteX652" fmla="*/ 6012249 w 10890933"/>
              <a:gd name="connsiteY652" fmla="*/ 3727602 h 4167549"/>
              <a:gd name="connsiteX653" fmla="*/ 5938077 w 10890933"/>
              <a:gd name="connsiteY653" fmla="*/ 3725363 h 4167549"/>
              <a:gd name="connsiteX654" fmla="*/ 5938788 w 10890933"/>
              <a:gd name="connsiteY654" fmla="*/ 3725995 h 4167549"/>
              <a:gd name="connsiteX655" fmla="*/ 5931206 w 10890933"/>
              <a:gd name="connsiteY655" fmla="*/ 3734545 h 4167549"/>
              <a:gd name="connsiteX656" fmla="*/ 5938077 w 10890933"/>
              <a:gd name="connsiteY656" fmla="*/ 3725363 h 4167549"/>
              <a:gd name="connsiteX657" fmla="*/ 5029445 w 10890933"/>
              <a:gd name="connsiteY657" fmla="*/ 3724082 h 4167549"/>
              <a:gd name="connsiteX658" fmla="*/ 5083771 w 10890933"/>
              <a:gd name="connsiteY658" fmla="*/ 3729193 h 4167549"/>
              <a:gd name="connsiteX659" fmla="*/ 5118535 w 10890933"/>
              <a:gd name="connsiteY659" fmla="*/ 3735850 h 4167549"/>
              <a:gd name="connsiteX660" fmla="*/ 5124711 w 10890933"/>
              <a:gd name="connsiteY660" fmla="*/ 3749608 h 4167549"/>
              <a:gd name="connsiteX661" fmla="*/ 4950712 w 10890933"/>
              <a:gd name="connsiteY661" fmla="*/ 3740780 h 4167549"/>
              <a:gd name="connsiteX662" fmla="*/ 5029445 w 10890933"/>
              <a:gd name="connsiteY662" fmla="*/ 3724082 h 4167549"/>
              <a:gd name="connsiteX663" fmla="*/ 6082542 w 10890933"/>
              <a:gd name="connsiteY663" fmla="*/ 3722186 h 4167549"/>
              <a:gd name="connsiteX664" fmla="*/ 6092983 w 10890933"/>
              <a:gd name="connsiteY664" fmla="*/ 3739793 h 4167549"/>
              <a:gd name="connsiteX665" fmla="*/ 6073644 w 10890933"/>
              <a:gd name="connsiteY665" fmla="*/ 3738541 h 4167549"/>
              <a:gd name="connsiteX666" fmla="*/ 6047102 w 10890933"/>
              <a:gd name="connsiteY666" fmla="*/ 3734676 h 4167549"/>
              <a:gd name="connsiteX667" fmla="*/ 6052141 w 10890933"/>
              <a:gd name="connsiteY667" fmla="*/ 3731401 h 4167549"/>
              <a:gd name="connsiteX668" fmla="*/ 6082542 w 10890933"/>
              <a:gd name="connsiteY668" fmla="*/ 3722186 h 4167549"/>
              <a:gd name="connsiteX669" fmla="*/ 4435527 w 10890933"/>
              <a:gd name="connsiteY669" fmla="*/ 3721781 h 4167549"/>
              <a:gd name="connsiteX670" fmla="*/ 4449777 w 10890933"/>
              <a:gd name="connsiteY670" fmla="*/ 3734418 h 4167549"/>
              <a:gd name="connsiteX671" fmla="*/ 4416867 w 10890933"/>
              <a:gd name="connsiteY671" fmla="*/ 3725600 h 4167549"/>
              <a:gd name="connsiteX672" fmla="*/ 4435527 w 10890933"/>
              <a:gd name="connsiteY672" fmla="*/ 3721781 h 4167549"/>
              <a:gd name="connsiteX673" fmla="*/ 4463938 w 10890933"/>
              <a:gd name="connsiteY673" fmla="*/ 3721678 h 4167549"/>
              <a:gd name="connsiteX674" fmla="*/ 4505757 w 10890933"/>
              <a:gd name="connsiteY674" fmla="*/ 3722963 h 4167549"/>
              <a:gd name="connsiteX675" fmla="*/ 4511779 w 10890933"/>
              <a:gd name="connsiteY675" fmla="*/ 3733395 h 4167549"/>
              <a:gd name="connsiteX676" fmla="*/ 4451981 w 10890933"/>
              <a:gd name="connsiteY676" fmla="*/ 3726191 h 4167549"/>
              <a:gd name="connsiteX677" fmla="*/ 4463938 w 10890933"/>
              <a:gd name="connsiteY677" fmla="*/ 3721678 h 4167549"/>
              <a:gd name="connsiteX678" fmla="*/ 5943843 w 10890933"/>
              <a:gd name="connsiteY678" fmla="*/ 3720295 h 4167549"/>
              <a:gd name="connsiteX679" fmla="*/ 5941638 w 10890933"/>
              <a:gd name="connsiteY679" fmla="*/ 3728522 h 4167549"/>
              <a:gd name="connsiteX680" fmla="*/ 5938788 w 10890933"/>
              <a:gd name="connsiteY680" fmla="*/ 3725995 h 4167549"/>
              <a:gd name="connsiteX681" fmla="*/ 5818268 w 10890933"/>
              <a:gd name="connsiteY681" fmla="*/ 3719992 h 4167549"/>
              <a:gd name="connsiteX682" fmla="*/ 5846729 w 10890933"/>
              <a:gd name="connsiteY682" fmla="*/ 3720728 h 4167549"/>
              <a:gd name="connsiteX683" fmla="*/ 5787737 w 10890933"/>
              <a:gd name="connsiteY683" fmla="*/ 3726968 h 4167549"/>
              <a:gd name="connsiteX684" fmla="*/ 5818268 w 10890933"/>
              <a:gd name="connsiteY684" fmla="*/ 3719992 h 4167549"/>
              <a:gd name="connsiteX685" fmla="*/ 5873614 w 10890933"/>
              <a:gd name="connsiteY685" fmla="*/ 3719114 h 4167549"/>
              <a:gd name="connsiteX686" fmla="*/ 5890896 w 10890933"/>
              <a:gd name="connsiteY686" fmla="*/ 3720436 h 4167549"/>
              <a:gd name="connsiteX687" fmla="*/ 5906524 w 10890933"/>
              <a:gd name="connsiteY687" fmla="*/ 3727932 h 4167549"/>
              <a:gd name="connsiteX688" fmla="*/ 5909208 w 10890933"/>
              <a:gd name="connsiteY688" fmla="*/ 3730042 h 4167549"/>
              <a:gd name="connsiteX689" fmla="*/ 5892806 w 10890933"/>
              <a:gd name="connsiteY689" fmla="*/ 3729766 h 4167549"/>
              <a:gd name="connsiteX690" fmla="*/ 5869205 w 10890933"/>
              <a:gd name="connsiteY690" fmla="*/ 3735569 h 4167549"/>
              <a:gd name="connsiteX691" fmla="*/ 5873614 w 10890933"/>
              <a:gd name="connsiteY691" fmla="*/ 3719114 h 4167549"/>
              <a:gd name="connsiteX692" fmla="*/ 5865386 w 10890933"/>
              <a:gd name="connsiteY692" fmla="*/ 3716909 h 4167549"/>
              <a:gd name="connsiteX693" fmla="*/ 5843787 w 10890933"/>
              <a:gd name="connsiteY693" fmla="*/ 3731699 h 4167549"/>
              <a:gd name="connsiteX694" fmla="*/ 5865386 w 10890933"/>
              <a:gd name="connsiteY694" fmla="*/ 3716909 h 4167549"/>
              <a:gd name="connsiteX695" fmla="*/ 4906017 w 10890933"/>
              <a:gd name="connsiteY695" fmla="*/ 3716495 h 4167549"/>
              <a:gd name="connsiteX696" fmla="*/ 4906499 w 10890933"/>
              <a:gd name="connsiteY696" fmla="*/ 3716883 h 4167549"/>
              <a:gd name="connsiteX697" fmla="*/ 4904082 w 10890933"/>
              <a:gd name="connsiteY697" fmla="*/ 3719468 h 4167549"/>
              <a:gd name="connsiteX698" fmla="*/ 4906017 w 10890933"/>
              <a:gd name="connsiteY698" fmla="*/ 3716495 h 4167549"/>
              <a:gd name="connsiteX699" fmla="*/ 5504235 w 10890933"/>
              <a:gd name="connsiteY699" fmla="*/ 3716259 h 4167549"/>
              <a:gd name="connsiteX700" fmla="*/ 5497820 w 10890933"/>
              <a:gd name="connsiteY700" fmla="*/ 3719831 h 4167549"/>
              <a:gd name="connsiteX701" fmla="*/ 5496032 w 10890933"/>
              <a:gd name="connsiteY701" fmla="*/ 3716327 h 4167549"/>
              <a:gd name="connsiteX702" fmla="*/ 5708399 w 10890933"/>
              <a:gd name="connsiteY702" fmla="*/ 3714528 h 4167549"/>
              <a:gd name="connsiteX703" fmla="*/ 5736167 w 10890933"/>
              <a:gd name="connsiteY703" fmla="*/ 3721968 h 4167549"/>
              <a:gd name="connsiteX704" fmla="*/ 5703989 w 10890933"/>
              <a:gd name="connsiteY704" fmla="*/ 3730983 h 4167549"/>
              <a:gd name="connsiteX705" fmla="*/ 5708399 w 10890933"/>
              <a:gd name="connsiteY705" fmla="*/ 3714528 h 4167549"/>
              <a:gd name="connsiteX706" fmla="*/ 5755177 w 10890933"/>
              <a:gd name="connsiteY706" fmla="*/ 3712730 h 4167549"/>
              <a:gd name="connsiteX707" fmla="*/ 5752990 w 10890933"/>
              <a:gd name="connsiteY707" fmla="*/ 3725007 h 4167549"/>
              <a:gd name="connsiteX708" fmla="*/ 5733963 w 10890933"/>
              <a:gd name="connsiteY708" fmla="*/ 3730196 h 4167549"/>
              <a:gd name="connsiteX709" fmla="*/ 5747335 w 10890933"/>
              <a:gd name="connsiteY709" fmla="*/ 3713201 h 4167549"/>
              <a:gd name="connsiteX710" fmla="*/ 5755177 w 10890933"/>
              <a:gd name="connsiteY710" fmla="*/ 3712730 h 4167549"/>
              <a:gd name="connsiteX711" fmla="*/ 5026343 w 10890933"/>
              <a:gd name="connsiteY711" fmla="*/ 3711645 h 4167549"/>
              <a:gd name="connsiteX712" fmla="*/ 5059619 w 10890933"/>
              <a:gd name="connsiteY712" fmla="*/ 3712275 h 4167549"/>
              <a:gd name="connsiteX713" fmla="*/ 5071546 w 10890933"/>
              <a:gd name="connsiteY713" fmla="*/ 3711744 h 4167549"/>
              <a:gd name="connsiteX714" fmla="*/ 5056912 w 10890933"/>
              <a:gd name="connsiteY714" fmla="*/ 3713877 h 4167549"/>
              <a:gd name="connsiteX715" fmla="*/ 5040784 w 10890933"/>
              <a:gd name="connsiteY715" fmla="*/ 3718863 h 4167549"/>
              <a:gd name="connsiteX716" fmla="*/ 5025732 w 10890933"/>
              <a:gd name="connsiteY716" fmla="*/ 3711340 h 4167549"/>
              <a:gd name="connsiteX717" fmla="*/ 5026343 w 10890933"/>
              <a:gd name="connsiteY717" fmla="*/ 3711645 h 4167549"/>
              <a:gd name="connsiteX718" fmla="*/ 5022307 w 10890933"/>
              <a:gd name="connsiteY718" fmla="*/ 3711569 h 4167549"/>
              <a:gd name="connsiteX719" fmla="*/ 5079410 w 10890933"/>
              <a:gd name="connsiteY719" fmla="*/ 3710596 h 4167549"/>
              <a:gd name="connsiteX720" fmla="*/ 5080372 w 10890933"/>
              <a:gd name="connsiteY720" fmla="*/ 3711351 h 4167549"/>
              <a:gd name="connsiteX721" fmla="*/ 5071546 w 10890933"/>
              <a:gd name="connsiteY721" fmla="*/ 3711744 h 4167549"/>
              <a:gd name="connsiteX722" fmla="*/ 5104869 w 10890933"/>
              <a:gd name="connsiteY722" fmla="*/ 3710260 h 4167549"/>
              <a:gd name="connsiteX723" fmla="*/ 5090695 w 10890933"/>
              <a:gd name="connsiteY723" fmla="*/ 3719438 h 4167549"/>
              <a:gd name="connsiteX724" fmla="*/ 5080372 w 10890933"/>
              <a:gd name="connsiteY724" fmla="*/ 3711351 h 4167549"/>
              <a:gd name="connsiteX725" fmla="*/ 5590145 w 10890933"/>
              <a:gd name="connsiteY725" fmla="*/ 3709294 h 4167549"/>
              <a:gd name="connsiteX726" fmla="*/ 5644456 w 10890933"/>
              <a:gd name="connsiteY726" fmla="*/ 3715028 h 4167549"/>
              <a:gd name="connsiteX727" fmla="*/ 5661826 w 10890933"/>
              <a:gd name="connsiteY727" fmla="*/ 3719682 h 4167549"/>
              <a:gd name="connsiteX728" fmla="*/ 5585736 w 10890933"/>
              <a:gd name="connsiteY728" fmla="*/ 3725749 h 4167549"/>
              <a:gd name="connsiteX729" fmla="*/ 5590145 w 10890933"/>
              <a:gd name="connsiteY729" fmla="*/ 3709294 h 4167549"/>
              <a:gd name="connsiteX730" fmla="*/ 5107215 w 10890933"/>
              <a:gd name="connsiteY730" fmla="*/ 3708739 h 4167549"/>
              <a:gd name="connsiteX731" fmla="*/ 5107892 w 10890933"/>
              <a:gd name="connsiteY731" fmla="*/ 3710123 h 4167549"/>
              <a:gd name="connsiteX732" fmla="*/ 5104869 w 10890933"/>
              <a:gd name="connsiteY732" fmla="*/ 3710260 h 4167549"/>
              <a:gd name="connsiteX733" fmla="*/ 5766362 w 10890933"/>
              <a:gd name="connsiteY733" fmla="*/ 3708012 h 4167549"/>
              <a:gd name="connsiteX734" fmla="*/ 5782817 w 10890933"/>
              <a:gd name="connsiteY734" fmla="*/ 3712421 h 4167549"/>
              <a:gd name="connsiteX735" fmla="*/ 5766362 w 10890933"/>
              <a:gd name="connsiteY735" fmla="*/ 3708012 h 4167549"/>
              <a:gd name="connsiteX736" fmla="*/ 5519200 w 10890933"/>
              <a:gd name="connsiteY736" fmla="*/ 3707923 h 4167549"/>
              <a:gd name="connsiteX737" fmla="*/ 5516995 w 10890933"/>
              <a:gd name="connsiteY737" fmla="*/ 3716151 h 4167549"/>
              <a:gd name="connsiteX738" fmla="*/ 5504235 w 10890933"/>
              <a:gd name="connsiteY738" fmla="*/ 3716259 h 4167549"/>
              <a:gd name="connsiteX739" fmla="*/ 5171321 w 10890933"/>
              <a:gd name="connsiteY739" fmla="*/ 3707299 h 4167549"/>
              <a:gd name="connsiteX740" fmla="*/ 5149680 w 10890933"/>
              <a:gd name="connsiteY740" fmla="*/ 3720118 h 4167549"/>
              <a:gd name="connsiteX741" fmla="*/ 5110154 w 10890933"/>
              <a:gd name="connsiteY741" fmla="*/ 3714762 h 4167549"/>
              <a:gd name="connsiteX742" fmla="*/ 5107892 w 10890933"/>
              <a:gd name="connsiteY742" fmla="*/ 3710123 h 4167549"/>
              <a:gd name="connsiteX743" fmla="*/ 5581458 w 10890933"/>
              <a:gd name="connsiteY743" fmla="*/ 3706969 h 4167549"/>
              <a:gd name="connsiteX744" fmla="*/ 5577049 w 10890933"/>
              <a:gd name="connsiteY744" fmla="*/ 3723424 h 4167549"/>
              <a:gd name="connsiteX745" fmla="*/ 5558390 w 10890933"/>
              <a:gd name="connsiteY745" fmla="*/ 3727242 h 4167549"/>
              <a:gd name="connsiteX746" fmla="*/ 5535912 w 10890933"/>
              <a:gd name="connsiteY746" fmla="*/ 3712401 h 4167549"/>
              <a:gd name="connsiteX747" fmla="*/ 5581458 w 10890933"/>
              <a:gd name="connsiteY747" fmla="*/ 3706969 h 4167549"/>
              <a:gd name="connsiteX748" fmla="*/ 8434560 w 10890933"/>
              <a:gd name="connsiteY748" fmla="*/ 3704955 h 4167549"/>
              <a:gd name="connsiteX749" fmla="*/ 8443842 w 10890933"/>
              <a:gd name="connsiteY749" fmla="*/ 3707856 h 4167549"/>
              <a:gd name="connsiteX750" fmla="*/ 8462554 w 10890933"/>
              <a:gd name="connsiteY750" fmla="*/ 3716177 h 4167549"/>
              <a:gd name="connsiteX751" fmla="*/ 8429644 w 10890933"/>
              <a:gd name="connsiteY751" fmla="*/ 3707359 h 4167549"/>
              <a:gd name="connsiteX752" fmla="*/ 8434560 w 10890933"/>
              <a:gd name="connsiteY752" fmla="*/ 3704955 h 4167549"/>
              <a:gd name="connsiteX753" fmla="*/ 4945036 w 10890933"/>
              <a:gd name="connsiteY753" fmla="*/ 3702517 h 4167549"/>
              <a:gd name="connsiteX754" fmla="*/ 5000042 w 10890933"/>
              <a:gd name="connsiteY754" fmla="*/ 3711147 h 4167549"/>
              <a:gd name="connsiteX755" fmla="*/ 5022307 w 10890933"/>
              <a:gd name="connsiteY755" fmla="*/ 3711569 h 4167549"/>
              <a:gd name="connsiteX756" fmla="*/ 5015305 w 10890933"/>
              <a:gd name="connsiteY756" fmla="*/ 3712036 h 4167549"/>
              <a:gd name="connsiteX757" fmla="*/ 4929560 w 10890933"/>
              <a:gd name="connsiteY757" fmla="*/ 3726294 h 4167549"/>
              <a:gd name="connsiteX758" fmla="*/ 4912576 w 10890933"/>
              <a:gd name="connsiteY758" fmla="*/ 3721744 h 4167549"/>
              <a:gd name="connsiteX759" fmla="*/ 4906499 w 10890933"/>
              <a:gd name="connsiteY759" fmla="*/ 3716883 h 4167549"/>
              <a:gd name="connsiteX760" fmla="*/ 4913651 w 10890933"/>
              <a:gd name="connsiteY760" fmla="*/ 3709233 h 4167549"/>
              <a:gd name="connsiteX761" fmla="*/ 4934215 w 10890933"/>
              <a:gd name="connsiteY761" fmla="*/ 3708925 h 4167549"/>
              <a:gd name="connsiteX762" fmla="*/ 4931888 w 10890933"/>
              <a:gd name="connsiteY762" fmla="*/ 3717608 h 4167549"/>
              <a:gd name="connsiteX763" fmla="*/ 4945036 w 10890933"/>
              <a:gd name="connsiteY763" fmla="*/ 3702517 h 4167549"/>
              <a:gd name="connsiteX764" fmla="*/ 5282984 w 10890933"/>
              <a:gd name="connsiteY764" fmla="*/ 3701947 h 4167549"/>
              <a:gd name="connsiteX765" fmla="*/ 5250317 w 10890933"/>
              <a:gd name="connsiteY765" fmla="*/ 3719648 h 4167549"/>
              <a:gd name="connsiteX766" fmla="*/ 5252521 w 10890933"/>
              <a:gd name="connsiteY766" fmla="*/ 3711421 h 4167549"/>
              <a:gd name="connsiteX767" fmla="*/ 5222059 w 10890933"/>
              <a:gd name="connsiteY767" fmla="*/ 3720895 h 4167549"/>
              <a:gd name="connsiteX768" fmla="*/ 5198207 w 10890933"/>
              <a:gd name="connsiteY768" fmla="*/ 3705685 h 4167549"/>
              <a:gd name="connsiteX769" fmla="*/ 5282984 w 10890933"/>
              <a:gd name="connsiteY769" fmla="*/ 3701947 h 4167549"/>
              <a:gd name="connsiteX770" fmla="*/ 5181752 w 10890933"/>
              <a:gd name="connsiteY770" fmla="*/ 3701276 h 4167549"/>
              <a:gd name="connsiteX771" fmla="*/ 5185571 w 10890933"/>
              <a:gd name="connsiteY771" fmla="*/ 3719936 h 4167549"/>
              <a:gd name="connsiteX772" fmla="*/ 5166911 w 10890933"/>
              <a:gd name="connsiteY772" fmla="*/ 3723754 h 4167549"/>
              <a:gd name="connsiteX773" fmla="*/ 5181752 w 10890933"/>
              <a:gd name="connsiteY773" fmla="*/ 3701276 h 4167549"/>
              <a:gd name="connsiteX774" fmla="*/ 5493746 w 10890933"/>
              <a:gd name="connsiteY774" fmla="*/ 3701103 h 4167549"/>
              <a:gd name="connsiteX775" fmla="*/ 5492604 w 10890933"/>
              <a:gd name="connsiteY775" fmla="*/ 3709615 h 4167549"/>
              <a:gd name="connsiteX776" fmla="*/ 5496032 w 10890933"/>
              <a:gd name="connsiteY776" fmla="*/ 3716327 h 4167549"/>
              <a:gd name="connsiteX777" fmla="*/ 5453193 w 10890933"/>
              <a:gd name="connsiteY777" fmla="*/ 3716691 h 4167549"/>
              <a:gd name="connsiteX778" fmla="*/ 5389390 w 10890933"/>
              <a:gd name="connsiteY778" fmla="*/ 3717232 h 4167549"/>
              <a:gd name="connsiteX779" fmla="*/ 5380905 w 10890933"/>
              <a:gd name="connsiteY779" fmla="*/ 3714959 h 4167549"/>
              <a:gd name="connsiteX780" fmla="*/ 5383110 w 10890933"/>
              <a:gd name="connsiteY780" fmla="*/ 3706731 h 4167549"/>
              <a:gd name="connsiteX781" fmla="*/ 5493746 w 10890933"/>
              <a:gd name="connsiteY781" fmla="*/ 3701103 h 4167549"/>
              <a:gd name="connsiteX782" fmla="*/ 5365872 w 10890933"/>
              <a:gd name="connsiteY782" fmla="*/ 3701007 h 4167549"/>
              <a:gd name="connsiteX783" fmla="*/ 5367317 w 10890933"/>
              <a:gd name="connsiteY783" fmla="*/ 3724543 h 4167549"/>
              <a:gd name="connsiteX784" fmla="*/ 5362176 w 10890933"/>
              <a:gd name="connsiteY784" fmla="*/ 3702588 h 4167549"/>
              <a:gd name="connsiteX785" fmla="*/ 5365872 w 10890933"/>
              <a:gd name="connsiteY785" fmla="*/ 3701007 h 4167549"/>
              <a:gd name="connsiteX786" fmla="*/ 5319201 w 10890933"/>
              <a:gd name="connsiteY786" fmla="*/ 3698422 h 4167549"/>
              <a:gd name="connsiteX787" fmla="*/ 5324857 w 10890933"/>
              <a:gd name="connsiteY787" fmla="*/ 3710225 h 4167549"/>
              <a:gd name="connsiteX788" fmla="*/ 5352111 w 10890933"/>
              <a:gd name="connsiteY788" fmla="*/ 3707240 h 4167549"/>
              <a:gd name="connsiteX789" fmla="*/ 5357767 w 10890933"/>
              <a:gd name="connsiteY789" fmla="*/ 3719043 h 4167549"/>
              <a:gd name="connsiteX790" fmla="*/ 5330512 w 10890933"/>
              <a:gd name="connsiteY790" fmla="*/ 3722031 h 4167549"/>
              <a:gd name="connsiteX791" fmla="*/ 5316629 w 10890933"/>
              <a:gd name="connsiteY791" fmla="*/ 3708021 h 4167549"/>
              <a:gd name="connsiteX792" fmla="*/ 5286802 w 10890933"/>
              <a:gd name="connsiteY792" fmla="*/ 3720606 h 4167549"/>
              <a:gd name="connsiteX793" fmla="*/ 5291947 w 10890933"/>
              <a:gd name="connsiteY793" fmla="*/ 3701407 h 4167549"/>
              <a:gd name="connsiteX794" fmla="*/ 5319201 w 10890933"/>
              <a:gd name="connsiteY794" fmla="*/ 3698422 h 4167549"/>
              <a:gd name="connsiteX795" fmla="*/ 4872745 w 10890933"/>
              <a:gd name="connsiteY795" fmla="*/ 3697842 h 4167549"/>
              <a:gd name="connsiteX796" fmla="*/ 4898630 w 10890933"/>
              <a:gd name="connsiteY796" fmla="*/ 3704778 h 4167549"/>
              <a:gd name="connsiteX797" fmla="*/ 4859393 w 10890933"/>
              <a:gd name="connsiteY797" fmla="*/ 3713159 h 4167549"/>
              <a:gd name="connsiteX798" fmla="*/ 4857030 w 10890933"/>
              <a:gd name="connsiteY798" fmla="*/ 3721975 h 4167549"/>
              <a:gd name="connsiteX799" fmla="*/ 4837410 w 10890933"/>
              <a:gd name="connsiteY799" fmla="*/ 3726166 h 4167549"/>
              <a:gd name="connsiteX800" fmla="*/ 4813884 w 10890933"/>
              <a:gd name="connsiteY800" fmla="*/ 3710414 h 4167549"/>
              <a:gd name="connsiteX801" fmla="*/ 4800531 w 10890933"/>
              <a:gd name="connsiteY801" fmla="*/ 3725733 h 4167549"/>
              <a:gd name="connsiteX802" fmla="*/ 4802893 w 10890933"/>
              <a:gd name="connsiteY802" fmla="*/ 3716918 h 4167549"/>
              <a:gd name="connsiteX803" fmla="*/ 4783276 w 10890933"/>
              <a:gd name="connsiteY803" fmla="*/ 3721110 h 4167549"/>
              <a:gd name="connsiteX804" fmla="*/ 4633404 w 10890933"/>
              <a:gd name="connsiteY804" fmla="*/ 3728192 h 4167549"/>
              <a:gd name="connsiteX805" fmla="*/ 4627137 w 10890933"/>
              <a:gd name="connsiteY805" fmla="*/ 3717064 h 4167549"/>
              <a:gd name="connsiteX806" fmla="*/ 4622412 w 10890933"/>
              <a:gd name="connsiteY806" fmla="*/ 3734696 h 4167549"/>
              <a:gd name="connsiteX807" fmla="*/ 4598886 w 10890933"/>
              <a:gd name="connsiteY807" fmla="*/ 3718944 h 4167549"/>
              <a:gd name="connsiteX808" fmla="*/ 4568279 w 10890933"/>
              <a:gd name="connsiteY808" fmla="*/ 3729637 h 4167549"/>
              <a:gd name="connsiteX809" fmla="*/ 4570639 w 10890933"/>
              <a:gd name="connsiteY809" fmla="*/ 3720823 h 4167549"/>
              <a:gd name="connsiteX810" fmla="*/ 4514141 w 10890933"/>
              <a:gd name="connsiteY810" fmla="*/ 3724579 h 4167549"/>
              <a:gd name="connsiteX811" fmla="*/ 4592619 w 10890933"/>
              <a:gd name="connsiteY811" fmla="*/ 3707816 h 4167549"/>
              <a:gd name="connsiteX812" fmla="*/ 4629499 w 10890933"/>
              <a:gd name="connsiteY812" fmla="*/ 3708249 h 4167549"/>
              <a:gd name="connsiteX813" fmla="*/ 4677365 w 10890933"/>
              <a:gd name="connsiteY813" fmla="*/ 3702180 h 4167549"/>
              <a:gd name="connsiteX814" fmla="*/ 4777009 w 10890933"/>
              <a:gd name="connsiteY814" fmla="*/ 3709982 h 4167549"/>
              <a:gd name="connsiteX815" fmla="*/ 4785639 w 10890933"/>
              <a:gd name="connsiteY815" fmla="*/ 3712294 h 4167549"/>
              <a:gd name="connsiteX816" fmla="*/ 4824876 w 10890933"/>
              <a:gd name="connsiteY816" fmla="*/ 3703910 h 4167549"/>
              <a:gd name="connsiteX817" fmla="*/ 4831143 w 10890933"/>
              <a:gd name="connsiteY817" fmla="*/ 3715038 h 4167549"/>
              <a:gd name="connsiteX818" fmla="*/ 4872745 w 10890933"/>
              <a:gd name="connsiteY818" fmla="*/ 3697842 h 4167549"/>
              <a:gd name="connsiteX819" fmla="*/ 7315741 w 10890933"/>
              <a:gd name="connsiteY819" fmla="*/ 3693139 h 4167549"/>
              <a:gd name="connsiteX820" fmla="*/ 7331464 w 10890933"/>
              <a:gd name="connsiteY820" fmla="*/ 3708512 h 4167549"/>
              <a:gd name="connsiteX821" fmla="*/ 7308985 w 10890933"/>
              <a:gd name="connsiteY821" fmla="*/ 3693671 h 4167549"/>
              <a:gd name="connsiteX822" fmla="*/ 7315741 w 10890933"/>
              <a:gd name="connsiteY822" fmla="*/ 3693139 h 4167549"/>
              <a:gd name="connsiteX823" fmla="*/ 4364784 w 10890933"/>
              <a:gd name="connsiteY823" fmla="*/ 3691666 h 4167549"/>
              <a:gd name="connsiteX824" fmla="*/ 4376025 w 10890933"/>
              <a:gd name="connsiteY824" fmla="*/ 3697020 h 4167549"/>
              <a:gd name="connsiteX825" fmla="*/ 4357367 w 10890933"/>
              <a:gd name="connsiteY825" fmla="*/ 3700838 h 4167549"/>
              <a:gd name="connsiteX826" fmla="*/ 4364784 w 10890933"/>
              <a:gd name="connsiteY826" fmla="*/ 3691666 h 4167549"/>
              <a:gd name="connsiteX827" fmla="*/ 4678560 w 10890933"/>
              <a:gd name="connsiteY827" fmla="*/ 3691002 h 4167549"/>
              <a:gd name="connsiteX828" fmla="*/ 4699477 w 10890933"/>
              <a:gd name="connsiteY828" fmla="*/ 3691096 h 4167549"/>
              <a:gd name="connsiteX829" fmla="*/ 4662158 w 10890933"/>
              <a:gd name="connsiteY829" fmla="*/ 3698733 h 4167549"/>
              <a:gd name="connsiteX830" fmla="*/ 4678560 w 10890933"/>
              <a:gd name="connsiteY830" fmla="*/ 3691002 h 4167549"/>
              <a:gd name="connsiteX831" fmla="*/ 5890659 w 10890933"/>
              <a:gd name="connsiteY831" fmla="*/ 3688408 h 4167549"/>
              <a:gd name="connsiteX832" fmla="*/ 5902705 w 10890933"/>
              <a:gd name="connsiteY832" fmla="*/ 3709272 h 4167549"/>
              <a:gd name="connsiteX833" fmla="*/ 5886250 w 10890933"/>
              <a:gd name="connsiteY833" fmla="*/ 3704863 h 4167549"/>
              <a:gd name="connsiteX834" fmla="*/ 5890659 w 10890933"/>
              <a:gd name="connsiteY834" fmla="*/ 3688408 h 4167549"/>
              <a:gd name="connsiteX835" fmla="*/ 7788177 w 10890933"/>
              <a:gd name="connsiteY835" fmla="*/ 3682450 h 4167549"/>
              <a:gd name="connsiteX836" fmla="*/ 7793832 w 10890933"/>
              <a:gd name="connsiteY836" fmla="*/ 3694255 h 4167549"/>
              <a:gd name="connsiteX837" fmla="*/ 7777377 w 10890933"/>
              <a:gd name="connsiteY837" fmla="*/ 3689846 h 4167549"/>
              <a:gd name="connsiteX838" fmla="*/ 5049616 w 10890933"/>
              <a:gd name="connsiteY838" fmla="*/ 3680199 h 4167549"/>
              <a:gd name="connsiteX839" fmla="*/ 5049818 w 10890933"/>
              <a:gd name="connsiteY839" fmla="*/ 3683561 h 4167549"/>
              <a:gd name="connsiteX840" fmla="*/ 5031158 w 10890933"/>
              <a:gd name="connsiteY840" fmla="*/ 3687379 h 4167549"/>
              <a:gd name="connsiteX841" fmla="*/ 5041590 w 10890933"/>
              <a:gd name="connsiteY841" fmla="*/ 3681357 h 4167549"/>
              <a:gd name="connsiteX842" fmla="*/ 5049616 w 10890933"/>
              <a:gd name="connsiteY842" fmla="*/ 3680199 h 4167549"/>
              <a:gd name="connsiteX843" fmla="*/ 5508244 w 10890933"/>
              <a:gd name="connsiteY843" fmla="*/ 3678533 h 4167549"/>
              <a:gd name="connsiteX844" fmla="*/ 5515638 w 10890933"/>
              <a:gd name="connsiteY844" fmla="*/ 3689332 h 4167549"/>
              <a:gd name="connsiteX845" fmla="*/ 5484636 w 10890933"/>
              <a:gd name="connsiteY845" fmla="*/ 3689844 h 4167549"/>
              <a:gd name="connsiteX846" fmla="*/ 5508244 w 10890933"/>
              <a:gd name="connsiteY846" fmla="*/ 3678533 h 4167549"/>
              <a:gd name="connsiteX847" fmla="*/ 8905936 w 10890933"/>
              <a:gd name="connsiteY847" fmla="*/ 3674050 h 4167549"/>
              <a:gd name="connsiteX848" fmla="*/ 8920737 w 10890933"/>
              <a:gd name="connsiteY848" fmla="*/ 3684629 h 4167549"/>
              <a:gd name="connsiteX849" fmla="*/ 8887827 w 10890933"/>
              <a:gd name="connsiteY849" fmla="*/ 3675811 h 4167549"/>
              <a:gd name="connsiteX850" fmla="*/ 8905936 w 10890933"/>
              <a:gd name="connsiteY850" fmla="*/ 3674050 h 4167549"/>
              <a:gd name="connsiteX851" fmla="*/ 5460719 w 10890933"/>
              <a:gd name="connsiteY851" fmla="*/ 3673916 h 4167549"/>
              <a:gd name="connsiteX852" fmla="*/ 5459953 w 10890933"/>
              <a:gd name="connsiteY852" fmla="*/ 3683230 h 4167549"/>
              <a:gd name="connsiteX853" fmla="*/ 5460007 w 10890933"/>
              <a:gd name="connsiteY853" fmla="*/ 3674288 h 4167549"/>
              <a:gd name="connsiteX854" fmla="*/ 7742192 w 10890933"/>
              <a:gd name="connsiteY854" fmla="*/ 3673067 h 4167549"/>
              <a:gd name="connsiteX855" fmla="*/ 7746010 w 10890933"/>
              <a:gd name="connsiteY855" fmla="*/ 3691726 h 4167549"/>
              <a:gd name="connsiteX856" fmla="*/ 7729555 w 10890933"/>
              <a:gd name="connsiteY856" fmla="*/ 3687317 h 4167549"/>
              <a:gd name="connsiteX857" fmla="*/ 7742192 w 10890933"/>
              <a:gd name="connsiteY857" fmla="*/ 3673067 h 4167549"/>
              <a:gd name="connsiteX858" fmla="*/ 4660547 w 10890933"/>
              <a:gd name="connsiteY858" fmla="*/ 3671846 h 4167549"/>
              <a:gd name="connsiteX859" fmla="*/ 4656137 w 10890933"/>
              <a:gd name="connsiteY859" fmla="*/ 3688301 h 4167549"/>
              <a:gd name="connsiteX860" fmla="*/ 4646000 w 10890933"/>
              <a:gd name="connsiteY860" fmla="*/ 3676767 h 4167549"/>
              <a:gd name="connsiteX861" fmla="*/ 4660547 w 10890933"/>
              <a:gd name="connsiteY861" fmla="*/ 3671846 h 4167549"/>
              <a:gd name="connsiteX862" fmla="*/ 5070679 w 10890933"/>
              <a:gd name="connsiteY862" fmla="*/ 3671514 h 4167549"/>
              <a:gd name="connsiteX863" fmla="*/ 5082725 w 10890933"/>
              <a:gd name="connsiteY863" fmla="*/ 3692379 h 4167549"/>
              <a:gd name="connsiteX864" fmla="*/ 5070679 w 10890933"/>
              <a:gd name="connsiteY864" fmla="*/ 3671514 h 4167549"/>
              <a:gd name="connsiteX865" fmla="*/ 2059675 w 10890933"/>
              <a:gd name="connsiteY865" fmla="*/ 3671475 h 4167549"/>
              <a:gd name="connsiteX866" fmla="*/ 2063630 w 10890933"/>
              <a:gd name="connsiteY866" fmla="*/ 3690857 h 4167549"/>
              <a:gd name="connsiteX867" fmla="*/ 2059675 w 10890933"/>
              <a:gd name="connsiteY867" fmla="*/ 3671475 h 4167549"/>
              <a:gd name="connsiteX868" fmla="*/ 4711987 w 10890933"/>
              <a:gd name="connsiteY868" fmla="*/ 3669095 h 4167549"/>
              <a:gd name="connsiteX869" fmla="*/ 4722546 w 10890933"/>
              <a:gd name="connsiteY869" fmla="*/ 3670822 h 4167549"/>
              <a:gd name="connsiteX870" fmla="*/ 4712115 w 10890933"/>
              <a:gd name="connsiteY870" fmla="*/ 3676845 h 4167549"/>
              <a:gd name="connsiteX871" fmla="*/ 4711987 w 10890933"/>
              <a:gd name="connsiteY871" fmla="*/ 3669095 h 4167549"/>
              <a:gd name="connsiteX872" fmla="*/ 5472590 w 10890933"/>
              <a:gd name="connsiteY872" fmla="*/ 3668979 h 4167549"/>
              <a:gd name="connsiteX873" fmla="*/ 5464013 w 10890933"/>
              <a:gd name="connsiteY873" fmla="*/ 3672193 h 4167549"/>
              <a:gd name="connsiteX874" fmla="*/ 5460719 w 10890933"/>
              <a:gd name="connsiteY874" fmla="*/ 3673916 h 4167549"/>
              <a:gd name="connsiteX875" fmla="*/ 5460928 w 10890933"/>
              <a:gd name="connsiteY875" fmla="*/ 3671366 h 4167549"/>
              <a:gd name="connsiteX876" fmla="*/ 5472590 w 10890933"/>
              <a:gd name="connsiteY876" fmla="*/ 3668979 h 4167549"/>
              <a:gd name="connsiteX877" fmla="*/ 5116229 w 10890933"/>
              <a:gd name="connsiteY877" fmla="*/ 3666083 h 4167549"/>
              <a:gd name="connsiteX878" fmla="*/ 5101387 w 10890933"/>
              <a:gd name="connsiteY878" fmla="*/ 3688561 h 4167549"/>
              <a:gd name="connsiteX879" fmla="*/ 5116229 w 10890933"/>
              <a:gd name="connsiteY879" fmla="*/ 3666083 h 4167549"/>
              <a:gd name="connsiteX880" fmla="*/ 4775092 w 10890933"/>
              <a:gd name="connsiteY880" fmla="*/ 3663960 h 4167549"/>
              <a:gd name="connsiteX881" fmla="*/ 4789766 w 10890933"/>
              <a:gd name="connsiteY881" fmla="*/ 3666789 h 4167549"/>
              <a:gd name="connsiteX882" fmla="*/ 4777962 w 10890933"/>
              <a:gd name="connsiteY882" fmla="*/ 3672445 h 4167549"/>
              <a:gd name="connsiteX883" fmla="*/ 4758762 w 10890933"/>
              <a:gd name="connsiteY883" fmla="*/ 3667300 h 4167549"/>
              <a:gd name="connsiteX884" fmla="*/ 4775092 w 10890933"/>
              <a:gd name="connsiteY884" fmla="*/ 3663960 h 4167549"/>
              <a:gd name="connsiteX885" fmla="*/ 5412518 w 10890933"/>
              <a:gd name="connsiteY885" fmla="*/ 3662801 h 4167549"/>
              <a:gd name="connsiteX886" fmla="*/ 5421021 w 10890933"/>
              <a:gd name="connsiteY886" fmla="*/ 3663977 h 4167549"/>
              <a:gd name="connsiteX887" fmla="*/ 5406179 w 10890933"/>
              <a:gd name="connsiteY887" fmla="*/ 3686455 h 4167549"/>
              <a:gd name="connsiteX888" fmla="*/ 5402361 w 10890933"/>
              <a:gd name="connsiteY888" fmla="*/ 3667796 h 4167549"/>
              <a:gd name="connsiteX889" fmla="*/ 5412518 w 10890933"/>
              <a:gd name="connsiteY889" fmla="*/ 3662801 h 4167549"/>
              <a:gd name="connsiteX890" fmla="*/ 7710017 w 10890933"/>
              <a:gd name="connsiteY890" fmla="*/ 3661507 h 4167549"/>
              <a:gd name="connsiteX891" fmla="*/ 7705560 w 10890933"/>
              <a:gd name="connsiteY891" fmla="*/ 3667173 h 4167549"/>
              <a:gd name="connsiteX892" fmla="*/ 7699217 w 10890933"/>
              <a:gd name="connsiteY892" fmla="*/ 3668903 h 4167549"/>
              <a:gd name="connsiteX893" fmla="*/ 7710017 w 10890933"/>
              <a:gd name="connsiteY893" fmla="*/ 3661507 h 4167549"/>
              <a:gd name="connsiteX894" fmla="*/ 8826119 w 10890933"/>
              <a:gd name="connsiteY894" fmla="*/ 3659276 h 4167549"/>
              <a:gd name="connsiteX895" fmla="*/ 8854513 w 10890933"/>
              <a:gd name="connsiteY895" fmla="*/ 3660272 h 4167549"/>
              <a:gd name="connsiteX896" fmla="*/ 8879600 w 10890933"/>
              <a:gd name="connsiteY896" fmla="*/ 3673606 h 4167549"/>
              <a:gd name="connsiteX897" fmla="*/ 8826119 w 10890933"/>
              <a:gd name="connsiteY897" fmla="*/ 3659276 h 4167549"/>
              <a:gd name="connsiteX898" fmla="*/ 7721523 w 10890933"/>
              <a:gd name="connsiteY898" fmla="*/ 3655589 h 4167549"/>
              <a:gd name="connsiteX899" fmla="*/ 7729044 w 10890933"/>
              <a:gd name="connsiteY899" fmla="*/ 3656318 h 4167549"/>
              <a:gd name="connsiteX900" fmla="*/ 7721327 w 10890933"/>
              <a:gd name="connsiteY900" fmla="*/ 3685115 h 4167549"/>
              <a:gd name="connsiteX901" fmla="*/ 7696645 w 10890933"/>
              <a:gd name="connsiteY901" fmla="*/ 3678502 h 4167549"/>
              <a:gd name="connsiteX902" fmla="*/ 7705560 w 10890933"/>
              <a:gd name="connsiteY902" fmla="*/ 3667173 h 4167549"/>
              <a:gd name="connsiteX903" fmla="*/ 7718244 w 10890933"/>
              <a:gd name="connsiteY903" fmla="*/ 3663711 h 4167549"/>
              <a:gd name="connsiteX904" fmla="*/ 7721523 w 10890933"/>
              <a:gd name="connsiteY904" fmla="*/ 3655589 h 4167549"/>
              <a:gd name="connsiteX905" fmla="*/ 2705372 w 10890933"/>
              <a:gd name="connsiteY905" fmla="*/ 3653354 h 4167549"/>
              <a:gd name="connsiteX906" fmla="*/ 2720716 w 10890933"/>
              <a:gd name="connsiteY906" fmla="*/ 3654710 h 4167549"/>
              <a:gd name="connsiteX907" fmla="*/ 2666941 w 10890933"/>
              <a:gd name="connsiteY907" fmla="*/ 3657938 h 4167549"/>
              <a:gd name="connsiteX908" fmla="*/ 2705372 w 10890933"/>
              <a:gd name="connsiteY908" fmla="*/ 3653354 h 4167549"/>
              <a:gd name="connsiteX909" fmla="*/ 7679678 w 10890933"/>
              <a:gd name="connsiteY909" fmla="*/ 3643090 h 4167549"/>
              <a:gd name="connsiteX910" fmla="*/ 7677106 w 10890933"/>
              <a:gd name="connsiteY910" fmla="*/ 3652689 h 4167549"/>
              <a:gd name="connsiteX911" fmla="*/ 7680190 w 10890933"/>
              <a:gd name="connsiteY911" fmla="*/ 3674092 h 4167549"/>
              <a:gd name="connsiteX912" fmla="*/ 7666306 w 10890933"/>
              <a:gd name="connsiteY912" fmla="*/ 3660085 h 4167549"/>
              <a:gd name="connsiteX913" fmla="*/ 7679678 w 10890933"/>
              <a:gd name="connsiteY913" fmla="*/ 3643090 h 4167549"/>
              <a:gd name="connsiteX914" fmla="*/ 8750106 w 10890933"/>
              <a:gd name="connsiteY914" fmla="*/ 3640149 h 4167549"/>
              <a:gd name="connsiteX915" fmla="*/ 8775524 w 10890933"/>
              <a:gd name="connsiteY915" fmla="*/ 3645719 h 4167549"/>
              <a:gd name="connsiteX916" fmla="*/ 8789307 w 10890933"/>
              <a:gd name="connsiteY916" fmla="*/ 3646105 h 4167549"/>
              <a:gd name="connsiteX917" fmla="*/ 8801440 w 10890933"/>
              <a:gd name="connsiteY917" fmla="*/ 3652663 h 4167549"/>
              <a:gd name="connsiteX918" fmla="*/ 8750106 w 10890933"/>
              <a:gd name="connsiteY918" fmla="*/ 3640149 h 4167549"/>
              <a:gd name="connsiteX919" fmla="*/ 7642653 w 10890933"/>
              <a:gd name="connsiteY919" fmla="*/ 3633169 h 4167549"/>
              <a:gd name="connsiteX920" fmla="*/ 7661166 w 10890933"/>
              <a:gd name="connsiteY920" fmla="*/ 3638130 h 4167549"/>
              <a:gd name="connsiteX921" fmla="*/ 7658685 w 10890933"/>
              <a:gd name="connsiteY921" fmla="*/ 3647386 h 4167549"/>
              <a:gd name="connsiteX922" fmla="*/ 7662981 w 10890933"/>
              <a:gd name="connsiteY922" fmla="*/ 3668379 h 4167549"/>
              <a:gd name="connsiteX923" fmla="*/ 7642653 w 10890933"/>
              <a:gd name="connsiteY923" fmla="*/ 3633169 h 4167549"/>
              <a:gd name="connsiteX924" fmla="*/ 7579627 w 10890933"/>
              <a:gd name="connsiteY924" fmla="*/ 3632357 h 4167549"/>
              <a:gd name="connsiteX925" fmla="*/ 7640081 w 10890933"/>
              <a:gd name="connsiteY925" fmla="*/ 3642768 h 4167549"/>
              <a:gd name="connsiteX926" fmla="*/ 7626709 w 10890933"/>
              <a:gd name="connsiteY926" fmla="*/ 3659762 h 4167549"/>
              <a:gd name="connsiteX927" fmla="*/ 7602027 w 10890933"/>
              <a:gd name="connsiteY927" fmla="*/ 3653149 h 4167549"/>
              <a:gd name="connsiteX928" fmla="*/ 7560889 w 10890933"/>
              <a:gd name="connsiteY928" fmla="*/ 3642126 h 4167549"/>
              <a:gd name="connsiteX929" fmla="*/ 7579627 w 10890933"/>
              <a:gd name="connsiteY929" fmla="*/ 3632357 h 4167549"/>
              <a:gd name="connsiteX930" fmla="*/ 8433581 w 10890933"/>
              <a:gd name="connsiteY930" fmla="*/ 3626847 h 4167549"/>
              <a:gd name="connsiteX931" fmla="*/ 8474570 w 10890933"/>
              <a:gd name="connsiteY931" fmla="*/ 3633697 h 4167549"/>
              <a:gd name="connsiteX932" fmla="*/ 8468136 w 10890933"/>
              <a:gd name="connsiteY932" fmla="*/ 3636106 h 4167549"/>
              <a:gd name="connsiteX933" fmla="*/ 8433581 w 10890933"/>
              <a:gd name="connsiteY933" fmla="*/ 3626847 h 4167549"/>
              <a:gd name="connsiteX934" fmla="*/ 4405197 w 10890933"/>
              <a:gd name="connsiteY934" fmla="*/ 3621062 h 4167549"/>
              <a:gd name="connsiteX935" fmla="*/ 4376105 w 10890933"/>
              <a:gd name="connsiteY935" fmla="*/ 3630903 h 4167549"/>
              <a:gd name="connsiteX936" fmla="*/ 4405197 w 10890933"/>
              <a:gd name="connsiteY936" fmla="*/ 3621062 h 4167549"/>
              <a:gd name="connsiteX937" fmla="*/ 4960935 w 10890933"/>
              <a:gd name="connsiteY937" fmla="*/ 3603897 h 4167549"/>
              <a:gd name="connsiteX938" fmla="*/ 4977004 w 10890933"/>
              <a:gd name="connsiteY938" fmla="*/ 3605631 h 4167549"/>
              <a:gd name="connsiteX939" fmla="*/ 4983044 w 10890933"/>
              <a:gd name="connsiteY939" fmla="*/ 3620112 h 4167549"/>
              <a:gd name="connsiteX940" fmla="*/ 4960935 w 10890933"/>
              <a:gd name="connsiteY940" fmla="*/ 3603897 h 4167549"/>
              <a:gd name="connsiteX941" fmla="*/ 6653261 w 10890933"/>
              <a:gd name="connsiteY941" fmla="*/ 3603706 h 4167549"/>
              <a:gd name="connsiteX942" fmla="*/ 6662130 w 10890933"/>
              <a:gd name="connsiteY942" fmla="*/ 3606599 h 4167549"/>
              <a:gd name="connsiteX943" fmla="*/ 6677551 w 10890933"/>
              <a:gd name="connsiteY943" fmla="*/ 3614866 h 4167549"/>
              <a:gd name="connsiteX944" fmla="*/ 6666568 w 10890933"/>
              <a:gd name="connsiteY944" fmla="*/ 3622947 h 4167549"/>
              <a:gd name="connsiteX945" fmla="*/ 6641885 w 10890933"/>
              <a:gd name="connsiteY945" fmla="*/ 3616333 h 4167549"/>
              <a:gd name="connsiteX946" fmla="*/ 6652869 w 10890933"/>
              <a:gd name="connsiteY946" fmla="*/ 3608252 h 4167549"/>
              <a:gd name="connsiteX947" fmla="*/ 6644641 w 10890933"/>
              <a:gd name="connsiteY947" fmla="*/ 3606048 h 4167549"/>
              <a:gd name="connsiteX948" fmla="*/ 6653261 w 10890933"/>
              <a:gd name="connsiteY948" fmla="*/ 3603706 h 4167549"/>
              <a:gd name="connsiteX949" fmla="*/ 8286202 w 10890933"/>
              <a:gd name="connsiteY949" fmla="*/ 3589560 h 4167549"/>
              <a:gd name="connsiteX950" fmla="*/ 8363097 w 10890933"/>
              <a:gd name="connsiteY950" fmla="*/ 3610164 h 4167549"/>
              <a:gd name="connsiteX951" fmla="*/ 8335262 w 10890933"/>
              <a:gd name="connsiteY951" fmla="*/ 3611523 h 4167549"/>
              <a:gd name="connsiteX952" fmla="*/ 8286202 w 10890933"/>
              <a:gd name="connsiteY952" fmla="*/ 3589560 h 4167549"/>
              <a:gd name="connsiteX953" fmla="*/ 6075427 w 10890933"/>
              <a:gd name="connsiteY953" fmla="*/ 3574780 h 4167549"/>
              <a:gd name="connsiteX954" fmla="*/ 6054562 w 10890933"/>
              <a:gd name="connsiteY954" fmla="*/ 3586826 h 4167549"/>
              <a:gd name="connsiteX955" fmla="*/ 6075427 w 10890933"/>
              <a:gd name="connsiteY955" fmla="*/ 3574780 h 4167549"/>
              <a:gd name="connsiteX956" fmla="*/ 7898967 w 10890933"/>
              <a:gd name="connsiteY956" fmla="*/ 3565164 h 4167549"/>
              <a:gd name="connsiteX957" fmla="*/ 7894558 w 10890933"/>
              <a:gd name="connsiteY957" fmla="*/ 3581619 h 4167549"/>
              <a:gd name="connsiteX958" fmla="*/ 7886331 w 10890933"/>
              <a:gd name="connsiteY958" fmla="*/ 3579415 h 4167549"/>
              <a:gd name="connsiteX959" fmla="*/ 7898967 w 10890933"/>
              <a:gd name="connsiteY959" fmla="*/ 3565164 h 4167549"/>
              <a:gd name="connsiteX960" fmla="*/ 8196660 w 10890933"/>
              <a:gd name="connsiteY960" fmla="*/ 3558713 h 4167549"/>
              <a:gd name="connsiteX961" fmla="*/ 8208358 w 10890933"/>
              <a:gd name="connsiteY961" fmla="*/ 3562366 h 4167549"/>
              <a:gd name="connsiteX962" fmla="*/ 8227893 w 10890933"/>
              <a:gd name="connsiteY962" fmla="*/ 3571733 h 4167549"/>
              <a:gd name="connsiteX963" fmla="*/ 8186755 w 10890933"/>
              <a:gd name="connsiteY963" fmla="*/ 3560710 h 4167549"/>
              <a:gd name="connsiteX964" fmla="*/ 8196660 w 10890933"/>
              <a:gd name="connsiteY964" fmla="*/ 3558713 h 4167549"/>
              <a:gd name="connsiteX965" fmla="*/ 2969445 w 10890933"/>
              <a:gd name="connsiteY965" fmla="*/ 3558634 h 4167549"/>
              <a:gd name="connsiteX966" fmla="*/ 2974119 w 10890933"/>
              <a:gd name="connsiteY966" fmla="*/ 3566772 h 4167549"/>
              <a:gd name="connsiteX967" fmla="*/ 2952476 w 10890933"/>
              <a:gd name="connsiteY967" fmla="*/ 3579331 h 4167549"/>
              <a:gd name="connsiteX968" fmla="*/ 2905254 w 10890933"/>
              <a:gd name="connsiteY968" fmla="*/ 3585037 h 4167549"/>
              <a:gd name="connsiteX969" fmla="*/ 2836390 w 10890933"/>
              <a:gd name="connsiteY969" fmla="*/ 3603304 h 4167549"/>
              <a:gd name="connsiteX970" fmla="*/ 2808516 w 10890933"/>
              <a:gd name="connsiteY970" fmla="*/ 3605015 h 4167549"/>
              <a:gd name="connsiteX971" fmla="*/ 2795401 w 10890933"/>
              <a:gd name="connsiteY971" fmla="*/ 3619859 h 4167549"/>
              <a:gd name="connsiteX972" fmla="*/ 2789169 w 10890933"/>
              <a:gd name="connsiteY972" fmla="*/ 3609010 h 4167549"/>
              <a:gd name="connsiteX973" fmla="*/ 2756706 w 10890933"/>
              <a:gd name="connsiteY973" fmla="*/ 3627850 h 4167549"/>
              <a:gd name="connsiteX974" fmla="*/ 2582577 w 10890933"/>
              <a:gd name="connsiteY974" fmla="*/ 3663809 h 4167549"/>
              <a:gd name="connsiteX975" fmla="*/ 2580281 w 10890933"/>
              <a:gd name="connsiteY975" fmla="*/ 3672376 h 4167549"/>
              <a:gd name="connsiteX976" fmla="*/ 2608156 w 10890933"/>
              <a:gd name="connsiteY976" fmla="*/ 3670662 h 4167549"/>
              <a:gd name="connsiteX977" fmla="*/ 2601271 w 10890933"/>
              <a:gd name="connsiteY977" fmla="*/ 3696358 h 4167549"/>
              <a:gd name="connsiteX978" fmla="*/ 2573397 w 10890933"/>
              <a:gd name="connsiteY978" fmla="*/ 3698069 h 4167549"/>
              <a:gd name="connsiteX979" fmla="*/ 2539292 w 10890933"/>
              <a:gd name="connsiteY979" fmla="*/ 3688931 h 4167549"/>
              <a:gd name="connsiteX980" fmla="*/ 2517651 w 10890933"/>
              <a:gd name="connsiteY980" fmla="*/ 3701491 h 4167549"/>
              <a:gd name="connsiteX981" fmla="*/ 2523882 w 10890933"/>
              <a:gd name="connsiteY981" fmla="*/ 3712339 h 4167549"/>
              <a:gd name="connsiteX982" fmla="*/ 2498303 w 10890933"/>
              <a:gd name="connsiteY982" fmla="*/ 3705485 h 4167549"/>
              <a:gd name="connsiteX983" fmla="*/ 2465838 w 10890933"/>
              <a:gd name="connsiteY983" fmla="*/ 3724328 h 4167549"/>
              <a:gd name="connsiteX984" fmla="*/ 2472724 w 10890933"/>
              <a:gd name="connsiteY984" fmla="*/ 3698631 h 4167549"/>
              <a:gd name="connsiteX985" fmla="*/ 2448787 w 10890933"/>
              <a:gd name="connsiteY985" fmla="*/ 3719759 h 4167549"/>
              <a:gd name="connsiteX986" fmla="*/ 2453378 w 10890933"/>
              <a:gd name="connsiteY986" fmla="*/ 3702627 h 4167549"/>
              <a:gd name="connsiteX987" fmla="*/ 2427144 w 10890933"/>
              <a:gd name="connsiteY987" fmla="*/ 3732318 h 4167549"/>
              <a:gd name="connsiteX988" fmla="*/ 2441903 w 10890933"/>
              <a:gd name="connsiteY988" fmla="*/ 3745452 h 4167549"/>
              <a:gd name="connsiteX989" fmla="*/ 2419931 w 10890933"/>
              <a:gd name="connsiteY989" fmla="*/ 3746449 h 4167549"/>
              <a:gd name="connsiteX990" fmla="*/ 2400911 w 10890933"/>
              <a:gd name="connsiteY990" fmla="*/ 3762006 h 4167549"/>
              <a:gd name="connsiteX991" fmla="*/ 2401485 w 10890933"/>
              <a:gd name="connsiteY991" fmla="*/ 3759866 h 4167549"/>
              <a:gd name="connsiteX992" fmla="*/ 2405501 w 10890933"/>
              <a:gd name="connsiteY992" fmla="*/ 3744877 h 4167549"/>
              <a:gd name="connsiteX993" fmla="*/ 2392385 w 10890933"/>
              <a:gd name="connsiteY993" fmla="*/ 3759722 h 4167549"/>
              <a:gd name="connsiteX994" fmla="*/ 2399270 w 10890933"/>
              <a:gd name="connsiteY994" fmla="*/ 3734028 h 4167549"/>
              <a:gd name="connsiteX995" fmla="*/ 2383860 w 10890933"/>
              <a:gd name="connsiteY995" fmla="*/ 3757437 h 4167549"/>
              <a:gd name="connsiteX996" fmla="*/ 2362216 w 10890933"/>
              <a:gd name="connsiteY996" fmla="*/ 3769999 h 4167549"/>
              <a:gd name="connsiteX997" fmla="*/ 2323522 w 10890933"/>
              <a:gd name="connsiteY997" fmla="*/ 3777989 h 4167549"/>
              <a:gd name="connsiteX998" fmla="*/ 2317291 w 10890933"/>
              <a:gd name="connsiteY998" fmla="*/ 3767140 h 4167549"/>
              <a:gd name="connsiteX999" fmla="*/ 2312701 w 10890933"/>
              <a:gd name="connsiteY999" fmla="*/ 3784272 h 4167549"/>
              <a:gd name="connsiteX1000" fmla="*/ 2300238 w 10890933"/>
              <a:gd name="connsiteY1000" fmla="*/ 3762571 h 4167549"/>
              <a:gd name="connsiteX1001" fmla="*/ 2284827 w 10890933"/>
              <a:gd name="connsiteY1001" fmla="*/ 3785983 h 4167549"/>
              <a:gd name="connsiteX1002" fmla="*/ 2289417 w 10890933"/>
              <a:gd name="connsiteY1002" fmla="*/ 3768851 h 4167549"/>
              <a:gd name="connsiteX1003" fmla="*/ 2274004 w 10890933"/>
              <a:gd name="connsiteY1003" fmla="*/ 3792262 h 4167549"/>
              <a:gd name="connsiteX1004" fmla="*/ 2237604 w 10890933"/>
              <a:gd name="connsiteY1004" fmla="*/ 3791688 h 4167549"/>
              <a:gd name="connsiteX1005" fmla="*/ 2218258 w 10890933"/>
              <a:gd name="connsiteY1005" fmla="*/ 3795683 h 4167549"/>
              <a:gd name="connsiteX1006" fmla="*/ 2215963 w 10890933"/>
              <a:gd name="connsiteY1006" fmla="*/ 3804248 h 4167549"/>
              <a:gd name="connsiteX1007" fmla="*/ 2198910 w 10890933"/>
              <a:gd name="connsiteY1007" fmla="*/ 3799678 h 4167549"/>
              <a:gd name="connsiteX1008" fmla="*/ 2157921 w 10890933"/>
              <a:gd name="connsiteY1008" fmla="*/ 3816233 h 4167549"/>
              <a:gd name="connsiteX1009" fmla="*/ 2147099 w 10890933"/>
              <a:gd name="connsiteY1009" fmla="*/ 3822516 h 4167549"/>
              <a:gd name="connsiteX1010" fmla="*/ 2110698 w 10890933"/>
              <a:gd name="connsiteY1010" fmla="*/ 3821941 h 4167549"/>
              <a:gd name="connsiteX1011" fmla="*/ 2102172 w 10890933"/>
              <a:gd name="connsiteY1011" fmla="*/ 3819657 h 4167549"/>
              <a:gd name="connsiteX1012" fmla="*/ 2106108 w 10890933"/>
              <a:gd name="connsiteY1012" fmla="*/ 3839070 h 4167549"/>
              <a:gd name="connsiteX1013" fmla="*/ 2084467 w 10890933"/>
              <a:gd name="connsiteY1013" fmla="*/ 3851630 h 4167549"/>
              <a:gd name="connsiteX1014" fmla="*/ 2078236 w 10890933"/>
              <a:gd name="connsiteY1014" fmla="*/ 3840781 h 4167549"/>
              <a:gd name="connsiteX1015" fmla="*/ 2065119 w 10890933"/>
              <a:gd name="connsiteY1015" fmla="*/ 3855625 h 4167549"/>
              <a:gd name="connsiteX1016" fmla="*/ 2024129 w 10890933"/>
              <a:gd name="connsiteY1016" fmla="*/ 3872182 h 4167549"/>
              <a:gd name="connsiteX1017" fmla="*/ 1966086 w 10890933"/>
              <a:gd name="connsiteY1017" fmla="*/ 3884167 h 4167549"/>
              <a:gd name="connsiteX1018" fmla="*/ 1942802 w 10890933"/>
              <a:gd name="connsiteY1018" fmla="*/ 3868749 h 4167549"/>
              <a:gd name="connsiteX1019" fmla="*/ 1916571 w 10890933"/>
              <a:gd name="connsiteY1019" fmla="*/ 3898438 h 4167549"/>
              <a:gd name="connsiteX1020" fmla="*/ 1832295 w 10890933"/>
              <a:gd name="connsiteY1020" fmla="*/ 3940114 h 4167549"/>
              <a:gd name="connsiteX1021" fmla="*/ 1821474 w 10890933"/>
              <a:gd name="connsiteY1021" fmla="*/ 3946394 h 4167549"/>
              <a:gd name="connsiteX1022" fmla="*/ 1774254 w 10890933"/>
              <a:gd name="connsiteY1022" fmla="*/ 3952103 h 4167549"/>
              <a:gd name="connsiteX1023" fmla="*/ 1750316 w 10890933"/>
              <a:gd name="connsiteY1023" fmla="*/ 3973227 h 4167549"/>
              <a:gd name="connsiteX1024" fmla="*/ 1705390 w 10890933"/>
              <a:gd name="connsiteY1024" fmla="*/ 3970368 h 4167549"/>
              <a:gd name="connsiteX1025" fmla="*/ 1700801 w 10890933"/>
              <a:gd name="connsiteY1025" fmla="*/ 3987497 h 4167549"/>
              <a:gd name="connsiteX1026" fmla="*/ 1683747 w 10890933"/>
              <a:gd name="connsiteY1026" fmla="*/ 3982927 h 4167549"/>
              <a:gd name="connsiteX1027" fmla="*/ 1672926 w 10890933"/>
              <a:gd name="connsiteY1027" fmla="*/ 3989210 h 4167549"/>
              <a:gd name="connsiteX1028" fmla="*/ 1668336 w 10890933"/>
              <a:gd name="connsiteY1028" fmla="*/ 4006339 h 4167549"/>
              <a:gd name="connsiteX1029" fmla="*/ 1642757 w 10890933"/>
              <a:gd name="connsiteY1029" fmla="*/ 3999485 h 4167549"/>
              <a:gd name="connsiteX1030" fmla="*/ 1638168 w 10890933"/>
              <a:gd name="connsiteY1030" fmla="*/ 4016614 h 4167549"/>
              <a:gd name="connsiteX1031" fmla="*/ 1629642 w 10890933"/>
              <a:gd name="connsiteY1031" fmla="*/ 4014330 h 4167549"/>
              <a:gd name="connsiteX1032" fmla="*/ 1631937 w 10890933"/>
              <a:gd name="connsiteY1032" fmla="*/ 4005765 h 4167549"/>
              <a:gd name="connsiteX1033" fmla="*/ 1618819 w 10890933"/>
              <a:gd name="connsiteY1033" fmla="*/ 4020609 h 4167549"/>
              <a:gd name="connsiteX1034" fmla="*/ 1623409 w 10890933"/>
              <a:gd name="connsiteY1034" fmla="*/ 4003480 h 4167549"/>
              <a:gd name="connsiteX1035" fmla="*/ 1597178 w 10890933"/>
              <a:gd name="connsiteY1035" fmla="*/ 4033169 h 4167549"/>
              <a:gd name="connsiteX1036" fmla="*/ 1599473 w 10890933"/>
              <a:gd name="connsiteY1036" fmla="*/ 4024604 h 4167549"/>
              <a:gd name="connsiteX1037" fmla="*/ 1582420 w 10890933"/>
              <a:gd name="connsiteY1037" fmla="*/ 4020035 h 4167549"/>
              <a:gd name="connsiteX1038" fmla="*/ 1575535 w 10890933"/>
              <a:gd name="connsiteY1038" fmla="*/ 4045730 h 4167549"/>
              <a:gd name="connsiteX1039" fmla="*/ 1569304 w 10890933"/>
              <a:gd name="connsiteY1039" fmla="*/ 4034882 h 4167549"/>
              <a:gd name="connsiteX1040" fmla="*/ 1558481 w 10890933"/>
              <a:gd name="connsiteY1040" fmla="*/ 4041161 h 4167549"/>
              <a:gd name="connsiteX1041" fmla="*/ 1532904 w 10890933"/>
              <a:gd name="connsiteY1041" fmla="*/ 4034308 h 4167549"/>
              <a:gd name="connsiteX1042" fmla="*/ 1474207 w 10890933"/>
              <a:gd name="connsiteY1042" fmla="*/ 4082838 h 4167549"/>
              <a:gd name="connsiteX1043" fmla="*/ 1446333 w 10890933"/>
              <a:gd name="connsiteY1043" fmla="*/ 4084548 h 4167549"/>
              <a:gd name="connsiteX1044" fmla="*/ 1433218 w 10890933"/>
              <a:gd name="connsiteY1044" fmla="*/ 4099393 h 4167549"/>
              <a:gd name="connsiteX1045" fmla="*/ 1411574 w 10890933"/>
              <a:gd name="connsiteY1045" fmla="*/ 4111952 h 4167549"/>
              <a:gd name="connsiteX1046" fmla="*/ 1413869 w 10890933"/>
              <a:gd name="connsiteY1046" fmla="*/ 4103388 h 4167549"/>
              <a:gd name="connsiteX1047" fmla="*/ 1314836 w 10890933"/>
              <a:gd name="connsiteY1047" fmla="*/ 4131931 h 4167549"/>
              <a:gd name="connsiteX1048" fmla="*/ 1288606 w 10890933"/>
              <a:gd name="connsiteY1048" fmla="*/ 4161619 h 4167549"/>
              <a:gd name="connsiteX1049" fmla="*/ 1295491 w 10890933"/>
              <a:gd name="connsiteY1049" fmla="*/ 4135926 h 4167549"/>
              <a:gd name="connsiteX1050" fmla="*/ 1317131 w 10890933"/>
              <a:gd name="connsiteY1050" fmla="*/ 4123366 h 4167549"/>
              <a:gd name="connsiteX1051" fmla="*/ 1345006 w 10890933"/>
              <a:gd name="connsiteY1051" fmla="*/ 4121653 h 4167549"/>
              <a:gd name="connsiteX1052" fmla="*/ 1354185 w 10890933"/>
              <a:gd name="connsiteY1052" fmla="*/ 4087395 h 4167549"/>
              <a:gd name="connsiteX1053" fmla="*/ 1333196 w 10890933"/>
              <a:gd name="connsiteY1053" fmla="*/ 4063413 h 4167549"/>
              <a:gd name="connsiteX1054" fmla="*/ 1380418 w 10890933"/>
              <a:gd name="connsiteY1054" fmla="*/ 4057707 h 4167549"/>
              <a:gd name="connsiteX1055" fmla="*/ 1398124 w 10890933"/>
              <a:gd name="connsiteY1055" fmla="*/ 4025731 h 4167549"/>
              <a:gd name="connsiteX1056" fmla="*/ 1395829 w 10890933"/>
              <a:gd name="connsiteY1056" fmla="*/ 4034296 h 4167549"/>
              <a:gd name="connsiteX1057" fmla="*/ 1435831 w 10890933"/>
              <a:gd name="connsiteY1057" fmla="*/ 3953219 h 4167549"/>
              <a:gd name="connsiteX1058" fmla="*/ 1450588 w 10890933"/>
              <a:gd name="connsiteY1058" fmla="*/ 3966352 h 4167549"/>
              <a:gd name="connsiteX1059" fmla="*/ 1444357 w 10890933"/>
              <a:gd name="connsiteY1059" fmla="*/ 3955503 h 4167549"/>
              <a:gd name="connsiteX1060" fmla="*/ 1446652 w 10890933"/>
              <a:gd name="connsiteY1060" fmla="*/ 3946939 h 4167549"/>
              <a:gd name="connsiteX1061" fmla="*/ 1457472 w 10890933"/>
              <a:gd name="connsiteY1061" fmla="*/ 3940659 h 4167549"/>
              <a:gd name="connsiteX1062" fmla="*/ 1463705 w 10890933"/>
              <a:gd name="connsiteY1062" fmla="*/ 3951508 h 4167549"/>
              <a:gd name="connsiteX1063" fmla="*/ 1468295 w 10890933"/>
              <a:gd name="connsiteY1063" fmla="*/ 3934380 h 4167549"/>
              <a:gd name="connsiteX1064" fmla="*/ 1474526 w 10890933"/>
              <a:gd name="connsiteY1064" fmla="*/ 3945228 h 4167549"/>
              <a:gd name="connsiteX1065" fmla="*/ 1487642 w 10890933"/>
              <a:gd name="connsiteY1065" fmla="*/ 3930381 h 4167549"/>
              <a:gd name="connsiteX1066" fmla="*/ 1534864 w 10890933"/>
              <a:gd name="connsiteY1066" fmla="*/ 3924676 h 4167549"/>
              <a:gd name="connsiteX1067" fmla="*/ 1530926 w 10890933"/>
              <a:gd name="connsiteY1067" fmla="*/ 3905262 h 4167549"/>
              <a:gd name="connsiteX1068" fmla="*/ 1547979 w 10890933"/>
              <a:gd name="connsiteY1068" fmla="*/ 3909832 h 4167549"/>
              <a:gd name="connsiteX1069" fmla="*/ 1586674 w 10890933"/>
              <a:gd name="connsiteY1069" fmla="*/ 3901841 h 4167549"/>
              <a:gd name="connsiteX1070" fmla="*/ 1606674 w 10890933"/>
              <a:gd name="connsiteY1070" fmla="*/ 3861301 h 4167549"/>
              <a:gd name="connsiteX1071" fmla="*/ 1617419 w 10890933"/>
              <a:gd name="connsiteY1071" fmla="*/ 3870862 h 4167549"/>
              <a:gd name="connsiteX1072" fmla="*/ 1619386 w 10890933"/>
              <a:gd name="connsiteY1072" fmla="*/ 3871253 h 4167549"/>
              <a:gd name="connsiteX1073" fmla="*/ 1619220 w 10890933"/>
              <a:gd name="connsiteY1073" fmla="*/ 3872464 h 4167549"/>
              <a:gd name="connsiteX1074" fmla="*/ 1621433 w 10890933"/>
              <a:gd name="connsiteY1074" fmla="*/ 3874435 h 4167549"/>
              <a:gd name="connsiteX1075" fmla="*/ 1640782 w 10890933"/>
              <a:gd name="connsiteY1075" fmla="*/ 3870440 h 4167549"/>
              <a:gd name="connsiteX1076" fmla="*/ 1645371 w 10890933"/>
              <a:gd name="connsiteY1076" fmla="*/ 3853311 h 4167549"/>
              <a:gd name="connsiteX1077" fmla="*/ 1675540 w 10890933"/>
              <a:gd name="connsiteY1077" fmla="*/ 3843036 h 4167549"/>
              <a:gd name="connsiteX1078" fmla="*/ 1703412 w 10890933"/>
              <a:gd name="connsiteY1078" fmla="*/ 3841323 h 4167549"/>
              <a:gd name="connsiteX1079" fmla="*/ 1711940 w 10890933"/>
              <a:gd name="connsiteY1079" fmla="*/ 3843608 h 4167549"/>
              <a:gd name="connsiteX1080" fmla="*/ 1714235 w 10890933"/>
              <a:gd name="connsiteY1080" fmla="*/ 3835043 h 4167549"/>
              <a:gd name="connsiteX1081" fmla="*/ 1742109 w 10890933"/>
              <a:gd name="connsiteY1081" fmla="*/ 3833333 h 4167549"/>
              <a:gd name="connsiteX1082" fmla="*/ 1743749 w 10890933"/>
              <a:gd name="connsiteY1082" fmla="*/ 3861313 h 4167549"/>
              <a:gd name="connsiteX1083" fmla="*/ 1696527 w 10890933"/>
              <a:gd name="connsiteY1083" fmla="*/ 3867018 h 4167549"/>
              <a:gd name="connsiteX1084" fmla="*/ 1700465 w 10890933"/>
              <a:gd name="connsiteY1084" fmla="*/ 3886432 h 4167549"/>
              <a:gd name="connsiteX1085" fmla="*/ 1674232 w 10890933"/>
              <a:gd name="connsiteY1085" fmla="*/ 3916123 h 4167549"/>
              <a:gd name="connsiteX1086" fmla="*/ 1582084 w 10890933"/>
              <a:gd name="connsiteY1086" fmla="*/ 3918970 h 4167549"/>
              <a:gd name="connsiteX1087" fmla="*/ 1587663 w 10890933"/>
              <a:gd name="connsiteY1087" fmla="*/ 3966364 h 4167549"/>
              <a:gd name="connsiteX1088" fmla="*/ 1691285 w 10890933"/>
              <a:gd name="connsiteY1088" fmla="*/ 3920692 h 4167549"/>
              <a:gd name="connsiteX1089" fmla="*/ 1749326 w 10890933"/>
              <a:gd name="connsiteY1089" fmla="*/ 3908704 h 4167549"/>
              <a:gd name="connsiteX1090" fmla="*/ 1745390 w 10890933"/>
              <a:gd name="connsiteY1090" fmla="*/ 3889290 h 4167549"/>
              <a:gd name="connsiteX1091" fmla="*/ 1764739 w 10890933"/>
              <a:gd name="connsiteY1091" fmla="*/ 3885295 h 4167549"/>
              <a:gd name="connsiteX1092" fmla="*/ 1770970 w 10890933"/>
              <a:gd name="connsiteY1092" fmla="*/ 3896144 h 4167549"/>
              <a:gd name="connsiteX1093" fmla="*/ 1803433 w 10890933"/>
              <a:gd name="connsiteY1093" fmla="*/ 3877305 h 4167549"/>
              <a:gd name="connsiteX1094" fmla="*/ 1863772 w 10890933"/>
              <a:gd name="connsiteY1094" fmla="*/ 3856753 h 4167549"/>
              <a:gd name="connsiteX1095" fmla="*/ 1907056 w 10890933"/>
              <a:gd name="connsiteY1095" fmla="*/ 3831633 h 4167549"/>
              <a:gd name="connsiteX1096" fmla="*/ 1926405 w 10890933"/>
              <a:gd name="connsiteY1096" fmla="*/ 3827636 h 4167549"/>
              <a:gd name="connsiteX1097" fmla="*/ 1965099 w 10890933"/>
              <a:gd name="connsiteY1097" fmla="*/ 3819646 h 4167549"/>
              <a:gd name="connsiteX1098" fmla="*/ 2025434 w 10890933"/>
              <a:gd name="connsiteY1098" fmla="*/ 3799095 h 4167549"/>
              <a:gd name="connsiteX1099" fmla="*/ 2019204 w 10890933"/>
              <a:gd name="connsiteY1099" fmla="*/ 3788246 h 4167549"/>
              <a:gd name="connsiteX1100" fmla="*/ 2118236 w 10890933"/>
              <a:gd name="connsiteY1100" fmla="*/ 3759703 h 4167549"/>
              <a:gd name="connsiteX1101" fmla="*/ 2187100 w 10890933"/>
              <a:gd name="connsiteY1101" fmla="*/ 3741435 h 4167549"/>
              <a:gd name="connsiteX1102" fmla="*/ 2255964 w 10890933"/>
              <a:gd name="connsiteY1102" fmla="*/ 3723168 h 4167549"/>
              <a:gd name="connsiteX1103" fmla="*/ 2300892 w 10890933"/>
              <a:gd name="connsiteY1103" fmla="*/ 3726027 h 4167549"/>
              <a:gd name="connsiteX1104" fmla="*/ 2305481 w 10890933"/>
              <a:gd name="connsiteY1104" fmla="*/ 3708898 h 4167549"/>
              <a:gd name="connsiteX1105" fmla="*/ 2490428 w 10890933"/>
              <a:gd name="connsiteY1105" fmla="*/ 3666658 h 4167549"/>
              <a:gd name="connsiteX1106" fmla="*/ 2520597 w 10890933"/>
              <a:gd name="connsiteY1106" fmla="*/ 3656384 h 4167549"/>
              <a:gd name="connsiteX1107" fmla="*/ 2611105 w 10890933"/>
              <a:gd name="connsiteY1107" fmla="*/ 3625556 h 4167549"/>
              <a:gd name="connsiteX1108" fmla="*/ 2694727 w 10890933"/>
              <a:gd name="connsiteY1108" fmla="*/ 3620422 h 4167549"/>
              <a:gd name="connsiteX1109" fmla="*/ 2815401 w 10890933"/>
              <a:gd name="connsiteY1109" fmla="*/ 3579319 h 4167549"/>
              <a:gd name="connsiteX1110" fmla="*/ 2834749 w 10890933"/>
              <a:gd name="connsiteY1110" fmla="*/ 3575325 h 4167549"/>
              <a:gd name="connsiteX1111" fmla="*/ 2892792 w 10890933"/>
              <a:gd name="connsiteY1111" fmla="*/ 3563339 h 4167549"/>
              <a:gd name="connsiteX1112" fmla="*/ 2948540 w 10890933"/>
              <a:gd name="connsiteY1112" fmla="*/ 3559918 h 4167549"/>
              <a:gd name="connsiteX1113" fmla="*/ 2969445 w 10890933"/>
              <a:gd name="connsiteY1113" fmla="*/ 3558634 h 4167549"/>
              <a:gd name="connsiteX1114" fmla="*/ 5860920 w 10890933"/>
              <a:gd name="connsiteY1114" fmla="*/ 3552576 h 4167549"/>
              <a:gd name="connsiteX1115" fmla="*/ 5848283 w 10890933"/>
              <a:gd name="connsiteY1115" fmla="*/ 3566827 h 4167549"/>
              <a:gd name="connsiteX1116" fmla="*/ 5858716 w 10890933"/>
              <a:gd name="connsiteY1116" fmla="*/ 3560804 h 4167549"/>
              <a:gd name="connsiteX1117" fmla="*/ 5860920 w 10890933"/>
              <a:gd name="connsiteY1117" fmla="*/ 3552576 h 4167549"/>
              <a:gd name="connsiteX1118" fmla="*/ 7849602 w 10890933"/>
              <a:gd name="connsiteY1118" fmla="*/ 3551937 h 4167549"/>
              <a:gd name="connsiteX1119" fmla="*/ 7836965 w 10890933"/>
              <a:gd name="connsiteY1119" fmla="*/ 3566188 h 4167549"/>
              <a:gd name="connsiteX1120" fmla="*/ 7820510 w 10890933"/>
              <a:gd name="connsiteY1120" fmla="*/ 3561778 h 4167549"/>
              <a:gd name="connsiteX1121" fmla="*/ 7849602 w 10890933"/>
              <a:gd name="connsiteY1121" fmla="*/ 3551937 h 4167549"/>
              <a:gd name="connsiteX1122" fmla="*/ 4931190 w 10890933"/>
              <a:gd name="connsiteY1122" fmla="*/ 3550364 h 4167549"/>
              <a:gd name="connsiteX1123" fmla="*/ 4926781 w 10890933"/>
              <a:gd name="connsiteY1123" fmla="*/ 3566819 h 4167549"/>
              <a:gd name="connsiteX1124" fmla="*/ 4889756 w 10890933"/>
              <a:gd name="connsiteY1124" fmla="*/ 3556898 h 4167549"/>
              <a:gd name="connsiteX1125" fmla="*/ 4931190 w 10890933"/>
              <a:gd name="connsiteY1125" fmla="*/ 3550364 h 4167549"/>
              <a:gd name="connsiteX1126" fmla="*/ 5395100 w 10890933"/>
              <a:gd name="connsiteY1126" fmla="*/ 3546805 h 4167549"/>
              <a:gd name="connsiteX1127" fmla="*/ 5366009 w 10890933"/>
              <a:gd name="connsiteY1127" fmla="*/ 3556646 h 4167549"/>
              <a:gd name="connsiteX1128" fmla="*/ 5395100 w 10890933"/>
              <a:gd name="connsiteY1128" fmla="*/ 3546805 h 4167549"/>
              <a:gd name="connsiteX1129" fmla="*/ 5247048 w 10890933"/>
              <a:gd name="connsiteY1129" fmla="*/ 3545518 h 4167549"/>
              <a:gd name="connsiteX1130" fmla="*/ 5220699 w 10890933"/>
              <a:gd name="connsiteY1130" fmla="*/ 3555925 h 4167549"/>
              <a:gd name="connsiteX1131" fmla="*/ 5239543 w 10890933"/>
              <a:gd name="connsiteY1131" fmla="*/ 3551420 h 4167549"/>
              <a:gd name="connsiteX1132" fmla="*/ 5247048 w 10890933"/>
              <a:gd name="connsiteY1132" fmla="*/ 3545518 h 4167549"/>
              <a:gd name="connsiteX1133" fmla="*/ 2195768 w 10890933"/>
              <a:gd name="connsiteY1133" fmla="*/ 3540505 h 4167549"/>
              <a:gd name="connsiteX1134" fmla="*/ 2203995 w 10890933"/>
              <a:gd name="connsiteY1134" fmla="*/ 3542710 h 4167549"/>
              <a:gd name="connsiteX1135" fmla="*/ 2201423 w 10890933"/>
              <a:gd name="connsiteY1135" fmla="*/ 3552308 h 4167549"/>
              <a:gd name="connsiteX1136" fmla="*/ 2195768 w 10890933"/>
              <a:gd name="connsiteY1136" fmla="*/ 3540505 h 4167549"/>
              <a:gd name="connsiteX1137" fmla="*/ 8394173 w 10890933"/>
              <a:gd name="connsiteY1137" fmla="*/ 3539813 h 4167549"/>
              <a:gd name="connsiteX1138" fmla="*/ 8402459 w 10890933"/>
              <a:gd name="connsiteY1138" fmla="*/ 3542446 h 4167549"/>
              <a:gd name="connsiteX1139" fmla="*/ 8427086 w 10890933"/>
              <a:gd name="connsiteY1139" fmla="*/ 3552353 h 4167549"/>
              <a:gd name="connsiteX1140" fmla="*/ 8390061 w 10890933"/>
              <a:gd name="connsiteY1140" fmla="*/ 3542432 h 4167549"/>
              <a:gd name="connsiteX1141" fmla="*/ 8394173 w 10890933"/>
              <a:gd name="connsiteY1141" fmla="*/ 3539813 h 4167549"/>
              <a:gd name="connsiteX1142" fmla="*/ 2268199 w 10890933"/>
              <a:gd name="connsiteY1142" fmla="*/ 3533458 h 4167549"/>
              <a:gd name="connsiteX1143" fmla="*/ 2263790 w 10890933"/>
              <a:gd name="connsiteY1143" fmla="*/ 3549914 h 4167549"/>
              <a:gd name="connsiteX1144" fmla="*/ 2260735 w 10890933"/>
              <a:gd name="connsiteY1144" fmla="*/ 3534986 h 4167549"/>
              <a:gd name="connsiteX1145" fmla="*/ 7700661 w 10890933"/>
              <a:gd name="connsiteY1145" fmla="*/ 3531870 h 4167549"/>
              <a:gd name="connsiteX1146" fmla="*/ 7806263 w 10890933"/>
              <a:gd name="connsiteY1146" fmla="*/ 3549143 h 4167549"/>
              <a:gd name="connsiteX1147" fmla="*/ 7700661 w 10890933"/>
              <a:gd name="connsiteY1147" fmla="*/ 3531870 h 4167549"/>
              <a:gd name="connsiteX1148" fmla="*/ 2259972 w 10890933"/>
              <a:gd name="connsiteY1148" fmla="*/ 3531254 h 4167549"/>
              <a:gd name="connsiteX1149" fmla="*/ 2260735 w 10890933"/>
              <a:gd name="connsiteY1149" fmla="*/ 3534986 h 4167549"/>
              <a:gd name="connsiteX1150" fmla="*/ 2255758 w 10890933"/>
              <a:gd name="connsiteY1150" fmla="*/ 3536002 h 4167549"/>
              <a:gd name="connsiteX1151" fmla="*/ 3129908 w 10890933"/>
              <a:gd name="connsiteY1151" fmla="*/ 3526260 h 4167549"/>
              <a:gd name="connsiteX1152" fmla="*/ 3109043 w 10890933"/>
              <a:gd name="connsiteY1152" fmla="*/ 3538306 h 4167549"/>
              <a:gd name="connsiteX1153" fmla="*/ 3129908 w 10890933"/>
              <a:gd name="connsiteY1153" fmla="*/ 3526260 h 4167549"/>
              <a:gd name="connsiteX1154" fmla="*/ 3094793 w 10890933"/>
              <a:gd name="connsiteY1154" fmla="*/ 3525669 h 4167549"/>
              <a:gd name="connsiteX1155" fmla="*/ 3085614 w 10890933"/>
              <a:gd name="connsiteY1155" fmla="*/ 3559927 h 4167549"/>
              <a:gd name="connsiteX1156" fmla="*/ 3081678 w 10890933"/>
              <a:gd name="connsiteY1156" fmla="*/ 3540514 h 4167549"/>
              <a:gd name="connsiteX1157" fmla="*/ 3065734 w 10890933"/>
              <a:gd name="connsiteY1157" fmla="*/ 3548865 h 4167549"/>
              <a:gd name="connsiteX1158" fmla="*/ 3053929 w 10890933"/>
              <a:gd name="connsiteY1158" fmla="*/ 3550462 h 4167549"/>
              <a:gd name="connsiteX1159" fmla="*/ 3054104 w 10890933"/>
              <a:gd name="connsiteY1159" fmla="*/ 3550134 h 4167549"/>
              <a:gd name="connsiteX1160" fmla="*/ 3061157 w 10890933"/>
              <a:gd name="connsiteY1160" fmla="*/ 3548354 h 4167549"/>
              <a:gd name="connsiteX1161" fmla="*/ 3056140 w 10890933"/>
              <a:gd name="connsiteY1161" fmla="*/ 3546294 h 4167549"/>
              <a:gd name="connsiteX1162" fmla="*/ 3054104 w 10890933"/>
              <a:gd name="connsiteY1162" fmla="*/ 3550134 h 4167549"/>
              <a:gd name="connsiteX1163" fmla="*/ 3051509 w 10890933"/>
              <a:gd name="connsiteY1163" fmla="*/ 3550788 h 4167549"/>
              <a:gd name="connsiteX1164" fmla="*/ 3053929 w 10890933"/>
              <a:gd name="connsiteY1164" fmla="*/ 3550462 h 4167549"/>
              <a:gd name="connsiteX1165" fmla="*/ 3049214 w 10890933"/>
              <a:gd name="connsiteY1165" fmla="*/ 3559353 h 4167549"/>
              <a:gd name="connsiteX1166" fmla="*/ 3012814 w 10890933"/>
              <a:gd name="connsiteY1166" fmla="*/ 3558779 h 4167549"/>
              <a:gd name="connsiteX1167" fmla="*/ 3019044 w 10890933"/>
              <a:gd name="connsiteY1167" fmla="*/ 3569631 h 4167549"/>
              <a:gd name="connsiteX1168" fmla="*/ 2997404 w 10890933"/>
              <a:gd name="connsiteY1168" fmla="*/ 3582191 h 4167549"/>
              <a:gd name="connsiteX1169" fmla="*/ 2993465 w 10890933"/>
              <a:gd name="connsiteY1169" fmla="*/ 3562777 h 4167549"/>
              <a:gd name="connsiteX1170" fmla="*/ 2988875 w 10890933"/>
              <a:gd name="connsiteY1170" fmla="*/ 3579905 h 4167549"/>
              <a:gd name="connsiteX1171" fmla="*/ 2974119 w 10890933"/>
              <a:gd name="connsiteY1171" fmla="*/ 3566772 h 4167549"/>
              <a:gd name="connsiteX1172" fmla="*/ 2998056 w 10890933"/>
              <a:gd name="connsiteY1172" fmla="*/ 3545645 h 4167549"/>
              <a:gd name="connsiteX1173" fmla="*/ 3023635 w 10890933"/>
              <a:gd name="connsiteY1173" fmla="*/ 3552499 h 4167549"/>
              <a:gd name="connsiteX1174" fmla="*/ 3047573 w 10890933"/>
              <a:gd name="connsiteY1174" fmla="*/ 3531375 h 4167549"/>
              <a:gd name="connsiteX1175" fmla="*/ 3094793 w 10890933"/>
              <a:gd name="connsiteY1175" fmla="*/ 3525669 h 4167549"/>
              <a:gd name="connsiteX1176" fmla="*/ 3208659 w 10890933"/>
              <a:gd name="connsiteY1176" fmla="*/ 3512088 h 4167549"/>
              <a:gd name="connsiteX1177" fmla="*/ 3206454 w 10890933"/>
              <a:gd name="connsiteY1177" fmla="*/ 3520316 h 4167549"/>
              <a:gd name="connsiteX1178" fmla="*/ 3171339 w 10890933"/>
              <a:gd name="connsiteY1178" fmla="*/ 3519725 h 4167549"/>
              <a:gd name="connsiteX1179" fmla="*/ 3208659 w 10890933"/>
              <a:gd name="connsiteY1179" fmla="*/ 3512088 h 4167549"/>
              <a:gd name="connsiteX1180" fmla="*/ 2239698 w 10890933"/>
              <a:gd name="connsiteY1180" fmla="*/ 3508185 h 4167549"/>
              <a:gd name="connsiteX1181" fmla="*/ 2238335 w 10890933"/>
              <a:gd name="connsiteY1181" fmla="*/ 3515460 h 4167549"/>
              <a:gd name="connsiteX1182" fmla="*/ 2237494 w 10890933"/>
              <a:gd name="connsiteY1182" fmla="*/ 3516413 h 4167549"/>
              <a:gd name="connsiteX1183" fmla="*/ 2239698 w 10890933"/>
              <a:gd name="connsiteY1183" fmla="*/ 3508185 h 4167549"/>
              <a:gd name="connsiteX1184" fmla="*/ 2303195 w 10890933"/>
              <a:gd name="connsiteY1184" fmla="*/ 3507562 h 4167549"/>
              <a:gd name="connsiteX1185" fmla="*/ 2320399 w 10890933"/>
              <a:gd name="connsiteY1185" fmla="*/ 3512172 h 4167549"/>
              <a:gd name="connsiteX1186" fmla="*/ 2318195 w 10890933"/>
              <a:gd name="connsiteY1186" fmla="*/ 3520400 h 4167549"/>
              <a:gd name="connsiteX1187" fmla="*/ 2361203 w 10890933"/>
              <a:gd name="connsiteY1187" fmla="*/ 3531924 h 4167549"/>
              <a:gd name="connsiteX1188" fmla="*/ 2300991 w 10890933"/>
              <a:gd name="connsiteY1188" fmla="*/ 3515790 h 4167549"/>
              <a:gd name="connsiteX1189" fmla="*/ 2303195 w 10890933"/>
              <a:gd name="connsiteY1189" fmla="*/ 3507562 h 4167549"/>
              <a:gd name="connsiteX1190" fmla="*/ 2250130 w 10890933"/>
              <a:gd name="connsiteY1190" fmla="*/ 3502162 h 4167549"/>
              <a:gd name="connsiteX1191" fmla="*/ 2249540 w 10890933"/>
              <a:gd name="connsiteY1191" fmla="*/ 3537277 h 4167549"/>
              <a:gd name="connsiteX1192" fmla="*/ 2255758 w 10890933"/>
              <a:gd name="connsiteY1192" fmla="*/ 3536002 h 4167549"/>
              <a:gd name="connsiteX1193" fmla="*/ 2247335 w 10890933"/>
              <a:gd name="connsiteY1193" fmla="*/ 3545504 h 4167549"/>
              <a:gd name="connsiteX1194" fmla="*/ 2233084 w 10890933"/>
              <a:gd name="connsiteY1194" fmla="*/ 3532868 h 4167549"/>
              <a:gd name="connsiteX1195" fmla="*/ 2245721 w 10890933"/>
              <a:gd name="connsiteY1195" fmla="*/ 3518617 h 4167549"/>
              <a:gd name="connsiteX1196" fmla="*/ 2237145 w 10890933"/>
              <a:gd name="connsiteY1196" fmla="*/ 3521829 h 4167549"/>
              <a:gd name="connsiteX1197" fmla="*/ 2238335 w 10890933"/>
              <a:gd name="connsiteY1197" fmla="*/ 3515460 h 4167549"/>
              <a:gd name="connsiteX1198" fmla="*/ 2277391 w 10890933"/>
              <a:gd name="connsiteY1198" fmla="*/ 3500648 h 4167549"/>
              <a:gd name="connsiteX1199" fmla="*/ 2303195 w 10890933"/>
              <a:gd name="connsiteY1199" fmla="*/ 3507562 h 4167549"/>
              <a:gd name="connsiteX1200" fmla="*/ 2292390 w 10890933"/>
              <a:gd name="connsiteY1200" fmla="*/ 3513485 h 4167549"/>
              <a:gd name="connsiteX1201" fmla="*/ 2264381 w 10890933"/>
              <a:gd name="connsiteY1201" fmla="*/ 3514799 h 4167549"/>
              <a:gd name="connsiteX1202" fmla="*/ 2277391 w 10890933"/>
              <a:gd name="connsiteY1202" fmla="*/ 3500648 h 4167549"/>
              <a:gd name="connsiteX1203" fmla="*/ 8246703 w 10890933"/>
              <a:gd name="connsiteY1203" fmla="*/ 3497407 h 4167549"/>
              <a:gd name="connsiteX1204" fmla="*/ 8254306 w 10890933"/>
              <a:gd name="connsiteY1204" fmla="*/ 3506057 h 4167549"/>
              <a:gd name="connsiteX1205" fmla="*/ 8235646 w 10890933"/>
              <a:gd name="connsiteY1205" fmla="*/ 3509875 h 4167549"/>
              <a:gd name="connsiteX1206" fmla="*/ 8229623 w 10890933"/>
              <a:gd name="connsiteY1206" fmla="*/ 3499443 h 4167549"/>
              <a:gd name="connsiteX1207" fmla="*/ 8246703 w 10890933"/>
              <a:gd name="connsiteY1207" fmla="*/ 3497407 h 4167549"/>
              <a:gd name="connsiteX1208" fmla="*/ 7529493 w 10890933"/>
              <a:gd name="connsiteY1208" fmla="*/ 3494997 h 4167549"/>
              <a:gd name="connsiteX1209" fmla="*/ 7538366 w 10890933"/>
              <a:gd name="connsiteY1209" fmla="*/ 3495824 h 4167549"/>
              <a:gd name="connsiteX1210" fmla="*/ 7547605 w 10890933"/>
              <a:gd name="connsiteY1210" fmla="*/ 3510701 h 4167549"/>
              <a:gd name="connsiteX1211" fmla="*/ 7522923 w 10890933"/>
              <a:gd name="connsiteY1211" fmla="*/ 3504087 h 4167549"/>
              <a:gd name="connsiteX1212" fmla="*/ 7529493 w 10890933"/>
              <a:gd name="connsiteY1212" fmla="*/ 3494997 h 4167549"/>
              <a:gd name="connsiteX1213" fmla="*/ 8107569 w 10890933"/>
              <a:gd name="connsiteY1213" fmla="*/ 3477765 h 4167549"/>
              <a:gd name="connsiteX1214" fmla="*/ 8122371 w 10890933"/>
              <a:gd name="connsiteY1214" fmla="*/ 3488344 h 4167549"/>
              <a:gd name="connsiteX1215" fmla="*/ 8089461 w 10890933"/>
              <a:gd name="connsiteY1215" fmla="*/ 3479526 h 4167549"/>
              <a:gd name="connsiteX1216" fmla="*/ 8107569 w 10890933"/>
              <a:gd name="connsiteY1216" fmla="*/ 3477765 h 4167549"/>
              <a:gd name="connsiteX1217" fmla="*/ 3319810 w 10890933"/>
              <a:gd name="connsiteY1217" fmla="*/ 3475735 h 4167549"/>
              <a:gd name="connsiteX1218" fmla="*/ 3325833 w 10890933"/>
              <a:gd name="connsiteY1218" fmla="*/ 3486168 h 4167549"/>
              <a:gd name="connsiteX1219" fmla="*/ 3334061 w 10890933"/>
              <a:gd name="connsiteY1219" fmla="*/ 3488372 h 4167549"/>
              <a:gd name="connsiteX1220" fmla="*/ 3331856 w 10890933"/>
              <a:gd name="connsiteY1220" fmla="*/ 3496600 h 4167549"/>
              <a:gd name="connsiteX1221" fmla="*/ 3323629 w 10890933"/>
              <a:gd name="connsiteY1221" fmla="*/ 3494395 h 4167549"/>
              <a:gd name="connsiteX1222" fmla="*/ 3319810 w 10890933"/>
              <a:gd name="connsiteY1222" fmla="*/ 3475735 h 4167549"/>
              <a:gd name="connsiteX1223" fmla="*/ 8298792 w 10890933"/>
              <a:gd name="connsiteY1223" fmla="*/ 3471683 h 4167549"/>
              <a:gd name="connsiteX1224" fmla="*/ 8313880 w 10890933"/>
              <a:gd name="connsiteY1224" fmla="*/ 3472971 h 4167549"/>
              <a:gd name="connsiteX1225" fmla="*/ 8324834 w 10890933"/>
              <a:gd name="connsiteY1225" fmla="*/ 3489684 h 4167549"/>
              <a:gd name="connsiteX1226" fmla="*/ 8298792 w 10890933"/>
              <a:gd name="connsiteY1226" fmla="*/ 3471683 h 4167549"/>
              <a:gd name="connsiteX1227" fmla="*/ 6713268 w 10890933"/>
              <a:gd name="connsiteY1227" fmla="*/ 3456890 h 4167549"/>
              <a:gd name="connsiteX1228" fmla="*/ 6743570 w 10890933"/>
              <a:gd name="connsiteY1228" fmla="*/ 3467214 h 4167549"/>
              <a:gd name="connsiteX1229" fmla="*/ 6691999 w 10890933"/>
              <a:gd name="connsiteY1229" fmla="*/ 3462214 h 4167549"/>
              <a:gd name="connsiteX1230" fmla="*/ 6713268 w 10890933"/>
              <a:gd name="connsiteY1230" fmla="*/ 3456890 h 4167549"/>
              <a:gd name="connsiteX1231" fmla="*/ 7994844 w 10890933"/>
              <a:gd name="connsiteY1231" fmla="*/ 3454170 h 4167549"/>
              <a:gd name="connsiteX1232" fmla="*/ 7967956 w 10890933"/>
              <a:gd name="connsiteY1232" fmla="*/ 3455784 h 4167549"/>
              <a:gd name="connsiteX1233" fmla="*/ 7994844 w 10890933"/>
              <a:gd name="connsiteY1233" fmla="*/ 3454170 h 4167549"/>
              <a:gd name="connsiteX1234" fmla="*/ 3600217 w 10890933"/>
              <a:gd name="connsiteY1234" fmla="*/ 3449459 h 4167549"/>
              <a:gd name="connsiteX1235" fmla="*/ 3608444 w 10890933"/>
              <a:gd name="connsiteY1235" fmla="*/ 3451664 h 4167549"/>
              <a:gd name="connsiteX1236" fmla="*/ 3606239 w 10890933"/>
              <a:gd name="connsiteY1236" fmla="*/ 3459891 h 4167549"/>
              <a:gd name="connsiteX1237" fmla="*/ 3589784 w 10890933"/>
              <a:gd name="connsiteY1237" fmla="*/ 3455482 h 4167549"/>
              <a:gd name="connsiteX1238" fmla="*/ 3600217 w 10890933"/>
              <a:gd name="connsiteY1238" fmla="*/ 3449459 h 4167549"/>
              <a:gd name="connsiteX1239" fmla="*/ 7872615 w 10890933"/>
              <a:gd name="connsiteY1239" fmla="*/ 3435200 h 4167549"/>
              <a:gd name="connsiteX1240" fmla="*/ 7906251 w 10890933"/>
              <a:gd name="connsiteY1240" fmla="*/ 3439253 h 4167549"/>
              <a:gd name="connsiteX1241" fmla="*/ 7871136 w 10890933"/>
              <a:gd name="connsiteY1241" fmla="*/ 3438662 h 4167549"/>
              <a:gd name="connsiteX1242" fmla="*/ 7872615 w 10890933"/>
              <a:gd name="connsiteY1242" fmla="*/ 3435200 h 4167549"/>
              <a:gd name="connsiteX1243" fmla="*/ 6518523 w 10890933"/>
              <a:gd name="connsiteY1243" fmla="*/ 3426755 h 4167549"/>
              <a:gd name="connsiteX1244" fmla="*/ 6535383 w 10890933"/>
              <a:gd name="connsiteY1244" fmla="*/ 3437885 h 4167549"/>
              <a:gd name="connsiteX1245" fmla="*/ 6498357 w 10890933"/>
              <a:gd name="connsiteY1245" fmla="*/ 3427965 h 4167549"/>
              <a:gd name="connsiteX1246" fmla="*/ 6518523 w 10890933"/>
              <a:gd name="connsiteY1246" fmla="*/ 3426755 h 4167549"/>
              <a:gd name="connsiteX1247" fmla="*/ 3699831 w 10890933"/>
              <a:gd name="connsiteY1247" fmla="*/ 3423241 h 4167549"/>
              <a:gd name="connsiteX1248" fmla="*/ 3721228 w 10890933"/>
              <a:gd name="connsiteY1248" fmla="*/ 3425667 h 4167549"/>
              <a:gd name="connsiteX1249" fmla="*/ 3740970 w 10890933"/>
              <a:gd name="connsiteY1249" fmla="*/ 3434264 h 4167549"/>
              <a:gd name="connsiteX1250" fmla="*/ 3730537 w 10890933"/>
              <a:gd name="connsiteY1250" fmla="*/ 3440287 h 4167549"/>
              <a:gd name="connsiteX1251" fmla="*/ 3724515 w 10890933"/>
              <a:gd name="connsiteY1251" fmla="*/ 3429855 h 4167549"/>
              <a:gd name="connsiteX1252" fmla="*/ 3722309 w 10890933"/>
              <a:gd name="connsiteY1252" fmla="*/ 3438083 h 4167549"/>
              <a:gd name="connsiteX1253" fmla="*/ 3714082 w 10890933"/>
              <a:gd name="connsiteY1253" fmla="*/ 3435878 h 4167549"/>
              <a:gd name="connsiteX1254" fmla="*/ 3711877 w 10890933"/>
              <a:gd name="connsiteY1254" fmla="*/ 3444106 h 4167549"/>
              <a:gd name="connsiteX1255" fmla="*/ 3703649 w 10890933"/>
              <a:gd name="connsiteY1255" fmla="*/ 3441901 h 4167549"/>
              <a:gd name="connsiteX1256" fmla="*/ 3705854 w 10890933"/>
              <a:gd name="connsiteY1256" fmla="*/ 3433674 h 4167549"/>
              <a:gd name="connsiteX1257" fmla="*/ 3693218 w 10890933"/>
              <a:gd name="connsiteY1257" fmla="*/ 3447924 h 4167549"/>
              <a:gd name="connsiteX1258" fmla="*/ 3658103 w 10890933"/>
              <a:gd name="connsiteY1258" fmla="*/ 3447333 h 4167549"/>
              <a:gd name="connsiteX1259" fmla="*/ 3662512 w 10890933"/>
              <a:gd name="connsiteY1259" fmla="*/ 3430878 h 4167549"/>
              <a:gd name="connsiteX1260" fmla="*/ 3689399 w 10890933"/>
              <a:gd name="connsiteY1260" fmla="*/ 3429264 h 4167549"/>
              <a:gd name="connsiteX1261" fmla="*/ 3697627 w 10890933"/>
              <a:gd name="connsiteY1261" fmla="*/ 3431469 h 4167549"/>
              <a:gd name="connsiteX1262" fmla="*/ 3699831 w 10890933"/>
              <a:gd name="connsiteY1262" fmla="*/ 3423241 h 4167549"/>
              <a:gd name="connsiteX1263" fmla="*/ 7840430 w 10890933"/>
              <a:gd name="connsiteY1263" fmla="*/ 3421616 h 4167549"/>
              <a:gd name="connsiteX1264" fmla="*/ 7856885 w 10890933"/>
              <a:gd name="connsiteY1264" fmla="*/ 3426025 h 4167549"/>
              <a:gd name="connsiteX1265" fmla="*/ 7852476 w 10890933"/>
              <a:gd name="connsiteY1265" fmla="*/ 3442480 h 4167549"/>
              <a:gd name="connsiteX1266" fmla="*/ 7836021 w 10890933"/>
              <a:gd name="connsiteY1266" fmla="*/ 3438071 h 4167549"/>
              <a:gd name="connsiteX1267" fmla="*/ 7840430 w 10890933"/>
              <a:gd name="connsiteY1267" fmla="*/ 3421616 h 4167549"/>
              <a:gd name="connsiteX1268" fmla="*/ 7796798 w 10890933"/>
              <a:gd name="connsiteY1268" fmla="*/ 3418881 h 4167549"/>
              <a:gd name="connsiteX1269" fmla="*/ 7805594 w 10890933"/>
              <a:gd name="connsiteY1269" fmla="*/ 3419998 h 4167549"/>
              <a:gd name="connsiteX1270" fmla="*/ 7815454 w 10890933"/>
              <a:gd name="connsiteY1270" fmla="*/ 3432560 h 4167549"/>
              <a:gd name="connsiteX1271" fmla="*/ 7790771 w 10890933"/>
              <a:gd name="connsiteY1271" fmla="*/ 3425947 h 4167549"/>
              <a:gd name="connsiteX1272" fmla="*/ 7796798 w 10890933"/>
              <a:gd name="connsiteY1272" fmla="*/ 3418881 h 4167549"/>
              <a:gd name="connsiteX1273" fmla="*/ 2062519 w 10890933"/>
              <a:gd name="connsiteY1273" fmla="*/ 3416619 h 4167549"/>
              <a:gd name="connsiteX1274" fmla="*/ 2051058 w 10890933"/>
              <a:gd name="connsiteY1274" fmla="*/ 3422366 h 4167549"/>
              <a:gd name="connsiteX1275" fmla="*/ 2062519 w 10890933"/>
              <a:gd name="connsiteY1275" fmla="*/ 3416619 h 4167549"/>
              <a:gd name="connsiteX1276" fmla="*/ 7777274 w 10890933"/>
              <a:gd name="connsiteY1276" fmla="*/ 3414614 h 4167549"/>
              <a:gd name="connsiteX1277" fmla="*/ 7784748 w 10890933"/>
              <a:gd name="connsiteY1277" fmla="*/ 3415515 h 4167549"/>
              <a:gd name="connsiteX1278" fmla="*/ 7774316 w 10890933"/>
              <a:gd name="connsiteY1278" fmla="*/ 3421538 h 4167549"/>
              <a:gd name="connsiteX1279" fmla="*/ 7777274 w 10890933"/>
              <a:gd name="connsiteY1279" fmla="*/ 3414614 h 4167549"/>
              <a:gd name="connsiteX1280" fmla="*/ 8069927 w 10890933"/>
              <a:gd name="connsiteY1280" fmla="*/ 3412564 h 4167549"/>
              <a:gd name="connsiteX1281" fmla="*/ 8086235 w 10890933"/>
              <a:gd name="connsiteY1281" fmla="*/ 3425752 h 4167549"/>
              <a:gd name="connsiteX1282" fmla="*/ 8063314 w 10890933"/>
              <a:gd name="connsiteY1282" fmla="*/ 3437247 h 4167549"/>
              <a:gd name="connsiteX1283" fmla="*/ 8054058 w 10890933"/>
              <a:gd name="connsiteY1283" fmla="*/ 3434767 h 4167549"/>
              <a:gd name="connsiteX1284" fmla="*/ 8056262 w 10890933"/>
              <a:gd name="connsiteY1284" fmla="*/ 3426539 h 4167549"/>
              <a:gd name="connsiteX1285" fmla="*/ 8069927 w 10890933"/>
              <a:gd name="connsiteY1285" fmla="*/ 3412564 h 4167549"/>
              <a:gd name="connsiteX1286" fmla="*/ 7019553 w 10890933"/>
              <a:gd name="connsiteY1286" fmla="*/ 3412198 h 4167549"/>
              <a:gd name="connsiteX1287" fmla="*/ 7034703 w 10890933"/>
              <a:gd name="connsiteY1287" fmla="*/ 3417360 h 4167549"/>
              <a:gd name="connsiteX1288" fmla="*/ 7005612 w 10890933"/>
              <a:gd name="connsiteY1288" fmla="*/ 3427202 h 4167549"/>
              <a:gd name="connsiteX1289" fmla="*/ 7019553 w 10890933"/>
              <a:gd name="connsiteY1289" fmla="*/ 3412198 h 4167549"/>
              <a:gd name="connsiteX1290" fmla="*/ 7732358 w 10890933"/>
              <a:gd name="connsiteY1290" fmla="*/ 3410292 h 4167549"/>
              <a:gd name="connsiteX1291" fmla="*/ 7741406 w 10890933"/>
              <a:gd name="connsiteY1291" fmla="*/ 3412717 h 4167549"/>
              <a:gd name="connsiteX1292" fmla="*/ 7736997 w 10890933"/>
              <a:gd name="connsiteY1292" fmla="*/ 3429172 h 4167549"/>
              <a:gd name="connsiteX1293" fmla="*/ 7730153 w 10890933"/>
              <a:gd name="connsiteY1293" fmla="*/ 3418520 h 4167549"/>
              <a:gd name="connsiteX1294" fmla="*/ 7718897 w 10890933"/>
              <a:gd name="connsiteY1294" fmla="*/ 3424322 h 4167549"/>
              <a:gd name="connsiteX1295" fmla="*/ 7732358 w 10890933"/>
              <a:gd name="connsiteY1295" fmla="*/ 3410292 h 4167549"/>
              <a:gd name="connsiteX1296" fmla="*/ 3831257 w 10890933"/>
              <a:gd name="connsiteY1296" fmla="*/ 3409958 h 4167549"/>
              <a:gd name="connsiteX1297" fmla="*/ 3828501 w 10890933"/>
              <a:gd name="connsiteY1297" fmla="*/ 3420243 h 4167549"/>
              <a:gd name="connsiteX1298" fmla="*/ 3809290 w 10890933"/>
              <a:gd name="connsiteY1298" fmla="*/ 3426119 h 4167549"/>
              <a:gd name="connsiteX1299" fmla="*/ 3831257 w 10890933"/>
              <a:gd name="connsiteY1299" fmla="*/ 3409958 h 4167549"/>
              <a:gd name="connsiteX1300" fmla="*/ 7705206 w 10890933"/>
              <a:gd name="connsiteY1300" fmla="*/ 3403017 h 4167549"/>
              <a:gd name="connsiteX1301" fmla="*/ 7732358 w 10890933"/>
              <a:gd name="connsiteY1301" fmla="*/ 3410292 h 4167549"/>
              <a:gd name="connsiteX1302" fmla="*/ 7693949 w 10890933"/>
              <a:gd name="connsiteY1302" fmla="*/ 3408819 h 4167549"/>
              <a:gd name="connsiteX1303" fmla="*/ 7705206 w 10890933"/>
              <a:gd name="connsiteY1303" fmla="*/ 3403017 h 4167549"/>
              <a:gd name="connsiteX1304" fmla="*/ 4109276 w 10890933"/>
              <a:gd name="connsiteY1304" fmla="*/ 3402883 h 4167549"/>
              <a:gd name="connsiteX1305" fmla="*/ 4126721 w 10890933"/>
              <a:gd name="connsiteY1305" fmla="*/ 3409763 h 4167549"/>
              <a:gd name="connsiteX1306" fmla="*/ 4095719 w 10890933"/>
              <a:gd name="connsiteY1306" fmla="*/ 3410274 h 4167549"/>
              <a:gd name="connsiteX1307" fmla="*/ 4109276 w 10890933"/>
              <a:gd name="connsiteY1307" fmla="*/ 3402883 h 4167549"/>
              <a:gd name="connsiteX1308" fmla="*/ 3962401 w 10890933"/>
              <a:gd name="connsiteY1308" fmla="*/ 3401007 h 4167549"/>
              <a:gd name="connsiteX1309" fmla="*/ 3999161 w 10890933"/>
              <a:gd name="connsiteY1309" fmla="*/ 3402038 h 4167549"/>
              <a:gd name="connsiteX1310" fmla="*/ 4033718 w 10890933"/>
              <a:gd name="connsiteY1310" fmla="*/ 3411297 h 4167549"/>
              <a:gd name="connsiteX1311" fmla="*/ 3996957 w 10890933"/>
              <a:gd name="connsiteY1311" fmla="*/ 3410266 h 4167549"/>
              <a:gd name="connsiteX1312" fmla="*/ 3988317 w 10890933"/>
              <a:gd name="connsiteY1312" fmla="*/ 3407951 h 4167549"/>
              <a:gd name="connsiteX1313" fmla="*/ 3994754 w 10890933"/>
              <a:gd name="connsiteY1313" fmla="*/ 3418493 h 4167549"/>
              <a:gd name="connsiteX1314" fmla="*/ 3968836 w 10890933"/>
              <a:gd name="connsiteY1314" fmla="*/ 3411549 h 4167549"/>
              <a:gd name="connsiteX1315" fmla="*/ 3940713 w 10890933"/>
              <a:gd name="connsiteY1315" fmla="*/ 3412832 h 4167549"/>
              <a:gd name="connsiteX1316" fmla="*/ 3949352 w 10890933"/>
              <a:gd name="connsiteY1316" fmla="*/ 3415147 h 4167549"/>
              <a:gd name="connsiteX1317" fmla="*/ 3962401 w 10890933"/>
              <a:gd name="connsiteY1317" fmla="*/ 3401007 h 4167549"/>
              <a:gd name="connsiteX1318" fmla="*/ 7968368 w 10890933"/>
              <a:gd name="connsiteY1318" fmla="*/ 3400783 h 4167549"/>
              <a:gd name="connsiteX1319" fmla="*/ 7989413 w 10890933"/>
              <a:gd name="connsiteY1319" fmla="*/ 3408627 h 4167549"/>
              <a:gd name="connsiteX1320" fmla="*/ 7987209 w 10890933"/>
              <a:gd name="connsiteY1320" fmla="*/ 3416854 h 4167549"/>
              <a:gd name="connsiteX1321" fmla="*/ 7958411 w 10890933"/>
              <a:gd name="connsiteY1321" fmla="*/ 3409138 h 4167549"/>
              <a:gd name="connsiteX1322" fmla="*/ 7968368 w 10890933"/>
              <a:gd name="connsiteY1322" fmla="*/ 3400783 h 4167549"/>
              <a:gd name="connsiteX1323" fmla="*/ 4163742 w 10890933"/>
              <a:gd name="connsiteY1323" fmla="*/ 3400608 h 4167549"/>
              <a:gd name="connsiteX1324" fmla="*/ 4153974 w 10890933"/>
              <a:gd name="connsiteY1324" fmla="*/ 3406781 h 4167549"/>
              <a:gd name="connsiteX1325" fmla="*/ 4135132 w 10890933"/>
              <a:gd name="connsiteY1325" fmla="*/ 3411284 h 4167549"/>
              <a:gd name="connsiteX1326" fmla="*/ 4162237 w 10890933"/>
              <a:gd name="connsiteY1326" fmla="*/ 3400635 h 4167549"/>
              <a:gd name="connsiteX1327" fmla="*/ 4164591 w 10890933"/>
              <a:gd name="connsiteY1327" fmla="*/ 3400071 h 4167549"/>
              <a:gd name="connsiteX1328" fmla="*/ 4164726 w 10890933"/>
              <a:gd name="connsiteY1328" fmla="*/ 3400591 h 4167549"/>
              <a:gd name="connsiteX1329" fmla="*/ 4163742 w 10890933"/>
              <a:gd name="connsiteY1329" fmla="*/ 3400608 h 4167549"/>
              <a:gd name="connsiteX1330" fmla="*/ 4197472 w 10890933"/>
              <a:gd name="connsiteY1330" fmla="*/ 3400019 h 4167549"/>
              <a:gd name="connsiteX1331" fmla="*/ 4197501 w 10890933"/>
              <a:gd name="connsiteY1331" fmla="*/ 3408890 h 4167549"/>
              <a:gd name="connsiteX1332" fmla="*/ 4205729 w 10890933"/>
              <a:gd name="connsiteY1332" fmla="*/ 3411094 h 4167549"/>
              <a:gd name="connsiteX1333" fmla="*/ 4167998 w 10890933"/>
              <a:gd name="connsiteY1333" fmla="*/ 3413074 h 4167549"/>
              <a:gd name="connsiteX1334" fmla="*/ 4164726 w 10890933"/>
              <a:gd name="connsiteY1334" fmla="*/ 3400591 h 4167549"/>
              <a:gd name="connsiteX1335" fmla="*/ 4197469 w 10890933"/>
              <a:gd name="connsiteY1335" fmla="*/ 3399327 h 4167549"/>
              <a:gd name="connsiteX1336" fmla="*/ 4199891 w 10890933"/>
              <a:gd name="connsiteY1336" fmla="*/ 3399975 h 4167549"/>
              <a:gd name="connsiteX1337" fmla="*/ 4197472 w 10890933"/>
              <a:gd name="connsiteY1337" fmla="*/ 3400019 h 4167549"/>
              <a:gd name="connsiteX1338" fmla="*/ 6297854 w 10890933"/>
              <a:gd name="connsiteY1338" fmla="*/ 3397389 h 4167549"/>
              <a:gd name="connsiteX1339" fmla="*/ 6307728 w 10890933"/>
              <a:gd name="connsiteY1339" fmla="*/ 3398932 h 4167549"/>
              <a:gd name="connsiteX1340" fmla="*/ 6305523 w 10890933"/>
              <a:gd name="connsiteY1340" fmla="*/ 3407160 h 4167549"/>
              <a:gd name="connsiteX1341" fmla="*/ 6284122 w 10890933"/>
              <a:gd name="connsiteY1341" fmla="*/ 3410244 h 4167549"/>
              <a:gd name="connsiteX1342" fmla="*/ 6276726 w 10890933"/>
              <a:gd name="connsiteY1342" fmla="*/ 3399444 h 4167549"/>
              <a:gd name="connsiteX1343" fmla="*/ 6282724 w 10890933"/>
              <a:gd name="connsiteY1343" fmla="*/ 3401051 h 4167549"/>
              <a:gd name="connsiteX1344" fmla="*/ 6286326 w 10890933"/>
              <a:gd name="connsiteY1344" fmla="*/ 3402016 h 4167549"/>
              <a:gd name="connsiteX1345" fmla="*/ 6297854 w 10890933"/>
              <a:gd name="connsiteY1345" fmla="*/ 3397389 h 4167549"/>
              <a:gd name="connsiteX1346" fmla="*/ 4366817 w 10890933"/>
              <a:gd name="connsiteY1346" fmla="*/ 3396935 h 4167549"/>
              <a:gd name="connsiteX1347" fmla="*/ 4392286 w 10890933"/>
              <a:gd name="connsiteY1347" fmla="*/ 3405965 h 4167549"/>
              <a:gd name="connsiteX1348" fmla="*/ 4344829 w 10890933"/>
              <a:gd name="connsiteY1348" fmla="*/ 3402067 h 4167549"/>
              <a:gd name="connsiteX1349" fmla="*/ 4366817 w 10890933"/>
              <a:gd name="connsiteY1349" fmla="*/ 3396935 h 4167549"/>
              <a:gd name="connsiteX1350" fmla="*/ 7944436 w 10890933"/>
              <a:gd name="connsiteY1350" fmla="*/ 3395473 h 4167549"/>
              <a:gd name="connsiteX1351" fmla="*/ 7950184 w 10890933"/>
              <a:gd name="connsiteY1351" fmla="*/ 3406933 h 4167549"/>
              <a:gd name="connsiteX1352" fmla="*/ 7933729 w 10890933"/>
              <a:gd name="connsiteY1352" fmla="*/ 3402524 h 4167549"/>
              <a:gd name="connsiteX1353" fmla="*/ 7944436 w 10890933"/>
              <a:gd name="connsiteY1353" fmla="*/ 3395473 h 4167549"/>
              <a:gd name="connsiteX1354" fmla="*/ 6211714 w 10890933"/>
              <a:gd name="connsiteY1354" fmla="*/ 3395250 h 4167549"/>
              <a:gd name="connsiteX1355" fmla="*/ 6214724 w 10890933"/>
              <a:gd name="connsiteY1355" fmla="*/ 3400467 h 4167549"/>
              <a:gd name="connsiteX1356" fmla="*/ 6206496 w 10890933"/>
              <a:gd name="connsiteY1356" fmla="*/ 3398262 h 4167549"/>
              <a:gd name="connsiteX1357" fmla="*/ 6208700 w 10890933"/>
              <a:gd name="connsiteY1357" fmla="*/ 3390035 h 4167549"/>
              <a:gd name="connsiteX1358" fmla="*/ 6217733 w 10890933"/>
              <a:gd name="connsiteY1358" fmla="*/ 3391777 h 4167549"/>
              <a:gd name="connsiteX1359" fmla="*/ 6211714 w 10890933"/>
              <a:gd name="connsiteY1359" fmla="*/ 3395250 h 4167549"/>
              <a:gd name="connsiteX1360" fmla="*/ 6346665 w 10890933"/>
              <a:gd name="connsiteY1360" fmla="*/ 3387318 h 4167549"/>
              <a:gd name="connsiteX1361" fmla="*/ 6359043 w 10890933"/>
              <a:gd name="connsiteY1361" fmla="*/ 3388430 h 4167549"/>
              <a:gd name="connsiteX1362" fmla="*/ 6379060 w 10890933"/>
              <a:gd name="connsiteY1362" fmla="*/ 3395999 h 4167549"/>
              <a:gd name="connsiteX1363" fmla="*/ 6335717 w 10890933"/>
              <a:gd name="connsiteY1363" fmla="*/ 3393203 h 4167549"/>
              <a:gd name="connsiteX1364" fmla="*/ 6346665 w 10890933"/>
              <a:gd name="connsiteY1364" fmla="*/ 3387318 h 4167549"/>
              <a:gd name="connsiteX1365" fmla="*/ 6141021 w 10890933"/>
              <a:gd name="connsiteY1365" fmla="*/ 3387056 h 4167549"/>
              <a:gd name="connsiteX1366" fmla="*/ 6150814 w 10890933"/>
              <a:gd name="connsiteY1366" fmla="*/ 3392160 h 4167549"/>
              <a:gd name="connsiteX1367" fmla="*/ 6134359 w 10890933"/>
              <a:gd name="connsiteY1367" fmla="*/ 3387751 h 4167549"/>
              <a:gd name="connsiteX1368" fmla="*/ 6141021 w 10890933"/>
              <a:gd name="connsiteY1368" fmla="*/ 3387056 h 4167549"/>
              <a:gd name="connsiteX1369" fmla="*/ 7974625 w 10890933"/>
              <a:gd name="connsiteY1369" fmla="*/ 3387028 h 4167549"/>
              <a:gd name="connsiteX1370" fmla="*/ 7993822 w 10890933"/>
              <a:gd name="connsiteY1370" fmla="*/ 3392172 h 4167549"/>
              <a:gd name="connsiteX1371" fmla="*/ 7989413 w 10890933"/>
              <a:gd name="connsiteY1371" fmla="*/ 3408627 h 4167549"/>
              <a:gd name="connsiteX1372" fmla="*/ 7974625 w 10890933"/>
              <a:gd name="connsiteY1372" fmla="*/ 3387028 h 4167549"/>
              <a:gd name="connsiteX1373" fmla="*/ 6227360 w 10890933"/>
              <a:gd name="connsiteY1373" fmla="*/ 3386216 h 4167549"/>
              <a:gd name="connsiteX1374" fmla="*/ 6223377 w 10890933"/>
              <a:gd name="connsiteY1374" fmla="*/ 3392865 h 4167549"/>
              <a:gd name="connsiteX1375" fmla="*/ 6217733 w 10890933"/>
              <a:gd name="connsiteY1375" fmla="*/ 3391777 h 4167549"/>
              <a:gd name="connsiteX1376" fmla="*/ 2127093 w 10890933"/>
              <a:gd name="connsiteY1376" fmla="*/ 3385422 h 4167549"/>
              <a:gd name="connsiteX1377" fmla="*/ 2149571 w 10890933"/>
              <a:gd name="connsiteY1377" fmla="*/ 3400264 h 4167549"/>
              <a:gd name="connsiteX1378" fmla="*/ 2127093 w 10890933"/>
              <a:gd name="connsiteY1378" fmla="*/ 3385422 h 4167549"/>
              <a:gd name="connsiteX1379" fmla="*/ 4406174 w 10890933"/>
              <a:gd name="connsiteY1379" fmla="*/ 3384474 h 4167549"/>
              <a:gd name="connsiteX1380" fmla="*/ 4440037 w 10890933"/>
              <a:gd name="connsiteY1380" fmla="*/ 3392307 h 4167549"/>
              <a:gd name="connsiteX1381" fmla="*/ 4437833 w 10890933"/>
              <a:gd name="connsiteY1381" fmla="*/ 3400535 h 4167549"/>
              <a:gd name="connsiteX1382" fmla="*/ 4386262 w 10890933"/>
              <a:gd name="connsiteY1382" fmla="*/ 3395535 h 4167549"/>
              <a:gd name="connsiteX1383" fmla="*/ 4396694 w 10890933"/>
              <a:gd name="connsiteY1383" fmla="*/ 3389512 h 4167549"/>
              <a:gd name="connsiteX1384" fmla="*/ 4388467 w 10890933"/>
              <a:gd name="connsiteY1384" fmla="*/ 3387308 h 4167549"/>
              <a:gd name="connsiteX1385" fmla="*/ 4406174 w 10890933"/>
              <a:gd name="connsiteY1385" fmla="*/ 3384474 h 4167549"/>
              <a:gd name="connsiteX1386" fmla="*/ 4241116 w 10890933"/>
              <a:gd name="connsiteY1386" fmla="*/ 3384338 h 4167549"/>
              <a:gd name="connsiteX1387" fmla="*/ 4250479 w 10890933"/>
              <a:gd name="connsiteY1387" fmla="*/ 3385606 h 4167549"/>
              <a:gd name="connsiteX1388" fmla="*/ 4238946 w 10890933"/>
              <a:gd name="connsiteY1388" fmla="*/ 3392437 h 4167549"/>
              <a:gd name="connsiteX1389" fmla="*/ 4248201 w 10890933"/>
              <a:gd name="connsiteY1389" fmla="*/ 3398636 h 4167549"/>
              <a:gd name="connsiteX1390" fmla="*/ 4262654 w 10890933"/>
              <a:gd name="connsiteY1390" fmla="*/ 3399506 h 4167549"/>
              <a:gd name="connsiteX1391" fmla="*/ 4260349 w 10890933"/>
              <a:gd name="connsiteY1391" fmla="*/ 3388249 h 4167549"/>
              <a:gd name="connsiteX1392" fmla="*/ 4269403 w 10890933"/>
              <a:gd name="connsiteY1392" fmla="*/ 3387367 h 4167549"/>
              <a:gd name="connsiteX1393" fmla="*/ 4276804 w 10890933"/>
              <a:gd name="connsiteY1393" fmla="*/ 3392658 h 4167549"/>
              <a:gd name="connsiteX1394" fmla="*/ 4266372 w 10890933"/>
              <a:gd name="connsiteY1394" fmla="*/ 3398681 h 4167549"/>
              <a:gd name="connsiteX1395" fmla="*/ 4274601 w 10890933"/>
              <a:gd name="connsiteY1395" fmla="*/ 3400885 h 4167549"/>
              <a:gd name="connsiteX1396" fmla="*/ 4282827 w 10890933"/>
              <a:gd name="connsiteY1396" fmla="*/ 3403090 h 4167549"/>
              <a:gd name="connsiteX1397" fmla="*/ 4264167 w 10890933"/>
              <a:gd name="connsiteY1397" fmla="*/ 3406908 h 4167549"/>
              <a:gd name="connsiteX1398" fmla="*/ 4263040 w 10890933"/>
              <a:gd name="connsiteY1398" fmla="*/ 3401393 h 4167549"/>
              <a:gd name="connsiteX1399" fmla="*/ 4243348 w 10890933"/>
              <a:gd name="connsiteY1399" fmla="*/ 3412217 h 4167549"/>
              <a:gd name="connsiteX1400" fmla="*/ 4222457 w 10890933"/>
              <a:gd name="connsiteY1400" fmla="*/ 3417782 h 4167549"/>
              <a:gd name="connsiteX1401" fmla="*/ 4215885 w 10890933"/>
              <a:gd name="connsiteY1401" fmla="*/ 3406100 h 4167549"/>
              <a:gd name="connsiteX1402" fmla="*/ 4229897 w 10890933"/>
              <a:gd name="connsiteY1402" fmla="*/ 3390013 h 4167549"/>
              <a:gd name="connsiteX1403" fmla="*/ 4241116 w 10890933"/>
              <a:gd name="connsiteY1403" fmla="*/ 3384338 h 4167549"/>
              <a:gd name="connsiteX1404" fmla="*/ 4190484 w 10890933"/>
              <a:gd name="connsiteY1404" fmla="*/ 3384172 h 4167549"/>
              <a:gd name="connsiteX1405" fmla="*/ 4197435 w 10890933"/>
              <a:gd name="connsiteY1405" fmla="*/ 3388572 h 4167549"/>
              <a:gd name="connsiteX1406" fmla="*/ 4197469 w 10890933"/>
              <a:gd name="connsiteY1406" fmla="*/ 3399327 h 4167549"/>
              <a:gd name="connsiteX1407" fmla="*/ 4191662 w 10890933"/>
              <a:gd name="connsiteY1407" fmla="*/ 3397771 h 4167549"/>
              <a:gd name="connsiteX1408" fmla="*/ 4185822 w 10890933"/>
              <a:gd name="connsiteY1408" fmla="*/ 3386655 h 4167549"/>
              <a:gd name="connsiteX1409" fmla="*/ 4190484 w 10890933"/>
              <a:gd name="connsiteY1409" fmla="*/ 3384172 h 4167549"/>
              <a:gd name="connsiteX1410" fmla="*/ 2172640 w 10890933"/>
              <a:gd name="connsiteY1410" fmla="*/ 3379990 h 4167549"/>
              <a:gd name="connsiteX1411" fmla="*/ 2176458 w 10890933"/>
              <a:gd name="connsiteY1411" fmla="*/ 3398650 h 4167549"/>
              <a:gd name="connsiteX1412" fmla="*/ 2168230 w 10890933"/>
              <a:gd name="connsiteY1412" fmla="*/ 3396445 h 4167549"/>
              <a:gd name="connsiteX1413" fmla="*/ 2157798 w 10890933"/>
              <a:gd name="connsiteY1413" fmla="*/ 3402468 h 4167549"/>
              <a:gd name="connsiteX1414" fmla="*/ 2153980 w 10890933"/>
              <a:gd name="connsiteY1414" fmla="*/ 3383809 h 4167549"/>
              <a:gd name="connsiteX1415" fmla="*/ 2172640 w 10890933"/>
              <a:gd name="connsiteY1415" fmla="*/ 3379990 h 4167549"/>
              <a:gd name="connsiteX1416" fmla="*/ 4475809 w 10890933"/>
              <a:gd name="connsiteY1416" fmla="*/ 3377842 h 4167549"/>
              <a:gd name="connsiteX1417" fmla="*/ 4470502 w 10890933"/>
              <a:gd name="connsiteY1417" fmla="*/ 3382834 h 4167549"/>
              <a:gd name="connsiteX1418" fmla="*/ 4452674 w 10890933"/>
              <a:gd name="connsiteY1418" fmla="*/ 3378057 h 4167549"/>
              <a:gd name="connsiteX1419" fmla="*/ 4462978 w 10890933"/>
              <a:gd name="connsiteY1419" fmla="*/ 3379715 h 4167549"/>
              <a:gd name="connsiteX1420" fmla="*/ 4476888 w 10890933"/>
              <a:gd name="connsiteY1420" fmla="*/ 3376829 h 4167549"/>
              <a:gd name="connsiteX1421" fmla="*/ 4481618 w 10890933"/>
              <a:gd name="connsiteY1421" fmla="*/ 3376994 h 4167549"/>
              <a:gd name="connsiteX1422" fmla="*/ 4475809 w 10890933"/>
              <a:gd name="connsiteY1422" fmla="*/ 3377842 h 4167549"/>
              <a:gd name="connsiteX1423" fmla="*/ 6120108 w 10890933"/>
              <a:gd name="connsiteY1423" fmla="*/ 3375115 h 4167549"/>
              <a:gd name="connsiteX1424" fmla="*/ 6115699 w 10890933"/>
              <a:gd name="connsiteY1424" fmla="*/ 3391570 h 4167549"/>
              <a:gd name="connsiteX1425" fmla="*/ 6099244 w 10890933"/>
              <a:gd name="connsiteY1425" fmla="*/ 3387161 h 4167549"/>
              <a:gd name="connsiteX1426" fmla="*/ 6120108 w 10890933"/>
              <a:gd name="connsiteY1426" fmla="*/ 3375115 h 4167549"/>
              <a:gd name="connsiteX1427" fmla="*/ 7808260 w 10890933"/>
              <a:gd name="connsiteY1427" fmla="*/ 3374000 h 4167549"/>
              <a:gd name="connsiteX1428" fmla="*/ 7820545 w 10890933"/>
              <a:gd name="connsiteY1428" fmla="*/ 3375499 h 4167549"/>
              <a:gd name="connsiteX1429" fmla="*/ 7813597 w 10890933"/>
              <a:gd name="connsiteY1429" fmla="*/ 3379151 h 4167549"/>
              <a:gd name="connsiteX1430" fmla="*/ 7802479 w 10890933"/>
              <a:gd name="connsiteY1430" fmla="*/ 3384990 h 4167549"/>
              <a:gd name="connsiteX1431" fmla="*/ 7808260 w 10890933"/>
              <a:gd name="connsiteY1431" fmla="*/ 3374000 h 4167549"/>
              <a:gd name="connsiteX1432" fmla="*/ 6712890 w 10890933"/>
              <a:gd name="connsiteY1432" fmla="*/ 3371914 h 4167549"/>
              <a:gd name="connsiteX1433" fmla="*/ 6723375 w 10890933"/>
              <a:gd name="connsiteY1433" fmla="*/ 3378031 h 4167549"/>
              <a:gd name="connsiteX1434" fmla="*/ 6704715 w 10890933"/>
              <a:gd name="connsiteY1434" fmla="*/ 3381850 h 4167549"/>
              <a:gd name="connsiteX1435" fmla="*/ 6715147 w 10890933"/>
              <a:gd name="connsiteY1435" fmla="*/ 3375827 h 4167549"/>
              <a:gd name="connsiteX1436" fmla="*/ 6706920 w 10890933"/>
              <a:gd name="connsiteY1436" fmla="*/ 3373622 h 4167549"/>
              <a:gd name="connsiteX1437" fmla="*/ 6712890 w 10890933"/>
              <a:gd name="connsiteY1437" fmla="*/ 3371914 h 4167549"/>
              <a:gd name="connsiteX1438" fmla="*/ 4812287 w 10890933"/>
              <a:gd name="connsiteY1438" fmla="*/ 3371904 h 4167549"/>
              <a:gd name="connsiteX1439" fmla="*/ 4811800 w 10890933"/>
              <a:gd name="connsiteY1439" fmla="*/ 3372568 h 4167549"/>
              <a:gd name="connsiteX1440" fmla="*/ 4813744 w 10890933"/>
              <a:gd name="connsiteY1440" fmla="*/ 3372031 h 4167549"/>
              <a:gd name="connsiteX1441" fmla="*/ 4876562 w 10890933"/>
              <a:gd name="connsiteY1441" fmla="*/ 3370077 h 4167549"/>
              <a:gd name="connsiteX1442" fmla="*/ 4876778 w 10890933"/>
              <a:gd name="connsiteY1442" fmla="*/ 3370265 h 4167549"/>
              <a:gd name="connsiteX1443" fmla="*/ 4876365 w 10890933"/>
              <a:gd name="connsiteY1443" fmla="*/ 3370335 h 4167549"/>
              <a:gd name="connsiteX1444" fmla="*/ 4803734 w 10890933"/>
              <a:gd name="connsiteY1444" fmla="*/ 3368738 h 4167549"/>
              <a:gd name="connsiteX1445" fmla="*/ 4804315 w 10890933"/>
              <a:gd name="connsiteY1445" fmla="*/ 3369142 h 4167549"/>
              <a:gd name="connsiteX1446" fmla="*/ 4803803 w 10890933"/>
              <a:gd name="connsiteY1446" fmla="*/ 3369631 h 4167549"/>
              <a:gd name="connsiteX1447" fmla="*/ 4565438 w 10890933"/>
              <a:gd name="connsiteY1447" fmla="*/ 3368588 h 4167549"/>
              <a:gd name="connsiteX1448" fmla="*/ 4569255 w 10890933"/>
              <a:gd name="connsiteY1448" fmla="*/ 3387248 h 4167549"/>
              <a:gd name="connsiteX1449" fmla="*/ 4561029 w 10890933"/>
              <a:gd name="connsiteY1449" fmla="*/ 3385043 h 4167549"/>
              <a:gd name="connsiteX1450" fmla="*/ 4555005 w 10890933"/>
              <a:gd name="connsiteY1450" fmla="*/ 3374611 h 4167549"/>
              <a:gd name="connsiteX1451" fmla="*/ 4565438 w 10890933"/>
              <a:gd name="connsiteY1451" fmla="*/ 3368588 h 4167549"/>
              <a:gd name="connsiteX1452" fmla="*/ 4794785 w 10890933"/>
              <a:gd name="connsiteY1452" fmla="*/ 3368314 h 4167549"/>
              <a:gd name="connsiteX1453" fmla="*/ 4790375 w 10890933"/>
              <a:gd name="connsiteY1453" fmla="*/ 3384769 h 4167549"/>
              <a:gd name="connsiteX1454" fmla="*/ 4784352 w 10890933"/>
              <a:gd name="connsiteY1454" fmla="*/ 3374337 h 4167549"/>
              <a:gd name="connsiteX1455" fmla="*/ 4794785 w 10890933"/>
              <a:gd name="connsiteY1455" fmla="*/ 3368314 h 4167549"/>
              <a:gd name="connsiteX1456" fmla="*/ 4530323 w 10890933"/>
              <a:gd name="connsiteY1456" fmla="*/ 3367998 h 4167549"/>
              <a:gd name="connsiteX1457" fmla="*/ 4555005 w 10890933"/>
              <a:gd name="connsiteY1457" fmla="*/ 3374611 h 4167549"/>
              <a:gd name="connsiteX1458" fmla="*/ 4541265 w 10890933"/>
              <a:gd name="connsiteY1458" fmla="*/ 3392977 h 4167549"/>
              <a:gd name="connsiteX1459" fmla="*/ 4527567 w 10890933"/>
              <a:gd name="connsiteY1459" fmla="*/ 3378283 h 4167549"/>
              <a:gd name="connsiteX1460" fmla="*/ 4530323 w 10890933"/>
              <a:gd name="connsiteY1460" fmla="*/ 3367998 h 4167549"/>
              <a:gd name="connsiteX1461" fmla="*/ 4894584 w 10890933"/>
              <a:gd name="connsiteY1461" fmla="*/ 3367251 h 4167549"/>
              <a:gd name="connsiteX1462" fmla="*/ 4884738 w 10890933"/>
              <a:gd name="connsiteY1462" fmla="*/ 3377264 h 4167549"/>
              <a:gd name="connsiteX1463" fmla="*/ 4876778 w 10890933"/>
              <a:gd name="connsiteY1463" fmla="*/ 3370265 h 4167549"/>
              <a:gd name="connsiteX1464" fmla="*/ 6682237 w 10890933"/>
              <a:gd name="connsiteY1464" fmla="*/ 3367008 h 4167549"/>
              <a:gd name="connsiteX1465" fmla="*/ 6695936 w 10890933"/>
              <a:gd name="connsiteY1465" fmla="*/ 3381703 h 4167549"/>
              <a:gd name="connsiteX1466" fmla="*/ 6679481 w 10890933"/>
              <a:gd name="connsiteY1466" fmla="*/ 3377293 h 4167549"/>
              <a:gd name="connsiteX1467" fmla="*/ 6682237 w 10890933"/>
              <a:gd name="connsiteY1467" fmla="*/ 3367008 h 4167549"/>
              <a:gd name="connsiteX1468" fmla="*/ 5566528 w 10890933"/>
              <a:gd name="connsiteY1468" fmla="*/ 3366919 h 4167549"/>
              <a:gd name="connsiteX1469" fmla="*/ 5562657 w 10890933"/>
              <a:gd name="connsiteY1469" fmla="*/ 3371246 h 4167549"/>
              <a:gd name="connsiteX1470" fmla="*/ 5561794 w 10890933"/>
              <a:gd name="connsiteY1470" fmla="*/ 3367637 h 4167549"/>
              <a:gd name="connsiteX1471" fmla="*/ 5985692 w 10890933"/>
              <a:gd name="connsiteY1471" fmla="*/ 3366652 h 4167549"/>
              <a:gd name="connsiteX1472" fmla="*/ 5994195 w 10890933"/>
              <a:gd name="connsiteY1472" fmla="*/ 3367828 h 4167549"/>
              <a:gd name="connsiteX1473" fmla="*/ 5989786 w 10890933"/>
              <a:gd name="connsiteY1473" fmla="*/ 3384283 h 4167549"/>
              <a:gd name="connsiteX1474" fmla="*/ 5981558 w 10890933"/>
              <a:gd name="connsiteY1474" fmla="*/ 3382079 h 4167549"/>
              <a:gd name="connsiteX1475" fmla="*/ 5975535 w 10890933"/>
              <a:gd name="connsiteY1475" fmla="*/ 3371647 h 4167549"/>
              <a:gd name="connsiteX1476" fmla="*/ 5985692 w 10890933"/>
              <a:gd name="connsiteY1476" fmla="*/ 3366652 h 4167549"/>
              <a:gd name="connsiteX1477" fmla="*/ 4953482 w 10890933"/>
              <a:gd name="connsiteY1477" fmla="*/ 3366381 h 4167549"/>
              <a:gd name="connsiteX1478" fmla="*/ 4978639 w 10890933"/>
              <a:gd name="connsiteY1478" fmla="*/ 3370548 h 4167549"/>
              <a:gd name="connsiteX1479" fmla="*/ 4937840 w 10890933"/>
              <a:gd name="connsiteY1479" fmla="*/ 3380194 h 4167549"/>
              <a:gd name="connsiteX1480" fmla="*/ 4953482 w 10890933"/>
              <a:gd name="connsiteY1480" fmla="*/ 3366381 h 4167549"/>
              <a:gd name="connsiteX1481" fmla="*/ 4895676 w 10890933"/>
              <a:gd name="connsiteY1481" fmla="*/ 3366138 h 4167549"/>
              <a:gd name="connsiteX1482" fmla="*/ 4897798 w 10890933"/>
              <a:gd name="connsiteY1482" fmla="*/ 3366707 h 4167549"/>
              <a:gd name="connsiteX1483" fmla="*/ 4894584 w 10890933"/>
              <a:gd name="connsiteY1483" fmla="*/ 3367251 h 4167549"/>
              <a:gd name="connsiteX1484" fmla="*/ 2212163 w 10890933"/>
              <a:gd name="connsiteY1484" fmla="*/ 3364125 h 4167549"/>
              <a:gd name="connsiteX1485" fmla="*/ 2238756 w 10890933"/>
              <a:gd name="connsiteY1485" fmla="*/ 3380069 h 4167549"/>
              <a:gd name="connsiteX1486" fmla="*/ 2212163 w 10890933"/>
              <a:gd name="connsiteY1486" fmla="*/ 3364125 h 4167549"/>
              <a:gd name="connsiteX1487" fmla="*/ 5129248 w 10890933"/>
              <a:gd name="connsiteY1487" fmla="*/ 3362991 h 4167549"/>
              <a:gd name="connsiteX1488" fmla="*/ 5134693 w 10890933"/>
              <a:gd name="connsiteY1488" fmla="*/ 3366802 h 4167549"/>
              <a:gd name="connsiteX1489" fmla="*/ 5128874 w 10890933"/>
              <a:gd name="connsiteY1489" fmla="*/ 3363207 h 4167549"/>
              <a:gd name="connsiteX1490" fmla="*/ 4703987 w 10890933"/>
              <a:gd name="connsiteY1490" fmla="*/ 3361622 h 4167549"/>
              <a:gd name="connsiteX1491" fmla="*/ 4707806 w 10890933"/>
              <a:gd name="connsiteY1491" fmla="*/ 3380281 h 4167549"/>
              <a:gd name="connsiteX1492" fmla="*/ 4654032 w 10890933"/>
              <a:gd name="connsiteY1492" fmla="*/ 3383509 h 4167549"/>
              <a:gd name="connsiteX1493" fmla="*/ 4648009 w 10890933"/>
              <a:gd name="connsiteY1493" fmla="*/ 3373077 h 4167549"/>
              <a:gd name="connsiteX1494" fmla="*/ 4683123 w 10890933"/>
              <a:gd name="connsiteY1494" fmla="*/ 3373668 h 4167549"/>
              <a:gd name="connsiteX1495" fmla="*/ 4703987 w 10890933"/>
              <a:gd name="connsiteY1495" fmla="*/ 3361622 h 4167549"/>
              <a:gd name="connsiteX1496" fmla="*/ 5125235 w 10890933"/>
              <a:gd name="connsiteY1496" fmla="*/ 3360960 h 4167549"/>
              <a:gd name="connsiteX1497" fmla="*/ 5128874 w 10890933"/>
              <a:gd name="connsiteY1497" fmla="*/ 3363207 h 4167549"/>
              <a:gd name="connsiteX1498" fmla="*/ 5126466 w 10890933"/>
              <a:gd name="connsiteY1498" fmla="*/ 3364598 h 4167549"/>
              <a:gd name="connsiteX1499" fmla="*/ 5125235 w 10890933"/>
              <a:gd name="connsiteY1499" fmla="*/ 3360960 h 4167549"/>
              <a:gd name="connsiteX1500" fmla="*/ 5142476 w 10890933"/>
              <a:gd name="connsiteY1500" fmla="*/ 3360958 h 4167549"/>
              <a:gd name="connsiteX1501" fmla="*/ 5143821 w 10890933"/>
              <a:gd name="connsiteY1501" fmla="*/ 3361532 h 4167549"/>
              <a:gd name="connsiteX1502" fmla="*/ 5142921 w 10890933"/>
              <a:gd name="connsiteY1502" fmla="*/ 3369007 h 4167549"/>
              <a:gd name="connsiteX1503" fmla="*/ 2553524 w 10890933"/>
              <a:gd name="connsiteY1503" fmla="*/ 3360795 h 4167549"/>
              <a:gd name="connsiteX1504" fmla="*/ 2560300 w 10890933"/>
              <a:gd name="connsiteY1504" fmla="*/ 3364816 h 4167549"/>
              <a:gd name="connsiteX1505" fmla="*/ 2547663 w 10890933"/>
              <a:gd name="connsiteY1505" fmla="*/ 3379066 h 4167549"/>
              <a:gd name="connsiteX1506" fmla="*/ 2531208 w 10890933"/>
              <a:gd name="connsiteY1506" fmla="*/ 3374657 h 4167549"/>
              <a:gd name="connsiteX1507" fmla="*/ 2553524 w 10890933"/>
              <a:gd name="connsiteY1507" fmla="*/ 3360795 h 4167549"/>
              <a:gd name="connsiteX1508" fmla="*/ 4788761 w 10890933"/>
              <a:gd name="connsiteY1508" fmla="*/ 3357882 h 4167549"/>
              <a:gd name="connsiteX1509" fmla="*/ 4784352 w 10890933"/>
              <a:gd name="connsiteY1509" fmla="*/ 3374337 h 4167549"/>
              <a:gd name="connsiteX1510" fmla="*/ 4741010 w 10890933"/>
              <a:gd name="connsiteY1510" fmla="*/ 3371542 h 4167549"/>
              <a:gd name="connsiteX1511" fmla="*/ 4751442 w 10890933"/>
              <a:gd name="connsiteY1511" fmla="*/ 3365519 h 4167549"/>
              <a:gd name="connsiteX1512" fmla="*/ 4759670 w 10890933"/>
              <a:gd name="connsiteY1512" fmla="*/ 3367724 h 4167549"/>
              <a:gd name="connsiteX1513" fmla="*/ 4788761 w 10890933"/>
              <a:gd name="connsiteY1513" fmla="*/ 3357882 h 4167549"/>
              <a:gd name="connsiteX1514" fmla="*/ 5031277 w 10890933"/>
              <a:gd name="connsiteY1514" fmla="*/ 3357831 h 4167549"/>
              <a:gd name="connsiteX1515" fmla="*/ 5052121 w 10890933"/>
              <a:gd name="connsiteY1515" fmla="*/ 3362314 h 4167549"/>
              <a:gd name="connsiteX1516" fmla="*/ 5031257 w 10890933"/>
              <a:gd name="connsiteY1516" fmla="*/ 3374360 h 4167549"/>
              <a:gd name="connsiteX1517" fmla="*/ 5033461 w 10890933"/>
              <a:gd name="connsiteY1517" fmla="*/ 3366132 h 4167549"/>
              <a:gd name="connsiteX1518" fmla="*/ 5012597 w 10890933"/>
              <a:gd name="connsiteY1518" fmla="*/ 3378178 h 4167549"/>
              <a:gd name="connsiteX1519" fmla="*/ 5017006 w 10890933"/>
              <a:gd name="connsiteY1519" fmla="*/ 3361723 h 4167549"/>
              <a:gd name="connsiteX1520" fmla="*/ 5008779 w 10890933"/>
              <a:gd name="connsiteY1520" fmla="*/ 3359518 h 4167549"/>
              <a:gd name="connsiteX1521" fmla="*/ 5031277 w 10890933"/>
              <a:gd name="connsiteY1521" fmla="*/ 3357831 h 4167549"/>
              <a:gd name="connsiteX1522" fmla="*/ 4623180 w 10890933"/>
              <a:gd name="connsiteY1522" fmla="*/ 3357606 h 4167549"/>
              <a:gd name="connsiteX1523" fmla="*/ 4654032 w 10890933"/>
              <a:gd name="connsiteY1523" fmla="*/ 3383509 h 4167549"/>
              <a:gd name="connsiteX1524" fmla="*/ 4636403 w 10890933"/>
              <a:gd name="connsiteY1524" fmla="*/ 3378785 h 4167549"/>
              <a:gd name="connsiteX1525" fmla="*/ 4616567 w 10890933"/>
              <a:gd name="connsiteY1525" fmla="*/ 3382289 h 4167549"/>
              <a:gd name="connsiteX1526" fmla="*/ 4625383 w 10890933"/>
              <a:gd name="connsiteY1526" fmla="*/ 3384651 h 4167549"/>
              <a:gd name="connsiteX1527" fmla="*/ 4618121 w 10890933"/>
              <a:gd name="connsiteY1527" fmla="*/ 3375689 h 4167549"/>
              <a:gd name="connsiteX1528" fmla="*/ 4627587 w 10890933"/>
              <a:gd name="connsiteY1528" fmla="*/ 3376423 h 4167549"/>
              <a:gd name="connsiteX1529" fmla="*/ 4617395 w 10890933"/>
              <a:gd name="connsiteY1529" fmla="*/ 3374795 h 4167549"/>
              <a:gd name="connsiteX1530" fmla="*/ 4618121 w 10890933"/>
              <a:gd name="connsiteY1530" fmla="*/ 3375689 h 4167549"/>
              <a:gd name="connsiteX1531" fmla="*/ 4610230 w 10890933"/>
              <a:gd name="connsiteY1531" fmla="*/ 3375078 h 4167549"/>
              <a:gd name="connsiteX1532" fmla="*/ 4594526 w 10890933"/>
              <a:gd name="connsiteY1532" fmla="*/ 3394019 h 4167549"/>
              <a:gd name="connsiteX1533" fmla="*/ 4587915 w 10890933"/>
              <a:gd name="connsiteY1533" fmla="*/ 3383430 h 4167549"/>
              <a:gd name="connsiteX1534" fmla="*/ 4598935 w 10890933"/>
              <a:gd name="connsiteY1534" fmla="*/ 3377564 h 4167549"/>
              <a:gd name="connsiteX1535" fmla="*/ 4590119 w 10890933"/>
              <a:gd name="connsiteY1535" fmla="*/ 3375202 h 4167549"/>
              <a:gd name="connsiteX1536" fmla="*/ 4623180 w 10890933"/>
              <a:gd name="connsiteY1536" fmla="*/ 3357606 h 4167549"/>
              <a:gd name="connsiteX1537" fmla="*/ 5000552 w 10890933"/>
              <a:gd name="connsiteY1537" fmla="*/ 3357314 h 4167549"/>
              <a:gd name="connsiteX1538" fmla="*/ 5004370 w 10890933"/>
              <a:gd name="connsiteY1538" fmla="*/ 3375973 h 4167549"/>
              <a:gd name="connsiteX1539" fmla="*/ 4993938 w 10890933"/>
              <a:gd name="connsiteY1539" fmla="*/ 3381997 h 4167549"/>
              <a:gd name="connsiteX1540" fmla="*/ 4987915 w 10890933"/>
              <a:gd name="connsiteY1540" fmla="*/ 3371564 h 4167549"/>
              <a:gd name="connsiteX1541" fmla="*/ 4979688 w 10890933"/>
              <a:gd name="connsiteY1541" fmla="*/ 3369360 h 4167549"/>
              <a:gd name="connsiteX1542" fmla="*/ 5000552 w 10890933"/>
              <a:gd name="connsiteY1542" fmla="*/ 3357314 h 4167549"/>
              <a:gd name="connsiteX1543" fmla="*/ 5454297 w 10890933"/>
              <a:gd name="connsiteY1543" fmla="*/ 3357300 h 4167549"/>
              <a:gd name="connsiteX1544" fmla="*/ 5453731 w 10890933"/>
              <a:gd name="connsiteY1544" fmla="*/ 3358593 h 4167549"/>
              <a:gd name="connsiteX1545" fmla="*/ 5445805 w 10890933"/>
              <a:gd name="connsiteY1545" fmla="*/ 3357572 h 4167549"/>
              <a:gd name="connsiteX1546" fmla="*/ 5468325 w 10890933"/>
              <a:gd name="connsiteY1546" fmla="*/ 3356851 h 4167549"/>
              <a:gd name="connsiteX1547" fmla="*/ 5468220 w 10890933"/>
              <a:gd name="connsiteY1547" fmla="*/ 3356965 h 4167549"/>
              <a:gd name="connsiteX1548" fmla="*/ 5468000 w 10890933"/>
              <a:gd name="connsiteY1548" fmla="*/ 3356862 h 4167549"/>
              <a:gd name="connsiteX1549" fmla="*/ 2477374 w 10890933"/>
              <a:gd name="connsiteY1549" fmla="*/ 3356511 h 4167549"/>
              <a:gd name="connsiteX1550" fmla="*/ 2484728 w 10890933"/>
              <a:gd name="connsiteY1550" fmla="*/ 3358895 h 4167549"/>
              <a:gd name="connsiteX1551" fmla="*/ 2506526 w 10890933"/>
              <a:gd name="connsiteY1551" fmla="*/ 3368044 h 4167549"/>
              <a:gd name="connsiteX1552" fmla="*/ 2473616 w 10890933"/>
              <a:gd name="connsiteY1552" fmla="*/ 3359225 h 4167549"/>
              <a:gd name="connsiteX1553" fmla="*/ 2477374 w 10890933"/>
              <a:gd name="connsiteY1553" fmla="*/ 3356511 h 4167549"/>
              <a:gd name="connsiteX1554" fmla="*/ 5695715 w 10890933"/>
              <a:gd name="connsiteY1554" fmla="*/ 3356264 h 4167549"/>
              <a:gd name="connsiteX1555" fmla="*/ 5706154 w 10890933"/>
              <a:gd name="connsiteY1555" fmla="*/ 3356786 h 4167549"/>
              <a:gd name="connsiteX1556" fmla="*/ 5703950 w 10890933"/>
              <a:gd name="connsiteY1556" fmla="*/ 3365014 h 4167549"/>
              <a:gd name="connsiteX1557" fmla="*/ 5684261 w 10890933"/>
              <a:gd name="connsiteY1557" fmla="*/ 3368556 h 4167549"/>
              <a:gd name="connsiteX1558" fmla="*/ 4914551 w 10890933"/>
              <a:gd name="connsiteY1558" fmla="*/ 3355093 h 4167549"/>
              <a:gd name="connsiteX1559" fmla="*/ 4934300 w 10890933"/>
              <a:gd name="connsiteY1559" fmla="*/ 3357748 h 4167549"/>
              <a:gd name="connsiteX1560" fmla="*/ 4929615 w 10890933"/>
              <a:gd name="connsiteY1560" fmla="*/ 3375232 h 4167549"/>
              <a:gd name="connsiteX1561" fmla="*/ 4904160 w 10890933"/>
              <a:gd name="connsiteY1561" fmla="*/ 3368411 h 4167549"/>
              <a:gd name="connsiteX1562" fmla="*/ 4897798 w 10890933"/>
              <a:gd name="connsiteY1562" fmla="*/ 3366707 h 4167549"/>
              <a:gd name="connsiteX1563" fmla="*/ 4906502 w 10890933"/>
              <a:gd name="connsiteY1563" fmla="*/ 3359671 h 4167549"/>
              <a:gd name="connsiteX1564" fmla="*/ 4914551 w 10890933"/>
              <a:gd name="connsiteY1564" fmla="*/ 3355093 h 4167549"/>
              <a:gd name="connsiteX1565" fmla="*/ 5631810 w 10890933"/>
              <a:gd name="connsiteY1565" fmla="*/ 3354502 h 4167549"/>
              <a:gd name="connsiteX1566" fmla="*/ 5637833 w 10890933"/>
              <a:gd name="connsiteY1566" fmla="*/ 3364934 h 4167549"/>
              <a:gd name="connsiteX1567" fmla="*/ 5613151 w 10890933"/>
              <a:gd name="connsiteY1567" fmla="*/ 3358321 h 4167549"/>
              <a:gd name="connsiteX1568" fmla="*/ 5631810 w 10890933"/>
              <a:gd name="connsiteY1568" fmla="*/ 3354502 h 4167549"/>
              <a:gd name="connsiteX1569" fmla="*/ 5631810 w 10890933"/>
              <a:gd name="connsiteY1569" fmla="*/ 3354502 h 4167549"/>
              <a:gd name="connsiteX1570" fmla="*/ 5665704 w 10890933"/>
              <a:gd name="connsiteY1570" fmla="*/ 3354766 h 4167549"/>
              <a:gd name="connsiteX1571" fmla="*/ 5692086 w 10890933"/>
              <a:gd name="connsiteY1571" fmla="*/ 3356083 h 4167549"/>
              <a:gd name="connsiteX1572" fmla="*/ 5666778 w 10890933"/>
              <a:gd name="connsiteY1572" fmla="*/ 3363872 h 4167549"/>
              <a:gd name="connsiteX1573" fmla="*/ 5673316 w 10890933"/>
              <a:gd name="connsiteY1573" fmla="*/ 3374442 h 4167549"/>
              <a:gd name="connsiteX1574" fmla="*/ 5653628 w 10890933"/>
              <a:gd name="connsiteY1574" fmla="*/ 3377985 h 4167549"/>
              <a:gd name="connsiteX1575" fmla="*/ 5631810 w 10890933"/>
              <a:gd name="connsiteY1575" fmla="*/ 3354502 h 4167549"/>
              <a:gd name="connsiteX1576" fmla="*/ 5697414 w 10890933"/>
              <a:gd name="connsiteY1576" fmla="*/ 3354444 h 4167549"/>
              <a:gd name="connsiteX1577" fmla="*/ 5695715 w 10890933"/>
              <a:gd name="connsiteY1577" fmla="*/ 3356264 h 4167549"/>
              <a:gd name="connsiteX1578" fmla="*/ 5692086 w 10890933"/>
              <a:gd name="connsiteY1578" fmla="*/ 3356083 h 4167549"/>
              <a:gd name="connsiteX1579" fmla="*/ 5120442 w 10890933"/>
              <a:gd name="connsiteY1579" fmla="*/ 3354166 h 4167549"/>
              <a:gd name="connsiteX1580" fmla="*/ 5136421 w 10890933"/>
              <a:gd name="connsiteY1580" fmla="*/ 3356242 h 4167549"/>
              <a:gd name="connsiteX1581" fmla="*/ 5142426 w 10890933"/>
              <a:gd name="connsiteY1581" fmla="*/ 3360056 h 4167549"/>
              <a:gd name="connsiteX1582" fmla="*/ 5142476 w 10890933"/>
              <a:gd name="connsiteY1582" fmla="*/ 3360958 h 4167549"/>
              <a:gd name="connsiteX1583" fmla="*/ 5136897 w 10890933"/>
              <a:gd name="connsiteY1583" fmla="*/ 3358575 h 4167549"/>
              <a:gd name="connsiteX1584" fmla="*/ 5129248 w 10890933"/>
              <a:gd name="connsiteY1584" fmla="*/ 3362991 h 4167549"/>
              <a:gd name="connsiteX1585" fmla="*/ 5124485 w 10890933"/>
              <a:gd name="connsiteY1585" fmla="*/ 3359657 h 4167549"/>
              <a:gd name="connsiteX1586" fmla="*/ 5120442 w 10890933"/>
              <a:gd name="connsiteY1586" fmla="*/ 3354166 h 4167549"/>
              <a:gd name="connsiteX1587" fmla="*/ 7814450 w 10890933"/>
              <a:gd name="connsiteY1587" fmla="*/ 3354030 h 4167549"/>
              <a:gd name="connsiteX1588" fmla="*/ 7818840 w 10890933"/>
              <a:gd name="connsiteY1588" fmla="*/ 3354104 h 4167549"/>
              <a:gd name="connsiteX1589" fmla="*/ 7824863 w 10890933"/>
              <a:gd name="connsiteY1589" fmla="*/ 3364536 h 4167549"/>
              <a:gd name="connsiteX1590" fmla="*/ 7806203 w 10890933"/>
              <a:gd name="connsiteY1590" fmla="*/ 3368354 h 4167549"/>
              <a:gd name="connsiteX1591" fmla="*/ 7808408 w 10890933"/>
              <a:gd name="connsiteY1591" fmla="*/ 3360127 h 4167549"/>
              <a:gd name="connsiteX1592" fmla="*/ 7814450 w 10890933"/>
              <a:gd name="connsiteY1592" fmla="*/ 3354030 h 4167549"/>
              <a:gd name="connsiteX1593" fmla="*/ 2582810 w 10890933"/>
              <a:gd name="connsiteY1593" fmla="*/ 3353211 h 4167549"/>
              <a:gd name="connsiteX1594" fmla="*/ 2600910 w 10890933"/>
              <a:gd name="connsiteY1594" fmla="*/ 3358061 h 4167549"/>
              <a:gd name="connsiteX1595" fmla="*/ 2596501 w 10890933"/>
              <a:gd name="connsiteY1595" fmla="*/ 3374516 h 4167549"/>
              <a:gd name="connsiteX1596" fmla="*/ 2567145 w 10890933"/>
              <a:gd name="connsiteY1596" fmla="*/ 3375468 h 4167549"/>
              <a:gd name="connsiteX1597" fmla="*/ 2582810 w 10890933"/>
              <a:gd name="connsiteY1597" fmla="*/ 3353211 h 4167549"/>
              <a:gd name="connsiteX1598" fmla="*/ 5870487 w 10890933"/>
              <a:gd name="connsiteY1598" fmla="*/ 3352320 h 4167549"/>
              <a:gd name="connsiteX1599" fmla="*/ 5878715 w 10890933"/>
              <a:gd name="connsiteY1599" fmla="*/ 3354525 h 4167549"/>
              <a:gd name="connsiteX1600" fmla="*/ 5866078 w 10890933"/>
              <a:gd name="connsiteY1600" fmla="*/ 3368775 h 4167549"/>
              <a:gd name="connsiteX1601" fmla="*/ 5868283 w 10890933"/>
              <a:gd name="connsiteY1601" fmla="*/ 3360548 h 4167549"/>
              <a:gd name="connsiteX1602" fmla="*/ 5870487 w 10890933"/>
              <a:gd name="connsiteY1602" fmla="*/ 3352320 h 4167549"/>
              <a:gd name="connsiteX1603" fmla="*/ 5804370 w 10890933"/>
              <a:gd name="connsiteY1603" fmla="*/ 3352241 h 4167549"/>
              <a:gd name="connsiteX1604" fmla="*/ 5810026 w 10890933"/>
              <a:gd name="connsiteY1604" fmla="*/ 3364043 h 4167549"/>
              <a:gd name="connsiteX1605" fmla="*/ 5807453 w 10890933"/>
              <a:gd name="connsiteY1605" fmla="*/ 3373644 h 4167549"/>
              <a:gd name="connsiteX1606" fmla="*/ 5796654 w 10890933"/>
              <a:gd name="connsiteY1606" fmla="*/ 3381038 h 4167549"/>
              <a:gd name="connsiteX1607" fmla="*/ 5790998 w 10890933"/>
              <a:gd name="connsiteY1607" fmla="*/ 3369235 h 4167549"/>
              <a:gd name="connsiteX1608" fmla="*/ 5801799 w 10890933"/>
              <a:gd name="connsiteY1608" fmla="*/ 3361839 h 4167549"/>
              <a:gd name="connsiteX1609" fmla="*/ 5804150 w 10890933"/>
              <a:gd name="connsiteY1609" fmla="*/ 3353062 h 4167549"/>
              <a:gd name="connsiteX1610" fmla="*/ 5456753 w 10890933"/>
              <a:gd name="connsiteY1610" fmla="*/ 3351687 h 4167549"/>
              <a:gd name="connsiteX1611" fmla="*/ 5468000 w 10890933"/>
              <a:gd name="connsiteY1611" fmla="*/ 3356862 h 4167549"/>
              <a:gd name="connsiteX1612" fmla="*/ 5454297 w 10890933"/>
              <a:gd name="connsiteY1612" fmla="*/ 3357300 h 4167549"/>
              <a:gd name="connsiteX1613" fmla="*/ 5152964 w 10890933"/>
              <a:gd name="connsiteY1613" fmla="*/ 3351581 h 4167549"/>
              <a:gd name="connsiteX1614" fmla="*/ 5172012 w 10890933"/>
              <a:gd name="connsiteY1614" fmla="*/ 3359166 h 4167549"/>
              <a:gd name="connsiteX1615" fmla="*/ 5176679 w 10890933"/>
              <a:gd name="connsiteY1615" fmla="*/ 3358211 h 4167549"/>
              <a:gd name="connsiteX1616" fmla="*/ 5178035 w 10890933"/>
              <a:gd name="connsiteY1616" fmla="*/ 3369598 h 4167549"/>
              <a:gd name="connsiteX1617" fmla="*/ 5155557 w 10890933"/>
              <a:gd name="connsiteY1617" fmla="*/ 3354756 h 4167549"/>
              <a:gd name="connsiteX1618" fmla="*/ 5152964 w 10890933"/>
              <a:gd name="connsiteY1618" fmla="*/ 3351581 h 4167549"/>
              <a:gd name="connsiteX1619" fmla="*/ 4800001 w 10890933"/>
              <a:gd name="connsiteY1619" fmla="*/ 3349873 h 4167549"/>
              <a:gd name="connsiteX1620" fmla="*/ 4802780 w 10890933"/>
              <a:gd name="connsiteY1620" fmla="*/ 3356473 h 4167549"/>
              <a:gd name="connsiteX1621" fmla="*/ 4803734 w 10890933"/>
              <a:gd name="connsiteY1621" fmla="*/ 3368738 h 4167549"/>
              <a:gd name="connsiteX1622" fmla="*/ 4803034 w 10890933"/>
              <a:gd name="connsiteY1622" fmla="*/ 3368252 h 4167549"/>
              <a:gd name="connsiteX1623" fmla="*/ 4800001 w 10890933"/>
              <a:gd name="connsiteY1623" fmla="*/ 3349873 h 4167549"/>
              <a:gd name="connsiteX1624" fmla="*/ 6668343 w 10890933"/>
              <a:gd name="connsiteY1624" fmla="*/ 3349866 h 4167549"/>
              <a:gd name="connsiteX1625" fmla="*/ 6684003 w 10890933"/>
              <a:gd name="connsiteY1625" fmla="*/ 3360427 h 4167549"/>
              <a:gd name="connsiteX1626" fmla="*/ 6652001 w 10890933"/>
              <a:gd name="connsiteY1626" fmla="*/ 3371252 h 4167549"/>
              <a:gd name="connsiteX1627" fmla="*/ 6649576 w 10890933"/>
              <a:gd name="connsiteY1627" fmla="*/ 3380304 h 4167549"/>
              <a:gd name="connsiteX1628" fmla="*/ 6631475 w 10890933"/>
              <a:gd name="connsiteY1628" fmla="*/ 3375454 h 4167549"/>
              <a:gd name="connsiteX1629" fmla="*/ 6654589 w 10890933"/>
              <a:gd name="connsiteY1629" fmla="*/ 3352545 h 4167549"/>
              <a:gd name="connsiteX1630" fmla="*/ 6668343 w 10890933"/>
              <a:gd name="connsiteY1630" fmla="*/ 3349866 h 4167549"/>
              <a:gd name="connsiteX1631" fmla="*/ 5578183 w 10890933"/>
              <a:gd name="connsiteY1631" fmla="*/ 3348951 h 4167549"/>
              <a:gd name="connsiteX1632" fmla="*/ 5589398 w 10890933"/>
              <a:gd name="connsiteY1632" fmla="*/ 3378411 h 4167549"/>
              <a:gd name="connsiteX1633" fmla="*/ 5577392 w 10890933"/>
              <a:gd name="connsiteY1633" fmla="*/ 3365273 h 4167549"/>
              <a:gd name="connsiteX1634" fmla="*/ 5566528 w 10890933"/>
              <a:gd name="connsiteY1634" fmla="*/ 3366919 h 4167549"/>
              <a:gd name="connsiteX1635" fmla="*/ 5574588 w 10890933"/>
              <a:gd name="connsiteY1635" fmla="*/ 3357909 h 4167549"/>
              <a:gd name="connsiteX1636" fmla="*/ 5578183 w 10890933"/>
              <a:gd name="connsiteY1636" fmla="*/ 3348951 h 4167549"/>
              <a:gd name="connsiteX1637" fmla="*/ 4864079 w 10890933"/>
              <a:gd name="connsiteY1637" fmla="*/ 3348304 h 4167549"/>
              <a:gd name="connsiteX1638" fmla="*/ 4881050 w 10890933"/>
              <a:gd name="connsiteY1638" fmla="*/ 3352851 h 4167549"/>
              <a:gd name="connsiteX1639" fmla="*/ 4884681 w 10890933"/>
              <a:gd name="connsiteY1639" fmla="*/ 3348847 h 4167549"/>
              <a:gd name="connsiteX1640" fmla="*/ 4886829 w 10890933"/>
              <a:gd name="connsiteY1640" fmla="*/ 3356741 h 4167549"/>
              <a:gd name="connsiteX1641" fmla="*/ 4876562 w 10890933"/>
              <a:gd name="connsiteY1641" fmla="*/ 3370077 h 4167549"/>
              <a:gd name="connsiteX1642" fmla="*/ 4861737 w 10890933"/>
              <a:gd name="connsiteY1642" fmla="*/ 3357044 h 4167549"/>
              <a:gd name="connsiteX1643" fmla="*/ 4855378 w 10890933"/>
              <a:gd name="connsiteY1643" fmla="*/ 3368024 h 4167549"/>
              <a:gd name="connsiteX1644" fmla="*/ 4860901 w 10890933"/>
              <a:gd name="connsiteY1644" fmla="*/ 3368394 h 4167549"/>
              <a:gd name="connsiteX1645" fmla="*/ 4854858 w 10890933"/>
              <a:gd name="connsiteY1645" fmla="*/ 3368921 h 4167549"/>
              <a:gd name="connsiteX1646" fmla="*/ 4851164 w 10890933"/>
              <a:gd name="connsiteY1646" fmla="*/ 3375294 h 4167549"/>
              <a:gd name="connsiteX1647" fmla="*/ 4816461 w 10890933"/>
              <a:gd name="connsiteY1647" fmla="*/ 3372267 h 4167549"/>
              <a:gd name="connsiteX1648" fmla="*/ 4811718 w 10890933"/>
              <a:gd name="connsiteY1648" fmla="*/ 3372682 h 4167549"/>
              <a:gd name="connsiteX1649" fmla="*/ 4805116 w 10890933"/>
              <a:gd name="connsiteY1649" fmla="*/ 3381695 h 4167549"/>
              <a:gd name="connsiteX1650" fmla="*/ 4801460 w 10890933"/>
              <a:gd name="connsiteY1650" fmla="*/ 3378371 h 4167549"/>
              <a:gd name="connsiteX1651" fmla="*/ 4808186 w 10890933"/>
              <a:gd name="connsiteY1651" fmla="*/ 3371829 h 4167549"/>
              <a:gd name="connsiteX1652" fmla="*/ 4804315 w 10890933"/>
              <a:gd name="connsiteY1652" fmla="*/ 3369142 h 4167549"/>
              <a:gd name="connsiteX1653" fmla="*/ 4811823 w 10890933"/>
              <a:gd name="connsiteY1653" fmla="*/ 3361971 h 4167549"/>
              <a:gd name="connsiteX1654" fmla="*/ 4864079 w 10890933"/>
              <a:gd name="connsiteY1654" fmla="*/ 3348304 h 4167549"/>
              <a:gd name="connsiteX1655" fmla="*/ 5439782 w 10890933"/>
              <a:gd name="connsiteY1655" fmla="*/ 3347139 h 4167549"/>
              <a:gd name="connsiteX1656" fmla="*/ 5435373 w 10890933"/>
              <a:gd name="connsiteY1656" fmla="*/ 3363594 h 4167549"/>
              <a:gd name="connsiteX1657" fmla="*/ 5410690 w 10890933"/>
              <a:gd name="connsiteY1657" fmla="*/ 3356981 h 4167549"/>
              <a:gd name="connsiteX1658" fmla="*/ 5439782 w 10890933"/>
              <a:gd name="connsiteY1658" fmla="*/ 3347139 h 4167549"/>
              <a:gd name="connsiteX1659" fmla="*/ 5202794 w 10890933"/>
              <a:gd name="connsiteY1659" fmla="*/ 3347130 h 4167549"/>
              <a:gd name="connsiteX1660" fmla="*/ 5207230 w 10890933"/>
              <a:gd name="connsiteY1660" fmla="*/ 3356807 h 4167549"/>
              <a:gd name="connsiteX1661" fmla="*/ 5206642 w 10890933"/>
              <a:gd name="connsiteY1661" fmla="*/ 3357511 h 4167549"/>
              <a:gd name="connsiteX1662" fmla="*/ 5205833 w 10890933"/>
              <a:gd name="connsiteY1662" fmla="*/ 3357645 h 4167549"/>
              <a:gd name="connsiteX1663" fmla="*/ 5203066 w 10890933"/>
              <a:gd name="connsiteY1663" fmla="*/ 3358530 h 4167549"/>
              <a:gd name="connsiteX1664" fmla="*/ 5200369 w 10890933"/>
              <a:gd name="connsiteY1664" fmla="*/ 3356182 h 4167549"/>
              <a:gd name="connsiteX1665" fmla="*/ 5201190 w 10890933"/>
              <a:gd name="connsiteY1665" fmla="*/ 3359129 h 4167549"/>
              <a:gd name="connsiteX1666" fmla="*/ 5203066 w 10890933"/>
              <a:gd name="connsiteY1666" fmla="*/ 3358530 h 4167549"/>
              <a:gd name="connsiteX1667" fmla="*/ 5204643 w 10890933"/>
              <a:gd name="connsiteY1667" fmla="*/ 3359903 h 4167549"/>
              <a:gd name="connsiteX1668" fmla="*/ 5206642 w 10890933"/>
              <a:gd name="connsiteY1668" fmla="*/ 3357511 h 4167549"/>
              <a:gd name="connsiteX1669" fmla="*/ 5212116 w 10890933"/>
              <a:gd name="connsiteY1669" fmla="*/ 3356600 h 4167549"/>
              <a:gd name="connsiteX1670" fmla="*/ 5217853 w 10890933"/>
              <a:gd name="connsiteY1670" fmla="*/ 3360867 h 4167549"/>
              <a:gd name="connsiteX1671" fmla="*/ 5246505 w 10890933"/>
              <a:gd name="connsiteY1671" fmla="*/ 3358843 h 4167549"/>
              <a:gd name="connsiteX1672" fmla="*/ 5244080 w 10890933"/>
              <a:gd name="connsiteY1672" fmla="*/ 3367894 h 4167549"/>
              <a:gd name="connsiteX1673" fmla="*/ 5226596 w 10890933"/>
              <a:gd name="connsiteY1673" fmla="*/ 3363209 h 4167549"/>
              <a:gd name="connsiteX1674" fmla="*/ 5224171 w 10890933"/>
              <a:gd name="connsiteY1674" fmla="*/ 3372258 h 4167549"/>
              <a:gd name="connsiteX1675" fmla="*/ 5186778 w 10890933"/>
              <a:gd name="connsiteY1675" fmla="*/ 3371940 h 4167549"/>
              <a:gd name="connsiteX1676" fmla="*/ 5182886 w 10890933"/>
              <a:gd name="connsiteY1676" fmla="*/ 3351497 h 4167549"/>
              <a:gd name="connsiteX1677" fmla="*/ 5202794 w 10890933"/>
              <a:gd name="connsiteY1677" fmla="*/ 3347130 h 4167549"/>
              <a:gd name="connsiteX1678" fmla="*/ 5402336 w 10890933"/>
              <a:gd name="connsiteY1678" fmla="*/ 3347027 h 4167549"/>
              <a:gd name="connsiteX1679" fmla="*/ 5412895 w 10890933"/>
              <a:gd name="connsiteY1679" fmla="*/ 3348753 h 4167549"/>
              <a:gd name="connsiteX1680" fmla="*/ 5410288 w 10890933"/>
              <a:gd name="connsiteY1680" fmla="*/ 3350260 h 4167549"/>
              <a:gd name="connsiteX1681" fmla="*/ 5402336 w 10890933"/>
              <a:gd name="connsiteY1681" fmla="*/ 3347027 h 4167549"/>
              <a:gd name="connsiteX1682" fmla="*/ 5236599 w 10890933"/>
              <a:gd name="connsiteY1682" fmla="*/ 3346638 h 4167549"/>
              <a:gd name="connsiteX1683" fmla="*/ 5248931 w 10890933"/>
              <a:gd name="connsiteY1683" fmla="*/ 3349791 h 4167549"/>
              <a:gd name="connsiteX1684" fmla="*/ 5247718 w 10890933"/>
              <a:gd name="connsiteY1684" fmla="*/ 3354318 h 4167549"/>
              <a:gd name="connsiteX1685" fmla="*/ 5246505 w 10890933"/>
              <a:gd name="connsiteY1685" fmla="*/ 3358843 h 4167549"/>
              <a:gd name="connsiteX1686" fmla="*/ 5236599 w 10890933"/>
              <a:gd name="connsiteY1686" fmla="*/ 3346638 h 4167549"/>
              <a:gd name="connsiteX1687" fmla="*/ 6520403 w 10890933"/>
              <a:gd name="connsiteY1687" fmla="*/ 3345689 h 4167549"/>
              <a:gd name="connsiteX1688" fmla="*/ 6526426 w 10890933"/>
              <a:gd name="connsiteY1688" fmla="*/ 3356121 h 4167549"/>
              <a:gd name="connsiteX1689" fmla="*/ 6499539 w 10890933"/>
              <a:gd name="connsiteY1689" fmla="*/ 3357735 h 4167549"/>
              <a:gd name="connsiteX1690" fmla="*/ 6520403 w 10890933"/>
              <a:gd name="connsiteY1690" fmla="*/ 3345689 h 4167549"/>
              <a:gd name="connsiteX1691" fmla="*/ 5268321 w 10890933"/>
              <a:gd name="connsiteY1691" fmla="*/ 3345288 h 4167549"/>
              <a:gd name="connsiteX1692" fmla="*/ 5265749 w 10890933"/>
              <a:gd name="connsiteY1692" fmla="*/ 3354886 h 4167549"/>
              <a:gd name="connsiteX1693" fmla="*/ 5284776 w 10890933"/>
              <a:gd name="connsiteY1693" fmla="*/ 3349697 h 4167549"/>
              <a:gd name="connsiteX1694" fmla="*/ 5282204 w 10890933"/>
              <a:gd name="connsiteY1694" fmla="*/ 3359295 h 4167549"/>
              <a:gd name="connsiteX1695" fmla="*/ 5290431 w 10890933"/>
              <a:gd name="connsiteY1695" fmla="*/ 3361500 h 4167549"/>
              <a:gd name="connsiteX1696" fmla="*/ 5254949 w 10890933"/>
              <a:gd name="connsiteY1696" fmla="*/ 3362283 h 4167549"/>
              <a:gd name="connsiteX1697" fmla="*/ 5268321 w 10890933"/>
              <a:gd name="connsiteY1697" fmla="*/ 3345288 h 4167549"/>
              <a:gd name="connsiteX1698" fmla="*/ 5730240 w 10890933"/>
              <a:gd name="connsiteY1698" fmla="*/ 3345053 h 4167549"/>
              <a:gd name="connsiteX1699" fmla="*/ 5750229 w 10890933"/>
              <a:gd name="connsiteY1699" fmla="*/ 3356839 h 4167549"/>
              <a:gd name="connsiteX1700" fmla="*/ 5747656 w 10890933"/>
              <a:gd name="connsiteY1700" fmla="*/ 3366440 h 4167549"/>
              <a:gd name="connsiteX1701" fmla="*/ 5739429 w 10890933"/>
              <a:gd name="connsiteY1701" fmla="*/ 3364236 h 4167549"/>
              <a:gd name="connsiteX1702" fmla="*/ 5733774 w 10890933"/>
              <a:gd name="connsiteY1702" fmla="*/ 3352430 h 4167549"/>
              <a:gd name="connsiteX1703" fmla="*/ 5733445 w 10890933"/>
              <a:gd name="connsiteY1703" fmla="*/ 3362632 h 4167549"/>
              <a:gd name="connsiteX1704" fmla="*/ 5733323 w 10890933"/>
              <a:gd name="connsiteY1704" fmla="*/ 3366457 h 4167549"/>
              <a:gd name="connsiteX1705" fmla="*/ 5728629 w 10890933"/>
              <a:gd name="connsiteY1705" fmla="*/ 3371629 h 4167549"/>
              <a:gd name="connsiteX1706" fmla="*/ 5722974 w 10890933"/>
              <a:gd name="connsiteY1706" fmla="*/ 3359826 h 4167549"/>
              <a:gd name="connsiteX1707" fmla="*/ 5730240 w 10890933"/>
              <a:gd name="connsiteY1707" fmla="*/ 3345053 h 4167549"/>
              <a:gd name="connsiteX1708" fmla="*/ 5388212 w 10890933"/>
              <a:gd name="connsiteY1708" fmla="*/ 3342140 h 4167549"/>
              <a:gd name="connsiteX1709" fmla="*/ 5400258 w 10890933"/>
              <a:gd name="connsiteY1709" fmla="*/ 3363004 h 4167549"/>
              <a:gd name="connsiteX1710" fmla="*/ 5383803 w 10890933"/>
              <a:gd name="connsiteY1710" fmla="*/ 3358595 h 4167549"/>
              <a:gd name="connsiteX1711" fmla="*/ 5388212 w 10890933"/>
              <a:gd name="connsiteY1711" fmla="*/ 3342140 h 4167549"/>
              <a:gd name="connsiteX1712" fmla="*/ 5798347 w 10890933"/>
              <a:gd name="connsiteY1712" fmla="*/ 3341808 h 4167549"/>
              <a:gd name="connsiteX1713" fmla="*/ 5804150 w 10890933"/>
              <a:gd name="connsiteY1713" fmla="*/ 3353062 h 4167549"/>
              <a:gd name="connsiteX1714" fmla="*/ 5780420 w 10890933"/>
              <a:gd name="connsiteY1714" fmla="*/ 3375805 h 4167549"/>
              <a:gd name="connsiteX1715" fmla="*/ 5785270 w 10890933"/>
              <a:gd name="connsiteY1715" fmla="*/ 3357705 h 4167549"/>
              <a:gd name="connsiteX1716" fmla="*/ 5777042 w 10890933"/>
              <a:gd name="connsiteY1716" fmla="*/ 3355500 h 4167549"/>
              <a:gd name="connsiteX1717" fmla="*/ 5766390 w 10890933"/>
              <a:gd name="connsiteY1717" fmla="*/ 3362347 h 4167549"/>
              <a:gd name="connsiteX1718" fmla="*/ 5755737 w 10890933"/>
              <a:gd name="connsiteY1718" fmla="*/ 3369191 h 4167549"/>
              <a:gd name="connsiteX1719" fmla="*/ 5752360 w 10890933"/>
              <a:gd name="connsiteY1719" fmla="*/ 3348886 h 4167549"/>
              <a:gd name="connsiteX1720" fmla="*/ 5798347 w 10890933"/>
              <a:gd name="connsiteY1720" fmla="*/ 3341808 h 4167549"/>
              <a:gd name="connsiteX1721" fmla="*/ 5551443 w 10890933"/>
              <a:gd name="connsiteY1721" fmla="*/ 3341786 h 4167549"/>
              <a:gd name="connsiteX1722" fmla="*/ 5560357 w 10890933"/>
              <a:gd name="connsiteY1722" fmla="*/ 3344175 h 4167549"/>
              <a:gd name="connsiteX1723" fmla="*/ 5567067 w 10890933"/>
              <a:gd name="connsiteY1723" fmla="*/ 3354791 h 4167549"/>
              <a:gd name="connsiteX1724" fmla="*/ 5558152 w 10890933"/>
              <a:gd name="connsiteY1724" fmla="*/ 3352402 h 4167549"/>
              <a:gd name="connsiteX1725" fmla="*/ 5561794 w 10890933"/>
              <a:gd name="connsiteY1725" fmla="*/ 3367637 h 4167549"/>
              <a:gd name="connsiteX1726" fmla="*/ 5553743 w 10890933"/>
              <a:gd name="connsiteY1726" fmla="*/ 3368857 h 4167549"/>
              <a:gd name="connsiteX1727" fmla="*/ 5544829 w 10890933"/>
              <a:gd name="connsiteY1727" fmla="*/ 3366469 h 4167549"/>
              <a:gd name="connsiteX1728" fmla="*/ 5551443 w 10890933"/>
              <a:gd name="connsiteY1728" fmla="*/ 3341786 h 4167549"/>
              <a:gd name="connsiteX1729" fmla="*/ 5304814 w 10890933"/>
              <a:gd name="connsiteY1729" fmla="*/ 3340735 h 4167549"/>
              <a:gd name="connsiteX1730" fmla="*/ 5309458 w 10890933"/>
              <a:gd name="connsiteY1730" fmla="*/ 3356311 h 4167549"/>
              <a:gd name="connsiteX1731" fmla="*/ 5293003 w 10890933"/>
              <a:gd name="connsiteY1731" fmla="*/ 3351901 h 4167549"/>
              <a:gd name="connsiteX1732" fmla="*/ 5284776 w 10890933"/>
              <a:gd name="connsiteY1732" fmla="*/ 3349697 h 4167549"/>
              <a:gd name="connsiteX1733" fmla="*/ 5295208 w 10890933"/>
              <a:gd name="connsiteY1733" fmla="*/ 3343674 h 4167549"/>
              <a:gd name="connsiteX1734" fmla="*/ 5304814 w 10890933"/>
              <a:gd name="connsiteY1734" fmla="*/ 3340735 h 4167549"/>
              <a:gd name="connsiteX1735" fmla="*/ 2641134 w 10890933"/>
              <a:gd name="connsiteY1735" fmla="*/ 3340714 h 4167549"/>
              <a:gd name="connsiteX1736" fmla="*/ 2662228 w 10890933"/>
              <a:gd name="connsiteY1736" fmla="*/ 3364764 h 4167549"/>
              <a:gd name="connsiteX1737" fmla="*/ 2636535 w 10890933"/>
              <a:gd name="connsiteY1737" fmla="*/ 3357880 h 4167549"/>
              <a:gd name="connsiteX1738" fmla="*/ 2641134 w 10890933"/>
              <a:gd name="connsiteY1738" fmla="*/ 3340714 h 4167549"/>
              <a:gd name="connsiteX1739" fmla="*/ 5356288 w 10890933"/>
              <a:gd name="connsiteY1739" fmla="*/ 3339924 h 4167549"/>
              <a:gd name="connsiteX1740" fmla="*/ 5369552 w 10890933"/>
              <a:gd name="connsiteY1740" fmla="*/ 3345958 h 4167549"/>
              <a:gd name="connsiteX1741" fmla="*/ 5377780 w 10890933"/>
              <a:gd name="connsiteY1741" fmla="*/ 3348163 h 4167549"/>
              <a:gd name="connsiteX1742" fmla="*/ 5375575 w 10890933"/>
              <a:gd name="connsiteY1742" fmla="*/ 3356390 h 4167549"/>
              <a:gd name="connsiteX1743" fmla="*/ 5356916 w 10890933"/>
              <a:gd name="connsiteY1743" fmla="*/ 3360208 h 4167549"/>
              <a:gd name="connsiteX1744" fmla="*/ 5353097 w 10890933"/>
              <a:gd name="connsiteY1744" fmla="*/ 3341549 h 4167549"/>
              <a:gd name="connsiteX1745" fmla="*/ 5356288 w 10890933"/>
              <a:gd name="connsiteY1745" fmla="*/ 3339924 h 4167549"/>
              <a:gd name="connsiteX1746" fmla="*/ 5502153 w 10890933"/>
              <a:gd name="connsiteY1746" fmla="*/ 3339602 h 4167549"/>
              <a:gd name="connsiteX1747" fmla="*/ 5504870 w 10890933"/>
              <a:gd name="connsiteY1747" fmla="*/ 3346943 h 4167549"/>
              <a:gd name="connsiteX1748" fmla="*/ 5524558 w 10890933"/>
              <a:gd name="connsiteY1748" fmla="*/ 3343401 h 4167549"/>
              <a:gd name="connsiteX1749" fmla="*/ 5520149 w 10890933"/>
              <a:gd name="connsiteY1749" fmla="*/ 3359856 h 4167549"/>
              <a:gd name="connsiteX1750" fmla="*/ 5502665 w 10890933"/>
              <a:gd name="connsiteY1750" fmla="*/ 3355171 h 4167549"/>
              <a:gd name="connsiteX1751" fmla="*/ 5498256 w 10890933"/>
              <a:gd name="connsiteY1751" fmla="*/ 3371626 h 4167549"/>
              <a:gd name="connsiteX1752" fmla="*/ 5480772 w 10890933"/>
              <a:gd name="connsiteY1752" fmla="*/ 3366941 h 4167549"/>
              <a:gd name="connsiteX1753" fmla="*/ 5478881 w 10890933"/>
              <a:gd name="connsiteY1753" fmla="*/ 3356513 h 4167549"/>
              <a:gd name="connsiteX1754" fmla="*/ 5468325 w 10890933"/>
              <a:gd name="connsiteY1754" fmla="*/ 3356851 h 4167549"/>
              <a:gd name="connsiteX1755" fmla="*/ 5476441 w 10890933"/>
              <a:gd name="connsiteY1755" fmla="*/ 3348144 h 4167549"/>
              <a:gd name="connsiteX1756" fmla="*/ 5496129 w 10890933"/>
              <a:gd name="connsiteY1756" fmla="*/ 3344601 h 4167549"/>
              <a:gd name="connsiteX1757" fmla="*/ 5502153 w 10890933"/>
              <a:gd name="connsiteY1757" fmla="*/ 3339602 h 4167549"/>
              <a:gd name="connsiteX1758" fmla="*/ 6547853 w 10890933"/>
              <a:gd name="connsiteY1758" fmla="*/ 3333755 h 4167549"/>
              <a:gd name="connsiteX1759" fmla="*/ 6560183 w 10890933"/>
              <a:gd name="connsiteY1759" fmla="*/ 3345328 h 4167549"/>
              <a:gd name="connsiteX1760" fmla="*/ 6531386 w 10890933"/>
              <a:gd name="connsiteY1760" fmla="*/ 3337611 h 4167549"/>
              <a:gd name="connsiteX1761" fmla="*/ 6547853 w 10890933"/>
              <a:gd name="connsiteY1761" fmla="*/ 3333755 h 4167549"/>
              <a:gd name="connsiteX1762" fmla="*/ 1233362 w 10890933"/>
              <a:gd name="connsiteY1762" fmla="*/ 3331131 h 4167549"/>
              <a:gd name="connsiteX1763" fmla="*/ 1255840 w 10890933"/>
              <a:gd name="connsiteY1763" fmla="*/ 3345972 h 4167549"/>
              <a:gd name="connsiteX1764" fmla="*/ 1218520 w 10890933"/>
              <a:gd name="connsiteY1764" fmla="*/ 3353609 h 4167549"/>
              <a:gd name="connsiteX1765" fmla="*/ 1214702 w 10890933"/>
              <a:gd name="connsiteY1765" fmla="*/ 3334949 h 4167549"/>
              <a:gd name="connsiteX1766" fmla="*/ 1233362 w 10890933"/>
              <a:gd name="connsiteY1766" fmla="*/ 3331131 h 4167549"/>
              <a:gd name="connsiteX1767" fmla="*/ 2853817 w 10890933"/>
              <a:gd name="connsiteY1767" fmla="*/ 3326624 h 4167549"/>
              <a:gd name="connsiteX1768" fmla="*/ 2871705 w 10890933"/>
              <a:gd name="connsiteY1768" fmla="*/ 3338030 h 4167549"/>
              <a:gd name="connsiteX1769" fmla="*/ 2838795 w 10890933"/>
              <a:gd name="connsiteY1769" fmla="*/ 3329211 h 4167549"/>
              <a:gd name="connsiteX1770" fmla="*/ 2853817 w 10890933"/>
              <a:gd name="connsiteY1770" fmla="*/ 3326624 h 4167549"/>
              <a:gd name="connsiteX1771" fmla="*/ 6501053 w 10890933"/>
              <a:gd name="connsiteY1771" fmla="*/ 3324832 h 4167549"/>
              <a:gd name="connsiteX1772" fmla="*/ 6504653 w 10890933"/>
              <a:gd name="connsiteY1772" fmla="*/ 3326313 h 4167549"/>
              <a:gd name="connsiteX1773" fmla="*/ 6514931 w 10890933"/>
              <a:gd name="connsiteY1773" fmla="*/ 3333202 h 4167549"/>
              <a:gd name="connsiteX1774" fmla="*/ 6523158 w 10890933"/>
              <a:gd name="connsiteY1774" fmla="*/ 3335407 h 4167549"/>
              <a:gd name="connsiteX1775" fmla="*/ 6498476 w 10890933"/>
              <a:gd name="connsiteY1775" fmla="*/ 3328793 h 4167549"/>
              <a:gd name="connsiteX1776" fmla="*/ 6501053 w 10890933"/>
              <a:gd name="connsiteY1776" fmla="*/ 3324832 h 4167549"/>
              <a:gd name="connsiteX1777" fmla="*/ 7231514 w 10890933"/>
              <a:gd name="connsiteY1777" fmla="*/ 3324593 h 4167549"/>
              <a:gd name="connsiteX1778" fmla="*/ 7239742 w 10890933"/>
              <a:gd name="connsiteY1778" fmla="*/ 3326798 h 4167549"/>
              <a:gd name="connsiteX1779" fmla="*/ 7245765 w 10890933"/>
              <a:gd name="connsiteY1779" fmla="*/ 3337230 h 4167549"/>
              <a:gd name="connsiteX1780" fmla="*/ 7221083 w 10890933"/>
              <a:gd name="connsiteY1780" fmla="*/ 3330616 h 4167549"/>
              <a:gd name="connsiteX1781" fmla="*/ 7231514 w 10890933"/>
              <a:gd name="connsiteY1781" fmla="*/ 3324593 h 4167549"/>
              <a:gd name="connsiteX1782" fmla="*/ 2710826 w 10890933"/>
              <a:gd name="connsiteY1782" fmla="*/ 3321377 h 4167549"/>
              <a:gd name="connsiteX1783" fmla="*/ 2720082 w 10890933"/>
              <a:gd name="connsiteY1783" fmla="*/ 3323857 h 4167549"/>
              <a:gd name="connsiteX1784" fmla="*/ 2721898 w 10890933"/>
              <a:gd name="connsiteY1784" fmla="*/ 3354106 h 4167549"/>
              <a:gd name="connsiteX1785" fmla="*/ 2684873 w 10890933"/>
              <a:gd name="connsiteY1785" fmla="*/ 3344186 h 4167549"/>
              <a:gd name="connsiteX1786" fmla="*/ 2689833 w 10890933"/>
              <a:gd name="connsiteY1786" fmla="*/ 3325673 h 4167549"/>
              <a:gd name="connsiteX1787" fmla="*/ 2710826 w 10890933"/>
              <a:gd name="connsiteY1787" fmla="*/ 3321377 h 4167549"/>
              <a:gd name="connsiteX1788" fmla="*/ 4332383 w 10890933"/>
              <a:gd name="connsiteY1788" fmla="*/ 3318454 h 4167549"/>
              <a:gd name="connsiteX1789" fmla="*/ 4340062 w 10890933"/>
              <a:gd name="connsiteY1789" fmla="*/ 3320512 h 4167549"/>
              <a:gd name="connsiteX1790" fmla="*/ 4332021 w 10890933"/>
              <a:gd name="connsiteY1790" fmla="*/ 3320649 h 4167549"/>
              <a:gd name="connsiteX1791" fmla="*/ 6339103 w 10890933"/>
              <a:gd name="connsiteY1791" fmla="*/ 3314746 h 4167549"/>
              <a:gd name="connsiteX1792" fmla="*/ 6355558 w 10890933"/>
              <a:gd name="connsiteY1792" fmla="*/ 3319156 h 4167549"/>
              <a:gd name="connsiteX1793" fmla="*/ 6339103 w 10890933"/>
              <a:gd name="connsiteY1793" fmla="*/ 3314746 h 4167549"/>
              <a:gd name="connsiteX1794" fmla="*/ 7311368 w 10890933"/>
              <a:gd name="connsiteY1794" fmla="*/ 3306307 h 4167549"/>
              <a:gd name="connsiteX1795" fmla="*/ 7333295 w 10890933"/>
              <a:gd name="connsiteY1795" fmla="*/ 3323205 h 4167549"/>
              <a:gd name="connsiteX1796" fmla="*/ 7305857 w 10890933"/>
              <a:gd name="connsiteY1796" fmla="*/ 3326877 h 4167549"/>
              <a:gd name="connsiteX1797" fmla="*/ 7289401 w 10890933"/>
              <a:gd name="connsiteY1797" fmla="*/ 3322468 h 4167549"/>
              <a:gd name="connsiteX1798" fmla="*/ 7311368 w 10890933"/>
              <a:gd name="connsiteY1798" fmla="*/ 3306307 h 4167549"/>
              <a:gd name="connsiteX1799" fmla="*/ 7184354 w 10890933"/>
              <a:gd name="connsiteY1799" fmla="*/ 3303138 h 4167549"/>
              <a:gd name="connsiteX1800" fmla="*/ 7155262 w 10890933"/>
              <a:gd name="connsiteY1800" fmla="*/ 3312980 h 4167549"/>
              <a:gd name="connsiteX1801" fmla="*/ 7184354 w 10890933"/>
              <a:gd name="connsiteY1801" fmla="*/ 3303138 h 4167549"/>
              <a:gd name="connsiteX1802" fmla="*/ 6079050 w 10890933"/>
              <a:gd name="connsiteY1802" fmla="*/ 3297975 h 4167549"/>
              <a:gd name="connsiteX1803" fmla="*/ 6038440 w 10890933"/>
              <a:gd name="connsiteY1803" fmla="*/ 3304730 h 4167549"/>
              <a:gd name="connsiteX1804" fmla="*/ 6079050 w 10890933"/>
              <a:gd name="connsiteY1804" fmla="*/ 3297975 h 4167549"/>
              <a:gd name="connsiteX1805" fmla="*/ 6187972 w 10890933"/>
              <a:gd name="connsiteY1805" fmla="*/ 3291888 h 4167549"/>
              <a:gd name="connsiteX1806" fmla="*/ 6204964 w 10890933"/>
              <a:gd name="connsiteY1806" fmla="*/ 3305259 h 4167549"/>
              <a:gd name="connsiteX1807" fmla="*/ 6183563 w 10890933"/>
              <a:gd name="connsiteY1807" fmla="*/ 3308343 h 4167549"/>
              <a:gd name="connsiteX1808" fmla="*/ 6187972 w 10890933"/>
              <a:gd name="connsiteY1808" fmla="*/ 3291888 h 4167549"/>
              <a:gd name="connsiteX1809" fmla="*/ 5880301 w 10890933"/>
              <a:gd name="connsiteY1809" fmla="*/ 3291017 h 4167549"/>
              <a:gd name="connsiteX1810" fmla="*/ 5894146 w 10890933"/>
              <a:gd name="connsiteY1810" fmla="*/ 3296932 h 4167549"/>
              <a:gd name="connsiteX1811" fmla="*/ 5875487 w 10890933"/>
              <a:gd name="connsiteY1811" fmla="*/ 3300750 h 4167549"/>
              <a:gd name="connsiteX1812" fmla="*/ 5880301 w 10890933"/>
              <a:gd name="connsiteY1812" fmla="*/ 3291017 h 4167549"/>
              <a:gd name="connsiteX1813" fmla="*/ 6006910 w 10890933"/>
              <a:gd name="connsiteY1813" fmla="*/ 3287464 h 4167549"/>
              <a:gd name="connsiteX1814" fmla="*/ 6021161 w 10890933"/>
              <a:gd name="connsiteY1814" fmla="*/ 3300100 h 4167549"/>
              <a:gd name="connsiteX1815" fmla="*/ 6012933 w 10890933"/>
              <a:gd name="connsiteY1815" fmla="*/ 3297896 h 4167549"/>
              <a:gd name="connsiteX1816" fmla="*/ 6002501 w 10890933"/>
              <a:gd name="connsiteY1816" fmla="*/ 3303919 h 4167549"/>
              <a:gd name="connsiteX1817" fmla="*/ 5994274 w 10890933"/>
              <a:gd name="connsiteY1817" fmla="*/ 3301714 h 4167549"/>
              <a:gd name="connsiteX1818" fmla="*/ 6006910 w 10890933"/>
              <a:gd name="connsiteY1818" fmla="*/ 3287464 h 4167549"/>
              <a:gd name="connsiteX1819" fmla="*/ 3826403 w 10890933"/>
              <a:gd name="connsiteY1819" fmla="*/ 3284097 h 4167549"/>
              <a:gd name="connsiteX1820" fmla="*/ 3844563 w 10890933"/>
              <a:gd name="connsiteY1820" fmla="*/ 3294476 h 4167549"/>
              <a:gd name="connsiteX1821" fmla="*/ 3809449 w 10890933"/>
              <a:gd name="connsiteY1821" fmla="*/ 3293885 h 4167549"/>
              <a:gd name="connsiteX1822" fmla="*/ 3826403 w 10890933"/>
              <a:gd name="connsiteY1822" fmla="*/ 3284097 h 4167549"/>
              <a:gd name="connsiteX1823" fmla="*/ 4853047 w 10890933"/>
              <a:gd name="connsiteY1823" fmla="*/ 3282517 h 4167549"/>
              <a:gd name="connsiteX1824" fmla="*/ 4862099 w 10890933"/>
              <a:gd name="connsiteY1824" fmla="*/ 3284943 h 4167549"/>
              <a:gd name="connsiteX1825" fmla="*/ 4900504 w 10890933"/>
              <a:gd name="connsiteY1825" fmla="*/ 3286415 h 4167549"/>
              <a:gd name="connsiteX1826" fmla="*/ 4875790 w 10890933"/>
              <a:gd name="connsiteY1826" fmla="*/ 3306248 h 4167549"/>
              <a:gd name="connsiteX1827" fmla="*/ 4877994 w 10890933"/>
              <a:gd name="connsiteY1827" fmla="*/ 3298020 h 4167549"/>
              <a:gd name="connsiteX1828" fmla="*/ 4853047 w 10890933"/>
              <a:gd name="connsiteY1828" fmla="*/ 3282517 h 4167549"/>
              <a:gd name="connsiteX1829" fmla="*/ 9029937 w 10890933"/>
              <a:gd name="connsiteY1829" fmla="*/ 3281795 h 4167549"/>
              <a:gd name="connsiteX1830" fmla="*/ 9054731 w 10890933"/>
              <a:gd name="connsiteY1830" fmla="*/ 3281826 h 4167549"/>
              <a:gd name="connsiteX1831" fmla="*/ 9056384 w 10890933"/>
              <a:gd name="connsiteY1831" fmla="*/ 3288882 h 4167549"/>
              <a:gd name="connsiteX1832" fmla="*/ 9027733 w 10890933"/>
              <a:gd name="connsiteY1832" fmla="*/ 3290023 h 4167549"/>
              <a:gd name="connsiteX1833" fmla="*/ 9029937 w 10890933"/>
              <a:gd name="connsiteY1833" fmla="*/ 3281795 h 4167549"/>
              <a:gd name="connsiteX1834" fmla="*/ 5155309 w 10890933"/>
              <a:gd name="connsiteY1834" fmla="*/ 3277528 h 4167549"/>
              <a:gd name="connsiteX1835" fmla="*/ 5174296 w 10890933"/>
              <a:gd name="connsiteY1835" fmla="*/ 3284821 h 4167549"/>
              <a:gd name="connsiteX1836" fmla="*/ 5166069 w 10890933"/>
              <a:gd name="connsiteY1836" fmla="*/ 3282617 h 4167549"/>
              <a:gd name="connsiteX1837" fmla="*/ 5163864 w 10890933"/>
              <a:gd name="connsiteY1837" fmla="*/ 3290844 h 4167549"/>
              <a:gd name="connsiteX1838" fmla="*/ 5147409 w 10890933"/>
              <a:gd name="connsiteY1838" fmla="*/ 3286435 h 4167549"/>
              <a:gd name="connsiteX1839" fmla="*/ 5139182 w 10890933"/>
              <a:gd name="connsiteY1839" fmla="*/ 3284230 h 4167549"/>
              <a:gd name="connsiteX1840" fmla="*/ 5155309 w 10890933"/>
              <a:gd name="connsiteY1840" fmla="*/ 3277528 h 4167549"/>
              <a:gd name="connsiteX1841" fmla="*/ 5020425 w 10890933"/>
              <a:gd name="connsiteY1841" fmla="*/ 3277487 h 4167549"/>
              <a:gd name="connsiteX1842" fmla="*/ 5029447 w 10890933"/>
              <a:gd name="connsiteY1842" fmla="*/ 3282384 h 4167549"/>
              <a:gd name="connsiteX1843" fmla="*/ 5024486 w 10890933"/>
              <a:gd name="connsiteY1843" fmla="*/ 3300897 h 4167549"/>
              <a:gd name="connsiteX1844" fmla="*/ 4999804 w 10890933"/>
              <a:gd name="connsiteY1844" fmla="*/ 3294283 h 4167549"/>
              <a:gd name="connsiteX1845" fmla="*/ 5020425 w 10890933"/>
              <a:gd name="connsiteY1845" fmla="*/ 3277487 h 4167549"/>
              <a:gd name="connsiteX1846" fmla="*/ 5524634 w 10890933"/>
              <a:gd name="connsiteY1846" fmla="*/ 3277286 h 4167549"/>
              <a:gd name="connsiteX1847" fmla="*/ 5567977 w 10890933"/>
              <a:gd name="connsiteY1847" fmla="*/ 3280081 h 4167549"/>
              <a:gd name="connsiteX1848" fmla="*/ 5524634 w 10890933"/>
              <a:gd name="connsiteY1848" fmla="*/ 3277286 h 4167549"/>
              <a:gd name="connsiteX1849" fmla="*/ 4964710 w 10890933"/>
              <a:gd name="connsiteY1849" fmla="*/ 3277164 h 4167549"/>
              <a:gd name="connsiteX1850" fmla="*/ 4987188 w 10890933"/>
              <a:gd name="connsiteY1850" fmla="*/ 3292005 h 4167549"/>
              <a:gd name="connsiteX1851" fmla="*/ 4968530 w 10890933"/>
              <a:gd name="connsiteY1851" fmla="*/ 3295824 h 4167549"/>
              <a:gd name="connsiteX1852" fmla="*/ 4964710 w 10890933"/>
              <a:gd name="connsiteY1852" fmla="*/ 3277164 h 4167549"/>
              <a:gd name="connsiteX1853" fmla="*/ 5716813 w 10890933"/>
              <a:gd name="connsiteY1853" fmla="*/ 3275870 h 4167549"/>
              <a:gd name="connsiteX1854" fmla="*/ 5723864 w 10890933"/>
              <a:gd name="connsiteY1854" fmla="*/ 3286578 h 4167549"/>
              <a:gd name="connsiteX1855" fmla="*/ 5733121 w 10890933"/>
              <a:gd name="connsiteY1855" fmla="*/ 3289058 h 4167549"/>
              <a:gd name="connsiteX1856" fmla="*/ 5693891 w 10890933"/>
              <a:gd name="connsiteY1856" fmla="*/ 3287365 h 4167549"/>
              <a:gd name="connsiteX1857" fmla="*/ 5696095 w 10890933"/>
              <a:gd name="connsiteY1857" fmla="*/ 3279137 h 4167549"/>
              <a:gd name="connsiteX1858" fmla="*/ 5716813 w 10890933"/>
              <a:gd name="connsiteY1858" fmla="*/ 3275870 h 4167549"/>
              <a:gd name="connsiteX1859" fmla="*/ 7328416 w 10890933"/>
              <a:gd name="connsiteY1859" fmla="*/ 3275604 h 4167549"/>
              <a:gd name="connsiteX1860" fmla="*/ 7324007 w 10890933"/>
              <a:gd name="connsiteY1860" fmla="*/ 3292059 h 4167549"/>
              <a:gd name="connsiteX1861" fmla="*/ 7307552 w 10890933"/>
              <a:gd name="connsiteY1861" fmla="*/ 3287650 h 4167549"/>
              <a:gd name="connsiteX1862" fmla="*/ 7328416 w 10890933"/>
              <a:gd name="connsiteY1862" fmla="*/ 3275604 h 4167549"/>
              <a:gd name="connsiteX1863" fmla="*/ 891330 w 10890933"/>
              <a:gd name="connsiteY1863" fmla="*/ 3274756 h 4167549"/>
              <a:gd name="connsiteX1864" fmla="*/ 890739 w 10890933"/>
              <a:gd name="connsiteY1864" fmla="*/ 3309871 h 4167549"/>
              <a:gd name="connsiteX1865" fmla="*/ 874284 w 10890933"/>
              <a:gd name="connsiteY1865" fmla="*/ 3305462 h 4167549"/>
              <a:gd name="connsiteX1866" fmla="*/ 880898 w 10890933"/>
              <a:gd name="connsiteY1866" fmla="*/ 3280780 h 4167549"/>
              <a:gd name="connsiteX1867" fmla="*/ 891330 w 10890933"/>
              <a:gd name="connsiteY1867" fmla="*/ 3274756 h 4167549"/>
              <a:gd name="connsiteX1868" fmla="*/ 5112921 w 10890933"/>
              <a:gd name="connsiteY1868" fmla="*/ 3273472 h 4167549"/>
              <a:gd name="connsiteX1869" fmla="*/ 5120669 w 10890933"/>
              <a:gd name="connsiteY1869" fmla="*/ 3279270 h 4167549"/>
              <a:gd name="connsiteX1870" fmla="*/ 5116260 w 10890933"/>
              <a:gd name="connsiteY1870" fmla="*/ 3295725 h 4167549"/>
              <a:gd name="connsiteX1871" fmla="*/ 5110384 w 10890933"/>
              <a:gd name="connsiteY1871" fmla="*/ 3276514 h 4167549"/>
              <a:gd name="connsiteX1872" fmla="*/ 5112921 w 10890933"/>
              <a:gd name="connsiteY1872" fmla="*/ 3273472 h 4167549"/>
              <a:gd name="connsiteX1873" fmla="*/ 919388 w 10890933"/>
              <a:gd name="connsiteY1873" fmla="*/ 3273457 h 4167549"/>
              <a:gd name="connsiteX1874" fmla="*/ 921590 w 10890933"/>
              <a:gd name="connsiteY1874" fmla="*/ 3300501 h 4167549"/>
              <a:gd name="connsiteX1875" fmla="*/ 945836 w 10890933"/>
              <a:gd name="connsiteY1875" fmla="*/ 3280543 h 4167549"/>
              <a:gd name="connsiteX1876" fmla="*/ 956853 w 10890933"/>
              <a:gd name="connsiteY1876" fmla="*/ 3309950 h 4167549"/>
              <a:gd name="connsiteX1877" fmla="*/ 954649 w 10890933"/>
              <a:gd name="connsiteY1877" fmla="*/ 3318178 h 4167549"/>
              <a:gd name="connsiteX1878" fmla="*/ 914977 w 10890933"/>
              <a:gd name="connsiteY1878" fmla="*/ 3325184 h 4167549"/>
              <a:gd name="connsiteX1879" fmla="*/ 910570 w 10890933"/>
              <a:gd name="connsiteY1879" fmla="*/ 3306367 h 4167549"/>
              <a:gd name="connsiteX1880" fmla="*/ 895146 w 10890933"/>
              <a:gd name="connsiteY1880" fmla="*/ 3293415 h 4167549"/>
              <a:gd name="connsiteX1881" fmla="*/ 899555 w 10890933"/>
              <a:gd name="connsiteY1881" fmla="*/ 3276960 h 4167549"/>
              <a:gd name="connsiteX1882" fmla="*/ 919388 w 10890933"/>
              <a:gd name="connsiteY1882" fmla="*/ 3273457 h 4167549"/>
              <a:gd name="connsiteX1883" fmla="*/ 5093929 w 10890933"/>
              <a:gd name="connsiteY1883" fmla="*/ 3272105 h 4167549"/>
              <a:gd name="connsiteX1884" fmla="*/ 5108179 w 10890933"/>
              <a:gd name="connsiteY1884" fmla="*/ 3284742 h 4167549"/>
              <a:gd name="connsiteX1885" fmla="*/ 5095543 w 10890933"/>
              <a:gd name="connsiteY1885" fmla="*/ 3298992 h 4167549"/>
              <a:gd name="connsiteX1886" fmla="*/ 5093929 w 10890933"/>
              <a:gd name="connsiteY1886" fmla="*/ 3272105 h 4167549"/>
              <a:gd name="connsiteX1887" fmla="*/ 4819161 w 10890933"/>
              <a:gd name="connsiteY1887" fmla="*/ 3271213 h 4167549"/>
              <a:gd name="connsiteX1888" fmla="*/ 4818870 w 10890933"/>
              <a:gd name="connsiteY1888" fmla="*/ 3274735 h 4167549"/>
              <a:gd name="connsiteX1889" fmla="*/ 4816025 w 10890933"/>
              <a:gd name="connsiteY1889" fmla="*/ 3273972 h 4167549"/>
              <a:gd name="connsiteX1890" fmla="*/ 5286519 w 10890933"/>
              <a:gd name="connsiteY1890" fmla="*/ 3270800 h 4167549"/>
              <a:gd name="connsiteX1891" fmla="*/ 5287420 w 10890933"/>
              <a:gd name="connsiteY1891" fmla="*/ 3271469 h 4167549"/>
              <a:gd name="connsiteX1892" fmla="*/ 5280962 w 10890933"/>
              <a:gd name="connsiteY1892" fmla="*/ 3271932 h 4167549"/>
              <a:gd name="connsiteX1893" fmla="*/ 5253202 w 10890933"/>
              <a:gd name="connsiteY1893" fmla="*/ 3270415 h 4167549"/>
              <a:gd name="connsiteX1894" fmla="*/ 5275699 w 10890933"/>
              <a:gd name="connsiteY1894" fmla="*/ 3272309 h 4167549"/>
              <a:gd name="connsiteX1895" fmla="*/ 5280962 w 10890933"/>
              <a:gd name="connsiteY1895" fmla="*/ 3271932 h 4167549"/>
              <a:gd name="connsiteX1896" fmla="*/ 5260810 w 10890933"/>
              <a:gd name="connsiteY1896" fmla="*/ 3276036 h 4167549"/>
              <a:gd name="connsiteX1897" fmla="*/ 5230275 w 10890933"/>
              <a:gd name="connsiteY1897" fmla="*/ 3273366 h 4167549"/>
              <a:gd name="connsiteX1898" fmla="*/ 5253202 w 10890933"/>
              <a:gd name="connsiteY1898" fmla="*/ 3270415 h 4167549"/>
              <a:gd name="connsiteX1899" fmla="*/ 5314640 w 10890933"/>
              <a:gd name="connsiteY1899" fmla="*/ 3269517 h 4167549"/>
              <a:gd name="connsiteX1900" fmla="*/ 5298101 w 10890933"/>
              <a:gd name="connsiteY1900" fmla="*/ 3279414 h 4167549"/>
              <a:gd name="connsiteX1901" fmla="*/ 5287420 w 10890933"/>
              <a:gd name="connsiteY1901" fmla="*/ 3271469 h 4167549"/>
              <a:gd name="connsiteX1902" fmla="*/ 1691034 w 10890933"/>
              <a:gd name="connsiteY1902" fmla="*/ 3268581 h 4167549"/>
              <a:gd name="connsiteX1903" fmla="*/ 1715716 w 10890933"/>
              <a:gd name="connsiteY1903" fmla="*/ 3275194 h 4167549"/>
              <a:gd name="connsiteX1904" fmla="*/ 1684420 w 10890933"/>
              <a:gd name="connsiteY1904" fmla="*/ 3293263 h 4167549"/>
              <a:gd name="connsiteX1905" fmla="*/ 1686625 w 10890933"/>
              <a:gd name="connsiteY1905" fmla="*/ 3285036 h 4167549"/>
              <a:gd name="connsiteX1906" fmla="*/ 1691034 w 10890933"/>
              <a:gd name="connsiteY1906" fmla="*/ 3268581 h 4167549"/>
              <a:gd name="connsiteX1907" fmla="*/ 5877180 w 10890933"/>
              <a:gd name="connsiteY1907" fmla="*/ 3261521 h 4167549"/>
              <a:gd name="connsiteX1908" fmla="*/ 5818777 w 10890933"/>
              <a:gd name="connsiteY1908" fmla="*/ 3267918 h 4167549"/>
              <a:gd name="connsiteX1909" fmla="*/ 5877180 w 10890933"/>
              <a:gd name="connsiteY1909" fmla="*/ 3261521 h 4167549"/>
              <a:gd name="connsiteX1910" fmla="*/ 4951287 w 10890933"/>
              <a:gd name="connsiteY1910" fmla="*/ 3261442 h 4167549"/>
              <a:gd name="connsiteX1911" fmla="*/ 4967742 w 10890933"/>
              <a:gd name="connsiteY1911" fmla="*/ 3265851 h 4167549"/>
              <a:gd name="connsiteX1912" fmla="*/ 4964710 w 10890933"/>
              <a:gd name="connsiteY1912" fmla="*/ 3277164 h 4167549"/>
              <a:gd name="connsiteX1913" fmla="*/ 4960715 w 10890933"/>
              <a:gd name="connsiteY1913" fmla="*/ 3292075 h 4167549"/>
              <a:gd name="connsiteX1914" fmla="*/ 4939575 w 10890933"/>
              <a:gd name="connsiteY1914" fmla="*/ 3305150 h 4167549"/>
              <a:gd name="connsiteX1915" fmla="*/ 4912550 w 10890933"/>
              <a:gd name="connsiteY1915" fmla="*/ 3307279 h 4167549"/>
              <a:gd name="connsiteX1916" fmla="*/ 4938375 w 10890933"/>
              <a:gd name="connsiteY1916" fmla="*/ 3276721 h 4167549"/>
              <a:gd name="connsiteX1917" fmla="*/ 4952487 w 10890933"/>
              <a:gd name="connsiteY1917" fmla="*/ 3289870 h 4167549"/>
              <a:gd name="connsiteX1918" fmla="*/ 4948945 w 10890933"/>
              <a:gd name="connsiteY1918" fmla="*/ 3270182 h 4167549"/>
              <a:gd name="connsiteX1919" fmla="*/ 4954829 w 10890933"/>
              <a:gd name="connsiteY1919" fmla="*/ 3281130 h 4167549"/>
              <a:gd name="connsiteX1920" fmla="*/ 4951287 w 10890933"/>
              <a:gd name="connsiteY1920" fmla="*/ 3261442 h 4167549"/>
              <a:gd name="connsiteX1921" fmla="*/ 4831988 w 10890933"/>
              <a:gd name="connsiteY1921" fmla="*/ 3259924 h 4167549"/>
              <a:gd name="connsiteX1922" fmla="*/ 4819161 w 10890933"/>
              <a:gd name="connsiteY1922" fmla="*/ 3271213 h 4167549"/>
              <a:gd name="connsiteX1923" fmla="*/ 4819887 w 10890933"/>
              <a:gd name="connsiteY1923" fmla="*/ 3262409 h 4167549"/>
              <a:gd name="connsiteX1924" fmla="*/ 4831988 w 10890933"/>
              <a:gd name="connsiteY1924" fmla="*/ 3259924 h 4167549"/>
              <a:gd name="connsiteX1925" fmla="*/ 5895840 w 10890933"/>
              <a:gd name="connsiteY1925" fmla="*/ 3257702 h 4167549"/>
              <a:gd name="connsiteX1926" fmla="*/ 5920522 w 10890933"/>
              <a:gd name="connsiteY1926" fmla="*/ 3264316 h 4167549"/>
              <a:gd name="connsiteX1927" fmla="*/ 5910091 w 10890933"/>
              <a:gd name="connsiteY1927" fmla="*/ 3270339 h 4167549"/>
              <a:gd name="connsiteX1928" fmla="*/ 5901863 w 10890933"/>
              <a:gd name="connsiteY1928" fmla="*/ 3268134 h 4167549"/>
              <a:gd name="connsiteX1929" fmla="*/ 5893635 w 10890933"/>
              <a:gd name="connsiteY1929" fmla="*/ 3265930 h 4167549"/>
              <a:gd name="connsiteX1930" fmla="*/ 5895840 w 10890933"/>
              <a:gd name="connsiteY1930" fmla="*/ 3257702 h 4167549"/>
              <a:gd name="connsiteX1931" fmla="*/ 5087154 w 10890933"/>
              <a:gd name="connsiteY1931" fmla="*/ 3255958 h 4167549"/>
              <a:gd name="connsiteX1932" fmla="*/ 5089405 w 10890933"/>
              <a:gd name="connsiteY1932" fmla="*/ 3257717 h 4167549"/>
              <a:gd name="connsiteX1933" fmla="*/ 5078062 w 10890933"/>
              <a:gd name="connsiteY1933" fmla="*/ 3267853 h 4167549"/>
              <a:gd name="connsiteX1934" fmla="*/ 5087154 w 10890933"/>
              <a:gd name="connsiteY1934" fmla="*/ 3255958 h 4167549"/>
              <a:gd name="connsiteX1935" fmla="*/ 4852257 w 10890933"/>
              <a:gd name="connsiteY1935" fmla="*/ 3255851 h 4167549"/>
              <a:gd name="connsiteX1936" fmla="*/ 4906297 w 10890933"/>
              <a:gd name="connsiteY1936" fmla="*/ 3261512 h 4167549"/>
              <a:gd name="connsiteX1937" fmla="*/ 4912729 w 10890933"/>
              <a:gd name="connsiteY1937" fmla="*/ 3272054 h 4167549"/>
              <a:gd name="connsiteX1938" fmla="*/ 4901888 w 10890933"/>
              <a:gd name="connsiteY1938" fmla="*/ 3277968 h 4167549"/>
              <a:gd name="connsiteX1939" fmla="*/ 4908320 w 10890933"/>
              <a:gd name="connsiteY1939" fmla="*/ 3288509 h 4167549"/>
              <a:gd name="connsiteX1940" fmla="*/ 4900504 w 10890933"/>
              <a:gd name="connsiteY1940" fmla="*/ 3286415 h 4167549"/>
              <a:gd name="connsiteX1941" fmla="*/ 4839208 w 10890933"/>
              <a:gd name="connsiteY1941" fmla="*/ 3269991 h 4167549"/>
              <a:gd name="connsiteX1942" fmla="*/ 4852257 w 10890933"/>
              <a:gd name="connsiteY1942" fmla="*/ 3255851 h 4167549"/>
              <a:gd name="connsiteX1943" fmla="*/ 5378440 w 10890933"/>
              <a:gd name="connsiteY1943" fmla="*/ 3255199 h 4167549"/>
              <a:gd name="connsiteX1944" fmla="*/ 5400376 w 10890933"/>
              <a:gd name="connsiteY1944" fmla="*/ 3263832 h 4167549"/>
              <a:gd name="connsiteX1945" fmla="*/ 5364710 w 10890933"/>
              <a:gd name="connsiteY1945" fmla="*/ 3265299 h 4167549"/>
              <a:gd name="connsiteX1946" fmla="*/ 5378440 w 10890933"/>
              <a:gd name="connsiteY1946" fmla="*/ 3255199 h 4167549"/>
              <a:gd name="connsiteX1947" fmla="*/ 5601477 w 10890933"/>
              <a:gd name="connsiteY1947" fmla="*/ 3253784 h 4167549"/>
              <a:gd name="connsiteX1948" fmla="*/ 5580613 w 10890933"/>
              <a:gd name="connsiteY1948" fmla="*/ 3265830 h 4167549"/>
              <a:gd name="connsiteX1949" fmla="*/ 5601477 w 10890933"/>
              <a:gd name="connsiteY1949" fmla="*/ 3253784 h 4167549"/>
              <a:gd name="connsiteX1950" fmla="*/ 5095145 w 10890933"/>
              <a:gd name="connsiteY1950" fmla="*/ 3252589 h 4167549"/>
              <a:gd name="connsiteX1951" fmla="*/ 5128752 w 10890933"/>
              <a:gd name="connsiteY1951" fmla="*/ 3254981 h 4167549"/>
              <a:gd name="connsiteX1952" fmla="*/ 5097898 w 10890933"/>
              <a:gd name="connsiteY1952" fmla="*/ 3264350 h 4167549"/>
              <a:gd name="connsiteX1953" fmla="*/ 5089405 w 10890933"/>
              <a:gd name="connsiteY1953" fmla="*/ 3257717 h 4167549"/>
              <a:gd name="connsiteX1954" fmla="*/ 5192923 w 10890933"/>
              <a:gd name="connsiteY1954" fmla="*/ 3252334 h 4167549"/>
              <a:gd name="connsiteX1955" fmla="*/ 5216024 w 10890933"/>
              <a:gd name="connsiteY1955" fmla="*/ 3260729 h 4167549"/>
              <a:gd name="connsiteX1956" fmla="*/ 5205593 w 10890933"/>
              <a:gd name="connsiteY1956" fmla="*/ 3266752 h 4167549"/>
              <a:gd name="connsiteX1957" fmla="*/ 5207798 w 10890933"/>
              <a:gd name="connsiteY1957" fmla="*/ 3258525 h 4167549"/>
              <a:gd name="connsiteX1958" fmla="*/ 5172683 w 10890933"/>
              <a:gd name="connsiteY1958" fmla="*/ 3257934 h 4167549"/>
              <a:gd name="connsiteX1959" fmla="*/ 5192923 w 10890933"/>
              <a:gd name="connsiteY1959" fmla="*/ 3252334 h 4167549"/>
              <a:gd name="connsiteX1960" fmla="*/ 4953767 w 10890933"/>
              <a:gd name="connsiteY1960" fmla="*/ 3252185 h 4167549"/>
              <a:gd name="connsiteX1961" fmla="*/ 4951287 w 10890933"/>
              <a:gd name="connsiteY1961" fmla="*/ 3261442 h 4167549"/>
              <a:gd name="connsiteX1962" fmla="*/ 4924124 w 10890933"/>
              <a:gd name="connsiteY1962" fmla="*/ 3264084 h 4167549"/>
              <a:gd name="connsiteX1963" fmla="*/ 4929871 w 10890933"/>
              <a:gd name="connsiteY1963" fmla="*/ 3275545 h 4167549"/>
              <a:gd name="connsiteX1964" fmla="*/ 4926604 w 10890933"/>
              <a:gd name="connsiteY1964" fmla="*/ 3254828 h 4167549"/>
              <a:gd name="connsiteX1965" fmla="*/ 4953767 w 10890933"/>
              <a:gd name="connsiteY1965" fmla="*/ 3252185 h 4167549"/>
              <a:gd name="connsiteX1966" fmla="*/ 5740811 w 10890933"/>
              <a:gd name="connsiteY1966" fmla="*/ 3252124 h 4167549"/>
              <a:gd name="connsiteX1967" fmla="*/ 5744821 w 10890933"/>
              <a:gd name="connsiteY1967" fmla="*/ 3253612 h 4167549"/>
              <a:gd name="connsiteX1968" fmla="*/ 5758391 w 10890933"/>
              <a:gd name="connsiteY1968" fmla="*/ 3260556 h 4167549"/>
              <a:gd name="connsiteX1969" fmla="*/ 5756187 w 10890933"/>
              <a:gd name="connsiteY1969" fmla="*/ 3268784 h 4167549"/>
              <a:gd name="connsiteX1970" fmla="*/ 5745754 w 10890933"/>
              <a:gd name="connsiteY1970" fmla="*/ 3274807 h 4167549"/>
              <a:gd name="connsiteX1971" fmla="*/ 5747959 w 10890933"/>
              <a:gd name="connsiteY1971" fmla="*/ 3266579 h 4167549"/>
              <a:gd name="connsiteX1972" fmla="*/ 5741936 w 10890933"/>
              <a:gd name="connsiteY1972" fmla="*/ 3256147 h 4167549"/>
              <a:gd name="connsiteX1973" fmla="*/ 5740811 w 10890933"/>
              <a:gd name="connsiteY1973" fmla="*/ 3252124 h 4167549"/>
              <a:gd name="connsiteX1974" fmla="*/ 5560801 w 10890933"/>
              <a:gd name="connsiteY1974" fmla="*/ 3251841 h 4167549"/>
              <a:gd name="connsiteX1975" fmla="*/ 5567667 w 10890933"/>
              <a:gd name="connsiteY1975" fmla="*/ 3252441 h 4167549"/>
              <a:gd name="connsiteX1976" fmla="*/ 5580613 w 10890933"/>
              <a:gd name="connsiteY1976" fmla="*/ 3265830 h 4167549"/>
              <a:gd name="connsiteX1977" fmla="*/ 5555930 w 10890933"/>
              <a:gd name="connsiteY1977" fmla="*/ 3259217 h 4167549"/>
              <a:gd name="connsiteX1978" fmla="*/ 5560801 w 10890933"/>
              <a:gd name="connsiteY1978" fmla="*/ 3251841 h 4167549"/>
              <a:gd name="connsiteX1979" fmla="*/ 5156779 w 10890933"/>
              <a:gd name="connsiteY1979" fmla="*/ 3251467 h 4167549"/>
              <a:gd name="connsiteX1980" fmla="*/ 5164455 w 10890933"/>
              <a:gd name="connsiteY1980" fmla="*/ 3255729 h 4167549"/>
              <a:gd name="connsiteX1981" fmla="*/ 5145795 w 10890933"/>
              <a:gd name="connsiteY1981" fmla="*/ 3259548 h 4167549"/>
              <a:gd name="connsiteX1982" fmla="*/ 5156779 w 10890933"/>
              <a:gd name="connsiteY1982" fmla="*/ 3251467 h 4167549"/>
              <a:gd name="connsiteX1983" fmla="*/ 5343925 w 10890933"/>
              <a:gd name="connsiteY1983" fmla="*/ 3251354 h 4167549"/>
              <a:gd name="connsiteX1984" fmla="*/ 5349584 w 10890933"/>
              <a:gd name="connsiteY1984" fmla="*/ 3256644 h 4167549"/>
              <a:gd name="connsiteX1985" fmla="*/ 5345881 w 10890933"/>
              <a:gd name="connsiteY1985" fmla="*/ 3258785 h 4167549"/>
              <a:gd name="connsiteX1986" fmla="*/ 4980655 w 10890933"/>
              <a:gd name="connsiteY1986" fmla="*/ 3250571 h 4167549"/>
              <a:gd name="connsiteX1987" fmla="*/ 4986540 w 10890933"/>
              <a:gd name="connsiteY1987" fmla="*/ 3261517 h 4167549"/>
              <a:gd name="connsiteX1988" fmla="*/ 4975969 w 10890933"/>
              <a:gd name="connsiteY1988" fmla="*/ 3268055 h 4167549"/>
              <a:gd name="connsiteX1989" fmla="*/ 4970085 w 10890933"/>
              <a:gd name="connsiteY1989" fmla="*/ 3257107 h 4167549"/>
              <a:gd name="connsiteX1990" fmla="*/ 4967742 w 10890933"/>
              <a:gd name="connsiteY1990" fmla="*/ 3265851 h 4167549"/>
              <a:gd name="connsiteX1991" fmla="*/ 4961857 w 10890933"/>
              <a:gd name="connsiteY1991" fmla="*/ 3254903 h 4167549"/>
              <a:gd name="connsiteX1992" fmla="*/ 4978313 w 10890933"/>
              <a:gd name="connsiteY1992" fmla="*/ 3259312 h 4167549"/>
              <a:gd name="connsiteX1993" fmla="*/ 4980655 w 10890933"/>
              <a:gd name="connsiteY1993" fmla="*/ 3250571 h 4167549"/>
              <a:gd name="connsiteX1994" fmla="*/ 5009187 w 10890933"/>
              <a:gd name="connsiteY1994" fmla="*/ 3249398 h 4167549"/>
              <a:gd name="connsiteX1995" fmla="*/ 5006982 w 10890933"/>
              <a:gd name="connsiteY1995" fmla="*/ 3257626 h 4167549"/>
              <a:gd name="connsiteX1996" fmla="*/ 5009187 w 10890933"/>
              <a:gd name="connsiteY1996" fmla="*/ 3249398 h 4167549"/>
              <a:gd name="connsiteX1997" fmla="*/ 5714512 w 10890933"/>
              <a:gd name="connsiteY1997" fmla="*/ 3248796 h 4167549"/>
              <a:gd name="connsiteX1998" fmla="*/ 5731505 w 10890933"/>
              <a:gd name="connsiteY1998" fmla="*/ 3262168 h 4167549"/>
              <a:gd name="connsiteX1999" fmla="*/ 5717497 w 10890933"/>
              <a:gd name="connsiteY1999" fmla="*/ 3276051 h 4167549"/>
              <a:gd name="connsiteX2000" fmla="*/ 5700503 w 10890933"/>
              <a:gd name="connsiteY2000" fmla="*/ 3262679 h 4167549"/>
              <a:gd name="connsiteX2001" fmla="*/ 5714512 w 10890933"/>
              <a:gd name="connsiteY2001" fmla="*/ 3248796 h 4167549"/>
              <a:gd name="connsiteX2002" fmla="*/ 5681867 w 10890933"/>
              <a:gd name="connsiteY2002" fmla="*/ 3247905 h 4167549"/>
              <a:gd name="connsiteX2003" fmla="*/ 5686254 w 10890933"/>
              <a:gd name="connsiteY2003" fmla="*/ 3250045 h 4167549"/>
              <a:gd name="connsiteX2004" fmla="*/ 5694482 w 10890933"/>
              <a:gd name="connsiteY2004" fmla="*/ 3252250 h 4167549"/>
              <a:gd name="connsiteX2005" fmla="*/ 5700504 w 10890933"/>
              <a:gd name="connsiteY2005" fmla="*/ 3262682 h 4167549"/>
              <a:gd name="connsiteX2006" fmla="*/ 5681845 w 10890933"/>
              <a:gd name="connsiteY2006" fmla="*/ 3266501 h 4167549"/>
              <a:gd name="connsiteX2007" fmla="*/ 5681867 w 10890933"/>
              <a:gd name="connsiteY2007" fmla="*/ 3247905 h 4167549"/>
              <a:gd name="connsiteX2008" fmla="*/ 5262471 w 10890933"/>
              <a:gd name="connsiteY2008" fmla="*/ 3247822 h 4167549"/>
              <a:gd name="connsiteX2009" fmla="*/ 5311231 w 10890933"/>
              <a:gd name="connsiteY2009" fmla="*/ 3250967 h 4167549"/>
              <a:gd name="connsiteX2010" fmla="*/ 5257457 w 10890933"/>
              <a:gd name="connsiteY2010" fmla="*/ 3254194 h 4167549"/>
              <a:gd name="connsiteX2011" fmla="*/ 5262471 w 10890933"/>
              <a:gd name="connsiteY2011" fmla="*/ 3247822 h 4167549"/>
              <a:gd name="connsiteX2012" fmla="*/ 5000137 w 10890933"/>
              <a:gd name="connsiteY2012" fmla="*/ 3246974 h 4167549"/>
              <a:gd name="connsiteX2013" fmla="*/ 5006982 w 10890933"/>
              <a:gd name="connsiteY2013" fmla="*/ 3257626 h 4167549"/>
              <a:gd name="connsiteX2014" fmla="*/ 5036339 w 10890933"/>
              <a:gd name="connsiteY2014" fmla="*/ 3256674 h 4167549"/>
              <a:gd name="connsiteX2015" fmla="*/ 5002574 w 10890933"/>
              <a:gd name="connsiteY2015" fmla="*/ 3274081 h 4167549"/>
              <a:gd name="connsiteX2016" fmla="*/ 4995728 w 10890933"/>
              <a:gd name="connsiteY2016" fmla="*/ 3263429 h 4167549"/>
              <a:gd name="connsiteX2017" fmla="*/ 4986677 w 10890933"/>
              <a:gd name="connsiteY2017" fmla="*/ 3261003 h 4167549"/>
              <a:gd name="connsiteX2018" fmla="*/ 4988882 w 10890933"/>
              <a:gd name="connsiteY2018" fmla="*/ 3252776 h 4167549"/>
              <a:gd name="connsiteX2019" fmla="*/ 5000137 w 10890933"/>
              <a:gd name="connsiteY2019" fmla="*/ 3246974 h 4167549"/>
              <a:gd name="connsiteX2020" fmla="*/ 5065428 w 10890933"/>
              <a:gd name="connsiteY2020" fmla="*/ 3246832 h 4167549"/>
              <a:gd name="connsiteX2021" fmla="*/ 5054996 w 10890933"/>
              <a:gd name="connsiteY2021" fmla="*/ 3252855 h 4167549"/>
              <a:gd name="connsiteX2022" fmla="*/ 5061019 w 10890933"/>
              <a:gd name="connsiteY2022" fmla="*/ 3263287 h 4167549"/>
              <a:gd name="connsiteX2023" fmla="*/ 5052791 w 10890933"/>
              <a:gd name="connsiteY2023" fmla="*/ 3261082 h 4167549"/>
              <a:gd name="connsiteX2024" fmla="*/ 5036336 w 10890933"/>
              <a:gd name="connsiteY2024" fmla="*/ 3256673 h 4167549"/>
              <a:gd name="connsiteX2025" fmla="*/ 5065428 w 10890933"/>
              <a:gd name="connsiteY2025" fmla="*/ 3246832 h 4167549"/>
              <a:gd name="connsiteX2026" fmla="*/ 5338852 w 10890933"/>
              <a:gd name="connsiteY2026" fmla="*/ 3246611 h 4167549"/>
              <a:gd name="connsiteX2027" fmla="*/ 5343331 w 10890933"/>
              <a:gd name="connsiteY2027" fmla="*/ 3249098 h 4167549"/>
              <a:gd name="connsiteX2028" fmla="*/ 5343925 w 10890933"/>
              <a:gd name="connsiteY2028" fmla="*/ 3251354 h 4167549"/>
              <a:gd name="connsiteX2029" fmla="*/ 1163807 w 10890933"/>
              <a:gd name="connsiteY2029" fmla="*/ 3246569 h 4167549"/>
              <a:gd name="connsiteX2030" fmla="*/ 1158937 w 10890933"/>
              <a:gd name="connsiteY2030" fmla="*/ 3264745 h 4167549"/>
              <a:gd name="connsiteX2031" fmla="*/ 1163807 w 10890933"/>
              <a:gd name="connsiteY2031" fmla="*/ 3246569 h 4167549"/>
              <a:gd name="connsiteX2032" fmla="*/ 5370222 w 10890933"/>
              <a:gd name="connsiteY2032" fmla="*/ 3244729 h 4167549"/>
              <a:gd name="connsiteX2033" fmla="*/ 5354279 w 10890933"/>
              <a:gd name="connsiteY2033" fmla="*/ 3261035 h 4167549"/>
              <a:gd name="connsiteX2034" fmla="*/ 5349584 w 10890933"/>
              <a:gd name="connsiteY2034" fmla="*/ 3256644 h 4167549"/>
              <a:gd name="connsiteX2035" fmla="*/ 8912181 w 10890933"/>
              <a:gd name="connsiteY2035" fmla="*/ 3241422 h 4167549"/>
              <a:gd name="connsiteX2036" fmla="*/ 8939233 w 10890933"/>
              <a:gd name="connsiteY2036" fmla="*/ 3245362 h 4167549"/>
              <a:gd name="connsiteX2037" fmla="*/ 8964633 w 10890933"/>
              <a:gd name="connsiteY2037" fmla="*/ 3255476 h 4167549"/>
              <a:gd name="connsiteX2038" fmla="*/ 8938406 w 10890933"/>
              <a:gd name="connsiteY2038" fmla="*/ 3248449 h 4167549"/>
              <a:gd name="connsiteX2039" fmla="*/ 8912181 w 10890933"/>
              <a:gd name="connsiteY2039" fmla="*/ 3241422 h 4167549"/>
              <a:gd name="connsiteX2040" fmla="*/ 4866156 w 10890933"/>
              <a:gd name="connsiteY2040" fmla="*/ 3240455 h 4167549"/>
              <a:gd name="connsiteX2041" fmla="*/ 4866403 w 10890933"/>
              <a:gd name="connsiteY2041" fmla="*/ 3240902 h 4167549"/>
              <a:gd name="connsiteX2042" fmla="*/ 4865704 w 10890933"/>
              <a:gd name="connsiteY2042" fmla="*/ 3240565 h 4167549"/>
              <a:gd name="connsiteX2043" fmla="*/ 6914756 w 10890933"/>
              <a:gd name="connsiteY2043" fmla="*/ 3239718 h 4167549"/>
              <a:gd name="connsiteX2044" fmla="*/ 6922984 w 10890933"/>
              <a:gd name="connsiteY2044" fmla="*/ 3241923 h 4167549"/>
              <a:gd name="connsiteX2045" fmla="*/ 6920779 w 10890933"/>
              <a:gd name="connsiteY2045" fmla="*/ 3250150 h 4167549"/>
              <a:gd name="connsiteX2046" fmla="*/ 6904324 w 10890933"/>
              <a:gd name="connsiteY2046" fmla="*/ 3245741 h 4167549"/>
              <a:gd name="connsiteX2047" fmla="*/ 6914756 w 10890933"/>
              <a:gd name="connsiteY2047" fmla="*/ 3239718 h 4167549"/>
              <a:gd name="connsiteX2048" fmla="*/ 4854768 w 10890933"/>
              <a:gd name="connsiteY2048" fmla="*/ 3235304 h 4167549"/>
              <a:gd name="connsiteX2049" fmla="*/ 4865704 w 10890933"/>
              <a:gd name="connsiteY2049" fmla="*/ 3240565 h 4167549"/>
              <a:gd name="connsiteX2050" fmla="*/ 4846097 w 10890933"/>
              <a:gd name="connsiteY2050" fmla="*/ 3245382 h 4167549"/>
              <a:gd name="connsiteX2051" fmla="*/ 4854768 w 10890933"/>
              <a:gd name="connsiteY2051" fmla="*/ 3235304 h 4167549"/>
              <a:gd name="connsiteX2052" fmla="*/ 4738101 w 10890933"/>
              <a:gd name="connsiteY2052" fmla="*/ 3234767 h 4167549"/>
              <a:gd name="connsiteX2053" fmla="*/ 4761415 w 10890933"/>
              <a:gd name="connsiteY2053" fmla="*/ 3250177 h 4167549"/>
              <a:gd name="connsiteX2054" fmla="*/ 4742056 w 10890933"/>
              <a:gd name="connsiteY2054" fmla="*/ 3254152 h 4167549"/>
              <a:gd name="connsiteX2055" fmla="*/ 4738101 w 10890933"/>
              <a:gd name="connsiteY2055" fmla="*/ 3234767 h 4167549"/>
              <a:gd name="connsiteX2056" fmla="*/ 1761854 w 10890933"/>
              <a:gd name="connsiteY2056" fmla="*/ 3234647 h 4167549"/>
              <a:gd name="connsiteX2057" fmla="*/ 1765709 w 10890933"/>
              <a:gd name="connsiteY2057" fmla="*/ 3243396 h 4167549"/>
              <a:gd name="connsiteX2058" fmla="*/ 1769859 w 10890933"/>
              <a:gd name="connsiteY2058" fmla="*/ 3244875 h 4167549"/>
              <a:gd name="connsiteX2059" fmla="*/ 1768905 w 10890933"/>
              <a:gd name="connsiteY2059" fmla="*/ 3245355 h 4167549"/>
              <a:gd name="connsiteX2060" fmla="*/ 1778162 w 10890933"/>
              <a:gd name="connsiteY2060" fmla="*/ 3247835 h 4167549"/>
              <a:gd name="connsiteX2061" fmla="*/ 1769859 w 10890933"/>
              <a:gd name="connsiteY2061" fmla="*/ 3244875 h 4167549"/>
              <a:gd name="connsiteX2062" fmla="*/ 1780366 w 10890933"/>
              <a:gd name="connsiteY2062" fmla="*/ 3239608 h 4167549"/>
              <a:gd name="connsiteX2063" fmla="*/ 1794470 w 10890933"/>
              <a:gd name="connsiteY2063" fmla="*/ 3261023 h 4167549"/>
              <a:gd name="connsiteX2064" fmla="*/ 1764496 w 10890933"/>
              <a:gd name="connsiteY2064" fmla="*/ 3261810 h 4167549"/>
              <a:gd name="connsiteX2065" fmla="*/ 1761854 w 10890933"/>
              <a:gd name="connsiteY2065" fmla="*/ 3234647 h 4167549"/>
              <a:gd name="connsiteX2066" fmla="*/ 1597385 w 10890933"/>
              <a:gd name="connsiteY2066" fmla="*/ 3234397 h 4167549"/>
              <a:gd name="connsiteX2067" fmla="*/ 1599051 w 10890933"/>
              <a:gd name="connsiteY2067" fmla="*/ 3262345 h 4167549"/>
              <a:gd name="connsiteX2068" fmla="*/ 1571133 w 10890933"/>
              <a:gd name="connsiteY2068" fmla="*/ 3264033 h 4167549"/>
              <a:gd name="connsiteX2069" fmla="*/ 1567173 w 10890933"/>
              <a:gd name="connsiteY2069" fmla="*/ 3244636 h 4167549"/>
              <a:gd name="connsiteX2070" fmla="*/ 1581966 w 10890933"/>
              <a:gd name="connsiteY2070" fmla="*/ 3257767 h 4167549"/>
              <a:gd name="connsiteX2071" fmla="*/ 1597385 w 10890933"/>
              <a:gd name="connsiteY2071" fmla="*/ 3234397 h 4167549"/>
              <a:gd name="connsiteX2072" fmla="*/ 4785358 w 10890933"/>
              <a:gd name="connsiteY2072" fmla="*/ 3229107 h 4167549"/>
              <a:gd name="connsiteX2073" fmla="*/ 4787020 w 10890933"/>
              <a:gd name="connsiteY2073" fmla="*/ 3257038 h 4167549"/>
              <a:gd name="connsiteX2074" fmla="*/ 4780777 w 10890933"/>
              <a:gd name="connsiteY2074" fmla="*/ 3246202 h 4167549"/>
              <a:gd name="connsiteX2075" fmla="*/ 4761415 w 10890933"/>
              <a:gd name="connsiteY2075" fmla="*/ 3250177 h 4167549"/>
              <a:gd name="connsiteX2076" fmla="*/ 4755172 w 10890933"/>
              <a:gd name="connsiteY2076" fmla="*/ 3239341 h 4167549"/>
              <a:gd name="connsiteX2077" fmla="*/ 4785358 w 10890933"/>
              <a:gd name="connsiteY2077" fmla="*/ 3229107 h 4167549"/>
              <a:gd name="connsiteX2078" fmla="*/ 949666 w 10890933"/>
              <a:gd name="connsiteY2078" fmla="*/ 3226591 h 4167549"/>
              <a:gd name="connsiteX2079" fmla="*/ 972564 w 10890933"/>
              <a:gd name="connsiteY2079" fmla="*/ 3251329 h 4167549"/>
              <a:gd name="connsiteX2080" fmla="*/ 910856 w 10890933"/>
              <a:gd name="connsiteY2080" fmla="*/ 3234795 h 4167549"/>
              <a:gd name="connsiteX2081" fmla="*/ 949666 w 10890933"/>
              <a:gd name="connsiteY2081" fmla="*/ 3226591 h 4167549"/>
              <a:gd name="connsiteX2082" fmla="*/ 4686891 w 10890933"/>
              <a:gd name="connsiteY2082" fmla="*/ 3221045 h 4167549"/>
              <a:gd name="connsiteX2083" fmla="*/ 4697088 w 10890933"/>
              <a:gd name="connsiteY2083" fmla="*/ 3251263 h 4167549"/>
              <a:gd name="connsiteX2084" fmla="*/ 4727276 w 10890933"/>
              <a:gd name="connsiteY2084" fmla="*/ 3241029 h 4167549"/>
              <a:gd name="connsiteX2085" fmla="*/ 4716450 w 10890933"/>
              <a:gd name="connsiteY2085" fmla="*/ 3247291 h 4167549"/>
              <a:gd name="connsiteX2086" fmla="*/ 4731229 w 10890933"/>
              <a:gd name="connsiteY2086" fmla="*/ 3260411 h 4167549"/>
              <a:gd name="connsiteX2087" fmla="*/ 4742056 w 10890933"/>
              <a:gd name="connsiteY2087" fmla="*/ 3254152 h 4167549"/>
              <a:gd name="connsiteX2088" fmla="*/ 4780464 w 10890933"/>
              <a:gd name="connsiteY2088" fmla="*/ 3264444 h 4167549"/>
              <a:gd name="connsiteX2089" fmla="*/ 4816025 w 10890933"/>
              <a:gd name="connsiteY2089" fmla="*/ 3273972 h 4167549"/>
              <a:gd name="connsiteX2090" fmla="*/ 4811040 w 10890933"/>
              <a:gd name="connsiteY2090" fmla="*/ 3278360 h 4167549"/>
              <a:gd name="connsiteX2091" fmla="*/ 4782439 w 10890933"/>
              <a:gd name="connsiteY2091" fmla="*/ 3274133 h 4167549"/>
              <a:gd name="connsiteX2092" fmla="*/ 4780149 w 10890933"/>
              <a:gd name="connsiteY2092" fmla="*/ 3282682 h 4167549"/>
              <a:gd name="connsiteX2093" fmla="*/ 4765370 w 10890933"/>
              <a:gd name="connsiteY2093" fmla="*/ 3269559 h 4167549"/>
              <a:gd name="connsiteX2094" fmla="*/ 4758499 w 10890933"/>
              <a:gd name="connsiteY2094" fmla="*/ 3295203 h 4167549"/>
              <a:gd name="connsiteX2095" fmla="*/ 4717487 w 10890933"/>
              <a:gd name="connsiteY2095" fmla="*/ 3311702 h 4167549"/>
              <a:gd name="connsiteX2096" fmla="*/ 4739139 w 10890933"/>
              <a:gd name="connsiteY2096" fmla="*/ 3299178 h 4167549"/>
              <a:gd name="connsiteX2097" fmla="*/ 4732894 w 10890933"/>
              <a:gd name="connsiteY2097" fmla="*/ 3288342 h 4167549"/>
              <a:gd name="connsiteX2098" fmla="*/ 4707289 w 10890933"/>
              <a:gd name="connsiteY2098" fmla="*/ 3281481 h 4167549"/>
              <a:gd name="connsiteX2099" fmla="*/ 4702707 w 10890933"/>
              <a:gd name="connsiteY2099" fmla="*/ 3298579 h 4167549"/>
              <a:gd name="connsiteX2100" fmla="*/ 4670858 w 10890933"/>
              <a:gd name="connsiteY2100" fmla="*/ 3280882 h 4167549"/>
              <a:gd name="connsiteX2101" fmla="*/ 4606530 w 10890933"/>
              <a:gd name="connsiteY2101" fmla="*/ 3281971 h 4167549"/>
              <a:gd name="connsiteX2102" fmla="*/ 4584880 w 10890933"/>
              <a:gd name="connsiteY2102" fmla="*/ 3294492 h 4167549"/>
              <a:gd name="connsiteX2103" fmla="*/ 4582589 w 10890933"/>
              <a:gd name="connsiteY2103" fmla="*/ 3303041 h 4167549"/>
              <a:gd name="connsiteX2104" fmla="*/ 4560938 w 10890933"/>
              <a:gd name="connsiteY2104" fmla="*/ 3315562 h 4167549"/>
              <a:gd name="connsiteX2105" fmla="*/ 4537622 w 10890933"/>
              <a:gd name="connsiteY2105" fmla="*/ 3300152 h 4167549"/>
              <a:gd name="connsiteX2106" fmla="*/ 4529089 w 10890933"/>
              <a:gd name="connsiteY2106" fmla="*/ 3297866 h 4167549"/>
              <a:gd name="connsiteX2107" fmla="*/ 4543868 w 10890933"/>
              <a:gd name="connsiteY2107" fmla="*/ 3310988 h 4167549"/>
              <a:gd name="connsiteX2108" fmla="*/ 4445400 w 10890933"/>
              <a:gd name="connsiteY2108" fmla="*/ 3302926 h 4167549"/>
              <a:gd name="connsiteX2109" fmla="*/ 4393565 w 10890933"/>
              <a:gd name="connsiteY2109" fmla="*/ 3325685 h 4167549"/>
              <a:gd name="connsiteX2110" fmla="*/ 4369399 w 10890933"/>
              <a:gd name="connsiteY2110" fmla="*/ 3311982 h 4167549"/>
              <a:gd name="connsiteX2111" fmla="*/ 4369527 w 10890933"/>
              <a:gd name="connsiteY2111" fmla="*/ 3311371 h 4167549"/>
              <a:gd name="connsiteX2112" fmla="*/ 4367115 w 10890933"/>
              <a:gd name="connsiteY2112" fmla="*/ 3310687 h 4167549"/>
              <a:gd name="connsiteX2113" fmla="*/ 4366762 w 10890933"/>
              <a:gd name="connsiteY2113" fmla="*/ 3310487 h 4167549"/>
              <a:gd name="connsiteX2114" fmla="*/ 4344643 w 10890933"/>
              <a:gd name="connsiteY2114" fmla="*/ 3303417 h 4167549"/>
              <a:gd name="connsiteX2115" fmla="*/ 4360361 w 10890933"/>
              <a:gd name="connsiteY2115" fmla="*/ 3308772 h 4167549"/>
              <a:gd name="connsiteX2116" fmla="*/ 4367115 w 10890933"/>
              <a:gd name="connsiteY2116" fmla="*/ 3310687 h 4167549"/>
              <a:gd name="connsiteX2117" fmla="*/ 4369399 w 10890933"/>
              <a:gd name="connsiteY2117" fmla="*/ 3311982 h 4167549"/>
              <a:gd name="connsiteX2118" fmla="*/ 4367958 w 10890933"/>
              <a:gd name="connsiteY2118" fmla="*/ 3318824 h 4167549"/>
              <a:gd name="connsiteX2119" fmla="*/ 4333818 w 10890933"/>
              <a:gd name="connsiteY2119" fmla="*/ 3309676 h 4167549"/>
              <a:gd name="connsiteX2120" fmla="*/ 4332383 w 10890933"/>
              <a:gd name="connsiteY2120" fmla="*/ 3318454 h 4167549"/>
              <a:gd name="connsiteX2121" fmla="*/ 4322991 w 10890933"/>
              <a:gd name="connsiteY2121" fmla="*/ 3315937 h 4167549"/>
              <a:gd name="connsiteX2122" fmla="*/ 4192049 w 10890933"/>
              <a:gd name="connsiteY2122" fmla="*/ 3326662 h 4167549"/>
              <a:gd name="connsiteX2123" fmla="*/ 3938696 w 10890933"/>
              <a:gd name="connsiteY2123" fmla="*/ 3350394 h 4167549"/>
              <a:gd name="connsiteX2124" fmla="*/ 3915381 w 10890933"/>
              <a:gd name="connsiteY2124" fmla="*/ 3334985 h 4167549"/>
              <a:gd name="connsiteX2125" fmla="*/ 3921626 w 10890933"/>
              <a:gd name="connsiteY2125" fmla="*/ 3345821 h 4167549"/>
              <a:gd name="connsiteX2126" fmla="*/ 3818579 w 10890933"/>
              <a:gd name="connsiteY2126" fmla="*/ 3354854 h 4167549"/>
              <a:gd name="connsiteX2127" fmla="*/ 3807752 w 10890933"/>
              <a:gd name="connsiteY2127" fmla="*/ 3361115 h 4167549"/>
              <a:gd name="connsiteX2128" fmla="*/ 3799218 w 10890933"/>
              <a:gd name="connsiteY2128" fmla="*/ 3358829 h 4167549"/>
              <a:gd name="connsiteX2129" fmla="*/ 3796928 w 10890933"/>
              <a:gd name="connsiteY2129" fmla="*/ 3367378 h 4167549"/>
              <a:gd name="connsiteX2130" fmla="*/ 3732601 w 10890933"/>
              <a:gd name="connsiteY2130" fmla="*/ 3368464 h 4167549"/>
              <a:gd name="connsiteX2131" fmla="*/ 3730310 w 10890933"/>
              <a:gd name="connsiteY2131" fmla="*/ 3377013 h 4167549"/>
              <a:gd name="connsiteX2132" fmla="*/ 3710950 w 10890933"/>
              <a:gd name="connsiteY2132" fmla="*/ 3380988 h 4167549"/>
              <a:gd name="connsiteX2133" fmla="*/ 3714411 w 10890933"/>
              <a:gd name="connsiteY2133" fmla="*/ 3377491 h 4167549"/>
              <a:gd name="connsiteX2134" fmla="*/ 3721774 w 10890933"/>
              <a:gd name="connsiteY2134" fmla="*/ 3374726 h 4167549"/>
              <a:gd name="connsiteX2135" fmla="*/ 3717221 w 10890933"/>
              <a:gd name="connsiteY2135" fmla="*/ 3374651 h 4167549"/>
              <a:gd name="connsiteX2136" fmla="*/ 3714411 w 10890933"/>
              <a:gd name="connsiteY2136" fmla="*/ 3377491 h 4167549"/>
              <a:gd name="connsiteX2137" fmla="*/ 3712877 w 10890933"/>
              <a:gd name="connsiteY2137" fmla="*/ 3378067 h 4167549"/>
              <a:gd name="connsiteX2138" fmla="*/ 3715532 w 10890933"/>
              <a:gd name="connsiteY2138" fmla="*/ 3363890 h 4167549"/>
              <a:gd name="connsiteX2139" fmla="*/ 3704705 w 10890933"/>
              <a:gd name="connsiteY2139" fmla="*/ 3370152 h 4167549"/>
              <a:gd name="connsiteX2140" fmla="*/ 3670564 w 10890933"/>
              <a:gd name="connsiteY2140" fmla="*/ 3361004 h 4167549"/>
              <a:gd name="connsiteX2141" fmla="*/ 3668273 w 10890933"/>
              <a:gd name="connsiteY2141" fmla="*/ 3369553 h 4167549"/>
              <a:gd name="connsiteX2142" fmla="*/ 3683053 w 10890933"/>
              <a:gd name="connsiteY2142" fmla="*/ 3382673 h 4167549"/>
              <a:gd name="connsiteX2143" fmla="*/ 3663693 w 10890933"/>
              <a:gd name="connsiteY2143" fmla="*/ 3386648 h 4167549"/>
              <a:gd name="connsiteX2144" fmla="*/ 3565226 w 10890933"/>
              <a:gd name="connsiteY2144" fmla="*/ 3378586 h 4167549"/>
              <a:gd name="connsiteX2145" fmla="*/ 3554401 w 10890933"/>
              <a:gd name="connsiteY2145" fmla="*/ 3384848 h 4167549"/>
              <a:gd name="connsiteX2146" fmla="*/ 3552110 w 10890933"/>
              <a:gd name="connsiteY2146" fmla="*/ 3393397 h 4167549"/>
              <a:gd name="connsiteX2147" fmla="*/ 3543574 w 10890933"/>
              <a:gd name="connsiteY2147" fmla="*/ 3391110 h 4167549"/>
              <a:gd name="connsiteX2148" fmla="*/ 3485493 w 10890933"/>
              <a:gd name="connsiteY2148" fmla="*/ 3403032 h 4167549"/>
              <a:gd name="connsiteX2149" fmla="*/ 3480912 w 10890933"/>
              <a:gd name="connsiteY2149" fmla="*/ 3420128 h 4167549"/>
              <a:gd name="connsiteX2150" fmla="*/ 3444481 w 10890933"/>
              <a:gd name="connsiteY2150" fmla="*/ 3419528 h 4167549"/>
              <a:gd name="connsiteX2151" fmla="*/ 3438235 w 10890933"/>
              <a:gd name="connsiteY2151" fmla="*/ 3408692 h 4167549"/>
              <a:gd name="connsiteX2152" fmla="*/ 3425121 w 10890933"/>
              <a:gd name="connsiteY2152" fmla="*/ 3423503 h 4167549"/>
              <a:gd name="connsiteX2153" fmla="*/ 3418876 w 10890933"/>
              <a:gd name="connsiteY2153" fmla="*/ 3412668 h 4167549"/>
              <a:gd name="connsiteX2154" fmla="*/ 3416585 w 10890933"/>
              <a:gd name="connsiteY2154" fmla="*/ 3421216 h 4167549"/>
              <a:gd name="connsiteX2155" fmla="*/ 3199663 w 10890933"/>
              <a:gd name="connsiteY2155" fmla="*/ 3445548 h 4167549"/>
              <a:gd name="connsiteX2156" fmla="*/ 3109106 w 10890933"/>
              <a:gd name="connsiteY2156" fmla="*/ 3476253 h 4167549"/>
              <a:gd name="connsiteX2157" fmla="*/ 2992943 w 10890933"/>
              <a:gd name="connsiteY2157" fmla="*/ 3500098 h 4167549"/>
              <a:gd name="connsiteX2158" fmla="*/ 2898427 w 10890933"/>
              <a:gd name="connsiteY2158" fmla="*/ 3511420 h 4167549"/>
              <a:gd name="connsiteX2159" fmla="*/ 2904672 w 10890933"/>
              <a:gd name="connsiteY2159" fmla="*/ 3522256 h 4167549"/>
              <a:gd name="connsiteX2160" fmla="*/ 2879067 w 10890933"/>
              <a:gd name="connsiteY2160" fmla="*/ 3515395 h 4167549"/>
              <a:gd name="connsiteX2161" fmla="*/ 2859708 w 10890933"/>
              <a:gd name="connsiteY2161" fmla="*/ 3519368 h 4167549"/>
              <a:gd name="connsiteX2162" fmla="*/ 2855127 w 10890933"/>
              <a:gd name="connsiteY2162" fmla="*/ 3536466 h 4167549"/>
              <a:gd name="connsiteX2163" fmla="*/ 2790800 w 10890933"/>
              <a:gd name="connsiteY2163" fmla="*/ 3537552 h 4167549"/>
              <a:gd name="connsiteX2164" fmla="*/ 2786219 w 10890933"/>
              <a:gd name="connsiteY2164" fmla="*/ 3554649 h 4167549"/>
              <a:gd name="connsiteX2165" fmla="*/ 2760614 w 10890933"/>
              <a:gd name="connsiteY2165" fmla="*/ 3547789 h 4167549"/>
              <a:gd name="connsiteX2166" fmla="*/ 2758324 w 10890933"/>
              <a:gd name="connsiteY2166" fmla="*/ 3556335 h 4167549"/>
              <a:gd name="connsiteX2167" fmla="*/ 2683170 w 10890933"/>
              <a:gd name="connsiteY2167" fmla="*/ 3563683 h 4167549"/>
              <a:gd name="connsiteX2168" fmla="*/ 2689416 w 10890933"/>
              <a:gd name="connsiteY2168" fmla="*/ 3574519 h 4167549"/>
              <a:gd name="connsiteX2169" fmla="*/ 2650693 w 10890933"/>
              <a:gd name="connsiteY2169" fmla="*/ 3582468 h 4167549"/>
              <a:gd name="connsiteX2170" fmla="*/ 2625088 w 10890933"/>
              <a:gd name="connsiteY2170" fmla="*/ 3575607 h 4167549"/>
              <a:gd name="connsiteX2171" fmla="*/ 2567007 w 10890933"/>
              <a:gd name="connsiteY2171" fmla="*/ 3587530 h 4167549"/>
              <a:gd name="connsiteX2172" fmla="*/ 2553890 w 10890933"/>
              <a:gd name="connsiteY2172" fmla="*/ 3602338 h 4167549"/>
              <a:gd name="connsiteX2173" fmla="*/ 2508925 w 10890933"/>
              <a:gd name="connsiteY2173" fmla="*/ 3599452 h 4167549"/>
              <a:gd name="connsiteX2174" fmla="*/ 2429191 w 10890933"/>
              <a:gd name="connsiteY2174" fmla="*/ 3623895 h 4167549"/>
              <a:gd name="connsiteX2175" fmla="*/ 2435437 w 10890933"/>
              <a:gd name="connsiteY2175" fmla="*/ 3634731 h 4167549"/>
              <a:gd name="connsiteX2176" fmla="*/ 2409832 w 10890933"/>
              <a:gd name="connsiteY2176" fmla="*/ 3627870 h 4167549"/>
              <a:gd name="connsiteX2177" fmla="*/ 2379646 w 10890933"/>
              <a:gd name="connsiteY2177" fmla="*/ 3638105 h 4167549"/>
              <a:gd name="connsiteX2178" fmla="*/ 2366528 w 10890933"/>
              <a:gd name="connsiteY2178" fmla="*/ 3652915 h 4167549"/>
              <a:gd name="connsiteX2179" fmla="*/ 2321561 w 10890933"/>
              <a:gd name="connsiteY2179" fmla="*/ 3650029 h 4167549"/>
              <a:gd name="connsiteX2180" fmla="*/ 2241830 w 10890933"/>
              <a:gd name="connsiteY2180" fmla="*/ 3674473 h 4167549"/>
              <a:gd name="connsiteX2181" fmla="*/ 2237249 w 10890933"/>
              <a:gd name="connsiteY2181" fmla="*/ 3691567 h 4167549"/>
              <a:gd name="connsiteX2182" fmla="*/ 2189991 w 10890933"/>
              <a:gd name="connsiteY2182" fmla="*/ 3697230 h 4167549"/>
              <a:gd name="connsiteX2183" fmla="*/ 2077783 w 10890933"/>
              <a:gd name="connsiteY2183" fmla="*/ 3740459 h 4167549"/>
              <a:gd name="connsiteX2184" fmla="*/ 1922897 w 10890933"/>
              <a:gd name="connsiteY2184" fmla="*/ 3772253 h 4167549"/>
              <a:gd name="connsiteX2185" fmla="*/ 1873349 w 10890933"/>
              <a:gd name="connsiteY2185" fmla="*/ 3786462 h 4167549"/>
              <a:gd name="connsiteX2186" fmla="*/ 1769675 w 10890933"/>
              <a:gd name="connsiteY2186" fmla="*/ 3831976 h 4167549"/>
              <a:gd name="connsiteX2187" fmla="*/ 1763431 w 10890933"/>
              <a:gd name="connsiteY2187" fmla="*/ 3821143 h 4167549"/>
              <a:gd name="connsiteX2188" fmla="*/ 1864816 w 10890933"/>
              <a:gd name="connsiteY2188" fmla="*/ 3784176 h 4167549"/>
              <a:gd name="connsiteX2189" fmla="*/ 1869397 w 10890933"/>
              <a:gd name="connsiteY2189" fmla="*/ 3767078 h 4167549"/>
              <a:gd name="connsiteX2190" fmla="*/ 1908116 w 10890933"/>
              <a:gd name="connsiteY2190" fmla="*/ 3759130 h 4167549"/>
              <a:gd name="connsiteX2191" fmla="*/ 1891047 w 10890933"/>
              <a:gd name="connsiteY2191" fmla="*/ 3754557 h 4167549"/>
              <a:gd name="connsiteX2192" fmla="*/ 1951419 w 10890933"/>
              <a:gd name="connsiteY2192" fmla="*/ 3734085 h 4167549"/>
              <a:gd name="connsiteX2193" fmla="*/ 1979314 w 10890933"/>
              <a:gd name="connsiteY2193" fmla="*/ 3732397 h 4167549"/>
              <a:gd name="connsiteX2194" fmla="*/ 2014081 w 10890933"/>
              <a:gd name="connsiteY2194" fmla="*/ 3705068 h 4167549"/>
              <a:gd name="connsiteX2195" fmla="*/ 2039686 w 10890933"/>
              <a:gd name="connsiteY2195" fmla="*/ 3711929 h 4167549"/>
              <a:gd name="connsiteX2196" fmla="*/ 2044267 w 10890933"/>
              <a:gd name="connsiteY2196" fmla="*/ 3694831 h 4167549"/>
              <a:gd name="connsiteX2197" fmla="*/ 2069875 w 10890933"/>
              <a:gd name="connsiteY2197" fmla="*/ 3701693 h 4167549"/>
              <a:gd name="connsiteX2198" fmla="*/ 2082989 w 10890933"/>
              <a:gd name="connsiteY2198" fmla="*/ 3686884 h 4167549"/>
              <a:gd name="connsiteX2199" fmla="*/ 2059675 w 10890933"/>
              <a:gd name="connsiteY2199" fmla="*/ 3671475 h 4167549"/>
              <a:gd name="connsiteX2200" fmla="*/ 2046558 w 10890933"/>
              <a:gd name="connsiteY2200" fmla="*/ 3686282 h 4167549"/>
              <a:gd name="connsiteX2201" fmla="*/ 2048848 w 10890933"/>
              <a:gd name="connsiteY2201" fmla="*/ 3677736 h 4167549"/>
              <a:gd name="connsiteX2202" fmla="*/ 1938930 w 10890933"/>
              <a:gd name="connsiteY2202" fmla="*/ 3712417 h 4167549"/>
              <a:gd name="connsiteX2203" fmla="*/ 1943512 w 10890933"/>
              <a:gd name="connsiteY2203" fmla="*/ 3695319 h 4167549"/>
              <a:gd name="connsiteX2204" fmla="*/ 1915616 w 10890933"/>
              <a:gd name="connsiteY2204" fmla="*/ 3697007 h 4167549"/>
              <a:gd name="connsiteX2205" fmla="*/ 1986815 w 10890933"/>
              <a:gd name="connsiteY2205" fmla="*/ 3670274 h 4167549"/>
              <a:gd name="connsiteX2206" fmla="*/ 2049478 w 10890933"/>
              <a:gd name="connsiteY2206" fmla="*/ 3641254 h 4167549"/>
              <a:gd name="connsiteX2207" fmla="*/ 2047187 w 10890933"/>
              <a:gd name="connsiteY2207" fmla="*/ 3649803 h 4167549"/>
              <a:gd name="connsiteX2208" fmla="*/ 2116095 w 10890933"/>
              <a:gd name="connsiteY2208" fmla="*/ 3631619 h 4167549"/>
              <a:gd name="connsiteX2209" fmla="*/ 2107559 w 10890933"/>
              <a:gd name="connsiteY2209" fmla="*/ 3629332 h 4167549"/>
              <a:gd name="connsiteX2210" fmla="*/ 2150861 w 10890933"/>
              <a:gd name="connsiteY2210" fmla="*/ 3604290 h 4167549"/>
              <a:gd name="connsiteX2211" fmla="*/ 2181048 w 10890933"/>
              <a:gd name="connsiteY2211" fmla="*/ 3594053 h 4167549"/>
              <a:gd name="connsiteX2212" fmla="*/ 2275561 w 10890933"/>
              <a:gd name="connsiteY2212" fmla="*/ 3582730 h 4167549"/>
              <a:gd name="connsiteX2213" fmla="*/ 2269315 w 10890933"/>
              <a:gd name="connsiteY2213" fmla="*/ 3571897 h 4167549"/>
              <a:gd name="connsiteX2214" fmla="*/ 2374655 w 10890933"/>
              <a:gd name="connsiteY2214" fmla="*/ 3554312 h 4167549"/>
              <a:gd name="connsiteX2215" fmla="*/ 2370699 w 10890933"/>
              <a:gd name="connsiteY2215" fmla="*/ 3534930 h 4167549"/>
              <a:gd name="connsiteX2216" fmla="*/ 2417955 w 10890933"/>
              <a:gd name="connsiteY2216" fmla="*/ 3529266 h 4167549"/>
              <a:gd name="connsiteX2217" fmla="*/ 2403176 w 10890933"/>
              <a:gd name="connsiteY2217" fmla="*/ 3516146 h 4167549"/>
              <a:gd name="connsiteX2218" fmla="*/ 2392350 w 10890933"/>
              <a:gd name="connsiteY2218" fmla="*/ 3522405 h 4167549"/>
              <a:gd name="connsiteX2219" fmla="*/ 2355918 w 10890933"/>
              <a:gd name="connsiteY2219" fmla="*/ 3521806 h 4167549"/>
              <a:gd name="connsiteX2220" fmla="*/ 2360499 w 10890933"/>
              <a:gd name="connsiteY2220" fmla="*/ 3504711 h 4167549"/>
              <a:gd name="connsiteX2221" fmla="*/ 2338849 w 10890933"/>
              <a:gd name="connsiteY2221" fmla="*/ 3517233 h 4167549"/>
              <a:gd name="connsiteX2222" fmla="*/ 2354256 w 10890933"/>
              <a:gd name="connsiteY2222" fmla="*/ 3493876 h 4167549"/>
              <a:gd name="connsiteX2223" fmla="*/ 2388397 w 10890933"/>
              <a:gd name="connsiteY2223" fmla="*/ 3503024 h 4167549"/>
              <a:gd name="connsiteX2224" fmla="*/ 2386106 w 10890933"/>
              <a:gd name="connsiteY2224" fmla="*/ 3511572 h 4167549"/>
              <a:gd name="connsiteX2225" fmla="*/ 2405466 w 10890933"/>
              <a:gd name="connsiteY2225" fmla="*/ 3507598 h 4167549"/>
              <a:gd name="connsiteX2226" fmla="*/ 2392978 w 10890933"/>
              <a:gd name="connsiteY2226" fmla="*/ 3485926 h 4167549"/>
              <a:gd name="connsiteX2227" fmla="*/ 2418583 w 10890933"/>
              <a:gd name="connsiteY2227" fmla="*/ 3492787 h 4167549"/>
              <a:gd name="connsiteX2228" fmla="*/ 2423164 w 10890933"/>
              <a:gd name="connsiteY2228" fmla="*/ 3475692 h 4167549"/>
              <a:gd name="connsiteX2229" fmla="*/ 2459593 w 10890933"/>
              <a:gd name="connsiteY2229" fmla="*/ 3476290 h 4167549"/>
              <a:gd name="connsiteX2230" fmla="*/ 2452722 w 10890933"/>
              <a:gd name="connsiteY2230" fmla="*/ 3501934 h 4167549"/>
              <a:gd name="connsiteX2231" fmla="*/ 2456676 w 10890933"/>
              <a:gd name="connsiteY2231" fmla="*/ 3521319 h 4167549"/>
              <a:gd name="connsiteX2232" fmla="*/ 2481658 w 10890933"/>
              <a:gd name="connsiteY2232" fmla="*/ 3517706 h 4167549"/>
              <a:gd name="connsiteX2233" fmla="*/ 2504953 w 10890933"/>
              <a:gd name="connsiteY2233" fmla="*/ 3511858 h 4167549"/>
              <a:gd name="connsiteX2234" fmla="*/ 2503935 w 10890933"/>
              <a:gd name="connsiteY2234" fmla="*/ 3515657 h 4167549"/>
              <a:gd name="connsiteX2235" fmla="*/ 2505629 w 10890933"/>
              <a:gd name="connsiteY2235" fmla="*/ 3511688 h 4167549"/>
              <a:gd name="connsiteX2236" fmla="*/ 2514758 w 10890933"/>
              <a:gd name="connsiteY2236" fmla="*/ 3509397 h 4167549"/>
              <a:gd name="connsiteX2237" fmla="*/ 2507005 w 10890933"/>
              <a:gd name="connsiteY2237" fmla="*/ 3508464 h 4167549"/>
              <a:gd name="connsiteX2238" fmla="*/ 2505629 w 10890933"/>
              <a:gd name="connsiteY2238" fmla="*/ 3511688 h 4167549"/>
              <a:gd name="connsiteX2239" fmla="*/ 2504953 w 10890933"/>
              <a:gd name="connsiteY2239" fmla="*/ 3511858 h 4167549"/>
              <a:gd name="connsiteX2240" fmla="*/ 2508515 w 10890933"/>
              <a:gd name="connsiteY2240" fmla="*/ 3498562 h 4167549"/>
              <a:gd name="connsiteX2241" fmla="*/ 2474374 w 10890933"/>
              <a:gd name="connsiteY2241" fmla="*/ 3489414 h 4167549"/>
              <a:gd name="connsiteX2242" fmla="*/ 2517049 w 10890933"/>
              <a:gd name="connsiteY2242" fmla="*/ 3500848 h 4167549"/>
              <a:gd name="connsiteX2243" fmla="*/ 2542654 w 10890933"/>
              <a:gd name="connsiteY2243" fmla="*/ 3507709 h 4167549"/>
              <a:gd name="connsiteX2244" fmla="*/ 2536411 w 10890933"/>
              <a:gd name="connsiteY2244" fmla="*/ 3496874 h 4167549"/>
              <a:gd name="connsiteX2245" fmla="*/ 2539109 w 10890933"/>
              <a:gd name="connsiteY2245" fmla="*/ 3486806 h 4167549"/>
              <a:gd name="connsiteX2246" fmla="*/ 2536645 w 10890933"/>
              <a:gd name="connsiteY2246" fmla="*/ 3486007 h 4167549"/>
              <a:gd name="connsiteX2247" fmla="*/ 2539542 w 10890933"/>
              <a:gd name="connsiteY2247" fmla="*/ 3485189 h 4167549"/>
              <a:gd name="connsiteX2248" fmla="*/ 2540992 w 10890933"/>
              <a:gd name="connsiteY2248" fmla="*/ 3479778 h 4167549"/>
              <a:gd name="connsiteX2249" fmla="*/ 2487488 w 10890933"/>
              <a:gd name="connsiteY2249" fmla="*/ 3474605 h 4167549"/>
              <a:gd name="connsiteX2250" fmla="*/ 2475000 w 10890933"/>
              <a:gd name="connsiteY2250" fmla="*/ 3452934 h 4167549"/>
              <a:gd name="connsiteX2251" fmla="*/ 2502896 w 10890933"/>
              <a:gd name="connsiteY2251" fmla="*/ 3451248 h 4167549"/>
              <a:gd name="connsiteX2252" fmla="*/ 2492069 w 10890933"/>
              <a:gd name="connsiteY2252" fmla="*/ 3457507 h 4167549"/>
              <a:gd name="connsiteX2253" fmla="*/ 2543282 w 10890933"/>
              <a:gd name="connsiteY2253" fmla="*/ 3471230 h 4167549"/>
              <a:gd name="connsiteX2254" fmla="*/ 2547863 w 10890933"/>
              <a:gd name="connsiteY2254" fmla="*/ 3454134 h 4167549"/>
              <a:gd name="connsiteX2255" fmla="*/ 2522258 w 10890933"/>
              <a:gd name="connsiteY2255" fmla="*/ 3447273 h 4167549"/>
              <a:gd name="connsiteX2256" fmla="*/ 2535373 w 10890933"/>
              <a:gd name="connsiteY2256" fmla="*/ 3432462 h 4167549"/>
              <a:gd name="connsiteX2257" fmla="*/ 2516013 w 10890933"/>
              <a:gd name="connsiteY2257" fmla="*/ 3436437 h 4167549"/>
              <a:gd name="connsiteX2258" fmla="*/ 2542244 w 10890933"/>
              <a:gd name="connsiteY2258" fmla="*/ 3406818 h 4167549"/>
              <a:gd name="connsiteX2259" fmla="*/ 2546198 w 10890933"/>
              <a:gd name="connsiteY2259" fmla="*/ 3426203 h 4167549"/>
              <a:gd name="connsiteX2260" fmla="*/ 2561606 w 10890933"/>
              <a:gd name="connsiteY2260" fmla="*/ 3402847 h 4167549"/>
              <a:gd name="connsiteX2261" fmla="*/ 2567849 w 10890933"/>
              <a:gd name="connsiteY2261" fmla="*/ 3413679 h 4167549"/>
              <a:gd name="connsiteX2262" fmla="*/ 2649247 w 10890933"/>
              <a:gd name="connsiteY2262" fmla="*/ 3417167 h 4167549"/>
              <a:gd name="connsiteX2263" fmla="*/ 2634466 w 10890933"/>
              <a:gd name="connsiteY2263" fmla="*/ 3404044 h 4167549"/>
              <a:gd name="connsiteX2264" fmla="*/ 2649873 w 10890933"/>
              <a:gd name="connsiteY2264" fmla="*/ 3380687 h 4167549"/>
              <a:gd name="connsiteX2265" fmla="*/ 2681724 w 10890933"/>
              <a:gd name="connsiteY2265" fmla="*/ 3398384 h 4167549"/>
              <a:gd name="connsiteX2266" fmla="*/ 2707955 w 10890933"/>
              <a:gd name="connsiteY2266" fmla="*/ 3368765 h 4167549"/>
              <a:gd name="connsiteX2267" fmla="*/ 2828073 w 10890933"/>
              <a:gd name="connsiteY2267" fmla="*/ 3364303 h 4167549"/>
              <a:gd name="connsiteX2268" fmla="*/ 2823492 w 10890933"/>
              <a:gd name="connsiteY2268" fmla="*/ 3381400 h 4167549"/>
              <a:gd name="connsiteX2269" fmla="*/ 2851387 w 10890933"/>
              <a:gd name="connsiteY2269" fmla="*/ 3379712 h 4167549"/>
              <a:gd name="connsiteX2270" fmla="*/ 2847432 w 10890933"/>
              <a:gd name="connsiteY2270" fmla="*/ 3360330 h 4167549"/>
              <a:gd name="connsiteX2271" fmla="*/ 2858259 w 10890933"/>
              <a:gd name="connsiteY2271" fmla="*/ 3354069 h 4167549"/>
              <a:gd name="connsiteX2272" fmla="*/ 2894691 w 10890933"/>
              <a:gd name="connsiteY2272" fmla="*/ 3354668 h 4167549"/>
              <a:gd name="connsiteX2273" fmla="*/ 2899271 w 10890933"/>
              <a:gd name="connsiteY2273" fmla="*/ 3337573 h 4167549"/>
              <a:gd name="connsiteX2274" fmla="*/ 2935703 w 10890933"/>
              <a:gd name="connsiteY2274" fmla="*/ 3338172 h 4167549"/>
              <a:gd name="connsiteX2275" fmla="*/ 2910098 w 10890933"/>
              <a:gd name="connsiteY2275" fmla="*/ 3331311 h 4167549"/>
              <a:gd name="connsiteX2276" fmla="*/ 2923212 w 10890933"/>
              <a:gd name="connsiteY2276" fmla="*/ 3316502 h 4167549"/>
              <a:gd name="connsiteX2277" fmla="*/ 2944236 w 10890933"/>
              <a:gd name="connsiteY2277" fmla="*/ 3340458 h 4167549"/>
              <a:gd name="connsiteX2278" fmla="*/ 2963598 w 10890933"/>
              <a:gd name="connsiteY2278" fmla="*/ 3336484 h 4167549"/>
              <a:gd name="connsiteX2279" fmla="*/ 2951107 w 10890933"/>
              <a:gd name="connsiteY2279" fmla="*/ 3314814 h 4167549"/>
              <a:gd name="connsiteX2280" fmla="*/ 2985248 w 10890933"/>
              <a:gd name="connsiteY2280" fmla="*/ 3323962 h 4167549"/>
              <a:gd name="connsiteX2281" fmla="*/ 2998365 w 10890933"/>
              <a:gd name="connsiteY2281" fmla="*/ 3309154 h 4167549"/>
              <a:gd name="connsiteX2282" fmla="*/ 3068938 w 10890933"/>
              <a:gd name="connsiteY2282" fmla="*/ 3318902 h 4167549"/>
              <a:gd name="connsiteX2283" fmla="*/ 3064982 w 10890933"/>
              <a:gd name="connsiteY2283" fmla="*/ 3299520 h 4167549"/>
              <a:gd name="connsiteX2284" fmla="*/ 3123065 w 10890933"/>
              <a:gd name="connsiteY2284" fmla="*/ 3287595 h 4167549"/>
              <a:gd name="connsiteX2285" fmla="*/ 3223823 w 10890933"/>
              <a:gd name="connsiteY2285" fmla="*/ 3287108 h 4167549"/>
              <a:gd name="connsiteX2286" fmla="*/ 3271078 w 10890933"/>
              <a:gd name="connsiteY2286" fmla="*/ 3281447 h 4167549"/>
              <a:gd name="connsiteX2287" fmla="*/ 3267125 w 10890933"/>
              <a:gd name="connsiteY2287" fmla="*/ 3262065 h 4167549"/>
              <a:gd name="connsiteX2288" fmla="*/ 3389534 w 10890933"/>
              <a:gd name="connsiteY2288" fmla="*/ 3249054 h 4167549"/>
              <a:gd name="connsiteX2289" fmla="*/ 3443035 w 10890933"/>
              <a:gd name="connsiteY2289" fmla="*/ 3254227 h 4167549"/>
              <a:gd name="connsiteX2290" fmla="*/ 3468640 w 10890933"/>
              <a:gd name="connsiteY2290" fmla="*/ 3261088 h 4167549"/>
              <a:gd name="connsiteX2291" fmla="*/ 3473221 w 10890933"/>
              <a:gd name="connsiteY2291" fmla="*/ 3243993 h 4167549"/>
              <a:gd name="connsiteX2292" fmla="*/ 3501117 w 10890933"/>
              <a:gd name="connsiteY2292" fmla="*/ 3242305 h 4167549"/>
              <a:gd name="connsiteX2293" fmla="*/ 3593340 w 10890933"/>
              <a:gd name="connsiteY2293" fmla="*/ 3239531 h 4167549"/>
              <a:gd name="connsiteX2294" fmla="*/ 3588758 w 10890933"/>
              <a:gd name="connsiteY2294" fmla="*/ 3256629 h 4167549"/>
              <a:gd name="connsiteX2295" fmla="*/ 3575641 w 10890933"/>
              <a:gd name="connsiteY2295" fmla="*/ 3271437 h 4167549"/>
              <a:gd name="connsiteX2296" fmla="*/ 3550036 w 10890933"/>
              <a:gd name="connsiteY2296" fmla="*/ 3264576 h 4167549"/>
              <a:gd name="connsiteX2297" fmla="*/ 3556282 w 10890933"/>
              <a:gd name="connsiteY2297" fmla="*/ 3275412 h 4167549"/>
              <a:gd name="connsiteX2298" fmla="*/ 3530676 w 10890933"/>
              <a:gd name="connsiteY2298" fmla="*/ 3268551 h 4167549"/>
              <a:gd name="connsiteX2299" fmla="*/ 3536919 w 10890933"/>
              <a:gd name="connsiteY2299" fmla="*/ 3279384 h 4167549"/>
              <a:gd name="connsiteX2300" fmla="*/ 3502781 w 10890933"/>
              <a:gd name="connsiteY2300" fmla="*/ 3270236 h 4167549"/>
              <a:gd name="connsiteX2301" fmla="*/ 3489664 w 10890933"/>
              <a:gd name="connsiteY2301" fmla="*/ 3285047 h 4167549"/>
              <a:gd name="connsiteX2302" fmla="*/ 3474883 w 10890933"/>
              <a:gd name="connsiteY2302" fmla="*/ 3271923 h 4167549"/>
              <a:gd name="connsiteX2303" fmla="*/ 3358720 w 10890933"/>
              <a:gd name="connsiteY2303" fmla="*/ 3295768 h 4167549"/>
              <a:gd name="connsiteX2304" fmla="*/ 3236311 w 10890933"/>
              <a:gd name="connsiteY2304" fmla="*/ 3308779 h 4167549"/>
              <a:gd name="connsiteX2305" fmla="*/ 3248802 w 10890933"/>
              <a:gd name="connsiteY2305" fmla="*/ 3330449 h 4167549"/>
              <a:gd name="connsiteX2306" fmla="*/ 3212370 w 10890933"/>
              <a:gd name="connsiteY2306" fmla="*/ 3329849 h 4167549"/>
              <a:gd name="connsiteX2307" fmla="*/ 3178229 w 10890933"/>
              <a:gd name="connsiteY2307" fmla="*/ 3320701 h 4167549"/>
              <a:gd name="connsiteX2308" fmla="*/ 3193008 w 10890933"/>
              <a:gd name="connsiteY2308" fmla="*/ 3333824 h 4167549"/>
              <a:gd name="connsiteX2309" fmla="*/ 3158869 w 10890933"/>
              <a:gd name="connsiteY2309" fmla="*/ 3324676 h 4167549"/>
              <a:gd name="connsiteX2310" fmla="*/ 3165113 w 10890933"/>
              <a:gd name="connsiteY2310" fmla="*/ 3335509 h 4167549"/>
              <a:gd name="connsiteX2311" fmla="*/ 3124103 w 10890933"/>
              <a:gd name="connsiteY2311" fmla="*/ 3352006 h 4167549"/>
              <a:gd name="connsiteX2312" fmla="*/ 3117857 w 10890933"/>
              <a:gd name="connsiteY2312" fmla="*/ 3341172 h 4167549"/>
              <a:gd name="connsiteX2313" fmla="*/ 3113277 w 10890933"/>
              <a:gd name="connsiteY2313" fmla="*/ 3358268 h 4167549"/>
              <a:gd name="connsiteX2314" fmla="*/ 3029590 w 10890933"/>
              <a:gd name="connsiteY2314" fmla="*/ 3363329 h 4167549"/>
              <a:gd name="connsiteX2315" fmla="*/ 3007937 w 10890933"/>
              <a:gd name="connsiteY2315" fmla="*/ 3375852 h 4167549"/>
              <a:gd name="connsiteX2316" fmla="*/ 2915714 w 10890933"/>
              <a:gd name="connsiteY2316" fmla="*/ 3378626 h 4167549"/>
              <a:gd name="connsiteX2317" fmla="*/ 2921960 w 10890933"/>
              <a:gd name="connsiteY2317" fmla="*/ 3389460 h 4167549"/>
              <a:gd name="connsiteX2318" fmla="*/ 2891774 w 10890933"/>
              <a:gd name="connsiteY2318" fmla="*/ 3399697 h 4167549"/>
              <a:gd name="connsiteX2319" fmla="*/ 2868457 w 10890933"/>
              <a:gd name="connsiteY2319" fmla="*/ 3384286 h 4167549"/>
              <a:gd name="connsiteX2320" fmla="*/ 2857633 w 10890933"/>
              <a:gd name="connsiteY2320" fmla="*/ 3390549 h 4167549"/>
              <a:gd name="connsiteX2321" fmla="*/ 2833689 w 10890933"/>
              <a:gd name="connsiteY2321" fmla="*/ 3411619 h 4167549"/>
              <a:gd name="connsiteX2322" fmla="*/ 2771656 w 10890933"/>
              <a:gd name="connsiteY2322" fmla="*/ 3404159 h 4167549"/>
              <a:gd name="connsiteX2323" fmla="*/ 2775608 w 10890933"/>
              <a:gd name="connsiteY2323" fmla="*/ 3423541 h 4167549"/>
              <a:gd name="connsiteX2324" fmla="*/ 2743132 w 10890933"/>
              <a:gd name="connsiteY2324" fmla="*/ 3442324 h 4167549"/>
              <a:gd name="connsiteX2325" fmla="*/ 2813705 w 10890933"/>
              <a:gd name="connsiteY2325" fmla="*/ 3452071 h 4167549"/>
              <a:gd name="connsiteX2326" fmla="*/ 2815994 w 10890933"/>
              <a:gd name="connsiteY2326" fmla="*/ 3443525 h 4167549"/>
              <a:gd name="connsiteX2327" fmla="*/ 2923622 w 10890933"/>
              <a:gd name="connsiteY2327" fmla="*/ 3417390 h 4167549"/>
              <a:gd name="connsiteX2328" fmla="*/ 2966299 w 10890933"/>
              <a:gd name="connsiteY2328" fmla="*/ 3428826 h 4167549"/>
              <a:gd name="connsiteX2329" fmla="*/ 2960053 w 10890933"/>
              <a:gd name="connsiteY2329" fmla="*/ 3417992 h 4167549"/>
              <a:gd name="connsiteX2330" fmla="*/ 2942984 w 10890933"/>
              <a:gd name="connsiteY2330" fmla="*/ 3413418 h 4167549"/>
              <a:gd name="connsiteX2331" fmla="*/ 3015847 w 10890933"/>
              <a:gd name="connsiteY2331" fmla="*/ 3414617 h 4167549"/>
              <a:gd name="connsiteX2332" fmla="*/ 3014183 w 10890933"/>
              <a:gd name="connsiteY2332" fmla="*/ 3386685 h 4167549"/>
              <a:gd name="connsiteX2333" fmla="*/ 3106405 w 10890933"/>
              <a:gd name="connsiteY2333" fmla="*/ 3383911 h 4167549"/>
              <a:gd name="connsiteX2334" fmla="*/ 3129720 w 10890933"/>
              <a:gd name="connsiteY2334" fmla="*/ 3399321 h 4167549"/>
              <a:gd name="connsiteX2335" fmla="*/ 3198628 w 10890933"/>
              <a:gd name="connsiteY2335" fmla="*/ 3381137 h 4167549"/>
              <a:gd name="connsiteX2336" fmla="*/ 3217987 w 10890933"/>
              <a:gd name="connsiteY2336" fmla="*/ 3377162 h 4167549"/>
              <a:gd name="connsiteX2337" fmla="*/ 3215697 w 10890933"/>
              <a:gd name="connsiteY2337" fmla="*/ 3385711 h 4167549"/>
              <a:gd name="connsiteX2338" fmla="*/ 3245257 w 10890933"/>
              <a:gd name="connsiteY2338" fmla="*/ 3411954 h 4167549"/>
              <a:gd name="connsiteX2339" fmla="*/ 3232769 w 10890933"/>
              <a:gd name="connsiteY2339" fmla="*/ 3390285 h 4167549"/>
              <a:gd name="connsiteX2340" fmla="*/ 3237349 w 10890933"/>
              <a:gd name="connsiteY2340" fmla="*/ 3373190 h 4167549"/>
              <a:gd name="connsiteX2341" fmla="*/ 3324991 w 10890933"/>
              <a:gd name="connsiteY2341" fmla="*/ 3387511 h 4167549"/>
              <a:gd name="connsiteX2342" fmla="*/ 3340396 w 10890933"/>
              <a:gd name="connsiteY2342" fmla="*/ 3364154 h 4167549"/>
              <a:gd name="connsiteX2343" fmla="*/ 3331863 w 10890933"/>
              <a:gd name="connsiteY2343" fmla="*/ 3361867 h 4167549"/>
              <a:gd name="connsiteX2344" fmla="*/ 3364339 w 10890933"/>
              <a:gd name="connsiteY2344" fmla="*/ 3343084 h 4167549"/>
              <a:gd name="connsiteX2345" fmla="*/ 3387654 w 10890933"/>
              <a:gd name="connsiteY2345" fmla="*/ 3358491 h 4167549"/>
              <a:gd name="connsiteX2346" fmla="*/ 3421792 w 10890933"/>
              <a:gd name="connsiteY2346" fmla="*/ 3367639 h 4167549"/>
              <a:gd name="connsiteX2347" fmla="*/ 3393896 w 10890933"/>
              <a:gd name="connsiteY2347" fmla="*/ 3369327 h 4167549"/>
              <a:gd name="connsiteX2348" fmla="*/ 3425747 w 10890933"/>
              <a:gd name="connsiteY2348" fmla="*/ 3387023 h 4167549"/>
              <a:gd name="connsiteX2349" fmla="*/ 3432618 w 10890933"/>
              <a:gd name="connsiteY2349" fmla="*/ 3361380 h 4167549"/>
              <a:gd name="connsiteX2350" fmla="*/ 3443445 w 10890933"/>
              <a:gd name="connsiteY2350" fmla="*/ 3355118 h 4167549"/>
              <a:gd name="connsiteX2351" fmla="*/ 3454895 w 10890933"/>
              <a:gd name="connsiteY2351" fmla="*/ 3359330 h 4167549"/>
              <a:gd name="connsiteX2352" fmla="*/ 3460634 w 10890933"/>
              <a:gd name="connsiteY2352" fmla="*/ 3349914 h 4167549"/>
              <a:gd name="connsiteX2353" fmla="*/ 3448565 w 10890933"/>
              <a:gd name="connsiteY2353" fmla="*/ 3344891 h 4167549"/>
              <a:gd name="connsiteX2354" fmla="*/ 3436553 w 10890933"/>
              <a:gd name="connsiteY2354" fmla="*/ 3352696 h 4167549"/>
              <a:gd name="connsiteX2355" fmla="*/ 3443497 w 10890933"/>
              <a:gd name="connsiteY2355" fmla="*/ 3339126 h 4167549"/>
              <a:gd name="connsiteX2356" fmla="*/ 3465004 w 10890933"/>
              <a:gd name="connsiteY2356" fmla="*/ 3342747 h 4167549"/>
              <a:gd name="connsiteX2357" fmla="*/ 3465095 w 10890933"/>
              <a:gd name="connsiteY2357" fmla="*/ 3342597 h 4167549"/>
              <a:gd name="connsiteX2358" fmla="*/ 3465848 w 10890933"/>
              <a:gd name="connsiteY2358" fmla="*/ 3342707 h 4167549"/>
              <a:gd name="connsiteX2359" fmla="*/ 3476628 w 10890933"/>
              <a:gd name="connsiteY2359" fmla="*/ 3334777 h 4167549"/>
              <a:gd name="connsiteX2360" fmla="*/ 3479383 w 10890933"/>
              <a:gd name="connsiteY2360" fmla="*/ 3324492 h 4167549"/>
              <a:gd name="connsiteX2361" fmla="*/ 3481838 w 10890933"/>
              <a:gd name="connsiteY2361" fmla="*/ 3345069 h 4167549"/>
              <a:gd name="connsiteX2362" fmla="*/ 3493694 w 10890933"/>
              <a:gd name="connsiteY2362" fmla="*/ 3346824 h 4167549"/>
              <a:gd name="connsiteX2363" fmla="*/ 3507772 w 10890933"/>
              <a:gd name="connsiteY2363" fmla="*/ 3354032 h 4167549"/>
              <a:gd name="connsiteX2364" fmla="*/ 3553362 w 10890933"/>
              <a:gd name="connsiteY2364" fmla="*/ 3320437 h 4167549"/>
              <a:gd name="connsiteX2365" fmla="*/ 3551072 w 10890933"/>
              <a:gd name="connsiteY2365" fmla="*/ 3328986 h 4167549"/>
              <a:gd name="connsiteX2366" fmla="*/ 3660366 w 10890933"/>
              <a:gd name="connsiteY2366" fmla="*/ 3330786 h 4167549"/>
              <a:gd name="connsiteX2367" fmla="*/ 3735517 w 10890933"/>
              <a:gd name="connsiteY2367" fmla="*/ 3323438 h 4167549"/>
              <a:gd name="connsiteX2368" fmla="*/ 3729274 w 10890933"/>
              <a:gd name="connsiteY2368" fmla="*/ 3312602 h 4167549"/>
              <a:gd name="connsiteX2369" fmla="*/ 3720738 w 10890933"/>
              <a:gd name="connsiteY2369" fmla="*/ 3310315 h 4167549"/>
              <a:gd name="connsiteX2370" fmla="*/ 3754880 w 10890933"/>
              <a:gd name="connsiteY2370" fmla="*/ 3319463 h 4167549"/>
              <a:gd name="connsiteX2371" fmla="*/ 3793598 w 10890933"/>
              <a:gd name="connsiteY2371" fmla="*/ 3311515 h 4167549"/>
              <a:gd name="connsiteX2372" fmla="*/ 3798181 w 10890933"/>
              <a:gd name="connsiteY2372" fmla="*/ 3294418 h 4167549"/>
              <a:gd name="connsiteX2373" fmla="*/ 3815251 w 10890933"/>
              <a:gd name="connsiteY2373" fmla="*/ 3298992 h 4167549"/>
              <a:gd name="connsiteX2374" fmla="*/ 3812961 w 10890933"/>
              <a:gd name="connsiteY2374" fmla="*/ 3307541 h 4167549"/>
              <a:gd name="connsiteX2375" fmla="*/ 3830030 w 10890933"/>
              <a:gd name="connsiteY2375" fmla="*/ 3312115 h 4167549"/>
              <a:gd name="connsiteX2376" fmla="*/ 3849392 w 10890933"/>
              <a:gd name="connsiteY2376" fmla="*/ 3308140 h 4167549"/>
              <a:gd name="connsiteX2377" fmla="*/ 3905183 w 10890933"/>
              <a:gd name="connsiteY2377" fmla="*/ 3304767 h 4167549"/>
              <a:gd name="connsiteX2378" fmla="*/ 3875623 w 10890933"/>
              <a:gd name="connsiteY2378" fmla="*/ 3278521 h 4167549"/>
              <a:gd name="connsiteX2379" fmla="*/ 3908469 w 10890933"/>
              <a:gd name="connsiteY2379" fmla="*/ 3294774 h 4167549"/>
              <a:gd name="connsiteX2380" fmla="*/ 3907474 w 10890933"/>
              <a:gd name="connsiteY2380" fmla="*/ 3296218 h 4167549"/>
              <a:gd name="connsiteX2381" fmla="*/ 3916007 w 10890933"/>
              <a:gd name="connsiteY2381" fmla="*/ 3298504 h 4167549"/>
              <a:gd name="connsiteX2382" fmla="*/ 3908469 w 10890933"/>
              <a:gd name="connsiteY2382" fmla="*/ 3294774 h 4167549"/>
              <a:gd name="connsiteX2383" fmla="*/ 3916815 w 10890933"/>
              <a:gd name="connsiteY2383" fmla="*/ 3282687 h 4167549"/>
              <a:gd name="connsiteX2384" fmla="*/ 3929124 w 10890933"/>
              <a:gd name="connsiteY2384" fmla="*/ 3283697 h 4167549"/>
              <a:gd name="connsiteX2385" fmla="*/ 3984289 w 10890933"/>
              <a:gd name="connsiteY2385" fmla="*/ 3316801 h 4167549"/>
              <a:gd name="connsiteX2386" fmla="*/ 3971800 w 10890933"/>
              <a:gd name="connsiteY2386" fmla="*/ 3295132 h 4167549"/>
              <a:gd name="connsiteX2387" fmla="*/ 3987205 w 10890933"/>
              <a:gd name="connsiteY2387" fmla="*/ 3271774 h 4167549"/>
              <a:gd name="connsiteX2388" fmla="*/ 4057778 w 10890933"/>
              <a:gd name="connsiteY2388" fmla="*/ 3281522 h 4167549"/>
              <a:gd name="connsiteX2389" fmla="*/ 4070893 w 10890933"/>
              <a:gd name="connsiteY2389" fmla="*/ 3266710 h 4167549"/>
              <a:gd name="connsiteX2390" fmla="*/ 4128977 w 10890933"/>
              <a:gd name="connsiteY2390" fmla="*/ 3254789 h 4167549"/>
              <a:gd name="connsiteX2391" fmla="*/ 4154581 w 10890933"/>
              <a:gd name="connsiteY2391" fmla="*/ 3261650 h 4167549"/>
              <a:gd name="connsiteX2392" fmla="*/ 4160824 w 10890933"/>
              <a:gd name="connsiteY2392" fmla="*/ 3272485 h 4167549"/>
              <a:gd name="connsiteX2393" fmla="*/ 4176231 w 10890933"/>
              <a:gd name="connsiteY2393" fmla="*/ 3249128 h 4167549"/>
              <a:gd name="connsiteX2394" fmla="*/ 4216615 w 10890933"/>
              <a:gd name="connsiteY2394" fmla="*/ 3269112 h 4167549"/>
              <a:gd name="connsiteX2395" fmla="*/ 4221196 w 10890933"/>
              <a:gd name="connsiteY2395" fmla="*/ 3252014 h 4167549"/>
              <a:gd name="connsiteX2396" fmla="*/ 4263873 w 10890933"/>
              <a:gd name="connsiteY2396" fmla="*/ 3263449 h 4167549"/>
              <a:gd name="connsiteX2397" fmla="*/ 4255338 w 10890933"/>
              <a:gd name="connsiteY2397" fmla="*/ 3261162 h 4167549"/>
              <a:gd name="connsiteX2398" fmla="*/ 4332782 w 10890933"/>
              <a:gd name="connsiteY2398" fmla="*/ 3245265 h 4167549"/>
              <a:gd name="connsiteX2399" fmla="*/ 4330491 w 10890933"/>
              <a:gd name="connsiteY2399" fmla="*/ 3253814 h 4167549"/>
              <a:gd name="connsiteX2400" fmla="*/ 4375456 w 10890933"/>
              <a:gd name="connsiteY2400" fmla="*/ 3256700 h 4167549"/>
              <a:gd name="connsiteX2401" fmla="*/ 4407306 w 10890933"/>
              <a:gd name="connsiteY2401" fmla="*/ 3274397 h 4167549"/>
              <a:gd name="connsiteX2402" fmla="*/ 4454561 w 10890933"/>
              <a:gd name="connsiteY2402" fmla="*/ 3268736 h 4167549"/>
              <a:gd name="connsiteX2403" fmla="*/ 4439782 w 10890933"/>
              <a:gd name="connsiteY2403" fmla="*/ 3255614 h 4167549"/>
              <a:gd name="connsiteX2404" fmla="*/ 4426666 w 10890933"/>
              <a:gd name="connsiteY2404" fmla="*/ 3270421 h 4167549"/>
              <a:gd name="connsiteX2405" fmla="*/ 4420423 w 10890933"/>
              <a:gd name="connsiteY2405" fmla="*/ 3259589 h 4167549"/>
              <a:gd name="connsiteX2406" fmla="*/ 4433538 w 10890933"/>
              <a:gd name="connsiteY2406" fmla="*/ 3244777 h 4167549"/>
              <a:gd name="connsiteX2407" fmla="*/ 4456852 w 10890933"/>
              <a:gd name="connsiteY2407" fmla="*/ 3260187 h 4167549"/>
              <a:gd name="connsiteX2408" fmla="*/ 4475019 w 10890933"/>
              <a:gd name="connsiteY2408" fmla="*/ 3247877 h 4167549"/>
              <a:gd name="connsiteX2409" fmla="*/ 4497475 w 10890933"/>
              <a:gd name="connsiteY2409" fmla="*/ 3243762 h 4167549"/>
              <a:gd name="connsiteX2410" fmla="*/ 4500307 w 10890933"/>
              <a:gd name="connsiteY2410" fmla="*/ 3233195 h 4167549"/>
              <a:gd name="connsiteX2411" fmla="*/ 4502788 w 10890933"/>
              <a:gd name="connsiteY2411" fmla="*/ 3223938 h 4167549"/>
              <a:gd name="connsiteX2412" fmla="*/ 4525265 w 10890933"/>
              <a:gd name="connsiteY2412" fmla="*/ 3238780 h 4167549"/>
              <a:gd name="connsiteX2413" fmla="*/ 4512628 w 10890933"/>
              <a:gd name="connsiteY2413" fmla="*/ 3253030 h 4167549"/>
              <a:gd name="connsiteX2414" fmla="*/ 4496174 w 10890933"/>
              <a:gd name="connsiteY2414" fmla="*/ 3248621 h 4167549"/>
              <a:gd name="connsiteX2415" fmla="*/ 4497346 w 10890933"/>
              <a:gd name="connsiteY2415" fmla="*/ 3244247 h 4167549"/>
              <a:gd name="connsiteX2416" fmla="*/ 4485036 w 10890933"/>
              <a:gd name="connsiteY2416" fmla="*/ 3257432 h 4167549"/>
              <a:gd name="connsiteX2417" fmla="*/ 4473923 w 10890933"/>
              <a:gd name="connsiteY2417" fmla="*/ 3264762 h 4167549"/>
              <a:gd name="connsiteX2418" fmla="*/ 4499530 w 10890933"/>
              <a:gd name="connsiteY2418" fmla="*/ 3271623 h 4167549"/>
              <a:gd name="connsiteX2419" fmla="*/ 4532005 w 10890933"/>
              <a:gd name="connsiteY2419" fmla="*/ 3252839 h 4167549"/>
              <a:gd name="connsiteX2420" fmla="*/ 4527425 w 10890933"/>
              <a:gd name="connsiteY2420" fmla="*/ 3269935 h 4167549"/>
              <a:gd name="connsiteX2421" fmla="*/ 4557610 w 10890933"/>
              <a:gd name="connsiteY2421" fmla="*/ 3259700 h 4167549"/>
              <a:gd name="connsiteX2422" fmla="*/ 4534297 w 10890933"/>
              <a:gd name="connsiteY2422" fmla="*/ 3244291 h 4167549"/>
              <a:gd name="connsiteX2423" fmla="*/ 4566772 w 10890933"/>
              <a:gd name="connsiteY2423" fmla="*/ 3225507 h 4167549"/>
              <a:gd name="connsiteX2424" fmla="*/ 4573017 w 10890933"/>
              <a:gd name="connsiteY2424" fmla="*/ 3236343 h 4167549"/>
              <a:gd name="connsiteX2425" fmla="*/ 4562192 w 10890933"/>
              <a:gd name="connsiteY2425" fmla="*/ 3242603 h 4167549"/>
              <a:gd name="connsiteX2426" fmla="*/ 4604868 w 10890933"/>
              <a:gd name="connsiteY2426" fmla="*/ 3254038 h 4167549"/>
              <a:gd name="connsiteX2427" fmla="*/ 4574679 w 10890933"/>
              <a:gd name="connsiteY2427" fmla="*/ 3264274 h 4167549"/>
              <a:gd name="connsiteX2428" fmla="*/ 4591751 w 10890933"/>
              <a:gd name="connsiteY2428" fmla="*/ 3268848 h 4167549"/>
              <a:gd name="connsiteX2429" fmla="*/ 4604868 w 10890933"/>
              <a:gd name="connsiteY2429" fmla="*/ 3254038 h 4167549"/>
              <a:gd name="connsiteX2430" fmla="*/ 4621938 w 10890933"/>
              <a:gd name="connsiteY2430" fmla="*/ 3258612 h 4167549"/>
              <a:gd name="connsiteX2431" fmla="*/ 4608820 w 10890933"/>
              <a:gd name="connsiteY2431" fmla="*/ 3273422 h 4167549"/>
              <a:gd name="connsiteX2432" fmla="*/ 4621938 w 10890933"/>
              <a:gd name="connsiteY2432" fmla="*/ 3258612 h 4167549"/>
              <a:gd name="connsiteX2433" fmla="*/ 4636716 w 10890933"/>
              <a:gd name="connsiteY2433" fmla="*/ 3271734 h 4167549"/>
              <a:gd name="connsiteX2434" fmla="*/ 4635054 w 10890933"/>
              <a:gd name="connsiteY2434" fmla="*/ 3243804 h 4167549"/>
              <a:gd name="connsiteX2435" fmla="*/ 4652124 w 10890933"/>
              <a:gd name="connsiteY2435" fmla="*/ 3248377 h 4167549"/>
              <a:gd name="connsiteX2436" fmla="*/ 4647542 w 10890933"/>
              <a:gd name="connsiteY2436" fmla="*/ 3265472 h 4167549"/>
              <a:gd name="connsiteX2437" fmla="*/ 4639006 w 10890933"/>
              <a:gd name="connsiteY2437" fmla="*/ 3263185 h 4167549"/>
              <a:gd name="connsiteX2438" fmla="*/ 4647542 w 10890933"/>
              <a:gd name="connsiteY2438" fmla="*/ 3265472 h 4167549"/>
              <a:gd name="connsiteX2439" fmla="*/ 4664612 w 10890933"/>
              <a:gd name="connsiteY2439" fmla="*/ 3270046 h 4167549"/>
              <a:gd name="connsiteX2440" fmla="*/ 4686265 w 10890933"/>
              <a:gd name="connsiteY2440" fmla="*/ 3257525 h 4167549"/>
              <a:gd name="connsiteX2441" fmla="*/ 4709579 w 10890933"/>
              <a:gd name="connsiteY2441" fmla="*/ 3272935 h 4167549"/>
              <a:gd name="connsiteX2442" fmla="*/ 4714160 w 10890933"/>
              <a:gd name="connsiteY2442" fmla="*/ 3255837 h 4167549"/>
              <a:gd name="connsiteX2443" fmla="*/ 4688555 w 10890933"/>
              <a:gd name="connsiteY2443" fmla="*/ 3248977 h 4167549"/>
              <a:gd name="connsiteX2444" fmla="*/ 4660660 w 10890933"/>
              <a:gd name="connsiteY2444" fmla="*/ 3250664 h 4167549"/>
              <a:gd name="connsiteX2445" fmla="*/ 4665239 w 10890933"/>
              <a:gd name="connsiteY2445" fmla="*/ 3233569 h 4167549"/>
              <a:gd name="connsiteX2446" fmla="*/ 4686891 w 10890933"/>
              <a:gd name="connsiteY2446" fmla="*/ 3221045 h 4167549"/>
              <a:gd name="connsiteX2447" fmla="*/ 5156816 w 10890933"/>
              <a:gd name="connsiteY2447" fmla="*/ 3218410 h 4167549"/>
              <a:gd name="connsiteX2448" fmla="*/ 5165594 w 10890933"/>
              <a:gd name="connsiteY2448" fmla="*/ 3218556 h 4167549"/>
              <a:gd name="connsiteX2449" fmla="*/ 5171066 w 10890933"/>
              <a:gd name="connsiteY2449" fmla="*/ 3231046 h 4167549"/>
              <a:gd name="connsiteX2450" fmla="*/ 5156816 w 10890933"/>
              <a:gd name="connsiteY2450" fmla="*/ 3218410 h 4167549"/>
              <a:gd name="connsiteX2451" fmla="*/ 5055587 w 10890933"/>
              <a:gd name="connsiteY2451" fmla="*/ 3217740 h 4167549"/>
              <a:gd name="connsiteX2452" fmla="*/ 5059405 w 10890933"/>
              <a:gd name="connsiteY2452" fmla="*/ 3236400 h 4167549"/>
              <a:gd name="connsiteX2453" fmla="*/ 5051178 w 10890933"/>
              <a:gd name="connsiteY2453" fmla="*/ 3234195 h 4167549"/>
              <a:gd name="connsiteX2454" fmla="*/ 5055587 w 10890933"/>
              <a:gd name="connsiteY2454" fmla="*/ 3217740 h 4167549"/>
              <a:gd name="connsiteX2455" fmla="*/ 4786785 w 10890933"/>
              <a:gd name="connsiteY2455" fmla="*/ 3217622 h 4167549"/>
              <a:gd name="connsiteX2456" fmla="*/ 4786276 w 10890933"/>
              <a:gd name="connsiteY2456" fmla="*/ 3219064 h 4167549"/>
              <a:gd name="connsiteX2457" fmla="*/ 4779590 w 10890933"/>
              <a:gd name="connsiteY2457" fmla="*/ 3227561 h 4167549"/>
              <a:gd name="connsiteX2458" fmla="*/ 4786597 w 10890933"/>
              <a:gd name="connsiteY2458" fmla="*/ 3217865 h 4167549"/>
              <a:gd name="connsiteX2459" fmla="*/ 6666439 w 10890933"/>
              <a:gd name="connsiteY2459" fmla="*/ 3216171 h 4167549"/>
              <a:gd name="connsiteX2460" fmla="*/ 6673363 w 10890933"/>
              <a:gd name="connsiteY2460" fmla="*/ 3219128 h 4167549"/>
              <a:gd name="connsiteX2461" fmla="*/ 6670335 w 10890933"/>
              <a:gd name="connsiteY2461" fmla="*/ 3220659 h 4167549"/>
              <a:gd name="connsiteX2462" fmla="*/ 4882758 w 10890933"/>
              <a:gd name="connsiteY2462" fmla="*/ 3215522 h 4167549"/>
              <a:gd name="connsiteX2463" fmla="*/ 4868883 w 10890933"/>
              <a:gd name="connsiteY2463" fmla="*/ 3231646 h 4167549"/>
              <a:gd name="connsiteX2464" fmla="*/ 4882254 w 10890933"/>
              <a:gd name="connsiteY2464" fmla="*/ 3235229 h 4167549"/>
              <a:gd name="connsiteX2465" fmla="*/ 4892332 w 10890933"/>
              <a:gd name="connsiteY2465" fmla="*/ 3237929 h 4167549"/>
              <a:gd name="connsiteX2466" fmla="*/ 4893986 w 10890933"/>
              <a:gd name="connsiteY2466" fmla="*/ 3231757 h 4167549"/>
              <a:gd name="connsiteX2467" fmla="*/ 4897292 w 10890933"/>
              <a:gd name="connsiteY2467" fmla="*/ 3219416 h 4167549"/>
              <a:gd name="connsiteX2468" fmla="*/ 4906341 w 10890933"/>
              <a:gd name="connsiteY2468" fmla="*/ 3221841 h 4167549"/>
              <a:gd name="connsiteX2469" fmla="*/ 4931289 w 10890933"/>
              <a:gd name="connsiteY2469" fmla="*/ 3237344 h 4167549"/>
              <a:gd name="connsiteX2470" fmla="*/ 4894371 w 10890933"/>
              <a:gd name="connsiteY2470" fmla="*/ 3243483 h 4167549"/>
              <a:gd name="connsiteX2471" fmla="*/ 4893143 w 10890933"/>
              <a:gd name="connsiteY2471" fmla="*/ 3248067 h 4167549"/>
              <a:gd name="connsiteX2472" fmla="*/ 4863922 w 10890933"/>
              <a:gd name="connsiteY2472" fmla="*/ 3250158 h 4167549"/>
              <a:gd name="connsiteX2473" fmla="*/ 4867827 w 10890933"/>
              <a:gd name="connsiteY2473" fmla="*/ 3240042 h 4167549"/>
              <a:gd name="connsiteX2474" fmla="*/ 4866156 w 10890933"/>
              <a:gd name="connsiteY2474" fmla="*/ 3240455 h 4167549"/>
              <a:gd name="connsiteX2475" fmla="*/ 4859971 w 10890933"/>
              <a:gd name="connsiteY2475" fmla="*/ 3229258 h 4167549"/>
              <a:gd name="connsiteX2476" fmla="*/ 4882758 w 10890933"/>
              <a:gd name="connsiteY2476" fmla="*/ 3215522 h 4167549"/>
              <a:gd name="connsiteX2477" fmla="*/ 7133158 w 10890933"/>
              <a:gd name="connsiteY2477" fmla="*/ 3214464 h 4167549"/>
              <a:gd name="connsiteX2478" fmla="*/ 7139181 w 10890933"/>
              <a:gd name="connsiteY2478" fmla="*/ 3224896 h 4167549"/>
              <a:gd name="connsiteX2479" fmla="*/ 7133158 w 10890933"/>
              <a:gd name="connsiteY2479" fmla="*/ 3214464 h 4167549"/>
              <a:gd name="connsiteX2480" fmla="*/ 4631650 w 10890933"/>
              <a:gd name="connsiteY2480" fmla="*/ 3213835 h 4167549"/>
              <a:gd name="connsiteX2481" fmla="*/ 4631919 w 10890933"/>
              <a:gd name="connsiteY2481" fmla="*/ 3213840 h 4167549"/>
              <a:gd name="connsiteX2482" fmla="*/ 4625378 w 10890933"/>
              <a:gd name="connsiteY2482" fmla="*/ 3220150 h 4167549"/>
              <a:gd name="connsiteX2483" fmla="*/ 4631650 w 10890933"/>
              <a:gd name="connsiteY2483" fmla="*/ 3213835 h 4167549"/>
              <a:gd name="connsiteX2484" fmla="*/ 5216515 w 10890933"/>
              <a:gd name="connsiteY2484" fmla="*/ 3213648 h 4167549"/>
              <a:gd name="connsiteX2485" fmla="*/ 5236377 w 10890933"/>
              <a:gd name="connsiteY2485" fmla="*/ 3217684 h 4167549"/>
              <a:gd name="connsiteX2486" fmla="*/ 5214777 w 10890933"/>
              <a:gd name="connsiteY2486" fmla="*/ 3232474 h 4167549"/>
              <a:gd name="connsiteX2487" fmla="*/ 5200895 w 10890933"/>
              <a:gd name="connsiteY2487" fmla="*/ 3218464 h 4167549"/>
              <a:gd name="connsiteX2488" fmla="*/ 5216515 w 10890933"/>
              <a:gd name="connsiteY2488" fmla="*/ 3213648 h 4167549"/>
              <a:gd name="connsiteX2489" fmla="*/ 5023477 w 10890933"/>
              <a:gd name="connsiteY2489" fmla="*/ 3213270 h 4167549"/>
              <a:gd name="connsiteX2490" fmla="*/ 5039134 w 10890933"/>
              <a:gd name="connsiteY2490" fmla="*/ 3213332 h 4167549"/>
              <a:gd name="connsiteX2491" fmla="*/ 5032521 w 10890933"/>
              <a:gd name="connsiteY2491" fmla="*/ 3238014 h 4167549"/>
              <a:gd name="connsiteX2492" fmla="*/ 5023609 w 10890933"/>
              <a:gd name="connsiteY2492" fmla="*/ 3235626 h 4167549"/>
              <a:gd name="connsiteX2493" fmla="*/ 5025814 w 10890933"/>
              <a:gd name="connsiteY2493" fmla="*/ 3227399 h 4167549"/>
              <a:gd name="connsiteX2494" fmla="*/ 5014695 w 10890933"/>
              <a:gd name="connsiteY2494" fmla="*/ 3233238 h 4167549"/>
              <a:gd name="connsiteX2495" fmla="*/ 5016899 w 10890933"/>
              <a:gd name="connsiteY2495" fmla="*/ 3225010 h 4167549"/>
              <a:gd name="connsiteX2496" fmla="*/ 4979040 w 10890933"/>
              <a:gd name="connsiteY2496" fmla="*/ 3223684 h 4167549"/>
              <a:gd name="connsiteX2497" fmla="*/ 5023477 w 10890933"/>
              <a:gd name="connsiteY2497" fmla="*/ 3213270 h 4167549"/>
              <a:gd name="connsiteX2498" fmla="*/ 6961699 w 10890933"/>
              <a:gd name="connsiteY2498" fmla="*/ 3212616 h 4167549"/>
              <a:gd name="connsiteX2499" fmla="*/ 6947960 w 10890933"/>
              <a:gd name="connsiteY2499" fmla="*/ 3230981 h 4167549"/>
              <a:gd name="connsiteX2500" fmla="*/ 6961699 w 10890933"/>
              <a:gd name="connsiteY2500" fmla="*/ 3212616 h 4167549"/>
              <a:gd name="connsiteX2501" fmla="*/ 3702350 w 10890933"/>
              <a:gd name="connsiteY2501" fmla="*/ 3212279 h 4167549"/>
              <a:gd name="connsiteX2502" fmla="*/ 3733961 w 10890933"/>
              <a:gd name="connsiteY2502" fmla="*/ 3230056 h 4167549"/>
              <a:gd name="connsiteX2503" fmla="*/ 3720823 w 10890933"/>
              <a:gd name="connsiteY2503" fmla="*/ 3245152 h 4167549"/>
              <a:gd name="connsiteX2504" fmla="*/ 3596560 w 10890933"/>
              <a:gd name="connsiteY2504" fmla="*/ 3267707 h 4167549"/>
              <a:gd name="connsiteX2505" fmla="*/ 3599708 w 10890933"/>
              <a:gd name="connsiteY2505" fmla="*/ 3222010 h 4167549"/>
              <a:gd name="connsiteX2506" fmla="*/ 3644461 w 10890933"/>
              <a:gd name="connsiteY2506" fmla="*/ 3224691 h 4167549"/>
              <a:gd name="connsiteX2507" fmla="*/ 3667586 w 10890933"/>
              <a:gd name="connsiteY2507" fmla="*/ 3240198 h 4167549"/>
              <a:gd name="connsiteX2508" fmla="*/ 3691540 w 10890933"/>
              <a:gd name="connsiteY2508" fmla="*/ 3218689 h 4167549"/>
              <a:gd name="connsiteX2509" fmla="*/ 3708507 w 10890933"/>
              <a:gd name="connsiteY2509" fmla="*/ 3223235 h 4167549"/>
              <a:gd name="connsiteX2510" fmla="*/ 3702350 w 10890933"/>
              <a:gd name="connsiteY2510" fmla="*/ 3212279 h 4167549"/>
              <a:gd name="connsiteX2511" fmla="*/ 4535539 w 10890933"/>
              <a:gd name="connsiteY2511" fmla="*/ 3211495 h 4167549"/>
              <a:gd name="connsiteX2512" fmla="*/ 4543267 w 10890933"/>
              <a:gd name="connsiteY2512" fmla="*/ 3212738 h 4167549"/>
              <a:gd name="connsiteX2513" fmla="*/ 4558473 w 10890933"/>
              <a:gd name="connsiteY2513" fmla="*/ 3230041 h 4167549"/>
              <a:gd name="connsiteX2514" fmla="*/ 4521447 w 10890933"/>
              <a:gd name="connsiteY2514" fmla="*/ 3220120 h 4167549"/>
              <a:gd name="connsiteX2515" fmla="*/ 4535539 w 10890933"/>
              <a:gd name="connsiteY2515" fmla="*/ 3211495 h 4167549"/>
              <a:gd name="connsiteX2516" fmla="*/ 4634393 w 10890933"/>
              <a:gd name="connsiteY2516" fmla="*/ 3211453 h 4167549"/>
              <a:gd name="connsiteX2517" fmla="*/ 4636209 w 10890933"/>
              <a:gd name="connsiteY2517" fmla="*/ 3213914 h 4167549"/>
              <a:gd name="connsiteX2518" fmla="*/ 4631919 w 10890933"/>
              <a:gd name="connsiteY2518" fmla="*/ 3213840 h 4167549"/>
              <a:gd name="connsiteX2519" fmla="*/ 4791479 w 10890933"/>
              <a:gd name="connsiteY2519" fmla="*/ 3211252 h 4167549"/>
              <a:gd name="connsiteX2520" fmla="*/ 4791234 w 10890933"/>
              <a:gd name="connsiteY2520" fmla="*/ 3211874 h 4167549"/>
              <a:gd name="connsiteX2521" fmla="*/ 4786785 w 10890933"/>
              <a:gd name="connsiteY2521" fmla="*/ 3217622 h 4167549"/>
              <a:gd name="connsiteX2522" fmla="*/ 4788559 w 10890933"/>
              <a:gd name="connsiteY2522" fmla="*/ 3212602 h 4167549"/>
              <a:gd name="connsiteX2523" fmla="*/ 6833657 w 10890933"/>
              <a:gd name="connsiteY2523" fmla="*/ 3209169 h 4167549"/>
              <a:gd name="connsiteX2524" fmla="*/ 6838504 w 10890933"/>
              <a:gd name="connsiteY2524" fmla="*/ 3228105 h 4167549"/>
              <a:gd name="connsiteX2525" fmla="*/ 6801479 w 10890933"/>
              <a:gd name="connsiteY2525" fmla="*/ 3218184 h 4167549"/>
              <a:gd name="connsiteX2526" fmla="*/ 6833657 w 10890933"/>
              <a:gd name="connsiteY2526" fmla="*/ 3209169 h 4167549"/>
              <a:gd name="connsiteX2527" fmla="*/ 6667340 w 10890933"/>
              <a:gd name="connsiteY2527" fmla="*/ 3208696 h 4167549"/>
              <a:gd name="connsiteX2528" fmla="*/ 6666439 w 10890933"/>
              <a:gd name="connsiteY2528" fmla="*/ 3216170 h 4167549"/>
              <a:gd name="connsiteX2529" fmla="*/ 6664500 w 10890933"/>
              <a:gd name="connsiteY2529" fmla="*/ 3210553 h 4167549"/>
              <a:gd name="connsiteX2530" fmla="*/ 6667340 w 10890933"/>
              <a:gd name="connsiteY2530" fmla="*/ 3208696 h 4167549"/>
              <a:gd name="connsiteX2531" fmla="*/ 2146431 w 10890933"/>
              <a:gd name="connsiteY2531" fmla="*/ 3206301 h 4167549"/>
              <a:gd name="connsiteX2532" fmla="*/ 2149440 w 10890933"/>
              <a:gd name="connsiteY2532" fmla="*/ 3236209 h 4167549"/>
              <a:gd name="connsiteX2533" fmla="*/ 2128870 w 10890933"/>
              <a:gd name="connsiteY2533" fmla="*/ 3230698 h 4167549"/>
              <a:gd name="connsiteX2534" fmla="*/ 2146431 w 10890933"/>
              <a:gd name="connsiteY2534" fmla="*/ 3206301 h 4167549"/>
              <a:gd name="connsiteX2535" fmla="*/ 4795533 w 10890933"/>
              <a:gd name="connsiteY2535" fmla="*/ 3200968 h 4167549"/>
              <a:gd name="connsiteX2536" fmla="*/ 4809416 w 10890933"/>
              <a:gd name="connsiteY2536" fmla="*/ 3214976 h 4167549"/>
              <a:gd name="connsiteX2537" fmla="*/ 4806844 w 10890933"/>
              <a:gd name="connsiteY2537" fmla="*/ 3224577 h 4167549"/>
              <a:gd name="connsiteX2538" fmla="*/ 4798617 w 10890933"/>
              <a:gd name="connsiteY2538" fmla="*/ 3222372 h 4167549"/>
              <a:gd name="connsiteX2539" fmla="*/ 4801189 w 10890933"/>
              <a:gd name="connsiteY2539" fmla="*/ 3212771 h 4167549"/>
              <a:gd name="connsiteX2540" fmla="*/ 4792962 w 10890933"/>
              <a:gd name="connsiteY2540" fmla="*/ 3210567 h 4167549"/>
              <a:gd name="connsiteX2541" fmla="*/ 4791479 w 10890933"/>
              <a:gd name="connsiteY2541" fmla="*/ 3211252 h 4167549"/>
              <a:gd name="connsiteX2542" fmla="*/ 8610330 w 10890933"/>
              <a:gd name="connsiteY2542" fmla="*/ 3197580 h 4167549"/>
              <a:gd name="connsiteX2543" fmla="*/ 8682690 w 10890933"/>
              <a:gd name="connsiteY2543" fmla="*/ 3207268 h 4167549"/>
              <a:gd name="connsiteX2544" fmla="*/ 8607905 w 10890933"/>
              <a:gd name="connsiteY2544" fmla="*/ 3206632 h 4167549"/>
              <a:gd name="connsiteX2545" fmla="*/ 8610330 w 10890933"/>
              <a:gd name="connsiteY2545" fmla="*/ 3197580 h 4167549"/>
              <a:gd name="connsiteX2546" fmla="*/ 6543906 w 10890933"/>
              <a:gd name="connsiteY2546" fmla="*/ 3192156 h 4167549"/>
              <a:gd name="connsiteX2547" fmla="*/ 6566108 w 10890933"/>
              <a:gd name="connsiteY2547" fmla="*/ 3208026 h 4167549"/>
              <a:gd name="connsiteX2548" fmla="*/ 6516743 w 10890933"/>
              <a:gd name="connsiteY2548" fmla="*/ 3194798 h 4167549"/>
              <a:gd name="connsiteX2549" fmla="*/ 6543906 w 10890933"/>
              <a:gd name="connsiteY2549" fmla="*/ 3192156 h 4167549"/>
              <a:gd name="connsiteX2550" fmla="*/ 6628406 w 10890933"/>
              <a:gd name="connsiteY2550" fmla="*/ 3189446 h 4167549"/>
              <a:gd name="connsiteX2551" fmla="*/ 6623997 w 10890933"/>
              <a:gd name="connsiteY2551" fmla="*/ 3205901 h 4167549"/>
              <a:gd name="connsiteX2552" fmla="*/ 6603133 w 10890933"/>
              <a:gd name="connsiteY2552" fmla="*/ 3217947 h 4167549"/>
              <a:gd name="connsiteX2553" fmla="*/ 6628406 w 10890933"/>
              <a:gd name="connsiteY2553" fmla="*/ 3189446 h 4167549"/>
              <a:gd name="connsiteX2554" fmla="*/ 760574 w 10890933"/>
              <a:gd name="connsiteY2554" fmla="*/ 3186811 h 4167549"/>
              <a:gd name="connsiteX2555" fmla="*/ 809939 w 10890933"/>
              <a:gd name="connsiteY2555" fmla="*/ 3200039 h 4167549"/>
              <a:gd name="connsiteX2556" fmla="*/ 789075 w 10890933"/>
              <a:gd name="connsiteY2556" fmla="*/ 3212084 h 4167549"/>
              <a:gd name="connsiteX2557" fmla="*/ 760574 w 10890933"/>
              <a:gd name="connsiteY2557" fmla="*/ 3186811 h 4167549"/>
              <a:gd name="connsiteX2558" fmla="*/ 7958614 w 10890933"/>
              <a:gd name="connsiteY2558" fmla="*/ 3182123 h 4167549"/>
              <a:gd name="connsiteX2559" fmla="*/ 7972388 w 10890933"/>
              <a:gd name="connsiteY2559" fmla="*/ 3192427 h 4167549"/>
              <a:gd name="connsiteX2560" fmla="*/ 7947705 w 10890933"/>
              <a:gd name="connsiteY2560" fmla="*/ 3185813 h 4167549"/>
              <a:gd name="connsiteX2561" fmla="*/ 7958614 w 10890933"/>
              <a:gd name="connsiteY2561" fmla="*/ 3182123 h 4167549"/>
              <a:gd name="connsiteX2562" fmla="*/ 6693434 w 10890933"/>
              <a:gd name="connsiteY2562" fmla="*/ 3180415 h 4167549"/>
              <a:gd name="connsiteX2563" fmla="*/ 6700279 w 10890933"/>
              <a:gd name="connsiteY2563" fmla="*/ 3191067 h 4167549"/>
              <a:gd name="connsiteX2564" fmla="*/ 6691230 w 10890933"/>
              <a:gd name="connsiteY2564" fmla="*/ 3188643 h 4167549"/>
              <a:gd name="connsiteX2565" fmla="*/ 6695869 w 10890933"/>
              <a:gd name="connsiteY2565" fmla="*/ 3207522 h 4167549"/>
              <a:gd name="connsiteX2566" fmla="*/ 6720817 w 10890933"/>
              <a:gd name="connsiteY2566" fmla="*/ 3223025 h 4167549"/>
              <a:gd name="connsiteX2567" fmla="*/ 6702717 w 10890933"/>
              <a:gd name="connsiteY2567" fmla="*/ 3218175 h 4167549"/>
              <a:gd name="connsiteX2568" fmla="*/ 6686821 w 10890933"/>
              <a:gd name="connsiteY2568" fmla="*/ 3205098 h 4167549"/>
              <a:gd name="connsiteX2569" fmla="*/ 6693434 w 10890933"/>
              <a:gd name="connsiteY2569" fmla="*/ 3180415 h 4167549"/>
              <a:gd name="connsiteX2570" fmla="*/ 879235 w 10890933"/>
              <a:gd name="connsiteY2570" fmla="*/ 3180025 h 4167549"/>
              <a:gd name="connsiteX2571" fmla="*/ 898023 w 10890933"/>
              <a:gd name="connsiteY2571" fmla="*/ 3183957 h 4167549"/>
              <a:gd name="connsiteX2572" fmla="*/ 871136 w 10890933"/>
              <a:gd name="connsiteY2572" fmla="*/ 3185571 h 4167549"/>
              <a:gd name="connsiteX2573" fmla="*/ 879235 w 10890933"/>
              <a:gd name="connsiteY2573" fmla="*/ 3180025 h 4167549"/>
              <a:gd name="connsiteX2574" fmla="*/ 3781672 w 10890933"/>
              <a:gd name="connsiteY2574" fmla="*/ 3179524 h 4167549"/>
              <a:gd name="connsiteX2575" fmla="*/ 3780220 w 10890933"/>
              <a:gd name="connsiteY2575" fmla="*/ 3189056 h 4167549"/>
              <a:gd name="connsiteX2576" fmla="*/ 3771993 w 10890933"/>
              <a:gd name="connsiteY2576" fmla="*/ 3186851 h 4167549"/>
              <a:gd name="connsiteX2577" fmla="*/ 3781672 w 10890933"/>
              <a:gd name="connsiteY2577" fmla="*/ 3179524 h 4167549"/>
              <a:gd name="connsiteX2578" fmla="*/ 6891752 w 10890933"/>
              <a:gd name="connsiteY2578" fmla="*/ 3177477 h 4167549"/>
              <a:gd name="connsiteX2579" fmla="*/ 6904403 w 10890933"/>
              <a:gd name="connsiteY2579" fmla="*/ 3179627 h 4167549"/>
              <a:gd name="connsiteX2580" fmla="*/ 6915897 w 10890933"/>
              <a:gd name="connsiteY2580" fmla="*/ 3202549 h 4167549"/>
              <a:gd name="connsiteX2581" fmla="*/ 6877240 w 10890933"/>
              <a:gd name="connsiteY2581" fmla="*/ 3182269 h 4167549"/>
              <a:gd name="connsiteX2582" fmla="*/ 6891752 w 10890933"/>
              <a:gd name="connsiteY2582" fmla="*/ 3177477 h 4167549"/>
              <a:gd name="connsiteX2583" fmla="*/ 2337213 w 10890933"/>
              <a:gd name="connsiteY2583" fmla="*/ 3177177 h 4167549"/>
              <a:gd name="connsiteX2584" fmla="*/ 2314144 w 10890933"/>
              <a:gd name="connsiteY2584" fmla="*/ 3197450 h 4167549"/>
              <a:gd name="connsiteX2585" fmla="*/ 2273006 w 10890933"/>
              <a:gd name="connsiteY2585" fmla="*/ 3186427 h 4167549"/>
              <a:gd name="connsiteX2586" fmla="*/ 2337213 w 10890933"/>
              <a:gd name="connsiteY2586" fmla="*/ 3177177 h 4167549"/>
              <a:gd name="connsiteX2587" fmla="*/ 900228 w 10890933"/>
              <a:gd name="connsiteY2587" fmla="*/ 3175729 h 4167549"/>
              <a:gd name="connsiteX2588" fmla="*/ 893614 w 10890933"/>
              <a:gd name="connsiteY2588" fmla="*/ 3200412 h 4167549"/>
              <a:gd name="connsiteX2589" fmla="*/ 898023 w 10890933"/>
              <a:gd name="connsiteY2589" fmla="*/ 3183957 h 4167549"/>
              <a:gd name="connsiteX2590" fmla="*/ 3364655 w 10890933"/>
              <a:gd name="connsiteY2590" fmla="*/ 3175127 h 4167549"/>
              <a:gd name="connsiteX2591" fmla="*/ 3373174 w 10890933"/>
              <a:gd name="connsiteY2591" fmla="*/ 3178127 h 4167549"/>
              <a:gd name="connsiteX2592" fmla="*/ 3362310 w 10890933"/>
              <a:gd name="connsiteY2592" fmla="*/ 3184415 h 4167549"/>
              <a:gd name="connsiteX2593" fmla="*/ 3396568 w 10890933"/>
              <a:gd name="connsiteY2593" fmla="*/ 3193594 h 4167549"/>
              <a:gd name="connsiteX2594" fmla="*/ 3425869 w 10890933"/>
              <a:gd name="connsiteY2594" fmla="*/ 3178451 h 4167549"/>
              <a:gd name="connsiteX2595" fmla="*/ 3461120 w 10890933"/>
              <a:gd name="connsiteY2595" fmla="*/ 3192496 h 4167549"/>
              <a:gd name="connsiteX2596" fmla="*/ 3473650 w 10890933"/>
              <a:gd name="connsiteY2596" fmla="*/ 3214248 h 4167549"/>
              <a:gd name="connsiteX2597" fmla="*/ 3426228 w 10890933"/>
              <a:gd name="connsiteY2597" fmla="*/ 3219939 h 4167549"/>
              <a:gd name="connsiteX2598" fmla="*/ 3422261 w 10890933"/>
              <a:gd name="connsiteY2598" fmla="*/ 3200479 h 4167549"/>
              <a:gd name="connsiteX2599" fmla="*/ 3374840 w 10890933"/>
              <a:gd name="connsiteY2599" fmla="*/ 3206170 h 4167549"/>
              <a:gd name="connsiteX2600" fmla="*/ 3372540 w 10890933"/>
              <a:gd name="connsiteY2600" fmla="*/ 3214752 h 4167549"/>
              <a:gd name="connsiteX2601" fmla="*/ 3346847 w 10890933"/>
              <a:gd name="connsiteY2601" fmla="*/ 3207868 h 4167549"/>
              <a:gd name="connsiteX2602" fmla="*/ 3364655 w 10890933"/>
              <a:gd name="connsiteY2602" fmla="*/ 3175127 h 4167549"/>
              <a:gd name="connsiteX2603" fmla="*/ 3305016 w 10890933"/>
              <a:gd name="connsiteY2603" fmla="*/ 3173054 h 4167549"/>
              <a:gd name="connsiteX2604" fmla="*/ 3316605 w 10890933"/>
              <a:gd name="connsiteY2604" fmla="*/ 3175057 h 4167549"/>
              <a:gd name="connsiteX2605" fmla="*/ 3297945 w 10890933"/>
              <a:gd name="connsiteY2605" fmla="*/ 3178875 h 4167549"/>
              <a:gd name="connsiteX2606" fmla="*/ 3305016 w 10890933"/>
              <a:gd name="connsiteY2606" fmla="*/ 3173054 h 4167549"/>
              <a:gd name="connsiteX2607" fmla="*/ 4703412 w 10890933"/>
              <a:gd name="connsiteY2607" fmla="*/ 3172371 h 4167549"/>
              <a:gd name="connsiteX2608" fmla="*/ 4701183 w 10890933"/>
              <a:gd name="connsiteY2608" fmla="*/ 3176506 h 4167549"/>
              <a:gd name="connsiteX2609" fmla="*/ 4702236 w 10890933"/>
              <a:gd name="connsiteY2609" fmla="*/ 3172573 h 4167549"/>
              <a:gd name="connsiteX2610" fmla="*/ 2082996 w 10890933"/>
              <a:gd name="connsiteY2610" fmla="*/ 3171523 h 4167549"/>
              <a:gd name="connsiteX2611" fmla="*/ 2065215 w 10890933"/>
              <a:gd name="connsiteY2611" fmla="*/ 3204970 h 4167549"/>
              <a:gd name="connsiteX2612" fmla="*/ 2082996 w 10890933"/>
              <a:gd name="connsiteY2612" fmla="*/ 3171523 h 4167549"/>
              <a:gd name="connsiteX2613" fmla="*/ 6211366 w 10890933"/>
              <a:gd name="connsiteY2613" fmla="*/ 3170293 h 4167549"/>
              <a:gd name="connsiteX2614" fmla="*/ 6239134 w 10890933"/>
              <a:gd name="connsiteY2614" fmla="*/ 3177734 h 4167549"/>
              <a:gd name="connsiteX2615" fmla="*/ 6197700 w 10890933"/>
              <a:gd name="connsiteY2615" fmla="*/ 3184268 h 4167549"/>
              <a:gd name="connsiteX2616" fmla="*/ 6211366 w 10890933"/>
              <a:gd name="connsiteY2616" fmla="*/ 3170293 h 4167549"/>
              <a:gd name="connsiteX2617" fmla="*/ 6589473 w 10890933"/>
              <a:gd name="connsiteY2617" fmla="*/ 3170195 h 4167549"/>
              <a:gd name="connsiteX2618" fmla="*/ 6597701 w 10890933"/>
              <a:gd name="connsiteY2618" fmla="*/ 3172400 h 4167549"/>
              <a:gd name="connsiteX2619" fmla="*/ 6585064 w 10890933"/>
              <a:gd name="connsiteY2619" fmla="*/ 3186650 h 4167549"/>
              <a:gd name="connsiteX2620" fmla="*/ 6589473 w 10890933"/>
              <a:gd name="connsiteY2620" fmla="*/ 3170195 h 4167549"/>
              <a:gd name="connsiteX2621" fmla="*/ 6029546 w 10890933"/>
              <a:gd name="connsiteY2621" fmla="*/ 3170073 h 4167549"/>
              <a:gd name="connsiteX2622" fmla="*/ 6031643 w 10890933"/>
              <a:gd name="connsiteY2622" fmla="*/ 3171932 h 4167549"/>
              <a:gd name="connsiteX2623" fmla="*/ 6028444 w 10890933"/>
              <a:gd name="connsiteY2623" fmla="*/ 3174189 h 4167549"/>
              <a:gd name="connsiteX2624" fmla="*/ 7916999 w 10890933"/>
              <a:gd name="connsiteY2624" fmla="*/ 3168768 h 4167549"/>
              <a:gd name="connsiteX2625" fmla="*/ 7939477 w 10890933"/>
              <a:gd name="connsiteY2625" fmla="*/ 3183609 h 4167549"/>
              <a:gd name="connsiteX2626" fmla="*/ 7912590 w 10890933"/>
              <a:gd name="connsiteY2626" fmla="*/ 3185223 h 4167549"/>
              <a:gd name="connsiteX2627" fmla="*/ 7906567 w 10890933"/>
              <a:gd name="connsiteY2627" fmla="*/ 3174791 h 4167549"/>
              <a:gd name="connsiteX2628" fmla="*/ 7916999 w 10890933"/>
              <a:gd name="connsiteY2628" fmla="*/ 3168768 h 4167549"/>
              <a:gd name="connsiteX2629" fmla="*/ 6175590 w 10890933"/>
              <a:gd name="connsiteY2629" fmla="*/ 3168056 h 4167549"/>
              <a:gd name="connsiteX2630" fmla="*/ 6189718 w 10890933"/>
              <a:gd name="connsiteY2630" fmla="*/ 3181148 h 4167549"/>
              <a:gd name="connsiteX2631" fmla="*/ 6173263 w 10890933"/>
              <a:gd name="connsiteY2631" fmla="*/ 3176739 h 4167549"/>
              <a:gd name="connsiteX2632" fmla="*/ 6515129 w 10890933"/>
              <a:gd name="connsiteY2632" fmla="*/ 3167911 h 4167549"/>
              <a:gd name="connsiteX2633" fmla="*/ 6502493 w 10890933"/>
              <a:gd name="connsiteY2633" fmla="*/ 3182162 h 4167549"/>
              <a:gd name="connsiteX2634" fmla="*/ 6494265 w 10890933"/>
              <a:gd name="connsiteY2634" fmla="*/ 3179957 h 4167549"/>
              <a:gd name="connsiteX2635" fmla="*/ 6496469 w 10890933"/>
              <a:gd name="connsiteY2635" fmla="*/ 3171730 h 4167549"/>
              <a:gd name="connsiteX2636" fmla="*/ 6515129 w 10890933"/>
              <a:gd name="connsiteY2636" fmla="*/ 3167911 h 4167549"/>
              <a:gd name="connsiteX2637" fmla="*/ 6312393 w 10890933"/>
              <a:gd name="connsiteY2637" fmla="*/ 3167600 h 4167549"/>
              <a:gd name="connsiteX2638" fmla="*/ 6328848 w 10890933"/>
              <a:gd name="connsiteY2638" fmla="*/ 3172010 h 4167549"/>
              <a:gd name="connsiteX2639" fmla="*/ 6312393 w 10890933"/>
              <a:gd name="connsiteY2639" fmla="*/ 3167600 h 4167549"/>
              <a:gd name="connsiteX2640" fmla="*/ 4706022 w 10890933"/>
              <a:gd name="connsiteY2640" fmla="*/ 3167524 h 4167549"/>
              <a:gd name="connsiteX2641" fmla="*/ 4708236 w 10890933"/>
              <a:gd name="connsiteY2641" fmla="*/ 3171545 h 4167549"/>
              <a:gd name="connsiteX2642" fmla="*/ 4703412 w 10890933"/>
              <a:gd name="connsiteY2642" fmla="*/ 3172371 h 4167549"/>
              <a:gd name="connsiteX2643" fmla="*/ 3748518 w 10890933"/>
              <a:gd name="connsiteY2643" fmla="*/ 3167515 h 4167549"/>
              <a:gd name="connsiteX2644" fmla="*/ 3755905 w 10890933"/>
              <a:gd name="connsiteY2644" fmla="*/ 3181071 h 4167549"/>
              <a:gd name="connsiteX2645" fmla="*/ 3722995 w 10890933"/>
              <a:gd name="connsiteY2645" fmla="*/ 3172253 h 4167549"/>
              <a:gd name="connsiteX2646" fmla="*/ 3748518 w 10890933"/>
              <a:gd name="connsiteY2646" fmla="*/ 3167515 h 4167549"/>
              <a:gd name="connsiteX2647" fmla="*/ 3467659 w 10890933"/>
              <a:gd name="connsiteY2647" fmla="*/ 3165761 h 4167549"/>
              <a:gd name="connsiteX2648" fmla="*/ 3505817 w 10890933"/>
              <a:gd name="connsiteY2648" fmla="*/ 3194257 h 4167549"/>
              <a:gd name="connsiteX2649" fmla="*/ 3467069 w 10890933"/>
              <a:gd name="connsiteY2649" fmla="*/ 3202148 h 4167549"/>
              <a:gd name="connsiteX2650" fmla="*/ 3454545 w 10890933"/>
              <a:gd name="connsiteY2650" fmla="*/ 3180519 h 4167549"/>
              <a:gd name="connsiteX2651" fmla="*/ 3465375 w 10890933"/>
              <a:gd name="connsiteY2651" fmla="*/ 3174283 h 4167549"/>
              <a:gd name="connsiteX2652" fmla="*/ 6042036 w 10890933"/>
              <a:gd name="connsiteY2652" fmla="*/ 3164602 h 4167549"/>
              <a:gd name="connsiteX2653" fmla="*/ 6036672 w 10890933"/>
              <a:gd name="connsiteY2653" fmla="*/ 3176393 h 4167549"/>
              <a:gd name="connsiteX2654" fmla="*/ 6031643 w 10890933"/>
              <a:gd name="connsiteY2654" fmla="*/ 3171932 h 4167549"/>
              <a:gd name="connsiteX2655" fmla="*/ 6693319 w 10890933"/>
              <a:gd name="connsiteY2655" fmla="*/ 3163850 h 4167549"/>
              <a:gd name="connsiteX2656" fmla="*/ 6698395 w 10890933"/>
              <a:gd name="connsiteY2656" fmla="*/ 3164108 h 4167549"/>
              <a:gd name="connsiteX2657" fmla="*/ 6717592 w 10890933"/>
              <a:gd name="connsiteY2657" fmla="*/ 3169252 h 4167549"/>
              <a:gd name="connsiteX2658" fmla="*/ 6686590 w 10890933"/>
              <a:gd name="connsiteY2658" fmla="*/ 3169763 h 4167549"/>
              <a:gd name="connsiteX2659" fmla="*/ 6693319 w 10890933"/>
              <a:gd name="connsiteY2659" fmla="*/ 3163850 h 4167549"/>
              <a:gd name="connsiteX2660" fmla="*/ 6100163 w 10890933"/>
              <a:gd name="connsiteY2660" fmla="*/ 3163643 h 4167549"/>
              <a:gd name="connsiteX2661" fmla="*/ 6111458 w 10890933"/>
              <a:gd name="connsiteY2661" fmla="*/ 3169978 h 4167549"/>
              <a:gd name="connsiteX2662" fmla="*/ 6137903 w 10890933"/>
              <a:gd name="connsiteY2662" fmla="*/ 3177063 h 4167549"/>
              <a:gd name="connsiteX2663" fmla="*/ 6089418 w 10890933"/>
              <a:gd name="connsiteY2663" fmla="*/ 3181708 h 4167549"/>
              <a:gd name="connsiteX2664" fmla="*/ 6093827 w 10890933"/>
              <a:gd name="connsiteY2664" fmla="*/ 3165253 h 4167549"/>
              <a:gd name="connsiteX2665" fmla="*/ 6100163 w 10890933"/>
              <a:gd name="connsiteY2665" fmla="*/ 3163643 h 4167549"/>
              <a:gd name="connsiteX2666" fmla="*/ 6251768 w 10890933"/>
              <a:gd name="connsiteY2666" fmla="*/ 3163482 h 4167549"/>
              <a:gd name="connsiteX2667" fmla="*/ 6264938 w 10890933"/>
              <a:gd name="connsiteY2667" fmla="*/ 3163703 h 4167549"/>
              <a:gd name="connsiteX2668" fmla="*/ 6276451 w 10890933"/>
              <a:gd name="connsiteY2668" fmla="*/ 3170096 h 4167549"/>
              <a:gd name="connsiteX2669" fmla="*/ 6266772 w 10890933"/>
              <a:gd name="connsiteY2669" fmla="*/ 3177423 h 4167549"/>
              <a:gd name="connsiteX2670" fmla="*/ 6264415 w 10890933"/>
              <a:gd name="connsiteY2670" fmla="*/ 3184343 h 4167549"/>
              <a:gd name="connsiteX2671" fmla="*/ 6275955 w 10890933"/>
              <a:gd name="connsiteY2671" fmla="*/ 3184292 h 4167549"/>
              <a:gd name="connsiteX2672" fmla="*/ 6280270 w 10890933"/>
              <a:gd name="connsiteY2672" fmla="*/ 3188756 h 4167549"/>
              <a:gd name="connsiteX2673" fmla="*/ 6278065 w 10890933"/>
              <a:gd name="connsiteY2673" fmla="*/ 3196983 h 4167549"/>
              <a:gd name="connsiteX2674" fmla="*/ 6264275 w 10890933"/>
              <a:gd name="connsiteY2674" fmla="*/ 3184753 h 4167549"/>
              <a:gd name="connsiteX2675" fmla="*/ 6261610 w 10890933"/>
              <a:gd name="connsiteY2675" fmla="*/ 3192574 h 4167549"/>
              <a:gd name="connsiteX2676" fmla="*/ 6245155 w 10890933"/>
              <a:gd name="connsiteY2676" fmla="*/ 3188165 h 4167549"/>
              <a:gd name="connsiteX2677" fmla="*/ 6251549 w 10890933"/>
              <a:gd name="connsiteY2677" fmla="*/ 3176649 h 4167549"/>
              <a:gd name="connsiteX2678" fmla="*/ 6251771 w 10890933"/>
              <a:gd name="connsiteY2678" fmla="*/ 3163486 h 4167549"/>
              <a:gd name="connsiteX2679" fmla="*/ 6237115 w 10890933"/>
              <a:gd name="connsiteY2679" fmla="*/ 3174987 h 4167549"/>
              <a:gd name="connsiteX2680" fmla="*/ 6218565 w 10890933"/>
              <a:gd name="connsiteY2680" fmla="*/ 3172222 h 4167549"/>
              <a:gd name="connsiteX2681" fmla="*/ 6525561 w 10890933"/>
              <a:gd name="connsiteY2681" fmla="*/ 3161888 h 4167549"/>
              <a:gd name="connsiteX2682" fmla="*/ 6533789 w 10890933"/>
              <a:gd name="connsiteY2682" fmla="*/ 3164093 h 4167549"/>
              <a:gd name="connsiteX2683" fmla="*/ 6523357 w 10890933"/>
              <a:gd name="connsiteY2683" fmla="*/ 3170116 h 4167549"/>
              <a:gd name="connsiteX2684" fmla="*/ 6525561 w 10890933"/>
              <a:gd name="connsiteY2684" fmla="*/ 3161888 h 4167549"/>
              <a:gd name="connsiteX2685" fmla="*/ 3276661 w 10890933"/>
              <a:gd name="connsiteY2685" fmla="*/ 3161465 h 4167549"/>
              <a:gd name="connsiteX2686" fmla="*/ 3289796 w 10890933"/>
              <a:gd name="connsiteY2686" fmla="*/ 3163835 h 4167549"/>
              <a:gd name="connsiteX2687" fmla="*/ 3297757 w 10890933"/>
              <a:gd name="connsiteY2687" fmla="*/ 3185516 h 4167549"/>
              <a:gd name="connsiteX2688" fmla="*/ 3289193 w 10890933"/>
              <a:gd name="connsiteY2688" fmla="*/ 3183221 h 4167549"/>
              <a:gd name="connsiteX2689" fmla="*/ 3372540 w 10890933"/>
              <a:gd name="connsiteY2689" fmla="*/ 3214752 h 4167549"/>
              <a:gd name="connsiteX2690" fmla="*/ 3370240 w 10890933"/>
              <a:gd name="connsiteY2690" fmla="*/ 3223335 h 4167549"/>
              <a:gd name="connsiteX2691" fmla="*/ 3322817 w 10890933"/>
              <a:gd name="connsiteY2691" fmla="*/ 3229022 h 4167549"/>
              <a:gd name="connsiteX2692" fmla="*/ 3325116 w 10890933"/>
              <a:gd name="connsiteY2692" fmla="*/ 3220443 h 4167549"/>
              <a:gd name="connsiteX2693" fmla="*/ 3299423 w 10890933"/>
              <a:gd name="connsiteY2693" fmla="*/ 3213558 h 4167549"/>
              <a:gd name="connsiteX2694" fmla="*/ 3260564 w 10890933"/>
              <a:gd name="connsiteY2694" fmla="*/ 3221540 h 4167549"/>
              <a:gd name="connsiteX2695" fmla="*/ 3273096 w 10890933"/>
              <a:gd name="connsiteY2695" fmla="*/ 3243296 h 4167549"/>
              <a:gd name="connsiteX2696" fmla="*/ 3255965 w 10890933"/>
              <a:gd name="connsiteY2696" fmla="*/ 3238706 h 4167549"/>
              <a:gd name="connsiteX2697" fmla="*/ 3238836 w 10890933"/>
              <a:gd name="connsiteY2697" fmla="*/ 3234116 h 4167549"/>
              <a:gd name="connsiteX2698" fmla="*/ 3241135 w 10890933"/>
              <a:gd name="connsiteY2698" fmla="*/ 3225533 h 4167549"/>
              <a:gd name="connsiteX2699" fmla="*/ 3258264 w 10890933"/>
              <a:gd name="connsiteY2699" fmla="*/ 3230123 h 4167549"/>
              <a:gd name="connsiteX2700" fmla="*/ 3221707 w 10890933"/>
              <a:gd name="connsiteY2700" fmla="*/ 3229526 h 4167549"/>
              <a:gd name="connsiteX2701" fmla="*/ 3238836 w 10890933"/>
              <a:gd name="connsiteY2701" fmla="*/ 3234116 h 4167549"/>
              <a:gd name="connsiteX2702" fmla="*/ 3255965 w 10890933"/>
              <a:gd name="connsiteY2702" fmla="*/ 3238706 h 4167549"/>
              <a:gd name="connsiteX2703" fmla="*/ 3217108 w 10890933"/>
              <a:gd name="connsiteY2703" fmla="*/ 3246691 h 4167549"/>
              <a:gd name="connsiteX2704" fmla="*/ 3197679 w 10890933"/>
              <a:gd name="connsiteY2704" fmla="*/ 3250684 h 4167549"/>
              <a:gd name="connsiteX2705" fmla="*/ 3191414 w 10890933"/>
              <a:gd name="connsiteY2705" fmla="*/ 3239807 h 4167549"/>
              <a:gd name="connsiteX2706" fmla="*/ 3126862 w 10890933"/>
              <a:gd name="connsiteY2706" fmla="*/ 3240908 h 4167549"/>
              <a:gd name="connsiteX2707" fmla="*/ 3063975 w 10890933"/>
              <a:gd name="connsiteY2707" fmla="*/ 3270048 h 4167549"/>
              <a:gd name="connsiteX2708" fmla="*/ 3021785 w 10890933"/>
              <a:gd name="connsiteY2708" fmla="*/ 3221948 h 4167549"/>
              <a:gd name="connsiteX2709" fmla="*/ 3014885 w 10890933"/>
              <a:gd name="connsiteY2709" fmla="*/ 3247696 h 4167549"/>
              <a:gd name="connsiteX2710" fmla="*/ 3044546 w 10890933"/>
              <a:gd name="connsiteY2710" fmla="*/ 3274041 h 4167549"/>
              <a:gd name="connsiteX2711" fmla="*/ 3020517 w 10890933"/>
              <a:gd name="connsiteY2711" fmla="*/ 3295196 h 4167549"/>
              <a:gd name="connsiteX2712" fmla="*/ 2977692 w 10890933"/>
              <a:gd name="connsiteY2712" fmla="*/ 3283721 h 4167549"/>
              <a:gd name="connsiteX2713" fmla="*/ 2921706 w 10890933"/>
              <a:gd name="connsiteY2713" fmla="*/ 3287117 h 4167549"/>
              <a:gd name="connsiteX2714" fmla="*/ 2932570 w 10890933"/>
              <a:gd name="connsiteY2714" fmla="*/ 3280829 h 4167549"/>
              <a:gd name="connsiteX2715" fmla="*/ 2915441 w 10890933"/>
              <a:gd name="connsiteY2715" fmla="*/ 3276239 h 4167549"/>
              <a:gd name="connsiteX2716" fmla="*/ 2917107 w 10890933"/>
              <a:gd name="connsiteY2716" fmla="*/ 3304282 h 4167549"/>
              <a:gd name="connsiteX2717" fmla="*/ 2906243 w 10890933"/>
              <a:gd name="connsiteY2717" fmla="*/ 3310570 h 4167549"/>
              <a:gd name="connsiteX2718" fmla="*/ 2908542 w 10890933"/>
              <a:gd name="connsiteY2718" fmla="*/ 3301987 h 4167549"/>
              <a:gd name="connsiteX2719" fmla="*/ 2878248 w 10890933"/>
              <a:gd name="connsiteY2719" fmla="*/ 3312264 h 4167549"/>
              <a:gd name="connsiteX2720" fmla="*/ 2865718 w 10890933"/>
              <a:gd name="connsiteY2720" fmla="*/ 3290512 h 4167549"/>
              <a:gd name="connsiteX2721" fmla="*/ 2822260 w 10890933"/>
              <a:gd name="connsiteY2721" fmla="*/ 3315660 h 4167549"/>
              <a:gd name="connsiteX2722" fmla="*/ 2824559 w 10890933"/>
              <a:gd name="connsiteY2722" fmla="*/ 3307077 h 4167549"/>
              <a:gd name="connsiteX2723" fmla="*/ 2794267 w 10890933"/>
              <a:gd name="connsiteY2723" fmla="*/ 3317358 h 4167549"/>
              <a:gd name="connsiteX2724" fmla="*/ 2798232 w 10890933"/>
              <a:gd name="connsiteY2724" fmla="*/ 3336818 h 4167549"/>
              <a:gd name="connsiteX2725" fmla="*/ 2772538 w 10890933"/>
              <a:gd name="connsiteY2725" fmla="*/ 3329934 h 4167549"/>
              <a:gd name="connsiteX2726" fmla="*/ 2763376 w 10890933"/>
              <a:gd name="connsiteY2726" fmla="*/ 3302765 h 4167549"/>
              <a:gd name="connsiteX2727" fmla="*/ 2765794 w 10890933"/>
              <a:gd name="connsiteY2727" fmla="*/ 3298880 h 4167549"/>
              <a:gd name="connsiteX2728" fmla="*/ 2776879 w 10890933"/>
              <a:gd name="connsiteY2728" fmla="*/ 3296601 h 4167549"/>
              <a:gd name="connsiteX2729" fmla="*/ 2788002 w 10890933"/>
              <a:gd name="connsiteY2729" fmla="*/ 3306481 h 4167549"/>
              <a:gd name="connsiteX2730" fmla="*/ 2798866 w 10890933"/>
              <a:gd name="connsiteY2730" fmla="*/ 3300193 h 4167549"/>
              <a:gd name="connsiteX2731" fmla="*/ 2774115 w 10890933"/>
              <a:gd name="connsiteY2731" fmla="*/ 3285512 h 4167549"/>
              <a:gd name="connsiteX2732" fmla="*/ 2765794 w 10890933"/>
              <a:gd name="connsiteY2732" fmla="*/ 3298880 h 4167549"/>
              <a:gd name="connsiteX2733" fmla="*/ 2762309 w 10890933"/>
              <a:gd name="connsiteY2733" fmla="*/ 3299596 h 4167549"/>
              <a:gd name="connsiteX2734" fmla="*/ 2763376 w 10890933"/>
              <a:gd name="connsiteY2734" fmla="*/ 3302765 h 4167549"/>
              <a:gd name="connsiteX2735" fmla="*/ 2760009 w 10890933"/>
              <a:gd name="connsiteY2735" fmla="*/ 3308179 h 4167549"/>
              <a:gd name="connsiteX2736" fmla="*/ 2747477 w 10890933"/>
              <a:gd name="connsiteY2736" fmla="*/ 3286423 h 4167549"/>
              <a:gd name="connsiteX2737" fmla="*/ 2742878 w 10890933"/>
              <a:gd name="connsiteY2737" fmla="*/ 3303589 h 4167549"/>
              <a:gd name="connsiteX2738" fmla="*/ 2674360 w 10890933"/>
              <a:gd name="connsiteY2738" fmla="*/ 3285229 h 4167549"/>
              <a:gd name="connsiteX2739" fmla="*/ 2654931 w 10890933"/>
              <a:gd name="connsiteY2739" fmla="*/ 3289222 h 4167549"/>
              <a:gd name="connsiteX2740" fmla="*/ 2680625 w 10890933"/>
              <a:gd name="connsiteY2740" fmla="*/ 3296106 h 4167549"/>
              <a:gd name="connsiteX2741" fmla="*/ 2695456 w 10890933"/>
              <a:gd name="connsiteY2741" fmla="*/ 3309279 h 4167549"/>
              <a:gd name="connsiteX2742" fmla="*/ 2658896 w 10890933"/>
              <a:gd name="connsiteY2742" fmla="*/ 3308682 h 4167549"/>
              <a:gd name="connsiteX2743" fmla="*/ 2648033 w 10890933"/>
              <a:gd name="connsiteY2743" fmla="*/ 3314967 h 4167549"/>
              <a:gd name="connsiteX2744" fmla="*/ 2677694 w 10890933"/>
              <a:gd name="connsiteY2744" fmla="*/ 3341312 h 4167549"/>
              <a:gd name="connsiteX2745" fmla="*/ 2669127 w 10890933"/>
              <a:gd name="connsiteY2745" fmla="*/ 3339017 h 4167549"/>
              <a:gd name="connsiteX2746" fmla="*/ 2641134 w 10890933"/>
              <a:gd name="connsiteY2746" fmla="*/ 3340714 h 4167549"/>
              <a:gd name="connsiteX2747" fmla="*/ 2627970 w 10890933"/>
              <a:gd name="connsiteY2747" fmla="*/ 3355585 h 4167549"/>
              <a:gd name="connsiteX2748" fmla="*/ 2621706 w 10890933"/>
              <a:gd name="connsiteY2748" fmla="*/ 3344708 h 4167549"/>
              <a:gd name="connsiteX2749" fmla="*/ 2610841 w 10890933"/>
              <a:gd name="connsiteY2749" fmla="*/ 3350995 h 4167549"/>
              <a:gd name="connsiteX2750" fmla="*/ 2587445 w 10890933"/>
              <a:gd name="connsiteY2750" fmla="*/ 3335528 h 4167549"/>
              <a:gd name="connsiteX2751" fmla="*/ 2574281 w 10890933"/>
              <a:gd name="connsiteY2751" fmla="*/ 3350398 h 4167549"/>
              <a:gd name="connsiteX2752" fmla="*/ 2531460 w 10890933"/>
              <a:gd name="connsiteY2752" fmla="*/ 3338924 h 4167549"/>
              <a:gd name="connsiteX2753" fmla="*/ 2555487 w 10890933"/>
              <a:gd name="connsiteY2753" fmla="*/ 3317765 h 4167549"/>
              <a:gd name="connsiteX2754" fmla="*/ 2503464 w 10890933"/>
              <a:gd name="connsiteY2754" fmla="*/ 3340621 h 4167549"/>
              <a:gd name="connsiteX2755" fmla="*/ 2499499 w 10890933"/>
              <a:gd name="connsiteY2755" fmla="*/ 3321161 h 4167549"/>
              <a:gd name="connsiteX2756" fmla="*/ 2490935 w 10890933"/>
              <a:gd name="connsiteY2756" fmla="*/ 3318867 h 4167549"/>
              <a:gd name="connsiteX2757" fmla="*/ 2481737 w 10890933"/>
              <a:gd name="connsiteY2757" fmla="*/ 3353194 h 4167549"/>
              <a:gd name="connsiteX2758" fmla="*/ 2456043 w 10890933"/>
              <a:gd name="connsiteY2758" fmla="*/ 3346310 h 4167549"/>
              <a:gd name="connsiteX2759" fmla="*/ 2438912 w 10890933"/>
              <a:gd name="connsiteY2759" fmla="*/ 3341719 h 4167549"/>
              <a:gd name="connsiteX2760" fmla="*/ 2432013 w 10890933"/>
              <a:gd name="connsiteY2760" fmla="*/ 3367467 h 4167549"/>
              <a:gd name="connsiteX2761" fmla="*/ 2430348 w 10890933"/>
              <a:gd name="connsiteY2761" fmla="*/ 3339424 h 4167549"/>
              <a:gd name="connsiteX2762" fmla="*/ 2413219 w 10890933"/>
              <a:gd name="connsiteY2762" fmla="*/ 3334835 h 4167549"/>
              <a:gd name="connsiteX2763" fmla="*/ 2389191 w 10890933"/>
              <a:gd name="connsiteY2763" fmla="*/ 3355993 h 4167549"/>
              <a:gd name="connsiteX2764" fmla="*/ 2372059 w 10890933"/>
              <a:gd name="connsiteY2764" fmla="*/ 3351402 h 4167549"/>
              <a:gd name="connsiteX2765" fmla="*/ 2361195 w 10890933"/>
              <a:gd name="connsiteY2765" fmla="*/ 3357690 h 4167549"/>
              <a:gd name="connsiteX2766" fmla="*/ 2376027 w 10890933"/>
              <a:gd name="connsiteY2766" fmla="*/ 3370863 h 4167549"/>
              <a:gd name="connsiteX2767" fmla="*/ 2371428 w 10890933"/>
              <a:gd name="connsiteY2767" fmla="*/ 3388026 h 4167549"/>
              <a:gd name="connsiteX2768" fmla="*/ 2328604 w 10890933"/>
              <a:gd name="connsiteY2768" fmla="*/ 3376551 h 4167549"/>
              <a:gd name="connsiteX2769" fmla="*/ 2354297 w 10890933"/>
              <a:gd name="connsiteY2769" fmla="*/ 3383435 h 4167549"/>
              <a:gd name="connsiteX2770" fmla="*/ 2350331 w 10890933"/>
              <a:gd name="connsiteY2770" fmla="*/ 3363978 h 4167549"/>
              <a:gd name="connsiteX2771" fmla="*/ 2320673 w 10890933"/>
              <a:gd name="connsiteY2771" fmla="*/ 3337634 h 4167549"/>
              <a:gd name="connsiteX2772" fmla="*/ 2346366 w 10890933"/>
              <a:gd name="connsiteY2772" fmla="*/ 3344518 h 4167549"/>
              <a:gd name="connsiteX2773" fmla="*/ 2359530 w 10890933"/>
              <a:gd name="connsiteY2773" fmla="*/ 3329647 h 4167549"/>
              <a:gd name="connsiteX2774" fmla="*/ 2396090 w 10890933"/>
              <a:gd name="connsiteY2774" fmla="*/ 3330245 h 4167549"/>
              <a:gd name="connsiteX2775" fmla="*/ 2398390 w 10890933"/>
              <a:gd name="connsiteY2775" fmla="*/ 3321662 h 4167549"/>
              <a:gd name="connsiteX2776" fmla="*/ 2450410 w 10890933"/>
              <a:gd name="connsiteY2776" fmla="*/ 3298809 h 4167549"/>
              <a:gd name="connsiteX2777" fmla="*/ 2597278 w 10890933"/>
              <a:gd name="connsiteY2777" fmla="*/ 3264575 h 4167549"/>
              <a:gd name="connsiteX2778" fmla="*/ 2689823 w 10890933"/>
              <a:gd name="connsiteY2778" fmla="*/ 3261776 h 4167549"/>
              <a:gd name="connsiteX2779" fmla="*/ 2677293 w 10890933"/>
              <a:gd name="connsiteY2779" fmla="*/ 3240024 h 4167549"/>
              <a:gd name="connsiteX2780" fmla="*/ 2724717 w 10890933"/>
              <a:gd name="connsiteY2780" fmla="*/ 3234334 h 4167549"/>
              <a:gd name="connsiteX2781" fmla="*/ 2730982 w 10890933"/>
              <a:gd name="connsiteY2781" fmla="*/ 3245211 h 4167549"/>
              <a:gd name="connsiteX2782" fmla="*/ 2752710 w 10890933"/>
              <a:gd name="connsiteY2782" fmla="*/ 3232636 h 4167549"/>
              <a:gd name="connsiteX2783" fmla="*/ 2830426 w 10890933"/>
              <a:gd name="connsiteY2783" fmla="*/ 3216668 h 4167549"/>
              <a:gd name="connsiteX2784" fmla="*/ 2903543 w 10890933"/>
              <a:gd name="connsiteY2784" fmla="*/ 3217862 h 4167549"/>
              <a:gd name="connsiteX2785" fmla="*/ 2899578 w 10890933"/>
              <a:gd name="connsiteY2785" fmla="*/ 3198402 h 4167549"/>
              <a:gd name="connsiteX2786" fmla="*/ 2992123 w 10890933"/>
              <a:gd name="connsiteY2786" fmla="*/ 3195606 h 4167549"/>
              <a:gd name="connsiteX2787" fmla="*/ 3026383 w 10890933"/>
              <a:gd name="connsiteY2787" fmla="*/ 3204786 h 4167549"/>
              <a:gd name="connsiteX2788" fmla="*/ 3022418 w 10890933"/>
              <a:gd name="connsiteY2788" fmla="*/ 3185326 h 4167549"/>
              <a:gd name="connsiteX2789" fmla="*/ 3069842 w 10890933"/>
              <a:gd name="connsiteY2789" fmla="*/ 3179635 h 4167549"/>
              <a:gd name="connsiteX2790" fmla="*/ 3156122 w 10890933"/>
              <a:gd name="connsiteY2790" fmla="*/ 3165962 h 4167549"/>
              <a:gd name="connsiteX2791" fmla="*/ 3209811 w 10890933"/>
              <a:gd name="connsiteY2791" fmla="*/ 3171149 h 4167549"/>
              <a:gd name="connsiteX2792" fmla="*/ 3269762 w 10890933"/>
              <a:gd name="connsiteY2792" fmla="*/ 3187213 h 4167549"/>
              <a:gd name="connsiteX2793" fmla="*/ 3207512 w 10890933"/>
              <a:gd name="connsiteY2793" fmla="*/ 3179732 h 4167549"/>
              <a:gd name="connsiteX2794" fmla="*/ 3237170 w 10890933"/>
              <a:gd name="connsiteY2794" fmla="*/ 3206073 h 4167549"/>
              <a:gd name="connsiteX2795" fmla="*/ 3267462 w 10890933"/>
              <a:gd name="connsiteY2795" fmla="*/ 3195795 h 4167549"/>
              <a:gd name="connsiteX2796" fmla="*/ 3278329 w 10890933"/>
              <a:gd name="connsiteY2796" fmla="*/ 3189508 h 4167549"/>
              <a:gd name="connsiteX2797" fmla="*/ 3269762 w 10890933"/>
              <a:gd name="connsiteY2797" fmla="*/ 3187213 h 4167549"/>
              <a:gd name="connsiteX2798" fmla="*/ 3276661 w 10890933"/>
              <a:gd name="connsiteY2798" fmla="*/ 3161465 h 4167549"/>
              <a:gd name="connsiteX2799" fmla="*/ 5392312 w 10890933"/>
              <a:gd name="connsiteY2799" fmla="*/ 3160691 h 4167549"/>
              <a:gd name="connsiteX2800" fmla="*/ 5390028 w 10890933"/>
              <a:gd name="connsiteY2800" fmla="*/ 3169217 h 4167549"/>
              <a:gd name="connsiteX2801" fmla="*/ 5381482 w 10890933"/>
              <a:gd name="connsiteY2801" fmla="*/ 3166927 h 4167549"/>
              <a:gd name="connsiteX2802" fmla="*/ 5392312 w 10890933"/>
              <a:gd name="connsiteY2802" fmla="*/ 3160691 h 4167549"/>
              <a:gd name="connsiteX2803" fmla="*/ 2484761 w 10890933"/>
              <a:gd name="connsiteY2803" fmla="*/ 3157187 h 4167549"/>
              <a:gd name="connsiteX2804" fmla="*/ 2495523 w 10890933"/>
              <a:gd name="connsiteY2804" fmla="*/ 3162276 h 4167549"/>
              <a:gd name="connsiteX2805" fmla="*/ 2476864 w 10890933"/>
              <a:gd name="connsiteY2805" fmla="*/ 3166094 h 4167549"/>
              <a:gd name="connsiteX2806" fmla="*/ 2484761 w 10890933"/>
              <a:gd name="connsiteY2806" fmla="*/ 3157187 h 4167549"/>
              <a:gd name="connsiteX2807" fmla="*/ 6720896 w 10890933"/>
              <a:gd name="connsiteY2807" fmla="*/ 3156911 h 4167549"/>
              <a:gd name="connsiteX2808" fmla="*/ 6723979 w 10890933"/>
              <a:gd name="connsiteY2808" fmla="*/ 3178315 h 4167549"/>
              <a:gd name="connsiteX2809" fmla="*/ 6720896 w 10890933"/>
              <a:gd name="connsiteY2809" fmla="*/ 3156911 h 4167549"/>
              <a:gd name="connsiteX2810" fmla="*/ 5703379 w 10890933"/>
              <a:gd name="connsiteY2810" fmla="*/ 3153223 h 4167549"/>
              <a:gd name="connsiteX2811" fmla="*/ 5719834 w 10890933"/>
              <a:gd name="connsiteY2811" fmla="*/ 3157632 h 4167549"/>
              <a:gd name="connsiteX2812" fmla="*/ 5692947 w 10890933"/>
              <a:gd name="connsiteY2812" fmla="*/ 3159246 h 4167549"/>
              <a:gd name="connsiteX2813" fmla="*/ 5703379 w 10890933"/>
              <a:gd name="connsiteY2813" fmla="*/ 3153223 h 4167549"/>
              <a:gd name="connsiteX2814" fmla="*/ 6256478 w 10890933"/>
              <a:gd name="connsiteY2814" fmla="*/ 3151562 h 4167549"/>
              <a:gd name="connsiteX2815" fmla="*/ 6256512 w 10890933"/>
              <a:gd name="connsiteY2815" fmla="*/ 3151604 h 4167549"/>
              <a:gd name="connsiteX2816" fmla="*/ 6254340 w 10890933"/>
              <a:gd name="connsiteY2816" fmla="*/ 3153884 h 4167549"/>
              <a:gd name="connsiteX2817" fmla="*/ 6256478 w 10890933"/>
              <a:gd name="connsiteY2817" fmla="*/ 3151562 h 4167549"/>
              <a:gd name="connsiteX2818" fmla="*/ 6008171 w 10890933"/>
              <a:gd name="connsiteY2818" fmla="*/ 3151120 h 4167549"/>
              <a:gd name="connsiteX2819" fmla="*/ 6011989 w 10890933"/>
              <a:gd name="connsiteY2819" fmla="*/ 3169779 h 4167549"/>
              <a:gd name="connsiteX2820" fmla="*/ 6008171 w 10890933"/>
              <a:gd name="connsiteY2820" fmla="*/ 3151120 h 4167549"/>
              <a:gd name="connsiteX2821" fmla="*/ 3305661 w 10890933"/>
              <a:gd name="connsiteY2821" fmla="*/ 3150080 h 4167549"/>
              <a:gd name="connsiteX2822" fmla="*/ 3319360 w 10890933"/>
              <a:gd name="connsiteY2822" fmla="*/ 3164774 h 4167549"/>
              <a:gd name="connsiteX2823" fmla="*/ 3286450 w 10890933"/>
              <a:gd name="connsiteY2823" fmla="*/ 3155956 h 4167549"/>
              <a:gd name="connsiteX2824" fmla="*/ 3294677 w 10890933"/>
              <a:gd name="connsiteY2824" fmla="*/ 3158161 h 4167549"/>
              <a:gd name="connsiteX2825" fmla="*/ 3305661 w 10890933"/>
              <a:gd name="connsiteY2825" fmla="*/ 3150080 h 4167549"/>
              <a:gd name="connsiteX2826" fmla="*/ 6035058 w 10890933"/>
              <a:gd name="connsiteY2826" fmla="*/ 3149506 h 4167549"/>
              <a:gd name="connsiteX2827" fmla="*/ 6032853 w 10890933"/>
              <a:gd name="connsiteY2827" fmla="*/ 3157733 h 4167549"/>
              <a:gd name="connsiteX2828" fmla="*/ 6029546 w 10890933"/>
              <a:gd name="connsiteY2828" fmla="*/ 3170073 h 4167549"/>
              <a:gd name="connsiteX2829" fmla="*/ 6027764 w 10890933"/>
              <a:gd name="connsiteY2829" fmla="*/ 3168496 h 4167549"/>
              <a:gd name="connsiteX2830" fmla="*/ 6026239 w 10890933"/>
              <a:gd name="connsiteY2830" fmla="*/ 3182416 h 4167549"/>
              <a:gd name="connsiteX2831" fmla="*/ 6035058 w 10890933"/>
              <a:gd name="connsiteY2831" fmla="*/ 3149506 h 4167549"/>
              <a:gd name="connsiteX2832" fmla="*/ 7644606 w 10890933"/>
              <a:gd name="connsiteY2832" fmla="*/ 3148689 h 4167549"/>
              <a:gd name="connsiteX2833" fmla="*/ 7663157 w 10890933"/>
              <a:gd name="connsiteY2833" fmla="*/ 3151455 h 4167549"/>
              <a:gd name="connsiteX2834" fmla="*/ 7671199 w 10890933"/>
              <a:gd name="connsiteY2834" fmla="*/ 3164633 h 4167549"/>
              <a:gd name="connsiteX2835" fmla="*/ 7644606 w 10890933"/>
              <a:gd name="connsiteY2835" fmla="*/ 3148689 h 4167549"/>
              <a:gd name="connsiteX2836" fmla="*/ 2433173 w 10890933"/>
              <a:gd name="connsiteY2836" fmla="*/ 3148141 h 4167549"/>
              <a:gd name="connsiteX2837" fmla="*/ 2470841 w 10890933"/>
              <a:gd name="connsiteY2837" fmla="*/ 3155662 h 4167549"/>
              <a:gd name="connsiteX2838" fmla="*/ 2416331 w 10890933"/>
              <a:gd name="connsiteY2838" fmla="*/ 3161634 h 4167549"/>
              <a:gd name="connsiteX2839" fmla="*/ 2433173 w 10890933"/>
              <a:gd name="connsiteY2839" fmla="*/ 3148141 h 4167549"/>
              <a:gd name="connsiteX2840" fmla="*/ 6253862 w 10890933"/>
              <a:gd name="connsiteY2840" fmla="*/ 3145387 h 4167549"/>
              <a:gd name="connsiteX2841" fmla="*/ 6244349 w 10890933"/>
              <a:gd name="connsiteY2841" fmla="*/ 3151940 h 4167549"/>
              <a:gd name="connsiteX2842" fmla="*/ 6240205 w 10890933"/>
              <a:gd name="connsiteY2842" fmla="*/ 3146052 h 4167549"/>
              <a:gd name="connsiteX2843" fmla="*/ 6254465 w 10890933"/>
              <a:gd name="connsiteY2843" fmla="*/ 3144971 h 4167549"/>
              <a:gd name="connsiteX2844" fmla="*/ 6255283 w 10890933"/>
              <a:gd name="connsiteY2844" fmla="*/ 3145318 h 4167549"/>
              <a:gd name="connsiteX2845" fmla="*/ 6253862 w 10890933"/>
              <a:gd name="connsiteY2845" fmla="*/ 3145387 h 4167549"/>
              <a:gd name="connsiteX2846" fmla="*/ 6339413 w 10890933"/>
              <a:gd name="connsiteY2846" fmla="*/ 3142874 h 4167549"/>
              <a:gd name="connsiteX2847" fmla="*/ 6358512 w 10890933"/>
              <a:gd name="connsiteY2847" fmla="*/ 3143582 h 4167549"/>
              <a:gd name="connsiteX2848" fmla="*/ 6346709 w 10890933"/>
              <a:gd name="connsiteY2848" fmla="*/ 3149238 h 4167549"/>
              <a:gd name="connsiteX2849" fmla="*/ 6327510 w 10890933"/>
              <a:gd name="connsiteY2849" fmla="*/ 3144094 h 4167549"/>
              <a:gd name="connsiteX2850" fmla="*/ 6339413 w 10890933"/>
              <a:gd name="connsiteY2850" fmla="*/ 3142874 h 4167549"/>
              <a:gd name="connsiteX2851" fmla="*/ 6265077 w 10890933"/>
              <a:gd name="connsiteY2851" fmla="*/ 3142613 h 4167549"/>
              <a:gd name="connsiteX2852" fmla="*/ 6292395 w 10890933"/>
              <a:gd name="connsiteY2852" fmla="*/ 3143503 h 4167549"/>
              <a:gd name="connsiteX2853" fmla="*/ 6298051 w 10890933"/>
              <a:gd name="connsiteY2853" fmla="*/ 3155306 h 4167549"/>
              <a:gd name="connsiteX2854" fmla="*/ 6289931 w 10890933"/>
              <a:gd name="connsiteY2854" fmla="*/ 3161582 h 4167549"/>
              <a:gd name="connsiteX2855" fmla="*/ 6311364 w 10890933"/>
              <a:gd name="connsiteY2855" fmla="*/ 3167325 h 4167549"/>
              <a:gd name="connsiteX2856" fmla="*/ 6312393 w 10890933"/>
              <a:gd name="connsiteY2856" fmla="*/ 3167600 h 4167549"/>
              <a:gd name="connsiteX2857" fmla="*/ 6323887 w 10890933"/>
              <a:gd name="connsiteY2857" fmla="*/ 3190522 h 4167549"/>
              <a:gd name="connsiteX2858" fmla="*/ 6304952 w 10890933"/>
              <a:gd name="connsiteY2858" fmla="*/ 3195369 h 4167549"/>
              <a:gd name="connsiteX2859" fmla="*/ 6295403 w 10890933"/>
              <a:gd name="connsiteY2859" fmla="*/ 3181648 h 4167549"/>
              <a:gd name="connsiteX2860" fmla="*/ 6288379 w 10890933"/>
              <a:gd name="connsiteY2860" fmla="*/ 3162782 h 4167549"/>
              <a:gd name="connsiteX2861" fmla="*/ 6286929 w 10890933"/>
              <a:gd name="connsiteY2861" fmla="*/ 3163902 h 4167549"/>
              <a:gd name="connsiteX2862" fmla="*/ 6281596 w 10890933"/>
              <a:gd name="connsiteY2862" fmla="*/ 3150897 h 4167549"/>
              <a:gd name="connsiteX2863" fmla="*/ 6270795 w 10890933"/>
              <a:gd name="connsiteY2863" fmla="*/ 3158293 h 4167549"/>
              <a:gd name="connsiteX2864" fmla="*/ 6259483 w 10890933"/>
              <a:gd name="connsiteY2864" fmla="*/ 3155261 h 4167549"/>
              <a:gd name="connsiteX2865" fmla="*/ 6256512 w 10890933"/>
              <a:gd name="connsiteY2865" fmla="*/ 3151604 h 4167549"/>
              <a:gd name="connsiteX2866" fmla="*/ 8492163 w 10890933"/>
              <a:gd name="connsiteY2866" fmla="*/ 3141023 h 4167549"/>
              <a:gd name="connsiteX2867" fmla="*/ 8498521 w 10890933"/>
              <a:gd name="connsiteY2867" fmla="*/ 3148218 h 4167549"/>
              <a:gd name="connsiteX2868" fmla="*/ 8492154 w 10890933"/>
              <a:gd name="connsiteY2868" fmla="*/ 3142103 h 4167549"/>
              <a:gd name="connsiteX2869" fmla="*/ 6412286 w 10890933"/>
              <a:gd name="connsiteY2869" fmla="*/ 3140355 h 4167549"/>
              <a:gd name="connsiteX2870" fmla="*/ 6414197 w 10890933"/>
              <a:gd name="connsiteY2870" fmla="*/ 3149685 h 4167549"/>
              <a:gd name="connsiteX2871" fmla="*/ 6412774 w 10890933"/>
              <a:gd name="connsiteY2871" fmla="*/ 3149854 h 4167549"/>
              <a:gd name="connsiteX2872" fmla="*/ 6420844 w 10890933"/>
              <a:gd name="connsiteY2872" fmla="*/ 3153671 h 4167549"/>
              <a:gd name="connsiteX2873" fmla="*/ 6422128 w 10890933"/>
              <a:gd name="connsiteY2873" fmla="*/ 3169446 h 4167549"/>
              <a:gd name="connsiteX2874" fmla="*/ 6412194 w 10890933"/>
              <a:gd name="connsiteY2874" fmla="*/ 3161272 h 4167549"/>
              <a:gd name="connsiteX2875" fmla="*/ 6410343 w 10890933"/>
              <a:gd name="connsiteY2875" fmla="*/ 3150144 h 4167549"/>
              <a:gd name="connsiteX2876" fmla="*/ 6391422 w 10890933"/>
              <a:gd name="connsiteY2876" fmla="*/ 3152401 h 4167549"/>
              <a:gd name="connsiteX2877" fmla="*/ 6412286 w 10890933"/>
              <a:gd name="connsiteY2877" fmla="*/ 3140355 h 4167549"/>
              <a:gd name="connsiteX2878" fmla="*/ 7704698 w 10890933"/>
              <a:gd name="connsiteY2878" fmla="*/ 3138336 h 4167549"/>
              <a:gd name="connsiteX2879" fmla="*/ 7694265 w 10890933"/>
              <a:gd name="connsiteY2879" fmla="*/ 3144359 h 4167549"/>
              <a:gd name="connsiteX2880" fmla="*/ 7686038 w 10890933"/>
              <a:gd name="connsiteY2880" fmla="*/ 3142155 h 4167549"/>
              <a:gd name="connsiteX2881" fmla="*/ 7704698 w 10890933"/>
              <a:gd name="connsiteY2881" fmla="*/ 3138336 h 4167549"/>
              <a:gd name="connsiteX2882" fmla="*/ 8492190 w 10890933"/>
              <a:gd name="connsiteY2882" fmla="*/ 3137704 h 4167549"/>
              <a:gd name="connsiteX2883" fmla="*/ 8492163 w 10890933"/>
              <a:gd name="connsiteY2883" fmla="*/ 3141023 h 4167549"/>
              <a:gd name="connsiteX2884" fmla="*/ 8489366 w 10890933"/>
              <a:gd name="connsiteY2884" fmla="*/ 3137858 h 4167549"/>
              <a:gd name="connsiteX2885" fmla="*/ 6329714 w 10890933"/>
              <a:gd name="connsiteY2885" fmla="*/ 3135866 h 4167549"/>
              <a:gd name="connsiteX2886" fmla="*/ 6323101 w 10890933"/>
              <a:gd name="connsiteY2886" fmla="*/ 3160549 h 4167549"/>
              <a:gd name="connsiteX2887" fmla="*/ 6298418 w 10890933"/>
              <a:gd name="connsiteY2887" fmla="*/ 3153935 h 4167549"/>
              <a:gd name="connsiteX2888" fmla="*/ 6292395 w 10890933"/>
              <a:gd name="connsiteY2888" fmla="*/ 3143503 h 4167549"/>
              <a:gd name="connsiteX2889" fmla="*/ 6329714 w 10890933"/>
              <a:gd name="connsiteY2889" fmla="*/ 3135866 h 4167549"/>
              <a:gd name="connsiteX2890" fmla="*/ 8371833 w 10890933"/>
              <a:gd name="connsiteY2890" fmla="*/ 3129156 h 4167549"/>
              <a:gd name="connsiteX2891" fmla="*/ 8385596 w 10890933"/>
              <a:gd name="connsiteY2891" fmla="*/ 3147725 h 4167549"/>
              <a:gd name="connsiteX2892" fmla="*/ 8344459 w 10890933"/>
              <a:gd name="connsiteY2892" fmla="*/ 3136703 h 4167549"/>
              <a:gd name="connsiteX2893" fmla="*/ 8371833 w 10890933"/>
              <a:gd name="connsiteY2893" fmla="*/ 3129156 h 4167549"/>
              <a:gd name="connsiteX2894" fmla="*/ 6357363 w 10890933"/>
              <a:gd name="connsiteY2894" fmla="*/ 3128943 h 4167549"/>
              <a:gd name="connsiteX2895" fmla="*/ 6385399 w 10890933"/>
              <a:gd name="connsiteY2895" fmla="*/ 3141968 h 4167549"/>
              <a:gd name="connsiteX2896" fmla="*/ 6374146 w 10890933"/>
              <a:gd name="connsiteY2896" fmla="*/ 3147771 h 4167549"/>
              <a:gd name="connsiteX2897" fmla="*/ 6358512 w 10890933"/>
              <a:gd name="connsiteY2897" fmla="*/ 3143582 h 4167549"/>
              <a:gd name="connsiteX2898" fmla="*/ 6337942 w 10890933"/>
              <a:gd name="connsiteY2898" fmla="*/ 3138071 h 4167549"/>
              <a:gd name="connsiteX2899" fmla="*/ 6357363 w 10890933"/>
              <a:gd name="connsiteY2899" fmla="*/ 3128943 h 4167549"/>
              <a:gd name="connsiteX2900" fmla="*/ 7624333 w 10890933"/>
              <a:gd name="connsiteY2900" fmla="*/ 3125621 h 4167549"/>
              <a:gd name="connsiteX2901" fmla="*/ 7649015 w 10890933"/>
              <a:gd name="connsiteY2901" fmla="*/ 3132234 h 4167549"/>
              <a:gd name="connsiteX2902" fmla="*/ 7624333 w 10890933"/>
              <a:gd name="connsiteY2902" fmla="*/ 3125621 h 4167549"/>
              <a:gd name="connsiteX2903" fmla="*/ 6647896 w 10890933"/>
              <a:gd name="connsiteY2903" fmla="*/ 3120814 h 4167549"/>
              <a:gd name="connsiteX2904" fmla="*/ 6663598 w 10890933"/>
              <a:gd name="connsiteY2904" fmla="*/ 3123919 h 4167549"/>
              <a:gd name="connsiteX2905" fmla="*/ 6636711 w 10890933"/>
              <a:gd name="connsiteY2905" fmla="*/ 3125533 h 4167549"/>
              <a:gd name="connsiteX2906" fmla="*/ 6647896 w 10890933"/>
              <a:gd name="connsiteY2906" fmla="*/ 3120814 h 4167549"/>
              <a:gd name="connsiteX2907" fmla="*/ 593308 w 10890933"/>
              <a:gd name="connsiteY2907" fmla="*/ 3119946 h 4167549"/>
              <a:gd name="connsiteX2908" fmla="*/ 593819 w 10890933"/>
              <a:gd name="connsiteY2908" fmla="*/ 3150948 h 4167549"/>
              <a:gd name="connsiteX2909" fmla="*/ 593308 w 10890933"/>
              <a:gd name="connsiteY2909" fmla="*/ 3119946 h 4167549"/>
              <a:gd name="connsiteX2910" fmla="*/ 5980899 w 10890933"/>
              <a:gd name="connsiteY2910" fmla="*/ 3117402 h 4167549"/>
              <a:gd name="connsiteX2911" fmla="*/ 5984910 w 10890933"/>
              <a:gd name="connsiteY2911" fmla="*/ 3124334 h 4167549"/>
              <a:gd name="connsiteX2912" fmla="*/ 5978615 w 10890933"/>
              <a:gd name="connsiteY2912" fmla="*/ 3125925 h 4167549"/>
              <a:gd name="connsiteX2913" fmla="*/ 6245358 w 10890933"/>
              <a:gd name="connsiteY2913" fmla="*/ 3113999 h 4167549"/>
              <a:gd name="connsiteX2914" fmla="*/ 6262448 w 10890933"/>
              <a:gd name="connsiteY2914" fmla="*/ 3118578 h 4167549"/>
              <a:gd name="connsiteX2915" fmla="*/ 6260060 w 10890933"/>
              <a:gd name="connsiteY2915" fmla="*/ 3127490 h 4167549"/>
              <a:gd name="connsiteX2916" fmla="*/ 6299011 w 10890933"/>
              <a:gd name="connsiteY2916" fmla="*/ 3118821 h 4167549"/>
              <a:gd name="connsiteX2917" fmla="*/ 6294235 w 10890933"/>
              <a:gd name="connsiteY2917" fmla="*/ 3136647 h 4167549"/>
              <a:gd name="connsiteX2918" fmla="*/ 6268604 w 10890933"/>
              <a:gd name="connsiteY2918" fmla="*/ 3129779 h 4167549"/>
              <a:gd name="connsiteX2919" fmla="*/ 6255579 w 10890933"/>
              <a:gd name="connsiteY2919" fmla="*/ 3144203 h 4167549"/>
              <a:gd name="connsiteX2920" fmla="*/ 6254465 w 10890933"/>
              <a:gd name="connsiteY2920" fmla="*/ 3144971 h 4167549"/>
              <a:gd name="connsiteX2921" fmla="*/ 6239858 w 10890933"/>
              <a:gd name="connsiteY2921" fmla="*/ 3138797 h 4167549"/>
              <a:gd name="connsiteX2922" fmla="*/ 6227262 w 10890933"/>
              <a:gd name="connsiteY2922" fmla="*/ 3147362 h 4167549"/>
              <a:gd name="connsiteX2923" fmla="*/ 6232038 w 10890933"/>
              <a:gd name="connsiteY2923" fmla="*/ 3129536 h 4167549"/>
              <a:gd name="connsiteX2924" fmla="*/ 6245358 w 10890933"/>
              <a:gd name="connsiteY2924" fmla="*/ 3113999 h 4167549"/>
              <a:gd name="connsiteX2925" fmla="*/ 6125953 w 10890933"/>
              <a:gd name="connsiteY2925" fmla="*/ 3108826 h 4167549"/>
              <a:gd name="connsiteX2926" fmla="*/ 6134768 w 10890933"/>
              <a:gd name="connsiteY2926" fmla="*/ 3111188 h 4167549"/>
              <a:gd name="connsiteX2927" fmla="*/ 6163696 w 10890933"/>
              <a:gd name="connsiteY2927" fmla="*/ 3109018 h 4167549"/>
              <a:gd name="connsiteX2928" fmla="*/ 6144959 w 10890933"/>
              <a:gd name="connsiteY2928" fmla="*/ 3143681 h 4167549"/>
              <a:gd name="connsiteX2929" fmla="*/ 6127327 w 10890933"/>
              <a:gd name="connsiteY2929" fmla="*/ 3138956 h 4167549"/>
              <a:gd name="connsiteX2930" fmla="*/ 6138624 w 10890933"/>
              <a:gd name="connsiteY2930" fmla="*/ 3132062 h 4167549"/>
              <a:gd name="connsiteX2931" fmla="*/ 6114656 w 10890933"/>
              <a:gd name="connsiteY2931" fmla="*/ 3115720 h 4167549"/>
              <a:gd name="connsiteX2932" fmla="*/ 6125953 w 10890933"/>
              <a:gd name="connsiteY2932" fmla="*/ 3108826 h 4167549"/>
              <a:gd name="connsiteX2933" fmla="*/ 6183162 w 10890933"/>
              <a:gd name="connsiteY2933" fmla="*/ 3106885 h 4167549"/>
              <a:gd name="connsiteX2934" fmla="*/ 6191706 w 10890933"/>
              <a:gd name="connsiteY2934" fmla="*/ 3109174 h 4167549"/>
              <a:gd name="connsiteX2935" fmla="*/ 6189317 w 10890933"/>
              <a:gd name="connsiteY2935" fmla="*/ 3118089 h 4167549"/>
              <a:gd name="connsiteX2936" fmla="*/ 6214950 w 10890933"/>
              <a:gd name="connsiteY2936" fmla="*/ 3124957 h 4167549"/>
              <a:gd name="connsiteX2937" fmla="*/ 6232038 w 10890933"/>
              <a:gd name="connsiteY2937" fmla="*/ 3129536 h 4167549"/>
              <a:gd name="connsiteX2938" fmla="*/ 6215593 w 10890933"/>
              <a:gd name="connsiteY2938" fmla="*/ 3131101 h 4167549"/>
              <a:gd name="connsiteX2939" fmla="*/ 6187369 w 10890933"/>
              <a:gd name="connsiteY2939" fmla="*/ 3135475 h 4167549"/>
              <a:gd name="connsiteX2940" fmla="*/ 6190311 w 10890933"/>
              <a:gd name="connsiteY2940" fmla="*/ 3139857 h 4167549"/>
              <a:gd name="connsiteX2941" fmla="*/ 6201353 w 10890933"/>
              <a:gd name="connsiteY2941" fmla="*/ 3137725 h 4167549"/>
              <a:gd name="connsiteX2942" fmla="*/ 6190799 w 10890933"/>
              <a:gd name="connsiteY2942" fmla="*/ 3144204 h 4167549"/>
              <a:gd name="connsiteX2943" fmla="*/ 6207254 w 10890933"/>
              <a:gd name="connsiteY2943" fmla="*/ 3148613 h 4167549"/>
              <a:gd name="connsiteX2944" fmla="*/ 6196699 w 10890933"/>
              <a:gd name="connsiteY2944" fmla="*/ 3155095 h 4167549"/>
              <a:gd name="connsiteX2945" fmla="*/ 6202600 w 10890933"/>
              <a:gd name="connsiteY2945" fmla="*/ 3165983 h 4167549"/>
              <a:gd name="connsiteX2946" fmla="*/ 6188471 w 10890933"/>
              <a:gd name="connsiteY2946" fmla="*/ 3152891 h 4167549"/>
              <a:gd name="connsiteX2947" fmla="*/ 6175590 w 10890933"/>
              <a:gd name="connsiteY2947" fmla="*/ 3168056 h 4167549"/>
              <a:gd name="connsiteX2948" fmla="*/ 6182571 w 10890933"/>
              <a:gd name="connsiteY2948" fmla="*/ 3142000 h 4167549"/>
              <a:gd name="connsiteX2949" fmla="*/ 6154481 w 10890933"/>
              <a:gd name="connsiteY2949" fmla="*/ 3181014 h 4167549"/>
              <a:gd name="connsiteX2950" fmla="*/ 6129799 w 10890933"/>
              <a:gd name="connsiteY2950" fmla="*/ 3174400 h 4167549"/>
              <a:gd name="connsiteX2951" fmla="*/ 6166116 w 10890933"/>
              <a:gd name="connsiteY2951" fmla="*/ 3137590 h 4167549"/>
              <a:gd name="connsiteX2952" fmla="*/ 6174344 w 10890933"/>
              <a:gd name="connsiteY2952" fmla="*/ 3139795 h 4167549"/>
              <a:gd name="connsiteX2953" fmla="*/ 6170770 w 10890933"/>
              <a:gd name="connsiteY2953" fmla="*/ 3120221 h 4167549"/>
              <a:gd name="connsiteX2954" fmla="*/ 6185189 w 10890933"/>
              <a:gd name="connsiteY2954" fmla="*/ 3132230 h 4167549"/>
              <a:gd name="connsiteX2955" fmla="*/ 6185432 w 10890933"/>
              <a:gd name="connsiteY2955" fmla="*/ 3132590 h 4167549"/>
              <a:gd name="connsiteX2956" fmla="*/ 6186929 w 10890933"/>
              <a:gd name="connsiteY2956" fmla="*/ 3127003 h 4167549"/>
              <a:gd name="connsiteX2957" fmla="*/ 6183162 w 10890933"/>
              <a:gd name="connsiteY2957" fmla="*/ 3106885 h 4167549"/>
              <a:gd name="connsiteX2958" fmla="*/ 6075485 w 10890933"/>
              <a:gd name="connsiteY2958" fmla="*/ 3106201 h 4167549"/>
              <a:gd name="connsiteX2959" fmla="*/ 6073201 w 10890933"/>
              <a:gd name="connsiteY2959" fmla="*/ 3114724 h 4167549"/>
              <a:gd name="connsiteX2960" fmla="*/ 6053827 w 10890933"/>
              <a:gd name="connsiteY2960" fmla="*/ 3118671 h 4167549"/>
              <a:gd name="connsiteX2961" fmla="*/ 6081747 w 10890933"/>
              <a:gd name="connsiteY2961" fmla="*/ 3117014 h 4167549"/>
              <a:gd name="connsiteX2962" fmla="*/ 6115927 w 10890933"/>
              <a:gd name="connsiteY2962" fmla="*/ 3126173 h 4167549"/>
              <a:gd name="connsiteX2963" fmla="*/ 6111359 w 10890933"/>
              <a:gd name="connsiteY2963" fmla="*/ 3143221 h 4167549"/>
              <a:gd name="connsiteX2964" fmla="*/ 6094269 w 10890933"/>
              <a:gd name="connsiteY2964" fmla="*/ 3138642 h 4167549"/>
              <a:gd name="connsiteX2965" fmla="*/ 6102813 w 10890933"/>
              <a:gd name="connsiteY2965" fmla="*/ 3140931 h 4167549"/>
              <a:gd name="connsiteX2966" fmla="*/ 6087417 w 10890933"/>
              <a:gd name="connsiteY2966" fmla="*/ 3164216 h 4167549"/>
              <a:gd name="connsiteX2967" fmla="*/ 6070327 w 10890933"/>
              <a:gd name="connsiteY2967" fmla="*/ 3159637 h 4167549"/>
              <a:gd name="connsiteX2968" fmla="*/ 6083439 w 10890933"/>
              <a:gd name="connsiteY2968" fmla="*/ 3144877 h 4167549"/>
              <a:gd name="connsiteX2969" fmla="*/ 6057805 w 10890933"/>
              <a:gd name="connsiteY2969" fmla="*/ 3138009 h 4167549"/>
              <a:gd name="connsiteX2970" fmla="*/ 6059496 w 10890933"/>
              <a:gd name="connsiteY2970" fmla="*/ 3165872 h 4167549"/>
              <a:gd name="connsiteX2971" fmla="*/ 6046975 w 10890933"/>
              <a:gd name="connsiteY2971" fmla="*/ 3144242 h 4167549"/>
              <a:gd name="connsiteX2972" fmla="*/ 6045281 w 10890933"/>
              <a:gd name="connsiteY2972" fmla="*/ 3116381 h 4167549"/>
              <a:gd name="connsiteX2973" fmla="*/ 6075485 w 10890933"/>
              <a:gd name="connsiteY2973" fmla="*/ 3106201 h 4167549"/>
              <a:gd name="connsiteX2974" fmla="*/ 3522396 w 10890933"/>
              <a:gd name="connsiteY2974" fmla="*/ 3098197 h 4167549"/>
              <a:gd name="connsiteX2975" fmla="*/ 3543464 w 10890933"/>
              <a:gd name="connsiteY2975" fmla="*/ 3122117 h 4167549"/>
              <a:gd name="connsiteX2976" fmla="*/ 3627220 w 10890933"/>
              <a:gd name="connsiteY2976" fmla="*/ 3117149 h 4167549"/>
              <a:gd name="connsiteX2977" fmla="*/ 3618676 w 10890933"/>
              <a:gd name="connsiteY2977" fmla="*/ 3114860 h 4167549"/>
              <a:gd name="connsiteX2978" fmla="*/ 3638050 w 10890933"/>
              <a:gd name="connsiteY2978" fmla="*/ 3110914 h 4167549"/>
              <a:gd name="connsiteX2979" fmla="*/ 3676798 w 10890933"/>
              <a:gd name="connsiteY2979" fmla="*/ 3103024 h 4167549"/>
              <a:gd name="connsiteX2980" fmla="*/ 3686412 w 10890933"/>
              <a:gd name="connsiteY2980" fmla="*/ 3105600 h 4167549"/>
              <a:gd name="connsiteX2981" fmla="*/ 3702434 w 10890933"/>
              <a:gd name="connsiteY2981" fmla="*/ 3109893 h 4167549"/>
              <a:gd name="connsiteX2982" fmla="*/ 3680777 w 10890933"/>
              <a:gd name="connsiteY2982" fmla="*/ 3122362 h 4167549"/>
              <a:gd name="connsiteX2983" fmla="*/ 3678492 w 10890933"/>
              <a:gd name="connsiteY2983" fmla="*/ 3130888 h 4167549"/>
              <a:gd name="connsiteX2984" fmla="*/ 3682440 w 10890933"/>
              <a:gd name="connsiteY2984" fmla="*/ 3134037 h 4167549"/>
              <a:gd name="connsiteX2985" fmla="*/ 3693319 w 10890933"/>
              <a:gd name="connsiteY2985" fmla="*/ 3134905 h 4167549"/>
              <a:gd name="connsiteX2986" fmla="*/ 3691596 w 10890933"/>
              <a:gd name="connsiteY2986" fmla="*/ 3141339 h 4167549"/>
              <a:gd name="connsiteX2987" fmla="*/ 3693584 w 10890933"/>
              <a:gd name="connsiteY2987" fmla="*/ 3142925 h 4167549"/>
              <a:gd name="connsiteX2988" fmla="*/ 3710388 w 10890933"/>
              <a:gd name="connsiteY2988" fmla="*/ 3148569 h 4167549"/>
              <a:gd name="connsiteX2989" fmla="*/ 3705819 w 10890933"/>
              <a:gd name="connsiteY2989" fmla="*/ 3165620 h 4167549"/>
              <a:gd name="connsiteX2990" fmla="*/ 3697273 w 10890933"/>
              <a:gd name="connsiteY2990" fmla="*/ 3163330 h 4167549"/>
              <a:gd name="connsiteX2991" fmla="*/ 3686446 w 10890933"/>
              <a:gd name="connsiteY2991" fmla="*/ 3169564 h 4167549"/>
              <a:gd name="connsiteX2992" fmla="*/ 3698967 w 10890933"/>
              <a:gd name="connsiteY2992" fmla="*/ 3191192 h 4167549"/>
              <a:gd name="connsiteX2993" fmla="*/ 3681878 w 10890933"/>
              <a:gd name="connsiteY2993" fmla="*/ 3186613 h 4167549"/>
              <a:gd name="connsiteX2994" fmla="*/ 3671047 w 10890933"/>
              <a:gd name="connsiteY2994" fmla="*/ 3192848 h 4167549"/>
              <a:gd name="connsiteX2995" fmla="*/ 3677309 w 10890933"/>
              <a:gd name="connsiteY2995" fmla="*/ 3203661 h 4167549"/>
              <a:gd name="connsiteX2996" fmla="*/ 3598119 w 10890933"/>
              <a:gd name="connsiteY2996" fmla="*/ 3191579 h 4167549"/>
              <a:gd name="connsiteX2997" fmla="*/ 3610641 w 10890933"/>
              <a:gd name="connsiteY2997" fmla="*/ 3213207 h 4167549"/>
              <a:gd name="connsiteX2998" fmla="*/ 3589574 w 10890933"/>
              <a:gd name="connsiteY2998" fmla="*/ 3189290 h 4167549"/>
              <a:gd name="connsiteX2999" fmla="*/ 3585005 w 10890933"/>
              <a:gd name="connsiteY2999" fmla="*/ 3206338 h 4167549"/>
              <a:gd name="connsiteX3000" fmla="*/ 3510385 w 10890933"/>
              <a:gd name="connsiteY3000" fmla="*/ 3177209 h 4167549"/>
              <a:gd name="connsiteX3001" fmla="*/ 3514954 w 10890933"/>
              <a:gd name="connsiteY3001" fmla="*/ 3160158 h 4167549"/>
              <a:gd name="connsiteX3002" fmla="*/ 3532044 w 10890933"/>
              <a:gd name="connsiteY3002" fmla="*/ 3164737 h 4167549"/>
              <a:gd name="connsiteX3003" fmla="*/ 3555394 w 10890933"/>
              <a:gd name="connsiteY3003" fmla="*/ 3180131 h 4167549"/>
              <a:gd name="connsiteX3004" fmla="*/ 3559961 w 10890933"/>
              <a:gd name="connsiteY3004" fmla="*/ 3163083 h 4167549"/>
              <a:gd name="connsiteX3005" fmla="*/ 3545156 w 10890933"/>
              <a:gd name="connsiteY3005" fmla="*/ 3149978 h 4167549"/>
              <a:gd name="connsiteX3006" fmla="*/ 3564529 w 10890933"/>
              <a:gd name="connsiteY3006" fmla="*/ 3146034 h 4167549"/>
              <a:gd name="connsiteX3007" fmla="*/ 3549724 w 10890933"/>
              <a:gd name="connsiteY3007" fmla="*/ 3132929 h 4167549"/>
              <a:gd name="connsiteX3008" fmla="*/ 3525781 w 10890933"/>
              <a:gd name="connsiteY3008" fmla="*/ 3153924 h 4167549"/>
              <a:gd name="connsiteX3009" fmla="*/ 3502432 w 10890933"/>
              <a:gd name="connsiteY3009" fmla="*/ 3138530 h 4167549"/>
              <a:gd name="connsiteX3010" fmla="*/ 3467659 w 10890933"/>
              <a:gd name="connsiteY3010" fmla="*/ 3165761 h 4167549"/>
              <a:gd name="connsiteX3011" fmla="*/ 3469943 w 10890933"/>
              <a:gd name="connsiteY3011" fmla="*/ 3157235 h 4167549"/>
              <a:gd name="connsiteX3012" fmla="*/ 3409537 w 10890933"/>
              <a:gd name="connsiteY3012" fmla="*/ 3177594 h 4167549"/>
              <a:gd name="connsiteX3013" fmla="*/ 3383901 w 10890933"/>
              <a:gd name="connsiteY3013" fmla="*/ 3170725 h 4167549"/>
              <a:gd name="connsiteX3014" fmla="*/ 3424933 w 10890933"/>
              <a:gd name="connsiteY3014" fmla="*/ 3154312 h 4167549"/>
              <a:gd name="connsiteX3015" fmla="*/ 3427217 w 10890933"/>
              <a:gd name="connsiteY3015" fmla="*/ 3145786 h 4167549"/>
              <a:gd name="connsiteX3016" fmla="*/ 3414695 w 10890933"/>
              <a:gd name="connsiteY3016" fmla="*/ 3124159 h 4167549"/>
              <a:gd name="connsiteX3017" fmla="*/ 3491601 w 10890933"/>
              <a:gd name="connsiteY3017" fmla="*/ 3144766 h 4167549"/>
              <a:gd name="connsiteX3018" fmla="*/ 3521806 w 10890933"/>
              <a:gd name="connsiteY3018" fmla="*/ 3134586 h 4167549"/>
              <a:gd name="connsiteX3019" fmla="*/ 3496169 w 10890933"/>
              <a:gd name="connsiteY3019" fmla="*/ 3127717 h 4167549"/>
              <a:gd name="connsiteX3020" fmla="*/ 3526374 w 10890933"/>
              <a:gd name="connsiteY3020" fmla="*/ 3117538 h 4167549"/>
              <a:gd name="connsiteX3021" fmla="*/ 3517827 w 10890933"/>
              <a:gd name="connsiteY3021" fmla="*/ 3115248 h 4167549"/>
              <a:gd name="connsiteX3022" fmla="*/ 3520112 w 10890933"/>
              <a:gd name="connsiteY3022" fmla="*/ 3106723 h 4167549"/>
              <a:gd name="connsiteX3023" fmla="*/ 3522396 w 10890933"/>
              <a:gd name="connsiteY3023" fmla="*/ 3098197 h 4167549"/>
              <a:gd name="connsiteX3024" fmla="*/ 6597113 w 10890933"/>
              <a:gd name="connsiteY3024" fmla="*/ 3097288 h 4167549"/>
              <a:gd name="connsiteX3025" fmla="*/ 6608247 w 10890933"/>
              <a:gd name="connsiteY3025" fmla="*/ 3098067 h 4167549"/>
              <a:gd name="connsiteX3026" fmla="*/ 6632210 w 10890933"/>
              <a:gd name="connsiteY3026" fmla="*/ 3106693 h 4167549"/>
              <a:gd name="connsiteX3027" fmla="*/ 6627801 w 10890933"/>
              <a:gd name="connsiteY3027" fmla="*/ 3123148 h 4167549"/>
              <a:gd name="connsiteX3028" fmla="*/ 6614382 w 10890933"/>
              <a:gd name="connsiteY3028" fmla="*/ 3101916 h 4167549"/>
              <a:gd name="connsiteX3029" fmla="*/ 6594352 w 10890933"/>
              <a:gd name="connsiteY3029" fmla="*/ 3105367 h 4167549"/>
              <a:gd name="connsiteX3030" fmla="*/ 6597113 w 10890933"/>
              <a:gd name="connsiteY3030" fmla="*/ 3097288 h 4167549"/>
              <a:gd name="connsiteX3031" fmla="*/ 8272048 w 10890933"/>
              <a:gd name="connsiteY3031" fmla="*/ 3096353 h 4167549"/>
              <a:gd name="connsiteX3032" fmla="*/ 8330816 w 10890933"/>
              <a:gd name="connsiteY3032" fmla="*/ 3121799 h 4167549"/>
              <a:gd name="connsiteX3033" fmla="*/ 8322075 w 10890933"/>
              <a:gd name="connsiteY3033" fmla="*/ 3119457 h 4167549"/>
              <a:gd name="connsiteX3034" fmla="*/ 8293423 w 10890933"/>
              <a:gd name="connsiteY3034" fmla="*/ 3121481 h 4167549"/>
              <a:gd name="connsiteX3035" fmla="*/ 8308481 w 10890933"/>
              <a:gd name="connsiteY3035" fmla="*/ 3135217 h 4167549"/>
              <a:gd name="connsiteX3036" fmla="*/ 8279832 w 10890933"/>
              <a:gd name="connsiteY3036" fmla="*/ 3137239 h 4167549"/>
              <a:gd name="connsiteX3037" fmla="*/ 8256029 w 10890933"/>
              <a:gd name="connsiteY3037" fmla="*/ 3121163 h 4167549"/>
              <a:gd name="connsiteX3038" fmla="*/ 8272048 w 10890933"/>
              <a:gd name="connsiteY3038" fmla="*/ 3096353 h 4167549"/>
              <a:gd name="connsiteX3039" fmla="*/ 7258127 w 10890933"/>
              <a:gd name="connsiteY3039" fmla="*/ 3093632 h 4167549"/>
              <a:gd name="connsiteX3040" fmla="*/ 7253718 w 10890933"/>
              <a:gd name="connsiteY3040" fmla="*/ 3110087 h 4167549"/>
              <a:gd name="connsiteX3041" fmla="*/ 7258127 w 10890933"/>
              <a:gd name="connsiteY3041" fmla="*/ 3093632 h 4167549"/>
              <a:gd name="connsiteX3042" fmla="*/ 6462777 w 10890933"/>
              <a:gd name="connsiteY3042" fmla="*/ 3091789 h 4167549"/>
              <a:gd name="connsiteX3043" fmla="*/ 6475245 w 10890933"/>
              <a:gd name="connsiteY3043" fmla="*/ 3102849 h 4167549"/>
              <a:gd name="connsiteX3044" fmla="*/ 6439763 w 10890933"/>
              <a:gd name="connsiteY3044" fmla="*/ 3103629 h 4167549"/>
              <a:gd name="connsiteX3045" fmla="*/ 6434108 w 10890933"/>
              <a:gd name="connsiteY3045" fmla="*/ 3091826 h 4167549"/>
              <a:gd name="connsiteX3046" fmla="*/ 6462777 w 10890933"/>
              <a:gd name="connsiteY3046" fmla="*/ 3091789 h 4167549"/>
              <a:gd name="connsiteX3047" fmla="*/ 6052133 w 10890933"/>
              <a:gd name="connsiteY3047" fmla="*/ 3090807 h 4167549"/>
              <a:gd name="connsiteX3048" fmla="*/ 6058395 w 10890933"/>
              <a:gd name="connsiteY3048" fmla="*/ 3101622 h 4167549"/>
              <a:gd name="connsiteX3049" fmla="*/ 6045281 w 10890933"/>
              <a:gd name="connsiteY3049" fmla="*/ 3116381 h 4167549"/>
              <a:gd name="connsiteX3050" fmla="*/ 6038429 w 10890933"/>
              <a:gd name="connsiteY3050" fmla="*/ 3141952 h 4167549"/>
              <a:gd name="connsiteX3051" fmla="*/ 5984875 w 10890933"/>
              <a:gd name="connsiteY3051" fmla="*/ 3136740 h 4167549"/>
              <a:gd name="connsiteX3052" fmla="*/ 6012795 w 10890933"/>
              <a:gd name="connsiteY3052" fmla="*/ 3135084 h 4167549"/>
              <a:gd name="connsiteX3053" fmla="*/ 5988725 w 10890933"/>
              <a:gd name="connsiteY3053" fmla="*/ 3130920 h 4167549"/>
              <a:gd name="connsiteX3054" fmla="*/ 5984910 w 10890933"/>
              <a:gd name="connsiteY3054" fmla="*/ 3124334 h 4167549"/>
              <a:gd name="connsiteX3055" fmla="*/ 6009313 w 10890933"/>
              <a:gd name="connsiteY3055" fmla="*/ 3118164 h 4167549"/>
              <a:gd name="connsiteX3056" fmla="*/ 6024215 w 10890933"/>
              <a:gd name="connsiteY3056" fmla="*/ 3092464 h 4167549"/>
              <a:gd name="connsiteX3057" fmla="*/ 6025907 w 10890933"/>
              <a:gd name="connsiteY3057" fmla="*/ 3120324 h 4167549"/>
              <a:gd name="connsiteX3058" fmla="*/ 6030475 w 10890933"/>
              <a:gd name="connsiteY3058" fmla="*/ 3103276 h 4167549"/>
              <a:gd name="connsiteX3059" fmla="*/ 6052133 w 10890933"/>
              <a:gd name="connsiteY3059" fmla="*/ 3090807 h 4167549"/>
              <a:gd name="connsiteX3060" fmla="*/ 8212418 w 10890933"/>
              <a:gd name="connsiteY3060" fmla="*/ 3090574 h 4167549"/>
              <a:gd name="connsiteX3061" fmla="*/ 8228189 w 10890933"/>
              <a:gd name="connsiteY3061" fmla="*/ 3093422 h 4167549"/>
              <a:gd name="connsiteX3062" fmla="*/ 8200751 w 10890933"/>
              <a:gd name="connsiteY3062" fmla="*/ 3097094 h 4167549"/>
              <a:gd name="connsiteX3063" fmla="*/ 8212418 w 10890933"/>
              <a:gd name="connsiteY3063" fmla="*/ 3090574 h 4167549"/>
              <a:gd name="connsiteX3064" fmla="*/ 3874517 w 10890933"/>
              <a:gd name="connsiteY3064" fmla="*/ 3082912 h 4167549"/>
              <a:gd name="connsiteX3065" fmla="*/ 3936617 w 10890933"/>
              <a:gd name="connsiteY3065" fmla="*/ 3090414 h 4167549"/>
              <a:gd name="connsiteX3066" fmla="*/ 3912675 w 10890933"/>
              <a:gd name="connsiteY3066" fmla="*/ 3111409 h 4167549"/>
              <a:gd name="connsiteX3067" fmla="*/ 3904959 w 10890933"/>
              <a:gd name="connsiteY3067" fmla="*/ 3105487 h 4167549"/>
              <a:gd name="connsiteX3068" fmla="*/ 3903691 w 10890933"/>
              <a:gd name="connsiteY3068" fmla="*/ 3105318 h 4167549"/>
              <a:gd name="connsiteX3069" fmla="*/ 3890392 w 10890933"/>
              <a:gd name="connsiteY3069" fmla="*/ 3096301 h 4167549"/>
              <a:gd name="connsiteX3070" fmla="*/ 3874517 w 10890933"/>
              <a:gd name="connsiteY3070" fmla="*/ 3082912 h 4167549"/>
              <a:gd name="connsiteX3071" fmla="*/ 2737586 w 10890933"/>
              <a:gd name="connsiteY3071" fmla="*/ 3081637 h 4167549"/>
              <a:gd name="connsiteX3072" fmla="*/ 2757492 w 10890933"/>
              <a:gd name="connsiteY3072" fmla="*/ 3106076 h 4167549"/>
              <a:gd name="connsiteX3073" fmla="*/ 2700962 w 10890933"/>
              <a:gd name="connsiteY3073" fmla="*/ 3119589 h 4167549"/>
              <a:gd name="connsiteX3074" fmla="*/ 2690346 w 10890933"/>
              <a:gd name="connsiteY3074" fmla="*/ 3126299 h 4167549"/>
              <a:gd name="connsiteX3075" fmla="*/ 2699900 w 10890933"/>
              <a:gd name="connsiteY3075" fmla="*/ 3090644 h 4167549"/>
              <a:gd name="connsiteX3076" fmla="*/ 2737586 w 10890933"/>
              <a:gd name="connsiteY3076" fmla="*/ 3081637 h 4167549"/>
              <a:gd name="connsiteX3077" fmla="*/ 8268791 w 10890933"/>
              <a:gd name="connsiteY3077" fmla="*/ 3079661 h 4167549"/>
              <a:gd name="connsiteX3078" fmla="*/ 8267795 w 10890933"/>
              <a:gd name="connsiteY3078" fmla="*/ 3086396 h 4167549"/>
              <a:gd name="connsiteX3079" fmla="*/ 8264870 w 10890933"/>
              <a:gd name="connsiteY3079" fmla="*/ 3084509 h 4167549"/>
              <a:gd name="connsiteX3080" fmla="*/ 5936482 w 10890933"/>
              <a:gd name="connsiteY3080" fmla="*/ 3078091 h 4167549"/>
              <a:gd name="connsiteX3081" fmla="*/ 5940457 w 10890933"/>
              <a:gd name="connsiteY3081" fmla="*/ 3097428 h 4167549"/>
              <a:gd name="connsiteX3082" fmla="*/ 5931914 w 10890933"/>
              <a:gd name="connsiteY3082" fmla="*/ 3095139 h 4167549"/>
              <a:gd name="connsiteX3083" fmla="*/ 5936482 w 10890933"/>
              <a:gd name="connsiteY3083" fmla="*/ 3078091 h 4167549"/>
              <a:gd name="connsiteX3084" fmla="*/ 8269066 w 10890933"/>
              <a:gd name="connsiteY3084" fmla="*/ 3077807 h 4167549"/>
              <a:gd name="connsiteX3085" fmla="*/ 8270000 w 10890933"/>
              <a:gd name="connsiteY3085" fmla="*/ 3078168 h 4167549"/>
              <a:gd name="connsiteX3086" fmla="*/ 8268791 w 10890933"/>
              <a:gd name="connsiteY3086" fmla="*/ 3079661 h 4167549"/>
              <a:gd name="connsiteX3087" fmla="*/ 6037342 w 10890933"/>
              <a:gd name="connsiteY3087" fmla="*/ 3075161 h 4167549"/>
              <a:gd name="connsiteX3088" fmla="*/ 6053797 w 10890933"/>
              <a:gd name="connsiteY3088" fmla="*/ 3079571 h 4167549"/>
              <a:gd name="connsiteX3089" fmla="*/ 6040058 w 10890933"/>
              <a:gd name="connsiteY3089" fmla="*/ 3097936 h 4167549"/>
              <a:gd name="connsiteX3090" fmla="*/ 6037342 w 10890933"/>
              <a:gd name="connsiteY3090" fmla="*/ 3075161 h 4167549"/>
              <a:gd name="connsiteX3091" fmla="*/ 2952254 w 10890933"/>
              <a:gd name="connsiteY3091" fmla="*/ 3074299 h 4167549"/>
              <a:gd name="connsiteX3092" fmla="*/ 2958475 w 10890933"/>
              <a:gd name="connsiteY3092" fmla="*/ 3085131 h 4167549"/>
              <a:gd name="connsiteX3093" fmla="*/ 2952254 w 10890933"/>
              <a:gd name="connsiteY3093" fmla="*/ 3074299 h 4167549"/>
              <a:gd name="connsiteX3094" fmla="*/ 6364057 w 10890933"/>
              <a:gd name="connsiteY3094" fmla="*/ 3074162 h 4167549"/>
              <a:gd name="connsiteX3095" fmla="*/ 6371053 w 10890933"/>
              <a:gd name="connsiteY3095" fmla="*/ 3079291 h 4167549"/>
              <a:gd name="connsiteX3096" fmla="*/ 6390950 w 10890933"/>
              <a:gd name="connsiteY3096" fmla="*/ 3088344 h 4167549"/>
              <a:gd name="connsiteX3097" fmla="*/ 6376733 w 10890933"/>
              <a:gd name="connsiteY3097" fmla="*/ 3104376 h 4167549"/>
              <a:gd name="connsiteX3098" fmla="*/ 6363181 w 10890933"/>
              <a:gd name="connsiteY3098" fmla="*/ 3080903 h 4167549"/>
              <a:gd name="connsiteX3099" fmla="*/ 6364057 w 10890933"/>
              <a:gd name="connsiteY3099" fmla="*/ 3074162 h 4167549"/>
              <a:gd name="connsiteX3100" fmla="*/ 8038328 w 10890933"/>
              <a:gd name="connsiteY3100" fmla="*/ 3073411 h 4167549"/>
              <a:gd name="connsiteX3101" fmla="*/ 8046835 w 10890933"/>
              <a:gd name="connsiteY3101" fmla="*/ 3073486 h 4167549"/>
              <a:gd name="connsiteX3102" fmla="*/ 8068266 w 10890933"/>
              <a:gd name="connsiteY3102" fmla="*/ 3081434 h 4167549"/>
              <a:gd name="connsiteX3103" fmla="*/ 8029036 w 10890933"/>
              <a:gd name="connsiteY3103" fmla="*/ 3079740 h 4167549"/>
              <a:gd name="connsiteX3104" fmla="*/ 8038328 w 10890933"/>
              <a:gd name="connsiteY3104" fmla="*/ 3073411 h 4167549"/>
              <a:gd name="connsiteX3105" fmla="*/ 8293021 w 10890933"/>
              <a:gd name="connsiteY3105" fmla="*/ 3073316 h 4167549"/>
              <a:gd name="connsiteX3106" fmla="*/ 8313409 w 10890933"/>
              <a:gd name="connsiteY3106" fmla="*/ 3080984 h 4167549"/>
              <a:gd name="connsiteX3107" fmla="*/ 8311204 w 10890933"/>
              <a:gd name="connsiteY3107" fmla="*/ 3089211 h 4167549"/>
              <a:gd name="connsiteX3108" fmla="*/ 8337649 w 10890933"/>
              <a:gd name="connsiteY3108" fmla="*/ 3096297 h 4167549"/>
              <a:gd name="connsiteX3109" fmla="*/ 8335444 w 10890933"/>
              <a:gd name="connsiteY3109" fmla="*/ 3104525 h 4167549"/>
              <a:gd name="connsiteX3110" fmla="*/ 8291368 w 10890933"/>
              <a:gd name="connsiteY3110" fmla="*/ 3092715 h 4167549"/>
              <a:gd name="connsiteX3111" fmla="*/ 8293572 w 10890933"/>
              <a:gd name="connsiteY3111" fmla="*/ 3084487 h 4167549"/>
              <a:gd name="connsiteX3112" fmla="*/ 8275941 w 10890933"/>
              <a:gd name="connsiteY3112" fmla="*/ 3079763 h 4167549"/>
              <a:gd name="connsiteX3113" fmla="*/ 8293021 w 10890933"/>
              <a:gd name="connsiteY3113" fmla="*/ 3073316 h 4167549"/>
              <a:gd name="connsiteX3114" fmla="*/ 579648 w 10890933"/>
              <a:gd name="connsiteY3114" fmla="*/ 3072194 h 4167549"/>
              <a:gd name="connsiteX3115" fmla="*/ 576853 w 10890933"/>
              <a:gd name="connsiteY3115" fmla="*/ 3115536 h 4167549"/>
              <a:gd name="connsiteX3116" fmla="*/ 579648 w 10890933"/>
              <a:gd name="connsiteY3116" fmla="*/ 3072194 h 4167549"/>
              <a:gd name="connsiteX3117" fmla="*/ 6228166 w 10890933"/>
              <a:gd name="connsiteY3117" fmla="*/ 3072059 h 4167549"/>
              <a:gd name="connsiteX3118" fmla="*/ 6245368 w 10890933"/>
              <a:gd name="connsiteY3118" fmla="*/ 3076668 h 4167549"/>
              <a:gd name="connsiteX3119" fmla="*/ 6228166 w 10890933"/>
              <a:gd name="connsiteY3119" fmla="*/ 3072059 h 4167549"/>
              <a:gd name="connsiteX3120" fmla="*/ 6326435 w 10890933"/>
              <a:gd name="connsiteY3120" fmla="*/ 3069952 h 4167549"/>
              <a:gd name="connsiteX3121" fmla="*/ 6336919 w 10890933"/>
              <a:gd name="connsiteY3121" fmla="*/ 3076069 h 4167549"/>
              <a:gd name="connsiteX3122" fmla="*/ 6334714 w 10890933"/>
              <a:gd name="connsiteY3122" fmla="*/ 3084296 h 4167549"/>
              <a:gd name="connsiteX3123" fmla="*/ 6324282 w 10890933"/>
              <a:gd name="connsiteY3123" fmla="*/ 3090319 h 4167549"/>
              <a:gd name="connsiteX3124" fmla="*/ 6320464 w 10890933"/>
              <a:gd name="connsiteY3124" fmla="*/ 3071660 h 4167549"/>
              <a:gd name="connsiteX3125" fmla="*/ 6326435 w 10890933"/>
              <a:gd name="connsiteY3125" fmla="*/ 3069952 h 4167549"/>
              <a:gd name="connsiteX3126" fmla="*/ 8335357 w 10890933"/>
              <a:gd name="connsiteY3126" fmla="*/ 3067986 h 4167549"/>
              <a:gd name="connsiteX3127" fmla="*/ 8387854 w 10890933"/>
              <a:gd name="connsiteY3127" fmla="*/ 3083292 h 4167549"/>
              <a:gd name="connsiteX3128" fmla="*/ 8404924 w 10890933"/>
              <a:gd name="connsiteY3128" fmla="*/ 3087866 h 4167549"/>
              <a:gd name="connsiteX3129" fmla="*/ 8409333 w 10890933"/>
              <a:gd name="connsiteY3129" fmla="*/ 3071411 h 4167549"/>
              <a:gd name="connsiteX3130" fmla="*/ 8426162 w 10890933"/>
              <a:gd name="connsiteY3130" fmla="*/ 3072613 h 4167549"/>
              <a:gd name="connsiteX3131" fmla="*/ 8434935 w 10890933"/>
              <a:gd name="connsiteY3131" fmla="*/ 3078271 h 4167549"/>
              <a:gd name="connsiteX3132" fmla="*/ 8415665 w 10890933"/>
              <a:gd name="connsiteY3132" fmla="*/ 3081926 h 4167549"/>
              <a:gd name="connsiteX3133" fmla="*/ 8532941 w 10890933"/>
              <a:gd name="connsiteY3133" fmla="*/ 3122168 h 4167549"/>
              <a:gd name="connsiteX3134" fmla="*/ 8543682 w 10890933"/>
              <a:gd name="connsiteY3134" fmla="*/ 3116228 h 4167549"/>
              <a:gd name="connsiteX3135" fmla="*/ 8569284 w 10890933"/>
              <a:gd name="connsiteY3135" fmla="*/ 3123088 h 4167549"/>
              <a:gd name="connsiteX3136" fmla="*/ 8567080 w 10890933"/>
              <a:gd name="connsiteY3136" fmla="*/ 3131316 h 4167549"/>
              <a:gd name="connsiteX3137" fmla="*/ 8575616 w 10890933"/>
              <a:gd name="connsiteY3137" fmla="*/ 3133603 h 4167549"/>
              <a:gd name="connsiteX3138" fmla="*/ 8812377 w 10890933"/>
              <a:gd name="connsiteY3138" fmla="*/ 3205861 h 4167549"/>
              <a:gd name="connsiteX3139" fmla="*/ 8886983 w 10890933"/>
              <a:gd name="connsiteY3139" fmla="*/ 3234670 h 4167549"/>
              <a:gd name="connsiteX3140" fmla="*/ 8859176 w 10890933"/>
              <a:gd name="connsiteY3140" fmla="*/ 3236037 h 4167549"/>
              <a:gd name="connsiteX3141" fmla="*/ 8810173 w 10890933"/>
              <a:gd name="connsiteY3141" fmla="*/ 3214089 h 4167549"/>
              <a:gd name="connsiteX3142" fmla="*/ 8799432 w 10890933"/>
              <a:gd name="connsiteY3142" fmla="*/ 3220029 h 4167549"/>
              <a:gd name="connsiteX3143" fmla="*/ 8795309 w 10890933"/>
              <a:gd name="connsiteY3143" fmla="*/ 3201287 h 4167549"/>
              <a:gd name="connsiteX3144" fmla="*/ 8784571 w 10890933"/>
              <a:gd name="connsiteY3144" fmla="*/ 3207229 h 4167549"/>
              <a:gd name="connsiteX3145" fmla="*/ 8776035 w 10890933"/>
              <a:gd name="connsiteY3145" fmla="*/ 3204942 h 4167549"/>
              <a:gd name="connsiteX3146" fmla="*/ 8731159 w 10890933"/>
              <a:gd name="connsiteY3146" fmla="*/ 3201735 h 4167549"/>
              <a:gd name="connsiteX3147" fmla="*/ 8727031 w 10890933"/>
              <a:gd name="connsiteY3147" fmla="*/ 3182993 h 4167549"/>
              <a:gd name="connsiteX3148" fmla="*/ 8714089 w 10890933"/>
              <a:gd name="connsiteY3148" fmla="*/ 3197161 h 4167549"/>
              <a:gd name="connsiteX3149" fmla="*/ 8699225 w 10890933"/>
              <a:gd name="connsiteY3149" fmla="*/ 3184360 h 4167549"/>
              <a:gd name="connsiteX3150" fmla="*/ 8688484 w 10890933"/>
              <a:gd name="connsiteY3150" fmla="*/ 3190301 h 4167549"/>
              <a:gd name="connsiteX3151" fmla="*/ 8662881 w 10890933"/>
              <a:gd name="connsiteY3151" fmla="*/ 3183440 h 4167549"/>
              <a:gd name="connsiteX3152" fmla="*/ 8667290 w 10890933"/>
              <a:gd name="connsiteY3152" fmla="*/ 3166985 h 4167549"/>
              <a:gd name="connsiteX3153" fmla="*/ 8650222 w 10890933"/>
              <a:gd name="connsiteY3153" fmla="*/ 3162412 h 4167549"/>
              <a:gd name="connsiteX3154" fmla="*/ 8613878 w 10890933"/>
              <a:gd name="connsiteY3154" fmla="*/ 3161492 h 4167549"/>
              <a:gd name="connsiteX3155" fmla="*/ 8628743 w 10890933"/>
              <a:gd name="connsiteY3155" fmla="*/ 3174293 h 4167549"/>
              <a:gd name="connsiteX3156" fmla="*/ 8618002 w 10890933"/>
              <a:gd name="connsiteY3156" fmla="*/ 3180233 h 4167549"/>
              <a:gd name="connsiteX3157" fmla="*/ 8554138 w 10890933"/>
              <a:gd name="connsiteY3157" fmla="*/ 3145484 h 4167549"/>
              <a:gd name="connsiteX3158" fmla="*/ 8549729 w 10890933"/>
              <a:gd name="connsiteY3158" fmla="*/ 3161939 h 4167549"/>
              <a:gd name="connsiteX3159" fmla="*/ 8528250 w 10890933"/>
              <a:gd name="connsiteY3159" fmla="*/ 3173821 h 4167549"/>
              <a:gd name="connsiteX3160" fmla="*/ 8494112 w 10890933"/>
              <a:gd name="connsiteY3160" fmla="*/ 3164673 h 4167549"/>
              <a:gd name="connsiteX3161" fmla="*/ 8509259 w 10890933"/>
              <a:gd name="connsiteY3161" fmla="*/ 3142277 h 4167549"/>
              <a:gd name="connsiteX3162" fmla="*/ 8534863 w 10890933"/>
              <a:gd name="connsiteY3162" fmla="*/ 3149138 h 4167549"/>
              <a:gd name="connsiteX3163" fmla="*/ 8468791 w 10890933"/>
              <a:gd name="connsiteY3163" fmla="*/ 3122616 h 4167549"/>
              <a:gd name="connsiteX3164" fmla="*/ 8484483 w 10890933"/>
              <a:gd name="connsiteY3164" fmla="*/ 3132331 h 4167549"/>
              <a:gd name="connsiteX3165" fmla="*/ 8489366 w 10890933"/>
              <a:gd name="connsiteY3165" fmla="*/ 3137858 h 4167549"/>
              <a:gd name="connsiteX3166" fmla="*/ 8453318 w 10890933"/>
              <a:gd name="connsiteY3166" fmla="*/ 3139825 h 4167549"/>
              <a:gd name="connsiteX3167" fmla="*/ 8353434 w 10890933"/>
              <a:gd name="connsiteY3167" fmla="*/ 3109343 h 4167549"/>
              <a:gd name="connsiteX3168" fmla="*/ 8391981 w 10890933"/>
              <a:gd name="connsiteY3168" fmla="*/ 3102035 h 4167549"/>
              <a:gd name="connsiteX3169" fmla="*/ 8353717 w 10890933"/>
              <a:gd name="connsiteY3169" fmla="*/ 3074145 h 4167549"/>
              <a:gd name="connsiteX3170" fmla="*/ 8332238 w 10890933"/>
              <a:gd name="connsiteY3170" fmla="*/ 3086027 h 4167549"/>
              <a:gd name="connsiteX3171" fmla="*/ 8317373 w 10890933"/>
              <a:gd name="connsiteY3171" fmla="*/ 3073225 h 4167549"/>
              <a:gd name="connsiteX3172" fmla="*/ 8335357 w 10890933"/>
              <a:gd name="connsiteY3172" fmla="*/ 3067986 h 4167549"/>
              <a:gd name="connsiteX3173" fmla="*/ 4015749 w 10890933"/>
              <a:gd name="connsiteY3173" fmla="*/ 3066982 h 4167549"/>
              <a:gd name="connsiteX3174" fmla="*/ 4031728 w 10890933"/>
              <a:gd name="connsiteY3174" fmla="*/ 3069058 h 4167549"/>
              <a:gd name="connsiteX3175" fmla="*/ 4038227 w 10890933"/>
              <a:gd name="connsiteY3175" fmla="*/ 3081824 h 4167549"/>
              <a:gd name="connsiteX3176" fmla="*/ 4015749 w 10890933"/>
              <a:gd name="connsiteY3176" fmla="*/ 3066982 h 4167549"/>
              <a:gd name="connsiteX3177" fmla="*/ 8226576 w 10890933"/>
              <a:gd name="connsiteY3177" fmla="*/ 3066535 h 4167549"/>
              <a:gd name="connsiteX3178" fmla="*/ 8249054 w 10890933"/>
              <a:gd name="connsiteY3178" fmla="*/ 3081376 h 4167549"/>
              <a:gd name="connsiteX3179" fmla="*/ 8240826 w 10890933"/>
              <a:gd name="connsiteY3179" fmla="*/ 3079172 h 4167549"/>
              <a:gd name="connsiteX3180" fmla="*/ 8213939 w 10890933"/>
              <a:gd name="connsiteY3180" fmla="*/ 3080786 h 4167549"/>
              <a:gd name="connsiteX3181" fmla="*/ 8226576 w 10890933"/>
              <a:gd name="connsiteY3181" fmla="*/ 3066535 h 4167549"/>
              <a:gd name="connsiteX3182" fmla="*/ 6121196 w 10890933"/>
              <a:gd name="connsiteY3182" fmla="*/ 3064393 h 4167549"/>
              <a:gd name="connsiteX3183" fmla="*/ 6124883 w 10890933"/>
              <a:gd name="connsiteY3183" fmla="*/ 3066484 h 4167549"/>
              <a:gd name="connsiteX3184" fmla="*/ 6124351 w 10890933"/>
              <a:gd name="connsiteY3184" fmla="*/ 3067671 h 4167549"/>
              <a:gd name="connsiteX3185" fmla="*/ 6121196 w 10890933"/>
              <a:gd name="connsiteY3185" fmla="*/ 3064393 h 4167549"/>
              <a:gd name="connsiteX3186" fmla="*/ 7138830 w 10890933"/>
              <a:gd name="connsiteY3186" fmla="*/ 3061666 h 4167549"/>
              <a:gd name="connsiteX3187" fmla="*/ 7126193 w 10890933"/>
              <a:gd name="connsiteY3187" fmla="*/ 3075916 h 4167549"/>
              <a:gd name="connsiteX3188" fmla="*/ 7128398 w 10890933"/>
              <a:gd name="connsiteY3188" fmla="*/ 3067689 h 4167549"/>
              <a:gd name="connsiteX3189" fmla="*/ 7138830 w 10890933"/>
              <a:gd name="connsiteY3189" fmla="*/ 3061666 h 4167549"/>
              <a:gd name="connsiteX3190" fmla="*/ 6140687 w 10890933"/>
              <a:gd name="connsiteY3190" fmla="*/ 3060459 h 4167549"/>
              <a:gd name="connsiteX3191" fmla="*/ 6147001 w 10890933"/>
              <a:gd name="connsiteY3191" fmla="*/ 3071308 h 4167549"/>
              <a:gd name="connsiteX3192" fmla="*/ 6172806 w 10890933"/>
              <a:gd name="connsiteY3192" fmla="*/ 3078222 h 4167549"/>
              <a:gd name="connsiteX3193" fmla="*/ 6176828 w 10890933"/>
              <a:gd name="connsiteY3193" fmla="*/ 3097614 h 4167549"/>
              <a:gd name="connsiteX3194" fmla="*/ 6140133 w 10890933"/>
              <a:gd name="connsiteY3194" fmla="*/ 3096939 h 4167549"/>
              <a:gd name="connsiteX3195" fmla="*/ 6161916 w 10890933"/>
              <a:gd name="connsiteY3195" fmla="*/ 3084461 h 4167549"/>
              <a:gd name="connsiteX3196" fmla="*/ 6155602 w 10890933"/>
              <a:gd name="connsiteY3196" fmla="*/ 3073612 h 4167549"/>
              <a:gd name="connsiteX3197" fmla="*/ 6142423 w 10890933"/>
              <a:gd name="connsiteY3197" fmla="*/ 3088395 h 4167549"/>
              <a:gd name="connsiteX3198" fmla="*/ 6140687 w 10890933"/>
              <a:gd name="connsiteY3198" fmla="*/ 3060459 h 4167549"/>
              <a:gd name="connsiteX3199" fmla="*/ 6188527 w 10890933"/>
              <a:gd name="connsiteY3199" fmla="*/ 3053944 h 4167549"/>
              <a:gd name="connsiteX3200" fmla="*/ 6204982 w 10890933"/>
              <a:gd name="connsiteY3200" fmla="*/ 3058353 h 4167549"/>
              <a:gd name="connsiteX3201" fmla="*/ 6178094 w 10890933"/>
              <a:gd name="connsiteY3201" fmla="*/ 3059967 h 4167549"/>
              <a:gd name="connsiteX3202" fmla="*/ 6192345 w 10890933"/>
              <a:gd name="connsiteY3202" fmla="*/ 3072603 h 4167549"/>
              <a:gd name="connsiteX3203" fmla="*/ 6211004 w 10890933"/>
              <a:gd name="connsiteY3203" fmla="*/ 3068785 h 4167549"/>
              <a:gd name="connsiteX3204" fmla="*/ 6202186 w 10890933"/>
              <a:gd name="connsiteY3204" fmla="*/ 3101695 h 4167549"/>
              <a:gd name="connsiteX3205" fmla="*/ 6185731 w 10890933"/>
              <a:gd name="connsiteY3205" fmla="*/ 3097286 h 4167549"/>
              <a:gd name="connsiteX3206" fmla="*/ 6196163 w 10890933"/>
              <a:gd name="connsiteY3206" fmla="*/ 3091263 h 4167549"/>
              <a:gd name="connsiteX3207" fmla="*/ 6198368 w 10890933"/>
              <a:gd name="connsiteY3207" fmla="*/ 3083035 h 4167549"/>
              <a:gd name="connsiteX3208" fmla="*/ 6159435 w 10890933"/>
              <a:gd name="connsiteY3208" fmla="*/ 3063785 h 4167549"/>
              <a:gd name="connsiteX3209" fmla="*/ 6188527 w 10890933"/>
              <a:gd name="connsiteY3209" fmla="*/ 3053944 h 4167549"/>
              <a:gd name="connsiteX3210" fmla="*/ 4175367 w 10890933"/>
              <a:gd name="connsiteY3210" fmla="*/ 3053887 h 4167549"/>
              <a:gd name="connsiteX3211" fmla="*/ 4190173 w 10890933"/>
              <a:gd name="connsiteY3211" fmla="*/ 3066989 h 4167549"/>
              <a:gd name="connsiteX3212" fmla="*/ 4177059 w 10890933"/>
              <a:gd name="connsiteY3212" fmla="*/ 3081751 h 4167549"/>
              <a:gd name="connsiteX3213" fmla="*/ 4159969 w 10890933"/>
              <a:gd name="connsiteY3213" fmla="*/ 3077171 h 4167549"/>
              <a:gd name="connsiteX3214" fmla="*/ 4155994 w 10890933"/>
              <a:gd name="connsiteY3214" fmla="*/ 3057831 h 4167549"/>
              <a:gd name="connsiteX3215" fmla="*/ 4175367 w 10890933"/>
              <a:gd name="connsiteY3215" fmla="*/ 3053887 h 4167549"/>
              <a:gd name="connsiteX3216" fmla="*/ 4315135 w 10890933"/>
              <a:gd name="connsiteY3216" fmla="*/ 3053388 h 4167549"/>
              <a:gd name="connsiteX3217" fmla="*/ 4315101 w 10890933"/>
              <a:gd name="connsiteY3217" fmla="*/ 3053639 h 4167549"/>
              <a:gd name="connsiteX3218" fmla="*/ 4313628 w 10890933"/>
              <a:gd name="connsiteY3218" fmla="*/ 3054389 h 4167549"/>
              <a:gd name="connsiteX3219" fmla="*/ 4312679 w 10890933"/>
              <a:gd name="connsiteY3219" fmla="*/ 3054135 h 4167549"/>
              <a:gd name="connsiteX3220" fmla="*/ 2933596 w 10890933"/>
              <a:gd name="connsiteY3220" fmla="*/ 3041801 h 4167549"/>
              <a:gd name="connsiteX3221" fmla="*/ 2976151 w 10890933"/>
              <a:gd name="connsiteY3221" fmla="*/ 3053203 h 4167549"/>
              <a:gd name="connsiteX3222" fmla="*/ 2978443 w 10890933"/>
              <a:gd name="connsiteY3222" fmla="*/ 3044649 h 4167549"/>
              <a:gd name="connsiteX3223" fmla="*/ 3068141 w 10890933"/>
              <a:gd name="connsiteY3223" fmla="*/ 3050353 h 4167549"/>
              <a:gd name="connsiteX3224" fmla="*/ 3074360 w 10890933"/>
              <a:gd name="connsiteY3224" fmla="*/ 3061185 h 4167549"/>
              <a:gd name="connsiteX3225" fmla="*/ 3041950 w 10890933"/>
              <a:gd name="connsiteY3225" fmla="*/ 3079999 h 4167549"/>
              <a:gd name="connsiteX3226" fmla="*/ 2994811 w 10890933"/>
              <a:gd name="connsiteY3226" fmla="*/ 3085702 h 4167549"/>
              <a:gd name="connsiteX3227" fmla="*/ 2952254 w 10890933"/>
              <a:gd name="connsiteY3227" fmla="*/ 3074299 h 4167549"/>
              <a:gd name="connsiteX3228" fmla="*/ 2936869 w 10890933"/>
              <a:gd name="connsiteY3228" fmla="*/ 3097676 h 4167549"/>
              <a:gd name="connsiteX3229" fmla="*/ 2889730 w 10890933"/>
              <a:gd name="connsiteY3229" fmla="*/ 3103379 h 4167549"/>
              <a:gd name="connsiteX3230" fmla="*/ 2795451 w 10890933"/>
              <a:gd name="connsiteY3230" fmla="*/ 3114781 h 4167549"/>
              <a:gd name="connsiteX3231" fmla="*/ 2796105 w 10890933"/>
              <a:gd name="connsiteY3231" fmla="*/ 3078292 h 4167549"/>
              <a:gd name="connsiteX3232" fmla="*/ 2851756 w 10890933"/>
              <a:gd name="connsiteY3232" fmla="*/ 3074870 h 4167549"/>
              <a:gd name="connsiteX3233" fmla="*/ 2864852 w 10890933"/>
              <a:gd name="connsiteY3233" fmla="*/ 3060045 h 4167549"/>
              <a:gd name="connsiteX3234" fmla="*/ 2933596 w 10890933"/>
              <a:gd name="connsiteY3234" fmla="*/ 3041801 h 4167549"/>
              <a:gd name="connsiteX3235" fmla="*/ 4234153 w 10890933"/>
              <a:gd name="connsiteY3235" fmla="*/ 3041729 h 4167549"/>
              <a:gd name="connsiteX3236" fmla="*/ 4198742 w 10890933"/>
              <a:gd name="connsiteY3236" fmla="*/ 3058695 h 4167549"/>
              <a:gd name="connsiteX3237" fmla="*/ 4200947 w 10890933"/>
              <a:gd name="connsiteY3237" fmla="*/ 3050468 h 4167549"/>
              <a:gd name="connsiteX3238" fmla="*/ 4234153 w 10890933"/>
              <a:gd name="connsiteY3238" fmla="*/ 3041729 h 4167549"/>
              <a:gd name="connsiteX3239" fmla="*/ 6323273 w 10890933"/>
              <a:gd name="connsiteY3239" fmla="*/ 3039066 h 4167549"/>
              <a:gd name="connsiteX3240" fmla="*/ 6346619 w 10890933"/>
              <a:gd name="connsiteY3240" fmla="*/ 3039865 h 4167549"/>
              <a:gd name="connsiteX3241" fmla="*/ 6341769 w 10890933"/>
              <a:gd name="connsiteY3241" fmla="*/ 3057968 h 4167549"/>
              <a:gd name="connsiteX3242" fmla="*/ 6366451 w 10890933"/>
              <a:gd name="connsiteY3242" fmla="*/ 3064582 h 4167549"/>
              <a:gd name="connsiteX3243" fmla="*/ 6360649 w 10890933"/>
              <a:gd name="connsiteY3243" fmla="*/ 3053326 h 4167549"/>
              <a:gd name="connsiteX3244" fmla="*/ 6355799 w 10890933"/>
              <a:gd name="connsiteY3244" fmla="*/ 3071426 h 4167549"/>
              <a:gd name="connsiteX3245" fmla="*/ 6339344 w 10890933"/>
              <a:gd name="connsiteY3245" fmla="*/ 3067017 h 4167549"/>
              <a:gd name="connsiteX3246" fmla="*/ 6319512 w 10890933"/>
              <a:gd name="connsiteY3246" fmla="*/ 3042303 h 4167549"/>
              <a:gd name="connsiteX3247" fmla="*/ 6323273 w 10890933"/>
              <a:gd name="connsiteY3247" fmla="*/ 3039066 h 4167549"/>
              <a:gd name="connsiteX3248" fmla="*/ 7939652 w 10890933"/>
              <a:gd name="connsiteY3248" fmla="*/ 3038153 h 4167549"/>
              <a:gd name="connsiteX3249" fmla="*/ 7973648 w 10890933"/>
              <a:gd name="connsiteY3249" fmla="*/ 3056081 h 4167549"/>
              <a:gd name="connsiteX3250" fmla="*/ 7928395 w 10890933"/>
              <a:gd name="connsiteY3250" fmla="*/ 3043955 h 4167549"/>
              <a:gd name="connsiteX3251" fmla="*/ 7939652 w 10890933"/>
              <a:gd name="connsiteY3251" fmla="*/ 3038153 h 4167549"/>
              <a:gd name="connsiteX3252" fmla="*/ 4317248 w 10890933"/>
              <a:gd name="connsiteY3252" fmla="*/ 3037084 h 4167549"/>
              <a:gd name="connsiteX3253" fmla="*/ 4334338 w 10890933"/>
              <a:gd name="connsiteY3253" fmla="*/ 3041663 h 4167549"/>
              <a:gd name="connsiteX3254" fmla="*/ 4322650 w 10890933"/>
              <a:gd name="connsiteY3254" fmla="*/ 3051096 h 4167549"/>
              <a:gd name="connsiteX3255" fmla="*/ 4315135 w 10890933"/>
              <a:gd name="connsiteY3255" fmla="*/ 3053388 h 4167549"/>
              <a:gd name="connsiteX3256" fmla="*/ 6219823 w 10890933"/>
              <a:gd name="connsiteY3256" fmla="*/ 3035875 h 4167549"/>
              <a:gd name="connsiteX3257" fmla="*/ 6225846 w 10890933"/>
              <a:gd name="connsiteY3257" fmla="*/ 3046307 h 4167549"/>
              <a:gd name="connsiteX3258" fmla="*/ 6207186 w 10890933"/>
              <a:gd name="connsiteY3258" fmla="*/ 3050125 h 4167549"/>
              <a:gd name="connsiteX3259" fmla="*/ 6219823 w 10890933"/>
              <a:gd name="connsiteY3259" fmla="*/ 3035875 h 4167549"/>
              <a:gd name="connsiteX3260" fmla="*/ 6456170 w 10890933"/>
              <a:gd name="connsiteY3260" fmla="*/ 3034171 h 4167549"/>
              <a:gd name="connsiteX3261" fmla="*/ 6466730 w 10890933"/>
              <a:gd name="connsiteY3261" fmla="*/ 3035898 h 4167549"/>
              <a:gd name="connsiteX3262" fmla="*/ 6454093 w 10890933"/>
              <a:gd name="connsiteY3262" fmla="*/ 3050148 h 4167549"/>
              <a:gd name="connsiteX3263" fmla="*/ 6445866 w 10890933"/>
              <a:gd name="connsiteY3263" fmla="*/ 3047944 h 4167549"/>
              <a:gd name="connsiteX3264" fmla="*/ 6448070 w 10890933"/>
              <a:gd name="connsiteY3264" fmla="*/ 3039716 h 4167549"/>
              <a:gd name="connsiteX3265" fmla="*/ 6456298 w 10890933"/>
              <a:gd name="connsiteY3265" fmla="*/ 3041921 h 4167549"/>
              <a:gd name="connsiteX3266" fmla="*/ 6456170 w 10890933"/>
              <a:gd name="connsiteY3266" fmla="*/ 3034171 h 4167549"/>
              <a:gd name="connsiteX3267" fmla="*/ 6997509 w 10890933"/>
              <a:gd name="connsiteY3267" fmla="*/ 3033720 h 4167549"/>
              <a:gd name="connsiteX3268" fmla="*/ 7009097 w 10890933"/>
              <a:gd name="connsiteY3268" fmla="*/ 3035722 h 4167549"/>
              <a:gd name="connsiteX3269" fmla="*/ 6994256 w 10890933"/>
              <a:gd name="connsiteY3269" fmla="*/ 3058201 h 4167549"/>
              <a:gd name="connsiteX3270" fmla="*/ 6990438 w 10890933"/>
              <a:gd name="connsiteY3270" fmla="*/ 3039541 h 4167549"/>
              <a:gd name="connsiteX3271" fmla="*/ 6997509 w 10890933"/>
              <a:gd name="connsiteY3271" fmla="*/ 3033720 h 4167549"/>
              <a:gd name="connsiteX3272" fmla="*/ 6211595 w 10890933"/>
              <a:gd name="connsiteY3272" fmla="*/ 3033670 h 4167549"/>
              <a:gd name="connsiteX3273" fmla="*/ 6207186 w 10890933"/>
              <a:gd name="connsiteY3273" fmla="*/ 3050125 h 4167549"/>
              <a:gd name="connsiteX3274" fmla="*/ 6188527 w 10890933"/>
              <a:gd name="connsiteY3274" fmla="*/ 3053944 h 4167549"/>
              <a:gd name="connsiteX3275" fmla="*/ 6211595 w 10890933"/>
              <a:gd name="connsiteY3275" fmla="*/ 3033670 h 4167549"/>
              <a:gd name="connsiteX3276" fmla="*/ 6313183 w 10890933"/>
              <a:gd name="connsiteY3276" fmla="*/ 3030026 h 4167549"/>
              <a:gd name="connsiteX3277" fmla="*/ 6314840 w 10890933"/>
              <a:gd name="connsiteY3277" fmla="*/ 3058246 h 4167549"/>
              <a:gd name="connsiteX3278" fmla="*/ 6303924 w 10890933"/>
              <a:gd name="connsiteY3278" fmla="*/ 3064581 h 4167549"/>
              <a:gd name="connsiteX3279" fmla="*/ 6291350 w 10890933"/>
              <a:gd name="connsiteY3279" fmla="*/ 3042692 h 4167549"/>
              <a:gd name="connsiteX3280" fmla="*/ 6295321 w 10890933"/>
              <a:gd name="connsiteY3280" fmla="*/ 3062276 h 4167549"/>
              <a:gd name="connsiteX3281" fmla="*/ 6269516 w 10890933"/>
              <a:gd name="connsiteY3281" fmla="*/ 3055361 h 4167549"/>
              <a:gd name="connsiteX3282" fmla="*/ 6264886 w 10890933"/>
              <a:gd name="connsiteY3282" fmla="*/ 3072641 h 4167549"/>
              <a:gd name="connsiteX3283" fmla="*/ 6303924 w 10890933"/>
              <a:gd name="connsiteY3283" fmla="*/ 3064581 h 4167549"/>
              <a:gd name="connsiteX3284" fmla="*/ 6318810 w 10890933"/>
              <a:gd name="connsiteY3284" fmla="*/ 3077830 h 4167549"/>
              <a:gd name="connsiteX3285" fmla="*/ 6305581 w 10890933"/>
              <a:gd name="connsiteY3285" fmla="*/ 3092802 h 4167549"/>
              <a:gd name="connsiteX3286" fmla="*/ 6310210 w 10890933"/>
              <a:gd name="connsiteY3286" fmla="*/ 3075525 h 4167549"/>
              <a:gd name="connsiteX3287" fmla="*/ 6279776 w 10890933"/>
              <a:gd name="connsiteY3287" fmla="*/ 3085887 h 4167549"/>
              <a:gd name="connsiteX3288" fmla="*/ 6286061 w 10890933"/>
              <a:gd name="connsiteY3288" fmla="*/ 3096831 h 4167549"/>
              <a:gd name="connsiteX3289" fmla="*/ 6247026 w 10890933"/>
              <a:gd name="connsiteY3289" fmla="*/ 3104892 h 4167549"/>
              <a:gd name="connsiteX3290" fmla="*/ 6260257 w 10890933"/>
              <a:gd name="connsiteY3290" fmla="*/ 3089917 h 4167549"/>
              <a:gd name="connsiteX3291" fmla="*/ 6245368 w 10890933"/>
              <a:gd name="connsiteY3291" fmla="*/ 3076668 h 4167549"/>
              <a:gd name="connsiteX3292" fmla="*/ 6243712 w 10890933"/>
              <a:gd name="connsiteY3292" fmla="*/ 3048447 h 4167549"/>
              <a:gd name="connsiteX3293" fmla="*/ 6263230 w 10890933"/>
              <a:gd name="connsiteY3293" fmla="*/ 3044417 h 4167549"/>
              <a:gd name="connsiteX3294" fmla="*/ 6280432 w 10890933"/>
              <a:gd name="connsiteY3294" fmla="*/ 3049027 h 4167549"/>
              <a:gd name="connsiteX3295" fmla="*/ 6271831 w 10890933"/>
              <a:gd name="connsiteY3295" fmla="*/ 3046722 h 4167549"/>
              <a:gd name="connsiteX3296" fmla="*/ 6313183 w 10890933"/>
              <a:gd name="connsiteY3296" fmla="*/ 3030026 h 4167549"/>
              <a:gd name="connsiteX3297" fmla="*/ 6953412 w 10890933"/>
              <a:gd name="connsiteY3297" fmla="*/ 3029620 h 4167549"/>
              <a:gd name="connsiteX3298" fmla="*/ 6942980 w 10890933"/>
              <a:gd name="connsiteY3298" fmla="*/ 3035643 h 4167549"/>
              <a:gd name="connsiteX3299" fmla="*/ 6946799 w 10890933"/>
              <a:gd name="connsiteY3299" fmla="*/ 3054303 h 4167549"/>
              <a:gd name="connsiteX3300" fmla="*/ 6953412 w 10890933"/>
              <a:gd name="connsiteY3300" fmla="*/ 3029620 h 4167549"/>
              <a:gd name="connsiteX3301" fmla="*/ 8141091 w 10890933"/>
              <a:gd name="connsiteY3301" fmla="*/ 3025991 h 4167549"/>
              <a:gd name="connsiteX3302" fmla="*/ 8178348 w 10890933"/>
              <a:gd name="connsiteY3302" fmla="*/ 3044792 h 4167549"/>
              <a:gd name="connsiteX3303" fmla="*/ 8251016 w 10890933"/>
              <a:gd name="connsiteY3303" fmla="*/ 3046626 h 4167549"/>
              <a:gd name="connsiteX3304" fmla="*/ 8233952 w 10890933"/>
              <a:gd name="connsiteY3304" fmla="*/ 3042054 h 4167549"/>
              <a:gd name="connsiteX3305" fmla="*/ 8259549 w 10890933"/>
              <a:gd name="connsiteY3305" fmla="*/ 3048913 h 4167549"/>
              <a:gd name="connsiteX3306" fmla="*/ 8295882 w 10890933"/>
              <a:gd name="connsiteY3306" fmla="*/ 3049830 h 4167549"/>
              <a:gd name="connsiteX3307" fmla="*/ 8302208 w 10890933"/>
              <a:gd name="connsiteY3307" fmla="*/ 3060343 h 4167549"/>
              <a:gd name="connsiteX3308" fmla="*/ 8327806 w 10890933"/>
              <a:gd name="connsiteY3308" fmla="*/ 3067202 h 4167549"/>
              <a:gd name="connsiteX3309" fmla="*/ 8265875 w 10890933"/>
              <a:gd name="connsiteY3309" fmla="*/ 3059426 h 4167549"/>
              <a:gd name="connsiteX3310" fmla="*/ 8269208 w 10890933"/>
              <a:gd name="connsiteY3310" fmla="*/ 3076853 h 4167549"/>
              <a:gd name="connsiteX3311" fmla="*/ 8269066 w 10890933"/>
              <a:gd name="connsiteY3311" fmla="*/ 3077807 h 4167549"/>
              <a:gd name="connsiteX3312" fmla="*/ 8251352 w 10890933"/>
              <a:gd name="connsiteY3312" fmla="*/ 3070966 h 4167549"/>
              <a:gd name="connsiteX3313" fmla="*/ 8248811 w 10890933"/>
              <a:gd name="connsiteY3313" fmla="*/ 3054854 h 4167549"/>
              <a:gd name="connsiteX3314" fmla="*/ 8184677 w 10890933"/>
              <a:gd name="connsiteY3314" fmla="*/ 3055306 h 4167549"/>
              <a:gd name="connsiteX3315" fmla="*/ 8205865 w 10890933"/>
              <a:gd name="connsiteY3315" fmla="*/ 3078620 h 4167549"/>
              <a:gd name="connsiteX3316" fmla="*/ 8165408 w 10890933"/>
              <a:gd name="connsiteY3316" fmla="*/ 3058961 h 4167549"/>
              <a:gd name="connsiteX3317" fmla="*/ 8176144 w 10890933"/>
              <a:gd name="connsiteY3317" fmla="*/ 3053019 h 4167549"/>
              <a:gd name="connsiteX3318" fmla="*/ 8150546 w 10890933"/>
              <a:gd name="connsiteY3318" fmla="*/ 3046161 h 4167549"/>
              <a:gd name="connsiteX3319" fmla="*/ 8146137 w 10890933"/>
              <a:gd name="connsiteY3319" fmla="*/ 3062616 h 4167549"/>
              <a:gd name="connsiteX3320" fmla="*/ 8094945 w 10890933"/>
              <a:gd name="connsiteY3320" fmla="*/ 3048899 h 4167549"/>
              <a:gd name="connsiteX3321" fmla="*/ 8090821 w 10890933"/>
              <a:gd name="connsiteY3321" fmla="*/ 3030157 h 4167549"/>
              <a:gd name="connsiteX3322" fmla="*/ 8141091 w 10890933"/>
              <a:gd name="connsiteY3322" fmla="*/ 3025991 h 4167549"/>
              <a:gd name="connsiteX3323" fmla="*/ 6972074 w 10890933"/>
              <a:gd name="connsiteY3323" fmla="*/ 3025802 h 4167549"/>
              <a:gd name="connsiteX3324" fmla="*/ 6967665 w 10890933"/>
              <a:gd name="connsiteY3324" fmla="*/ 3042257 h 4167549"/>
              <a:gd name="connsiteX3325" fmla="*/ 6972074 w 10890933"/>
              <a:gd name="connsiteY3325" fmla="*/ 3025802 h 4167549"/>
              <a:gd name="connsiteX3326" fmla="*/ 4436908 w 10890933"/>
              <a:gd name="connsiteY3326" fmla="*/ 3025511 h 4167549"/>
              <a:gd name="connsiteX3327" fmla="*/ 4432499 w 10890933"/>
              <a:gd name="connsiteY3327" fmla="*/ 3041966 h 4167549"/>
              <a:gd name="connsiteX3328" fmla="*/ 4436908 w 10890933"/>
              <a:gd name="connsiteY3328" fmla="*/ 3025511 h 4167549"/>
              <a:gd name="connsiteX3329" fmla="*/ 8035254 w 10890933"/>
              <a:gd name="connsiteY3329" fmla="*/ 3024089 h 4167549"/>
              <a:gd name="connsiteX3330" fmla="*/ 8046695 w 10890933"/>
              <a:gd name="connsiteY3330" fmla="*/ 3024949 h 4167549"/>
              <a:gd name="connsiteX3331" fmla="*/ 8072163 w 10890933"/>
              <a:gd name="connsiteY3331" fmla="*/ 3033979 h 4167549"/>
              <a:gd name="connsiteX3332" fmla="*/ 8024706 w 10890933"/>
              <a:gd name="connsiteY3332" fmla="*/ 3030081 h 4167549"/>
              <a:gd name="connsiteX3333" fmla="*/ 8035254 w 10890933"/>
              <a:gd name="connsiteY3333" fmla="*/ 3024089 h 4167549"/>
              <a:gd name="connsiteX3334" fmla="*/ 6104550 w 10890933"/>
              <a:gd name="connsiteY3334" fmla="*/ 3023302 h 4167549"/>
              <a:gd name="connsiteX3335" fmla="*/ 6103993 w 10890933"/>
              <a:gd name="connsiteY3335" fmla="*/ 3059784 h 4167549"/>
              <a:gd name="connsiteX3336" fmla="*/ 6121196 w 10890933"/>
              <a:gd name="connsiteY3336" fmla="*/ 3064393 h 4167549"/>
              <a:gd name="connsiteX3337" fmla="*/ 6120640 w 10890933"/>
              <a:gd name="connsiteY3337" fmla="*/ 3100872 h 4167549"/>
              <a:gd name="connsiteX3338" fmla="*/ 6096568 w 10890933"/>
              <a:gd name="connsiteY3338" fmla="*/ 3121896 h 4167549"/>
              <a:gd name="connsiteX3339" fmla="*/ 6114329 w 10890933"/>
              <a:gd name="connsiteY3339" fmla="*/ 3090024 h 4167549"/>
              <a:gd name="connsiteX3340" fmla="*/ 6110304 w 10890933"/>
              <a:gd name="connsiteY3340" fmla="*/ 3070632 h 4167549"/>
              <a:gd name="connsiteX3341" fmla="*/ 6097125 w 10890933"/>
              <a:gd name="connsiteY3341" fmla="*/ 3085415 h 4167549"/>
              <a:gd name="connsiteX3342" fmla="*/ 6082210 w 10890933"/>
              <a:gd name="connsiteY3342" fmla="*/ 3072261 h 4167549"/>
              <a:gd name="connsiteX3343" fmla="*/ 6101704 w 10890933"/>
              <a:gd name="connsiteY3343" fmla="*/ 3068327 h 4167549"/>
              <a:gd name="connsiteX3344" fmla="*/ 6093657 w 10890933"/>
              <a:gd name="connsiteY3344" fmla="*/ 3029540 h 4167549"/>
              <a:gd name="connsiteX3345" fmla="*/ 6104550 w 10890933"/>
              <a:gd name="connsiteY3345" fmla="*/ 3023302 h 4167549"/>
              <a:gd name="connsiteX3346" fmla="*/ 6149629 w 10890933"/>
              <a:gd name="connsiteY3346" fmla="*/ 3022790 h 4167549"/>
              <a:gd name="connsiteX3347" fmla="*/ 6186542 w 10890933"/>
              <a:gd name="connsiteY3347" fmla="*/ 3026957 h 4167549"/>
              <a:gd name="connsiteX3348" fmla="*/ 6184253 w 10890933"/>
              <a:gd name="connsiteY3348" fmla="*/ 3035501 h 4167549"/>
              <a:gd name="connsiteX3349" fmla="*/ 6167049 w 10890933"/>
              <a:gd name="connsiteY3349" fmla="*/ 3030891 h 4167549"/>
              <a:gd name="connsiteX3350" fmla="*/ 6140687 w 10890933"/>
              <a:gd name="connsiteY3350" fmla="*/ 3060459 h 4167549"/>
              <a:gd name="connsiteX3351" fmla="*/ 6129324 w 10890933"/>
              <a:gd name="connsiteY3351" fmla="*/ 3069003 h 4167549"/>
              <a:gd name="connsiteX3352" fmla="*/ 6124883 w 10890933"/>
              <a:gd name="connsiteY3352" fmla="*/ 3066484 h 4167549"/>
              <a:gd name="connsiteX3353" fmla="*/ 6125783 w 10890933"/>
              <a:gd name="connsiteY3353" fmla="*/ 3064477 h 4167549"/>
              <a:gd name="connsiteX3354" fmla="*/ 6132086 w 10890933"/>
              <a:gd name="connsiteY3354" fmla="*/ 3058154 h 4167549"/>
              <a:gd name="connsiteX3355" fmla="*/ 6125776 w 10890933"/>
              <a:gd name="connsiteY3355" fmla="*/ 3047303 h 4167549"/>
              <a:gd name="connsiteX3356" fmla="*/ 6142977 w 10890933"/>
              <a:gd name="connsiteY3356" fmla="*/ 3051913 h 4167549"/>
              <a:gd name="connsiteX3357" fmla="*/ 6128065 w 10890933"/>
              <a:gd name="connsiteY3357" fmla="*/ 3038760 h 4167549"/>
              <a:gd name="connsiteX3358" fmla="*/ 6145267 w 10890933"/>
              <a:gd name="connsiteY3358" fmla="*/ 3043369 h 4167549"/>
              <a:gd name="connsiteX3359" fmla="*/ 6149845 w 10890933"/>
              <a:gd name="connsiteY3359" fmla="*/ 3026281 h 4167549"/>
              <a:gd name="connsiteX3360" fmla="*/ 6130354 w 10890933"/>
              <a:gd name="connsiteY3360" fmla="*/ 3030216 h 4167549"/>
              <a:gd name="connsiteX3361" fmla="*/ 6149629 w 10890933"/>
              <a:gd name="connsiteY3361" fmla="*/ 3022790 h 4167549"/>
              <a:gd name="connsiteX3362" fmla="*/ 2926872 w 10890933"/>
              <a:gd name="connsiteY3362" fmla="*/ 3022221 h 4167549"/>
              <a:gd name="connsiteX3363" fmla="*/ 2924085 w 10890933"/>
              <a:gd name="connsiteY3363" fmla="*/ 3028351 h 4167549"/>
              <a:gd name="connsiteX3364" fmla="*/ 2921758 w 10890933"/>
              <a:gd name="connsiteY3364" fmla="*/ 3024947 h 4167549"/>
              <a:gd name="connsiteX3365" fmla="*/ 6252971 w 10890933"/>
              <a:gd name="connsiteY3365" fmla="*/ 3013892 h 4167549"/>
              <a:gd name="connsiteX3366" fmla="*/ 6267859 w 10890933"/>
              <a:gd name="connsiteY3366" fmla="*/ 3027141 h 4167549"/>
              <a:gd name="connsiteX3367" fmla="*/ 6263230 w 10890933"/>
              <a:gd name="connsiteY3367" fmla="*/ 3044417 h 4167549"/>
              <a:gd name="connsiteX3368" fmla="*/ 6256942 w 10890933"/>
              <a:gd name="connsiteY3368" fmla="*/ 3033473 h 4167549"/>
              <a:gd name="connsiteX3369" fmla="*/ 6239740 w 10890933"/>
              <a:gd name="connsiteY3369" fmla="*/ 3028864 h 4167549"/>
              <a:gd name="connsiteX3370" fmla="*/ 6252971 w 10890933"/>
              <a:gd name="connsiteY3370" fmla="*/ 3013892 h 4167549"/>
              <a:gd name="connsiteX3371" fmla="*/ 7948088 w 10890933"/>
              <a:gd name="connsiteY3371" fmla="*/ 3013751 h 4167549"/>
              <a:gd name="connsiteX3372" fmla="*/ 7946532 w 10890933"/>
              <a:gd name="connsiteY3372" fmla="*/ 3020155 h 4167549"/>
              <a:gd name="connsiteX3373" fmla="*/ 7953651 w 10890933"/>
              <a:gd name="connsiteY3373" fmla="*/ 3031983 h 4167549"/>
              <a:gd name="connsiteX3374" fmla="*/ 7927333 w 10890933"/>
              <a:gd name="connsiteY3374" fmla="*/ 3015011 h 4167549"/>
              <a:gd name="connsiteX3375" fmla="*/ 7934454 w 10890933"/>
              <a:gd name="connsiteY3375" fmla="*/ 3026839 h 4167549"/>
              <a:gd name="connsiteX3376" fmla="*/ 7945953 w 10890933"/>
              <a:gd name="connsiteY3376" fmla="*/ 3017519 h 4167549"/>
              <a:gd name="connsiteX3377" fmla="*/ 7948088 w 10890933"/>
              <a:gd name="connsiteY3377" fmla="*/ 3013751 h 4167549"/>
              <a:gd name="connsiteX3378" fmla="*/ 4324100 w 10890933"/>
              <a:gd name="connsiteY3378" fmla="*/ 3011512 h 4167549"/>
              <a:gd name="connsiteX3379" fmla="*/ 4364540 w 10890933"/>
              <a:gd name="connsiteY3379" fmla="*/ 3031483 h 4167549"/>
              <a:gd name="connsiteX3380" fmla="*/ 4342882 w 10890933"/>
              <a:gd name="connsiteY3380" fmla="*/ 3043952 h 4167549"/>
              <a:gd name="connsiteX3381" fmla="*/ 4317248 w 10890933"/>
              <a:gd name="connsiteY3381" fmla="*/ 3037084 h 4167549"/>
              <a:gd name="connsiteX3382" fmla="*/ 4328076 w 10890933"/>
              <a:gd name="connsiteY3382" fmla="*/ 3030850 h 4167549"/>
              <a:gd name="connsiteX3383" fmla="*/ 4324100 w 10890933"/>
              <a:gd name="connsiteY3383" fmla="*/ 3011512 h 4167549"/>
              <a:gd name="connsiteX3384" fmla="*/ 4251199 w 10890933"/>
              <a:gd name="connsiteY3384" fmla="*/ 3011023 h 4167549"/>
              <a:gd name="connsiteX3385" fmla="*/ 4278120 w 10890933"/>
              <a:gd name="connsiteY3385" fmla="*/ 3016995 h 4167549"/>
              <a:gd name="connsiteX3386" fmla="*/ 4281905 w 10890933"/>
              <a:gd name="connsiteY3386" fmla="*/ 3028069 h 4167549"/>
              <a:gd name="connsiteX3387" fmla="*/ 4255018 w 10890933"/>
              <a:gd name="connsiteY3387" fmla="*/ 3029683 h 4167549"/>
              <a:gd name="connsiteX3388" fmla="*/ 4277496 w 10890933"/>
              <a:gd name="connsiteY3388" fmla="*/ 3044524 h 4167549"/>
              <a:gd name="connsiteX3389" fmla="*/ 4273087 w 10890933"/>
              <a:gd name="connsiteY3389" fmla="*/ 3060979 h 4167549"/>
              <a:gd name="connsiteX3390" fmla="*/ 4236358 w 10890933"/>
              <a:gd name="connsiteY3390" fmla="*/ 3033501 h 4167549"/>
              <a:gd name="connsiteX3391" fmla="*/ 4251199 w 10890933"/>
              <a:gd name="connsiteY3391" fmla="*/ 3011023 h 4167549"/>
              <a:gd name="connsiteX3392" fmla="*/ 5777136 w 10890933"/>
              <a:gd name="connsiteY3392" fmla="*/ 3010865 h 4167549"/>
              <a:gd name="connsiteX3393" fmla="*/ 5778632 w 10890933"/>
              <a:gd name="connsiteY3393" fmla="*/ 3015542 h 4167549"/>
              <a:gd name="connsiteX3394" fmla="*/ 5776265 w 10890933"/>
              <a:gd name="connsiteY3394" fmla="*/ 3016966 h 4167549"/>
              <a:gd name="connsiteX3395" fmla="*/ 8132551 w 10890933"/>
              <a:gd name="connsiteY3395" fmla="*/ 3006069 h 4167549"/>
              <a:gd name="connsiteX3396" fmla="*/ 8138574 w 10890933"/>
              <a:gd name="connsiteY3396" fmla="*/ 3016501 h 4167549"/>
              <a:gd name="connsiteX3397" fmla="*/ 8132605 w 10890933"/>
              <a:gd name="connsiteY3397" fmla="*/ 3018208 h 4167549"/>
              <a:gd name="connsiteX3398" fmla="*/ 8128921 w 10890933"/>
              <a:gd name="connsiteY3398" fmla="*/ 3016059 h 4167549"/>
              <a:gd name="connsiteX3399" fmla="*/ 8129042 w 10890933"/>
              <a:gd name="connsiteY3399" fmla="*/ 3015049 h 4167549"/>
              <a:gd name="connsiteX3400" fmla="*/ 8122119 w 10890933"/>
              <a:gd name="connsiteY3400" fmla="*/ 3012092 h 4167549"/>
              <a:gd name="connsiteX3401" fmla="*/ 8128921 w 10890933"/>
              <a:gd name="connsiteY3401" fmla="*/ 3016059 h 4167549"/>
              <a:gd name="connsiteX3402" fmla="*/ 8128142 w 10890933"/>
              <a:gd name="connsiteY3402" fmla="*/ 3022524 h 4167549"/>
              <a:gd name="connsiteX3403" fmla="*/ 8111687 w 10890933"/>
              <a:gd name="connsiteY3403" fmla="*/ 3018114 h 4167549"/>
              <a:gd name="connsiteX3404" fmla="*/ 8132551 w 10890933"/>
              <a:gd name="connsiteY3404" fmla="*/ 3006069 h 4167549"/>
              <a:gd name="connsiteX3405" fmla="*/ 6660452 w 10890933"/>
              <a:gd name="connsiteY3405" fmla="*/ 3004031 h 4167549"/>
              <a:gd name="connsiteX3406" fmla="*/ 6656042 w 10890933"/>
              <a:gd name="connsiteY3406" fmla="*/ 3020486 h 4167549"/>
              <a:gd name="connsiteX3407" fmla="*/ 6639587 w 10890933"/>
              <a:gd name="connsiteY3407" fmla="*/ 3016077 h 4167549"/>
              <a:gd name="connsiteX3408" fmla="*/ 6660452 w 10890933"/>
              <a:gd name="connsiteY3408" fmla="*/ 3004031 h 4167549"/>
              <a:gd name="connsiteX3409" fmla="*/ 5799922 w 10890933"/>
              <a:gd name="connsiteY3409" fmla="*/ 3002727 h 4167549"/>
              <a:gd name="connsiteX3410" fmla="*/ 5804034 w 10890933"/>
              <a:gd name="connsiteY3410" fmla="*/ 3024406 h 4167549"/>
              <a:gd name="connsiteX3411" fmla="*/ 5782949 w 10890933"/>
              <a:gd name="connsiteY3411" fmla="*/ 3029044 h 4167549"/>
              <a:gd name="connsiteX3412" fmla="*/ 5778632 w 10890933"/>
              <a:gd name="connsiteY3412" fmla="*/ 3015542 h 4167549"/>
              <a:gd name="connsiteX3413" fmla="*/ 5788094 w 10890933"/>
              <a:gd name="connsiteY3413" fmla="*/ 3009845 h 4167549"/>
              <a:gd name="connsiteX3414" fmla="*/ 5799922 w 10890933"/>
              <a:gd name="connsiteY3414" fmla="*/ 3002727 h 4167549"/>
              <a:gd name="connsiteX3415" fmla="*/ 5772153 w 10890933"/>
              <a:gd name="connsiteY3415" fmla="*/ 2995286 h 4167549"/>
              <a:gd name="connsiteX3416" fmla="*/ 5777680 w 10890933"/>
              <a:gd name="connsiteY3416" fmla="*/ 3007055 h 4167549"/>
              <a:gd name="connsiteX3417" fmla="*/ 5777136 w 10890933"/>
              <a:gd name="connsiteY3417" fmla="*/ 3010865 h 4167549"/>
              <a:gd name="connsiteX3418" fmla="*/ 8006711 w 10890933"/>
              <a:gd name="connsiteY3418" fmla="*/ 2994394 h 4167549"/>
              <a:gd name="connsiteX3419" fmla="*/ 8012660 w 10890933"/>
              <a:gd name="connsiteY3419" fmla="*/ 3009217 h 4167549"/>
              <a:gd name="connsiteX3420" fmla="*/ 7987977 w 10890933"/>
              <a:gd name="connsiteY3420" fmla="*/ 3002603 h 4167549"/>
              <a:gd name="connsiteX3421" fmla="*/ 8006711 w 10890933"/>
              <a:gd name="connsiteY3421" fmla="*/ 2994394 h 4167549"/>
              <a:gd name="connsiteX3422" fmla="*/ 6588312 w 10890933"/>
              <a:gd name="connsiteY3422" fmla="*/ 2993519 h 4167549"/>
              <a:gd name="connsiteX3423" fmla="*/ 6593967 w 10890933"/>
              <a:gd name="connsiteY3423" fmla="*/ 3005322 h 4167549"/>
              <a:gd name="connsiteX3424" fmla="*/ 6577512 w 10890933"/>
              <a:gd name="connsiteY3424" fmla="*/ 3000913 h 4167549"/>
              <a:gd name="connsiteX3425" fmla="*/ 6588312 w 10890933"/>
              <a:gd name="connsiteY3425" fmla="*/ 2993519 h 4167549"/>
              <a:gd name="connsiteX3426" fmla="*/ 3394188 w 10890933"/>
              <a:gd name="connsiteY3426" fmla="*/ 2991053 h 4167549"/>
              <a:gd name="connsiteX3427" fmla="*/ 3391896 w 10890933"/>
              <a:gd name="connsiteY3427" fmla="*/ 2999608 h 4167549"/>
              <a:gd name="connsiteX3428" fmla="*/ 3408918 w 10890933"/>
              <a:gd name="connsiteY3428" fmla="*/ 3004169 h 4167549"/>
              <a:gd name="connsiteX3429" fmla="*/ 3394188 w 10890933"/>
              <a:gd name="connsiteY3429" fmla="*/ 2991053 h 4167549"/>
              <a:gd name="connsiteX3430" fmla="*/ 3578078 w 10890933"/>
              <a:gd name="connsiteY3430" fmla="*/ 2985670 h 4167549"/>
              <a:gd name="connsiteX3431" fmla="*/ 3573579 w 10890933"/>
              <a:gd name="connsiteY3431" fmla="*/ 3002457 h 4167549"/>
              <a:gd name="connsiteX3432" fmla="*/ 3587493 w 10890933"/>
              <a:gd name="connsiteY3432" fmla="*/ 3001602 h 4167549"/>
              <a:gd name="connsiteX3433" fmla="*/ 3600249 w 10890933"/>
              <a:gd name="connsiteY3433" fmla="*/ 3000818 h 4167549"/>
              <a:gd name="connsiteX3434" fmla="*/ 3585838 w 10890933"/>
              <a:gd name="connsiteY3434" fmla="*/ 2995879 h 4167549"/>
              <a:gd name="connsiteX3435" fmla="*/ 3582403 w 10890933"/>
              <a:gd name="connsiteY3435" fmla="*/ 2987243 h 4167549"/>
              <a:gd name="connsiteX3436" fmla="*/ 3332195 w 10890933"/>
              <a:gd name="connsiteY3436" fmla="*/ 2985233 h 4167549"/>
              <a:gd name="connsiteX3437" fmla="*/ 3340423 w 10890933"/>
              <a:gd name="connsiteY3437" fmla="*/ 2987438 h 4167549"/>
              <a:gd name="connsiteX3438" fmla="*/ 3356877 w 10890933"/>
              <a:gd name="connsiteY3438" fmla="*/ 2991847 h 4167549"/>
              <a:gd name="connsiteX3439" fmla="*/ 3336013 w 10890933"/>
              <a:gd name="connsiteY3439" fmla="*/ 3003893 h 4167549"/>
              <a:gd name="connsiteX3440" fmla="*/ 3332195 w 10890933"/>
              <a:gd name="connsiteY3440" fmla="*/ 2985233 h 4167549"/>
              <a:gd name="connsiteX3441" fmla="*/ 5766130 w 10890933"/>
              <a:gd name="connsiteY3441" fmla="*/ 2984854 h 4167549"/>
              <a:gd name="connsiteX3442" fmla="*/ 5779300 w 10890933"/>
              <a:gd name="connsiteY3442" fmla="*/ 2985075 h 4167549"/>
              <a:gd name="connsiteX3443" fmla="*/ 5790812 w 10890933"/>
              <a:gd name="connsiteY3443" fmla="*/ 2991468 h 4167549"/>
              <a:gd name="connsiteX3444" fmla="*/ 5766130 w 10890933"/>
              <a:gd name="connsiteY3444" fmla="*/ 2984854 h 4167549"/>
              <a:gd name="connsiteX3445" fmla="*/ 8175308 w 10890933"/>
              <a:gd name="connsiteY3445" fmla="*/ 2982252 h 4167549"/>
              <a:gd name="connsiteX3446" fmla="*/ 8203077 w 10890933"/>
              <a:gd name="connsiteY3446" fmla="*/ 2989693 h 4167549"/>
              <a:gd name="connsiteX3447" fmla="*/ 8200872 w 10890933"/>
              <a:gd name="connsiteY3447" fmla="*/ 2997921 h 4167549"/>
              <a:gd name="connsiteX3448" fmla="*/ 8170899 w 10890933"/>
              <a:gd name="connsiteY3448" fmla="*/ 2998707 h 4167549"/>
              <a:gd name="connsiteX3449" fmla="*/ 8175308 w 10890933"/>
              <a:gd name="connsiteY3449" fmla="*/ 2982252 h 4167549"/>
              <a:gd name="connsiteX3450" fmla="*/ 7023427 w 10890933"/>
              <a:gd name="connsiteY3450" fmla="*/ 2982245 h 4167549"/>
              <a:gd name="connsiteX3451" fmla="*/ 7010239 w 10890933"/>
              <a:gd name="connsiteY3451" fmla="*/ 2998553 h 4167549"/>
              <a:gd name="connsiteX3452" fmla="*/ 7015986 w 10890933"/>
              <a:gd name="connsiteY3452" fmla="*/ 3010014 h 4167549"/>
              <a:gd name="connsiteX3453" fmla="*/ 6999531 w 10890933"/>
              <a:gd name="connsiteY3453" fmla="*/ 3005605 h 4167549"/>
              <a:gd name="connsiteX3454" fmla="*/ 7023427 w 10890933"/>
              <a:gd name="connsiteY3454" fmla="*/ 2982245 h 4167549"/>
              <a:gd name="connsiteX3455" fmla="*/ 4425778 w 10890933"/>
              <a:gd name="connsiteY3455" fmla="*/ 2982220 h 4167549"/>
              <a:gd name="connsiteX3456" fmla="*/ 4429169 w 10890933"/>
              <a:gd name="connsiteY3456" fmla="*/ 2982737 h 4167549"/>
              <a:gd name="connsiteX3457" fmla="*/ 4429290 w 10890933"/>
              <a:gd name="connsiteY3457" fmla="*/ 2984733 h 4167549"/>
              <a:gd name="connsiteX3458" fmla="*/ 3835702 w 10890933"/>
              <a:gd name="connsiteY3458" fmla="*/ 2981997 h 4167549"/>
              <a:gd name="connsiteX3459" fmla="*/ 3841357 w 10890933"/>
              <a:gd name="connsiteY3459" fmla="*/ 2993800 h 4167549"/>
              <a:gd name="connsiteX3460" fmla="*/ 3832103 w 10890933"/>
              <a:gd name="connsiteY3460" fmla="*/ 2984460 h 4167549"/>
              <a:gd name="connsiteX3461" fmla="*/ 5504660 w 10890933"/>
              <a:gd name="connsiteY3461" fmla="*/ 2980657 h 4167549"/>
              <a:gd name="connsiteX3462" fmla="*/ 5508638 w 10890933"/>
              <a:gd name="connsiteY3462" fmla="*/ 2999995 h 4167549"/>
              <a:gd name="connsiteX3463" fmla="*/ 5504660 w 10890933"/>
              <a:gd name="connsiteY3463" fmla="*/ 2980657 h 4167549"/>
              <a:gd name="connsiteX3464" fmla="*/ 6500723 w 10890933"/>
              <a:gd name="connsiteY3464" fmla="*/ 2980338 h 4167549"/>
              <a:gd name="connsiteX3465" fmla="*/ 6510322 w 10890933"/>
              <a:gd name="connsiteY3465" fmla="*/ 2982909 h 4167549"/>
              <a:gd name="connsiteX3466" fmla="*/ 6519920 w 10890933"/>
              <a:gd name="connsiteY3466" fmla="*/ 2985481 h 4167549"/>
              <a:gd name="connsiteX3467" fmla="*/ 6485978 w 10890933"/>
              <a:gd name="connsiteY3467" fmla="*/ 2996964 h 4167549"/>
              <a:gd name="connsiteX3468" fmla="*/ 6500723 w 10890933"/>
              <a:gd name="connsiteY3468" fmla="*/ 2980338 h 4167549"/>
              <a:gd name="connsiteX3469" fmla="*/ 6012172 w 10890933"/>
              <a:gd name="connsiteY3469" fmla="*/ 2979866 h 4167549"/>
              <a:gd name="connsiteX3470" fmla="*/ 6016198 w 10890933"/>
              <a:gd name="connsiteY3470" fmla="*/ 2979997 h 4167549"/>
              <a:gd name="connsiteX3471" fmla="*/ 6018021 w 10890933"/>
              <a:gd name="connsiteY3471" fmla="*/ 2982719 h 4167549"/>
              <a:gd name="connsiteX3472" fmla="*/ 6023098 w 10890933"/>
              <a:gd name="connsiteY3472" fmla="*/ 2980221 h 4167549"/>
              <a:gd name="connsiteX3473" fmla="*/ 6009725 w 10890933"/>
              <a:gd name="connsiteY3473" fmla="*/ 2997216 h 4167549"/>
              <a:gd name="connsiteX3474" fmla="*/ 6012172 w 10890933"/>
              <a:gd name="connsiteY3474" fmla="*/ 2979866 h 4167549"/>
              <a:gd name="connsiteX3475" fmla="*/ 6416799 w 10890933"/>
              <a:gd name="connsiteY3475" fmla="*/ 2979530 h 4167549"/>
              <a:gd name="connsiteX3476" fmla="*/ 6436615 w 10890933"/>
              <a:gd name="connsiteY3476" fmla="*/ 2983738 h 4167549"/>
              <a:gd name="connsiteX3477" fmla="*/ 6417956 w 10890933"/>
              <a:gd name="connsiteY3477" fmla="*/ 2987556 h 4167549"/>
              <a:gd name="connsiteX3478" fmla="*/ 6401501 w 10890933"/>
              <a:gd name="connsiteY3478" fmla="*/ 2983147 h 4167549"/>
              <a:gd name="connsiteX3479" fmla="*/ 6416799 w 10890933"/>
              <a:gd name="connsiteY3479" fmla="*/ 2979530 h 4167549"/>
              <a:gd name="connsiteX3480" fmla="*/ 4421606 w 10890933"/>
              <a:gd name="connsiteY3480" fmla="*/ 2979236 h 4167549"/>
              <a:gd name="connsiteX3481" fmla="*/ 4425778 w 10890933"/>
              <a:gd name="connsiteY3481" fmla="*/ 2982220 h 4167549"/>
              <a:gd name="connsiteX3482" fmla="*/ 4412206 w 10890933"/>
              <a:gd name="connsiteY3482" fmla="*/ 2980155 h 4167549"/>
              <a:gd name="connsiteX3483" fmla="*/ 4421606 w 10890933"/>
              <a:gd name="connsiteY3483" fmla="*/ 2979236 h 4167549"/>
              <a:gd name="connsiteX3484" fmla="*/ 4732909 w 10890933"/>
              <a:gd name="connsiteY3484" fmla="*/ 2978063 h 4167549"/>
              <a:gd name="connsiteX3485" fmla="*/ 4744497 w 10890933"/>
              <a:gd name="connsiteY3485" fmla="*/ 2980066 h 4167549"/>
              <a:gd name="connsiteX3486" fmla="*/ 4734066 w 10890933"/>
              <a:gd name="connsiteY3486" fmla="*/ 2986089 h 4167549"/>
              <a:gd name="connsiteX3487" fmla="*/ 4742293 w 10890933"/>
              <a:gd name="connsiteY3487" fmla="*/ 2988294 h 4167549"/>
              <a:gd name="connsiteX3488" fmla="*/ 4725838 w 10890933"/>
              <a:gd name="connsiteY3488" fmla="*/ 2983885 h 4167549"/>
              <a:gd name="connsiteX3489" fmla="*/ 4732909 w 10890933"/>
              <a:gd name="connsiteY3489" fmla="*/ 2978063 h 4167549"/>
              <a:gd name="connsiteX3490" fmla="*/ 6014870 w 10890933"/>
              <a:gd name="connsiteY3490" fmla="*/ 2978017 h 4167549"/>
              <a:gd name="connsiteX3491" fmla="*/ 6023098 w 10890933"/>
              <a:gd name="connsiteY3491" fmla="*/ 2980221 h 4167549"/>
              <a:gd name="connsiteX3492" fmla="*/ 6016198 w 10890933"/>
              <a:gd name="connsiteY3492" fmla="*/ 2979997 h 4167549"/>
              <a:gd name="connsiteX3493" fmla="*/ 6557606 w 10890933"/>
              <a:gd name="connsiteY3493" fmla="*/ 2976474 h 4167549"/>
              <a:gd name="connsiteX3494" fmla="*/ 6560873 w 10890933"/>
              <a:gd name="connsiteY3494" fmla="*/ 2997191 h 4167549"/>
              <a:gd name="connsiteX3495" fmla="*/ 6550166 w 10890933"/>
              <a:gd name="connsiteY3495" fmla="*/ 3004243 h 4167549"/>
              <a:gd name="connsiteX3496" fmla="*/ 6533711 w 10890933"/>
              <a:gd name="connsiteY3496" fmla="*/ 2999833 h 4167549"/>
              <a:gd name="connsiteX3497" fmla="*/ 6544418 w 10890933"/>
              <a:gd name="connsiteY3497" fmla="*/ 2992782 h 4167549"/>
              <a:gd name="connsiteX3498" fmla="*/ 6557606 w 10890933"/>
              <a:gd name="connsiteY3498" fmla="*/ 2976474 h 4167549"/>
              <a:gd name="connsiteX3499" fmla="*/ 6384535 w 10890933"/>
              <a:gd name="connsiteY3499" fmla="*/ 2976396 h 4167549"/>
              <a:gd name="connsiteX3500" fmla="*/ 6386806 w 10890933"/>
              <a:gd name="connsiteY3500" fmla="*/ 2996846 h 4167549"/>
              <a:gd name="connsiteX3501" fmla="*/ 6378726 w 10890933"/>
              <a:gd name="connsiteY3501" fmla="*/ 2985863 h 4167549"/>
              <a:gd name="connsiteX3502" fmla="*/ 6380930 w 10890933"/>
              <a:gd name="connsiteY3502" fmla="*/ 2977635 h 4167549"/>
              <a:gd name="connsiteX3503" fmla="*/ 6384535 w 10890933"/>
              <a:gd name="connsiteY3503" fmla="*/ 2976396 h 4167549"/>
              <a:gd name="connsiteX3504" fmla="*/ 5755718 w 10890933"/>
              <a:gd name="connsiteY3504" fmla="*/ 2974348 h 4167549"/>
              <a:gd name="connsiteX3505" fmla="*/ 5768335 w 10890933"/>
              <a:gd name="connsiteY3505" fmla="*/ 2976627 h 4167549"/>
              <a:gd name="connsiteX3506" fmla="*/ 5753493 w 10890933"/>
              <a:gd name="connsiteY3506" fmla="*/ 2999104 h 4167549"/>
              <a:gd name="connsiteX3507" fmla="*/ 5739243 w 10890933"/>
              <a:gd name="connsiteY3507" fmla="*/ 2986468 h 4167549"/>
              <a:gd name="connsiteX3508" fmla="*/ 5741447 w 10890933"/>
              <a:gd name="connsiteY3508" fmla="*/ 2978240 h 4167549"/>
              <a:gd name="connsiteX3509" fmla="*/ 5755718 w 10890933"/>
              <a:gd name="connsiteY3509" fmla="*/ 2974348 h 4167549"/>
              <a:gd name="connsiteX3510" fmla="*/ 4076217 w 10890933"/>
              <a:gd name="connsiteY3510" fmla="*/ 2972955 h 4167549"/>
              <a:gd name="connsiteX3511" fmla="*/ 4084446 w 10890933"/>
              <a:gd name="connsiteY3511" fmla="*/ 2975160 h 4167549"/>
              <a:gd name="connsiteX3512" fmla="*/ 4069603 w 10890933"/>
              <a:gd name="connsiteY3512" fmla="*/ 2997638 h 4167549"/>
              <a:gd name="connsiteX3513" fmla="*/ 4076217 w 10890933"/>
              <a:gd name="connsiteY3513" fmla="*/ 2972955 h 4167549"/>
              <a:gd name="connsiteX3514" fmla="*/ 4279045 w 10890933"/>
              <a:gd name="connsiteY3514" fmla="*/ 2972927 h 4167549"/>
              <a:gd name="connsiteX3515" fmla="*/ 4287272 w 10890933"/>
              <a:gd name="connsiteY3515" fmla="*/ 2975131 h 4167549"/>
              <a:gd name="connsiteX3516" fmla="*/ 4279045 w 10890933"/>
              <a:gd name="connsiteY3516" fmla="*/ 2972927 h 4167549"/>
              <a:gd name="connsiteX3517" fmla="*/ 3820534 w 10890933"/>
              <a:gd name="connsiteY3517" fmla="*/ 2972786 h 4167549"/>
              <a:gd name="connsiteX3518" fmla="*/ 3832103 w 10890933"/>
              <a:gd name="connsiteY3518" fmla="*/ 2984460 h 4167549"/>
              <a:gd name="connsiteX3519" fmla="*/ 3824902 w 10890933"/>
              <a:gd name="connsiteY3519" fmla="*/ 2989390 h 4167549"/>
              <a:gd name="connsiteX3520" fmla="*/ 3791992 w 10890933"/>
              <a:gd name="connsiteY3520" fmla="*/ 2980572 h 4167549"/>
              <a:gd name="connsiteX3521" fmla="*/ 3820534 w 10890933"/>
              <a:gd name="connsiteY3521" fmla="*/ 2972786 h 4167549"/>
              <a:gd name="connsiteX3522" fmla="*/ 7930682 w 10890933"/>
              <a:gd name="connsiteY3522" fmla="*/ 2969614 h 4167549"/>
              <a:gd name="connsiteX3523" fmla="*/ 7962143 w 10890933"/>
              <a:gd name="connsiteY3523" fmla="*/ 2972531 h 4167549"/>
              <a:gd name="connsiteX3524" fmla="*/ 7981957 w 10890933"/>
              <a:gd name="connsiteY3524" fmla="*/ 2992172 h 4167549"/>
              <a:gd name="connsiteX3525" fmla="*/ 7930682 w 10890933"/>
              <a:gd name="connsiteY3525" fmla="*/ 2969614 h 4167549"/>
              <a:gd name="connsiteX3526" fmla="*/ 4042385 w 10890933"/>
              <a:gd name="connsiteY3526" fmla="*/ 2969124 h 4167549"/>
              <a:gd name="connsiteX3527" fmla="*/ 4050910 w 10890933"/>
              <a:gd name="connsiteY3527" fmla="*/ 2972787 h 4167549"/>
              <a:gd name="connsiteX3528" fmla="*/ 4063580 w 10890933"/>
              <a:gd name="connsiteY3528" fmla="*/ 2987206 h 4167549"/>
              <a:gd name="connsiteX3529" fmla="*/ 4030670 w 10890933"/>
              <a:gd name="connsiteY3529" fmla="*/ 2978387 h 4167549"/>
              <a:gd name="connsiteX3530" fmla="*/ 4041103 w 10890933"/>
              <a:gd name="connsiteY3530" fmla="*/ 2972364 h 4167549"/>
              <a:gd name="connsiteX3531" fmla="*/ 4042385 w 10890933"/>
              <a:gd name="connsiteY3531" fmla="*/ 2969124 h 4167549"/>
              <a:gd name="connsiteX3532" fmla="*/ 5806066 w 10890933"/>
              <a:gd name="connsiteY3532" fmla="*/ 2969100 h 4167549"/>
              <a:gd name="connsiteX3533" fmla="*/ 5855696 w 10890933"/>
              <a:gd name="connsiteY3533" fmla="*/ 2991217 h 4167549"/>
              <a:gd name="connsiteX3534" fmla="*/ 5886021 w 10890933"/>
              <a:gd name="connsiteY3534" fmla="*/ 2981706 h 4167549"/>
              <a:gd name="connsiteX3535" fmla="*/ 5840443 w 10890933"/>
              <a:gd name="connsiteY3535" fmla="*/ 3013584 h 4167549"/>
              <a:gd name="connsiteX3536" fmla="*/ 5818936 w 10890933"/>
              <a:gd name="connsiteY3536" fmla="*/ 2990185 h 4167549"/>
              <a:gd name="connsiteX3537" fmla="*/ 5820641 w 10890933"/>
              <a:gd name="connsiteY3537" fmla="*/ 2988633 h 4167549"/>
              <a:gd name="connsiteX3538" fmla="*/ 5821455 w 10890933"/>
              <a:gd name="connsiteY3538" fmla="*/ 2988693 h 4167549"/>
              <a:gd name="connsiteX3539" fmla="*/ 5824334 w 10890933"/>
              <a:gd name="connsiteY3539" fmla="*/ 2991632 h 4167549"/>
              <a:gd name="connsiteX3540" fmla="*/ 5836212 w 10890933"/>
              <a:gd name="connsiteY3540" fmla="*/ 2994814 h 4167549"/>
              <a:gd name="connsiteX3541" fmla="*/ 5827321 w 10890933"/>
              <a:gd name="connsiteY3541" fmla="*/ 2989125 h 4167549"/>
              <a:gd name="connsiteX3542" fmla="*/ 5821455 w 10890933"/>
              <a:gd name="connsiteY3542" fmla="*/ 2988693 h 4167549"/>
              <a:gd name="connsiteX3543" fmla="*/ 5821040 w 10890933"/>
              <a:gd name="connsiteY3543" fmla="*/ 2988269 h 4167549"/>
              <a:gd name="connsiteX3544" fmla="*/ 5820641 w 10890933"/>
              <a:gd name="connsiteY3544" fmla="*/ 2988633 h 4167549"/>
              <a:gd name="connsiteX3545" fmla="*/ 5810296 w 10890933"/>
              <a:gd name="connsiteY3545" fmla="*/ 2987870 h 4167549"/>
              <a:gd name="connsiteX3546" fmla="*/ 5806066 w 10890933"/>
              <a:gd name="connsiteY3546" fmla="*/ 2969100 h 4167549"/>
              <a:gd name="connsiteX3547" fmla="*/ 7839334 w 10890933"/>
              <a:gd name="connsiteY3547" fmla="*/ 2968972 h 4167549"/>
              <a:gd name="connsiteX3548" fmla="*/ 7866918 w 10890933"/>
              <a:gd name="connsiteY3548" fmla="*/ 2970163 h 4167549"/>
              <a:gd name="connsiteX3549" fmla="*/ 7893363 w 10890933"/>
              <a:gd name="connsiteY3549" fmla="*/ 2977249 h 4167549"/>
              <a:gd name="connsiteX3550" fmla="*/ 7827246 w 10890933"/>
              <a:gd name="connsiteY3550" fmla="*/ 2977169 h 4167549"/>
              <a:gd name="connsiteX3551" fmla="*/ 7839334 w 10890933"/>
              <a:gd name="connsiteY3551" fmla="*/ 2968972 h 4167549"/>
              <a:gd name="connsiteX3552" fmla="*/ 4774693 w 10890933"/>
              <a:gd name="connsiteY3552" fmla="*/ 2966110 h 4167549"/>
              <a:gd name="connsiteX3553" fmla="*/ 4761320 w 10890933"/>
              <a:gd name="connsiteY3553" fmla="*/ 2983104 h 4167549"/>
              <a:gd name="connsiteX3554" fmla="*/ 4774693 w 10890933"/>
              <a:gd name="connsiteY3554" fmla="*/ 2966110 h 4167549"/>
              <a:gd name="connsiteX3555" fmla="*/ 6304679 w 10890933"/>
              <a:gd name="connsiteY3555" fmla="*/ 2966019 h 4167549"/>
              <a:gd name="connsiteX3556" fmla="*/ 6324952 w 10890933"/>
              <a:gd name="connsiteY3556" fmla="*/ 2989088 h 4167549"/>
              <a:gd name="connsiteX3557" fmla="*/ 6298065 w 10890933"/>
              <a:gd name="connsiteY3557" fmla="*/ 2990701 h 4167549"/>
              <a:gd name="connsiteX3558" fmla="*/ 6304679 w 10890933"/>
              <a:gd name="connsiteY3558" fmla="*/ 2966019 h 4167549"/>
              <a:gd name="connsiteX3559" fmla="*/ 3510225 w 10890933"/>
              <a:gd name="connsiteY3559" fmla="*/ 2966002 h 4167549"/>
              <a:gd name="connsiteX3560" fmla="*/ 3518583 w 10890933"/>
              <a:gd name="connsiteY3560" fmla="*/ 2969387 h 4167549"/>
              <a:gd name="connsiteX3561" fmla="*/ 3513999 w 10890933"/>
              <a:gd name="connsiteY3561" fmla="*/ 2986493 h 4167549"/>
              <a:gd name="connsiteX3562" fmla="*/ 3556557 w 10890933"/>
              <a:gd name="connsiteY3562" fmla="*/ 2997896 h 4167549"/>
              <a:gd name="connsiteX3563" fmla="*/ 3550336 w 10890933"/>
              <a:gd name="connsiteY3563" fmla="*/ 2987064 h 4167549"/>
              <a:gd name="connsiteX3564" fmla="*/ 3561057 w 10890933"/>
              <a:gd name="connsiteY3564" fmla="*/ 2985351 h 4167549"/>
              <a:gd name="connsiteX3565" fmla="*/ 3577202 w 10890933"/>
              <a:gd name="connsiteY3565" fmla="*/ 2985352 h 4167549"/>
              <a:gd name="connsiteX3566" fmla="*/ 3570872 w 10890933"/>
              <a:gd name="connsiteY3566" fmla="*/ 2983051 h 4167549"/>
              <a:gd name="connsiteX3567" fmla="*/ 3674130 w 10890933"/>
              <a:gd name="connsiteY3567" fmla="*/ 2975446 h 4167549"/>
              <a:gd name="connsiteX3568" fmla="*/ 3717055 w 10890933"/>
              <a:gd name="connsiteY3568" fmla="*/ 2986947 h 4167549"/>
              <a:gd name="connsiteX3569" fmla="*/ 3740839 w 10890933"/>
              <a:gd name="connsiteY3569" fmla="*/ 2966866 h 4167549"/>
              <a:gd name="connsiteX3570" fmla="*/ 3783765 w 10890933"/>
              <a:gd name="connsiteY3570" fmla="*/ 2978368 h 4167549"/>
              <a:gd name="connsiteX3571" fmla="*/ 3738635 w 10890933"/>
              <a:gd name="connsiteY3571" fmla="*/ 2975093 h 4167549"/>
              <a:gd name="connsiteX3572" fmla="*/ 3695476 w 10890933"/>
              <a:gd name="connsiteY3572" fmla="*/ 2998802 h 4167549"/>
              <a:gd name="connsiteX3573" fmla="*/ 3701856 w 10890933"/>
              <a:gd name="connsiteY3573" fmla="*/ 3009330 h 4167549"/>
              <a:gd name="connsiteX3574" fmla="*/ 3678305 w 10890933"/>
              <a:gd name="connsiteY3574" fmla="*/ 2994201 h 4167549"/>
              <a:gd name="connsiteX3575" fmla="*/ 3665311 w 10890933"/>
              <a:gd name="connsiteY3575" fmla="*/ 3008356 h 4167549"/>
              <a:gd name="connsiteX3576" fmla="*/ 3641760 w 10890933"/>
              <a:gd name="connsiteY3576" fmla="*/ 2993227 h 4167549"/>
              <a:gd name="connsiteX3577" fmla="*/ 3648141 w 10890933"/>
              <a:gd name="connsiteY3577" fmla="*/ 3003755 h 4167549"/>
              <a:gd name="connsiteX3578" fmla="*/ 3615336 w 10890933"/>
              <a:gd name="connsiteY3578" fmla="*/ 3005988 h 4167549"/>
              <a:gd name="connsiteX3579" fmla="*/ 3600800 w 10890933"/>
              <a:gd name="connsiteY3579" fmla="*/ 3001008 h 4167549"/>
              <a:gd name="connsiteX3580" fmla="*/ 3576424 w 10890933"/>
              <a:gd name="connsiteY3580" fmla="*/ 3011526 h 4167549"/>
              <a:gd name="connsiteX3581" fmla="*/ 3496323 w 10890933"/>
              <a:gd name="connsiteY3581" fmla="*/ 3018421 h 4167549"/>
              <a:gd name="connsiteX3582" fmla="*/ 3479301 w 10890933"/>
              <a:gd name="connsiteY3582" fmla="*/ 3013859 h 4167549"/>
              <a:gd name="connsiteX3583" fmla="*/ 3432162 w 10890933"/>
              <a:gd name="connsiteY3583" fmla="*/ 3019562 h 4167549"/>
              <a:gd name="connsiteX3584" fmla="*/ 3427579 w 10890933"/>
              <a:gd name="connsiteY3584" fmla="*/ 3036668 h 4167549"/>
              <a:gd name="connsiteX3585" fmla="*/ 3385021 w 10890933"/>
              <a:gd name="connsiteY3585" fmla="*/ 3025265 h 4167549"/>
              <a:gd name="connsiteX3586" fmla="*/ 3382730 w 10890933"/>
              <a:gd name="connsiteY3586" fmla="*/ 3033816 h 4167549"/>
              <a:gd name="connsiteX3587" fmla="*/ 3340175 w 10890933"/>
              <a:gd name="connsiteY3587" fmla="*/ 3022413 h 4167549"/>
              <a:gd name="connsiteX3588" fmla="*/ 3354906 w 10890933"/>
              <a:gd name="connsiteY3588" fmla="*/ 3035526 h 4167549"/>
              <a:gd name="connsiteX3589" fmla="*/ 3293034 w 10890933"/>
              <a:gd name="connsiteY3589" fmla="*/ 3028116 h 4167549"/>
              <a:gd name="connsiteX3590" fmla="*/ 3288451 w 10890933"/>
              <a:gd name="connsiteY3590" fmla="*/ 3045219 h 4167549"/>
              <a:gd name="connsiteX3591" fmla="*/ 3243604 w 10890933"/>
              <a:gd name="connsiteY3591" fmla="*/ 3042370 h 4167549"/>
              <a:gd name="connsiteX3592" fmla="*/ 3241312 w 10890933"/>
              <a:gd name="connsiteY3592" fmla="*/ 3050921 h 4167549"/>
              <a:gd name="connsiteX3593" fmla="*/ 3230508 w 10890933"/>
              <a:gd name="connsiteY3593" fmla="*/ 3057192 h 4167549"/>
              <a:gd name="connsiteX3594" fmla="*/ 3215777 w 10890933"/>
              <a:gd name="connsiteY3594" fmla="*/ 3044079 h 4167549"/>
              <a:gd name="connsiteX3595" fmla="*/ 3202684 w 10890933"/>
              <a:gd name="connsiteY3595" fmla="*/ 3058904 h 4167549"/>
              <a:gd name="connsiteX3596" fmla="*/ 3196463 w 10890933"/>
              <a:gd name="connsiteY3596" fmla="*/ 3048070 h 4167549"/>
              <a:gd name="connsiteX3597" fmla="*/ 3183370 w 10890933"/>
              <a:gd name="connsiteY3597" fmla="*/ 3062895 h 4167549"/>
              <a:gd name="connsiteX3598" fmla="*/ 3149325 w 10890933"/>
              <a:gd name="connsiteY3598" fmla="*/ 3053772 h 4167549"/>
              <a:gd name="connsiteX3599" fmla="*/ 3068141 w 10890933"/>
              <a:gd name="connsiteY3599" fmla="*/ 3050353 h 4167549"/>
              <a:gd name="connsiteX3600" fmla="*/ 3053408 w 10890933"/>
              <a:gd name="connsiteY3600" fmla="*/ 3037237 h 4167549"/>
              <a:gd name="connsiteX3601" fmla="*/ 3123792 w 10890933"/>
              <a:gd name="connsiteY3601" fmla="*/ 3046931 h 4167549"/>
              <a:gd name="connsiteX3602" fmla="*/ 3111353 w 10890933"/>
              <a:gd name="connsiteY3602" fmla="*/ 3025264 h 4167549"/>
              <a:gd name="connsiteX3603" fmla="*/ 3147690 w 10890933"/>
              <a:gd name="connsiteY3603" fmla="*/ 3025835 h 4167549"/>
              <a:gd name="connsiteX3604" fmla="*/ 3139177 w 10890933"/>
              <a:gd name="connsiteY3604" fmla="*/ 3023554 h 4167549"/>
              <a:gd name="connsiteX3605" fmla="*/ 3175513 w 10890933"/>
              <a:gd name="connsiteY3605" fmla="*/ 3024125 h 4167549"/>
              <a:gd name="connsiteX3606" fmla="*/ 3182388 w 10890933"/>
              <a:gd name="connsiteY3606" fmla="*/ 2998468 h 4167549"/>
              <a:gd name="connsiteX3607" fmla="*/ 3207921 w 10890933"/>
              <a:gd name="connsiteY3607" fmla="*/ 3005310 h 4167549"/>
              <a:gd name="connsiteX3608" fmla="*/ 3209558 w 10890933"/>
              <a:gd name="connsiteY3608" fmla="*/ 3033248 h 4167549"/>
              <a:gd name="connsiteX3609" fmla="*/ 3220361 w 10890933"/>
              <a:gd name="connsiteY3609" fmla="*/ 3026974 h 4167549"/>
              <a:gd name="connsiteX3610" fmla="*/ 3235748 w 10890933"/>
              <a:gd name="connsiteY3610" fmla="*/ 3003598 h 4167549"/>
              <a:gd name="connsiteX3611" fmla="*/ 3295326 w 10890933"/>
              <a:gd name="connsiteY3611" fmla="*/ 3019562 h 4167549"/>
              <a:gd name="connsiteX3612" fmla="*/ 3293690 w 10890933"/>
              <a:gd name="connsiteY3612" fmla="*/ 2991624 h 4167549"/>
              <a:gd name="connsiteX3613" fmla="*/ 3333953 w 10890933"/>
              <a:gd name="connsiteY3613" fmla="*/ 3011581 h 4167549"/>
              <a:gd name="connsiteX3614" fmla="*/ 3379457 w 10890933"/>
              <a:gd name="connsiteY3614" fmla="*/ 2977941 h 4167549"/>
              <a:gd name="connsiteX3615" fmla="*/ 3475371 w 10890933"/>
              <a:gd name="connsiteY3615" fmla="*/ 2994476 h 4167549"/>
              <a:gd name="connsiteX3616" fmla="*/ 3494686 w 10890933"/>
              <a:gd name="connsiteY3616" fmla="*/ 2990483 h 4167549"/>
              <a:gd name="connsiteX3617" fmla="*/ 3499268 w 10890933"/>
              <a:gd name="connsiteY3617" fmla="*/ 2973380 h 4167549"/>
              <a:gd name="connsiteX3618" fmla="*/ 3510225 w 10890933"/>
              <a:gd name="connsiteY3618" fmla="*/ 2966002 h 4167549"/>
              <a:gd name="connsiteX3619" fmla="*/ 4902808 w 10890933"/>
              <a:gd name="connsiteY3619" fmla="*/ 2965165 h 4167549"/>
              <a:gd name="connsiteX3620" fmla="*/ 4921119 w 10890933"/>
              <a:gd name="connsiteY3620" fmla="*/ 2966764 h 4167549"/>
              <a:gd name="connsiteX3621" fmla="*/ 4943945 w 10890933"/>
              <a:gd name="connsiteY3621" fmla="*/ 2976188 h 4167549"/>
              <a:gd name="connsiteX3622" fmla="*/ 4902808 w 10890933"/>
              <a:gd name="connsiteY3622" fmla="*/ 2965165 h 4167549"/>
              <a:gd name="connsiteX3623" fmla="*/ 832819 w 10890933"/>
              <a:gd name="connsiteY3623" fmla="*/ 2964496 h 4167549"/>
              <a:gd name="connsiteX3624" fmla="*/ 836074 w 10890933"/>
              <a:gd name="connsiteY3624" fmla="*/ 2966227 h 4167549"/>
              <a:gd name="connsiteX3625" fmla="*/ 832572 w 10890933"/>
              <a:gd name="connsiteY3625" fmla="*/ 2973482 h 4167549"/>
              <a:gd name="connsiteX3626" fmla="*/ 832220 w 10890933"/>
              <a:gd name="connsiteY3626" fmla="*/ 2972071 h 4167549"/>
              <a:gd name="connsiteX3627" fmla="*/ 832819 w 10890933"/>
              <a:gd name="connsiteY3627" fmla="*/ 2964496 h 4167549"/>
              <a:gd name="connsiteX3628" fmla="*/ 5545692 w 10890933"/>
              <a:gd name="connsiteY3628" fmla="*/ 2964244 h 4167549"/>
              <a:gd name="connsiteX3629" fmla="*/ 5553646 w 10890933"/>
              <a:gd name="connsiteY3629" fmla="*/ 3002920 h 4167549"/>
              <a:gd name="connsiteX3630" fmla="*/ 5570738 w 10890933"/>
              <a:gd name="connsiteY3630" fmla="*/ 3007500 h 4167549"/>
              <a:gd name="connsiteX3631" fmla="*/ 5551362 w 10890933"/>
              <a:gd name="connsiteY3631" fmla="*/ 3011443 h 4167549"/>
              <a:gd name="connsiteX3632" fmla="*/ 5542225 w 10890933"/>
              <a:gd name="connsiteY3632" fmla="*/ 3045542 h 4167549"/>
              <a:gd name="connsiteX3633" fmla="*/ 5567861 w 10890933"/>
              <a:gd name="connsiteY3633" fmla="*/ 3052411 h 4167549"/>
              <a:gd name="connsiteX3634" fmla="*/ 5553055 w 10890933"/>
              <a:gd name="connsiteY3634" fmla="*/ 3039307 h 4167549"/>
              <a:gd name="connsiteX3635" fmla="*/ 5557623 w 10890933"/>
              <a:gd name="connsiteY3635" fmla="*/ 3022258 h 4167549"/>
              <a:gd name="connsiteX3636" fmla="*/ 5595782 w 10890933"/>
              <a:gd name="connsiteY3636" fmla="*/ 3050755 h 4167549"/>
              <a:gd name="connsiteX3637" fmla="*/ 5615155 w 10890933"/>
              <a:gd name="connsiteY3637" fmla="*/ 3046812 h 4167549"/>
              <a:gd name="connsiteX3638" fmla="*/ 5608893 w 10890933"/>
              <a:gd name="connsiteY3638" fmla="*/ 3035996 h 4167549"/>
              <a:gd name="connsiteX3639" fmla="*/ 5598065 w 10890933"/>
              <a:gd name="connsiteY3639" fmla="*/ 3042232 h 4167549"/>
              <a:gd name="connsiteX3640" fmla="*/ 5576998 w 10890933"/>
              <a:gd name="connsiteY3640" fmla="*/ 3018312 h 4167549"/>
              <a:gd name="connsiteX3641" fmla="*/ 5585544 w 10890933"/>
              <a:gd name="connsiteY3641" fmla="*/ 3020602 h 4167549"/>
              <a:gd name="connsiteX3642" fmla="*/ 5590112 w 10890933"/>
              <a:gd name="connsiteY3642" fmla="*/ 3003553 h 4167549"/>
              <a:gd name="connsiteX3643" fmla="*/ 5603224 w 10890933"/>
              <a:gd name="connsiteY3643" fmla="*/ 2988794 h 4167549"/>
              <a:gd name="connsiteX3644" fmla="*/ 5628861 w 10890933"/>
              <a:gd name="connsiteY3644" fmla="*/ 2995664 h 4167549"/>
              <a:gd name="connsiteX3645" fmla="*/ 5631144 w 10890933"/>
              <a:gd name="connsiteY3645" fmla="*/ 2987141 h 4167549"/>
              <a:gd name="connsiteX3646" fmla="*/ 5641382 w 10890933"/>
              <a:gd name="connsiteY3646" fmla="*/ 3017291 h 4167549"/>
              <a:gd name="connsiteX3647" fmla="*/ 5649926 w 10890933"/>
              <a:gd name="connsiteY3647" fmla="*/ 3019580 h 4167549"/>
              <a:gd name="connsiteX3648" fmla="*/ 5658472 w 10890933"/>
              <a:gd name="connsiteY3648" fmla="*/ 3021870 h 4167549"/>
              <a:gd name="connsiteX3649" fmla="*/ 5680130 w 10890933"/>
              <a:gd name="connsiteY3649" fmla="*/ 3009401 h 4167549"/>
              <a:gd name="connsiteX3650" fmla="*/ 5663040 w 10890933"/>
              <a:gd name="connsiteY3650" fmla="*/ 3004822 h 4167549"/>
              <a:gd name="connsiteX3651" fmla="*/ 5648234 w 10890933"/>
              <a:gd name="connsiteY3651" fmla="*/ 2991720 h 4167549"/>
              <a:gd name="connsiteX3652" fmla="*/ 5652803 w 10890933"/>
              <a:gd name="connsiteY3652" fmla="*/ 2974669 h 4167549"/>
              <a:gd name="connsiteX3653" fmla="*/ 5667608 w 10890933"/>
              <a:gd name="connsiteY3653" fmla="*/ 2987774 h 4167549"/>
              <a:gd name="connsiteX3654" fmla="*/ 5678436 w 10890933"/>
              <a:gd name="connsiteY3654" fmla="*/ 2981537 h 4167549"/>
              <a:gd name="connsiteX3655" fmla="*/ 5693242 w 10890933"/>
              <a:gd name="connsiteY3655" fmla="*/ 2994642 h 4167549"/>
              <a:gd name="connsiteX3656" fmla="*/ 5712616 w 10890933"/>
              <a:gd name="connsiteY3656" fmla="*/ 2990696 h 4167549"/>
              <a:gd name="connsiteX3657" fmla="*/ 5734275 w 10890933"/>
              <a:gd name="connsiteY3657" fmla="*/ 2978226 h 4167549"/>
              <a:gd name="connsiteX3658" fmla="*/ 5740536 w 10890933"/>
              <a:gd name="connsiteY3658" fmla="*/ 2989042 h 4167549"/>
              <a:gd name="connsiteX3659" fmla="*/ 5708047 w 10890933"/>
              <a:gd name="connsiteY3659" fmla="*/ 3007747 h 4167549"/>
              <a:gd name="connsiteX3660" fmla="*/ 5722854 w 10890933"/>
              <a:gd name="connsiteY3660" fmla="*/ 3020849 h 4167549"/>
              <a:gd name="connsiteX3661" fmla="*/ 5718286 w 10890933"/>
              <a:gd name="connsiteY3661" fmla="*/ 3037897 h 4167549"/>
              <a:gd name="connsiteX3662" fmla="*/ 5714310 w 10890933"/>
              <a:gd name="connsiteY3662" fmla="*/ 3018560 h 4167549"/>
              <a:gd name="connsiteX3663" fmla="*/ 5703479 w 10890933"/>
              <a:gd name="connsiteY3663" fmla="*/ 3024795 h 4167549"/>
              <a:gd name="connsiteX3664" fmla="*/ 5716001 w 10890933"/>
              <a:gd name="connsiteY3664" fmla="*/ 3046423 h 4167549"/>
              <a:gd name="connsiteX3665" fmla="*/ 5769558 w 10890933"/>
              <a:gd name="connsiteY3665" fmla="*/ 3051636 h 4167549"/>
              <a:gd name="connsiteX3666" fmla="*/ 5725138 w 10890933"/>
              <a:gd name="connsiteY3666" fmla="*/ 3012326 h 4167549"/>
              <a:gd name="connsiteX3667" fmla="*/ 5742230 w 10890933"/>
              <a:gd name="connsiteY3667" fmla="*/ 3016906 h 4167549"/>
              <a:gd name="connsiteX3668" fmla="*/ 5763295 w 10890933"/>
              <a:gd name="connsiteY3668" fmla="*/ 3040823 h 4167549"/>
              <a:gd name="connsiteX3669" fmla="*/ 5767863 w 10890933"/>
              <a:gd name="connsiteY3669" fmla="*/ 3023774 h 4167549"/>
              <a:gd name="connsiteX3670" fmla="*/ 5742230 w 10890933"/>
              <a:gd name="connsiteY3670" fmla="*/ 3016906 h 4167549"/>
              <a:gd name="connsiteX3671" fmla="*/ 5770148 w 10890933"/>
              <a:gd name="connsiteY3671" fmla="*/ 3015249 h 4167549"/>
              <a:gd name="connsiteX3672" fmla="*/ 5774126 w 10890933"/>
              <a:gd name="connsiteY3672" fmla="*/ 3034587 h 4167549"/>
              <a:gd name="connsiteX3673" fmla="*/ 5786648 w 10890933"/>
              <a:gd name="connsiteY3673" fmla="*/ 3056215 h 4167549"/>
              <a:gd name="connsiteX3674" fmla="*/ 5802044 w 10890933"/>
              <a:gd name="connsiteY3674" fmla="*/ 3032933 h 4167549"/>
              <a:gd name="connsiteX3675" fmla="*/ 5827680 w 10890933"/>
              <a:gd name="connsiteY3675" fmla="*/ 3039802 h 4167549"/>
              <a:gd name="connsiteX3676" fmla="*/ 5817442 w 10890933"/>
              <a:gd name="connsiteY3676" fmla="*/ 3009649 h 4167549"/>
              <a:gd name="connsiteX3677" fmla="*/ 5853906 w 10890933"/>
              <a:gd name="connsiteY3677" fmla="*/ 3010282 h 4167549"/>
              <a:gd name="connsiteX3678" fmla="*/ 5868712 w 10890933"/>
              <a:gd name="connsiteY3678" fmla="*/ 3023387 h 4167549"/>
              <a:gd name="connsiteX3679" fmla="*/ 5860165 w 10890933"/>
              <a:gd name="connsiteY3679" fmla="*/ 3021097 h 4167549"/>
              <a:gd name="connsiteX3680" fmla="*/ 5857882 w 10890933"/>
              <a:gd name="connsiteY3680" fmla="*/ 3029619 h 4167549"/>
              <a:gd name="connsiteX3681" fmla="*/ 5872688 w 10890933"/>
              <a:gd name="connsiteY3681" fmla="*/ 3042724 h 4167549"/>
              <a:gd name="connsiteX3682" fmla="*/ 5866428 w 10890933"/>
              <a:gd name="connsiteY3682" fmla="*/ 3031910 h 4167549"/>
              <a:gd name="connsiteX3683" fmla="*/ 5868712 w 10890933"/>
              <a:gd name="connsiteY3683" fmla="*/ 3023387 h 4167549"/>
              <a:gd name="connsiteX3684" fmla="*/ 5892062 w 10890933"/>
              <a:gd name="connsiteY3684" fmla="*/ 3038778 h 4167549"/>
              <a:gd name="connsiteX3685" fmla="*/ 5894346 w 10890933"/>
              <a:gd name="connsiteY3685" fmla="*/ 3030255 h 4167549"/>
              <a:gd name="connsiteX3686" fmla="*/ 5900608 w 10890933"/>
              <a:gd name="connsiteY3686" fmla="*/ 3041068 h 4167549"/>
              <a:gd name="connsiteX3687" fmla="*/ 5898914 w 10890933"/>
              <a:gd name="connsiteY3687" fmla="*/ 3013207 h 4167549"/>
              <a:gd name="connsiteX3688" fmla="*/ 5909744 w 10890933"/>
              <a:gd name="connsiteY3688" fmla="*/ 3006971 h 4167549"/>
              <a:gd name="connsiteX3689" fmla="*/ 5935380 w 10890933"/>
              <a:gd name="connsiteY3689" fmla="*/ 3013840 h 4167549"/>
              <a:gd name="connsiteX3690" fmla="*/ 5928528 w 10890933"/>
              <a:gd name="connsiteY3690" fmla="*/ 3039414 h 4167549"/>
              <a:gd name="connsiteX3691" fmla="*/ 5964992 w 10890933"/>
              <a:gd name="connsiteY3691" fmla="*/ 3040047 h 4167549"/>
              <a:gd name="connsiteX3692" fmla="*/ 5947903 w 10890933"/>
              <a:gd name="connsiteY3692" fmla="*/ 3035468 h 4167549"/>
              <a:gd name="connsiteX3693" fmla="*/ 5969560 w 10890933"/>
              <a:gd name="connsiteY3693" fmla="*/ 3022999 h 4167549"/>
              <a:gd name="connsiteX3694" fmla="*/ 5982082 w 10890933"/>
              <a:gd name="connsiteY3694" fmla="*/ 3044626 h 4167549"/>
              <a:gd name="connsiteX3695" fmla="*/ 5979798 w 10890933"/>
              <a:gd name="connsiteY3695" fmla="*/ 3053152 h 4167549"/>
              <a:gd name="connsiteX3696" fmla="*/ 5988341 w 10890933"/>
              <a:gd name="connsiteY3696" fmla="*/ 3055441 h 4167549"/>
              <a:gd name="connsiteX3697" fmla="*/ 5988934 w 10890933"/>
              <a:gd name="connsiteY3697" fmla="*/ 3019055 h 4167549"/>
              <a:gd name="connsiteX3698" fmla="*/ 6027089 w 10890933"/>
              <a:gd name="connsiteY3698" fmla="*/ 3047551 h 4167549"/>
              <a:gd name="connsiteX3699" fmla="*/ 6014568 w 10890933"/>
              <a:gd name="connsiteY3699" fmla="*/ 3025924 h 4167549"/>
              <a:gd name="connsiteX3700" fmla="*/ 6033942 w 10890933"/>
              <a:gd name="connsiteY3700" fmla="*/ 3021977 h 4167549"/>
              <a:gd name="connsiteX3701" fmla="*/ 6048748 w 10890933"/>
              <a:gd name="connsiteY3701" fmla="*/ 3035082 h 4167549"/>
              <a:gd name="connsiteX3702" fmla="*/ 6059578 w 10890933"/>
              <a:gd name="connsiteY3702" fmla="*/ 3028846 h 4167549"/>
              <a:gd name="connsiteX3703" fmla="*/ 6051032 w 10890933"/>
              <a:gd name="connsiteY3703" fmla="*/ 3026556 h 4167549"/>
              <a:gd name="connsiteX3704" fmla="*/ 6058300 w 10890933"/>
              <a:gd name="connsiteY3704" fmla="*/ 3025076 h 4167549"/>
              <a:gd name="connsiteX3705" fmla="*/ 6076668 w 10890933"/>
              <a:gd name="connsiteY3705" fmla="*/ 3033426 h 4167549"/>
              <a:gd name="connsiteX3706" fmla="*/ 6072100 w 10890933"/>
              <a:gd name="connsiteY3706" fmla="*/ 3050474 h 4167549"/>
              <a:gd name="connsiteX3707" fmla="*/ 6063554 w 10890933"/>
              <a:gd name="connsiteY3707" fmla="*/ 3048184 h 4167549"/>
              <a:gd name="connsiteX3708" fmla="*/ 6086906 w 10890933"/>
              <a:gd name="connsiteY3708" fmla="*/ 3063579 h 4167549"/>
              <a:gd name="connsiteX3709" fmla="*/ 6062964 w 10890933"/>
              <a:gd name="connsiteY3709" fmla="*/ 3084571 h 4167549"/>
              <a:gd name="connsiteX3710" fmla="*/ 6056701 w 10890933"/>
              <a:gd name="connsiteY3710" fmla="*/ 3073758 h 4167549"/>
              <a:gd name="connsiteX3711" fmla="*/ 6000863 w 10890933"/>
              <a:gd name="connsiteY3711" fmla="*/ 3077069 h 4167549"/>
              <a:gd name="connsiteX3712" fmla="*/ 6011694 w 10890933"/>
              <a:gd name="connsiteY3712" fmla="*/ 3070833 h 4167549"/>
              <a:gd name="connsiteX3713" fmla="*/ 5994604 w 10890933"/>
              <a:gd name="connsiteY3713" fmla="*/ 3066254 h 4167549"/>
              <a:gd name="connsiteX3714" fmla="*/ 6000863 w 10890933"/>
              <a:gd name="connsiteY3714" fmla="*/ 3077069 h 4167549"/>
              <a:gd name="connsiteX3715" fmla="*/ 5953571 w 10890933"/>
              <a:gd name="connsiteY3715" fmla="*/ 3082670 h 4167549"/>
              <a:gd name="connsiteX3716" fmla="*/ 5966684 w 10890933"/>
              <a:gd name="connsiteY3716" fmla="*/ 3067910 h 4167549"/>
              <a:gd name="connsiteX3717" fmla="*/ 5941050 w 10890933"/>
              <a:gd name="connsiteY3717" fmla="*/ 3061042 h 4167549"/>
              <a:gd name="connsiteX3718" fmla="*/ 5925651 w 10890933"/>
              <a:gd name="connsiteY3718" fmla="*/ 3084326 h 4167549"/>
              <a:gd name="connsiteX3719" fmla="*/ 5931914 w 10890933"/>
              <a:gd name="connsiteY3719" fmla="*/ 3095139 h 4167549"/>
              <a:gd name="connsiteX3720" fmla="*/ 5923367 w 10890933"/>
              <a:gd name="connsiteY3720" fmla="*/ 3092849 h 4167549"/>
              <a:gd name="connsiteX3721" fmla="*/ 5882925 w 10890933"/>
              <a:gd name="connsiteY3721" fmla="*/ 3072878 h 4167549"/>
              <a:gd name="connsiteX3722" fmla="*/ 5880641 w 10890933"/>
              <a:gd name="connsiteY3722" fmla="*/ 3081401 h 4167549"/>
              <a:gd name="connsiteX3723" fmla="*/ 5897734 w 10890933"/>
              <a:gd name="connsiteY3723" fmla="*/ 3085980 h 4167549"/>
              <a:gd name="connsiteX3724" fmla="*/ 5886903 w 10890933"/>
              <a:gd name="connsiteY3724" fmla="*/ 3092216 h 4167549"/>
              <a:gd name="connsiteX3725" fmla="*/ 5938173 w 10890933"/>
              <a:gd name="connsiteY3725" fmla="*/ 3105954 h 4167549"/>
              <a:gd name="connsiteX3726" fmla="*/ 5933605 w 10890933"/>
              <a:gd name="connsiteY3726" fmla="*/ 3123002 h 4167549"/>
              <a:gd name="connsiteX3727" fmla="*/ 5956957 w 10890933"/>
              <a:gd name="connsiteY3727" fmla="*/ 3138397 h 4167549"/>
              <a:gd name="connsiteX3728" fmla="*/ 5961525 w 10890933"/>
              <a:gd name="connsiteY3728" fmla="*/ 3121346 h 4167549"/>
              <a:gd name="connsiteX3729" fmla="*/ 5940457 w 10890933"/>
              <a:gd name="connsiteY3729" fmla="*/ 3097428 h 4167549"/>
              <a:gd name="connsiteX3730" fmla="*/ 5966093 w 10890933"/>
              <a:gd name="connsiteY3730" fmla="*/ 3104297 h 4167549"/>
              <a:gd name="connsiteX3731" fmla="*/ 5979205 w 10890933"/>
              <a:gd name="connsiteY3731" fmla="*/ 3089538 h 4167549"/>
              <a:gd name="connsiteX3732" fmla="*/ 5987752 w 10890933"/>
              <a:gd name="connsiteY3732" fmla="*/ 3091828 h 4167549"/>
              <a:gd name="connsiteX3733" fmla="*/ 5976921 w 10890933"/>
              <a:gd name="connsiteY3733" fmla="*/ 3098064 h 4167549"/>
              <a:gd name="connsiteX3734" fmla="*/ 6002557 w 10890933"/>
              <a:gd name="connsiteY3734" fmla="*/ 3104933 h 4167549"/>
              <a:gd name="connsiteX3735" fmla="*/ 5983184 w 10890933"/>
              <a:gd name="connsiteY3735" fmla="*/ 3108877 h 4167549"/>
              <a:gd name="connsiteX3736" fmla="*/ 5980899 w 10890933"/>
              <a:gd name="connsiteY3736" fmla="*/ 3117402 h 4167549"/>
              <a:gd name="connsiteX3737" fmla="*/ 5971763 w 10890933"/>
              <a:gd name="connsiteY3737" fmla="*/ 3151499 h 4167549"/>
              <a:gd name="connsiteX3738" fmla="*/ 5960932 w 10890933"/>
              <a:gd name="connsiteY3738" fmla="*/ 3157735 h 4167549"/>
              <a:gd name="connsiteX3739" fmla="*/ 5922777 w 10890933"/>
              <a:gd name="connsiteY3739" fmla="*/ 3129238 h 4167549"/>
              <a:gd name="connsiteX3740" fmla="*/ 5939866 w 10890933"/>
              <a:gd name="connsiteY3740" fmla="*/ 3133818 h 4167549"/>
              <a:gd name="connsiteX3741" fmla="*/ 5935013 w 10890933"/>
              <a:gd name="connsiteY3741" fmla="*/ 3151931 h 4167549"/>
              <a:gd name="connsiteX3742" fmla="*/ 5931802 w 10890933"/>
              <a:gd name="connsiteY3742" fmla="*/ 3163916 h 4167549"/>
              <a:gd name="connsiteX3743" fmla="*/ 5950284 w 10890933"/>
              <a:gd name="connsiteY3743" fmla="*/ 3153246 h 4167549"/>
              <a:gd name="connsiteX3744" fmla="*/ 5942056 w 10890933"/>
              <a:gd name="connsiteY3744" fmla="*/ 3151041 h 4167549"/>
              <a:gd name="connsiteX3745" fmla="*/ 5952488 w 10890933"/>
              <a:gd name="connsiteY3745" fmla="*/ 3145018 h 4167549"/>
              <a:gd name="connsiteX3746" fmla="*/ 5954102 w 10890933"/>
              <a:gd name="connsiteY3746" fmla="*/ 3171905 h 4167549"/>
              <a:gd name="connsiteX3747" fmla="*/ 5931298 w 10890933"/>
              <a:gd name="connsiteY3747" fmla="*/ 3165795 h 4167549"/>
              <a:gd name="connsiteX3748" fmla="*/ 5928446 w 10890933"/>
              <a:gd name="connsiteY3748" fmla="*/ 3176437 h 4167549"/>
              <a:gd name="connsiteX3749" fmla="*/ 5902810 w 10890933"/>
              <a:gd name="connsiteY3749" fmla="*/ 3169568 h 4167549"/>
              <a:gd name="connsiteX3750" fmla="*/ 5915925 w 10890933"/>
              <a:gd name="connsiteY3750" fmla="*/ 3154810 h 4167549"/>
              <a:gd name="connsiteX3751" fmla="*/ 5892573 w 10890933"/>
              <a:gd name="connsiteY3751" fmla="*/ 3139418 h 4167549"/>
              <a:gd name="connsiteX3752" fmla="*/ 5890289 w 10890933"/>
              <a:gd name="connsiteY3752" fmla="*/ 3147941 h 4167549"/>
              <a:gd name="connsiteX3753" fmla="*/ 5896550 w 10890933"/>
              <a:gd name="connsiteY3753" fmla="*/ 3158756 h 4167549"/>
              <a:gd name="connsiteX3754" fmla="*/ 5885721 w 10890933"/>
              <a:gd name="connsiteY3754" fmla="*/ 3164989 h 4167549"/>
              <a:gd name="connsiteX3755" fmla="*/ 5862368 w 10890933"/>
              <a:gd name="connsiteY3755" fmla="*/ 3149597 h 4167549"/>
              <a:gd name="connsiteX3756" fmla="*/ 5879461 w 10890933"/>
              <a:gd name="connsiteY3756" fmla="*/ 3154177 h 4167549"/>
              <a:gd name="connsiteX3757" fmla="*/ 5853825 w 10890933"/>
              <a:gd name="connsiteY3757" fmla="*/ 3147308 h 4167549"/>
              <a:gd name="connsiteX3758" fmla="*/ 5855242 w 10890933"/>
              <a:gd name="connsiteY3758" fmla="*/ 3159108 h 4167549"/>
              <a:gd name="connsiteX3759" fmla="*/ 5850399 w 10890933"/>
              <a:gd name="connsiteY3759" fmla="*/ 3160094 h 4167549"/>
              <a:gd name="connsiteX3760" fmla="*/ 5847562 w 10890933"/>
              <a:gd name="connsiteY3760" fmla="*/ 3136492 h 4167549"/>
              <a:gd name="connsiteX3761" fmla="*/ 5834451 w 10890933"/>
              <a:gd name="connsiteY3761" fmla="*/ 3151251 h 4167549"/>
              <a:gd name="connsiteX3762" fmla="*/ 5840710 w 10890933"/>
              <a:gd name="connsiteY3762" fmla="*/ 3162066 h 4167549"/>
              <a:gd name="connsiteX3763" fmla="*/ 5827598 w 10890933"/>
              <a:gd name="connsiteY3763" fmla="*/ 3176825 h 4167549"/>
              <a:gd name="connsiteX3764" fmla="*/ 5808815 w 10890933"/>
              <a:gd name="connsiteY3764" fmla="*/ 3144382 h 4167549"/>
              <a:gd name="connsiteX3765" fmla="*/ 5791724 w 10890933"/>
              <a:gd name="connsiteY3765" fmla="*/ 3139803 h 4167549"/>
              <a:gd name="connsiteX3766" fmla="*/ 5787156 w 10890933"/>
              <a:gd name="connsiteY3766" fmla="*/ 3156851 h 4167549"/>
              <a:gd name="connsiteX3767" fmla="*/ 5777984 w 10890933"/>
              <a:gd name="connsiteY3767" fmla="*/ 3162134 h 4167549"/>
              <a:gd name="connsiteX3768" fmla="*/ 5783747 w 10890933"/>
              <a:gd name="connsiteY3768" fmla="*/ 3165939 h 4167549"/>
              <a:gd name="connsiteX3769" fmla="*/ 5767052 w 10890933"/>
              <a:gd name="connsiteY3769" fmla="*/ 3168079 h 4167549"/>
              <a:gd name="connsiteX3770" fmla="*/ 5748113 w 10890933"/>
              <a:gd name="connsiteY3770" fmla="*/ 3156843 h 4167549"/>
              <a:gd name="connsiteX3771" fmla="*/ 5748059 w 10890933"/>
              <a:gd name="connsiteY3771" fmla="*/ 3155405 h 4167549"/>
              <a:gd name="connsiteX3772" fmla="*/ 5756970 w 10890933"/>
              <a:gd name="connsiteY3772" fmla="*/ 3151324 h 4167549"/>
              <a:gd name="connsiteX3773" fmla="*/ 5766887 w 10890933"/>
              <a:gd name="connsiteY3773" fmla="*/ 3154809 h 4167549"/>
              <a:gd name="connsiteX3774" fmla="*/ 5776794 w 10890933"/>
              <a:gd name="connsiteY3774" fmla="*/ 3161349 h 4167549"/>
              <a:gd name="connsiteX3775" fmla="*/ 5780896 w 10890933"/>
              <a:gd name="connsiteY3775" fmla="*/ 3146039 h 4167549"/>
              <a:gd name="connsiteX3776" fmla="*/ 5735886 w 10890933"/>
              <a:gd name="connsiteY3776" fmla="*/ 3143114 h 4167549"/>
              <a:gd name="connsiteX3777" fmla="*/ 5748058 w 10890933"/>
              <a:gd name="connsiteY3777" fmla="*/ 3155370 h 4167549"/>
              <a:gd name="connsiteX3778" fmla="*/ 5748059 w 10890933"/>
              <a:gd name="connsiteY3778" fmla="*/ 3155405 h 4167549"/>
              <a:gd name="connsiteX3779" fmla="*/ 5746721 w 10890933"/>
              <a:gd name="connsiteY3779" fmla="*/ 3156018 h 4167549"/>
              <a:gd name="connsiteX3780" fmla="*/ 5748113 w 10890933"/>
              <a:gd name="connsiteY3780" fmla="*/ 3156843 h 4167549"/>
              <a:gd name="connsiteX3781" fmla="*/ 5748408 w 10890933"/>
              <a:gd name="connsiteY3781" fmla="*/ 3164744 h 4167549"/>
              <a:gd name="connsiteX3782" fmla="*/ 5742149 w 10890933"/>
              <a:gd name="connsiteY3782" fmla="*/ 3153929 h 4167549"/>
              <a:gd name="connsiteX3783" fmla="*/ 5729034 w 10890933"/>
              <a:gd name="connsiteY3783" fmla="*/ 3168688 h 4167549"/>
              <a:gd name="connsiteX3784" fmla="*/ 5727343 w 10890933"/>
              <a:gd name="connsiteY3784" fmla="*/ 3140824 h 4167549"/>
              <a:gd name="connsiteX3785" fmla="*/ 5684024 w 10890933"/>
              <a:gd name="connsiteY3785" fmla="*/ 3165765 h 4167549"/>
              <a:gd name="connsiteX3786" fmla="*/ 5675480 w 10890933"/>
              <a:gd name="connsiteY3786" fmla="*/ 3163476 h 4167549"/>
              <a:gd name="connsiteX3787" fmla="*/ 5666934 w 10890933"/>
              <a:gd name="connsiteY3787" fmla="*/ 3161186 h 4167549"/>
              <a:gd name="connsiteX3788" fmla="*/ 5688592 w 10890933"/>
              <a:gd name="connsiteY3788" fmla="*/ 3148716 h 4167549"/>
              <a:gd name="connsiteX3789" fmla="*/ 5671502 w 10890933"/>
              <a:gd name="connsiteY3789" fmla="*/ 3144137 h 4167549"/>
              <a:gd name="connsiteX3790" fmla="*/ 5669218 w 10890933"/>
              <a:gd name="connsiteY3790" fmla="*/ 3152660 h 4167549"/>
              <a:gd name="connsiteX3791" fmla="*/ 5662958 w 10890933"/>
              <a:gd name="connsiteY3791" fmla="*/ 3141848 h 4167549"/>
              <a:gd name="connsiteX3792" fmla="*/ 5647560 w 10890933"/>
              <a:gd name="connsiteY3792" fmla="*/ 3165129 h 4167549"/>
              <a:gd name="connsiteX3793" fmla="*/ 5557542 w 10890933"/>
              <a:gd name="connsiteY3793" fmla="*/ 3159282 h 4167549"/>
              <a:gd name="connsiteX3794" fmla="*/ 5559826 w 10890933"/>
              <a:gd name="connsiteY3794" fmla="*/ 3150759 h 4167549"/>
              <a:gd name="connsiteX3795" fmla="*/ 5546714 w 10890933"/>
              <a:gd name="connsiteY3795" fmla="*/ 3165518 h 4167549"/>
              <a:gd name="connsiteX3796" fmla="*/ 5501704 w 10890933"/>
              <a:gd name="connsiteY3796" fmla="*/ 3162595 h 4167549"/>
              <a:gd name="connsiteX3797" fmla="*/ 5503989 w 10890933"/>
              <a:gd name="connsiteY3797" fmla="*/ 3154070 h 4167549"/>
              <a:gd name="connsiteX3798" fmla="*/ 5495442 w 10890933"/>
              <a:gd name="connsiteY3798" fmla="*/ 3151780 h 4167549"/>
              <a:gd name="connsiteX3799" fmla="*/ 5473784 w 10890933"/>
              <a:gd name="connsiteY3799" fmla="*/ 3164249 h 4167549"/>
              <a:gd name="connsiteX3800" fmla="*/ 5476068 w 10890933"/>
              <a:gd name="connsiteY3800" fmla="*/ 3155726 h 4167549"/>
              <a:gd name="connsiteX3801" fmla="*/ 5443582 w 10890933"/>
              <a:gd name="connsiteY3801" fmla="*/ 3174429 h 4167549"/>
              <a:gd name="connsiteX3802" fmla="*/ 5450434 w 10890933"/>
              <a:gd name="connsiteY3802" fmla="*/ 3148857 h 4167549"/>
              <a:gd name="connsiteX3803" fmla="*/ 5409402 w 10890933"/>
              <a:gd name="connsiteY3803" fmla="*/ 3165270 h 4167549"/>
              <a:gd name="connsiteX3804" fmla="*/ 5411686 w 10890933"/>
              <a:gd name="connsiteY3804" fmla="*/ 3156747 h 4167549"/>
              <a:gd name="connsiteX3805" fmla="*/ 5394596 w 10890933"/>
              <a:gd name="connsiteY3805" fmla="*/ 3152168 h 4167549"/>
              <a:gd name="connsiteX3806" fmla="*/ 5392312 w 10890933"/>
              <a:gd name="connsiteY3806" fmla="*/ 3160691 h 4167549"/>
              <a:gd name="connsiteX3807" fmla="*/ 5375222 w 10890933"/>
              <a:gd name="connsiteY3807" fmla="*/ 3156112 h 4167549"/>
              <a:gd name="connsiteX3808" fmla="*/ 5362108 w 10890933"/>
              <a:gd name="connsiteY3808" fmla="*/ 3170870 h 4167549"/>
              <a:gd name="connsiteX3809" fmla="*/ 5372938 w 10890933"/>
              <a:gd name="connsiteY3809" fmla="*/ 3164637 h 4167549"/>
              <a:gd name="connsiteX3810" fmla="*/ 5349586 w 10890933"/>
              <a:gd name="connsiteY3810" fmla="*/ 3149243 h 4167549"/>
              <a:gd name="connsiteX3811" fmla="*/ 5355845 w 10890933"/>
              <a:gd name="connsiteY3811" fmla="*/ 3160057 h 4167549"/>
              <a:gd name="connsiteX3812" fmla="*/ 5351277 w 10890933"/>
              <a:gd name="connsiteY3812" fmla="*/ 3177106 h 4167549"/>
              <a:gd name="connsiteX3813" fmla="*/ 5347301 w 10890933"/>
              <a:gd name="connsiteY3813" fmla="*/ 3157768 h 4167549"/>
              <a:gd name="connsiteX3814" fmla="*/ 5336472 w 10890933"/>
              <a:gd name="connsiteY3814" fmla="*/ 3164001 h 4167549"/>
              <a:gd name="connsiteX3815" fmla="*/ 5342733 w 10890933"/>
              <a:gd name="connsiteY3815" fmla="*/ 3174816 h 4167549"/>
              <a:gd name="connsiteX3816" fmla="*/ 5280633 w 10890933"/>
              <a:gd name="connsiteY3816" fmla="*/ 3167315 h 4167549"/>
              <a:gd name="connsiteX3817" fmla="*/ 5282060 w 10890933"/>
              <a:gd name="connsiteY3817" fmla="*/ 3161987 h 4167549"/>
              <a:gd name="connsiteX3818" fmla="*/ 5282917 w 10890933"/>
              <a:gd name="connsiteY3818" fmla="*/ 3158789 h 4167549"/>
              <a:gd name="connsiteX3819" fmla="*/ 5252715 w 10890933"/>
              <a:gd name="connsiteY3819" fmla="*/ 3168969 h 4167549"/>
              <a:gd name="connsiteX3820" fmla="*/ 5263543 w 10890933"/>
              <a:gd name="connsiteY3820" fmla="*/ 3162735 h 4167549"/>
              <a:gd name="connsiteX3821" fmla="*/ 5241885 w 10890933"/>
              <a:gd name="connsiteY3821" fmla="*/ 3175204 h 4167549"/>
              <a:gd name="connsiteX3822" fmla="*/ 5248738 w 10890933"/>
              <a:gd name="connsiteY3822" fmla="*/ 3149630 h 4167549"/>
              <a:gd name="connsiteX3823" fmla="*/ 5233342 w 10890933"/>
              <a:gd name="connsiteY3823" fmla="*/ 3172915 h 4167549"/>
              <a:gd name="connsiteX3824" fmla="*/ 5209990 w 10890933"/>
              <a:gd name="connsiteY3824" fmla="*/ 3157521 h 4167549"/>
              <a:gd name="connsiteX3825" fmla="*/ 5199162 w 10890933"/>
              <a:gd name="connsiteY3825" fmla="*/ 3163757 h 4167549"/>
              <a:gd name="connsiteX3826" fmla="*/ 5207705 w 10890933"/>
              <a:gd name="connsiteY3826" fmla="*/ 3166046 h 4167549"/>
              <a:gd name="connsiteX3827" fmla="*/ 5182069 w 10890933"/>
              <a:gd name="connsiteY3827" fmla="*/ 3159177 h 4167549"/>
              <a:gd name="connsiteX3828" fmla="*/ 5164979 w 10890933"/>
              <a:gd name="connsiteY3828" fmla="*/ 3154598 h 4167549"/>
              <a:gd name="connsiteX3829" fmla="*/ 5154152 w 10890933"/>
              <a:gd name="connsiteY3829" fmla="*/ 3160831 h 4167549"/>
              <a:gd name="connsiteX3830" fmla="*/ 5168957 w 10890933"/>
              <a:gd name="connsiteY3830" fmla="*/ 3173936 h 4167549"/>
              <a:gd name="connsiteX3831" fmla="*/ 5113119 w 10890933"/>
              <a:gd name="connsiteY3831" fmla="*/ 3177247 h 4167549"/>
              <a:gd name="connsiteX3832" fmla="*/ 5112410 w 10890933"/>
              <a:gd name="connsiteY3832" fmla="*/ 3171347 h 4167549"/>
              <a:gd name="connsiteX3833" fmla="*/ 5118751 w 10890933"/>
              <a:gd name="connsiteY3833" fmla="*/ 3165009 h 4167549"/>
              <a:gd name="connsiteX3834" fmla="*/ 5126231 w 10890933"/>
              <a:gd name="connsiteY3834" fmla="*/ 3162488 h 4167549"/>
              <a:gd name="connsiteX3835" fmla="*/ 5119055 w 10890933"/>
              <a:gd name="connsiteY3835" fmla="*/ 3164705 h 4167549"/>
              <a:gd name="connsiteX3836" fmla="*/ 5118751 w 10890933"/>
              <a:gd name="connsiteY3836" fmla="*/ 3165009 h 4167549"/>
              <a:gd name="connsiteX3837" fmla="*/ 5099804 w 10890933"/>
              <a:gd name="connsiteY3837" fmla="*/ 3171395 h 4167549"/>
              <a:gd name="connsiteX3838" fmla="*/ 5070393 w 10890933"/>
              <a:gd name="connsiteY3838" fmla="*/ 3165798 h 4167549"/>
              <a:gd name="connsiteX3839" fmla="*/ 5059566 w 10890933"/>
              <a:gd name="connsiteY3839" fmla="*/ 3172035 h 4167549"/>
              <a:gd name="connsiteX3840" fmla="*/ 5040191 w 10890933"/>
              <a:gd name="connsiteY3840" fmla="*/ 3175978 h 4167549"/>
              <a:gd name="connsiteX3841" fmla="*/ 5014555 w 10890933"/>
              <a:gd name="connsiteY3841" fmla="*/ 3169109 h 4167549"/>
              <a:gd name="connsiteX3842" fmla="*/ 5009987 w 10890933"/>
              <a:gd name="connsiteY3842" fmla="*/ 3186158 h 4167549"/>
              <a:gd name="connsiteX3843" fmla="*/ 4986635 w 10890933"/>
              <a:gd name="connsiteY3843" fmla="*/ 3170766 h 4167549"/>
              <a:gd name="connsiteX3844" fmla="*/ 4973524 w 10890933"/>
              <a:gd name="connsiteY3844" fmla="*/ 3185525 h 4167549"/>
              <a:gd name="connsiteX3845" fmla="*/ 4975808 w 10890933"/>
              <a:gd name="connsiteY3845" fmla="*/ 3176999 h 4167549"/>
              <a:gd name="connsiteX3846" fmla="*/ 4958719 w 10890933"/>
              <a:gd name="connsiteY3846" fmla="*/ 3172420 h 4167549"/>
              <a:gd name="connsiteX3847" fmla="*/ 4964976 w 10890933"/>
              <a:gd name="connsiteY3847" fmla="*/ 3183235 h 4167549"/>
              <a:gd name="connsiteX3848" fmla="*/ 4941628 w 10890933"/>
              <a:gd name="connsiteY3848" fmla="*/ 3167841 h 4167549"/>
              <a:gd name="connsiteX3849" fmla="*/ 4930797 w 10890933"/>
              <a:gd name="connsiteY3849" fmla="*/ 3174076 h 4167549"/>
              <a:gd name="connsiteX3850" fmla="*/ 4898311 w 10890933"/>
              <a:gd name="connsiteY3850" fmla="*/ 3192779 h 4167549"/>
              <a:gd name="connsiteX3851" fmla="*/ 4905163 w 10890933"/>
              <a:gd name="connsiteY3851" fmla="*/ 3167208 h 4167549"/>
              <a:gd name="connsiteX3852" fmla="*/ 4861847 w 10890933"/>
              <a:gd name="connsiteY3852" fmla="*/ 3192146 h 4167549"/>
              <a:gd name="connsiteX3853" fmla="*/ 4853301 w 10890933"/>
              <a:gd name="connsiteY3853" fmla="*/ 3189856 h 4167549"/>
              <a:gd name="connsiteX3854" fmla="*/ 4857869 w 10890933"/>
              <a:gd name="connsiteY3854" fmla="*/ 3172808 h 4167549"/>
              <a:gd name="connsiteX3855" fmla="*/ 4821405 w 10890933"/>
              <a:gd name="connsiteY3855" fmla="*/ 3172172 h 4167549"/>
              <a:gd name="connsiteX3856" fmla="*/ 4827665 w 10890933"/>
              <a:gd name="connsiteY3856" fmla="*/ 3182987 h 4167549"/>
              <a:gd name="connsiteX3857" fmla="*/ 4802031 w 10890933"/>
              <a:gd name="connsiteY3857" fmla="*/ 3176118 h 4167549"/>
              <a:gd name="connsiteX3858" fmla="*/ 4798053 w 10890933"/>
              <a:gd name="connsiteY3858" fmla="*/ 3156780 h 4167549"/>
              <a:gd name="connsiteX3859" fmla="*/ 4774110 w 10890933"/>
              <a:gd name="connsiteY3859" fmla="*/ 3177775 h 4167549"/>
              <a:gd name="connsiteX3860" fmla="*/ 4750761 w 10890933"/>
              <a:gd name="connsiteY3860" fmla="*/ 3162381 h 4167549"/>
              <a:gd name="connsiteX3861" fmla="*/ 4737647 w 10890933"/>
              <a:gd name="connsiteY3861" fmla="*/ 3177139 h 4167549"/>
              <a:gd name="connsiteX3862" fmla="*/ 4731387 w 10890933"/>
              <a:gd name="connsiteY3862" fmla="*/ 3166327 h 4167549"/>
              <a:gd name="connsiteX3863" fmla="*/ 4729104 w 10890933"/>
              <a:gd name="connsiteY3863" fmla="*/ 3174850 h 4167549"/>
              <a:gd name="connsiteX3864" fmla="*/ 4705751 w 10890933"/>
              <a:gd name="connsiteY3864" fmla="*/ 3159458 h 4167549"/>
              <a:gd name="connsiteX3865" fmla="*/ 4702236 w 10890933"/>
              <a:gd name="connsiteY3865" fmla="*/ 3172573 h 4167549"/>
              <a:gd name="connsiteX3866" fmla="*/ 4692638 w 10890933"/>
              <a:gd name="connsiteY3866" fmla="*/ 3174217 h 4167549"/>
              <a:gd name="connsiteX3867" fmla="*/ 4695621 w 10890933"/>
              <a:gd name="connsiteY3867" fmla="*/ 3188720 h 4167549"/>
              <a:gd name="connsiteX3868" fmla="*/ 4681809 w 10890933"/>
              <a:gd name="connsiteY3868" fmla="*/ 3180450 h 4167549"/>
              <a:gd name="connsiteX3869" fmla="*/ 4694923 w 10890933"/>
              <a:gd name="connsiteY3869" fmla="*/ 3165692 h 4167549"/>
              <a:gd name="connsiteX3870" fmla="*/ 4673265 w 10890933"/>
              <a:gd name="connsiteY3870" fmla="*/ 3178161 h 4167549"/>
              <a:gd name="connsiteX3871" fmla="*/ 4647629 w 10890933"/>
              <a:gd name="connsiteY3871" fmla="*/ 3171292 h 4167549"/>
              <a:gd name="connsiteX3872" fmla="*/ 4632230 w 10890933"/>
              <a:gd name="connsiteY3872" fmla="*/ 3194576 h 4167549"/>
              <a:gd name="connsiteX3873" fmla="*/ 4639274 w 10890933"/>
              <a:gd name="connsiteY3873" fmla="*/ 3206742 h 4167549"/>
              <a:gd name="connsiteX3874" fmla="*/ 4634393 w 10890933"/>
              <a:gd name="connsiteY3874" fmla="*/ 3211453 h 4167549"/>
              <a:gd name="connsiteX3875" fmla="*/ 4632009 w 10890933"/>
              <a:gd name="connsiteY3875" fmla="*/ 3208220 h 4167549"/>
              <a:gd name="connsiteX3876" fmla="*/ 4621402 w 10890933"/>
              <a:gd name="connsiteY3876" fmla="*/ 3200812 h 4167549"/>
              <a:gd name="connsiteX3877" fmla="*/ 4623686 w 10890933"/>
              <a:gd name="connsiteY3877" fmla="*/ 3192286 h 4167549"/>
              <a:gd name="connsiteX3878" fmla="*/ 4606596 w 10890933"/>
              <a:gd name="connsiteY3878" fmla="*/ 3187707 h 4167549"/>
              <a:gd name="connsiteX3879" fmla="*/ 4600335 w 10890933"/>
              <a:gd name="connsiteY3879" fmla="*/ 3176892 h 4167549"/>
              <a:gd name="connsiteX3880" fmla="*/ 4583244 w 10890933"/>
              <a:gd name="connsiteY3880" fmla="*/ 3172312 h 4167549"/>
              <a:gd name="connsiteX3881" fmla="*/ 4589507 w 10890933"/>
              <a:gd name="connsiteY3881" fmla="*/ 3183128 h 4167549"/>
              <a:gd name="connsiteX3882" fmla="*/ 4576392 w 10890933"/>
              <a:gd name="connsiteY3882" fmla="*/ 3197887 h 4167549"/>
              <a:gd name="connsiteX3883" fmla="*/ 4578677 w 10890933"/>
              <a:gd name="connsiteY3883" fmla="*/ 3189363 h 4167549"/>
              <a:gd name="connsiteX3884" fmla="*/ 4555327 w 10890933"/>
              <a:gd name="connsiteY3884" fmla="*/ 3173970 h 4167549"/>
              <a:gd name="connsiteX3885" fmla="*/ 4542212 w 10890933"/>
              <a:gd name="connsiteY3885" fmla="*/ 3188728 h 4167549"/>
              <a:gd name="connsiteX3886" fmla="*/ 4527406 w 10890933"/>
              <a:gd name="connsiteY3886" fmla="*/ 3175626 h 4167549"/>
              <a:gd name="connsiteX3887" fmla="*/ 4516579 w 10890933"/>
              <a:gd name="connsiteY3887" fmla="*/ 3181860 h 4167549"/>
              <a:gd name="connsiteX3888" fmla="*/ 4494921 w 10890933"/>
              <a:gd name="connsiteY3888" fmla="*/ 3194329 h 4167549"/>
              <a:gd name="connsiteX3889" fmla="*/ 4463022 w 10890933"/>
              <a:gd name="connsiteY3889" fmla="*/ 3176647 h 4167549"/>
              <a:gd name="connsiteX3890" fmla="*/ 4477828 w 10890933"/>
              <a:gd name="connsiteY3890" fmla="*/ 3189749 h 4167549"/>
              <a:gd name="connsiteX3891" fmla="*/ 4447626 w 10890933"/>
              <a:gd name="connsiteY3891" fmla="*/ 3199929 h 4167549"/>
              <a:gd name="connsiteX3892" fmla="*/ 4452194 w 10890933"/>
              <a:gd name="connsiteY3892" fmla="*/ 3182880 h 4167549"/>
              <a:gd name="connsiteX3893" fmla="*/ 4351346 w 10890933"/>
              <a:gd name="connsiteY3893" fmla="*/ 3183268 h 4167549"/>
              <a:gd name="connsiteX3894" fmla="*/ 4357608 w 10890933"/>
              <a:gd name="connsiteY3894" fmla="*/ 3194084 h 4167549"/>
              <a:gd name="connsiteX3895" fmla="*/ 4278418 w 10890933"/>
              <a:gd name="connsiteY3895" fmla="*/ 3182000 h 4167549"/>
              <a:gd name="connsiteX3896" fmla="*/ 4290940 w 10890933"/>
              <a:gd name="connsiteY3896" fmla="*/ 3203628 h 4167549"/>
              <a:gd name="connsiteX3897" fmla="*/ 4271565 w 10890933"/>
              <a:gd name="connsiteY3897" fmla="*/ 3207574 h 4167549"/>
              <a:gd name="connsiteX3898" fmla="*/ 4265305 w 10890933"/>
              <a:gd name="connsiteY3898" fmla="*/ 3196758 h 4167549"/>
              <a:gd name="connsiteX3899" fmla="*/ 4248214 w 10890933"/>
              <a:gd name="connsiteY3899" fmla="*/ 3192179 h 4167549"/>
              <a:gd name="connsiteX3900" fmla="*/ 4254476 w 10890933"/>
              <a:gd name="connsiteY3900" fmla="*/ 3202995 h 4167549"/>
              <a:gd name="connsiteX3901" fmla="*/ 4222857 w 10890933"/>
              <a:gd name="connsiteY3901" fmla="*/ 3201374 h 4167549"/>
              <a:gd name="connsiteX3902" fmla="*/ 4200926 w 10890933"/>
              <a:gd name="connsiteY3902" fmla="*/ 3190168 h 4167549"/>
              <a:gd name="connsiteX3903" fmla="*/ 4198650 w 10890933"/>
              <a:gd name="connsiteY3903" fmla="*/ 3183467 h 4167549"/>
              <a:gd name="connsiteX3904" fmla="*/ 4218602 w 10890933"/>
              <a:gd name="connsiteY3904" fmla="*/ 3165972 h 4167549"/>
              <a:gd name="connsiteX3905" fmla="*/ 4201513 w 10890933"/>
              <a:gd name="connsiteY3905" fmla="*/ 3161393 h 4167549"/>
              <a:gd name="connsiteX3906" fmla="*/ 4196944 w 10890933"/>
              <a:gd name="connsiteY3906" fmla="*/ 3178441 h 4167549"/>
              <a:gd name="connsiteX3907" fmla="*/ 4198650 w 10890933"/>
              <a:gd name="connsiteY3907" fmla="*/ 3183467 h 4167549"/>
              <a:gd name="connsiteX3908" fmla="*/ 4194659 w 10890933"/>
              <a:gd name="connsiteY3908" fmla="*/ 3186967 h 4167549"/>
              <a:gd name="connsiteX3909" fmla="*/ 4200926 w 10890933"/>
              <a:gd name="connsiteY3909" fmla="*/ 3190168 h 4167549"/>
              <a:gd name="connsiteX3910" fmla="*/ 4207181 w 10890933"/>
              <a:gd name="connsiteY3910" fmla="*/ 3208594 h 4167549"/>
              <a:gd name="connsiteX3911" fmla="*/ 4192376 w 10890933"/>
              <a:gd name="connsiteY3911" fmla="*/ 3195490 h 4167549"/>
              <a:gd name="connsiteX3912" fmla="*/ 4187808 w 10890933"/>
              <a:gd name="connsiteY3912" fmla="*/ 3212541 h 4167549"/>
              <a:gd name="connsiteX3913" fmla="*/ 4145081 w 10890933"/>
              <a:gd name="connsiteY3913" fmla="*/ 3201093 h 4167549"/>
              <a:gd name="connsiteX3914" fmla="*/ 4125707 w 10890933"/>
              <a:gd name="connsiteY3914" fmla="*/ 3205036 h 4167549"/>
              <a:gd name="connsiteX3915" fmla="*/ 4100073 w 10890933"/>
              <a:gd name="connsiteY3915" fmla="*/ 3198168 h 4167549"/>
              <a:gd name="connsiteX3916" fmla="*/ 4069869 w 10890933"/>
              <a:gd name="connsiteY3916" fmla="*/ 3208347 h 4167549"/>
              <a:gd name="connsiteX3917" fmla="*/ 4078416 w 10890933"/>
              <a:gd name="connsiteY3917" fmla="*/ 3210637 h 4167549"/>
              <a:gd name="connsiteX3918" fmla="*/ 4067585 w 10890933"/>
              <a:gd name="connsiteY3918" fmla="*/ 3216873 h 4167549"/>
              <a:gd name="connsiteX3919" fmla="*/ 3960477 w 10890933"/>
              <a:gd name="connsiteY3919" fmla="*/ 3206446 h 4167549"/>
              <a:gd name="connsiteX3920" fmla="*/ 3949647 w 10890933"/>
              <a:gd name="connsiteY3920" fmla="*/ 3212679 h 4167549"/>
              <a:gd name="connsiteX3921" fmla="*/ 3930273 w 10890933"/>
              <a:gd name="connsiteY3921" fmla="*/ 3216625 h 4167549"/>
              <a:gd name="connsiteX3922" fmla="*/ 3908615 w 10890933"/>
              <a:gd name="connsiteY3922" fmla="*/ 3229094 h 4167549"/>
              <a:gd name="connsiteX3923" fmla="*/ 3882981 w 10890933"/>
              <a:gd name="connsiteY3923" fmla="*/ 3222225 h 4167549"/>
              <a:gd name="connsiteX3924" fmla="*/ 3880697 w 10890933"/>
              <a:gd name="connsiteY3924" fmla="*/ 3230751 h 4167549"/>
              <a:gd name="connsiteX3925" fmla="*/ 3846518 w 10890933"/>
              <a:gd name="connsiteY3925" fmla="*/ 3221593 h 4167549"/>
              <a:gd name="connsiteX3926" fmla="*/ 3833403 w 10890933"/>
              <a:gd name="connsiteY3926" fmla="*/ 3236351 h 4167549"/>
              <a:gd name="connsiteX3927" fmla="*/ 3818597 w 10890933"/>
              <a:gd name="connsiteY3927" fmla="*/ 3223246 h 4167549"/>
              <a:gd name="connsiteX3928" fmla="*/ 3796939 w 10890933"/>
              <a:gd name="connsiteY3928" fmla="*/ 3235715 h 4167549"/>
              <a:gd name="connsiteX3929" fmla="*/ 3803201 w 10890933"/>
              <a:gd name="connsiteY3929" fmla="*/ 3246531 h 4167549"/>
              <a:gd name="connsiteX3930" fmla="*/ 3743385 w 10890933"/>
              <a:gd name="connsiteY3930" fmla="*/ 3230503 h 4167549"/>
              <a:gd name="connsiteX3931" fmla="*/ 3747954 w 10890933"/>
              <a:gd name="connsiteY3931" fmla="*/ 3213455 h 4167549"/>
              <a:gd name="connsiteX3932" fmla="*/ 3803791 w 10890933"/>
              <a:gd name="connsiteY3932" fmla="*/ 3210144 h 4167549"/>
              <a:gd name="connsiteX3933" fmla="*/ 3799813 w 10890933"/>
              <a:gd name="connsiteY3933" fmla="*/ 3190806 h 4167549"/>
              <a:gd name="connsiteX3934" fmla="*/ 3825449 w 10890933"/>
              <a:gd name="connsiteY3934" fmla="*/ 3197675 h 4167549"/>
              <a:gd name="connsiteX3935" fmla="*/ 3812338 w 10890933"/>
              <a:gd name="connsiteY3935" fmla="*/ 3212434 h 4167549"/>
              <a:gd name="connsiteX3936" fmla="*/ 3865891 w 10890933"/>
              <a:gd name="connsiteY3936" fmla="*/ 3217646 h 4167549"/>
              <a:gd name="connsiteX3937" fmla="*/ 3853370 w 10890933"/>
              <a:gd name="connsiteY3937" fmla="*/ 3196019 h 4167549"/>
              <a:gd name="connsiteX3938" fmla="*/ 3875028 w 10890933"/>
              <a:gd name="connsiteY3938" fmla="*/ 3183549 h 4167549"/>
              <a:gd name="connsiteX3939" fmla="*/ 3898377 w 10890933"/>
              <a:gd name="connsiteY3939" fmla="*/ 3198941 h 4167549"/>
              <a:gd name="connsiteX3940" fmla="*/ 3868766 w 10890933"/>
              <a:gd name="connsiteY3940" fmla="*/ 3172734 h 4167549"/>
              <a:gd name="connsiteX3941" fmla="*/ 3823758 w 10890933"/>
              <a:gd name="connsiteY3941" fmla="*/ 3169812 h 4167549"/>
              <a:gd name="connsiteX3942" fmla="*/ 3789575 w 10890933"/>
              <a:gd name="connsiteY3942" fmla="*/ 3160652 h 4167549"/>
              <a:gd name="connsiteX3943" fmla="*/ 3785007 w 10890933"/>
              <a:gd name="connsiteY3943" fmla="*/ 3177701 h 4167549"/>
              <a:gd name="connsiteX3944" fmla="*/ 3767917 w 10890933"/>
              <a:gd name="connsiteY3944" fmla="*/ 3173122 h 4167549"/>
              <a:gd name="connsiteX3945" fmla="*/ 3772486 w 10890933"/>
              <a:gd name="connsiteY3945" fmla="*/ 3156073 h 4167549"/>
              <a:gd name="connsiteX3946" fmla="*/ 3755395 w 10890933"/>
              <a:gd name="connsiteY3946" fmla="*/ 3151494 h 4167549"/>
              <a:gd name="connsiteX3947" fmla="*/ 3727478 w 10890933"/>
              <a:gd name="connsiteY3947" fmla="*/ 3153149 h 4167549"/>
              <a:gd name="connsiteX3948" fmla="*/ 3729763 w 10890933"/>
              <a:gd name="connsiteY3948" fmla="*/ 3144625 h 4167549"/>
              <a:gd name="connsiteX3949" fmla="*/ 3757680 w 10890933"/>
              <a:gd name="connsiteY3949" fmla="*/ 3142968 h 4167549"/>
              <a:gd name="connsiteX3950" fmla="*/ 3774770 w 10890933"/>
              <a:gd name="connsiteY3950" fmla="*/ 3147548 h 4167549"/>
              <a:gd name="connsiteX3951" fmla="*/ 3779338 w 10890933"/>
              <a:gd name="connsiteY3951" fmla="*/ 3130499 h 4167549"/>
              <a:gd name="connsiteX3952" fmla="*/ 3762248 w 10890933"/>
              <a:gd name="connsiteY3952" fmla="*/ 3125920 h 4167549"/>
              <a:gd name="connsiteX3953" fmla="*/ 3702434 w 10890933"/>
              <a:gd name="connsiteY3953" fmla="*/ 3109893 h 4167549"/>
              <a:gd name="connsiteX3954" fmla="*/ 3758273 w 10890933"/>
              <a:gd name="connsiteY3954" fmla="*/ 3106582 h 4167549"/>
              <a:gd name="connsiteX3955" fmla="*/ 3833485 w 10890933"/>
              <a:gd name="connsiteY3955" fmla="*/ 3099325 h 4167549"/>
              <a:gd name="connsiteX3956" fmla="*/ 3838054 w 10890933"/>
              <a:gd name="connsiteY3956" fmla="*/ 3082277 h 4167549"/>
              <a:gd name="connsiteX3957" fmla="*/ 3895584 w 10890933"/>
              <a:gd name="connsiteY3957" fmla="*/ 3106830 h 4167549"/>
              <a:gd name="connsiteX3958" fmla="*/ 3901781 w 10890933"/>
              <a:gd name="connsiteY3958" fmla="*/ 3105064 h 4167549"/>
              <a:gd name="connsiteX3959" fmla="*/ 3903691 w 10890933"/>
              <a:gd name="connsiteY3959" fmla="*/ 3105318 h 4167549"/>
              <a:gd name="connsiteX3960" fmla="*/ 3912675 w 10890933"/>
              <a:gd name="connsiteY3960" fmla="*/ 3111409 h 4167549"/>
              <a:gd name="connsiteX3961" fmla="*/ 3925196 w 10890933"/>
              <a:gd name="connsiteY3961" fmla="*/ 3133037 h 4167549"/>
              <a:gd name="connsiteX3962" fmla="*/ 3921218 w 10890933"/>
              <a:gd name="connsiteY3962" fmla="*/ 3113698 h 4167549"/>
              <a:gd name="connsiteX3963" fmla="*/ 3938308 w 10890933"/>
              <a:gd name="connsiteY3963" fmla="*/ 3118278 h 4167549"/>
              <a:gd name="connsiteX3964" fmla="*/ 3940593 w 10890933"/>
              <a:gd name="connsiteY3964" fmla="*/ 3109752 h 4167549"/>
              <a:gd name="connsiteX3965" fmla="*/ 3968512 w 10890933"/>
              <a:gd name="connsiteY3965" fmla="*/ 3108098 h 4167549"/>
              <a:gd name="connsiteX3966" fmla="*/ 3966230 w 10890933"/>
              <a:gd name="connsiteY3966" fmla="*/ 3116621 h 4167549"/>
              <a:gd name="connsiteX3967" fmla="*/ 3983319 w 10890933"/>
              <a:gd name="connsiteY3967" fmla="*/ 3121201 h 4167549"/>
              <a:gd name="connsiteX3968" fmla="*/ 3942877 w 10890933"/>
              <a:gd name="connsiteY3968" fmla="*/ 3101229 h 4167549"/>
              <a:gd name="connsiteX3969" fmla="*/ 3945161 w 10890933"/>
              <a:gd name="connsiteY3969" fmla="*/ 3092704 h 4167549"/>
              <a:gd name="connsiteX3970" fmla="*/ 3979340 w 10890933"/>
              <a:gd name="connsiteY3970" fmla="*/ 3101862 h 4167549"/>
              <a:gd name="connsiteX3971" fmla="*/ 3996431 w 10890933"/>
              <a:gd name="connsiteY3971" fmla="*/ 3106441 h 4167549"/>
              <a:gd name="connsiteX3972" fmla="*/ 4015807 w 10890933"/>
              <a:gd name="connsiteY3972" fmla="*/ 3102498 h 4167549"/>
              <a:gd name="connsiteX3973" fmla="*/ 4009545 w 10890933"/>
              <a:gd name="connsiteY3973" fmla="*/ 3091683 h 4167549"/>
              <a:gd name="connsiteX3974" fmla="*/ 4020375 w 10890933"/>
              <a:gd name="connsiteY3974" fmla="*/ 3085447 h 4167549"/>
              <a:gd name="connsiteX3975" fmla="*/ 4063099 w 10890933"/>
              <a:gd name="connsiteY3975" fmla="*/ 3096895 h 4167549"/>
              <a:gd name="connsiteX3976" fmla="*/ 4067667 w 10890933"/>
              <a:gd name="connsiteY3976" fmla="*/ 3079847 h 4167549"/>
              <a:gd name="connsiteX3977" fmla="*/ 4048293 w 10890933"/>
              <a:gd name="connsiteY3977" fmla="*/ 3083793 h 4167549"/>
              <a:gd name="connsiteX3978" fmla="*/ 4080781 w 10890933"/>
              <a:gd name="connsiteY3978" fmla="*/ 3065088 h 4167549"/>
              <a:gd name="connsiteX3979" fmla="*/ 4073929 w 10890933"/>
              <a:gd name="connsiteY3979" fmla="*/ 3090662 h 4167549"/>
              <a:gd name="connsiteX3980" fmla="*/ 4091020 w 10890933"/>
              <a:gd name="connsiteY3980" fmla="*/ 3095241 h 4167549"/>
              <a:gd name="connsiteX3981" fmla="*/ 4100155 w 10890933"/>
              <a:gd name="connsiteY3981" fmla="*/ 3061144 h 4167549"/>
              <a:gd name="connsiteX3982" fmla="*/ 4138904 w 10890933"/>
              <a:gd name="connsiteY3982" fmla="*/ 3053252 h 4167549"/>
              <a:gd name="connsiteX3983" fmla="*/ 4125789 w 10890933"/>
              <a:gd name="connsiteY3983" fmla="*/ 3068013 h 4167549"/>
              <a:gd name="connsiteX3984" fmla="*/ 4136027 w 10890933"/>
              <a:gd name="connsiteY3984" fmla="*/ 3098163 h 4167549"/>
              <a:gd name="connsiteX3985" fmla="*/ 4144573 w 10890933"/>
              <a:gd name="connsiteY3985" fmla="*/ 3100453 h 4167549"/>
              <a:gd name="connsiteX3986" fmla="*/ 4159969 w 10890933"/>
              <a:gd name="connsiteY3986" fmla="*/ 3077171 h 4167549"/>
              <a:gd name="connsiteX3987" fmla="*/ 4177059 w 10890933"/>
              <a:gd name="connsiteY3987" fmla="*/ 3081751 h 4167549"/>
              <a:gd name="connsiteX3988" fmla="*/ 4183322 w 10890933"/>
              <a:gd name="connsiteY3988" fmla="*/ 3092564 h 4167549"/>
              <a:gd name="connsiteX3989" fmla="*/ 4202695 w 10890933"/>
              <a:gd name="connsiteY3989" fmla="*/ 3088620 h 4167549"/>
              <a:gd name="connsiteX3990" fmla="*/ 4207264 w 10890933"/>
              <a:gd name="connsiteY3990" fmla="*/ 3071569 h 4167549"/>
              <a:gd name="connsiteX3991" fmla="*/ 4218093 w 10890933"/>
              <a:gd name="connsiteY3991" fmla="*/ 3065336 h 4167549"/>
              <a:gd name="connsiteX3992" fmla="*/ 4260817 w 10890933"/>
              <a:gd name="connsiteY3992" fmla="*/ 3076783 h 4167549"/>
              <a:gd name="connsiteX3993" fmla="*/ 4291021 w 10890933"/>
              <a:gd name="connsiteY3993" fmla="*/ 3066604 h 4167549"/>
              <a:gd name="connsiteX3994" fmla="*/ 4293307 w 10890933"/>
              <a:gd name="connsiteY3994" fmla="*/ 3058079 h 4167549"/>
              <a:gd name="connsiteX3995" fmla="*/ 4284759 w 10890933"/>
              <a:gd name="connsiteY3995" fmla="*/ 3055789 h 4167549"/>
              <a:gd name="connsiteX3996" fmla="*/ 4301850 w 10890933"/>
              <a:gd name="connsiteY3996" fmla="*/ 3060368 h 4167549"/>
              <a:gd name="connsiteX3997" fmla="*/ 4313628 w 10890933"/>
              <a:gd name="connsiteY3997" fmla="*/ 3054389 h 4167549"/>
              <a:gd name="connsiteX3998" fmla="*/ 4321223 w 10890933"/>
              <a:gd name="connsiteY3998" fmla="*/ 3056424 h 4167549"/>
              <a:gd name="connsiteX3999" fmla="*/ 4329769 w 10890933"/>
              <a:gd name="connsiteY3999" fmla="*/ 3058714 h 4167549"/>
              <a:gd name="connsiteX4000" fmla="*/ 4342882 w 10890933"/>
              <a:gd name="connsiteY4000" fmla="*/ 3043952 h 4167549"/>
              <a:gd name="connsiteX4001" fmla="*/ 4387892 w 10890933"/>
              <a:gd name="connsiteY4001" fmla="*/ 3046878 h 4167549"/>
              <a:gd name="connsiteX4002" fmla="*/ 4386201 w 10890933"/>
              <a:gd name="connsiteY4002" fmla="*/ 3019014 h 4167549"/>
              <a:gd name="connsiteX4003" fmla="*/ 4431208 w 10890933"/>
              <a:gd name="connsiteY4003" fmla="*/ 3021939 h 4167549"/>
              <a:gd name="connsiteX4004" fmla="*/ 4409550 w 10890933"/>
              <a:gd name="connsiteY4004" fmla="*/ 3034408 h 4167549"/>
              <a:gd name="connsiteX4005" fmla="*/ 4424356 w 10890933"/>
              <a:gd name="connsiteY4005" fmla="*/ 3047511 h 4167549"/>
              <a:gd name="connsiteX4006" fmla="*/ 4476219 w 10890933"/>
              <a:gd name="connsiteY4006" fmla="*/ 3024862 h 4167549"/>
              <a:gd name="connsiteX4007" fmla="*/ 4452276 w 10890933"/>
              <a:gd name="connsiteY4007" fmla="*/ 3045857 h 4167549"/>
              <a:gd name="connsiteX4008" fmla="*/ 4471650 w 10890933"/>
              <a:gd name="connsiteY4008" fmla="*/ 3041911 h 4167549"/>
              <a:gd name="connsiteX4009" fmla="*/ 4523510 w 10890933"/>
              <a:gd name="connsiteY4009" fmla="*/ 3019261 h 4167549"/>
              <a:gd name="connsiteX4010" fmla="*/ 4542887 w 10890933"/>
              <a:gd name="connsiteY4010" fmla="*/ 3015316 h 4167549"/>
              <a:gd name="connsiteX4011" fmla="*/ 4546862 w 10890933"/>
              <a:gd name="connsiteY4011" fmla="*/ 3034656 h 4167549"/>
              <a:gd name="connsiteX4012" fmla="*/ 4585611 w 10890933"/>
              <a:gd name="connsiteY4012" fmla="*/ 3026764 h 4167549"/>
              <a:gd name="connsiteX4013" fmla="*/ 4589402 w 10890933"/>
              <a:gd name="connsiteY4013" fmla="*/ 3034651 h 4167549"/>
              <a:gd name="connsiteX4014" fmla="*/ 4583326 w 10890933"/>
              <a:gd name="connsiteY4014" fmla="*/ 3035289 h 4167549"/>
              <a:gd name="connsiteX4015" fmla="*/ 4590020 w 10890933"/>
              <a:gd name="connsiteY4015" fmla="*/ 3035941 h 4167549"/>
              <a:gd name="connsiteX4016" fmla="*/ 4589402 w 10890933"/>
              <a:gd name="connsiteY4016" fmla="*/ 3034651 h 4167549"/>
              <a:gd name="connsiteX4017" fmla="*/ 4613952 w 10890933"/>
              <a:gd name="connsiteY4017" fmla="*/ 3032075 h 4167549"/>
              <a:gd name="connsiteX4018" fmla="*/ 4635189 w 10890933"/>
              <a:gd name="connsiteY4018" fmla="*/ 3012641 h 4167549"/>
              <a:gd name="connsiteX4019" fmla="*/ 4669368 w 10890933"/>
              <a:gd name="connsiteY4019" fmla="*/ 3021799 h 4167549"/>
              <a:gd name="connsiteX4020" fmla="*/ 4677912 w 10890933"/>
              <a:gd name="connsiteY4020" fmla="*/ 3024088 h 4167549"/>
              <a:gd name="connsiteX4021" fmla="*/ 4682480 w 10890933"/>
              <a:gd name="connsiteY4021" fmla="*/ 3007040 h 4167549"/>
              <a:gd name="connsiteX4022" fmla="*/ 4686460 w 10890933"/>
              <a:gd name="connsiteY4022" fmla="*/ 3026378 h 4167549"/>
              <a:gd name="connsiteX4023" fmla="*/ 4722923 w 10890933"/>
              <a:gd name="connsiteY4023" fmla="*/ 3027011 h 4167549"/>
              <a:gd name="connsiteX4024" fmla="*/ 4757102 w 10890933"/>
              <a:gd name="connsiteY4024" fmla="*/ 3036170 h 4167549"/>
              <a:gd name="connsiteX4025" fmla="*/ 4761670 w 10890933"/>
              <a:gd name="connsiteY4025" fmla="*/ 3019121 h 4167549"/>
              <a:gd name="connsiteX4026" fmla="*/ 4763955 w 10890933"/>
              <a:gd name="connsiteY4026" fmla="*/ 3010596 h 4167549"/>
              <a:gd name="connsiteX4027" fmla="*/ 4778762 w 10890933"/>
              <a:gd name="connsiteY4027" fmla="*/ 3023700 h 4167549"/>
              <a:gd name="connsiteX4028" fmla="*/ 4791875 w 10890933"/>
              <a:gd name="connsiteY4028" fmla="*/ 3008942 h 4167549"/>
              <a:gd name="connsiteX4029" fmla="*/ 4785613 w 10890933"/>
              <a:gd name="connsiteY4029" fmla="*/ 2998127 h 4167549"/>
              <a:gd name="connsiteX4030" fmla="*/ 4823771 w 10890933"/>
              <a:gd name="connsiteY4030" fmla="*/ 3026623 h 4167549"/>
              <a:gd name="connsiteX4031" fmla="*/ 4828339 w 10890933"/>
              <a:gd name="connsiteY4031" fmla="*/ 3009575 h 4167549"/>
              <a:gd name="connsiteX4032" fmla="*/ 4847713 w 10890933"/>
              <a:gd name="connsiteY4032" fmla="*/ 3005631 h 4167549"/>
              <a:gd name="connsiteX4033" fmla="*/ 4852281 w 10890933"/>
              <a:gd name="connsiteY4033" fmla="*/ 2988583 h 4167549"/>
              <a:gd name="connsiteX4034" fmla="*/ 4877915 w 10890933"/>
              <a:gd name="connsiteY4034" fmla="*/ 2995451 h 4167549"/>
              <a:gd name="connsiteX4035" fmla="*/ 4888155 w 10890933"/>
              <a:gd name="connsiteY4035" fmla="*/ 3025603 h 4167549"/>
              <a:gd name="connsiteX4036" fmla="*/ 4892723 w 10890933"/>
              <a:gd name="connsiteY4036" fmla="*/ 3008554 h 4167549"/>
              <a:gd name="connsiteX4037" fmla="*/ 4903552 w 10890933"/>
              <a:gd name="connsiteY4037" fmla="*/ 3002321 h 4167549"/>
              <a:gd name="connsiteX4038" fmla="*/ 4898983 w 10890933"/>
              <a:gd name="connsiteY4038" fmla="*/ 3019369 h 4167549"/>
              <a:gd name="connsiteX4039" fmla="*/ 4946277 w 10890933"/>
              <a:gd name="connsiteY4039" fmla="*/ 3013769 h 4167549"/>
              <a:gd name="connsiteX4040" fmla="*/ 4976479 w 10890933"/>
              <a:gd name="connsiteY4040" fmla="*/ 3003586 h 4167549"/>
              <a:gd name="connsiteX4041" fmla="*/ 4998137 w 10890933"/>
              <a:gd name="connsiteY4041" fmla="*/ 2991117 h 4167549"/>
              <a:gd name="connsiteX4042" fmla="*/ 4985027 w 10890933"/>
              <a:gd name="connsiteY4042" fmla="*/ 3005876 h 4167549"/>
              <a:gd name="connsiteX4043" fmla="*/ 5004400 w 10890933"/>
              <a:gd name="connsiteY4043" fmla="*/ 3001932 h 4167549"/>
              <a:gd name="connsiteX4044" fmla="*/ 4998137 w 10890933"/>
              <a:gd name="connsiteY4044" fmla="*/ 2991117 h 4167549"/>
              <a:gd name="connsiteX4045" fmla="*/ 5000421 w 10890933"/>
              <a:gd name="connsiteY4045" fmla="*/ 2982594 h 4167549"/>
              <a:gd name="connsiteX4046" fmla="*/ 5026057 w 10890933"/>
              <a:gd name="connsiteY4046" fmla="*/ 2989463 h 4167549"/>
              <a:gd name="connsiteX4047" fmla="*/ 5036295 w 10890933"/>
              <a:gd name="connsiteY4047" fmla="*/ 3019614 h 4167549"/>
              <a:gd name="connsiteX4048" fmla="*/ 5111507 w 10890933"/>
              <a:gd name="connsiteY4048" fmla="*/ 3012360 h 4167549"/>
              <a:gd name="connsiteX4049" fmla="*/ 5137734 w 10890933"/>
              <a:gd name="connsiteY4049" fmla="*/ 2982839 h 4167549"/>
              <a:gd name="connsiteX4050" fmla="*/ 5116075 w 10890933"/>
              <a:gd name="connsiteY4050" fmla="*/ 2995311 h 4167549"/>
              <a:gd name="connsiteX4051" fmla="*/ 5122337 w 10890933"/>
              <a:gd name="connsiteY4051" fmla="*/ 3006124 h 4167549"/>
              <a:gd name="connsiteX4052" fmla="*/ 5135450 w 10890933"/>
              <a:gd name="connsiteY4052" fmla="*/ 2991365 h 4167549"/>
              <a:gd name="connsiteX4053" fmla="*/ 5150255 w 10890933"/>
              <a:gd name="connsiteY4053" fmla="*/ 3004469 h 4167549"/>
              <a:gd name="connsiteX4054" fmla="*/ 5178176 w 10890933"/>
              <a:gd name="connsiteY4054" fmla="*/ 3002813 h 4167549"/>
              <a:gd name="connsiteX4055" fmla="*/ 5176482 w 10890933"/>
              <a:gd name="connsiteY4055" fmla="*/ 2974949 h 4167549"/>
              <a:gd name="connsiteX4056" fmla="*/ 5214640 w 10890933"/>
              <a:gd name="connsiteY4056" fmla="*/ 3003446 h 4167549"/>
              <a:gd name="connsiteX4057" fmla="*/ 5223776 w 10890933"/>
              <a:gd name="connsiteY4057" fmla="*/ 2969349 h 4167549"/>
              <a:gd name="connsiteX4058" fmla="*/ 5261934 w 10890933"/>
              <a:gd name="connsiteY4058" fmla="*/ 2997846 h 4167549"/>
              <a:gd name="connsiteX4059" fmla="*/ 5255672 w 10890933"/>
              <a:gd name="connsiteY4059" fmla="*/ 2987033 h 4167549"/>
              <a:gd name="connsiteX4060" fmla="*/ 5279024 w 10890933"/>
              <a:gd name="connsiteY4060" fmla="*/ 3002425 h 4167549"/>
              <a:gd name="connsiteX4061" fmla="*/ 5296114 w 10890933"/>
              <a:gd name="connsiteY4061" fmla="*/ 3007004 h 4167549"/>
              <a:gd name="connsiteX4062" fmla="*/ 5292136 w 10890933"/>
              <a:gd name="connsiteY4062" fmla="*/ 2987666 h 4167549"/>
              <a:gd name="connsiteX4063" fmla="*/ 5300682 w 10890933"/>
              <a:gd name="connsiteY4063" fmla="*/ 2989956 h 4167549"/>
              <a:gd name="connsiteX4064" fmla="*/ 5313204 w 10890933"/>
              <a:gd name="connsiteY4064" fmla="*/ 3011584 h 4167549"/>
              <a:gd name="connsiteX4065" fmla="*/ 5317772 w 10890933"/>
              <a:gd name="connsiteY4065" fmla="*/ 2994535 h 4167549"/>
              <a:gd name="connsiteX4066" fmla="*/ 5360495 w 10890933"/>
              <a:gd name="connsiteY4066" fmla="*/ 3005983 h 4167549"/>
              <a:gd name="connsiteX4067" fmla="*/ 5345689 w 10890933"/>
              <a:gd name="connsiteY4067" fmla="*/ 2992881 h 4167549"/>
              <a:gd name="connsiteX4068" fmla="*/ 5365064 w 10890933"/>
              <a:gd name="connsiteY4068" fmla="*/ 2988934 h 4167549"/>
              <a:gd name="connsiteX4069" fmla="*/ 5362779 w 10890933"/>
              <a:gd name="connsiteY4069" fmla="*/ 2997460 h 4167549"/>
              <a:gd name="connsiteX4070" fmla="*/ 5379869 w 10890933"/>
              <a:gd name="connsiteY4070" fmla="*/ 3002039 h 4167549"/>
              <a:gd name="connsiteX4071" fmla="*/ 5388415 w 10890933"/>
              <a:gd name="connsiteY4071" fmla="*/ 3004329 h 4167549"/>
              <a:gd name="connsiteX4072" fmla="*/ 5401527 w 10890933"/>
              <a:gd name="connsiteY4072" fmla="*/ 2989570 h 4167549"/>
              <a:gd name="connsiteX4073" fmla="*/ 5455084 w 10890933"/>
              <a:gd name="connsiteY4073" fmla="*/ 2994783 h 4167549"/>
              <a:gd name="connsiteX4074" fmla="*/ 5480717 w 10890933"/>
              <a:gd name="connsiteY4074" fmla="*/ 3001651 h 4167549"/>
              <a:gd name="connsiteX4075" fmla="*/ 5497808 w 10890933"/>
              <a:gd name="connsiteY4075" fmla="*/ 3006231 h 4167549"/>
              <a:gd name="connsiteX4076" fmla="*/ 5508638 w 10890933"/>
              <a:gd name="connsiteY4076" fmla="*/ 2999995 h 4167549"/>
              <a:gd name="connsiteX4077" fmla="*/ 5528012 w 10890933"/>
              <a:gd name="connsiteY4077" fmla="*/ 2996051 h 4167549"/>
              <a:gd name="connsiteX4078" fmla="*/ 5524034 w 10890933"/>
              <a:gd name="connsiteY4078" fmla="*/ 2976713 h 4167549"/>
              <a:gd name="connsiteX4079" fmla="*/ 5530296 w 10890933"/>
              <a:gd name="connsiteY4079" fmla="*/ 2987526 h 4167549"/>
              <a:gd name="connsiteX4080" fmla="*/ 5536556 w 10890933"/>
              <a:gd name="connsiteY4080" fmla="*/ 2998341 h 4167549"/>
              <a:gd name="connsiteX4081" fmla="*/ 5545692 w 10890933"/>
              <a:gd name="connsiteY4081" fmla="*/ 2964244 h 4167549"/>
              <a:gd name="connsiteX4082" fmla="*/ 3878053 w 10890933"/>
              <a:gd name="connsiteY4082" fmla="*/ 2963810 h 4167549"/>
              <a:gd name="connsiteX4083" fmla="*/ 3904484 w 10890933"/>
              <a:gd name="connsiteY4083" fmla="*/ 2972133 h 4167549"/>
              <a:gd name="connsiteX4084" fmla="*/ 3875263 w 10890933"/>
              <a:gd name="connsiteY4084" fmla="*/ 2974224 h 4167549"/>
              <a:gd name="connsiteX4085" fmla="*/ 3846043 w 10890933"/>
              <a:gd name="connsiteY4085" fmla="*/ 2976316 h 4167549"/>
              <a:gd name="connsiteX4086" fmla="*/ 3878053 w 10890933"/>
              <a:gd name="connsiteY4086" fmla="*/ 2963810 h 4167549"/>
              <a:gd name="connsiteX4087" fmla="*/ 6442124 w 10890933"/>
              <a:gd name="connsiteY4087" fmla="*/ 2963167 h 4167549"/>
              <a:gd name="connsiteX4088" fmla="*/ 6450352 w 10890933"/>
              <a:gd name="connsiteY4088" fmla="*/ 2965371 h 4167549"/>
              <a:gd name="connsiteX4089" fmla="*/ 6447596 w 10890933"/>
              <a:gd name="connsiteY4089" fmla="*/ 2975656 h 4167549"/>
              <a:gd name="connsiteX4090" fmla="*/ 6442124 w 10890933"/>
              <a:gd name="connsiteY4090" fmla="*/ 2963167 h 4167549"/>
              <a:gd name="connsiteX4091" fmla="*/ 3985218 w 10890933"/>
              <a:gd name="connsiteY4091" fmla="*/ 2962901 h 4167549"/>
              <a:gd name="connsiteX4092" fmla="*/ 4005987 w 10890933"/>
              <a:gd name="connsiteY4092" fmla="*/ 2971774 h 4167549"/>
              <a:gd name="connsiteX4093" fmla="*/ 3996390 w 10890933"/>
              <a:gd name="connsiteY4093" fmla="*/ 2969202 h 4167549"/>
              <a:gd name="connsiteX4094" fmla="*/ 4003783 w 10890933"/>
              <a:gd name="connsiteY4094" fmla="*/ 2980001 h 4167549"/>
              <a:gd name="connsiteX4095" fmla="*/ 3994185 w 10890933"/>
              <a:gd name="connsiteY4095" fmla="*/ 2977429 h 4167549"/>
              <a:gd name="connsiteX4096" fmla="*/ 3977190 w 10890933"/>
              <a:gd name="connsiteY4096" fmla="*/ 2964057 h 4167549"/>
              <a:gd name="connsiteX4097" fmla="*/ 3985218 w 10890933"/>
              <a:gd name="connsiteY4097" fmla="*/ 2962901 h 4167549"/>
              <a:gd name="connsiteX4098" fmla="*/ 4134940 w 10890933"/>
              <a:gd name="connsiteY4098" fmla="*/ 2962235 h 4167549"/>
              <a:gd name="connsiteX4099" fmla="*/ 4140130 w 10890933"/>
              <a:gd name="connsiteY4099" fmla="*/ 2981262 h 4167549"/>
              <a:gd name="connsiteX4100" fmla="*/ 4111331 w 10890933"/>
              <a:gd name="connsiteY4100" fmla="*/ 2973546 h 4167549"/>
              <a:gd name="connsiteX4101" fmla="*/ 4134940 w 10890933"/>
              <a:gd name="connsiteY4101" fmla="*/ 2962235 h 4167549"/>
              <a:gd name="connsiteX4102" fmla="*/ 7093305 w 10890933"/>
              <a:gd name="connsiteY4102" fmla="*/ 2962112 h 4167549"/>
              <a:gd name="connsiteX4103" fmla="*/ 7098616 w 10890933"/>
              <a:gd name="connsiteY4103" fmla="*/ 2964914 h 4167549"/>
              <a:gd name="connsiteX4104" fmla="*/ 7104088 w 10890933"/>
              <a:gd name="connsiteY4104" fmla="*/ 2977403 h 4167549"/>
              <a:gd name="connsiteX4105" fmla="*/ 7089837 w 10890933"/>
              <a:gd name="connsiteY4105" fmla="*/ 2964767 h 4167549"/>
              <a:gd name="connsiteX4106" fmla="*/ 7093305 w 10890933"/>
              <a:gd name="connsiteY4106" fmla="*/ 2962112 h 4167549"/>
              <a:gd name="connsiteX4107" fmla="*/ 6120877 w 10890933"/>
              <a:gd name="connsiteY4107" fmla="*/ 2960863 h 4167549"/>
              <a:gd name="connsiteX4108" fmla="*/ 6122491 w 10890933"/>
              <a:gd name="connsiteY4108" fmla="*/ 2987751 h 4167549"/>
              <a:gd name="connsiteX4109" fmla="*/ 6108241 w 10890933"/>
              <a:gd name="connsiteY4109" fmla="*/ 2975114 h 4167549"/>
              <a:gd name="connsiteX4110" fmla="*/ 6120877 w 10890933"/>
              <a:gd name="connsiteY4110" fmla="*/ 2960863 h 4167549"/>
              <a:gd name="connsiteX4111" fmla="*/ 4335286 w 10890933"/>
              <a:gd name="connsiteY4111" fmla="*/ 2960489 h 4167549"/>
              <a:gd name="connsiteX4112" fmla="*/ 4343514 w 10890933"/>
              <a:gd name="connsiteY4112" fmla="*/ 2962694 h 4167549"/>
              <a:gd name="connsiteX4113" fmla="*/ 4335286 w 10890933"/>
              <a:gd name="connsiteY4113" fmla="*/ 2960489 h 4167549"/>
              <a:gd name="connsiteX4114" fmla="*/ 7889544 w 10890933"/>
              <a:gd name="connsiteY4114" fmla="*/ 2958591 h 4167549"/>
              <a:gd name="connsiteX4115" fmla="*/ 7914227 w 10890933"/>
              <a:gd name="connsiteY4115" fmla="*/ 2965205 h 4167549"/>
              <a:gd name="connsiteX4116" fmla="*/ 7889544 w 10890933"/>
              <a:gd name="connsiteY4116" fmla="*/ 2958591 h 4167549"/>
              <a:gd name="connsiteX4117" fmla="*/ 3770348 w 10890933"/>
              <a:gd name="connsiteY4117" fmla="*/ 2957136 h 4167549"/>
              <a:gd name="connsiteX4118" fmla="*/ 3765940 w 10890933"/>
              <a:gd name="connsiteY4118" fmla="*/ 2973591 h 4167549"/>
              <a:gd name="connsiteX4119" fmla="*/ 3756340 w 10890933"/>
              <a:gd name="connsiteY4119" fmla="*/ 2971019 h 4167549"/>
              <a:gd name="connsiteX4120" fmla="*/ 3770348 w 10890933"/>
              <a:gd name="connsiteY4120" fmla="*/ 2957136 h 4167549"/>
              <a:gd name="connsiteX4121" fmla="*/ 8206478 w 10890933"/>
              <a:gd name="connsiteY4121" fmla="*/ 2956432 h 4167549"/>
              <a:gd name="connsiteX4122" fmla="*/ 8229453 w 10890933"/>
              <a:gd name="connsiteY4122" fmla="*/ 2957077 h 4167549"/>
              <a:gd name="connsiteX4123" fmla="*/ 8225044 w 10890933"/>
              <a:gd name="connsiteY4123" fmla="*/ 2973532 h 4167549"/>
              <a:gd name="connsiteX4124" fmla="*/ 8196246 w 10890933"/>
              <a:gd name="connsiteY4124" fmla="*/ 2965816 h 4167549"/>
              <a:gd name="connsiteX4125" fmla="*/ 8206478 w 10890933"/>
              <a:gd name="connsiteY4125" fmla="*/ 2956432 h 4167549"/>
              <a:gd name="connsiteX4126" fmla="*/ 3503851 w 10890933"/>
              <a:gd name="connsiteY4126" fmla="*/ 2956274 h 4167549"/>
              <a:gd name="connsiteX4127" fmla="*/ 3499268 w 10890933"/>
              <a:gd name="connsiteY4127" fmla="*/ 2973380 h 4167549"/>
              <a:gd name="connsiteX4128" fmla="*/ 6055909 w 10890933"/>
              <a:gd name="connsiteY4128" fmla="*/ 2955991 h 4167549"/>
              <a:gd name="connsiteX4129" fmla="*/ 6064250 w 10890933"/>
              <a:gd name="connsiteY4129" fmla="*/ 2962405 h 4167549"/>
              <a:gd name="connsiteX4130" fmla="*/ 6080803 w 10890933"/>
              <a:gd name="connsiteY4130" fmla="*/ 2978783 h 4167549"/>
              <a:gd name="connsiteX4131" fmla="*/ 6067799 w 10890933"/>
              <a:gd name="connsiteY4131" fmla="*/ 2994404 h 4167549"/>
              <a:gd name="connsiteX4132" fmla="*/ 6051344 w 10890933"/>
              <a:gd name="connsiteY4132" fmla="*/ 2989995 h 4167549"/>
              <a:gd name="connsiteX4133" fmla="*/ 6050281 w 10890933"/>
              <a:gd name="connsiteY4133" fmla="*/ 2961050 h 4167549"/>
              <a:gd name="connsiteX4134" fmla="*/ 6055909 w 10890933"/>
              <a:gd name="connsiteY4134" fmla="*/ 2955991 h 4167549"/>
              <a:gd name="connsiteX4135" fmla="*/ 3728100 w 10890933"/>
              <a:gd name="connsiteY4135" fmla="*/ 2955736 h 4167549"/>
              <a:gd name="connsiteX4136" fmla="*/ 3740717 w 10890933"/>
              <a:gd name="connsiteY4136" fmla="*/ 2958014 h 4167549"/>
              <a:gd name="connsiteX4137" fmla="*/ 3719853 w 10890933"/>
              <a:gd name="connsiteY4137" fmla="*/ 2970061 h 4167549"/>
              <a:gd name="connsiteX4138" fmla="*/ 3713830 w 10890933"/>
              <a:gd name="connsiteY4138" fmla="*/ 2959629 h 4167549"/>
              <a:gd name="connsiteX4139" fmla="*/ 3728100 w 10890933"/>
              <a:gd name="connsiteY4139" fmla="*/ 2955736 h 4167549"/>
              <a:gd name="connsiteX4140" fmla="*/ 4222451 w 10890933"/>
              <a:gd name="connsiteY4140" fmla="*/ 2954883 h 4167549"/>
              <a:gd name="connsiteX4141" fmla="*/ 4232442 w 10890933"/>
              <a:gd name="connsiteY4141" fmla="*/ 2955145 h 4167549"/>
              <a:gd name="connsiteX4142" fmla="*/ 4236786 w 10890933"/>
              <a:gd name="connsiteY4142" fmla="*/ 2961970 h 4167549"/>
              <a:gd name="connsiteX4143" fmla="*/ 4271914 w 10890933"/>
              <a:gd name="connsiteY4143" fmla="*/ 2954296 h 4167549"/>
              <a:gd name="connsiteX4144" fmla="*/ 4289844 w 10890933"/>
              <a:gd name="connsiteY4144" fmla="*/ 2965530 h 4167549"/>
              <a:gd name="connsiteX4145" fmla="*/ 4279045 w 10890933"/>
              <a:gd name="connsiteY4145" fmla="*/ 2972927 h 4167549"/>
              <a:gd name="connsiteX4146" fmla="*/ 4254361 w 10890933"/>
              <a:gd name="connsiteY4146" fmla="*/ 2966313 h 4167549"/>
              <a:gd name="connsiteX4147" fmla="*/ 4271914 w 10890933"/>
              <a:gd name="connsiteY4147" fmla="*/ 2954296 h 4167549"/>
              <a:gd name="connsiteX4148" fmla="*/ 3623032 w 10890933"/>
              <a:gd name="connsiteY4148" fmla="*/ 2952936 h 4167549"/>
              <a:gd name="connsiteX4149" fmla="*/ 3612601 w 10890933"/>
              <a:gd name="connsiteY4149" fmla="*/ 2958959 h 4167549"/>
              <a:gd name="connsiteX4150" fmla="*/ 3610396 w 10890933"/>
              <a:gd name="connsiteY4150" fmla="*/ 2967186 h 4167549"/>
              <a:gd name="connsiteX4151" fmla="*/ 3604373 w 10890933"/>
              <a:gd name="connsiteY4151" fmla="*/ 2956754 h 4167549"/>
              <a:gd name="connsiteX4152" fmla="*/ 3623032 w 10890933"/>
              <a:gd name="connsiteY4152" fmla="*/ 2952936 h 4167549"/>
              <a:gd name="connsiteX4153" fmla="*/ 6281899 w 10890933"/>
              <a:gd name="connsiteY4153" fmla="*/ 2952863 h 4167549"/>
              <a:gd name="connsiteX4154" fmla="*/ 6282003 w 10890933"/>
              <a:gd name="connsiteY4154" fmla="*/ 2957524 h 4167549"/>
              <a:gd name="connsiteX4155" fmla="*/ 6277256 w 10890933"/>
              <a:gd name="connsiteY4155" fmla="*/ 2958674 h 4167549"/>
              <a:gd name="connsiteX4156" fmla="*/ 6294894 w 10890933"/>
              <a:gd name="connsiteY4156" fmla="*/ 2952239 h 4167549"/>
              <a:gd name="connsiteX4157" fmla="*/ 6298658 w 10890933"/>
              <a:gd name="connsiteY4157" fmla="*/ 2955590 h 4167549"/>
              <a:gd name="connsiteX4158" fmla="*/ 6286953 w 10890933"/>
              <a:gd name="connsiteY4158" fmla="*/ 2965680 h 4167549"/>
              <a:gd name="connsiteX4159" fmla="*/ 6282750 w 10890933"/>
              <a:gd name="connsiteY4159" fmla="*/ 2976885 h 4167549"/>
              <a:gd name="connsiteX4160" fmla="*/ 6289839 w 10890933"/>
              <a:gd name="connsiteY4160" fmla="*/ 2988500 h 4167549"/>
              <a:gd name="connsiteX4161" fmla="*/ 6268438 w 10890933"/>
              <a:gd name="connsiteY4161" fmla="*/ 2991584 h 4167549"/>
              <a:gd name="connsiteX4162" fmla="*/ 6263246 w 10890933"/>
              <a:gd name="connsiteY4162" fmla="*/ 2972556 h 4167549"/>
              <a:gd name="connsiteX4163" fmla="*/ 6281797 w 10890933"/>
              <a:gd name="connsiteY4163" fmla="*/ 2975322 h 4167549"/>
              <a:gd name="connsiteX4164" fmla="*/ 6282415 w 10890933"/>
              <a:gd name="connsiteY4164" fmla="*/ 2976335 h 4167549"/>
              <a:gd name="connsiteX4165" fmla="*/ 6282003 w 10890933"/>
              <a:gd name="connsiteY4165" fmla="*/ 2957524 h 4167549"/>
              <a:gd name="connsiteX4166" fmla="*/ 6292383 w 10890933"/>
              <a:gd name="connsiteY4166" fmla="*/ 2955011 h 4167549"/>
              <a:gd name="connsiteX4167" fmla="*/ 6294894 w 10890933"/>
              <a:gd name="connsiteY4167" fmla="*/ 2952239 h 4167549"/>
              <a:gd name="connsiteX4168" fmla="*/ 6251200 w 10890933"/>
              <a:gd name="connsiteY4168" fmla="*/ 2951692 h 4167549"/>
              <a:gd name="connsiteX4169" fmla="*/ 6275883 w 10890933"/>
              <a:gd name="connsiteY4169" fmla="*/ 2958306 h 4167549"/>
              <a:gd name="connsiteX4170" fmla="*/ 6263246 w 10890933"/>
              <a:gd name="connsiteY4170" fmla="*/ 2972556 h 4167549"/>
              <a:gd name="connsiteX4171" fmla="*/ 6238564 w 10890933"/>
              <a:gd name="connsiteY4171" fmla="*/ 2965943 h 4167549"/>
              <a:gd name="connsiteX4172" fmla="*/ 6251200 w 10890933"/>
              <a:gd name="connsiteY4172" fmla="*/ 2951692 h 4167549"/>
              <a:gd name="connsiteX4173" fmla="*/ 4213102 w 10890933"/>
              <a:gd name="connsiteY4173" fmla="*/ 2951438 h 4167549"/>
              <a:gd name="connsiteX4174" fmla="*/ 4220362 w 10890933"/>
              <a:gd name="connsiteY4174" fmla="*/ 2953848 h 4167549"/>
              <a:gd name="connsiteX4175" fmla="*/ 4222451 w 10890933"/>
              <a:gd name="connsiteY4175" fmla="*/ 2954883 h 4167549"/>
              <a:gd name="connsiteX4176" fmla="*/ 4209017 w 10890933"/>
              <a:gd name="connsiteY4176" fmla="*/ 2954529 h 4167549"/>
              <a:gd name="connsiteX4177" fmla="*/ 4213102 w 10890933"/>
              <a:gd name="connsiteY4177" fmla="*/ 2951438 h 4167549"/>
              <a:gd name="connsiteX4178" fmla="*/ 5867950 w 10890933"/>
              <a:gd name="connsiteY4178" fmla="*/ 2950409 h 4167549"/>
              <a:gd name="connsiteX4179" fmla="*/ 5855313 w 10890933"/>
              <a:gd name="connsiteY4179" fmla="*/ 2964659 h 4167549"/>
              <a:gd name="connsiteX4180" fmla="*/ 5867950 w 10890933"/>
              <a:gd name="connsiteY4180" fmla="*/ 2950409 h 4167549"/>
              <a:gd name="connsiteX4181" fmla="*/ 8937807 w 10890933"/>
              <a:gd name="connsiteY4181" fmla="*/ 2946266 h 4167549"/>
              <a:gd name="connsiteX4182" fmla="*/ 8953921 w 10890933"/>
              <a:gd name="connsiteY4182" fmla="*/ 2947828 h 4167549"/>
              <a:gd name="connsiteX4183" fmla="*/ 8959733 w 10890933"/>
              <a:gd name="connsiteY4183" fmla="*/ 2963164 h 4167549"/>
              <a:gd name="connsiteX4184" fmla="*/ 8937807 w 10890933"/>
              <a:gd name="connsiteY4184" fmla="*/ 2946266 h 4167549"/>
              <a:gd name="connsiteX4185" fmla="*/ 6225570 w 10890933"/>
              <a:gd name="connsiteY4185" fmla="*/ 2944822 h 4167549"/>
              <a:gd name="connsiteX4186" fmla="*/ 6244587 w 10890933"/>
              <a:gd name="connsiteY4186" fmla="*/ 2976372 h 4167549"/>
              <a:gd name="connsiteX4187" fmla="*/ 6212618 w 10890933"/>
              <a:gd name="connsiteY4187" fmla="*/ 2958988 h 4167549"/>
              <a:gd name="connsiteX4188" fmla="*/ 6204071 w 10890933"/>
              <a:gd name="connsiteY4188" fmla="*/ 2956698 h 4167549"/>
              <a:gd name="connsiteX4189" fmla="*/ 6199662 w 10890933"/>
              <a:gd name="connsiteY4189" fmla="*/ 2973153 h 4167549"/>
              <a:gd name="connsiteX4190" fmla="*/ 6180370 w 10890933"/>
              <a:gd name="connsiteY4190" fmla="*/ 2976802 h 4167549"/>
              <a:gd name="connsiteX4191" fmla="*/ 6182575 w 10890933"/>
              <a:gd name="connsiteY4191" fmla="*/ 2968574 h 4167549"/>
              <a:gd name="connsiteX4192" fmla="*/ 6174031 w 10890933"/>
              <a:gd name="connsiteY4192" fmla="*/ 2966285 h 4167549"/>
              <a:gd name="connsiteX4193" fmla="*/ 6176236 w 10890933"/>
              <a:gd name="connsiteY4193" fmla="*/ 2958057 h 4167549"/>
              <a:gd name="connsiteX4194" fmla="*/ 6193323 w 10890933"/>
              <a:gd name="connsiteY4194" fmla="*/ 2962636 h 4167549"/>
              <a:gd name="connsiteX4195" fmla="*/ 6206276 w 10890933"/>
              <a:gd name="connsiteY4195" fmla="*/ 2948470 h 4167549"/>
              <a:gd name="connsiteX4196" fmla="*/ 6225570 w 10890933"/>
              <a:gd name="connsiteY4196" fmla="*/ 2944822 h 4167549"/>
              <a:gd name="connsiteX4197" fmla="*/ 6152809 w 10890933"/>
              <a:gd name="connsiteY4197" fmla="*/ 2942962 h 4167549"/>
              <a:gd name="connsiteX4198" fmla="*/ 6174031 w 10890933"/>
              <a:gd name="connsiteY4198" fmla="*/ 2966285 h 4167549"/>
              <a:gd name="connsiteX4199" fmla="*/ 6165487 w 10890933"/>
              <a:gd name="connsiteY4199" fmla="*/ 2963996 h 4167549"/>
              <a:gd name="connsiteX4200" fmla="*/ 6171826 w 10890933"/>
              <a:gd name="connsiteY4200" fmla="*/ 2974513 h 4167549"/>
              <a:gd name="connsiteX4201" fmla="*/ 6158874 w 10890933"/>
              <a:gd name="connsiteY4201" fmla="*/ 2988678 h 4167549"/>
              <a:gd name="connsiteX4202" fmla="*/ 6143991 w 10890933"/>
              <a:gd name="connsiteY4202" fmla="*/ 2975872 h 4167549"/>
              <a:gd name="connsiteX4203" fmla="*/ 6154739 w 10890933"/>
              <a:gd name="connsiteY4203" fmla="*/ 2969934 h 4167549"/>
              <a:gd name="connsiteX4204" fmla="*/ 6137649 w 10890933"/>
              <a:gd name="connsiteY4204" fmla="*/ 2965355 h 4167549"/>
              <a:gd name="connsiteX4205" fmla="*/ 6141786 w 10890933"/>
              <a:gd name="connsiteY4205" fmla="*/ 2984100 h 4167549"/>
              <a:gd name="connsiteX4206" fmla="*/ 6129105 w 10890933"/>
              <a:gd name="connsiteY4206" fmla="*/ 2963066 h 4167549"/>
              <a:gd name="connsiteX4207" fmla="*/ 6152809 w 10890933"/>
              <a:gd name="connsiteY4207" fmla="*/ 2942962 h 4167549"/>
              <a:gd name="connsiteX4208" fmla="*/ 8965245 w 10890933"/>
              <a:gd name="connsiteY4208" fmla="*/ 2942594 h 4167549"/>
              <a:gd name="connsiteX4209" fmla="*/ 8987171 w 10890933"/>
              <a:gd name="connsiteY4209" fmla="*/ 2959493 h 4167549"/>
              <a:gd name="connsiteX4210" fmla="*/ 8959733 w 10890933"/>
              <a:gd name="connsiteY4210" fmla="*/ 2963164 h 4167549"/>
              <a:gd name="connsiteX4211" fmla="*/ 8965245 w 10890933"/>
              <a:gd name="connsiteY4211" fmla="*/ 2942594 h 4167549"/>
              <a:gd name="connsiteX4212" fmla="*/ 5953829 w 10890933"/>
              <a:gd name="connsiteY4212" fmla="*/ 2942555 h 4167549"/>
              <a:gd name="connsiteX4213" fmla="*/ 5925763 w 10890933"/>
              <a:gd name="connsiteY4213" fmla="*/ 2973249 h 4167549"/>
              <a:gd name="connsiteX4214" fmla="*/ 5920986 w 10890933"/>
              <a:gd name="connsiteY4214" fmla="*/ 2991075 h 4167549"/>
              <a:gd name="connsiteX4215" fmla="*/ 5904862 w 10890933"/>
              <a:gd name="connsiteY4215" fmla="*/ 2977200 h 4167549"/>
              <a:gd name="connsiteX4216" fmla="*/ 5921283 w 10890933"/>
              <a:gd name="connsiteY4216" fmla="*/ 2952940 h 4167549"/>
              <a:gd name="connsiteX4217" fmla="*/ 5953829 w 10890933"/>
              <a:gd name="connsiteY4217" fmla="*/ 2942555 h 4167549"/>
              <a:gd name="connsiteX4218" fmla="*/ 3927905 w 10890933"/>
              <a:gd name="connsiteY4218" fmla="*/ 2942309 h 4167549"/>
              <a:gd name="connsiteX4219" fmla="*/ 3942075 w 10890933"/>
              <a:gd name="connsiteY4219" fmla="*/ 2963467 h 4167549"/>
              <a:gd name="connsiteX4220" fmla="*/ 3915188 w 10890933"/>
              <a:gd name="connsiteY4220" fmla="*/ 2965080 h 4167549"/>
              <a:gd name="connsiteX4221" fmla="*/ 3925620 w 10890933"/>
              <a:gd name="connsiteY4221" fmla="*/ 2959058 h 4167549"/>
              <a:gd name="connsiteX4222" fmla="*/ 3892711 w 10890933"/>
              <a:gd name="connsiteY4222" fmla="*/ 2950239 h 4167549"/>
              <a:gd name="connsiteX4223" fmla="*/ 3927825 w 10890933"/>
              <a:gd name="connsiteY4223" fmla="*/ 2950830 h 4167549"/>
              <a:gd name="connsiteX4224" fmla="*/ 3927905 w 10890933"/>
              <a:gd name="connsiteY4224" fmla="*/ 2942309 h 4167549"/>
              <a:gd name="connsiteX4225" fmla="*/ 6281665 w 10890933"/>
              <a:gd name="connsiteY4225" fmla="*/ 2942219 h 4167549"/>
              <a:gd name="connsiteX4226" fmla="*/ 6283060 w 10890933"/>
              <a:gd name="connsiteY4226" fmla="*/ 2951411 h 4167549"/>
              <a:gd name="connsiteX4227" fmla="*/ 6281899 w 10890933"/>
              <a:gd name="connsiteY4227" fmla="*/ 2952863 h 4167549"/>
              <a:gd name="connsiteX4228" fmla="*/ 5980714 w 10890933"/>
              <a:gd name="connsiteY4228" fmla="*/ 2940941 h 4167549"/>
              <a:gd name="connsiteX4229" fmla="*/ 6011052 w 10890933"/>
              <a:gd name="connsiteY4229" fmla="*/ 2959357 h 4167549"/>
              <a:gd name="connsiteX4230" fmla="*/ 6005907 w 10890933"/>
              <a:gd name="connsiteY4230" fmla="*/ 2978556 h 4167549"/>
              <a:gd name="connsiteX4231" fmla="*/ 6002824 w 10890933"/>
              <a:gd name="connsiteY4231" fmla="*/ 2957152 h 4167549"/>
              <a:gd name="connsiteX4232" fmla="*/ 5975569 w 10890933"/>
              <a:gd name="connsiteY4232" fmla="*/ 2960140 h 4167549"/>
              <a:gd name="connsiteX4233" fmla="*/ 5972997 w 10890933"/>
              <a:gd name="connsiteY4233" fmla="*/ 2969738 h 4167549"/>
              <a:gd name="connsiteX4234" fmla="*/ 5980714 w 10890933"/>
              <a:gd name="connsiteY4234" fmla="*/ 2940941 h 4167549"/>
              <a:gd name="connsiteX4235" fmla="*/ 4743275 w 10890933"/>
              <a:gd name="connsiteY4235" fmla="*/ 2940513 h 4167549"/>
              <a:gd name="connsiteX4236" fmla="*/ 4747232 w 10890933"/>
              <a:gd name="connsiteY4236" fmla="*/ 2959910 h 4167549"/>
              <a:gd name="connsiteX4237" fmla="*/ 4743275 w 10890933"/>
              <a:gd name="connsiteY4237" fmla="*/ 2940513 h 4167549"/>
              <a:gd name="connsiteX4238" fmla="*/ 531249 w 10890933"/>
              <a:gd name="connsiteY4238" fmla="*/ 2940181 h 4167549"/>
              <a:gd name="connsiteX4239" fmla="*/ 532569 w 10890933"/>
              <a:gd name="connsiteY4239" fmla="*/ 2984626 h 4167549"/>
              <a:gd name="connsiteX4240" fmla="*/ 531249 w 10890933"/>
              <a:gd name="connsiteY4240" fmla="*/ 2940181 h 4167549"/>
              <a:gd name="connsiteX4241" fmla="*/ 4865528 w 10890933"/>
              <a:gd name="connsiteY4241" fmla="*/ 2939745 h 4167549"/>
              <a:gd name="connsiteX4242" fmla="*/ 4872102 w 10890933"/>
              <a:gd name="connsiteY4242" fmla="*/ 2948120 h 4167549"/>
              <a:gd name="connsiteX4243" fmla="*/ 4855647 w 10890933"/>
              <a:gd name="connsiteY4243" fmla="*/ 2943711 h 4167549"/>
              <a:gd name="connsiteX4244" fmla="*/ 4865528 w 10890933"/>
              <a:gd name="connsiteY4244" fmla="*/ 2939745 h 4167549"/>
              <a:gd name="connsiteX4245" fmla="*/ 4111922 w 10890933"/>
              <a:gd name="connsiteY4245" fmla="*/ 2938431 h 4167549"/>
              <a:gd name="connsiteX4246" fmla="*/ 4132492 w 10890933"/>
              <a:gd name="connsiteY4246" fmla="*/ 2943943 h 4167549"/>
              <a:gd name="connsiteX4247" fmla="*/ 4128084 w 10890933"/>
              <a:gd name="connsiteY4247" fmla="*/ 2960398 h 4167549"/>
              <a:gd name="connsiteX4248" fmla="*/ 4111922 w 10890933"/>
              <a:gd name="connsiteY4248" fmla="*/ 2938431 h 4167549"/>
              <a:gd name="connsiteX4249" fmla="*/ 8917000 w 10890933"/>
              <a:gd name="connsiteY4249" fmla="*/ 2937935 h 4167549"/>
              <a:gd name="connsiteX4250" fmla="*/ 8937807 w 10890933"/>
              <a:gd name="connsiteY4250" fmla="*/ 2946266 h 4167549"/>
              <a:gd name="connsiteX4251" fmla="*/ 8898849 w 10890933"/>
              <a:gd name="connsiteY4251" fmla="*/ 2946850 h 4167549"/>
              <a:gd name="connsiteX4252" fmla="*/ 8917000 w 10890933"/>
              <a:gd name="connsiteY4252" fmla="*/ 2937935 h 4167549"/>
              <a:gd name="connsiteX4253" fmla="*/ 7956237 w 10890933"/>
              <a:gd name="connsiteY4253" fmla="*/ 2937323 h 4167549"/>
              <a:gd name="connsiteX4254" fmla="*/ 7973466 w 10890933"/>
              <a:gd name="connsiteY4254" fmla="*/ 2938826 h 4167549"/>
              <a:gd name="connsiteX4255" fmla="*/ 7973895 w 10890933"/>
              <a:gd name="connsiteY4255" fmla="*/ 2945037 h 4167549"/>
              <a:gd name="connsiteX4256" fmla="*/ 7956808 w 10890933"/>
              <a:gd name="connsiteY4256" fmla="*/ 2940458 h 4167549"/>
              <a:gd name="connsiteX4257" fmla="*/ 5320115 w 10890933"/>
              <a:gd name="connsiteY4257" fmla="*/ 2936645 h 4167549"/>
              <a:gd name="connsiteX4258" fmla="*/ 5337489 w 10890933"/>
              <a:gd name="connsiteY4258" fmla="*/ 2943879 h 4167549"/>
              <a:gd name="connsiteX4259" fmla="*/ 5335197 w 10890933"/>
              <a:gd name="connsiteY4259" fmla="*/ 2952433 h 4167549"/>
              <a:gd name="connsiteX4260" fmla="*/ 5311863 w 10890933"/>
              <a:gd name="connsiteY4260" fmla="*/ 2937012 h 4167549"/>
              <a:gd name="connsiteX4261" fmla="*/ 5320115 w 10890933"/>
              <a:gd name="connsiteY4261" fmla="*/ 2936645 h 4167549"/>
              <a:gd name="connsiteX4262" fmla="*/ 7947040 w 10890933"/>
              <a:gd name="connsiteY4262" fmla="*/ 2936519 h 4167549"/>
              <a:gd name="connsiteX4263" fmla="*/ 7948666 w 10890933"/>
              <a:gd name="connsiteY4263" fmla="*/ 2936660 h 4167549"/>
              <a:gd name="connsiteX4264" fmla="*/ 7948262 w 10890933"/>
              <a:gd name="connsiteY4264" fmla="*/ 2938168 h 4167549"/>
              <a:gd name="connsiteX4265" fmla="*/ 7778570 w 10890933"/>
              <a:gd name="connsiteY4265" fmla="*/ 2936294 h 4167549"/>
              <a:gd name="connsiteX4266" fmla="*/ 7856635 w 10890933"/>
              <a:gd name="connsiteY4266" fmla="*/ 2949770 h 4167549"/>
              <a:gd name="connsiteX4267" fmla="*/ 7826421 w 10890933"/>
              <a:gd name="connsiteY4267" fmla="*/ 2959311 h 4167549"/>
              <a:gd name="connsiteX4268" fmla="*/ 7811206 w 10890933"/>
              <a:gd name="connsiteY4268" fmla="*/ 2981689 h 4167549"/>
              <a:gd name="connsiteX4269" fmla="*/ 7796207 w 10890933"/>
              <a:gd name="connsiteY4269" fmla="*/ 2968852 h 4167549"/>
              <a:gd name="connsiteX4270" fmla="*/ 7768198 w 10890933"/>
              <a:gd name="connsiteY4270" fmla="*/ 2970165 h 4167549"/>
              <a:gd name="connsiteX4271" fmla="*/ 7781208 w 10890933"/>
              <a:gd name="connsiteY4271" fmla="*/ 2956015 h 4167549"/>
              <a:gd name="connsiteX4272" fmla="*/ 7807012 w 10890933"/>
              <a:gd name="connsiteY4272" fmla="*/ 2962929 h 4167549"/>
              <a:gd name="connsiteX4273" fmla="*/ 7757608 w 10890933"/>
              <a:gd name="connsiteY4273" fmla="*/ 2940873 h 4167549"/>
              <a:gd name="connsiteX4274" fmla="*/ 7778570 w 10890933"/>
              <a:gd name="connsiteY4274" fmla="*/ 2936294 h 4167549"/>
              <a:gd name="connsiteX4275" fmla="*/ 5616124 w 10890933"/>
              <a:gd name="connsiteY4275" fmla="*/ 2935842 h 4167549"/>
              <a:gd name="connsiteX4276" fmla="*/ 5640806 w 10890933"/>
              <a:gd name="connsiteY4276" fmla="*/ 2942455 h 4167549"/>
              <a:gd name="connsiteX4277" fmla="*/ 5611715 w 10890933"/>
              <a:gd name="connsiteY4277" fmla="*/ 2952297 h 4167549"/>
              <a:gd name="connsiteX4278" fmla="*/ 5616124 w 10890933"/>
              <a:gd name="connsiteY4278" fmla="*/ 2935842 h 4167549"/>
              <a:gd name="connsiteX4279" fmla="*/ 4230259 w 10890933"/>
              <a:gd name="connsiteY4279" fmla="*/ 2935419 h 4167549"/>
              <a:gd name="connsiteX4280" fmla="*/ 4253483 w 10890933"/>
              <a:gd name="connsiteY4280" fmla="*/ 2936681 h 4167549"/>
              <a:gd name="connsiteX4281" fmla="*/ 4239806 w 10890933"/>
              <a:gd name="connsiteY4281" fmla="*/ 2955338 h 4167549"/>
              <a:gd name="connsiteX4282" fmla="*/ 4232442 w 10890933"/>
              <a:gd name="connsiteY4282" fmla="*/ 2955145 h 4167549"/>
              <a:gd name="connsiteX4283" fmla="*/ 4226313 w 10890933"/>
              <a:gd name="connsiteY4283" fmla="*/ 2945521 h 4167549"/>
              <a:gd name="connsiteX4284" fmla="*/ 4213977 w 10890933"/>
              <a:gd name="connsiteY4284" fmla="*/ 2936017 h 4167549"/>
              <a:gd name="connsiteX4285" fmla="*/ 4230259 w 10890933"/>
              <a:gd name="connsiteY4285" fmla="*/ 2935419 h 4167549"/>
              <a:gd name="connsiteX4286" fmla="*/ 6056676 w 10890933"/>
              <a:gd name="connsiteY4286" fmla="*/ 2934843 h 4167549"/>
              <a:gd name="connsiteX4287" fmla="*/ 6063287 w 10890933"/>
              <a:gd name="connsiteY4287" fmla="*/ 2945432 h 4167549"/>
              <a:gd name="connsiteX4288" fmla="*/ 5997170 w 10890933"/>
              <a:gd name="connsiteY4288" fmla="*/ 2945353 h 4167549"/>
              <a:gd name="connsiteX4289" fmla="*/ 6056676 w 10890933"/>
              <a:gd name="connsiteY4289" fmla="*/ 2934843 h 4167549"/>
              <a:gd name="connsiteX4290" fmla="*/ 7942077 w 10890933"/>
              <a:gd name="connsiteY4290" fmla="*/ 2932420 h 4167549"/>
              <a:gd name="connsiteX4291" fmla="*/ 7944900 w 10890933"/>
              <a:gd name="connsiteY4291" fmla="*/ 2933632 h 4167549"/>
              <a:gd name="connsiteX4292" fmla="*/ 7947040 w 10890933"/>
              <a:gd name="connsiteY4292" fmla="*/ 2936519 h 4167549"/>
              <a:gd name="connsiteX4293" fmla="*/ 7939718 w 10890933"/>
              <a:gd name="connsiteY4293" fmla="*/ 2935879 h 4167549"/>
              <a:gd name="connsiteX4294" fmla="*/ 7942077 w 10890933"/>
              <a:gd name="connsiteY4294" fmla="*/ 2932420 h 4167549"/>
              <a:gd name="connsiteX4295" fmla="*/ 7721160 w 10890933"/>
              <a:gd name="connsiteY4295" fmla="*/ 2931551 h 4167549"/>
              <a:gd name="connsiteX4296" fmla="*/ 7745586 w 10890933"/>
              <a:gd name="connsiteY4296" fmla="*/ 2947353 h 4167549"/>
              <a:gd name="connsiteX4297" fmla="*/ 7730075 w 10890933"/>
              <a:gd name="connsiteY4297" fmla="*/ 2933940 h 4167549"/>
              <a:gd name="connsiteX4298" fmla="*/ 7747901 w 10890933"/>
              <a:gd name="connsiteY4298" fmla="*/ 2938716 h 4167549"/>
              <a:gd name="connsiteX4299" fmla="*/ 7763413 w 10890933"/>
              <a:gd name="connsiteY4299" fmla="*/ 2952130 h 4167549"/>
              <a:gd name="connsiteX4300" fmla="*/ 7749871 w 10890933"/>
              <a:gd name="connsiteY4300" fmla="*/ 2967021 h 4167549"/>
              <a:gd name="connsiteX4301" fmla="*/ 7743271 w 10890933"/>
              <a:gd name="connsiteY4301" fmla="*/ 2955993 h 4167549"/>
              <a:gd name="connsiteX4302" fmla="*/ 7723131 w 10890933"/>
              <a:gd name="connsiteY4302" fmla="*/ 2959856 h 4167549"/>
              <a:gd name="connsiteX4303" fmla="*/ 7709242 w 10890933"/>
              <a:gd name="connsiteY4303" fmla="*/ 3011691 h 4167549"/>
              <a:gd name="connsiteX4304" fmla="*/ 7702642 w 10890933"/>
              <a:gd name="connsiteY4304" fmla="*/ 3000662 h 4167549"/>
              <a:gd name="connsiteX4305" fmla="*/ 7718501 w 10890933"/>
              <a:gd name="connsiteY4305" fmla="*/ 2977135 h 4167549"/>
              <a:gd name="connsiteX4306" fmla="*/ 7716531 w 10890933"/>
              <a:gd name="connsiteY4306" fmla="*/ 2948828 h 4167549"/>
              <a:gd name="connsiteX4307" fmla="*/ 7721160 w 10890933"/>
              <a:gd name="connsiteY4307" fmla="*/ 2931551 h 4167549"/>
              <a:gd name="connsiteX4308" fmla="*/ 4162316 w 10890933"/>
              <a:gd name="connsiteY4308" fmla="*/ 2931359 h 4167549"/>
              <a:gd name="connsiteX4309" fmla="*/ 4203454 w 10890933"/>
              <a:gd name="connsiteY4309" fmla="*/ 2942382 h 4167549"/>
              <a:gd name="connsiteX4310" fmla="*/ 4198311 w 10890933"/>
              <a:gd name="connsiteY4310" fmla="*/ 2961581 h 4167549"/>
              <a:gd name="connsiteX4311" fmla="*/ 4190082 w 10890933"/>
              <a:gd name="connsiteY4311" fmla="*/ 2959377 h 4167549"/>
              <a:gd name="connsiteX4312" fmla="*/ 4165399 w 10890933"/>
              <a:gd name="connsiteY4312" fmla="*/ 2952763 h 4167549"/>
              <a:gd name="connsiteX4313" fmla="*/ 4162316 w 10890933"/>
              <a:gd name="connsiteY4313" fmla="*/ 2931359 h 4167549"/>
              <a:gd name="connsiteX4314" fmla="*/ 3879021 w 10890933"/>
              <a:gd name="connsiteY4314" fmla="*/ 2928935 h 4167549"/>
              <a:gd name="connsiteX4315" fmla="*/ 3894917 w 10890933"/>
              <a:gd name="connsiteY4315" fmla="*/ 2942012 h 4167549"/>
              <a:gd name="connsiteX4316" fmla="*/ 3872407 w 10890933"/>
              <a:gd name="connsiteY4316" fmla="*/ 2953617 h 4167549"/>
              <a:gd name="connsiteX4317" fmla="*/ 3854307 w 10890933"/>
              <a:gd name="connsiteY4317" fmla="*/ 2948767 h 4167549"/>
              <a:gd name="connsiteX4318" fmla="*/ 3849664 w 10890933"/>
              <a:gd name="connsiteY4318" fmla="*/ 2929887 h 4167549"/>
              <a:gd name="connsiteX4319" fmla="*/ 3879021 w 10890933"/>
              <a:gd name="connsiteY4319" fmla="*/ 2928935 h 4167549"/>
              <a:gd name="connsiteX4320" fmla="*/ 4020512 w 10890933"/>
              <a:gd name="connsiteY4320" fmla="*/ 2927853 h 4167549"/>
              <a:gd name="connsiteX4321" fmla="*/ 4026065 w 10890933"/>
              <a:gd name="connsiteY4321" fmla="*/ 2929754 h 4167549"/>
              <a:gd name="connsiteX4322" fmla="*/ 4033465 w 10890933"/>
              <a:gd name="connsiteY4322" fmla="*/ 2935045 h 4167549"/>
              <a:gd name="connsiteX4323" fmla="*/ 4014807 w 10890933"/>
              <a:gd name="connsiteY4323" fmla="*/ 2938864 h 4167549"/>
              <a:gd name="connsiteX4324" fmla="*/ 4017010 w 10890933"/>
              <a:gd name="connsiteY4324" fmla="*/ 2930636 h 4167549"/>
              <a:gd name="connsiteX4325" fmla="*/ 4020512 w 10890933"/>
              <a:gd name="connsiteY4325" fmla="*/ 2927853 h 4167549"/>
              <a:gd name="connsiteX4326" fmla="*/ 3586039 w 10890933"/>
              <a:gd name="connsiteY4326" fmla="*/ 2925384 h 4167549"/>
              <a:gd name="connsiteX4327" fmla="*/ 3621270 w 10890933"/>
              <a:gd name="connsiteY4327" fmla="*/ 2934824 h 4167549"/>
              <a:gd name="connsiteX4328" fmla="*/ 3629909 w 10890933"/>
              <a:gd name="connsiteY4328" fmla="*/ 2937139 h 4167549"/>
              <a:gd name="connsiteX4329" fmla="*/ 3642362 w 10890933"/>
              <a:gd name="connsiteY4329" fmla="*/ 2933863 h 4167549"/>
              <a:gd name="connsiteX4330" fmla="*/ 3664465 w 10890933"/>
              <a:gd name="connsiteY4330" fmla="*/ 2946398 h 4167549"/>
              <a:gd name="connsiteX4331" fmla="*/ 3660056 w 10890933"/>
              <a:gd name="connsiteY4331" fmla="*/ 2962854 h 4167549"/>
              <a:gd name="connsiteX4332" fmla="*/ 3642779 w 10890933"/>
              <a:gd name="connsiteY4332" fmla="*/ 2958224 h 4167549"/>
              <a:gd name="connsiteX4333" fmla="*/ 3647188 w 10890933"/>
              <a:gd name="connsiteY4333" fmla="*/ 2941769 h 4167549"/>
              <a:gd name="connsiteX4334" fmla="*/ 3575870 w 10890933"/>
              <a:gd name="connsiteY4334" fmla="*/ 2931478 h 4167549"/>
              <a:gd name="connsiteX4335" fmla="*/ 3586039 w 10890933"/>
              <a:gd name="connsiteY4335" fmla="*/ 2925384 h 4167549"/>
              <a:gd name="connsiteX4336" fmla="*/ 5728289 w 10890933"/>
              <a:gd name="connsiteY4336" fmla="*/ 2925332 h 4167549"/>
              <a:gd name="connsiteX4337" fmla="*/ 5712946 w 10890933"/>
              <a:gd name="connsiteY4337" fmla="*/ 2952967 h 4167549"/>
              <a:gd name="connsiteX4338" fmla="*/ 5725255 w 10890933"/>
              <a:gd name="connsiteY4338" fmla="*/ 2927605 h 4167549"/>
              <a:gd name="connsiteX4339" fmla="*/ 7970202 w 10890933"/>
              <a:gd name="connsiteY4339" fmla="*/ 2924647 h 4167549"/>
              <a:gd name="connsiteX4340" fmla="*/ 8039367 w 10890933"/>
              <a:gd name="connsiteY4340" fmla="*/ 2940453 h 4167549"/>
              <a:gd name="connsiteX4341" fmla="*/ 8053216 w 10890933"/>
              <a:gd name="connsiteY4341" fmla="*/ 2956592 h 4167549"/>
              <a:gd name="connsiteX4342" fmla="*/ 8033703 w 10890933"/>
              <a:gd name="connsiteY4342" fmla="*/ 2961063 h 4167549"/>
              <a:gd name="connsiteX4343" fmla="*/ 8010495 w 10890933"/>
              <a:gd name="connsiteY4343" fmla="*/ 2945145 h 4167549"/>
              <a:gd name="connsiteX4344" fmla="*/ 8008070 w 10890933"/>
              <a:gd name="connsiteY4344" fmla="*/ 2954194 h 4167549"/>
              <a:gd name="connsiteX4345" fmla="*/ 7990983 w 10890933"/>
              <a:gd name="connsiteY4345" fmla="*/ 2949616 h 4167549"/>
              <a:gd name="connsiteX4346" fmla="*/ 7993407 w 10890933"/>
              <a:gd name="connsiteY4346" fmla="*/ 2940567 h 4167549"/>
              <a:gd name="connsiteX4347" fmla="*/ 7973466 w 10890933"/>
              <a:gd name="connsiteY4347" fmla="*/ 2938826 h 4167549"/>
              <a:gd name="connsiteX4348" fmla="*/ 7972956 w 10890933"/>
              <a:gd name="connsiteY4348" fmla="*/ 2931448 h 4167549"/>
              <a:gd name="connsiteX4349" fmla="*/ 7970202 w 10890933"/>
              <a:gd name="connsiteY4349" fmla="*/ 2924647 h 4167549"/>
              <a:gd name="connsiteX4350" fmla="*/ 775729 w 10890933"/>
              <a:gd name="connsiteY4350" fmla="*/ 2924561 h 4167549"/>
              <a:gd name="connsiteX4351" fmla="*/ 774283 w 10890933"/>
              <a:gd name="connsiteY4351" fmla="*/ 2929959 h 4167549"/>
              <a:gd name="connsiteX4352" fmla="*/ 768785 w 10890933"/>
              <a:gd name="connsiteY4352" fmla="*/ 2950477 h 4167549"/>
              <a:gd name="connsiteX4353" fmla="*/ 775729 w 10890933"/>
              <a:gd name="connsiteY4353" fmla="*/ 2924561 h 4167549"/>
              <a:gd name="connsiteX4354" fmla="*/ 3961325 w 10890933"/>
              <a:gd name="connsiteY4354" fmla="*/ 2924534 h 4167549"/>
              <a:gd name="connsiteX4355" fmla="*/ 3983803 w 10890933"/>
              <a:gd name="connsiteY4355" fmla="*/ 2939375 h 4167549"/>
              <a:gd name="connsiteX4356" fmla="*/ 3962940 w 10890933"/>
              <a:gd name="connsiteY4356" fmla="*/ 2951421 h 4167549"/>
              <a:gd name="connsiteX4357" fmla="*/ 3948689 w 10890933"/>
              <a:gd name="connsiteY4357" fmla="*/ 2938784 h 4167549"/>
              <a:gd name="connsiteX4358" fmla="*/ 3961325 w 10890933"/>
              <a:gd name="connsiteY4358" fmla="*/ 2924534 h 4167549"/>
              <a:gd name="connsiteX4359" fmla="*/ 5703105 w 10890933"/>
              <a:gd name="connsiteY4359" fmla="*/ 2923875 h 4167549"/>
              <a:gd name="connsiteX4360" fmla="*/ 5672103 w 10890933"/>
              <a:gd name="connsiteY4360" fmla="*/ 2924387 h 4167549"/>
              <a:gd name="connsiteX4361" fmla="*/ 5703105 w 10890933"/>
              <a:gd name="connsiteY4361" fmla="*/ 2923875 h 4167549"/>
              <a:gd name="connsiteX4362" fmla="*/ 4138003 w 10890933"/>
              <a:gd name="connsiteY4362" fmla="*/ 2923376 h 4167549"/>
              <a:gd name="connsiteX4363" fmla="*/ 4134696 w 10890933"/>
              <a:gd name="connsiteY4363" fmla="*/ 2935718 h 4167549"/>
              <a:gd name="connsiteX4364" fmla="*/ 4105899 w 10890933"/>
              <a:gd name="connsiteY4364" fmla="*/ 2928002 h 4167549"/>
              <a:gd name="connsiteX4365" fmla="*/ 4138003 w 10890933"/>
              <a:gd name="connsiteY4365" fmla="*/ 2923376 h 4167549"/>
              <a:gd name="connsiteX4366" fmla="*/ 5765107 w 10890933"/>
              <a:gd name="connsiteY4366" fmla="*/ 2922852 h 4167549"/>
              <a:gd name="connsiteX4367" fmla="*/ 5777153 w 10890933"/>
              <a:gd name="connsiteY4367" fmla="*/ 2943716 h 4167549"/>
              <a:gd name="connsiteX4368" fmla="*/ 5765107 w 10890933"/>
              <a:gd name="connsiteY4368" fmla="*/ 2922852 h 4167549"/>
              <a:gd name="connsiteX4369" fmla="*/ 5600047 w 10890933"/>
              <a:gd name="connsiteY4369" fmla="*/ 2922716 h 4167549"/>
              <a:gd name="connsiteX4370" fmla="*/ 5605055 w 10890933"/>
              <a:gd name="connsiteY4370" fmla="*/ 2926166 h 4167549"/>
              <a:gd name="connsiteX4371" fmla="*/ 5604924 w 10890933"/>
              <a:gd name="connsiteY4371" fmla="*/ 2926228 h 4167549"/>
              <a:gd name="connsiteX4372" fmla="*/ 5597941 w 10890933"/>
              <a:gd name="connsiteY4372" fmla="*/ 2923857 h 4167549"/>
              <a:gd name="connsiteX4373" fmla="*/ 5729992 w 10890933"/>
              <a:gd name="connsiteY4373" fmla="*/ 2922262 h 4167549"/>
              <a:gd name="connsiteX4374" fmla="*/ 5732055 w 10890933"/>
              <a:gd name="connsiteY4374" fmla="*/ 2922510 h 4167549"/>
              <a:gd name="connsiteX4375" fmla="*/ 5728289 w 10890933"/>
              <a:gd name="connsiteY4375" fmla="*/ 2925332 h 4167549"/>
              <a:gd name="connsiteX4376" fmla="*/ 3979985 w 10890933"/>
              <a:gd name="connsiteY4376" fmla="*/ 2920715 h 4167549"/>
              <a:gd name="connsiteX4377" fmla="*/ 3984174 w 10890933"/>
              <a:gd name="connsiteY4377" fmla="*/ 2923040 h 4167549"/>
              <a:gd name="connsiteX4378" fmla="*/ 3983549 w 10890933"/>
              <a:gd name="connsiteY4378" fmla="*/ 2923875 h 4167549"/>
              <a:gd name="connsiteX4379" fmla="*/ 3979985 w 10890933"/>
              <a:gd name="connsiteY4379" fmla="*/ 2920715 h 4167549"/>
              <a:gd name="connsiteX4380" fmla="*/ 7953112 w 10890933"/>
              <a:gd name="connsiteY4380" fmla="*/ 2920068 h 4167549"/>
              <a:gd name="connsiteX4381" fmla="*/ 7956237 w 10890933"/>
              <a:gd name="connsiteY4381" fmla="*/ 2937323 h 4167549"/>
              <a:gd name="connsiteX4382" fmla="*/ 7948666 w 10890933"/>
              <a:gd name="connsiteY4382" fmla="*/ 2936660 h 4167549"/>
              <a:gd name="connsiteX4383" fmla="*/ 6198017 w 10890933"/>
              <a:gd name="connsiteY4383" fmla="*/ 2919805 h 4167549"/>
              <a:gd name="connsiteX4384" fmla="*/ 6214472 w 10890933"/>
              <a:gd name="connsiteY4384" fmla="*/ 2924215 h 4167549"/>
              <a:gd name="connsiteX4385" fmla="*/ 6199631 w 10890933"/>
              <a:gd name="connsiteY4385" fmla="*/ 2946692 h 4167549"/>
              <a:gd name="connsiteX4386" fmla="*/ 6198017 w 10890933"/>
              <a:gd name="connsiteY4386" fmla="*/ 2919805 h 4167549"/>
              <a:gd name="connsiteX4387" fmla="*/ 3625403 w 10890933"/>
              <a:gd name="connsiteY4387" fmla="*/ 2919398 h 4167549"/>
              <a:gd name="connsiteX4388" fmla="*/ 3634319 w 10890933"/>
              <a:gd name="connsiteY4388" fmla="*/ 2920684 h 4167549"/>
              <a:gd name="connsiteX4389" fmla="*/ 3621270 w 10890933"/>
              <a:gd name="connsiteY4389" fmla="*/ 2934824 h 4167549"/>
              <a:gd name="connsiteX4390" fmla="*/ 3614835 w 10890933"/>
              <a:gd name="connsiteY4390" fmla="*/ 2924282 h 4167549"/>
              <a:gd name="connsiteX4391" fmla="*/ 3625403 w 10890933"/>
              <a:gd name="connsiteY4391" fmla="*/ 2919398 h 4167549"/>
              <a:gd name="connsiteX4392" fmla="*/ 5783767 w 10890933"/>
              <a:gd name="connsiteY4392" fmla="*/ 2919034 h 4167549"/>
              <a:gd name="connsiteX4393" fmla="*/ 5785380 w 10890933"/>
              <a:gd name="connsiteY4393" fmla="*/ 2945921 h 4167549"/>
              <a:gd name="connsiteX4394" fmla="*/ 5783767 w 10890933"/>
              <a:gd name="connsiteY4394" fmla="*/ 2919034 h 4167549"/>
              <a:gd name="connsiteX4395" fmla="*/ 5626585 w 10890933"/>
              <a:gd name="connsiteY4395" fmla="*/ 2918666 h 4167549"/>
              <a:gd name="connsiteX4396" fmla="*/ 5634786 w 10890933"/>
              <a:gd name="connsiteY4396" fmla="*/ 2932024 h 4167549"/>
              <a:gd name="connsiteX4397" fmla="*/ 5615763 w 10890933"/>
              <a:gd name="connsiteY4397" fmla="*/ 2933540 h 4167549"/>
              <a:gd name="connsiteX4398" fmla="*/ 5605055 w 10890933"/>
              <a:gd name="connsiteY4398" fmla="*/ 2926166 h 4167549"/>
              <a:gd name="connsiteX4399" fmla="*/ 5619621 w 10890933"/>
              <a:gd name="connsiteY4399" fmla="*/ 2919142 h 4167549"/>
              <a:gd name="connsiteX4400" fmla="*/ 5626585 w 10890933"/>
              <a:gd name="connsiteY4400" fmla="*/ 2918666 h 4167549"/>
              <a:gd name="connsiteX4401" fmla="*/ 5859211 w 10890933"/>
              <a:gd name="connsiteY4401" fmla="*/ 2917202 h 4167549"/>
              <a:gd name="connsiteX4402" fmla="*/ 5854066 w 10890933"/>
              <a:gd name="connsiteY4402" fmla="*/ 2936401 h 4167549"/>
              <a:gd name="connsiteX4403" fmla="*/ 5837611 w 10890933"/>
              <a:gd name="connsiteY4403" fmla="*/ 2931992 h 4167549"/>
              <a:gd name="connsiteX4404" fmla="*/ 5845839 w 10890933"/>
              <a:gd name="connsiteY4404" fmla="*/ 2934197 h 4167549"/>
              <a:gd name="connsiteX4405" fmla="*/ 5859211 w 10890933"/>
              <a:gd name="connsiteY4405" fmla="*/ 2917202 h 4167549"/>
              <a:gd name="connsiteX4406" fmla="*/ 7523900 w 10890933"/>
              <a:gd name="connsiteY4406" fmla="*/ 2916283 h 4167549"/>
              <a:gd name="connsiteX4407" fmla="*/ 7543101 w 10890933"/>
              <a:gd name="connsiteY4407" fmla="*/ 2918672 h 4167549"/>
              <a:gd name="connsiteX4408" fmla="*/ 7512906 w 10890933"/>
              <a:gd name="connsiteY4408" fmla="*/ 2932628 h 4167549"/>
              <a:gd name="connsiteX4409" fmla="*/ 7523900 w 10890933"/>
              <a:gd name="connsiteY4409" fmla="*/ 2916283 h 4167549"/>
              <a:gd name="connsiteX4410" fmla="*/ 5740424 w 10890933"/>
              <a:gd name="connsiteY4410" fmla="*/ 2916239 h 4167549"/>
              <a:gd name="connsiteX4411" fmla="*/ 5737467 w 10890933"/>
              <a:gd name="connsiteY4411" fmla="*/ 2923162 h 4167549"/>
              <a:gd name="connsiteX4412" fmla="*/ 5732055 w 10890933"/>
              <a:gd name="connsiteY4412" fmla="*/ 2922510 h 4167549"/>
              <a:gd name="connsiteX4413" fmla="*/ 5573993 w 10890933"/>
              <a:gd name="connsiteY4413" fmla="*/ 2915735 h 4167549"/>
              <a:gd name="connsiteX4414" fmla="*/ 5597941 w 10890933"/>
              <a:gd name="connsiteY4414" fmla="*/ 2923857 h 4167549"/>
              <a:gd name="connsiteX4415" fmla="*/ 5589158 w 10890933"/>
              <a:gd name="connsiteY4415" fmla="*/ 2928616 h 4167549"/>
              <a:gd name="connsiteX4416" fmla="*/ 5593433 w 10890933"/>
              <a:gd name="connsiteY4416" fmla="*/ 2947398 h 4167549"/>
              <a:gd name="connsiteX4417" fmla="*/ 5586954 w 10890933"/>
              <a:gd name="connsiteY4417" fmla="*/ 2936844 h 4167549"/>
              <a:gd name="connsiteX4418" fmla="*/ 5573993 w 10890933"/>
              <a:gd name="connsiteY4418" fmla="*/ 2915735 h 4167549"/>
              <a:gd name="connsiteX4419" fmla="*/ 3990417 w 10890933"/>
              <a:gd name="connsiteY4419" fmla="*/ 2914692 h 4167549"/>
              <a:gd name="connsiteX4420" fmla="*/ 4004668 w 10890933"/>
              <a:gd name="connsiteY4420" fmla="*/ 2927329 h 4167549"/>
              <a:gd name="connsiteX4421" fmla="*/ 3991501 w 10890933"/>
              <a:gd name="connsiteY4421" fmla="*/ 2927109 h 4167549"/>
              <a:gd name="connsiteX4422" fmla="*/ 3984174 w 10890933"/>
              <a:gd name="connsiteY4422" fmla="*/ 2923040 h 4167549"/>
              <a:gd name="connsiteX4423" fmla="*/ 6067010 w 10890933"/>
              <a:gd name="connsiteY4423" fmla="*/ 2914048 h 4167549"/>
              <a:gd name="connsiteX4424" fmla="*/ 6078126 w 10890933"/>
              <a:gd name="connsiteY4424" fmla="*/ 2922951 h 4167549"/>
              <a:gd name="connsiteX4425" fmla="*/ 6068528 w 10890933"/>
              <a:gd name="connsiteY4425" fmla="*/ 2920379 h 4167549"/>
              <a:gd name="connsiteX4426" fmla="*/ 6044920 w 10890933"/>
              <a:gd name="connsiteY4426" fmla="*/ 2931690 h 4167549"/>
              <a:gd name="connsiteX4427" fmla="*/ 6056806 w 10890933"/>
              <a:gd name="connsiteY4427" fmla="*/ 2916135 h 4167549"/>
              <a:gd name="connsiteX4428" fmla="*/ 6067010 w 10890933"/>
              <a:gd name="connsiteY4428" fmla="*/ 2914048 h 4167549"/>
              <a:gd name="connsiteX4429" fmla="*/ 8011253 w 10890933"/>
              <a:gd name="connsiteY4429" fmla="*/ 2908545 h 4167549"/>
              <a:gd name="connsiteX4430" fmla="*/ 8034586 w 10890933"/>
              <a:gd name="connsiteY4430" fmla="*/ 2923966 h 4167549"/>
              <a:gd name="connsiteX4431" fmla="*/ 8000417 w 10890933"/>
              <a:gd name="connsiteY4431" fmla="*/ 2914810 h 4167549"/>
              <a:gd name="connsiteX4432" fmla="*/ 8011253 w 10890933"/>
              <a:gd name="connsiteY4432" fmla="*/ 2908545 h 4167549"/>
              <a:gd name="connsiteX4433" fmla="*/ 6117650 w 10890933"/>
              <a:gd name="connsiteY4433" fmla="*/ 2907087 h 4167549"/>
              <a:gd name="connsiteX4434" fmla="*/ 6100605 w 10890933"/>
              <a:gd name="connsiteY4434" fmla="*/ 2937792 h 4167549"/>
              <a:gd name="connsiteX4435" fmla="*/ 6106627 w 10890933"/>
              <a:gd name="connsiteY4435" fmla="*/ 2948224 h 4167549"/>
              <a:gd name="connsiteX4436" fmla="*/ 6104423 w 10890933"/>
              <a:gd name="connsiteY4436" fmla="*/ 2956452 h 4167549"/>
              <a:gd name="connsiteX4437" fmla="*/ 6069308 w 10890933"/>
              <a:gd name="connsiteY4437" fmla="*/ 2955861 h 4167549"/>
              <a:gd name="connsiteX4438" fmla="*/ 6073717 w 10890933"/>
              <a:gd name="connsiteY4438" fmla="*/ 2939406 h 4167549"/>
              <a:gd name="connsiteX4439" fmla="*/ 6090172 w 10890933"/>
              <a:gd name="connsiteY4439" fmla="*/ 2943815 h 4167549"/>
              <a:gd name="connsiteX4440" fmla="*/ 6078126 w 10890933"/>
              <a:gd name="connsiteY4440" fmla="*/ 2922951 h 4167549"/>
              <a:gd name="connsiteX4441" fmla="*/ 6090763 w 10890933"/>
              <a:gd name="connsiteY4441" fmla="*/ 2908700 h 4167549"/>
              <a:gd name="connsiteX4442" fmla="*/ 6102809 w 10890933"/>
              <a:gd name="connsiteY4442" fmla="*/ 2929565 h 4167549"/>
              <a:gd name="connsiteX4443" fmla="*/ 6117650 w 10890933"/>
              <a:gd name="connsiteY4443" fmla="*/ 2907087 h 4167549"/>
              <a:gd name="connsiteX4444" fmla="*/ 3876848 w 10890933"/>
              <a:gd name="connsiteY4444" fmla="*/ 2906858 h 4167549"/>
              <a:gd name="connsiteX4445" fmla="*/ 3903736 w 10890933"/>
              <a:gd name="connsiteY4445" fmla="*/ 2909102 h 4167549"/>
              <a:gd name="connsiteX4446" fmla="*/ 3899327 w 10890933"/>
              <a:gd name="connsiteY4446" fmla="*/ 2925557 h 4167549"/>
              <a:gd name="connsiteX4447" fmla="*/ 3872733 w 10890933"/>
              <a:gd name="connsiteY4447" fmla="*/ 2909614 h 4167549"/>
              <a:gd name="connsiteX4448" fmla="*/ 3876848 w 10890933"/>
              <a:gd name="connsiteY4448" fmla="*/ 2906858 h 4167549"/>
              <a:gd name="connsiteX4449" fmla="*/ 5581836 w 10890933"/>
              <a:gd name="connsiteY4449" fmla="*/ 2906813 h 4167549"/>
              <a:gd name="connsiteX4450" fmla="*/ 5594482 w 10890933"/>
              <a:gd name="connsiteY4450" fmla="*/ 2912406 h 4167549"/>
              <a:gd name="connsiteX4451" fmla="*/ 5573078 w 10890933"/>
              <a:gd name="connsiteY4451" fmla="*/ 2915490 h 4167549"/>
              <a:gd name="connsiteX4452" fmla="*/ 5581836 w 10890933"/>
              <a:gd name="connsiteY4452" fmla="*/ 2906813 h 4167549"/>
              <a:gd name="connsiteX4453" fmla="*/ 4140356 w 10890933"/>
              <a:gd name="connsiteY4453" fmla="*/ 2906369 h 4167549"/>
              <a:gd name="connsiteX4454" fmla="*/ 4150640 w 10890933"/>
              <a:gd name="connsiteY4454" fmla="*/ 2909125 h 4167549"/>
              <a:gd name="connsiteX4455" fmla="*/ 4148436 w 10890933"/>
              <a:gd name="connsiteY4455" fmla="*/ 2917352 h 4167549"/>
              <a:gd name="connsiteX4456" fmla="*/ 4140356 w 10890933"/>
              <a:gd name="connsiteY4456" fmla="*/ 2906369 h 4167549"/>
              <a:gd name="connsiteX4457" fmla="*/ 5815333 w 10890933"/>
              <a:gd name="connsiteY4457" fmla="*/ 2905448 h 4167549"/>
              <a:gd name="connsiteX4458" fmla="*/ 5800772 w 10890933"/>
              <a:gd name="connsiteY4458" fmla="*/ 2921388 h 4167549"/>
              <a:gd name="connsiteX4459" fmla="*/ 5815333 w 10890933"/>
              <a:gd name="connsiteY4459" fmla="*/ 2905448 h 4167549"/>
              <a:gd name="connsiteX4460" fmla="*/ 5840367 w 10890933"/>
              <a:gd name="connsiteY4460" fmla="*/ 2903197 h 4167549"/>
              <a:gd name="connsiteX4461" fmla="*/ 5842205 w 10890933"/>
              <a:gd name="connsiteY4461" fmla="*/ 2914851 h 4167549"/>
              <a:gd name="connsiteX4462" fmla="*/ 5837611 w 10890933"/>
              <a:gd name="connsiteY4462" fmla="*/ 2931992 h 4167549"/>
              <a:gd name="connsiteX4463" fmla="*/ 5837244 w 10890933"/>
              <a:gd name="connsiteY4463" fmla="*/ 2933363 h 4167549"/>
              <a:gd name="connsiteX4464" fmla="*/ 5836457 w 10890933"/>
              <a:gd name="connsiteY4464" fmla="*/ 2903390 h 4167549"/>
              <a:gd name="connsiteX4465" fmla="*/ 5840367 w 10890933"/>
              <a:gd name="connsiteY4465" fmla="*/ 2903197 h 4167549"/>
              <a:gd name="connsiteX4466" fmla="*/ 6631457 w 10890933"/>
              <a:gd name="connsiteY4466" fmla="*/ 2902949 h 4167549"/>
              <a:gd name="connsiteX4467" fmla="*/ 6637795 w 10890933"/>
              <a:gd name="connsiteY4467" fmla="*/ 2907575 h 4167549"/>
              <a:gd name="connsiteX4468" fmla="*/ 6626812 w 10890933"/>
              <a:gd name="connsiteY4468" fmla="*/ 2915656 h 4167549"/>
              <a:gd name="connsiteX4469" fmla="*/ 6631457 w 10890933"/>
              <a:gd name="connsiteY4469" fmla="*/ 2902949 h 4167549"/>
              <a:gd name="connsiteX4470" fmla="*/ 5667726 w 10890933"/>
              <a:gd name="connsiteY4470" fmla="*/ 2902794 h 4167549"/>
              <a:gd name="connsiteX4471" fmla="*/ 5668733 w 10890933"/>
              <a:gd name="connsiteY4471" fmla="*/ 2902986 h 4167549"/>
              <a:gd name="connsiteX4472" fmla="*/ 5668558 w 10890933"/>
              <a:gd name="connsiteY4472" fmla="*/ 2904239 h 4167549"/>
              <a:gd name="connsiteX4473" fmla="*/ 4187957 w 10890933"/>
              <a:gd name="connsiteY4473" fmla="*/ 2901487 h 4167549"/>
              <a:gd name="connsiteX4474" fmla="*/ 4208230 w 10890933"/>
              <a:gd name="connsiteY4474" fmla="*/ 2924556 h 4167549"/>
              <a:gd name="connsiteX4475" fmla="*/ 4173116 w 10890933"/>
              <a:gd name="connsiteY4475" fmla="*/ 2923966 h 4167549"/>
              <a:gd name="connsiteX4476" fmla="*/ 4169297 w 10890933"/>
              <a:gd name="connsiteY4476" fmla="*/ 2905306 h 4167549"/>
              <a:gd name="connsiteX4477" fmla="*/ 4187957 w 10890933"/>
              <a:gd name="connsiteY4477" fmla="*/ 2901487 h 4167549"/>
              <a:gd name="connsiteX4478" fmla="*/ 7089255 w 10890933"/>
              <a:gd name="connsiteY4478" fmla="*/ 2901119 h 4167549"/>
              <a:gd name="connsiteX4479" fmla="*/ 7103285 w 10890933"/>
              <a:gd name="connsiteY4479" fmla="*/ 2914577 h 4167549"/>
              <a:gd name="connsiteX4480" fmla="*/ 7084405 w 10890933"/>
              <a:gd name="connsiteY4480" fmla="*/ 2919220 h 4167549"/>
              <a:gd name="connsiteX4481" fmla="*/ 5762390 w 10890933"/>
              <a:gd name="connsiteY4481" fmla="*/ 2900080 h 4167549"/>
              <a:gd name="connsiteX4482" fmla="*/ 5770618 w 10890933"/>
              <a:gd name="connsiteY4482" fmla="*/ 2902285 h 4167549"/>
              <a:gd name="connsiteX4483" fmla="*/ 5767862 w 10890933"/>
              <a:gd name="connsiteY4483" fmla="*/ 2912570 h 4167549"/>
              <a:gd name="connsiteX4484" fmla="*/ 5752776 w 10890933"/>
              <a:gd name="connsiteY4484" fmla="*/ 2911283 h 4167549"/>
              <a:gd name="connsiteX4485" fmla="*/ 5753237 w 10890933"/>
              <a:gd name="connsiteY4485" fmla="*/ 2906812 h 4167549"/>
              <a:gd name="connsiteX4486" fmla="*/ 7921089 w 10890933"/>
              <a:gd name="connsiteY4486" fmla="*/ 2898459 h 4167549"/>
              <a:gd name="connsiteX4487" fmla="*/ 7925073 w 10890933"/>
              <a:gd name="connsiteY4487" fmla="*/ 2900046 h 4167549"/>
              <a:gd name="connsiteX4488" fmla="*/ 7938437 w 10890933"/>
              <a:gd name="connsiteY4488" fmla="*/ 2907759 h 4167549"/>
              <a:gd name="connsiteX4489" fmla="*/ 7921982 w 10890933"/>
              <a:gd name="connsiteY4489" fmla="*/ 2903350 h 4167549"/>
              <a:gd name="connsiteX4490" fmla="*/ 7921089 w 10890933"/>
              <a:gd name="connsiteY4490" fmla="*/ 2898459 h 4167549"/>
              <a:gd name="connsiteX4491" fmla="*/ 8735746 w 10890933"/>
              <a:gd name="connsiteY4491" fmla="*/ 2898187 h 4167549"/>
              <a:gd name="connsiteX4492" fmla="*/ 8754045 w 10890933"/>
              <a:gd name="connsiteY4492" fmla="*/ 2908050 h 4167549"/>
              <a:gd name="connsiteX4493" fmla="*/ 8721135 w 10890933"/>
              <a:gd name="connsiteY4493" fmla="*/ 2899232 h 4167549"/>
              <a:gd name="connsiteX4494" fmla="*/ 8735746 w 10890933"/>
              <a:gd name="connsiteY4494" fmla="*/ 2898187 h 4167549"/>
              <a:gd name="connsiteX4495" fmla="*/ 5754163 w 10890933"/>
              <a:gd name="connsiteY4495" fmla="*/ 2897876 h 4167549"/>
              <a:gd name="connsiteX4496" fmla="*/ 5753237 w 10890933"/>
              <a:gd name="connsiteY4496" fmla="*/ 2906812 h 4167549"/>
              <a:gd name="connsiteX4497" fmla="*/ 5751407 w 10890933"/>
              <a:gd name="connsiteY4497" fmla="*/ 2908161 h 4167549"/>
              <a:gd name="connsiteX4498" fmla="*/ 5754163 w 10890933"/>
              <a:gd name="connsiteY4498" fmla="*/ 2897876 h 4167549"/>
              <a:gd name="connsiteX4499" fmla="*/ 3694078 w 10890933"/>
              <a:gd name="connsiteY4499" fmla="*/ 2897016 h 4167549"/>
              <a:gd name="connsiteX4500" fmla="*/ 3709318 w 10890933"/>
              <a:gd name="connsiteY4500" fmla="*/ 2910654 h 4167549"/>
              <a:gd name="connsiteX4501" fmla="*/ 3640446 w 10890933"/>
              <a:gd name="connsiteY4501" fmla="*/ 2920860 h 4167549"/>
              <a:gd name="connsiteX4502" fmla="*/ 3674058 w 10890933"/>
              <a:gd name="connsiteY4502" fmla="*/ 2901206 h 4167549"/>
              <a:gd name="connsiteX4503" fmla="*/ 3694078 w 10890933"/>
              <a:gd name="connsiteY4503" fmla="*/ 2897016 h 4167549"/>
              <a:gd name="connsiteX4504" fmla="*/ 6315190 w 10890933"/>
              <a:gd name="connsiteY4504" fmla="*/ 2893882 h 4167549"/>
              <a:gd name="connsiteX4505" fmla="*/ 6339872 w 10890933"/>
              <a:gd name="connsiteY4505" fmla="*/ 2900495 h 4167549"/>
              <a:gd name="connsiteX4506" fmla="*/ 6315190 w 10890933"/>
              <a:gd name="connsiteY4506" fmla="*/ 2893882 h 4167549"/>
              <a:gd name="connsiteX4507" fmla="*/ 7914992 w 10890933"/>
              <a:gd name="connsiteY4507" fmla="*/ 2891921 h 4167549"/>
              <a:gd name="connsiteX4508" fmla="*/ 7921534 w 10890933"/>
              <a:gd name="connsiteY4508" fmla="*/ 2893674 h 4167549"/>
              <a:gd name="connsiteX4509" fmla="*/ 7914993 w 10890933"/>
              <a:gd name="connsiteY4509" fmla="*/ 2891921 h 4167549"/>
              <a:gd name="connsiteX4510" fmla="*/ 5690227 w 10890933"/>
              <a:gd name="connsiteY4510" fmla="*/ 2891709 h 4167549"/>
              <a:gd name="connsiteX4511" fmla="*/ 5707312 w 10890933"/>
              <a:gd name="connsiteY4511" fmla="*/ 2896287 h 4167549"/>
              <a:gd name="connsiteX4512" fmla="*/ 5690227 w 10890933"/>
              <a:gd name="connsiteY4512" fmla="*/ 2891709 h 4167549"/>
              <a:gd name="connsiteX4513" fmla="*/ 888855 w 10890933"/>
              <a:gd name="connsiteY4513" fmla="*/ 2890982 h 4167549"/>
              <a:gd name="connsiteX4514" fmla="*/ 882331 w 10890933"/>
              <a:gd name="connsiteY4514" fmla="*/ 2896111 h 4167549"/>
              <a:gd name="connsiteX4515" fmla="*/ 884544 w 10890933"/>
              <a:gd name="connsiteY4515" fmla="*/ 2892120 h 4167549"/>
              <a:gd name="connsiteX4516" fmla="*/ 5849369 w 10890933"/>
              <a:gd name="connsiteY4516" fmla="*/ 2888111 h 4167549"/>
              <a:gd name="connsiteX4517" fmla="*/ 5861415 w 10890933"/>
              <a:gd name="connsiteY4517" fmla="*/ 2908975 h 4167549"/>
              <a:gd name="connsiteX4518" fmla="*/ 5850984 w 10890933"/>
              <a:gd name="connsiteY4518" fmla="*/ 2914998 h 4167549"/>
              <a:gd name="connsiteX4519" fmla="*/ 5838937 w 10890933"/>
              <a:gd name="connsiteY4519" fmla="*/ 2894133 h 4167549"/>
              <a:gd name="connsiteX4520" fmla="*/ 5849369 w 10890933"/>
              <a:gd name="connsiteY4520" fmla="*/ 2888111 h 4167549"/>
              <a:gd name="connsiteX4521" fmla="*/ 5876257 w 10890933"/>
              <a:gd name="connsiteY4521" fmla="*/ 2886497 h 4167549"/>
              <a:gd name="connsiteX4522" fmla="*/ 5886098 w 10890933"/>
              <a:gd name="connsiteY4522" fmla="*/ 2915588 h 4167549"/>
              <a:gd name="connsiteX4523" fmla="*/ 5875666 w 10890933"/>
              <a:gd name="connsiteY4523" fmla="*/ 2921611 h 4167549"/>
              <a:gd name="connsiteX4524" fmla="*/ 5863620 w 10890933"/>
              <a:gd name="connsiteY4524" fmla="*/ 2900747 h 4167549"/>
              <a:gd name="connsiteX4525" fmla="*/ 5876257 w 10890933"/>
              <a:gd name="connsiteY4525" fmla="*/ 2886497 h 4167549"/>
              <a:gd name="connsiteX4526" fmla="*/ 3780331 w 10890933"/>
              <a:gd name="connsiteY4526" fmla="*/ 2884855 h 4167549"/>
              <a:gd name="connsiteX4527" fmla="*/ 3775646 w 10890933"/>
              <a:gd name="connsiteY4527" fmla="*/ 2902338 h 4167549"/>
              <a:gd name="connsiteX4528" fmla="*/ 3773304 w 10890933"/>
              <a:gd name="connsiteY4528" fmla="*/ 2911079 h 4167549"/>
              <a:gd name="connsiteX4529" fmla="*/ 3747673 w 10890933"/>
              <a:gd name="connsiteY4529" fmla="*/ 2904211 h 4167549"/>
              <a:gd name="connsiteX4530" fmla="*/ 3742988 w 10890933"/>
              <a:gd name="connsiteY4530" fmla="*/ 2921695 h 4167549"/>
              <a:gd name="connsiteX4531" fmla="*/ 3802797 w 10890933"/>
              <a:gd name="connsiteY4531" fmla="*/ 2937721 h 4167549"/>
              <a:gd name="connsiteX4532" fmla="*/ 3805139 w 10890933"/>
              <a:gd name="connsiteY4532" fmla="*/ 2928980 h 4167549"/>
              <a:gd name="connsiteX4533" fmla="*/ 3824569 w 10890933"/>
              <a:gd name="connsiteY4533" fmla="*/ 2924815 h 4167549"/>
              <a:gd name="connsiteX4534" fmla="*/ 3789568 w 10890933"/>
              <a:gd name="connsiteY4534" fmla="*/ 2952915 h 4167549"/>
              <a:gd name="connsiteX4535" fmla="*/ 3735962 w 10890933"/>
              <a:gd name="connsiteY4535" fmla="*/ 2947922 h 4167549"/>
              <a:gd name="connsiteX4536" fmla="*/ 3729760 w 10890933"/>
              <a:gd name="connsiteY4536" fmla="*/ 2936890 h 4167549"/>
              <a:gd name="connsiteX4537" fmla="*/ 3711153 w 10890933"/>
              <a:gd name="connsiteY4537" fmla="*/ 2903797 h 4167549"/>
              <a:gd name="connsiteX4538" fmla="*/ 3780331 w 10890933"/>
              <a:gd name="connsiteY4538" fmla="*/ 2884855 h 4167549"/>
              <a:gd name="connsiteX4539" fmla="*/ 5664601 w 10890933"/>
              <a:gd name="connsiteY4539" fmla="*/ 2884843 h 4167549"/>
              <a:gd name="connsiteX4540" fmla="*/ 5690227 w 10890933"/>
              <a:gd name="connsiteY4540" fmla="*/ 2891709 h 4167549"/>
              <a:gd name="connsiteX4541" fmla="*/ 5681945 w 10890933"/>
              <a:gd name="connsiteY4541" fmla="*/ 2905535 h 4167549"/>
              <a:gd name="connsiteX4542" fmla="*/ 5668733 w 10890933"/>
              <a:gd name="connsiteY4542" fmla="*/ 2902986 h 4167549"/>
              <a:gd name="connsiteX4543" fmla="*/ 5669782 w 10890933"/>
              <a:gd name="connsiteY4543" fmla="*/ 2895399 h 4167549"/>
              <a:gd name="connsiteX4544" fmla="*/ 5664601 w 10890933"/>
              <a:gd name="connsiteY4544" fmla="*/ 2884843 h 4167549"/>
              <a:gd name="connsiteX4545" fmla="*/ 5831546 w 10890933"/>
              <a:gd name="connsiteY4545" fmla="*/ 2883337 h 4167549"/>
              <a:gd name="connsiteX4546" fmla="*/ 5838939 w 10890933"/>
              <a:gd name="connsiteY4546" fmla="*/ 2894137 h 4167549"/>
              <a:gd name="connsiteX4547" fmla="*/ 5836735 w 10890933"/>
              <a:gd name="connsiteY4547" fmla="*/ 2902364 h 4167549"/>
              <a:gd name="connsiteX4548" fmla="*/ 5807937 w 10890933"/>
              <a:gd name="connsiteY4548" fmla="*/ 2894648 h 4167549"/>
              <a:gd name="connsiteX4549" fmla="*/ 5831546 w 10890933"/>
              <a:gd name="connsiteY4549" fmla="*/ 2883337 h 4167549"/>
              <a:gd name="connsiteX4550" fmla="*/ 5958563 w 10890933"/>
              <a:gd name="connsiteY4550" fmla="*/ 2882098 h 4167549"/>
              <a:gd name="connsiteX4551" fmla="*/ 5983510 w 10890933"/>
              <a:gd name="connsiteY4551" fmla="*/ 2897601 h 4167549"/>
              <a:gd name="connsiteX4552" fmla="*/ 5981306 w 10890933"/>
              <a:gd name="connsiteY4552" fmla="*/ 2905829 h 4167549"/>
              <a:gd name="connsiteX4553" fmla="*/ 5972257 w 10890933"/>
              <a:gd name="connsiteY4553" fmla="*/ 2903404 h 4167549"/>
              <a:gd name="connsiteX4554" fmla="*/ 5968110 w 10890933"/>
              <a:gd name="connsiteY4554" fmla="*/ 2901218 h 4167549"/>
              <a:gd name="connsiteX4555" fmla="*/ 5965410 w 10890933"/>
              <a:gd name="connsiteY4555" fmla="*/ 2892751 h 4167549"/>
              <a:gd name="connsiteX4556" fmla="*/ 5968008 w 10890933"/>
              <a:gd name="connsiteY4556" fmla="*/ 2901163 h 4167549"/>
              <a:gd name="connsiteX4557" fmla="*/ 5968110 w 10890933"/>
              <a:gd name="connsiteY4557" fmla="*/ 2901218 h 4167549"/>
              <a:gd name="connsiteX4558" fmla="*/ 5970022 w 10890933"/>
              <a:gd name="connsiteY4558" fmla="*/ 2907213 h 4167549"/>
              <a:gd name="connsiteX4559" fmla="*/ 5967848 w 10890933"/>
              <a:gd name="connsiteY4559" fmla="*/ 2919859 h 4167549"/>
              <a:gd name="connsiteX4560" fmla="*/ 5938258 w 10890933"/>
              <a:gd name="connsiteY4560" fmla="*/ 2885476 h 4167549"/>
              <a:gd name="connsiteX4561" fmla="*/ 5958563 w 10890933"/>
              <a:gd name="connsiteY4561" fmla="*/ 2882098 h 4167549"/>
              <a:gd name="connsiteX4562" fmla="*/ 7350561 w 10890933"/>
              <a:gd name="connsiteY4562" fmla="*/ 2880307 h 4167549"/>
              <a:gd name="connsiteX4563" fmla="*/ 7337924 w 10890933"/>
              <a:gd name="connsiteY4563" fmla="*/ 2894557 h 4167549"/>
              <a:gd name="connsiteX4564" fmla="*/ 7321469 w 10890933"/>
              <a:gd name="connsiteY4564" fmla="*/ 2890148 h 4167549"/>
              <a:gd name="connsiteX4565" fmla="*/ 7350561 w 10890933"/>
              <a:gd name="connsiteY4565" fmla="*/ 2880307 h 4167549"/>
              <a:gd name="connsiteX4566" fmla="*/ 8616087 w 10890933"/>
              <a:gd name="connsiteY4566" fmla="*/ 2879903 h 4167549"/>
              <a:gd name="connsiteX4567" fmla="*/ 8634398 w 10890933"/>
              <a:gd name="connsiteY4567" fmla="*/ 2881501 h 4167549"/>
              <a:gd name="connsiteX4568" fmla="*/ 8657225 w 10890933"/>
              <a:gd name="connsiteY4568" fmla="*/ 2890926 h 4167549"/>
              <a:gd name="connsiteX4569" fmla="*/ 8616087 w 10890933"/>
              <a:gd name="connsiteY4569" fmla="*/ 2879903 h 4167549"/>
              <a:gd name="connsiteX4570" fmla="*/ 7112986 w 10890933"/>
              <a:gd name="connsiteY4570" fmla="*/ 2878376 h 4167549"/>
              <a:gd name="connsiteX4571" fmla="*/ 7108136 w 10890933"/>
              <a:gd name="connsiteY4571" fmla="*/ 2896477 h 4167549"/>
              <a:gd name="connsiteX4572" fmla="*/ 7089255 w 10890933"/>
              <a:gd name="connsiteY4572" fmla="*/ 2901119 h 4167549"/>
              <a:gd name="connsiteX4573" fmla="*/ 7094106 w 10890933"/>
              <a:gd name="connsiteY4573" fmla="*/ 2883016 h 4167549"/>
              <a:gd name="connsiteX4574" fmla="*/ 7112986 w 10890933"/>
              <a:gd name="connsiteY4574" fmla="*/ 2878376 h 4167549"/>
              <a:gd name="connsiteX4575" fmla="*/ 6972667 w 10890933"/>
              <a:gd name="connsiteY4575" fmla="*/ 2875501 h 4167549"/>
              <a:gd name="connsiteX4576" fmla="*/ 6984318 w 10890933"/>
              <a:gd name="connsiteY4576" fmla="*/ 2881378 h 4167549"/>
              <a:gd name="connsiteX4577" fmla="*/ 6956880 w 10890933"/>
              <a:gd name="connsiteY4577" fmla="*/ 2885049 h 4167549"/>
              <a:gd name="connsiteX4578" fmla="*/ 6972667 w 10890933"/>
              <a:gd name="connsiteY4578" fmla="*/ 2875501 h 4167549"/>
              <a:gd name="connsiteX4579" fmla="*/ 5732107 w 10890933"/>
              <a:gd name="connsiteY4579" fmla="*/ 2874876 h 4167549"/>
              <a:gd name="connsiteX4580" fmla="*/ 5736474 w 10890933"/>
              <a:gd name="connsiteY4580" fmla="*/ 2894786 h 4167549"/>
              <a:gd name="connsiteX4581" fmla="*/ 5715710 w 10890933"/>
              <a:gd name="connsiteY4581" fmla="*/ 2936071 h 4167549"/>
              <a:gd name="connsiteX4582" fmla="*/ 5706658 w 10890933"/>
              <a:gd name="connsiteY4582" fmla="*/ 2933646 h 4167549"/>
              <a:gd name="connsiteX4583" fmla="*/ 5709322 w 10890933"/>
              <a:gd name="connsiteY4583" fmla="*/ 2887510 h 4167549"/>
              <a:gd name="connsiteX4584" fmla="*/ 5732107 w 10890933"/>
              <a:gd name="connsiteY4584" fmla="*/ 2874876 h 4167549"/>
              <a:gd name="connsiteX4585" fmla="*/ 5649808 w 10890933"/>
              <a:gd name="connsiteY4585" fmla="*/ 2871711 h 4167549"/>
              <a:gd name="connsiteX4586" fmla="*/ 5659185 w 10890933"/>
              <a:gd name="connsiteY4586" fmla="*/ 2887974 h 4167549"/>
              <a:gd name="connsiteX4587" fmla="*/ 5667726 w 10890933"/>
              <a:gd name="connsiteY4587" fmla="*/ 2902794 h 4167549"/>
              <a:gd name="connsiteX4588" fmla="*/ 5651473 w 10890933"/>
              <a:gd name="connsiteY4588" fmla="*/ 2899662 h 4167549"/>
              <a:gd name="connsiteX4589" fmla="*/ 5649808 w 10890933"/>
              <a:gd name="connsiteY4589" fmla="*/ 2871711 h 4167549"/>
              <a:gd name="connsiteX4590" fmla="*/ 490201 w 10890933"/>
              <a:gd name="connsiteY4590" fmla="*/ 2868312 h 4167549"/>
              <a:gd name="connsiteX4591" fmla="*/ 495371 w 10890933"/>
              <a:gd name="connsiteY4591" fmla="*/ 2879521 h 4167549"/>
              <a:gd name="connsiteX4592" fmla="*/ 489798 w 10890933"/>
              <a:gd name="connsiteY4592" fmla="*/ 2891779 h 4167549"/>
              <a:gd name="connsiteX4593" fmla="*/ 771790 w 10890933"/>
              <a:gd name="connsiteY4593" fmla="*/ 2867949 h 4167549"/>
              <a:gd name="connsiteX4594" fmla="*/ 788688 w 10890933"/>
              <a:gd name="connsiteY4594" fmla="*/ 2875081 h 4167549"/>
              <a:gd name="connsiteX4595" fmla="*/ 795881 w 10890933"/>
              <a:gd name="connsiteY4595" fmla="*/ 2875105 h 4167549"/>
              <a:gd name="connsiteX4596" fmla="*/ 799073 w 10890933"/>
              <a:gd name="connsiteY4596" fmla="*/ 2877290 h 4167549"/>
              <a:gd name="connsiteX4597" fmla="*/ 799012 w 10890933"/>
              <a:gd name="connsiteY4597" fmla="*/ 2876850 h 4167549"/>
              <a:gd name="connsiteX4598" fmla="*/ 800961 w 10890933"/>
              <a:gd name="connsiteY4598" fmla="*/ 2883868 h 4167549"/>
              <a:gd name="connsiteX4599" fmla="*/ 805129 w 10890933"/>
              <a:gd name="connsiteY4599" fmla="*/ 2886142 h 4167549"/>
              <a:gd name="connsiteX4600" fmla="*/ 786956 w 10890933"/>
              <a:gd name="connsiteY4600" fmla="*/ 2918310 h 4167549"/>
              <a:gd name="connsiteX4601" fmla="*/ 791241 w 10890933"/>
              <a:gd name="connsiteY4601" fmla="*/ 2937974 h 4167549"/>
              <a:gd name="connsiteX4602" fmla="*/ 778044 w 10890933"/>
              <a:gd name="connsiteY4602" fmla="*/ 2915922 h 4167549"/>
              <a:gd name="connsiteX4603" fmla="*/ 775729 w 10890933"/>
              <a:gd name="connsiteY4603" fmla="*/ 2924561 h 4167549"/>
              <a:gd name="connsiteX4604" fmla="*/ 759871 w 10890933"/>
              <a:gd name="connsiteY4604" fmla="*/ 2948089 h 4167549"/>
              <a:gd name="connsiteX4605" fmla="*/ 748989 w 10890933"/>
              <a:gd name="connsiteY4605" fmla="*/ 2917396 h 4167549"/>
              <a:gd name="connsiteX4606" fmla="*/ 762531 w 10890933"/>
              <a:gd name="connsiteY4606" fmla="*/ 2902505 h 4167549"/>
              <a:gd name="connsiteX4607" fmla="*/ 758249 w 10890933"/>
              <a:gd name="connsiteY4607" fmla="*/ 2882838 h 4167549"/>
              <a:gd name="connsiteX4608" fmla="*/ 771790 w 10890933"/>
              <a:gd name="connsiteY4608" fmla="*/ 2867949 h 4167549"/>
              <a:gd name="connsiteX4609" fmla="*/ 488133 w 10890933"/>
              <a:gd name="connsiteY4609" fmla="*/ 2863828 h 4167549"/>
              <a:gd name="connsiteX4610" fmla="*/ 490246 w 10890933"/>
              <a:gd name="connsiteY4610" fmla="*/ 2865706 h 4167549"/>
              <a:gd name="connsiteX4611" fmla="*/ 490201 w 10890933"/>
              <a:gd name="connsiteY4611" fmla="*/ 2868312 h 4167549"/>
              <a:gd name="connsiteX4612" fmla="*/ 7094383 w 10890933"/>
              <a:gd name="connsiteY4612" fmla="*/ 2863471 h 4167549"/>
              <a:gd name="connsiteX4613" fmla="*/ 7096531 w 10890933"/>
              <a:gd name="connsiteY4613" fmla="*/ 2873967 h 4167549"/>
              <a:gd name="connsiteX4614" fmla="*/ 7090508 w 10890933"/>
              <a:gd name="connsiteY4614" fmla="*/ 2863535 h 4167549"/>
              <a:gd name="connsiteX4615" fmla="*/ 7094383 w 10890933"/>
              <a:gd name="connsiteY4615" fmla="*/ 2863471 h 4167549"/>
              <a:gd name="connsiteX4616" fmla="*/ 6055433 w 10890933"/>
              <a:gd name="connsiteY4616" fmla="*/ 2859553 h 4167549"/>
              <a:gd name="connsiteX4617" fmla="*/ 6061089 w 10890933"/>
              <a:gd name="connsiteY4617" fmla="*/ 2871356 h 4167549"/>
              <a:gd name="connsiteX4618" fmla="*/ 6055433 w 10890933"/>
              <a:gd name="connsiteY4618" fmla="*/ 2859553 h 4167549"/>
              <a:gd name="connsiteX4619" fmla="*/ 6047206 w 10890933"/>
              <a:gd name="connsiteY4619" fmla="*/ 2857349 h 4167549"/>
              <a:gd name="connsiteX4620" fmla="*/ 6055433 w 10890933"/>
              <a:gd name="connsiteY4620" fmla="*/ 2859553 h 4167549"/>
              <a:gd name="connsiteX4621" fmla="*/ 6042061 w 10890933"/>
              <a:gd name="connsiteY4621" fmla="*/ 2876548 h 4167549"/>
              <a:gd name="connsiteX4622" fmla="*/ 6047206 w 10890933"/>
              <a:gd name="connsiteY4622" fmla="*/ 2857349 h 4167549"/>
              <a:gd name="connsiteX4623" fmla="*/ 5765184 w 10890933"/>
              <a:gd name="connsiteY4623" fmla="*/ 2856735 h 4167549"/>
              <a:gd name="connsiteX4624" fmla="*/ 5762979 w 10890933"/>
              <a:gd name="connsiteY4624" fmla="*/ 2864962 h 4167549"/>
              <a:gd name="connsiteX4625" fmla="*/ 5758570 w 10890933"/>
              <a:gd name="connsiteY4625" fmla="*/ 2881417 h 4167549"/>
              <a:gd name="connsiteX4626" fmla="*/ 5744319 w 10890933"/>
              <a:gd name="connsiteY4626" fmla="*/ 2868781 h 4167549"/>
              <a:gd name="connsiteX4627" fmla="*/ 5746524 w 10890933"/>
              <a:gd name="connsiteY4627" fmla="*/ 2860553 h 4167549"/>
              <a:gd name="connsiteX4628" fmla="*/ 5765184 w 10890933"/>
              <a:gd name="connsiteY4628" fmla="*/ 2856735 h 4167549"/>
              <a:gd name="connsiteX4629" fmla="*/ 8262620 w 10890933"/>
              <a:gd name="connsiteY4629" fmla="*/ 2855737 h 4167549"/>
              <a:gd name="connsiteX4630" fmla="*/ 8322830 w 10890933"/>
              <a:gd name="connsiteY4630" fmla="*/ 2871871 h 4167549"/>
              <a:gd name="connsiteX4631" fmla="*/ 8269016 w 10890933"/>
              <a:gd name="connsiteY4631" fmla="*/ 2866270 h 4167549"/>
              <a:gd name="connsiteX4632" fmla="*/ 8234611 w 10890933"/>
              <a:gd name="connsiteY4632" fmla="*/ 2857051 h 4167549"/>
              <a:gd name="connsiteX4633" fmla="*/ 8262620 w 10890933"/>
              <a:gd name="connsiteY4633" fmla="*/ 2855737 h 4167549"/>
              <a:gd name="connsiteX4634" fmla="*/ 6004518 w 10890933"/>
              <a:gd name="connsiteY4634" fmla="*/ 2852110 h 4167549"/>
              <a:gd name="connsiteX4635" fmla="*/ 6011815 w 10890933"/>
              <a:gd name="connsiteY4635" fmla="*/ 2857787 h 4167549"/>
              <a:gd name="connsiteX4636" fmla="*/ 6006855 w 10890933"/>
              <a:gd name="connsiteY4636" fmla="*/ 2876299 h 4167549"/>
              <a:gd name="connsiteX4637" fmla="*/ 5979692 w 10890933"/>
              <a:gd name="connsiteY4637" fmla="*/ 2878942 h 4167549"/>
              <a:gd name="connsiteX4638" fmla="*/ 5990400 w 10890933"/>
              <a:gd name="connsiteY4638" fmla="*/ 2871890 h 4167549"/>
              <a:gd name="connsiteX4639" fmla="*/ 6001108 w 10890933"/>
              <a:gd name="connsiteY4639" fmla="*/ 2864838 h 4167549"/>
              <a:gd name="connsiteX4640" fmla="*/ 5995360 w 10890933"/>
              <a:gd name="connsiteY4640" fmla="*/ 2853377 h 4167549"/>
              <a:gd name="connsiteX4641" fmla="*/ 6004518 w 10890933"/>
              <a:gd name="connsiteY4641" fmla="*/ 2852110 h 4167549"/>
              <a:gd name="connsiteX4642" fmla="*/ 6635119 w 10890933"/>
              <a:gd name="connsiteY4642" fmla="*/ 2851743 h 4167549"/>
              <a:gd name="connsiteX4643" fmla="*/ 6630710 w 10890933"/>
              <a:gd name="connsiteY4643" fmla="*/ 2868199 h 4167549"/>
              <a:gd name="connsiteX4644" fmla="*/ 6608232 w 10890933"/>
              <a:gd name="connsiteY4644" fmla="*/ 2853357 h 4167549"/>
              <a:gd name="connsiteX4645" fmla="*/ 6635119 w 10890933"/>
              <a:gd name="connsiteY4645" fmla="*/ 2851743 h 4167549"/>
              <a:gd name="connsiteX4646" fmla="*/ 5609387 w 10890933"/>
              <a:gd name="connsiteY4646" fmla="*/ 2851712 h 4167549"/>
              <a:gd name="connsiteX4647" fmla="*/ 5607095 w 10890933"/>
              <a:gd name="connsiteY4647" fmla="*/ 2860266 h 4167549"/>
              <a:gd name="connsiteX4648" fmla="*/ 5603970 w 10890933"/>
              <a:gd name="connsiteY4648" fmla="*/ 2854846 h 4167549"/>
              <a:gd name="connsiteX4649" fmla="*/ 7424394 w 10890933"/>
              <a:gd name="connsiteY4649" fmla="*/ 2851591 h 4167549"/>
              <a:gd name="connsiteX4650" fmla="*/ 7437563 w 10890933"/>
              <a:gd name="connsiteY4650" fmla="*/ 2851812 h 4167549"/>
              <a:gd name="connsiteX4651" fmla="*/ 7449076 w 10890933"/>
              <a:gd name="connsiteY4651" fmla="*/ 2858205 h 4167549"/>
              <a:gd name="connsiteX4652" fmla="*/ 7424394 w 10890933"/>
              <a:gd name="connsiteY4652" fmla="*/ 2851591 h 4167549"/>
              <a:gd name="connsiteX4653" fmla="*/ 6187127 w 10890933"/>
              <a:gd name="connsiteY4653" fmla="*/ 2850749 h 4167549"/>
              <a:gd name="connsiteX4654" fmla="*/ 6192316 w 10890933"/>
              <a:gd name="connsiteY4654" fmla="*/ 2869776 h 4167549"/>
              <a:gd name="connsiteX4655" fmla="*/ 6182718 w 10890933"/>
              <a:gd name="connsiteY4655" fmla="*/ 2867204 h 4167549"/>
              <a:gd name="connsiteX4656" fmla="*/ 6187127 w 10890933"/>
              <a:gd name="connsiteY4656" fmla="*/ 2850749 h 4167549"/>
              <a:gd name="connsiteX4657" fmla="*/ 7103144 w 10890933"/>
              <a:gd name="connsiteY4657" fmla="*/ 2849285 h 4167549"/>
              <a:gd name="connsiteX4658" fmla="*/ 7133850 w 10890933"/>
              <a:gd name="connsiteY4658" fmla="*/ 2866330 h 4167549"/>
              <a:gd name="connsiteX4659" fmla="*/ 7123418 w 10890933"/>
              <a:gd name="connsiteY4659" fmla="*/ 2872353 h 4167549"/>
              <a:gd name="connsiteX4660" fmla="*/ 7117395 w 10890933"/>
              <a:gd name="connsiteY4660" fmla="*/ 2861921 h 4167549"/>
              <a:gd name="connsiteX4661" fmla="*/ 7106963 w 10890933"/>
              <a:gd name="connsiteY4661" fmla="*/ 2867944 h 4167549"/>
              <a:gd name="connsiteX4662" fmla="*/ 7103144 w 10890933"/>
              <a:gd name="connsiteY4662" fmla="*/ 2849285 h 4167549"/>
              <a:gd name="connsiteX4663" fmla="*/ 6115524 w 10890933"/>
              <a:gd name="connsiteY4663" fmla="*/ 2849200 h 4167549"/>
              <a:gd name="connsiteX4664" fmla="*/ 6117138 w 10890933"/>
              <a:gd name="connsiteY4664" fmla="*/ 2876087 h 4167549"/>
              <a:gd name="connsiteX4665" fmla="*/ 6115524 w 10890933"/>
              <a:gd name="connsiteY4665" fmla="*/ 2849200 h 4167549"/>
              <a:gd name="connsiteX4666" fmla="*/ 5895507 w 10890933"/>
              <a:gd name="connsiteY4666" fmla="*/ 2847563 h 4167549"/>
              <a:gd name="connsiteX4667" fmla="*/ 5896136 w 10890933"/>
              <a:gd name="connsiteY4667" fmla="*/ 2855289 h 4167549"/>
              <a:gd name="connsiteX4668" fmla="*/ 5893302 w 10890933"/>
              <a:gd name="connsiteY4668" fmla="*/ 2855791 h 4167549"/>
              <a:gd name="connsiteX4669" fmla="*/ 5894405 w 10890933"/>
              <a:gd name="connsiteY4669" fmla="*/ 2849157 h 4167549"/>
              <a:gd name="connsiteX4670" fmla="*/ 5657931 w 10890933"/>
              <a:gd name="connsiteY4670" fmla="*/ 2845636 h 4167549"/>
              <a:gd name="connsiteX4671" fmla="*/ 5658192 w 10890933"/>
              <a:gd name="connsiteY4671" fmla="*/ 2850357 h 4167549"/>
              <a:gd name="connsiteX4672" fmla="*/ 5657857 w 10890933"/>
              <a:gd name="connsiteY4672" fmla="*/ 2850025 h 4167549"/>
              <a:gd name="connsiteX4673" fmla="*/ 5657931 w 10890933"/>
              <a:gd name="connsiteY4673" fmla="*/ 2845636 h 4167549"/>
              <a:gd name="connsiteX4674" fmla="*/ 5691226 w 10890933"/>
              <a:gd name="connsiteY4674" fmla="*/ 2845601 h 4167549"/>
              <a:gd name="connsiteX4675" fmla="*/ 5740503 w 10890933"/>
              <a:gd name="connsiteY4675" fmla="*/ 2850124 h 4167549"/>
              <a:gd name="connsiteX4676" fmla="*/ 5727278 w 10890933"/>
              <a:gd name="connsiteY4676" fmla="*/ 2864217 h 4167549"/>
              <a:gd name="connsiteX4677" fmla="*/ 5692018 w 10890933"/>
              <a:gd name="connsiteY4677" fmla="*/ 2854769 h 4167549"/>
              <a:gd name="connsiteX4678" fmla="*/ 5691226 w 10890933"/>
              <a:gd name="connsiteY4678" fmla="*/ 2845601 h 4167549"/>
              <a:gd name="connsiteX4679" fmla="*/ 6068070 w 10890933"/>
              <a:gd name="connsiteY4679" fmla="*/ 2845303 h 4167549"/>
              <a:gd name="connsiteX4680" fmla="*/ 6096868 w 10890933"/>
              <a:gd name="connsiteY4680" fmla="*/ 2853019 h 4167549"/>
              <a:gd name="connsiteX4681" fmla="*/ 6072526 w 10890933"/>
              <a:gd name="connsiteY4681" fmla="*/ 2867075 h 4167549"/>
              <a:gd name="connsiteX4682" fmla="*/ 6068070 w 10890933"/>
              <a:gd name="connsiteY4682" fmla="*/ 2845303 h 4167549"/>
              <a:gd name="connsiteX4683" fmla="*/ 7151435 w 10890933"/>
              <a:gd name="connsiteY4683" fmla="*/ 2844588 h 4167549"/>
              <a:gd name="connsiteX4684" fmla="*/ 7152215 w 10890933"/>
              <a:gd name="connsiteY4684" fmla="*/ 2880070 h 4167549"/>
              <a:gd name="connsiteX4685" fmla="*/ 7151435 w 10890933"/>
              <a:gd name="connsiteY4685" fmla="*/ 2844588 h 4167549"/>
              <a:gd name="connsiteX4686" fmla="*/ 5943992 w 10890933"/>
              <a:gd name="connsiteY4686" fmla="*/ 2842919 h 4167549"/>
              <a:gd name="connsiteX4687" fmla="*/ 5930768 w 10890933"/>
              <a:gd name="connsiteY4687" fmla="*/ 2857011 h 4167549"/>
              <a:gd name="connsiteX4688" fmla="*/ 5928563 w 10890933"/>
              <a:gd name="connsiteY4688" fmla="*/ 2865239 h 4167549"/>
              <a:gd name="connsiteX4689" fmla="*/ 5934651 w 10890933"/>
              <a:gd name="connsiteY4689" fmla="*/ 2866029 h 4167549"/>
              <a:gd name="connsiteX4690" fmla="*/ 5936644 w 10890933"/>
              <a:gd name="connsiteY4690" fmla="*/ 2858589 h 4167549"/>
              <a:gd name="connsiteX4691" fmla="*/ 5957214 w 10890933"/>
              <a:gd name="connsiteY4691" fmla="*/ 2864101 h 4167549"/>
              <a:gd name="connsiteX4692" fmla="*/ 5944725 w 10890933"/>
              <a:gd name="connsiteY4692" fmla="*/ 2869572 h 4167549"/>
              <a:gd name="connsiteX4693" fmla="*/ 5945090 w 10890933"/>
              <a:gd name="connsiteY4693" fmla="*/ 2878489 h 4167549"/>
              <a:gd name="connsiteX4694" fmla="*/ 5933339 w 10890933"/>
              <a:gd name="connsiteY4694" fmla="*/ 2882222 h 4167549"/>
              <a:gd name="connsiteX4695" fmla="*/ 5932969 w 10890933"/>
              <a:gd name="connsiteY4695" fmla="*/ 2884056 h 4167549"/>
              <a:gd name="connsiteX4696" fmla="*/ 5931906 w 10890933"/>
              <a:gd name="connsiteY4696" fmla="*/ 2882677 h 4167549"/>
              <a:gd name="connsiteX4697" fmla="*/ 5930030 w 10890933"/>
              <a:gd name="connsiteY4697" fmla="*/ 2883271 h 4167549"/>
              <a:gd name="connsiteX4698" fmla="*/ 5930632 w 10890933"/>
              <a:gd name="connsiteY4698" fmla="*/ 2881025 h 4167549"/>
              <a:gd name="connsiteX4699" fmla="*/ 5923327 w 10890933"/>
              <a:gd name="connsiteY4699" fmla="*/ 2871552 h 4167549"/>
              <a:gd name="connsiteX4700" fmla="*/ 5921952 w 10890933"/>
              <a:gd name="connsiteY4700" fmla="*/ 2854649 h 4167549"/>
              <a:gd name="connsiteX4701" fmla="*/ 5896331 w 10890933"/>
              <a:gd name="connsiteY4701" fmla="*/ 2857705 h 4167549"/>
              <a:gd name="connsiteX4702" fmla="*/ 5896136 w 10890933"/>
              <a:gd name="connsiteY4702" fmla="*/ 2855289 h 4167549"/>
              <a:gd name="connsiteX4703" fmla="*/ 5913136 w 10890933"/>
              <a:gd name="connsiteY4703" fmla="*/ 2852287 h 4167549"/>
              <a:gd name="connsiteX4704" fmla="*/ 5915341 w 10890933"/>
              <a:gd name="connsiteY4704" fmla="*/ 2844060 h 4167549"/>
              <a:gd name="connsiteX4705" fmla="*/ 5943992 w 10890933"/>
              <a:gd name="connsiteY4705" fmla="*/ 2842919 h 4167549"/>
              <a:gd name="connsiteX4706" fmla="*/ 6024728 w 10890933"/>
              <a:gd name="connsiteY4706" fmla="*/ 2842507 h 4167549"/>
              <a:gd name="connsiteX4707" fmla="*/ 6038758 w 10890933"/>
              <a:gd name="connsiteY4707" fmla="*/ 2855966 h 4167549"/>
              <a:gd name="connsiteX4708" fmla="*/ 6020829 w 10890933"/>
              <a:gd name="connsiteY4708" fmla="*/ 2889965 h 4167549"/>
              <a:gd name="connsiteX4709" fmla="*/ 6015028 w 10890933"/>
              <a:gd name="connsiteY4709" fmla="*/ 2878708 h 4167549"/>
              <a:gd name="connsiteX4710" fmla="*/ 6025679 w 10890933"/>
              <a:gd name="connsiteY4710" fmla="*/ 2871864 h 4167549"/>
              <a:gd name="connsiteX4711" fmla="*/ 6024728 w 10890933"/>
              <a:gd name="connsiteY4711" fmla="*/ 2842507 h 4167549"/>
              <a:gd name="connsiteX4712" fmla="*/ 5668363 w 10890933"/>
              <a:gd name="connsiteY4712" fmla="*/ 2839613 h 4167549"/>
              <a:gd name="connsiteX4713" fmla="*/ 5680409 w 10890933"/>
              <a:gd name="connsiteY4713" fmla="*/ 2860477 h 4167549"/>
              <a:gd name="connsiteX4714" fmla="*/ 5658426 w 10890933"/>
              <a:gd name="connsiteY4714" fmla="*/ 2854586 h 4167549"/>
              <a:gd name="connsiteX4715" fmla="*/ 5658192 w 10890933"/>
              <a:gd name="connsiteY4715" fmla="*/ 2850357 h 4167549"/>
              <a:gd name="connsiteX4716" fmla="*/ 5663954 w 10890933"/>
              <a:gd name="connsiteY4716" fmla="*/ 2856068 h 4167549"/>
              <a:gd name="connsiteX4717" fmla="*/ 5668363 w 10890933"/>
              <a:gd name="connsiteY4717" fmla="*/ 2839613 h 4167549"/>
              <a:gd name="connsiteX4718" fmla="*/ 6517420 w 10890933"/>
              <a:gd name="connsiteY4718" fmla="*/ 2837980 h 4167549"/>
              <a:gd name="connsiteX4719" fmla="*/ 6523001 w 10890933"/>
              <a:gd name="connsiteY4719" fmla="*/ 2838236 h 4167549"/>
              <a:gd name="connsiteX4720" fmla="*/ 6525662 w 10890933"/>
              <a:gd name="connsiteY4720" fmla="*/ 2848869 h 4167549"/>
              <a:gd name="connsiteX4721" fmla="*/ 6509207 w 10890933"/>
              <a:gd name="connsiteY4721" fmla="*/ 2844460 h 4167549"/>
              <a:gd name="connsiteX4722" fmla="*/ 6517420 w 10890933"/>
              <a:gd name="connsiteY4722" fmla="*/ 2837980 h 4167549"/>
              <a:gd name="connsiteX4723" fmla="*/ 7601085 w 10890933"/>
              <a:gd name="connsiteY4723" fmla="*/ 2837208 h 4167549"/>
              <a:gd name="connsiteX4724" fmla="*/ 7635081 w 10890933"/>
              <a:gd name="connsiteY4724" fmla="*/ 2855135 h 4167549"/>
              <a:gd name="connsiteX4725" fmla="*/ 7587624 w 10890933"/>
              <a:gd name="connsiteY4725" fmla="*/ 2851237 h 4167549"/>
              <a:gd name="connsiteX4726" fmla="*/ 7601085 w 10890933"/>
              <a:gd name="connsiteY4726" fmla="*/ 2837208 h 4167549"/>
              <a:gd name="connsiteX4727" fmla="*/ 5888896 w 10890933"/>
              <a:gd name="connsiteY4727" fmla="*/ 2836974 h 4167549"/>
              <a:gd name="connsiteX4728" fmla="*/ 5895233 w 10890933"/>
              <a:gd name="connsiteY4728" fmla="*/ 2844182 h 4167549"/>
              <a:gd name="connsiteX4729" fmla="*/ 5894405 w 10890933"/>
              <a:gd name="connsiteY4729" fmla="*/ 2849157 h 4167549"/>
              <a:gd name="connsiteX4730" fmla="*/ 5880078 w 10890933"/>
              <a:gd name="connsiteY4730" fmla="*/ 2869884 h 4167549"/>
              <a:gd name="connsiteX4731" fmla="*/ 5866853 w 10890933"/>
              <a:gd name="connsiteY4731" fmla="*/ 2883977 h 4167549"/>
              <a:gd name="connsiteX4732" fmla="*/ 5850876 w 10890933"/>
              <a:gd name="connsiteY4732" fmla="*/ 2868672 h 4167549"/>
              <a:gd name="connsiteX4733" fmla="*/ 5835739 w 10890933"/>
              <a:gd name="connsiteY4733" fmla="*/ 2865905 h 4167549"/>
              <a:gd name="connsiteX4734" fmla="*/ 5837324 w 10890933"/>
              <a:gd name="connsiteY4734" fmla="*/ 2867246 h 4167549"/>
              <a:gd name="connsiteX4735" fmla="*/ 5832914 w 10890933"/>
              <a:gd name="connsiteY4735" fmla="*/ 2883701 h 4167549"/>
              <a:gd name="connsiteX4736" fmla="*/ 5828583 w 10890933"/>
              <a:gd name="connsiteY4736" fmla="*/ 2864904 h 4167549"/>
              <a:gd name="connsiteX4737" fmla="*/ 5791411 w 10890933"/>
              <a:gd name="connsiteY4737" fmla="*/ 2863762 h 4167549"/>
              <a:gd name="connsiteX4738" fmla="*/ 5804485 w 10890933"/>
              <a:gd name="connsiteY4738" fmla="*/ 2884902 h 4167549"/>
              <a:gd name="connsiteX4739" fmla="*/ 5781557 w 10890933"/>
              <a:gd name="connsiteY4739" fmla="*/ 2869940 h 4167549"/>
              <a:gd name="connsiteX4740" fmla="*/ 5765189 w 10890933"/>
              <a:gd name="connsiteY4740" fmla="*/ 2856736 h 4167549"/>
              <a:gd name="connsiteX4741" fmla="*/ 5765186 w 10890933"/>
              <a:gd name="connsiteY4741" fmla="*/ 2856738 h 4167549"/>
              <a:gd name="connsiteX4742" fmla="*/ 5765186 w 10890933"/>
              <a:gd name="connsiteY4742" fmla="*/ 2856736 h 4167549"/>
              <a:gd name="connsiteX4743" fmla="*/ 5769595 w 10890933"/>
              <a:gd name="connsiteY4743" fmla="*/ 2840283 h 4167549"/>
              <a:gd name="connsiteX4744" fmla="*/ 5786050 w 10890933"/>
              <a:gd name="connsiteY4744" fmla="*/ 2844692 h 4167549"/>
              <a:gd name="connsiteX4745" fmla="*/ 5765192 w 10890933"/>
              <a:gd name="connsiteY4745" fmla="*/ 2856734 h 4167549"/>
              <a:gd name="connsiteX4746" fmla="*/ 5782679 w 10890933"/>
              <a:gd name="connsiteY4746" fmla="*/ 2857012 h 4167549"/>
              <a:gd name="connsiteX4747" fmla="*/ 5793615 w 10890933"/>
              <a:gd name="connsiteY4747" fmla="*/ 2855535 h 4167549"/>
              <a:gd name="connsiteX4748" fmla="*/ 5802356 w 10890933"/>
              <a:gd name="connsiteY4748" fmla="*/ 2857877 h 4167549"/>
              <a:gd name="connsiteX4749" fmla="*/ 5822044 w 10890933"/>
              <a:gd name="connsiteY4749" fmla="*/ 2854334 h 4167549"/>
              <a:gd name="connsiteX4750" fmla="*/ 5827817 w 10890933"/>
              <a:gd name="connsiteY4750" fmla="*/ 2859211 h 4167549"/>
              <a:gd name="connsiteX4751" fmla="*/ 5833522 w 10890933"/>
              <a:gd name="connsiteY4751" fmla="*/ 2849694 h 4167549"/>
              <a:gd name="connsiteX4752" fmla="*/ 5840410 w 10890933"/>
              <a:gd name="connsiteY4752" fmla="*/ 2841619 h 4167549"/>
              <a:gd name="connsiteX4753" fmla="*/ 5888896 w 10890933"/>
              <a:gd name="connsiteY4753" fmla="*/ 2836974 h 4167549"/>
              <a:gd name="connsiteX4754" fmla="*/ 811031 w 10890933"/>
              <a:gd name="connsiteY4754" fmla="*/ 2832662 h 4167549"/>
              <a:gd name="connsiteX4755" fmla="*/ 820098 w 10890933"/>
              <a:gd name="connsiteY4755" fmla="*/ 2833025 h 4167549"/>
              <a:gd name="connsiteX4756" fmla="*/ 815374 w 10890933"/>
              <a:gd name="connsiteY4756" fmla="*/ 2850654 h 4167549"/>
              <a:gd name="connsiteX4757" fmla="*/ 810650 w 10890933"/>
              <a:gd name="connsiteY4757" fmla="*/ 2868286 h 4167549"/>
              <a:gd name="connsiteX4758" fmla="*/ 805773 w 10890933"/>
              <a:gd name="connsiteY4758" fmla="*/ 2848082 h 4167549"/>
              <a:gd name="connsiteX4759" fmla="*/ 791451 w 10890933"/>
              <a:gd name="connsiteY4759" fmla="*/ 2863141 h 4167549"/>
              <a:gd name="connsiteX4760" fmla="*/ 798687 w 10890933"/>
              <a:gd name="connsiteY4760" fmla="*/ 2874529 h 4167549"/>
              <a:gd name="connsiteX4761" fmla="*/ 799012 w 10890933"/>
              <a:gd name="connsiteY4761" fmla="*/ 2876850 h 4167549"/>
              <a:gd name="connsiteX4762" fmla="*/ 798530 w 10890933"/>
              <a:gd name="connsiteY4762" fmla="*/ 2875114 h 4167549"/>
              <a:gd name="connsiteX4763" fmla="*/ 795881 w 10890933"/>
              <a:gd name="connsiteY4763" fmla="*/ 2875105 h 4167549"/>
              <a:gd name="connsiteX4764" fmla="*/ 792689 w 10890933"/>
              <a:gd name="connsiteY4764" fmla="*/ 2872922 h 4167549"/>
              <a:gd name="connsiteX4765" fmla="*/ 779490 w 10890933"/>
              <a:gd name="connsiteY4765" fmla="*/ 2869385 h 4167549"/>
              <a:gd name="connsiteX4766" fmla="*/ 811031 w 10890933"/>
              <a:gd name="connsiteY4766" fmla="*/ 2832662 h 4167549"/>
              <a:gd name="connsiteX4767" fmla="*/ 6459842 w 10890933"/>
              <a:gd name="connsiteY4767" fmla="*/ 2831233 h 4167549"/>
              <a:gd name="connsiteX4768" fmla="*/ 6465865 w 10890933"/>
              <a:gd name="connsiteY4768" fmla="*/ 2841665 h 4167549"/>
              <a:gd name="connsiteX4769" fmla="*/ 6474093 w 10890933"/>
              <a:gd name="connsiteY4769" fmla="*/ 2843870 h 4167549"/>
              <a:gd name="connsiteX4770" fmla="*/ 6455433 w 10890933"/>
              <a:gd name="connsiteY4770" fmla="*/ 2847688 h 4167549"/>
              <a:gd name="connsiteX4771" fmla="*/ 6459842 w 10890933"/>
              <a:gd name="connsiteY4771" fmla="*/ 2831233 h 4167549"/>
              <a:gd name="connsiteX4772" fmla="*/ 6146821 w 10890933"/>
              <a:gd name="connsiteY4772" fmla="*/ 2831131 h 4167549"/>
              <a:gd name="connsiteX4773" fmla="*/ 6148434 w 10890933"/>
              <a:gd name="connsiteY4773" fmla="*/ 2858018 h 4167549"/>
              <a:gd name="connsiteX4774" fmla="*/ 6146821 w 10890933"/>
              <a:gd name="connsiteY4774" fmla="*/ 2831131 h 4167549"/>
              <a:gd name="connsiteX4775" fmla="*/ 6487056 w 10890933"/>
              <a:gd name="connsiteY4775" fmla="*/ 2827361 h 4167549"/>
              <a:gd name="connsiteX4776" fmla="*/ 6494955 w 10890933"/>
              <a:gd name="connsiteY4776" fmla="*/ 2831820 h 4167549"/>
              <a:gd name="connsiteX4777" fmla="*/ 6498773 w 10890933"/>
              <a:gd name="connsiteY4777" fmla="*/ 2850480 h 4167549"/>
              <a:gd name="connsiteX4778" fmla="*/ 6474091 w 10890933"/>
              <a:gd name="connsiteY4778" fmla="*/ 2843866 h 4167549"/>
              <a:gd name="connsiteX4779" fmla="*/ 6468068 w 10890933"/>
              <a:gd name="connsiteY4779" fmla="*/ 2833434 h 4167549"/>
              <a:gd name="connsiteX4780" fmla="*/ 6487056 w 10890933"/>
              <a:gd name="connsiteY4780" fmla="*/ 2827361 h 4167549"/>
              <a:gd name="connsiteX4781" fmla="*/ 7082871 w 10890933"/>
              <a:gd name="connsiteY4781" fmla="*/ 2826216 h 4167549"/>
              <a:gd name="connsiteX4782" fmla="*/ 7105349 w 10890933"/>
              <a:gd name="connsiteY4782" fmla="*/ 2841057 h 4167549"/>
              <a:gd name="connsiteX4783" fmla="*/ 7078462 w 10890933"/>
              <a:gd name="connsiteY4783" fmla="*/ 2842671 h 4167549"/>
              <a:gd name="connsiteX4784" fmla="*/ 7082871 w 10890933"/>
              <a:gd name="connsiteY4784" fmla="*/ 2826216 h 4167549"/>
              <a:gd name="connsiteX4785" fmla="*/ 5645885 w 10890933"/>
              <a:gd name="connsiteY4785" fmla="*/ 2824771 h 4167549"/>
              <a:gd name="connsiteX4786" fmla="*/ 5649703 w 10890933"/>
              <a:gd name="connsiteY4786" fmla="*/ 2843431 h 4167549"/>
              <a:gd name="connsiteX4787" fmla="*/ 5645885 w 10890933"/>
              <a:gd name="connsiteY4787" fmla="*/ 2824771 h 4167549"/>
              <a:gd name="connsiteX4788" fmla="*/ 6424191 w 10890933"/>
              <a:gd name="connsiteY4788" fmla="*/ 2821677 h 4167549"/>
              <a:gd name="connsiteX4789" fmla="*/ 6419341 w 10890933"/>
              <a:gd name="connsiteY4789" fmla="*/ 2839778 h 4167549"/>
              <a:gd name="connsiteX4790" fmla="*/ 6430678 w 10890933"/>
              <a:gd name="connsiteY4790" fmla="*/ 2833114 h 4167549"/>
              <a:gd name="connsiteX4791" fmla="*/ 6454993 w 10890933"/>
              <a:gd name="connsiteY4791" fmla="*/ 2849331 h 4167549"/>
              <a:gd name="connsiteX4792" fmla="*/ 6423403 w 10890933"/>
              <a:gd name="connsiteY4792" fmla="*/ 2860267 h 4167549"/>
              <a:gd name="connsiteX4793" fmla="*/ 6399087 w 10890933"/>
              <a:gd name="connsiteY4793" fmla="*/ 2844052 h 4167549"/>
              <a:gd name="connsiteX4794" fmla="*/ 6416916 w 10890933"/>
              <a:gd name="connsiteY4794" fmla="*/ 2848830 h 4167549"/>
              <a:gd name="connsiteX4795" fmla="*/ 6412852 w 10890933"/>
              <a:gd name="connsiteY4795" fmla="*/ 2828338 h 4167549"/>
              <a:gd name="connsiteX4796" fmla="*/ 6424191 w 10890933"/>
              <a:gd name="connsiteY4796" fmla="*/ 2821677 h 4167549"/>
              <a:gd name="connsiteX4797" fmla="*/ 6175912 w 10890933"/>
              <a:gd name="connsiteY4797" fmla="*/ 2821289 h 4167549"/>
              <a:gd name="connsiteX4798" fmla="*/ 6187958 w 10890933"/>
              <a:gd name="connsiteY4798" fmla="*/ 2842154 h 4167549"/>
              <a:gd name="connsiteX4799" fmla="*/ 6179731 w 10890933"/>
              <a:gd name="connsiteY4799" fmla="*/ 2839949 h 4167549"/>
              <a:gd name="connsiteX4800" fmla="*/ 6181935 w 10890933"/>
              <a:gd name="connsiteY4800" fmla="*/ 2831722 h 4167549"/>
              <a:gd name="connsiteX4801" fmla="*/ 6171503 w 10890933"/>
              <a:gd name="connsiteY4801" fmla="*/ 2837745 h 4167549"/>
              <a:gd name="connsiteX4802" fmla="*/ 6175912 w 10890933"/>
              <a:gd name="connsiteY4802" fmla="*/ 2821289 h 4167549"/>
              <a:gd name="connsiteX4803" fmla="*/ 6600595 w 10890933"/>
              <a:gd name="connsiteY4803" fmla="*/ 2816038 h 4167549"/>
              <a:gd name="connsiteX4804" fmla="*/ 6614846 w 10890933"/>
              <a:gd name="connsiteY4804" fmla="*/ 2828675 h 4167549"/>
              <a:gd name="connsiteX4805" fmla="*/ 6600004 w 10890933"/>
              <a:gd name="connsiteY4805" fmla="*/ 2851153 h 4167549"/>
              <a:gd name="connsiteX4806" fmla="*/ 6587368 w 10890933"/>
              <a:gd name="connsiteY4806" fmla="*/ 2865403 h 4167549"/>
              <a:gd name="connsiteX4807" fmla="*/ 6573117 w 10890933"/>
              <a:gd name="connsiteY4807" fmla="*/ 2852767 h 4167549"/>
              <a:gd name="connsiteX4808" fmla="*/ 6585754 w 10890933"/>
              <a:gd name="connsiteY4808" fmla="*/ 2838516 h 4167549"/>
              <a:gd name="connsiteX4809" fmla="*/ 6593981 w 10890933"/>
              <a:gd name="connsiteY4809" fmla="*/ 2840721 h 4167549"/>
              <a:gd name="connsiteX4810" fmla="*/ 6596186 w 10890933"/>
              <a:gd name="connsiteY4810" fmla="*/ 2832493 h 4167549"/>
              <a:gd name="connsiteX4811" fmla="*/ 6600595 w 10890933"/>
              <a:gd name="connsiteY4811" fmla="*/ 2816038 h 4167549"/>
              <a:gd name="connsiteX4812" fmla="*/ 6296906 w 10890933"/>
              <a:gd name="connsiteY4812" fmla="*/ 2814029 h 4167549"/>
              <a:gd name="connsiteX4813" fmla="*/ 6313361 w 10890933"/>
              <a:gd name="connsiteY4813" fmla="*/ 2818438 h 4167549"/>
              <a:gd name="connsiteX4814" fmla="*/ 6307849 w 10890933"/>
              <a:gd name="connsiteY4814" fmla="*/ 2839008 h 4167549"/>
              <a:gd name="connsiteX4815" fmla="*/ 6296906 w 10890933"/>
              <a:gd name="connsiteY4815" fmla="*/ 2814029 h 4167549"/>
              <a:gd name="connsiteX4816" fmla="*/ 807181 w 10890933"/>
              <a:gd name="connsiteY4816" fmla="*/ 2811297 h 4167549"/>
              <a:gd name="connsiteX4817" fmla="*/ 799740 w 10890933"/>
              <a:gd name="connsiteY4817" fmla="*/ 2839066 h 4167549"/>
              <a:gd name="connsiteX4818" fmla="*/ 788004 w 10890933"/>
              <a:gd name="connsiteY4818" fmla="*/ 2845842 h 4167549"/>
              <a:gd name="connsiteX4819" fmla="*/ 790484 w 10890933"/>
              <a:gd name="connsiteY4819" fmla="*/ 2836586 h 4167549"/>
              <a:gd name="connsiteX4820" fmla="*/ 807181 w 10890933"/>
              <a:gd name="connsiteY4820" fmla="*/ 2811297 h 4167549"/>
              <a:gd name="connsiteX4821" fmla="*/ 6381680 w 10890933"/>
              <a:gd name="connsiteY4821" fmla="*/ 2810287 h 4167549"/>
              <a:gd name="connsiteX4822" fmla="*/ 6391050 w 10890933"/>
              <a:gd name="connsiteY4822" fmla="*/ 2841140 h 4167549"/>
              <a:gd name="connsiteX4823" fmla="*/ 6392190 w 10890933"/>
              <a:gd name="connsiteY4823" fmla="*/ 2869792 h 4167549"/>
              <a:gd name="connsiteX4824" fmla="*/ 6369870 w 10890933"/>
              <a:gd name="connsiteY4824" fmla="*/ 2854363 h 4167549"/>
              <a:gd name="connsiteX4825" fmla="*/ 6366367 w 10890933"/>
              <a:gd name="connsiteY4825" fmla="*/ 2834527 h 4167549"/>
              <a:gd name="connsiteX4826" fmla="*/ 6369870 w 10890933"/>
              <a:gd name="connsiteY4826" fmla="*/ 2854363 h 4167549"/>
              <a:gd name="connsiteX4827" fmla="*/ 6359280 w 10890933"/>
              <a:gd name="connsiteY4827" fmla="*/ 2860974 h 4167549"/>
              <a:gd name="connsiteX4828" fmla="*/ 6351052 w 10890933"/>
              <a:gd name="connsiteY4828" fmla="*/ 2858769 h 4167549"/>
              <a:gd name="connsiteX4829" fmla="*/ 6341684 w 10890933"/>
              <a:gd name="connsiteY4829" fmla="*/ 2827913 h 4167549"/>
              <a:gd name="connsiteX4830" fmla="*/ 6381680 w 10890933"/>
              <a:gd name="connsiteY4830" fmla="*/ 2810287 h 4167549"/>
              <a:gd name="connsiteX4831" fmla="*/ 797925 w 10890933"/>
              <a:gd name="connsiteY4831" fmla="*/ 2808817 h 4167549"/>
              <a:gd name="connsiteX4832" fmla="*/ 790484 w 10890933"/>
              <a:gd name="connsiteY4832" fmla="*/ 2836586 h 4167549"/>
              <a:gd name="connsiteX4833" fmla="*/ 774452 w 10890933"/>
              <a:gd name="connsiteY4833" fmla="*/ 2822369 h 4167549"/>
              <a:gd name="connsiteX4834" fmla="*/ 795444 w 10890933"/>
              <a:gd name="connsiteY4834" fmla="*/ 2818073 h 4167549"/>
              <a:gd name="connsiteX4835" fmla="*/ 797925 w 10890933"/>
              <a:gd name="connsiteY4835" fmla="*/ 2808817 h 4167549"/>
              <a:gd name="connsiteX4836" fmla="*/ 6227776 w 10890933"/>
              <a:gd name="connsiteY4836" fmla="*/ 2808732 h 4167549"/>
              <a:gd name="connsiteX4837" fmla="*/ 6236004 w 10890933"/>
              <a:gd name="connsiteY4837" fmla="*/ 2810936 h 4167549"/>
              <a:gd name="connsiteX4838" fmla="*/ 6233799 w 10890933"/>
              <a:gd name="connsiteY4838" fmla="*/ 2819164 h 4167549"/>
              <a:gd name="connsiteX4839" fmla="*/ 6223367 w 10890933"/>
              <a:gd name="connsiteY4839" fmla="*/ 2825187 h 4167549"/>
              <a:gd name="connsiteX4840" fmla="*/ 6227776 w 10890933"/>
              <a:gd name="connsiteY4840" fmla="*/ 2808732 h 4167549"/>
              <a:gd name="connsiteX4841" fmla="*/ 5813528 w 10890933"/>
              <a:gd name="connsiteY4841" fmla="*/ 2807964 h 4167549"/>
              <a:gd name="connsiteX4842" fmla="*/ 5827778 w 10890933"/>
              <a:gd name="connsiteY4842" fmla="*/ 2820600 h 4167549"/>
              <a:gd name="connsiteX4843" fmla="*/ 5815141 w 10890933"/>
              <a:gd name="connsiteY4843" fmla="*/ 2834851 h 4167549"/>
              <a:gd name="connsiteX4844" fmla="*/ 5817346 w 10890933"/>
              <a:gd name="connsiteY4844" fmla="*/ 2826623 h 4167549"/>
              <a:gd name="connsiteX4845" fmla="*/ 5813528 w 10890933"/>
              <a:gd name="connsiteY4845" fmla="*/ 2807964 h 4167549"/>
              <a:gd name="connsiteX4846" fmla="*/ 6130861 w 10890933"/>
              <a:gd name="connsiteY4846" fmla="*/ 2806876 h 4167549"/>
              <a:gd name="connsiteX4847" fmla="*/ 6140798 w 10890933"/>
              <a:gd name="connsiteY4847" fmla="*/ 2820699 h 4167549"/>
              <a:gd name="connsiteX4848" fmla="*/ 6122138 w 10890933"/>
              <a:gd name="connsiteY4848" fmla="*/ 2824517 h 4167549"/>
              <a:gd name="connsiteX4849" fmla="*/ 6126547 w 10890933"/>
              <a:gd name="connsiteY4849" fmla="*/ 2808062 h 4167549"/>
              <a:gd name="connsiteX4850" fmla="*/ 6130861 w 10890933"/>
              <a:gd name="connsiteY4850" fmla="*/ 2806876 h 4167549"/>
              <a:gd name="connsiteX4851" fmla="*/ 6876592 w 10890933"/>
              <a:gd name="connsiteY4851" fmla="*/ 2806217 h 4167549"/>
              <a:gd name="connsiteX4852" fmla="*/ 6872183 w 10890933"/>
              <a:gd name="connsiteY4852" fmla="*/ 2822672 h 4167549"/>
              <a:gd name="connsiteX4853" fmla="*/ 6876592 w 10890933"/>
              <a:gd name="connsiteY4853" fmla="*/ 2806217 h 4167549"/>
              <a:gd name="connsiteX4854" fmla="*/ 8270235 w 10890933"/>
              <a:gd name="connsiteY4854" fmla="*/ 2804866 h 4167549"/>
              <a:gd name="connsiteX4855" fmla="*/ 8300941 w 10890933"/>
              <a:gd name="connsiteY4855" fmla="*/ 2821911 h 4167549"/>
              <a:gd name="connsiteX4856" fmla="*/ 8270235 w 10890933"/>
              <a:gd name="connsiteY4856" fmla="*/ 2804866 h 4167549"/>
              <a:gd name="connsiteX4857" fmla="*/ 5642618 w 10890933"/>
              <a:gd name="connsiteY4857" fmla="*/ 2804054 h 4167549"/>
              <a:gd name="connsiteX4858" fmla="*/ 5658522 w 10890933"/>
              <a:gd name="connsiteY4858" fmla="*/ 2810521 h 4167549"/>
              <a:gd name="connsiteX4859" fmla="*/ 5623407 w 10890933"/>
              <a:gd name="connsiteY4859" fmla="*/ 2809930 h 4167549"/>
              <a:gd name="connsiteX4860" fmla="*/ 5642618 w 10890933"/>
              <a:gd name="connsiteY4860" fmla="*/ 2804054 h 4167549"/>
              <a:gd name="connsiteX4861" fmla="*/ 5567725 w 10890933"/>
              <a:gd name="connsiteY4861" fmla="*/ 2803828 h 4167549"/>
              <a:gd name="connsiteX4862" fmla="*/ 5563316 w 10890933"/>
              <a:gd name="connsiteY4862" fmla="*/ 2820284 h 4167549"/>
              <a:gd name="connsiteX4863" fmla="*/ 5596226 w 10890933"/>
              <a:gd name="connsiteY4863" fmla="*/ 2829102 h 4167549"/>
              <a:gd name="connsiteX4864" fmla="*/ 5585794 w 10890933"/>
              <a:gd name="connsiteY4864" fmla="*/ 2835125 h 4167549"/>
              <a:gd name="connsiteX4865" fmla="*/ 5558907 w 10890933"/>
              <a:gd name="connsiteY4865" fmla="*/ 2836739 h 4167549"/>
              <a:gd name="connsiteX4866" fmla="*/ 5546861 w 10890933"/>
              <a:gd name="connsiteY4866" fmla="*/ 2815874 h 4167549"/>
              <a:gd name="connsiteX4867" fmla="*/ 5567725 w 10890933"/>
              <a:gd name="connsiteY4867" fmla="*/ 2803828 h 4167549"/>
              <a:gd name="connsiteX4868" fmla="*/ 6356997 w 10890933"/>
              <a:gd name="connsiteY4868" fmla="*/ 2803676 h 4167549"/>
              <a:gd name="connsiteX4869" fmla="*/ 6365224 w 10890933"/>
              <a:gd name="connsiteY4869" fmla="*/ 2805880 h 4167549"/>
              <a:gd name="connsiteX4870" fmla="*/ 6373452 w 10890933"/>
              <a:gd name="connsiteY4870" fmla="*/ 2808085 h 4167549"/>
              <a:gd name="connsiteX4871" fmla="*/ 6371247 w 10890933"/>
              <a:gd name="connsiteY4871" fmla="*/ 2816312 h 4167549"/>
              <a:gd name="connsiteX4872" fmla="*/ 6352588 w 10890933"/>
              <a:gd name="connsiteY4872" fmla="*/ 2820131 h 4167549"/>
              <a:gd name="connsiteX4873" fmla="*/ 6346565 w 10890933"/>
              <a:gd name="connsiteY4873" fmla="*/ 2809699 h 4167549"/>
              <a:gd name="connsiteX4874" fmla="*/ 6356997 w 10890933"/>
              <a:gd name="connsiteY4874" fmla="*/ 2803676 h 4167549"/>
              <a:gd name="connsiteX4875" fmla="*/ 5429999 w 10890933"/>
              <a:gd name="connsiteY4875" fmla="*/ 2803645 h 4167549"/>
              <a:gd name="connsiteX4876" fmla="*/ 5448751 w 10890933"/>
              <a:gd name="connsiteY4876" fmla="*/ 2836174 h 4167549"/>
              <a:gd name="connsiteX4877" fmla="*/ 5435937 w 10890933"/>
              <a:gd name="connsiteY4877" fmla="*/ 2832741 h 4167549"/>
              <a:gd name="connsiteX4878" fmla="*/ 5423123 w 10890933"/>
              <a:gd name="connsiteY4878" fmla="*/ 2829307 h 4167549"/>
              <a:gd name="connsiteX4879" fmla="*/ 5425414 w 10890933"/>
              <a:gd name="connsiteY4879" fmla="*/ 2820753 h 4167549"/>
              <a:gd name="connsiteX4880" fmla="*/ 5429999 w 10890933"/>
              <a:gd name="connsiteY4880" fmla="*/ 2803645 h 4167549"/>
              <a:gd name="connsiteX4881" fmla="*/ 5608413 w 10890933"/>
              <a:gd name="connsiteY4881" fmla="*/ 2803199 h 4167549"/>
              <a:gd name="connsiteX4882" fmla="*/ 5612306 w 10890933"/>
              <a:gd name="connsiteY4882" fmla="*/ 2806656 h 4167549"/>
              <a:gd name="connsiteX4883" fmla="*/ 5603765 w 10890933"/>
              <a:gd name="connsiteY4883" fmla="*/ 2804367 h 4167549"/>
              <a:gd name="connsiteX4884" fmla="*/ 6255768 w 10890933"/>
              <a:gd name="connsiteY4884" fmla="*/ 2803006 h 4167549"/>
              <a:gd name="connsiteX4885" fmla="*/ 6288678 w 10890933"/>
              <a:gd name="connsiteY4885" fmla="*/ 2811824 h 4167549"/>
              <a:gd name="connsiteX4886" fmla="*/ 6278757 w 10890933"/>
              <a:gd name="connsiteY4886" fmla="*/ 2848849 h 4167549"/>
              <a:gd name="connsiteX4887" fmla="*/ 6250807 w 10890933"/>
              <a:gd name="connsiteY4887" fmla="*/ 2821519 h 4167549"/>
              <a:gd name="connsiteX4888" fmla="*/ 6277970 w 10890933"/>
              <a:gd name="connsiteY4888" fmla="*/ 2818876 h 4167549"/>
              <a:gd name="connsiteX4889" fmla="*/ 6255768 w 10890933"/>
              <a:gd name="connsiteY4889" fmla="*/ 2803006 h 4167549"/>
              <a:gd name="connsiteX4890" fmla="*/ 6303380 w 10890933"/>
              <a:gd name="connsiteY4890" fmla="*/ 2801734 h 4167549"/>
              <a:gd name="connsiteX4891" fmla="*/ 6328245 w 10890933"/>
              <a:gd name="connsiteY4891" fmla="*/ 2805667 h 4167549"/>
              <a:gd name="connsiteX4892" fmla="*/ 6323394 w 10890933"/>
              <a:gd name="connsiteY4892" fmla="*/ 2823771 h 4167549"/>
              <a:gd name="connsiteX4893" fmla="*/ 6343920 w 10890933"/>
              <a:gd name="connsiteY4893" fmla="*/ 2819569 h 4167549"/>
              <a:gd name="connsiteX4894" fmla="*/ 6327596 w 10890933"/>
              <a:gd name="connsiteY4894" fmla="*/ 2844296 h 4167549"/>
              <a:gd name="connsiteX4895" fmla="*/ 6311918 w 10890933"/>
              <a:gd name="connsiteY4895" fmla="*/ 2830394 h 4167549"/>
              <a:gd name="connsiteX4896" fmla="*/ 6298667 w 10890933"/>
              <a:gd name="connsiteY4896" fmla="*/ 2807443 h 4167549"/>
              <a:gd name="connsiteX4897" fmla="*/ 6303380 w 10890933"/>
              <a:gd name="connsiteY4897" fmla="*/ 2801734 h 4167549"/>
              <a:gd name="connsiteX4898" fmla="*/ 6667594 w 10890933"/>
              <a:gd name="connsiteY4898" fmla="*/ 2797773 h 4167549"/>
              <a:gd name="connsiteX4899" fmla="*/ 6687810 w 10890933"/>
              <a:gd name="connsiteY4899" fmla="*/ 2798657 h 4167549"/>
              <a:gd name="connsiteX4900" fmla="*/ 6685467 w 10890933"/>
              <a:gd name="connsiteY4900" fmla="*/ 2810119 h 4167549"/>
              <a:gd name="connsiteX4901" fmla="*/ 6679169 w 10890933"/>
              <a:gd name="connsiteY4901" fmla="*/ 2798878 h 4167549"/>
              <a:gd name="connsiteX4902" fmla="*/ 6659411 w 10890933"/>
              <a:gd name="connsiteY4902" fmla="*/ 2803138 h 4167549"/>
              <a:gd name="connsiteX4903" fmla="*/ 6676780 w 10890933"/>
              <a:gd name="connsiteY4903" fmla="*/ 2807792 h 4167549"/>
              <a:gd name="connsiteX4904" fmla="*/ 6654634 w 10890933"/>
              <a:gd name="connsiteY4904" fmla="*/ 2820964 h 4167549"/>
              <a:gd name="connsiteX4905" fmla="*/ 6650727 w 10890933"/>
              <a:gd name="connsiteY4905" fmla="*/ 2800811 h 4167549"/>
              <a:gd name="connsiteX4906" fmla="*/ 6637267 w 10890933"/>
              <a:gd name="connsiteY4906" fmla="*/ 2816310 h 4167549"/>
              <a:gd name="connsiteX4907" fmla="*/ 6628581 w 10890933"/>
              <a:gd name="connsiteY4907" fmla="*/ 2813983 h 4167549"/>
              <a:gd name="connsiteX4908" fmla="*/ 6642044 w 10890933"/>
              <a:gd name="connsiteY4908" fmla="*/ 2798484 h 4167549"/>
              <a:gd name="connsiteX4909" fmla="*/ 6667594 w 10890933"/>
              <a:gd name="connsiteY4909" fmla="*/ 2797773 h 4167549"/>
              <a:gd name="connsiteX4910" fmla="*/ 6136654 w 10890933"/>
              <a:gd name="connsiteY4910" fmla="*/ 2795889 h 4167549"/>
              <a:gd name="connsiteX4911" fmla="*/ 6137392 w 10890933"/>
              <a:gd name="connsiteY4911" fmla="*/ 2799628 h 4167549"/>
              <a:gd name="connsiteX4912" fmla="*/ 6133373 w 10890933"/>
              <a:gd name="connsiteY4912" fmla="*/ 2799154 h 4167549"/>
              <a:gd name="connsiteX4913" fmla="*/ 5662931 w 10890933"/>
              <a:gd name="connsiteY4913" fmla="*/ 2794066 h 4167549"/>
              <a:gd name="connsiteX4914" fmla="*/ 5679386 w 10890933"/>
              <a:gd name="connsiteY4914" fmla="*/ 2798475 h 4167549"/>
              <a:gd name="connsiteX4915" fmla="*/ 5685409 w 10890933"/>
              <a:gd name="connsiteY4915" fmla="*/ 2808907 h 4167549"/>
              <a:gd name="connsiteX4916" fmla="*/ 5683204 w 10890933"/>
              <a:gd name="connsiteY4916" fmla="*/ 2817135 h 4167549"/>
              <a:gd name="connsiteX4917" fmla="*/ 5658522 w 10890933"/>
              <a:gd name="connsiteY4917" fmla="*/ 2810521 h 4167549"/>
              <a:gd name="connsiteX4918" fmla="*/ 5662931 w 10890933"/>
              <a:gd name="connsiteY4918" fmla="*/ 2794066 h 4167549"/>
              <a:gd name="connsiteX4919" fmla="*/ 7175364 w 10890933"/>
              <a:gd name="connsiteY4919" fmla="*/ 2793679 h 4167549"/>
              <a:gd name="connsiteX4920" fmla="*/ 7151206 w 10890933"/>
              <a:gd name="connsiteY4920" fmla="*/ 2807048 h 4167549"/>
              <a:gd name="connsiteX4921" fmla="*/ 7155844 w 10890933"/>
              <a:gd name="connsiteY4921" fmla="*/ 2828133 h 4167549"/>
              <a:gd name="connsiteX4922" fmla="*/ 7144086 w 10890933"/>
              <a:gd name="connsiteY4922" fmla="*/ 2795219 h 4167549"/>
              <a:gd name="connsiteX4923" fmla="*/ 7175364 w 10890933"/>
              <a:gd name="connsiteY4923" fmla="*/ 2793679 h 4167549"/>
              <a:gd name="connsiteX4924" fmla="*/ 6532867 w 10890933"/>
              <a:gd name="connsiteY4924" fmla="*/ 2789072 h 4167549"/>
              <a:gd name="connsiteX4925" fmla="*/ 6541094 w 10890933"/>
              <a:gd name="connsiteY4925" fmla="*/ 2791277 h 4167549"/>
              <a:gd name="connsiteX4926" fmla="*/ 6512002 w 10890933"/>
              <a:gd name="connsiteY4926" fmla="*/ 2801118 h 4167549"/>
              <a:gd name="connsiteX4927" fmla="*/ 6532867 w 10890933"/>
              <a:gd name="connsiteY4927" fmla="*/ 2789072 h 4167549"/>
              <a:gd name="connsiteX4928" fmla="*/ 5956412 w 10890933"/>
              <a:gd name="connsiteY4928" fmla="*/ 2788929 h 4167549"/>
              <a:gd name="connsiteX4929" fmla="*/ 5974044 w 10890933"/>
              <a:gd name="connsiteY4929" fmla="*/ 2792551 h 4167549"/>
              <a:gd name="connsiteX4930" fmla="*/ 5979772 w 10890933"/>
              <a:gd name="connsiteY4930" fmla="*/ 2812825 h 4167549"/>
              <a:gd name="connsiteX4931" fmla="*/ 5963464 w 10890933"/>
              <a:gd name="connsiteY4931" fmla="*/ 2799637 h 4167549"/>
              <a:gd name="connsiteX4932" fmla="*/ 5977567 w 10890933"/>
              <a:gd name="connsiteY4932" fmla="*/ 2821053 h 4167549"/>
              <a:gd name="connsiteX4933" fmla="*/ 5954646 w 10890933"/>
              <a:gd name="connsiteY4933" fmla="*/ 2832547 h 4167549"/>
              <a:gd name="connsiteX4934" fmla="*/ 5952003 w 10890933"/>
              <a:gd name="connsiteY4934" fmla="*/ 2805384 h 4167549"/>
              <a:gd name="connsiteX4935" fmla="*/ 5956412 w 10890933"/>
              <a:gd name="connsiteY4935" fmla="*/ 2788929 h 4167549"/>
              <a:gd name="connsiteX4936" fmla="*/ 6202288 w 10890933"/>
              <a:gd name="connsiteY4936" fmla="*/ 2788673 h 4167549"/>
              <a:gd name="connsiteX4937" fmla="*/ 6217347 w 10890933"/>
              <a:gd name="connsiteY4937" fmla="*/ 2814755 h 4167549"/>
              <a:gd name="connsiteX4938" fmla="*/ 6207062 w 10890933"/>
              <a:gd name="connsiteY4938" fmla="*/ 2811999 h 4167549"/>
              <a:gd name="connsiteX4939" fmla="*/ 6202288 w 10890933"/>
              <a:gd name="connsiteY4939" fmla="*/ 2788673 h 4167549"/>
              <a:gd name="connsiteX4940" fmla="*/ 7084563 w 10890933"/>
              <a:gd name="connsiteY4940" fmla="*/ 2786989 h 4167549"/>
              <a:gd name="connsiteX4941" fmla="*/ 7101018 w 10890933"/>
              <a:gd name="connsiteY4941" fmla="*/ 2791398 h 4167549"/>
              <a:gd name="connsiteX4942" fmla="*/ 7093302 w 10890933"/>
              <a:gd name="connsiteY4942" fmla="*/ 2820196 h 4167549"/>
              <a:gd name="connsiteX4943" fmla="*/ 7084563 w 10890933"/>
              <a:gd name="connsiteY4943" fmla="*/ 2786989 h 4167549"/>
              <a:gd name="connsiteX4944" fmla="*/ 6085431 w 10890933"/>
              <a:gd name="connsiteY4944" fmla="*/ 2785705 h 4167549"/>
              <a:gd name="connsiteX4945" fmla="*/ 6113773 w 10890933"/>
              <a:gd name="connsiteY4945" fmla="*/ 2796843 h 4167549"/>
              <a:gd name="connsiteX4946" fmla="*/ 6133373 w 10890933"/>
              <a:gd name="connsiteY4946" fmla="*/ 2799154 h 4167549"/>
              <a:gd name="connsiteX4947" fmla="*/ 6126370 w 10890933"/>
              <a:gd name="connsiteY4947" fmla="*/ 2806125 h 4167549"/>
              <a:gd name="connsiteX4948" fmla="*/ 6104325 w 10890933"/>
              <a:gd name="connsiteY4948" fmla="*/ 2819114 h 4167549"/>
              <a:gd name="connsiteX4949" fmla="*/ 6100389 w 10890933"/>
              <a:gd name="connsiteY4949" fmla="*/ 2799162 h 4167549"/>
              <a:gd name="connsiteX4950" fmla="*/ 6084642 w 10890933"/>
              <a:gd name="connsiteY4950" fmla="*/ 2823289 h 4167549"/>
              <a:gd name="connsiteX4951" fmla="*/ 6069681 w 10890933"/>
              <a:gd name="connsiteY4951" fmla="*/ 2809831 h 4167549"/>
              <a:gd name="connsiteX4952" fmla="*/ 6085431 w 10890933"/>
              <a:gd name="connsiteY4952" fmla="*/ 2785705 h 4167549"/>
              <a:gd name="connsiteX4953" fmla="*/ 6075274 w 10890933"/>
              <a:gd name="connsiteY4953" fmla="*/ 2785505 h 4167549"/>
              <a:gd name="connsiteX4954" fmla="*/ 6056024 w 10890933"/>
              <a:gd name="connsiteY4954" fmla="*/ 2824439 h 4167549"/>
              <a:gd name="connsiteX4955" fmla="*/ 6075274 w 10890933"/>
              <a:gd name="connsiteY4955" fmla="*/ 2785505 h 4167549"/>
              <a:gd name="connsiteX4956" fmla="*/ 5825800 w 10890933"/>
              <a:gd name="connsiteY4956" fmla="*/ 2782729 h 4167549"/>
              <a:gd name="connsiteX4957" fmla="*/ 5837423 w 10890933"/>
              <a:gd name="connsiteY4957" fmla="*/ 2784604 h 4167549"/>
              <a:gd name="connsiteX4958" fmla="*/ 5840690 w 10890933"/>
              <a:gd name="connsiteY4958" fmla="*/ 2805321 h 4167549"/>
              <a:gd name="connsiteX4959" fmla="*/ 5821755 w 10890933"/>
              <a:gd name="connsiteY4959" fmla="*/ 2810168 h 4167549"/>
              <a:gd name="connsiteX4960" fmla="*/ 5834943 w 10890933"/>
              <a:gd name="connsiteY4960" fmla="*/ 2793860 h 4167549"/>
              <a:gd name="connsiteX4961" fmla="*/ 5818488 w 10890933"/>
              <a:gd name="connsiteY4961" fmla="*/ 2789451 h 4167549"/>
              <a:gd name="connsiteX4962" fmla="*/ 5825800 w 10890933"/>
              <a:gd name="connsiteY4962" fmla="*/ 2782729 h 4167549"/>
              <a:gd name="connsiteX4963" fmla="*/ 7067080 w 10890933"/>
              <a:gd name="connsiteY4963" fmla="*/ 2782301 h 4167549"/>
              <a:gd name="connsiteX4964" fmla="*/ 7061569 w 10890933"/>
              <a:gd name="connsiteY4964" fmla="*/ 2802872 h 4167549"/>
              <a:gd name="connsiteX4965" fmla="*/ 7055068 w 10890933"/>
              <a:gd name="connsiteY4965" fmla="*/ 2790106 h 4167549"/>
              <a:gd name="connsiteX4966" fmla="*/ 7045812 w 10890933"/>
              <a:gd name="connsiteY4966" fmla="*/ 2787626 h 4167549"/>
              <a:gd name="connsiteX4967" fmla="*/ 7067080 w 10890933"/>
              <a:gd name="connsiteY4967" fmla="*/ 2782301 h 4167549"/>
              <a:gd name="connsiteX4968" fmla="*/ 6646820 w 10890933"/>
              <a:gd name="connsiteY4968" fmla="*/ 2780658 h 4167549"/>
              <a:gd name="connsiteX4969" fmla="*/ 6642044 w 10890933"/>
              <a:gd name="connsiteY4969" fmla="*/ 2798484 h 4167549"/>
              <a:gd name="connsiteX4970" fmla="*/ 6608822 w 10890933"/>
              <a:gd name="connsiteY4970" fmla="*/ 2818243 h 4167549"/>
              <a:gd name="connsiteX4971" fmla="*/ 6646820 w 10890933"/>
              <a:gd name="connsiteY4971" fmla="*/ 2780658 h 4167549"/>
              <a:gd name="connsiteX4972" fmla="*/ 6133456 w 10890933"/>
              <a:gd name="connsiteY4972" fmla="*/ 2779678 h 4167549"/>
              <a:gd name="connsiteX4973" fmla="*/ 6183057 w 10890933"/>
              <a:gd name="connsiteY4973" fmla="*/ 2802418 h 4167549"/>
              <a:gd name="connsiteX4974" fmla="*/ 6187782 w 10890933"/>
              <a:gd name="connsiteY4974" fmla="*/ 2784786 h 4167549"/>
              <a:gd name="connsiteX4975" fmla="*/ 6206677 w 10890933"/>
              <a:gd name="connsiteY4975" fmla="*/ 2818193 h 4167549"/>
              <a:gd name="connsiteX4976" fmla="*/ 6204315 w 10890933"/>
              <a:gd name="connsiteY4976" fmla="*/ 2827009 h 4167549"/>
              <a:gd name="connsiteX4977" fmla="*/ 6215337 w 10890933"/>
              <a:gd name="connsiteY4977" fmla="*/ 2820513 h 4167549"/>
              <a:gd name="connsiteX4978" fmla="*/ 6201953 w 10890933"/>
              <a:gd name="connsiteY4978" fmla="*/ 2835824 h 4167549"/>
              <a:gd name="connsiteX4979" fmla="*/ 6191718 w 10890933"/>
              <a:gd name="connsiteY4979" fmla="*/ 2804739 h 4167549"/>
              <a:gd name="connsiteX4980" fmla="*/ 6161013 w 10890933"/>
              <a:gd name="connsiteY4980" fmla="*/ 2815406 h 4167549"/>
              <a:gd name="connsiteX4981" fmla="*/ 6158651 w 10890933"/>
              <a:gd name="connsiteY4981" fmla="*/ 2824222 h 4167549"/>
              <a:gd name="connsiteX4982" fmla="*/ 6148414 w 10890933"/>
              <a:gd name="connsiteY4982" fmla="*/ 2793135 h 4167549"/>
              <a:gd name="connsiteX4983" fmla="*/ 6136654 w 10890933"/>
              <a:gd name="connsiteY4983" fmla="*/ 2795889 h 4167549"/>
              <a:gd name="connsiteX4984" fmla="*/ 6135424 w 10890933"/>
              <a:gd name="connsiteY4984" fmla="*/ 2789654 h 4167549"/>
              <a:gd name="connsiteX4985" fmla="*/ 6133456 w 10890933"/>
              <a:gd name="connsiteY4985" fmla="*/ 2779678 h 4167549"/>
              <a:gd name="connsiteX4986" fmla="*/ 5881212 w 10890933"/>
              <a:gd name="connsiteY4986" fmla="*/ 2779557 h 4167549"/>
              <a:gd name="connsiteX4987" fmla="*/ 5895428 w 10890933"/>
              <a:gd name="connsiteY4987" fmla="*/ 2782038 h 4167549"/>
              <a:gd name="connsiteX4988" fmla="*/ 5898506 w 10890933"/>
              <a:gd name="connsiteY4988" fmla="*/ 2791128 h 4167549"/>
              <a:gd name="connsiteX4989" fmla="*/ 5902177 w 10890933"/>
              <a:gd name="connsiteY4989" fmla="*/ 2792506 h 4167549"/>
              <a:gd name="connsiteX4990" fmla="*/ 5901294 w 10890933"/>
              <a:gd name="connsiteY4990" fmla="*/ 2793058 h 4167549"/>
              <a:gd name="connsiteX4991" fmla="*/ 5909521 w 10890933"/>
              <a:gd name="connsiteY4991" fmla="*/ 2795262 h 4167549"/>
              <a:gd name="connsiteX4992" fmla="*/ 5902177 w 10890933"/>
              <a:gd name="connsiteY4992" fmla="*/ 2792506 h 4167549"/>
              <a:gd name="connsiteX4993" fmla="*/ 5911883 w 10890933"/>
              <a:gd name="connsiteY4993" fmla="*/ 2786447 h 4167549"/>
              <a:gd name="connsiteX4994" fmla="*/ 5923615 w 10890933"/>
              <a:gd name="connsiteY4994" fmla="*/ 2808485 h 4167549"/>
              <a:gd name="connsiteX4995" fmla="*/ 5905939 w 10890933"/>
              <a:gd name="connsiteY4995" fmla="*/ 2841543 h 4167549"/>
              <a:gd name="connsiteX4996" fmla="*/ 5883618 w 10890933"/>
              <a:gd name="connsiteY4996" fmla="*/ 2826114 h 4167549"/>
              <a:gd name="connsiteX4997" fmla="*/ 5877753 w 10890933"/>
              <a:gd name="connsiteY4997" fmla="*/ 2815093 h 4167549"/>
              <a:gd name="connsiteX4998" fmla="*/ 5888342 w 10890933"/>
              <a:gd name="connsiteY4998" fmla="*/ 2808482 h 4167549"/>
              <a:gd name="connsiteX4999" fmla="*/ 5876611 w 10890933"/>
              <a:gd name="connsiteY4999" fmla="*/ 2786444 h 4167549"/>
              <a:gd name="connsiteX5000" fmla="*/ 5881212 w 10890933"/>
              <a:gd name="connsiteY5000" fmla="*/ 2779557 h 4167549"/>
              <a:gd name="connsiteX5001" fmla="*/ 6007247 w 10890933"/>
              <a:gd name="connsiteY5001" fmla="*/ 2776096 h 4167549"/>
              <a:gd name="connsiteX5002" fmla="*/ 6019293 w 10890933"/>
              <a:gd name="connsiteY5002" fmla="*/ 2796960 h 4167549"/>
              <a:gd name="connsiteX5003" fmla="*/ 5998428 w 10890933"/>
              <a:gd name="connsiteY5003" fmla="*/ 2809006 h 4167549"/>
              <a:gd name="connsiteX5004" fmla="*/ 5994610 w 10890933"/>
              <a:gd name="connsiteY5004" fmla="*/ 2790346 h 4167549"/>
              <a:gd name="connsiteX5005" fmla="*/ 6007247 w 10890933"/>
              <a:gd name="connsiteY5005" fmla="*/ 2776096 h 4167549"/>
              <a:gd name="connsiteX5006" fmla="*/ 7167430 w 10890933"/>
              <a:gd name="connsiteY5006" fmla="*/ 2773920 h 4167549"/>
              <a:gd name="connsiteX5007" fmla="*/ 7154793 w 10890933"/>
              <a:gd name="connsiteY5007" fmla="*/ 2788170 h 4167549"/>
              <a:gd name="connsiteX5008" fmla="*/ 7121883 w 10890933"/>
              <a:gd name="connsiteY5008" fmla="*/ 2779352 h 4167549"/>
              <a:gd name="connsiteX5009" fmla="*/ 7167430 w 10890933"/>
              <a:gd name="connsiteY5009" fmla="*/ 2773920 h 4167549"/>
              <a:gd name="connsiteX5010" fmla="*/ 7004217 w 10890933"/>
              <a:gd name="connsiteY5010" fmla="*/ 2773176 h 4167549"/>
              <a:gd name="connsiteX5011" fmla="*/ 7012059 w 10890933"/>
              <a:gd name="connsiteY5011" fmla="*/ 2777849 h 4167549"/>
              <a:gd name="connsiteX5012" fmla="*/ 6982232 w 10890933"/>
              <a:gd name="connsiteY5012" fmla="*/ 2790434 h 4167549"/>
              <a:gd name="connsiteX5013" fmla="*/ 7004217 w 10890933"/>
              <a:gd name="connsiteY5013" fmla="*/ 2773176 h 4167549"/>
              <a:gd name="connsiteX5014" fmla="*/ 832955 w 10890933"/>
              <a:gd name="connsiteY5014" fmla="*/ 2772865 h 4167549"/>
              <a:gd name="connsiteX5015" fmla="*/ 836912 w 10890933"/>
              <a:gd name="connsiteY5015" fmla="*/ 2792261 h 4167549"/>
              <a:gd name="connsiteX5016" fmla="*/ 832955 w 10890933"/>
              <a:gd name="connsiteY5016" fmla="*/ 2772865 h 4167549"/>
              <a:gd name="connsiteX5017" fmla="*/ 6025909 w 10890933"/>
              <a:gd name="connsiteY5017" fmla="*/ 2772278 h 4167549"/>
              <a:gd name="connsiteX5018" fmla="*/ 6033546 w 10890933"/>
              <a:gd name="connsiteY5018" fmla="*/ 2809597 h 4167549"/>
              <a:gd name="connsiteX5019" fmla="*/ 6025909 w 10890933"/>
              <a:gd name="connsiteY5019" fmla="*/ 2772278 h 4167549"/>
              <a:gd name="connsiteX5020" fmla="*/ 5715408 w 10890933"/>
              <a:gd name="connsiteY5020" fmla="*/ 2770449 h 4167549"/>
              <a:gd name="connsiteX5021" fmla="*/ 5716996 w 10890933"/>
              <a:gd name="connsiteY5021" fmla="*/ 2798532 h 4167549"/>
              <a:gd name="connsiteX5022" fmla="*/ 5740198 w 10890933"/>
              <a:gd name="connsiteY5022" fmla="*/ 2813967 h 4167549"/>
              <a:gd name="connsiteX5023" fmla="*/ 5744808 w 10890933"/>
              <a:gd name="connsiteY5023" fmla="*/ 2796763 h 4167549"/>
              <a:gd name="connsiteX5024" fmla="*/ 5721606 w 10890933"/>
              <a:gd name="connsiteY5024" fmla="*/ 2781328 h 4167549"/>
              <a:gd name="connsiteX5025" fmla="*/ 5747113 w 10890933"/>
              <a:gd name="connsiteY5025" fmla="*/ 2788162 h 4167549"/>
              <a:gd name="connsiteX5026" fmla="*/ 5760224 w 10890933"/>
              <a:gd name="connsiteY5026" fmla="*/ 2773237 h 4167549"/>
              <a:gd name="connsiteX5027" fmla="*/ 5783424 w 10890933"/>
              <a:gd name="connsiteY5027" fmla="*/ 2788674 h 4167549"/>
              <a:gd name="connsiteX5028" fmla="*/ 5768007 w 10890933"/>
              <a:gd name="connsiteY5028" fmla="*/ 2812200 h 4167549"/>
              <a:gd name="connsiteX5029" fmla="*/ 5738237 w 10890933"/>
              <a:gd name="connsiteY5029" fmla="*/ 2829620 h 4167549"/>
              <a:gd name="connsiteX5030" fmla="*/ 5753140 w 10890933"/>
              <a:gd name="connsiteY5030" fmla="*/ 2835874 h 4167549"/>
              <a:gd name="connsiteX5031" fmla="*/ 5721579 w 10890933"/>
              <a:gd name="connsiteY5031" fmla="*/ 2845053 h 4167549"/>
              <a:gd name="connsiteX5032" fmla="*/ 5707887 w 10890933"/>
              <a:gd name="connsiteY5032" fmla="*/ 2823748 h 4167549"/>
              <a:gd name="connsiteX5033" fmla="*/ 5726544 w 10890933"/>
              <a:gd name="connsiteY5033" fmla="*/ 2826117 h 4167549"/>
              <a:gd name="connsiteX5034" fmla="*/ 5703884 w 10890933"/>
              <a:gd name="connsiteY5034" fmla="*/ 2813458 h 4167549"/>
              <a:gd name="connsiteX5035" fmla="*/ 5723194 w 10890933"/>
              <a:gd name="connsiteY5035" fmla="*/ 2809411 h 4167549"/>
              <a:gd name="connsiteX5036" fmla="*/ 5713104 w 10890933"/>
              <a:gd name="connsiteY5036" fmla="*/ 2779050 h 4167549"/>
              <a:gd name="connsiteX5037" fmla="*/ 5699992 w 10890933"/>
              <a:gd name="connsiteY5037" fmla="*/ 2793975 h 4167549"/>
              <a:gd name="connsiteX5038" fmla="*/ 5689188 w 10890933"/>
              <a:gd name="connsiteY5038" fmla="*/ 2800299 h 4167549"/>
              <a:gd name="connsiteX5039" fmla="*/ 5693798 w 10890933"/>
              <a:gd name="connsiteY5039" fmla="*/ 2783095 h 4167549"/>
              <a:gd name="connsiteX5040" fmla="*/ 5715408 w 10890933"/>
              <a:gd name="connsiteY5040" fmla="*/ 2770449 h 4167549"/>
              <a:gd name="connsiteX5041" fmla="*/ 6629889 w 10890933"/>
              <a:gd name="connsiteY5041" fmla="*/ 2767606 h 4167549"/>
              <a:gd name="connsiteX5042" fmla="*/ 6646974 w 10890933"/>
              <a:gd name="connsiteY5042" fmla="*/ 2772184 h 4167549"/>
              <a:gd name="connsiteX5043" fmla="*/ 6627597 w 10890933"/>
              <a:gd name="connsiteY5043" fmla="*/ 2776160 h 4167549"/>
              <a:gd name="connsiteX5044" fmla="*/ 5812863 w 10890933"/>
              <a:gd name="connsiteY5044" fmla="*/ 2765189 h 4167549"/>
              <a:gd name="connsiteX5045" fmla="*/ 5823288 w 10890933"/>
              <a:gd name="connsiteY5045" fmla="*/ 2771526 h 4167549"/>
              <a:gd name="connsiteX5046" fmla="*/ 5815061 w 10890933"/>
              <a:gd name="connsiteY5046" fmla="*/ 2769321 h 4167549"/>
              <a:gd name="connsiteX5047" fmla="*/ 5800888 w 10890933"/>
              <a:gd name="connsiteY5047" fmla="*/ 2822213 h 4167549"/>
              <a:gd name="connsiteX5048" fmla="*/ 5792661 w 10890933"/>
              <a:gd name="connsiteY5048" fmla="*/ 2820009 h 4167549"/>
              <a:gd name="connsiteX5049" fmla="*/ 5806833 w 10890933"/>
              <a:gd name="connsiteY5049" fmla="*/ 2767117 h 4167549"/>
              <a:gd name="connsiteX5050" fmla="*/ 5812863 w 10890933"/>
              <a:gd name="connsiteY5050" fmla="*/ 2765189 h 4167549"/>
              <a:gd name="connsiteX5051" fmla="*/ 862056 w 10890933"/>
              <a:gd name="connsiteY5051" fmla="*/ 2762851 h 4167549"/>
              <a:gd name="connsiteX5052" fmla="*/ 862601 w 10890933"/>
              <a:gd name="connsiteY5052" fmla="*/ 2763639 h 4167549"/>
              <a:gd name="connsiteX5053" fmla="*/ 862032 w 10890933"/>
              <a:gd name="connsiteY5053" fmla="*/ 2764661 h 4167549"/>
              <a:gd name="connsiteX5054" fmla="*/ 860742 w 10890933"/>
              <a:gd name="connsiteY5054" fmla="*/ 2763121 h 4167549"/>
              <a:gd name="connsiteX5055" fmla="*/ 6101422 w 10890933"/>
              <a:gd name="connsiteY5055" fmla="*/ 2760138 h 4167549"/>
              <a:gd name="connsiteX5056" fmla="*/ 6102379 w 10890933"/>
              <a:gd name="connsiteY5056" fmla="*/ 2760253 h 4167549"/>
              <a:gd name="connsiteX5057" fmla="*/ 6100269 w 10890933"/>
              <a:gd name="connsiteY5057" fmla="*/ 2761340 h 4167549"/>
              <a:gd name="connsiteX5058" fmla="*/ 644395 w 10890933"/>
              <a:gd name="connsiteY5058" fmla="*/ 2759013 h 4167549"/>
              <a:gd name="connsiteX5059" fmla="*/ 631270 w 10890933"/>
              <a:gd name="connsiteY5059" fmla="*/ 2773833 h 4167549"/>
              <a:gd name="connsiteX5060" fmla="*/ 644395 w 10890933"/>
              <a:gd name="connsiteY5060" fmla="*/ 2759013 h 4167549"/>
              <a:gd name="connsiteX5061" fmla="*/ 644395 w 10890933"/>
              <a:gd name="connsiteY5061" fmla="*/ 2759013 h 4167549"/>
              <a:gd name="connsiteX5062" fmla="*/ 635227 w 10890933"/>
              <a:gd name="connsiteY5062" fmla="*/ 2793229 h 4167549"/>
              <a:gd name="connsiteX5063" fmla="*/ 644395 w 10890933"/>
              <a:gd name="connsiteY5063" fmla="*/ 2759013 h 4167549"/>
              <a:gd name="connsiteX5064" fmla="*/ 6276436 w 10890933"/>
              <a:gd name="connsiteY5064" fmla="*/ 2758784 h 4167549"/>
              <a:gd name="connsiteX5065" fmla="*/ 6282018 w 10890933"/>
              <a:gd name="connsiteY5065" fmla="*/ 2762641 h 4167549"/>
              <a:gd name="connsiteX5066" fmla="*/ 6281041 w 10890933"/>
              <a:gd name="connsiteY5066" fmla="*/ 2774505 h 4167549"/>
              <a:gd name="connsiteX5067" fmla="*/ 6264586 w 10890933"/>
              <a:gd name="connsiteY5067" fmla="*/ 2770096 h 4167549"/>
              <a:gd name="connsiteX5068" fmla="*/ 6272814 w 10890933"/>
              <a:gd name="connsiteY5068" fmla="*/ 2772301 h 4167549"/>
              <a:gd name="connsiteX5069" fmla="*/ 6854705 w 10890933"/>
              <a:gd name="connsiteY5069" fmla="*/ 2756261 h 4167549"/>
              <a:gd name="connsiteX5070" fmla="*/ 6877182 w 10890933"/>
              <a:gd name="connsiteY5070" fmla="*/ 2771102 h 4167549"/>
              <a:gd name="connsiteX5071" fmla="*/ 6872773 w 10890933"/>
              <a:gd name="connsiteY5071" fmla="*/ 2787557 h 4167549"/>
              <a:gd name="connsiteX5072" fmla="*/ 6858523 w 10890933"/>
              <a:gd name="connsiteY5072" fmla="*/ 2774920 h 4167549"/>
              <a:gd name="connsiteX5073" fmla="*/ 6854705 w 10890933"/>
              <a:gd name="connsiteY5073" fmla="*/ 2756261 h 4167549"/>
              <a:gd name="connsiteX5074" fmla="*/ 7988000 w 10890933"/>
              <a:gd name="connsiteY5074" fmla="*/ 2755699 h 4167549"/>
              <a:gd name="connsiteX5075" fmla="*/ 7961113 w 10890933"/>
              <a:gd name="connsiteY5075" fmla="*/ 2757312 h 4167549"/>
              <a:gd name="connsiteX5076" fmla="*/ 7988000 w 10890933"/>
              <a:gd name="connsiteY5076" fmla="*/ 2755699 h 4167549"/>
              <a:gd name="connsiteX5077" fmla="*/ 6268995 w 10890933"/>
              <a:gd name="connsiteY5077" fmla="*/ 2753641 h 4167549"/>
              <a:gd name="connsiteX5078" fmla="*/ 6277223 w 10890933"/>
              <a:gd name="connsiteY5078" fmla="*/ 2755846 h 4167549"/>
              <a:gd name="connsiteX5079" fmla="*/ 6276436 w 10890933"/>
              <a:gd name="connsiteY5079" fmla="*/ 2758784 h 4167549"/>
              <a:gd name="connsiteX5080" fmla="*/ 6518916 w 10890933"/>
              <a:gd name="connsiteY5080" fmla="*/ 2753206 h 4167549"/>
              <a:gd name="connsiteX5081" fmla="*/ 6537643 w 10890933"/>
              <a:gd name="connsiteY5081" fmla="*/ 2771246 h 4167549"/>
              <a:gd name="connsiteX5082" fmla="*/ 6515533 w 10890933"/>
              <a:gd name="connsiteY5082" fmla="*/ 2755032 h 4167549"/>
              <a:gd name="connsiteX5083" fmla="*/ 6518916 w 10890933"/>
              <a:gd name="connsiteY5083" fmla="*/ 2753206 h 4167549"/>
              <a:gd name="connsiteX5084" fmla="*/ 455086 w 10890933"/>
              <a:gd name="connsiteY5084" fmla="*/ 2750602 h 4167549"/>
              <a:gd name="connsiteX5085" fmla="*/ 455715 w 10890933"/>
              <a:gd name="connsiteY5085" fmla="*/ 2752462 h 4167549"/>
              <a:gd name="connsiteX5086" fmla="*/ 455651 w 10890933"/>
              <a:gd name="connsiteY5086" fmla="*/ 2756113 h 4167549"/>
              <a:gd name="connsiteX5087" fmla="*/ 454614 w 10890933"/>
              <a:gd name="connsiteY5087" fmla="*/ 2754002 h 4167549"/>
              <a:gd name="connsiteX5088" fmla="*/ 5775045 w 10890933"/>
              <a:gd name="connsiteY5088" fmla="*/ 2750528 h 4167549"/>
              <a:gd name="connsiteX5089" fmla="*/ 5780880 w 10890933"/>
              <a:gd name="connsiteY5089" fmla="*/ 2752919 h 4167549"/>
              <a:gd name="connsiteX5090" fmla="*/ 5790539 w 10890933"/>
              <a:gd name="connsiteY5090" fmla="*/ 2762120 h 4167549"/>
              <a:gd name="connsiteX5091" fmla="*/ 5786129 w 10890933"/>
              <a:gd name="connsiteY5091" fmla="*/ 2778575 h 4167549"/>
              <a:gd name="connsiteX5092" fmla="*/ 5774084 w 10890933"/>
              <a:gd name="connsiteY5092" fmla="*/ 2757711 h 4167549"/>
              <a:gd name="connsiteX5093" fmla="*/ 5775045 w 10890933"/>
              <a:gd name="connsiteY5093" fmla="*/ 2750528 h 4167549"/>
              <a:gd name="connsiteX5094" fmla="*/ 5868468 w 10890933"/>
              <a:gd name="connsiteY5094" fmla="*/ 2747728 h 4167549"/>
              <a:gd name="connsiteX5095" fmla="*/ 5875312 w 10890933"/>
              <a:gd name="connsiteY5095" fmla="*/ 2758381 h 4167549"/>
              <a:gd name="connsiteX5096" fmla="*/ 5839111 w 10890933"/>
              <a:gd name="connsiteY5096" fmla="*/ 2748681 h 4167549"/>
              <a:gd name="connsiteX5097" fmla="*/ 5868468 w 10890933"/>
              <a:gd name="connsiteY5097" fmla="*/ 2747728 h 4167549"/>
              <a:gd name="connsiteX5098" fmla="*/ 6102574 w 10890933"/>
              <a:gd name="connsiteY5098" fmla="*/ 2747077 h 4167549"/>
              <a:gd name="connsiteX5099" fmla="*/ 6113727 w 10890933"/>
              <a:gd name="connsiteY5099" fmla="*/ 2747310 h 4167549"/>
              <a:gd name="connsiteX5100" fmla="*/ 6101422 w 10890933"/>
              <a:gd name="connsiteY5100" fmla="*/ 2760138 h 4167549"/>
              <a:gd name="connsiteX5101" fmla="*/ 6091218 w 10890933"/>
              <a:gd name="connsiteY5101" fmla="*/ 2758915 h 4167549"/>
              <a:gd name="connsiteX5102" fmla="*/ 6102574 w 10890933"/>
              <a:gd name="connsiteY5102" fmla="*/ 2747077 h 4167549"/>
              <a:gd name="connsiteX5103" fmla="*/ 6134035 w 10890933"/>
              <a:gd name="connsiteY5103" fmla="*/ 2743933 h 4167549"/>
              <a:gd name="connsiteX5104" fmla="*/ 6127421 w 10890933"/>
              <a:gd name="connsiteY5104" fmla="*/ 2768616 h 4167549"/>
              <a:gd name="connsiteX5105" fmla="*/ 6113540 w 10890933"/>
              <a:gd name="connsiteY5105" fmla="*/ 2761588 h 4167549"/>
              <a:gd name="connsiteX5106" fmla="*/ 6102379 w 10890933"/>
              <a:gd name="connsiteY5106" fmla="*/ 2760253 h 4167549"/>
              <a:gd name="connsiteX5107" fmla="*/ 8723794 w 10890933"/>
              <a:gd name="connsiteY5107" fmla="*/ 2741216 h 4167549"/>
              <a:gd name="connsiteX5108" fmla="*/ 8729817 w 10890933"/>
              <a:gd name="connsiteY5108" fmla="*/ 2751648 h 4167549"/>
              <a:gd name="connsiteX5109" fmla="*/ 8713362 w 10890933"/>
              <a:gd name="connsiteY5109" fmla="*/ 2747239 h 4167549"/>
              <a:gd name="connsiteX5110" fmla="*/ 8723794 w 10890933"/>
              <a:gd name="connsiteY5110" fmla="*/ 2741216 h 4167549"/>
              <a:gd name="connsiteX5111" fmla="*/ 5912045 w 10890933"/>
              <a:gd name="connsiteY5111" fmla="*/ 2739564 h 4167549"/>
              <a:gd name="connsiteX5112" fmla="*/ 5918654 w 10890933"/>
              <a:gd name="connsiteY5112" fmla="*/ 2761176 h 4167549"/>
              <a:gd name="connsiteX5113" fmla="*/ 5902199 w 10890933"/>
              <a:gd name="connsiteY5113" fmla="*/ 2756767 h 4167549"/>
              <a:gd name="connsiteX5114" fmla="*/ 5906609 w 10890933"/>
              <a:gd name="connsiteY5114" fmla="*/ 2740311 h 4167549"/>
              <a:gd name="connsiteX5115" fmla="*/ 5912045 w 10890933"/>
              <a:gd name="connsiteY5115" fmla="*/ 2739564 h 4167549"/>
              <a:gd name="connsiteX5116" fmla="*/ 8707145 w 10890933"/>
              <a:gd name="connsiteY5116" fmla="*/ 2737460 h 4167549"/>
              <a:gd name="connsiteX5117" fmla="*/ 8711104 w 10890933"/>
              <a:gd name="connsiteY5117" fmla="*/ 2756858 h 4167549"/>
              <a:gd name="connsiteX5118" fmla="*/ 8694019 w 10890933"/>
              <a:gd name="connsiteY5118" fmla="*/ 2752280 h 4167549"/>
              <a:gd name="connsiteX5119" fmla="*/ 8707145 w 10890933"/>
              <a:gd name="connsiteY5119" fmla="*/ 2737460 h 4167549"/>
              <a:gd name="connsiteX5120" fmla="*/ 6447339 w 10890933"/>
              <a:gd name="connsiteY5120" fmla="*/ 2735290 h 4167549"/>
              <a:gd name="connsiteX5121" fmla="*/ 6461024 w 10890933"/>
              <a:gd name="connsiteY5121" fmla="*/ 2761004 h 4167549"/>
              <a:gd name="connsiteX5122" fmla="*/ 6432226 w 10890933"/>
              <a:gd name="connsiteY5122" fmla="*/ 2753287 h 4167549"/>
              <a:gd name="connsiteX5123" fmla="*/ 6447339 w 10890933"/>
              <a:gd name="connsiteY5123" fmla="*/ 2735290 h 4167549"/>
              <a:gd name="connsiteX5124" fmla="*/ 8152627 w 10890933"/>
              <a:gd name="connsiteY5124" fmla="*/ 2733672 h 4167549"/>
              <a:gd name="connsiteX5125" fmla="*/ 8169082 w 10890933"/>
              <a:gd name="connsiteY5125" fmla="*/ 2738081 h 4167549"/>
              <a:gd name="connsiteX5126" fmla="*/ 8171798 w 10890933"/>
              <a:gd name="connsiteY5126" fmla="*/ 2760856 h 4167549"/>
              <a:gd name="connsiteX5127" fmla="*/ 8155343 w 10890933"/>
              <a:gd name="connsiteY5127" fmla="*/ 2756447 h 4167549"/>
              <a:gd name="connsiteX5128" fmla="*/ 8152627 w 10890933"/>
              <a:gd name="connsiteY5128" fmla="*/ 2733672 h 4167549"/>
              <a:gd name="connsiteX5129" fmla="*/ 8084802 w 10890933"/>
              <a:gd name="connsiteY5129" fmla="*/ 2732288 h 4167549"/>
              <a:gd name="connsiteX5130" fmla="*/ 8085010 w 10890933"/>
              <a:gd name="connsiteY5130" fmla="*/ 2735782 h 4167549"/>
              <a:gd name="connsiteX5131" fmla="*/ 8080696 w 10890933"/>
              <a:gd name="connsiteY5131" fmla="*/ 2732882 h 4167549"/>
              <a:gd name="connsiteX5132" fmla="*/ 5671312 w 10890933"/>
              <a:gd name="connsiteY5132" fmla="*/ 2730976 h 4167549"/>
              <a:gd name="connsiteX5133" fmla="*/ 5681402 w 10890933"/>
              <a:gd name="connsiteY5133" fmla="*/ 2761337 h 4167549"/>
              <a:gd name="connsiteX5134" fmla="*/ 5692209 w 10890933"/>
              <a:gd name="connsiteY5134" fmla="*/ 2755012 h 4167549"/>
              <a:gd name="connsiteX5135" fmla="*/ 5694514 w 10890933"/>
              <a:gd name="connsiteY5135" fmla="*/ 2746411 h 4167549"/>
              <a:gd name="connsiteX5136" fmla="*/ 5711516 w 10890933"/>
              <a:gd name="connsiteY5136" fmla="*/ 2750967 h 4167549"/>
              <a:gd name="connsiteX5137" fmla="*/ 5687600 w 10890933"/>
              <a:gd name="connsiteY5137" fmla="*/ 2772216 h 4167549"/>
              <a:gd name="connsiteX5138" fmla="*/ 5693798 w 10890933"/>
              <a:gd name="connsiteY5138" fmla="*/ 2783095 h 4167549"/>
              <a:gd name="connsiteX5139" fmla="*/ 5680685 w 10890933"/>
              <a:gd name="connsiteY5139" fmla="*/ 2798021 h 4167549"/>
              <a:gd name="connsiteX5140" fmla="*/ 5655895 w 10890933"/>
              <a:gd name="connsiteY5140" fmla="*/ 2754503 h 4167549"/>
              <a:gd name="connsiteX5141" fmla="*/ 5660505 w 10890933"/>
              <a:gd name="connsiteY5141" fmla="*/ 2737299 h 4167549"/>
              <a:gd name="connsiteX5142" fmla="*/ 5671312 w 10890933"/>
              <a:gd name="connsiteY5142" fmla="*/ 2730976 h 4167549"/>
              <a:gd name="connsiteX5143" fmla="*/ 8142345 w 10890933"/>
              <a:gd name="connsiteY5143" fmla="*/ 2730917 h 4167549"/>
              <a:gd name="connsiteX5144" fmla="*/ 8147118 w 10890933"/>
              <a:gd name="connsiteY5144" fmla="*/ 2754243 h 4167549"/>
              <a:gd name="connsiteX5145" fmla="*/ 8142345 w 10890933"/>
              <a:gd name="connsiteY5145" fmla="*/ 2730917 h 4167549"/>
              <a:gd name="connsiteX5146" fmla="*/ 8136858 w 10890933"/>
              <a:gd name="connsiteY5146" fmla="*/ 2730825 h 4167549"/>
              <a:gd name="connsiteX5147" fmla="*/ 8142345 w 10890933"/>
              <a:gd name="connsiteY5147" fmla="*/ 2730917 h 4167549"/>
              <a:gd name="connsiteX5148" fmla="*/ 8129304 w 10890933"/>
              <a:gd name="connsiteY5148" fmla="*/ 2738446 h 4167549"/>
              <a:gd name="connsiteX5149" fmla="*/ 8136858 w 10890933"/>
              <a:gd name="connsiteY5149" fmla="*/ 2730825 h 4167549"/>
              <a:gd name="connsiteX5150" fmla="*/ 8076905 w 10890933"/>
              <a:gd name="connsiteY5150" fmla="*/ 2730333 h 4167549"/>
              <a:gd name="connsiteX5151" fmla="*/ 8080696 w 10890933"/>
              <a:gd name="connsiteY5151" fmla="*/ 2732882 h 4167549"/>
              <a:gd name="connsiteX5152" fmla="*/ 8076469 w 10890933"/>
              <a:gd name="connsiteY5152" fmla="*/ 2733493 h 4167549"/>
              <a:gd name="connsiteX5153" fmla="*/ 6722338 w 10890933"/>
              <a:gd name="connsiteY5153" fmla="*/ 2727857 h 4167549"/>
              <a:gd name="connsiteX5154" fmla="*/ 6722816 w 10890933"/>
              <a:gd name="connsiteY5154" fmla="*/ 2728331 h 4167549"/>
              <a:gd name="connsiteX5155" fmla="*/ 6722246 w 10890933"/>
              <a:gd name="connsiteY5155" fmla="*/ 2728126 h 4167549"/>
              <a:gd name="connsiteX5156" fmla="*/ 5826244 w 10890933"/>
              <a:gd name="connsiteY5156" fmla="*/ 2727596 h 4167549"/>
              <a:gd name="connsiteX5157" fmla="*/ 5842699 w 10890933"/>
              <a:gd name="connsiteY5157" fmla="*/ 2732005 h 4167549"/>
              <a:gd name="connsiteX5158" fmla="*/ 5838290 w 10890933"/>
              <a:gd name="connsiteY5158" fmla="*/ 2748460 h 4167549"/>
              <a:gd name="connsiteX5159" fmla="*/ 5826244 w 10890933"/>
              <a:gd name="connsiteY5159" fmla="*/ 2727596 h 4167549"/>
              <a:gd name="connsiteX5160" fmla="*/ 5677981 w 10890933"/>
              <a:gd name="connsiteY5160" fmla="*/ 2726280 h 4167549"/>
              <a:gd name="connsiteX5161" fmla="*/ 5680679 w 10890933"/>
              <a:gd name="connsiteY5161" fmla="*/ 2730028 h 4167549"/>
              <a:gd name="connsiteX5162" fmla="*/ 5688316 w 10890933"/>
              <a:gd name="connsiteY5162" fmla="*/ 2735532 h 4167549"/>
              <a:gd name="connsiteX5163" fmla="*/ 5671312 w 10890933"/>
              <a:gd name="connsiteY5163" fmla="*/ 2730976 h 4167549"/>
              <a:gd name="connsiteX5164" fmla="*/ 5677981 w 10890933"/>
              <a:gd name="connsiteY5164" fmla="*/ 2726280 h 4167549"/>
              <a:gd name="connsiteX5165" fmla="*/ 6091806 w 10890933"/>
              <a:gd name="connsiteY5165" fmla="*/ 2723797 h 4167549"/>
              <a:gd name="connsiteX5166" fmla="*/ 6089602 w 10890933"/>
              <a:gd name="connsiteY5166" fmla="*/ 2732024 h 4167549"/>
              <a:gd name="connsiteX5167" fmla="*/ 6090858 w 10890933"/>
              <a:gd name="connsiteY5167" fmla="*/ 2724754 h 4167549"/>
              <a:gd name="connsiteX5168" fmla="*/ 5846703 w 10890933"/>
              <a:gd name="connsiteY5168" fmla="*/ 2723549 h 4167549"/>
              <a:gd name="connsiteX5169" fmla="*/ 5846935 w 10890933"/>
              <a:gd name="connsiteY5169" fmla="*/ 2723595 h 4167549"/>
              <a:gd name="connsiteX5170" fmla="*/ 5846077 w 10890933"/>
              <a:gd name="connsiteY5170" fmla="*/ 2724092 h 4167549"/>
              <a:gd name="connsiteX5171" fmla="*/ 8093816 w 10890933"/>
              <a:gd name="connsiteY5171" fmla="*/ 2722278 h 4167549"/>
              <a:gd name="connsiteX5172" fmla="*/ 8123465 w 10890933"/>
              <a:gd name="connsiteY5172" fmla="*/ 2727327 h 4167549"/>
              <a:gd name="connsiteX5173" fmla="*/ 8087982 w 10890933"/>
              <a:gd name="connsiteY5173" fmla="*/ 2728110 h 4167549"/>
              <a:gd name="connsiteX5174" fmla="*/ 8093816 w 10890933"/>
              <a:gd name="connsiteY5174" fmla="*/ 2722278 h 4167549"/>
              <a:gd name="connsiteX5175" fmla="*/ 5624037 w 10890933"/>
              <a:gd name="connsiteY5175" fmla="*/ 2720698 h 4167549"/>
              <a:gd name="connsiteX5176" fmla="*/ 5652310 w 10890933"/>
              <a:gd name="connsiteY5176" fmla="*/ 2725696 h 4167549"/>
              <a:gd name="connsiteX5177" fmla="*/ 5650018 w 10890933"/>
              <a:gd name="connsiteY5177" fmla="*/ 2734250 h 4167549"/>
              <a:gd name="connsiteX5178" fmla="*/ 5636891 w 10890933"/>
              <a:gd name="connsiteY5178" fmla="*/ 2749066 h 4167549"/>
              <a:gd name="connsiteX5179" fmla="*/ 5615849 w 10890933"/>
              <a:gd name="connsiteY5179" fmla="*/ 2725094 h 4167549"/>
              <a:gd name="connsiteX5180" fmla="*/ 5624037 w 10890933"/>
              <a:gd name="connsiteY5180" fmla="*/ 2720698 h 4167549"/>
              <a:gd name="connsiteX5181" fmla="*/ 5894563 w 10890933"/>
              <a:gd name="connsiteY5181" fmla="*/ 2719447 h 4167549"/>
              <a:gd name="connsiteX5182" fmla="*/ 5885744 w 10890933"/>
              <a:gd name="connsiteY5182" fmla="*/ 2752357 h 4167549"/>
              <a:gd name="connsiteX5183" fmla="*/ 5892358 w 10890933"/>
              <a:gd name="connsiteY5183" fmla="*/ 2727675 h 4167549"/>
              <a:gd name="connsiteX5184" fmla="*/ 5894563 w 10890933"/>
              <a:gd name="connsiteY5184" fmla="*/ 2719447 h 4167549"/>
              <a:gd name="connsiteX5185" fmla="*/ 5857255 w 10890933"/>
              <a:gd name="connsiteY5185" fmla="*/ 2717639 h 4167549"/>
              <a:gd name="connsiteX5186" fmla="*/ 5852983 w 10890933"/>
              <a:gd name="connsiteY5186" fmla="*/ 2724762 h 4167549"/>
              <a:gd name="connsiteX5187" fmla="*/ 5846935 w 10890933"/>
              <a:gd name="connsiteY5187" fmla="*/ 2723595 h 4167549"/>
              <a:gd name="connsiteX5188" fmla="*/ 6716564 w 10890933"/>
              <a:gd name="connsiteY5188" fmla="*/ 2717488 h 4167549"/>
              <a:gd name="connsiteX5189" fmla="*/ 6725108 w 10890933"/>
              <a:gd name="connsiteY5189" fmla="*/ 2719777 h 4167549"/>
              <a:gd name="connsiteX5190" fmla="*/ 6722338 w 10890933"/>
              <a:gd name="connsiteY5190" fmla="*/ 2727857 h 4167549"/>
              <a:gd name="connsiteX5191" fmla="*/ 6716487 w 10890933"/>
              <a:gd name="connsiteY5191" fmla="*/ 2722051 h 4167549"/>
              <a:gd name="connsiteX5192" fmla="*/ 6716564 w 10890933"/>
              <a:gd name="connsiteY5192" fmla="*/ 2717488 h 4167549"/>
              <a:gd name="connsiteX5193" fmla="*/ 6371550 w 10890933"/>
              <a:gd name="connsiteY5193" fmla="*/ 2716451 h 4167549"/>
              <a:gd name="connsiteX5194" fmla="*/ 6370470 w 10890933"/>
              <a:gd name="connsiteY5194" fmla="*/ 2720484 h 4167549"/>
              <a:gd name="connsiteX5195" fmla="*/ 6368977 w 10890933"/>
              <a:gd name="connsiteY5195" fmla="*/ 2726052 h 4167549"/>
              <a:gd name="connsiteX5196" fmla="*/ 6352522 w 10890933"/>
              <a:gd name="connsiteY5196" fmla="*/ 2721643 h 4167549"/>
              <a:gd name="connsiteX5197" fmla="*/ 6358951 w 10890933"/>
              <a:gd name="connsiteY5197" fmla="*/ 2718221 h 4167549"/>
              <a:gd name="connsiteX5198" fmla="*/ 6372233 w 10890933"/>
              <a:gd name="connsiteY5198" fmla="*/ 2713902 h 4167549"/>
              <a:gd name="connsiteX5199" fmla="*/ 6371550 w 10890933"/>
              <a:gd name="connsiteY5199" fmla="*/ 2716451 h 4167549"/>
              <a:gd name="connsiteX5200" fmla="*/ 6371550 w 10890933"/>
              <a:gd name="connsiteY5200" fmla="*/ 2716451 h 4167549"/>
              <a:gd name="connsiteX5201" fmla="*/ 6047863 w 10890933"/>
              <a:gd name="connsiteY5201" fmla="*/ 2708856 h 4167549"/>
              <a:gd name="connsiteX5202" fmla="*/ 6033625 w 10890933"/>
              <a:gd name="connsiteY5202" fmla="*/ 2743483 h 4167549"/>
              <a:gd name="connsiteX5203" fmla="*/ 6042443 w 10890933"/>
              <a:gd name="connsiteY5203" fmla="*/ 2710573 h 4167549"/>
              <a:gd name="connsiteX5204" fmla="*/ 6047863 w 10890933"/>
              <a:gd name="connsiteY5204" fmla="*/ 2708856 h 4167549"/>
              <a:gd name="connsiteX5205" fmla="*/ 421516 w 10890933"/>
              <a:gd name="connsiteY5205" fmla="*/ 2707958 h 4167549"/>
              <a:gd name="connsiteX5206" fmla="*/ 414902 w 10890933"/>
              <a:gd name="connsiteY5206" fmla="*/ 2732641 h 4167549"/>
              <a:gd name="connsiteX5207" fmla="*/ 421516 w 10890933"/>
              <a:gd name="connsiteY5207" fmla="*/ 2707958 h 4167549"/>
              <a:gd name="connsiteX5208" fmla="*/ 5943515 w 10890933"/>
              <a:gd name="connsiteY5208" fmla="*/ 2702042 h 4167549"/>
              <a:gd name="connsiteX5209" fmla="*/ 5942887 w 10890933"/>
              <a:gd name="connsiteY5209" fmla="*/ 2702763 h 4167549"/>
              <a:gd name="connsiteX5210" fmla="*/ 5942335 w 10890933"/>
              <a:gd name="connsiteY5210" fmla="*/ 2702560 h 4167549"/>
              <a:gd name="connsiteX5211" fmla="*/ 5908301 w 10890933"/>
              <a:gd name="connsiteY5211" fmla="*/ 2701084 h 4167549"/>
              <a:gd name="connsiteX5212" fmla="*/ 5916529 w 10890933"/>
              <a:gd name="connsiteY5212" fmla="*/ 2703289 h 4167549"/>
              <a:gd name="connsiteX5213" fmla="*/ 5897318 w 10890933"/>
              <a:gd name="connsiteY5213" fmla="*/ 2709165 h 4167549"/>
              <a:gd name="connsiteX5214" fmla="*/ 5908301 w 10890933"/>
              <a:gd name="connsiteY5214" fmla="*/ 2701084 h 4167549"/>
              <a:gd name="connsiteX5215" fmla="*/ 6096840 w 10890933"/>
              <a:gd name="connsiteY5215" fmla="*/ 2700896 h 4167549"/>
              <a:gd name="connsiteX5216" fmla="*/ 6104443 w 10890933"/>
              <a:gd name="connsiteY5216" fmla="*/ 2709546 h 4167549"/>
              <a:gd name="connsiteX5217" fmla="*/ 6085783 w 10890933"/>
              <a:gd name="connsiteY5217" fmla="*/ 2713365 h 4167549"/>
              <a:gd name="connsiteX5218" fmla="*/ 6091605 w 10890933"/>
              <a:gd name="connsiteY5218" fmla="*/ 2720435 h 4167549"/>
              <a:gd name="connsiteX5219" fmla="*/ 6090858 w 10890933"/>
              <a:gd name="connsiteY5219" fmla="*/ 2724754 h 4167549"/>
              <a:gd name="connsiteX5220" fmla="*/ 6085765 w 10890933"/>
              <a:gd name="connsiteY5220" fmla="*/ 2729894 h 4167549"/>
              <a:gd name="connsiteX5221" fmla="*/ 6081374 w 10890933"/>
              <a:gd name="connsiteY5221" fmla="*/ 2729820 h 4167549"/>
              <a:gd name="connsiteX5222" fmla="*/ 6079760 w 10890933"/>
              <a:gd name="connsiteY5222" fmla="*/ 2702933 h 4167549"/>
              <a:gd name="connsiteX5223" fmla="*/ 6096840 w 10890933"/>
              <a:gd name="connsiteY5223" fmla="*/ 2700896 h 4167549"/>
              <a:gd name="connsiteX5224" fmla="*/ 6411442 w 10890933"/>
              <a:gd name="connsiteY5224" fmla="*/ 2699216 h 4167549"/>
              <a:gd name="connsiteX5225" fmla="*/ 6419669 w 10890933"/>
              <a:gd name="connsiteY5225" fmla="*/ 2701421 h 4167549"/>
              <a:gd name="connsiteX5226" fmla="*/ 6415260 w 10890933"/>
              <a:gd name="connsiteY5226" fmla="*/ 2717876 h 4167549"/>
              <a:gd name="connsiteX5227" fmla="*/ 6411442 w 10890933"/>
              <a:gd name="connsiteY5227" fmla="*/ 2699216 h 4167549"/>
              <a:gd name="connsiteX5228" fmla="*/ 407265 w 10890933"/>
              <a:gd name="connsiteY5228" fmla="*/ 2695321 h 4167549"/>
              <a:gd name="connsiteX5229" fmla="*/ 403368 w 10890933"/>
              <a:gd name="connsiteY5229" fmla="*/ 2742779 h 4167549"/>
              <a:gd name="connsiteX5230" fmla="*/ 407265 w 10890933"/>
              <a:gd name="connsiteY5230" fmla="*/ 2695321 h 4167549"/>
              <a:gd name="connsiteX5231" fmla="*/ 5955462 w 10890933"/>
              <a:gd name="connsiteY5231" fmla="*/ 2687741 h 4167549"/>
              <a:gd name="connsiteX5232" fmla="*/ 5955305 w 10890933"/>
              <a:gd name="connsiteY5232" fmla="*/ 2696867 h 4167549"/>
              <a:gd name="connsiteX5233" fmla="*/ 5943515 w 10890933"/>
              <a:gd name="connsiteY5233" fmla="*/ 2702042 h 4167549"/>
              <a:gd name="connsiteX5234" fmla="*/ 5946971 w 10890933"/>
              <a:gd name="connsiteY5234" fmla="*/ 2698072 h 4167549"/>
              <a:gd name="connsiteX5235" fmla="*/ 5955462 w 10890933"/>
              <a:gd name="connsiteY5235" fmla="*/ 2687741 h 4167549"/>
              <a:gd name="connsiteX5236" fmla="*/ 7778634 w 10890933"/>
              <a:gd name="connsiteY5236" fmla="*/ 2686920 h 4167549"/>
              <a:gd name="connsiteX5237" fmla="*/ 7823744 w 10890933"/>
              <a:gd name="connsiteY5237" fmla="*/ 2694047 h 4167549"/>
              <a:gd name="connsiteX5238" fmla="*/ 7821540 w 10890933"/>
              <a:gd name="connsiteY5238" fmla="*/ 2702275 h 4167549"/>
              <a:gd name="connsiteX5239" fmla="*/ 7776974 w 10890933"/>
              <a:gd name="connsiteY5239" fmla="*/ 2690333 h 4167549"/>
              <a:gd name="connsiteX5240" fmla="*/ 7768060 w 10890933"/>
              <a:gd name="connsiteY5240" fmla="*/ 2687945 h 4167549"/>
              <a:gd name="connsiteX5241" fmla="*/ 7778634 w 10890933"/>
              <a:gd name="connsiteY5241" fmla="*/ 2686920 h 4167549"/>
              <a:gd name="connsiteX5242" fmla="*/ 9163909 w 10890933"/>
              <a:gd name="connsiteY5242" fmla="*/ 2678369 h 4167549"/>
              <a:gd name="connsiteX5243" fmla="*/ 9217093 w 10890933"/>
              <a:gd name="connsiteY5243" fmla="*/ 2710256 h 4167549"/>
              <a:gd name="connsiteX5244" fmla="*/ 9163909 w 10890933"/>
              <a:gd name="connsiteY5244" fmla="*/ 2678369 h 4167549"/>
              <a:gd name="connsiteX5245" fmla="*/ 5886323 w 10890933"/>
              <a:gd name="connsiteY5245" fmla="*/ 2675824 h 4167549"/>
              <a:gd name="connsiteX5246" fmla="*/ 5899602 w 10890933"/>
              <a:gd name="connsiteY5246" fmla="*/ 2700639 h 4167549"/>
              <a:gd name="connsiteX5247" fmla="*/ 5872192 w 10890933"/>
              <a:gd name="connsiteY5247" fmla="*/ 2701563 h 4167549"/>
              <a:gd name="connsiteX5248" fmla="*/ 5846703 w 10890933"/>
              <a:gd name="connsiteY5248" fmla="*/ 2723549 h 4167549"/>
              <a:gd name="connsiteX5249" fmla="*/ 5837261 w 10890933"/>
              <a:gd name="connsiteY5249" fmla="*/ 2721730 h 4167549"/>
              <a:gd name="connsiteX5250" fmla="*/ 5850802 w 10890933"/>
              <a:gd name="connsiteY5250" fmla="*/ 2706461 h 4167549"/>
              <a:gd name="connsiteX5251" fmla="*/ 5853164 w 10890933"/>
              <a:gd name="connsiteY5251" fmla="*/ 2697645 h 4167549"/>
              <a:gd name="connsiteX5252" fmla="*/ 5841986 w 10890933"/>
              <a:gd name="connsiteY5252" fmla="*/ 2704098 h 4167549"/>
              <a:gd name="connsiteX5253" fmla="*/ 5861979 w 10890933"/>
              <a:gd name="connsiteY5253" fmla="*/ 2700007 h 4167549"/>
              <a:gd name="connsiteX5254" fmla="*/ 5866703 w 10890933"/>
              <a:gd name="connsiteY5254" fmla="*/ 2682378 h 4167549"/>
              <a:gd name="connsiteX5255" fmla="*/ 5877881 w 10890933"/>
              <a:gd name="connsiteY5255" fmla="*/ 2675925 h 4167549"/>
              <a:gd name="connsiteX5256" fmla="*/ 5886323 w 10890933"/>
              <a:gd name="connsiteY5256" fmla="*/ 2675824 h 4167549"/>
              <a:gd name="connsiteX5257" fmla="*/ 8171021 w 10890933"/>
              <a:gd name="connsiteY5257" fmla="*/ 2669605 h 4167549"/>
              <a:gd name="connsiteX5258" fmla="*/ 8192985 w 10890933"/>
              <a:gd name="connsiteY5258" fmla="*/ 2671460 h 4167549"/>
              <a:gd name="connsiteX5259" fmla="*/ 8185076 w 10890933"/>
              <a:gd name="connsiteY5259" fmla="*/ 2671821 h 4167549"/>
              <a:gd name="connsiteX5260" fmla="*/ 8171021 w 10890933"/>
              <a:gd name="connsiteY5260" fmla="*/ 2669605 h 4167549"/>
              <a:gd name="connsiteX5261" fmla="*/ 9398766 w 10890933"/>
              <a:gd name="connsiteY5261" fmla="*/ 2657525 h 4167549"/>
              <a:gd name="connsiteX5262" fmla="*/ 9480409 w 10890933"/>
              <a:gd name="connsiteY5262" fmla="*/ 2672787 h 4167549"/>
              <a:gd name="connsiteX5263" fmla="*/ 9577944 w 10890933"/>
              <a:gd name="connsiteY5263" fmla="*/ 2705535 h 4167549"/>
              <a:gd name="connsiteX5264" fmla="*/ 9595008 w 10890933"/>
              <a:gd name="connsiteY5264" fmla="*/ 2710107 h 4167549"/>
              <a:gd name="connsiteX5265" fmla="*/ 9558676 w 10890933"/>
              <a:gd name="connsiteY5265" fmla="*/ 2709190 h 4167549"/>
              <a:gd name="connsiteX5266" fmla="*/ 9398766 w 10890933"/>
              <a:gd name="connsiteY5266" fmla="*/ 2657525 h 4167549"/>
              <a:gd name="connsiteX5267" fmla="*/ 7996253 w 10890933"/>
              <a:gd name="connsiteY5267" fmla="*/ 2656993 h 4167549"/>
              <a:gd name="connsiteX5268" fmla="*/ 8045216 w 10890933"/>
              <a:gd name="connsiteY5268" fmla="*/ 2679281 h 4167549"/>
              <a:gd name="connsiteX5269" fmla="*/ 7983129 w 10890933"/>
              <a:gd name="connsiteY5269" fmla="*/ 2671810 h 4167549"/>
              <a:gd name="connsiteX5270" fmla="*/ 7996253 w 10890933"/>
              <a:gd name="connsiteY5270" fmla="*/ 2656993 h 4167549"/>
              <a:gd name="connsiteX5271" fmla="*/ 391401 w 10890933"/>
              <a:gd name="connsiteY5271" fmla="*/ 2655798 h 4167549"/>
              <a:gd name="connsiteX5272" fmla="*/ 395219 w 10890933"/>
              <a:gd name="connsiteY5272" fmla="*/ 2674457 h 4167549"/>
              <a:gd name="connsiteX5273" fmla="*/ 393015 w 10890933"/>
              <a:gd name="connsiteY5273" fmla="*/ 2682685 h 4167549"/>
              <a:gd name="connsiteX5274" fmla="*/ 391401 w 10890933"/>
              <a:gd name="connsiteY5274" fmla="*/ 2655798 h 4167549"/>
              <a:gd name="connsiteX5275" fmla="*/ 8127218 w 10890933"/>
              <a:gd name="connsiteY5275" fmla="*/ 2647500 h 4167549"/>
              <a:gd name="connsiteX5276" fmla="*/ 8157924 w 10890933"/>
              <a:gd name="connsiteY5276" fmla="*/ 2664545 h 4167549"/>
              <a:gd name="connsiteX5277" fmla="*/ 8104150 w 10890933"/>
              <a:gd name="connsiteY5277" fmla="*/ 2667773 h 4167549"/>
              <a:gd name="connsiteX5278" fmla="*/ 8127218 w 10890933"/>
              <a:gd name="connsiteY5278" fmla="*/ 2647500 h 4167549"/>
              <a:gd name="connsiteX5279" fmla="*/ 7525511 w 10890933"/>
              <a:gd name="connsiteY5279" fmla="*/ 2640590 h 4167549"/>
              <a:gd name="connsiteX5280" fmla="*/ 7532509 w 10890933"/>
              <a:gd name="connsiteY5280" fmla="*/ 2641485 h 4167549"/>
              <a:gd name="connsiteX5281" fmla="*/ 7534194 w 10890933"/>
              <a:gd name="connsiteY5281" fmla="*/ 2642917 h 4167549"/>
              <a:gd name="connsiteX5282" fmla="*/ 7525511 w 10890933"/>
              <a:gd name="connsiteY5282" fmla="*/ 2640590 h 4167549"/>
              <a:gd name="connsiteX5283" fmla="*/ 7618056 w 10890933"/>
              <a:gd name="connsiteY5283" fmla="*/ 2638936 h 4167549"/>
              <a:gd name="connsiteX5284" fmla="*/ 7667421 w 10890933"/>
              <a:gd name="connsiteY5284" fmla="*/ 2652163 h 4167549"/>
              <a:gd name="connsiteX5285" fmla="*/ 7618056 w 10890933"/>
              <a:gd name="connsiteY5285" fmla="*/ 2638936 h 4167549"/>
              <a:gd name="connsiteX5286" fmla="*/ 433129 w 10890933"/>
              <a:gd name="connsiteY5286" fmla="*/ 2631706 h 4167549"/>
              <a:gd name="connsiteX5287" fmla="*/ 439152 w 10890933"/>
              <a:gd name="connsiteY5287" fmla="*/ 2642138 h 4167549"/>
              <a:gd name="connsiteX5288" fmla="*/ 422697 w 10890933"/>
              <a:gd name="connsiteY5288" fmla="*/ 2637729 h 4167549"/>
              <a:gd name="connsiteX5289" fmla="*/ 433129 w 10890933"/>
              <a:gd name="connsiteY5289" fmla="*/ 2631706 h 4167549"/>
              <a:gd name="connsiteX5290" fmla="*/ 9357925 w 10890933"/>
              <a:gd name="connsiteY5290" fmla="*/ 2628945 h 4167549"/>
              <a:gd name="connsiteX5291" fmla="*/ 9384518 w 10890933"/>
              <a:gd name="connsiteY5291" fmla="*/ 2644889 h 4167549"/>
              <a:gd name="connsiteX5292" fmla="*/ 9355721 w 10890933"/>
              <a:gd name="connsiteY5292" fmla="*/ 2637172 h 4167549"/>
              <a:gd name="connsiteX5293" fmla="*/ 9357925 w 10890933"/>
              <a:gd name="connsiteY5293" fmla="*/ 2628945 h 4167549"/>
              <a:gd name="connsiteX5294" fmla="*/ 8940057 w 10890933"/>
              <a:gd name="connsiteY5294" fmla="*/ 2628309 h 4167549"/>
              <a:gd name="connsiteX5295" fmla="*/ 8991131 w 10890933"/>
              <a:gd name="connsiteY5295" fmla="*/ 2632074 h 4167549"/>
              <a:gd name="connsiteX5296" fmla="*/ 8986722 w 10890933"/>
              <a:gd name="connsiteY5296" fmla="*/ 2648529 h 4167549"/>
              <a:gd name="connsiteX5297" fmla="*/ 8929129 w 10890933"/>
              <a:gd name="connsiteY5297" fmla="*/ 2633097 h 4167549"/>
              <a:gd name="connsiteX5298" fmla="*/ 8940057 w 10890933"/>
              <a:gd name="connsiteY5298" fmla="*/ 2628309 h 4167549"/>
              <a:gd name="connsiteX5299" fmla="*/ 7537920 w 10890933"/>
              <a:gd name="connsiteY5299" fmla="*/ 2627381 h 4167549"/>
              <a:gd name="connsiteX5300" fmla="*/ 7592918 w 10890933"/>
              <a:gd name="connsiteY5300" fmla="*/ 2632197 h 4167549"/>
              <a:gd name="connsiteX5301" fmla="*/ 7588509 w 10890933"/>
              <a:gd name="connsiteY5301" fmla="*/ 2648652 h 4167549"/>
              <a:gd name="connsiteX5302" fmla="*/ 7532509 w 10890933"/>
              <a:gd name="connsiteY5302" fmla="*/ 2641485 h 4167549"/>
              <a:gd name="connsiteX5303" fmla="*/ 7519029 w 10890933"/>
              <a:gd name="connsiteY5303" fmla="*/ 2630035 h 4167549"/>
              <a:gd name="connsiteX5304" fmla="*/ 7537920 w 10890933"/>
              <a:gd name="connsiteY5304" fmla="*/ 2627381 h 4167549"/>
              <a:gd name="connsiteX5305" fmla="*/ 8952747 w 10890933"/>
              <a:gd name="connsiteY5305" fmla="*/ 2610765 h 4167549"/>
              <a:gd name="connsiteX5306" fmla="*/ 9006237 w 10890933"/>
              <a:gd name="connsiteY5306" fmla="*/ 2615177 h 4167549"/>
              <a:gd name="connsiteX5307" fmla="*/ 9071773 w 10890933"/>
              <a:gd name="connsiteY5307" fmla="*/ 2642658 h 4167549"/>
              <a:gd name="connsiteX5308" fmla="*/ 9060792 w 10890933"/>
              <a:gd name="connsiteY5308" fmla="*/ 2649637 h 4167549"/>
              <a:gd name="connsiteX5309" fmla="*/ 9037766 w 10890933"/>
              <a:gd name="connsiteY5309" fmla="*/ 2633546 h 4167549"/>
              <a:gd name="connsiteX5310" fmla="*/ 9035286 w 10890933"/>
              <a:gd name="connsiteY5310" fmla="*/ 2642802 h 4167549"/>
              <a:gd name="connsiteX5311" fmla="*/ 9034401 w 10890933"/>
              <a:gd name="connsiteY5311" fmla="*/ 2637605 h 4167549"/>
              <a:gd name="connsiteX5312" fmla="*/ 9028555 w 10890933"/>
              <a:gd name="connsiteY5312" fmla="*/ 2633914 h 4167549"/>
              <a:gd name="connsiteX5313" fmla="*/ 9029264 w 10890933"/>
              <a:gd name="connsiteY5313" fmla="*/ 2631268 h 4167549"/>
              <a:gd name="connsiteX5314" fmla="*/ 9020762 w 10890933"/>
              <a:gd name="connsiteY5314" fmla="*/ 2628990 h 4167549"/>
              <a:gd name="connsiteX5315" fmla="*/ 9028555 w 10890933"/>
              <a:gd name="connsiteY5315" fmla="*/ 2633914 h 4167549"/>
              <a:gd name="connsiteX5316" fmla="*/ 9024304 w 10890933"/>
              <a:gd name="connsiteY5316" fmla="*/ 2649781 h 4167549"/>
              <a:gd name="connsiteX5317" fmla="*/ 9018282 w 10890933"/>
              <a:gd name="connsiteY5317" fmla="*/ 2638246 h 4167549"/>
              <a:gd name="connsiteX5318" fmla="*/ 8961249 w 10890933"/>
              <a:gd name="connsiteY5318" fmla="*/ 2613043 h 4167549"/>
              <a:gd name="connsiteX5319" fmla="*/ 8952747 w 10890933"/>
              <a:gd name="connsiteY5319" fmla="*/ 2610765 h 4167549"/>
              <a:gd name="connsiteX5320" fmla="*/ 8904728 w 10890933"/>
              <a:gd name="connsiteY5320" fmla="*/ 2603689 h 4167549"/>
              <a:gd name="connsiteX5321" fmla="*/ 8907369 w 10890933"/>
              <a:gd name="connsiteY5321" fmla="*/ 2608530 h 4167549"/>
              <a:gd name="connsiteX5322" fmla="*/ 8903247 w 10890933"/>
              <a:gd name="connsiteY5322" fmla="*/ 2603906 h 4167549"/>
              <a:gd name="connsiteX5323" fmla="*/ 8912041 w 10890933"/>
              <a:gd name="connsiteY5323" fmla="*/ 2591645 h 4167549"/>
              <a:gd name="connsiteX5324" fmla="*/ 8921317 w 10890933"/>
              <a:gd name="connsiteY5324" fmla="*/ 2596144 h 4167549"/>
              <a:gd name="connsiteX5325" fmla="*/ 8916185 w 10890933"/>
              <a:gd name="connsiteY5325" fmla="*/ 2610892 h 4167549"/>
              <a:gd name="connsiteX5326" fmla="*/ 8918665 w 10890933"/>
              <a:gd name="connsiteY5326" fmla="*/ 2601636 h 4167549"/>
              <a:gd name="connsiteX5327" fmla="*/ 8904728 w 10890933"/>
              <a:gd name="connsiteY5327" fmla="*/ 2603689 h 4167549"/>
              <a:gd name="connsiteX5328" fmla="*/ 8901033 w 10890933"/>
              <a:gd name="connsiteY5328" fmla="*/ 2596911 h 4167549"/>
              <a:gd name="connsiteX5329" fmla="*/ 8912041 w 10890933"/>
              <a:gd name="connsiteY5329" fmla="*/ 2591645 h 4167549"/>
              <a:gd name="connsiteX5330" fmla="*/ 605996 w 10890933"/>
              <a:gd name="connsiteY5330" fmla="*/ 2591565 h 4167549"/>
              <a:gd name="connsiteX5331" fmla="*/ 604186 w 10890933"/>
              <a:gd name="connsiteY5331" fmla="*/ 2601554 h 4167549"/>
              <a:gd name="connsiteX5332" fmla="*/ 613750 w 10890933"/>
              <a:gd name="connsiteY5332" fmla="*/ 2595246 h 4167549"/>
              <a:gd name="connsiteX5333" fmla="*/ 8874586 w 10890933"/>
              <a:gd name="connsiteY5333" fmla="*/ 2589825 h 4167549"/>
              <a:gd name="connsiteX5334" fmla="*/ 8892837 w 10890933"/>
              <a:gd name="connsiteY5334" fmla="*/ 2592235 h 4167549"/>
              <a:gd name="connsiteX5335" fmla="*/ 8903247 w 10890933"/>
              <a:gd name="connsiteY5335" fmla="*/ 2603906 h 4167549"/>
              <a:gd name="connsiteX5336" fmla="*/ 8897762 w 10890933"/>
              <a:gd name="connsiteY5336" fmla="*/ 2604714 h 4167549"/>
              <a:gd name="connsiteX5337" fmla="*/ 8872106 w 10890933"/>
              <a:gd name="connsiteY5337" fmla="*/ 2599081 h 4167549"/>
              <a:gd name="connsiteX5338" fmla="*/ 8874586 w 10890933"/>
              <a:gd name="connsiteY5338" fmla="*/ 2589825 h 4167549"/>
              <a:gd name="connsiteX5339" fmla="*/ 7035186 w 10890933"/>
              <a:gd name="connsiteY5339" fmla="*/ 2574812 h 4167549"/>
              <a:gd name="connsiteX5340" fmla="*/ 7047219 w 10890933"/>
              <a:gd name="connsiteY5340" fmla="*/ 2576890 h 4167549"/>
              <a:gd name="connsiteX5341" fmla="*/ 7044927 w 10890933"/>
              <a:gd name="connsiteY5341" fmla="*/ 2585444 h 4167549"/>
              <a:gd name="connsiteX5342" fmla="*/ 7035259 w 10890933"/>
              <a:gd name="connsiteY5342" fmla="*/ 2580418 h 4167549"/>
              <a:gd name="connsiteX5343" fmla="*/ 7029293 w 10890933"/>
              <a:gd name="connsiteY5343" fmla="*/ 2581255 h 4167549"/>
              <a:gd name="connsiteX5344" fmla="*/ 7027843 w 10890933"/>
              <a:gd name="connsiteY5344" fmla="*/ 2580866 h 4167549"/>
              <a:gd name="connsiteX5345" fmla="*/ 7035186 w 10890933"/>
              <a:gd name="connsiteY5345" fmla="*/ 2574812 h 4167549"/>
              <a:gd name="connsiteX5346" fmla="*/ 624114 w 10890933"/>
              <a:gd name="connsiteY5346" fmla="*/ 2560225 h 4167549"/>
              <a:gd name="connsiteX5347" fmla="*/ 624703 w 10890933"/>
              <a:gd name="connsiteY5347" fmla="*/ 2560325 h 4167549"/>
              <a:gd name="connsiteX5348" fmla="*/ 624188 w 10890933"/>
              <a:gd name="connsiteY5348" fmla="*/ 2561072 h 4167549"/>
              <a:gd name="connsiteX5349" fmla="*/ 344539 w 10890933"/>
              <a:gd name="connsiteY5349" fmla="*/ 2557742 h 4167549"/>
              <a:gd name="connsiteX5350" fmla="*/ 344742 w 10890933"/>
              <a:gd name="connsiteY5350" fmla="*/ 2558419 h 4167549"/>
              <a:gd name="connsiteX5351" fmla="*/ 342409 w 10890933"/>
              <a:gd name="connsiteY5351" fmla="*/ 2558896 h 4167549"/>
              <a:gd name="connsiteX5352" fmla="*/ 620231 w 10890933"/>
              <a:gd name="connsiteY5352" fmla="*/ 2541676 h 4167549"/>
              <a:gd name="connsiteX5353" fmla="*/ 623069 w 10890933"/>
              <a:gd name="connsiteY5353" fmla="*/ 2548166 h 4167549"/>
              <a:gd name="connsiteX5354" fmla="*/ 624114 w 10890933"/>
              <a:gd name="connsiteY5354" fmla="*/ 2560225 h 4167549"/>
              <a:gd name="connsiteX5355" fmla="*/ 615646 w 10890933"/>
              <a:gd name="connsiteY5355" fmla="*/ 2558784 h 4167549"/>
              <a:gd name="connsiteX5356" fmla="*/ 620231 w 10890933"/>
              <a:gd name="connsiteY5356" fmla="*/ 2541676 h 4167549"/>
              <a:gd name="connsiteX5357" fmla="*/ 338591 w 10890933"/>
              <a:gd name="connsiteY5357" fmla="*/ 2540236 h 4167549"/>
              <a:gd name="connsiteX5358" fmla="*/ 350637 w 10890933"/>
              <a:gd name="connsiteY5358" fmla="*/ 2561100 h 4167549"/>
              <a:gd name="connsiteX5359" fmla="*/ 345472 w 10890933"/>
              <a:gd name="connsiteY5359" fmla="*/ 2557236 h 4167549"/>
              <a:gd name="connsiteX5360" fmla="*/ 344539 w 10890933"/>
              <a:gd name="connsiteY5360" fmla="*/ 2557742 h 4167549"/>
              <a:gd name="connsiteX5361" fmla="*/ 342266 w 10890933"/>
              <a:gd name="connsiteY5361" fmla="*/ 2550177 h 4167549"/>
              <a:gd name="connsiteX5362" fmla="*/ 336386 w 10890933"/>
              <a:gd name="connsiteY5362" fmla="*/ 2548464 h 4167549"/>
              <a:gd name="connsiteX5363" fmla="*/ 338591 w 10890933"/>
              <a:gd name="connsiteY5363" fmla="*/ 2540236 h 4167549"/>
              <a:gd name="connsiteX5364" fmla="*/ 9818951 w 10890933"/>
              <a:gd name="connsiteY5364" fmla="*/ 2528165 h 4167549"/>
              <a:gd name="connsiteX5365" fmla="*/ 9859530 w 10890933"/>
              <a:gd name="connsiteY5365" fmla="*/ 2534078 h 4167549"/>
              <a:gd name="connsiteX5366" fmla="*/ 9816187 w 10890933"/>
              <a:gd name="connsiteY5366" fmla="*/ 2531282 h 4167549"/>
              <a:gd name="connsiteX5367" fmla="*/ 9818951 w 10890933"/>
              <a:gd name="connsiteY5367" fmla="*/ 2528165 h 4167549"/>
              <a:gd name="connsiteX5368" fmla="*/ 370252 w 10890933"/>
              <a:gd name="connsiteY5368" fmla="*/ 2522632 h 4167549"/>
              <a:gd name="connsiteX5369" fmla="*/ 385324 w 10890933"/>
              <a:gd name="connsiteY5369" fmla="*/ 2535858 h 4167549"/>
              <a:gd name="connsiteX5370" fmla="*/ 383028 w 10890933"/>
              <a:gd name="connsiteY5370" fmla="*/ 2544428 h 4167549"/>
              <a:gd name="connsiteX5371" fmla="*/ 400398 w 10890933"/>
              <a:gd name="connsiteY5371" fmla="*/ 2549082 h 4167549"/>
              <a:gd name="connsiteX5372" fmla="*/ 407288 w 10890933"/>
              <a:gd name="connsiteY5372" fmla="*/ 2523371 h 4167549"/>
              <a:gd name="connsiteX5373" fmla="*/ 409082 w 10890933"/>
              <a:gd name="connsiteY5373" fmla="*/ 2551409 h 4167549"/>
              <a:gd name="connsiteX5374" fmla="*/ 432841 w 10890933"/>
              <a:gd name="connsiteY5374" fmla="*/ 2566960 h 4167549"/>
              <a:gd name="connsiteX5375" fmla="*/ 412673 w 10890933"/>
              <a:gd name="connsiteY5375" fmla="*/ 2607486 h 4167549"/>
              <a:gd name="connsiteX5376" fmla="*/ 386619 w 10890933"/>
              <a:gd name="connsiteY5376" fmla="*/ 2600505 h 4167549"/>
              <a:gd name="connsiteX5377" fmla="*/ 391213 w 10890933"/>
              <a:gd name="connsiteY5377" fmla="*/ 2583363 h 4167549"/>
              <a:gd name="connsiteX5378" fmla="*/ 373843 w 10890933"/>
              <a:gd name="connsiteY5378" fmla="*/ 2578709 h 4167549"/>
              <a:gd name="connsiteX5379" fmla="*/ 363599 w 10890933"/>
              <a:gd name="connsiteY5379" fmla="*/ 2590892 h 4167549"/>
              <a:gd name="connsiteX5380" fmla="*/ 364501 w 10890933"/>
              <a:gd name="connsiteY5380" fmla="*/ 2609718 h 4167549"/>
              <a:gd name="connsiteX5381" fmla="*/ 376245 w 10890933"/>
              <a:gd name="connsiteY5381" fmla="*/ 2615175 h 4167549"/>
              <a:gd name="connsiteX5382" fmla="*/ 377851 w 10890933"/>
              <a:gd name="connsiteY5382" fmla="*/ 2632326 h 4167549"/>
              <a:gd name="connsiteX5383" fmla="*/ 379712 w 10890933"/>
              <a:gd name="connsiteY5383" fmla="*/ 2625383 h 4167549"/>
              <a:gd name="connsiteX5384" fmla="*/ 378752 w 10890933"/>
              <a:gd name="connsiteY5384" fmla="*/ 2624851 h 4167549"/>
              <a:gd name="connsiteX5385" fmla="*/ 411481 w 10890933"/>
              <a:gd name="connsiteY5385" fmla="*/ 2613779 h 4167549"/>
              <a:gd name="connsiteX5386" fmla="*/ 406520 w 10890933"/>
              <a:gd name="connsiteY5386" fmla="*/ 2632292 h 4167549"/>
              <a:gd name="connsiteX5387" fmla="*/ 391706 w 10890933"/>
              <a:gd name="connsiteY5387" fmla="*/ 2632041 h 4167549"/>
              <a:gd name="connsiteX5388" fmla="*/ 380222 w 10890933"/>
              <a:gd name="connsiteY5388" fmla="*/ 2625667 h 4167549"/>
              <a:gd name="connsiteX5389" fmla="*/ 380127 w 10890933"/>
              <a:gd name="connsiteY5389" fmla="*/ 2637712 h 4167549"/>
              <a:gd name="connsiteX5390" fmla="*/ 373075 w 10890933"/>
              <a:gd name="connsiteY5390" fmla="*/ 2650151 h 4167549"/>
              <a:gd name="connsiteX5391" fmla="*/ 366207 w 10890933"/>
              <a:gd name="connsiteY5391" fmla="*/ 2638760 h 4167549"/>
              <a:gd name="connsiteX5392" fmla="*/ 373895 w 10890933"/>
              <a:gd name="connsiteY5392" fmla="*/ 2619322 h 4167549"/>
              <a:gd name="connsiteX5393" fmla="*/ 364512 w 10890933"/>
              <a:gd name="connsiteY5393" fmla="*/ 2609934 h 4167549"/>
              <a:gd name="connsiteX5394" fmla="*/ 364656 w 10890933"/>
              <a:gd name="connsiteY5394" fmla="*/ 2612992 h 4167549"/>
              <a:gd name="connsiteX5395" fmla="*/ 356473 w 10890933"/>
              <a:gd name="connsiteY5395" fmla="*/ 2574054 h 4167549"/>
              <a:gd name="connsiteX5396" fmla="*/ 378435 w 10890933"/>
              <a:gd name="connsiteY5396" fmla="*/ 2561569 h 4167549"/>
              <a:gd name="connsiteX5397" fmla="*/ 354679 w 10890933"/>
              <a:gd name="connsiteY5397" fmla="*/ 2546016 h 4167549"/>
              <a:gd name="connsiteX5398" fmla="*/ 372049 w 10890933"/>
              <a:gd name="connsiteY5398" fmla="*/ 2550671 h 4167549"/>
              <a:gd name="connsiteX5399" fmla="*/ 370252 w 10890933"/>
              <a:gd name="connsiteY5399" fmla="*/ 2522632 h 4167549"/>
              <a:gd name="connsiteX5400" fmla="*/ 573450 w 10890933"/>
              <a:gd name="connsiteY5400" fmla="*/ 2519395 h 4167549"/>
              <a:gd name="connsiteX5401" fmla="*/ 581677 w 10890933"/>
              <a:gd name="connsiteY5401" fmla="*/ 2521599 h 4167549"/>
              <a:gd name="connsiteX5402" fmla="*/ 585055 w 10890933"/>
              <a:gd name="connsiteY5402" fmla="*/ 2541904 h 4167549"/>
              <a:gd name="connsiteX5403" fmla="*/ 553097 w 10890933"/>
              <a:gd name="connsiteY5403" fmla="*/ 2562443 h 4167549"/>
              <a:gd name="connsiteX5404" fmla="*/ 560372 w 10890933"/>
              <a:gd name="connsiteY5404" fmla="*/ 2535291 h 4167549"/>
              <a:gd name="connsiteX5405" fmla="*/ 563750 w 10890933"/>
              <a:gd name="connsiteY5405" fmla="*/ 2555596 h 4167549"/>
              <a:gd name="connsiteX5406" fmla="*/ 573450 w 10890933"/>
              <a:gd name="connsiteY5406" fmla="*/ 2519395 h 4167549"/>
              <a:gd name="connsiteX5407" fmla="*/ 9715478 w 10890933"/>
              <a:gd name="connsiteY5407" fmla="*/ 2510056 h 4167549"/>
              <a:gd name="connsiteX5408" fmla="*/ 9715716 w 10890933"/>
              <a:gd name="connsiteY5408" fmla="*/ 2511357 h 4167549"/>
              <a:gd name="connsiteX5409" fmla="*/ 9712167 w 10890933"/>
              <a:gd name="connsiteY5409" fmla="*/ 2512226 h 4167549"/>
              <a:gd name="connsiteX5410" fmla="*/ 9729369 w 10890933"/>
              <a:gd name="connsiteY5410" fmla="*/ 2508017 h 4167549"/>
              <a:gd name="connsiteX5411" fmla="*/ 9727104 w 10890933"/>
              <a:gd name="connsiteY5411" fmla="*/ 2525046 h 4167549"/>
              <a:gd name="connsiteX5412" fmla="*/ 9716696 w 10890933"/>
              <a:gd name="connsiteY5412" fmla="*/ 2516747 h 4167549"/>
              <a:gd name="connsiteX5413" fmla="*/ 9715716 w 10890933"/>
              <a:gd name="connsiteY5413" fmla="*/ 2511357 h 4167549"/>
              <a:gd name="connsiteX5414" fmla="*/ 9698559 w 10890933"/>
              <a:gd name="connsiteY5414" fmla="*/ 2506237 h 4167549"/>
              <a:gd name="connsiteX5415" fmla="*/ 9727104 w 10890933"/>
              <a:gd name="connsiteY5415" fmla="*/ 2525046 h 4167549"/>
              <a:gd name="connsiteX5416" fmla="*/ 9787096 w 10890933"/>
              <a:gd name="connsiteY5416" fmla="*/ 2541121 h 4167549"/>
              <a:gd name="connsiteX5417" fmla="*/ 9684250 w 10890933"/>
              <a:gd name="connsiteY5417" fmla="*/ 2513564 h 4167549"/>
              <a:gd name="connsiteX5418" fmla="*/ 9695028 w 10890933"/>
              <a:gd name="connsiteY5418" fmla="*/ 2507633 h 4167549"/>
              <a:gd name="connsiteX5419" fmla="*/ 9698559 w 10890933"/>
              <a:gd name="connsiteY5419" fmla="*/ 2506237 h 4167549"/>
              <a:gd name="connsiteX5420" fmla="*/ 9748457 w 10890933"/>
              <a:gd name="connsiteY5420" fmla="*/ 2504313 h 4167549"/>
              <a:gd name="connsiteX5421" fmla="*/ 9744048 w 10890933"/>
              <a:gd name="connsiteY5421" fmla="*/ 2520768 h 4167549"/>
              <a:gd name="connsiteX5422" fmla="*/ 9748457 w 10890933"/>
              <a:gd name="connsiteY5422" fmla="*/ 2504313 h 4167549"/>
              <a:gd name="connsiteX5423" fmla="*/ 9714372 w 10890933"/>
              <a:gd name="connsiteY5423" fmla="*/ 2503998 h 4167549"/>
              <a:gd name="connsiteX5424" fmla="*/ 9720525 w 10890933"/>
              <a:gd name="connsiteY5424" fmla="*/ 2506749 h 4167549"/>
              <a:gd name="connsiteX5425" fmla="*/ 9715478 w 10890933"/>
              <a:gd name="connsiteY5425" fmla="*/ 2510056 h 4167549"/>
              <a:gd name="connsiteX5426" fmla="*/ 9740230 w 10890933"/>
              <a:gd name="connsiteY5426" fmla="*/ 2502109 h 4167549"/>
              <a:gd name="connsiteX5427" fmla="*/ 9748457 w 10890933"/>
              <a:gd name="connsiteY5427" fmla="*/ 2504313 h 4167549"/>
              <a:gd name="connsiteX5428" fmla="*/ 9738025 w 10890933"/>
              <a:gd name="connsiteY5428" fmla="*/ 2510336 h 4167549"/>
              <a:gd name="connsiteX5429" fmla="*/ 9740230 w 10890933"/>
              <a:gd name="connsiteY5429" fmla="*/ 2502109 h 4167549"/>
              <a:gd name="connsiteX5430" fmla="*/ 588293 w 10890933"/>
              <a:gd name="connsiteY5430" fmla="*/ 2496917 h 4167549"/>
              <a:gd name="connsiteX5431" fmla="*/ 586089 w 10890933"/>
              <a:gd name="connsiteY5431" fmla="*/ 2505145 h 4167549"/>
              <a:gd name="connsiteX5432" fmla="*/ 569634 w 10890933"/>
              <a:gd name="connsiteY5432" fmla="*/ 2500736 h 4167549"/>
              <a:gd name="connsiteX5433" fmla="*/ 588293 w 10890933"/>
              <a:gd name="connsiteY5433" fmla="*/ 2496917 h 4167549"/>
              <a:gd name="connsiteX5434" fmla="*/ 9368147 w 10890933"/>
              <a:gd name="connsiteY5434" fmla="*/ 2492064 h 4167549"/>
              <a:gd name="connsiteX5435" fmla="*/ 9400314 w 10890933"/>
              <a:gd name="connsiteY5435" fmla="*/ 2510973 h 4167549"/>
              <a:gd name="connsiteX5436" fmla="*/ 9385517 w 10890933"/>
              <a:gd name="connsiteY5436" fmla="*/ 2496718 h 4167549"/>
              <a:gd name="connsiteX5437" fmla="*/ 9408998 w 10890933"/>
              <a:gd name="connsiteY5437" fmla="*/ 2513300 h 4167549"/>
              <a:gd name="connsiteX5438" fmla="*/ 9422829 w 10890933"/>
              <a:gd name="connsiteY5438" fmla="*/ 2496428 h 4167549"/>
              <a:gd name="connsiteX5439" fmla="*/ 9435054 w 10890933"/>
              <a:gd name="connsiteY5439" fmla="*/ 2520282 h 4167549"/>
              <a:gd name="connsiteX5440" fmla="*/ 9368147 w 10890933"/>
              <a:gd name="connsiteY5440" fmla="*/ 2492064 h 4167549"/>
              <a:gd name="connsiteX5441" fmla="*/ 9335237 w 10890933"/>
              <a:gd name="connsiteY5441" fmla="*/ 2483246 h 4167549"/>
              <a:gd name="connsiteX5442" fmla="*/ 9359920 w 10890933"/>
              <a:gd name="connsiteY5442" fmla="*/ 2489859 h 4167549"/>
              <a:gd name="connsiteX5443" fmla="*/ 9335237 w 10890933"/>
              <a:gd name="connsiteY5443" fmla="*/ 2483246 h 4167549"/>
              <a:gd name="connsiteX5444" fmla="*/ 598229 w 10890933"/>
              <a:gd name="connsiteY5444" fmla="*/ 2446463 h 4167549"/>
              <a:gd name="connsiteX5445" fmla="*/ 600488 w 10890933"/>
              <a:gd name="connsiteY5445" fmla="*/ 2451408 h 4167549"/>
              <a:gd name="connsiteX5446" fmla="*/ 605615 w 10890933"/>
              <a:gd name="connsiteY5446" fmla="*/ 2465183 h 4167549"/>
              <a:gd name="connsiteX5447" fmla="*/ 578452 w 10890933"/>
              <a:gd name="connsiteY5447" fmla="*/ 2467826 h 4167549"/>
              <a:gd name="connsiteX5448" fmla="*/ 591640 w 10890933"/>
              <a:gd name="connsiteY5448" fmla="*/ 2451517 h 4167549"/>
              <a:gd name="connsiteX5449" fmla="*/ 598229 w 10890933"/>
              <a:gd name="connsiteY5449" fmla="*/ 2446463 h 4167549"/>
              <a:gd name="connsiteX5450" fmla="*/ 9225082 w 10890933"/>
              <a:gd name="connsiteY5450" fmla="*/ 2444628 h 4167549"/>
              <a:gd name="connsiteX5451" fmla="*/ 9301781 w 10890933"/>
              <a:gd name="connsiteY5451" fmla="*/ 2465902 h 4167549"/>
              <a:gd name="connsiteX5452" fmla="*/ 9265320 w 10890933"/>
              <a:gd name="connsiteY5452" fmla="*/ 2465300 h 4167549"/>
              <a:gd name="connsiteX5453" fmla="*/ 9224901 w 10890933"/>
              <a:gd name="connsiteY5453" fmla="*/ 2445302 h 4167549"/>
              <a:gd name="connsiteX5454" fmla="*/ 9950999 w 10890933"/>
              <a:gd name="connsiteY5454" fmla="*/ 2439539 h 4167549"/>
              <a:gd name="connsiteX5455" fmla="*/ 9975480 w 10890933"/>
              <a:gd name="connsiteY5455" fmla="*/ 2442791 h 4167549"/>
              <a:gd name="connsiteX5456" fmla="*/ 9992136 w 10890933"/>
              <a:gd name="connsiteY5456" fmla="*/ 2450562 h 4167549"/>
              <a:gd name="connsiteX5457" fmla="*/ 675652 w 10890933"/>
              <a:gd name="connsiteY5457" fmla="*/ 2437345 h 4167549"/>
              <a:gd name="connsiteX5458" fmla="*/ 643150 w 10890933"/>
              <a:gd name="connsiteY5458" fmla="*/ 2456138 h 4167549"/>
              <a:gd name="connsiteX5459" fmla="*/ 634607 w 10890933"/>
              <a:gd name="connsiteY5459" fmla="*/ 2453849 h 4167549"/>
              <a:gd name="connsiteX5460" fmla="*/ 675652 w 10890933"/>
              <a:gd name="connsiteY5460" fmla="*/ 2437345 h 4167549"/>
              <a:gd name="connsiteX5461" fmla="*/ 9944628 w 10890933"/>
              <a:gd name="connsiteY5461" fmla="*/ 2434524 h 4167549"/>
              <a:gd name="connsiteX5462" fmla="*/ 9950999 w 10890933"/>
              <a:gd name="connsiteY5462" fmla="*/ 2439539 h 4167549"/>
              <a:gd name="connsiteX5463" fmla="*/ 9942772 w 10890933"/>
              <a:gd name="connsiteY5463" fmla="*/ 2437335 h 4167549"/>
              <a:gd name="connsiteX5464" fmla="*/ 9944628 w 10890933"/>
              <a:gd name="connsiteY5464" fmla="*/ 2434524 h 4167549"/>
              <a:gd name="connsiteX5465" fmla="*/ 10274450 w 10890933"/>
              <a:gd name="connsiteY5465" fmla="*/ 2433618 h 4167549"/>
              <a:gd name="connsiteX5466" fmla="*/ 10299133 w 10890933"/>
              <a:gd name="connsiteY5466" fmla="*/ 2440231 h 4167549"/>
              <a:gd name="connsiteX5467" fmla="*/ 10272245 w 10890933"/>
              <a:gd name="connsiteY5467" fmla="*/ 2441845 h 4167549"/>
              <a:gd name="connsiteX5468" fmla="*/ 10274450 w 10890933"/>
              <a:gd name="connsiteY5468" fmla="*/ 2433618 h 4167549"/>
              <a:gd name="connsiteX5469" fmla="*/ 8728008 w 10890933"/>
              <a:gd name="connsiteY5469" fmla="*/ 2429297 h 4167549"/>
              <a:gd name="connsiteX5470" fmla="*/ 8712898 w 10890933"/>
              <a:gd name="connsiteY5470" fmla="*/ 2447295 h 4167549"/>
              <a:gd name="connsiteX5471" fmla="*/ 8696455 w 10890933"/>
              <a:gd name="connsiteY5471" fmla="*/ 2431865 h 4167549"/>
              <a:gd name="connsiteX5472" fmla="*/ 8728008 w 10890933"/>
              <a:gd name="connsiteY5472" fmla="*/ 2429297 h 4167549"/>
              <a:gd name="connsiteX5473" fmla="*/ 9310050 w 10890933"/>
              <a:gd name="connsiteY5473" fmla="*/ 2428455 h 4167549"/>
              <a:gd name="connsiteX5474" fmla="*/ 9333683 w 10890933"/>
              <a:gd name="connsiteY5474" fmla="*/ 2435063 h 4167549"/>
              <a:gd name="connsiteX5475" fmla="*/ 9387768 w 10890933"/>
              <a:gd name="connsiteY5475" fmla="*/ 2451761 h 4167549"/>
              <a:gd name="connsiteX5476" fmla="*/ 9282717 w 10890933"/>
              <a:gd name="connsiteY5476" fmla="*/ 2432431 h 4167549"/>
              <a:gd name="connsiteX5477" fmla="*/ 9310050 w 10890933"/>
              <a:gd name="connsiteY5477" fmla="*/ 2428455 h 4167549"/>
              <a:gd name="connsiteX5478" fmla="*/ 9688929 w 10890933"/>
              <a:gd name="connsiteY5478" fmla="*/ 2420667 h 4167549"/>
              <a:gd name="connsiteX5479" fmla="*/ 9693253 w 10890933"/>
              <a:gd name="connsiteY5479" fmla="*/ 2420739 h 4167549"/>
              <a:gd name="connsiteX5480" fmla="*/ 9691221 w 10890933"/>
              <a:gd name="connsiteY5480" fmla="*/ 2421739 h 4167549"/>
              <a:gd name="connsiteX5481" fmla="*/ 9683631 w 10890933"/>
              <a:gd name="connsiteY5481" fmla="*/ 2418189 h 4167549"/>
              <a:gd name="connsiteX5482" fmla="*/ 9688929 w 10890933"/>
              <a:gd name="connsiteY5482" fmla="*/ 2420667 h 4167549"/>
              <a:gd name="connsiteX5483" fmla="*/ 9682719 w 10890933"/>
              <a:gd name="connsiteY5483" fmla="*/ 2420563 h 4167549"/>
              <a:gd name="connsiteX5484" fmla="*/ 9683631 w 10890933"/>
              <a:gd name="connsiteY5484" fmla="*/ 2418189 h 4167549"/>
              <a:gd name="connsiteX5485" fmla="*/ 9701378 w 10890933"/>
              <a:gd name="connsiteY5485" fmla="*/ 2416745 h 4167549"/>
              <a:gd name="connsiteX5486" fmla="*/ 9717833 w 10890933"/>
              <a:gd name="connsiteY5486" fmla="*/ 2421154 h 4167549"/>
              <a:gd name="connsiteX5487" fmla="*/ 9693253 w 10890933"/>
              <a:gd name="connsiteY5487" fmla="*/ 2420739 h 4167549"/>
              <a:gd name="connsiteX5488" fmla="*/ 8777961 w 10890933"/>
              <a:gd name="connsiteY5488" fmla="*/ 2407408 h 4167549"/>
              <a:gd name="connsiteX5489" fmla="*/ 8801184 w 10890933"/>
              <a:gd name="connsiteY5489" fmla="*/ 2422999 h 4167549"/>
              <a:gd name="connsiteX5490" fmla="*/ 9177618 w 10890933"/>
              <a:gd name="connsiteY5490" fmla="*/ 2551974 h 4167549"/>
              <a:gd name="connsiteX5491" fmla="*/ 9177698 w 10890933"/>
              <a:gd name="connsiteY5491" fmla="*/ 2560194 h 4167549"/>
              <a:gd name="connsiteX5492" fmla="*/ 9173189 w 10890933"/>
              <a:gd name="connsiteY5492" fmla="*/ 2562019 h 4167549"/>
              <a:gd name="connsiteX5493" fmla="*/ 9166756 w 10890933"/>
              <a:gd name="connsiteY5493" fmla="*/ 2558432 h 4167549"/>
              <a:gd name="connsiteX5494" fmla="*/ 9172257 w 10890933"/>
              <a:gd name="connsiteY5494" fmla="*/ 2562396 h 4167549"/>
              <a:gd name="connsiteX5495" fmla="*/ 9173189 w 10890933"/>
              <a:gd name="connsiteY5495" fmla="*/ 2562019 h 4167549"/>
              <a:gd name="connsiteX5496" fmla="*/ 9180910 w 10890933"/>
              <a:gd name="connsiteY5496" fmla="*/ 2566324 h 4167549"/>
              <a:gd name="connsiteX5497" fmla="*/ 9215540 w 10890933"/>
              <a:gd name="connsiteY5497" fmla="*/ 2580875 h 4167549"/>
              <a:gd name="connsiteX5498" fmla="*/ 9224061 w 10890933"/>
              <a:gd name="connsiteY5498" fmla="*/ 2583158 h 4167549"/>
              <a:gd name="connsiteX5499" fmla="*/ 9130326 w 10890933"/>
              <a:gd name="connsiteY5499" fmla="*/ 2558042 h 4167549"/>
              <a:gd name="connsiteX5500" fmla="*/ 9121806 w 10890933"/>
              <a:gd name="connsiteY5500" fmla="*/ 2555759 h 4167549"/>
              <a:gd name="connsiteX5501" fmla="*/ 9124149 w 10890933"/>
              <a:gd name="connsiteY5501" fmla="*/ 2547015 h 4167549"/>
              <a:gd name="connsiteX5502" fmla="*/ 9107106 w 10890933"/>
              <a:gd name="connsiteY5502" fmla="*/ 2542449 h 4167549"/>
              <a:gd name="connsiteX5503" fmla="*/ 9036593 w 10890933"/>
              <a:gd name="connsiteY5503" fmla="*/ 2532926 h 4167549"/>
              <a:gd name="connsiteX5504" fmla="*/ 8907279 w 10890933"/>
              <a:gd name="connsiteY5504" fmla="*/ 2470166 h 4167549"/>
              <a:gd name="connsiteX5505" fmla="*/ 8832927 w 10890933"/>
              <a:gd name="connsiteY5505" fmla="*/ 2440876 h 4167549"/>
              <a:gd name="connsiteX5506" fmla="*/ 8773277 w 10890933"/>
              <a:gd name="connsiteY5506" fmla="*/ 2424892 h 4167549"/>
              <a:gd name="connsiteX5507" fmla="*/ 8777961 w 10890933"/>
              <a:gd name="connsiteY5507" fmla="*/ 2407408 h 4167549"/>
              <a:gd name="connsiteX5508" fmla="*/ 9622642 w 10890933"/>
              <a:gd name="connsiteY5508" fmla="*/ 2396022 h 4167549"/>
              <a:gd name="connsiteX5509" fmla="*/ 9631183 w 10890933"/>
              <a:gd name="connsiteY5509" fmla="*/ 2398311 h 4167549"/>
              <a:gd name="connsiteX5510" fmla="*/ 9650198 w 10890933"/>
              <a:gd name="connsiteY5510" fmla="*/ 2399968 h 4167549"/>
              <a:gd name="connsiteX5511" fmla="*/ 9673896 w 10890933"/>
              <a:gd name="connsiteY5511" fmla="*/ 2409756 h 4167549"/>
              <a:gd name="connsiteX5512" fmla="*/ 9622642 w 10890933"/>
              <a:gd name="connsiteY5512" fmla="*/ 2396022 h 4167549"/>
              <a:gd name="connsiteX5513" fmla="*/ 8427335 w 10890933"/>
              <a:gd name="connsiteY5513" fmla="*/ 2350201 h 4167549"/>
              <a:gd name="connsiteX5514" fmla="*/ 8435563 w 10890933"/>
              <a:gd name="connsiteY5514" fmla="*/ 2352405 h 4167549"/>
              <a:gd name="connsiteX5515" fmla="*/ 8465900 w 10890933"/>
              <a:gd name="connsiteY5515" fmla="*/ 2370824 h 4167549"/>
              <a:gd name="connsiteX5516" fmla="*/ 8405736 w 10890933"/>
              <a:gd name="connsiteY5516" fmla="*/ 2364991 h 4167549"/>
              <a:gd name="connsiteX5517" fmla="*/ 8427335 w 10890933"/>
              <a:gd name="connsiteY5517" fmla="*/ 2350201 h 4167549"/>
              <a:gd name="connsiteX5518" fmla="*/ 857546 w 10890933"/>
              <a:gd name="connsiteY5518" fmla="*/ 2339395 h 4167549"/>
              <a:gd name="connsiteX5519" fmla="*/ 883171 w 10890933"/>
              <a:gd name="connsiteY5519" fmla="*/ 2346261 h 4167549"/>
              <a:gd name="connsiteX5520" fmla="*/ 870046 w 10890933"/>
              <a:gd name="connsiteY5520" fmla="*/ 2361080 h 4167549"/>
              <a:gd name="connsiteX5521" fmla="*/ 857546 w 10890933"/>
              <a:gd name="connsiteY5521" fmla="*/ 2339395 h 4167549"/>
              <a:gd name="connsiteX5522" fmla="*/ 8367366 w 10890933"/>
              <a:gd name="connsiteY5522" fmla="*/ 2335419 h 4167549"/>
              <a:gd name="connsiteX5523" fmla="*/ 8375584 w 10890933"/>
              <a:gd name="connsiteY5523" fmla="*/ 2345888 h 4167549"/>
              <a:gd name="connsiteX5524" fmla="*/ 8355014 w 10890933"/>
              <a:gd name="connsiteY5524" fmla="*/ 2340377 h 4167549"/>
              <a:gd name="connsiteX5525" fmla="*/ 8367366 w 10890933"/>
              <a:gd name="connsiteY5525" fmla="*/ 2335419 h 4167549"/>
              <a:gd name="connsiteX5526" fmla="*/ 609100 w 10890933"/>
              <a:gd name="connsiteY5526" fmla="*/ 2324900 h 4167549"/>
              <a:gd name="connsiteX5527" fmla="*/ 619399 w 10890933"/>
              <a:gd name="connsiteY5527" fmla="*/ 2339761 h 4167549"/>
              <a:gd name="connsiteX5528" fmla="*/ 602315 w 10890933"/>
              <a:gd name="connsiteY5528" fmla="*/ 2335183 h 4167549"/>
              <a:gd name="connsiteX5529" fmla="*/ 611665 w 10890933"/>
              <a:gd name="connsiteY5529" fmla="*/ 2315772 h 4167549"/>
              <a:gd name="connsiteX5530" fmla="*/ 613582 w 10890933"/>
              <a:gd name="connsiteY5530" fmla="*/ 2318102 h 4167549"/>
              <a:gd name="connsiteX5531" fmla="*/ 609100 w 10890933"/>
              <a:gd name="connsiteY5531" fmla="*/ 2324900 h 4167549"/>
              <a:gd name="connsiteX5532" fmla="*/ 608669 w 10890933"/>
              <a:gd name="connsiteY5532" fmla="*/ 2324279 h 4167549"/>
              <a:gd name="connsiteX5533" fmla="*/ 611665 w 10890933"/>
              <a:gd name="connsiteY5533" fmla="*/ 2315772 h 4167549"/>
              <a:gd name="connsiteX5534" fmla="*/ 615233 w 10890933"/>
              <a:gd name="connsiteY5534" fmla="*/ 2315601 h 4167549"/>
              <a:gd name="connsiteX5535" fmla="*/ 615442 w 10890933"/>
              <a:gd name="connsiteY5535" fmla="*/ 2320365 h 4167549"/>
              <a:gd name="connsiteX5536" fmla="*/ 613582 w 10890933"/>
              <a:gd name="connsiteY5536" fmla="*/ 2318102 h 4167549"/>
              <a:gd name="connsiteX5537" fmla="*/ 8282548 w 10890933"/>
              <a:gd name="connsiteY5537" fmla="*/ 2309936 h 4167549"/>
              <a:gd name="connsiteX5538" fmla="*/ 8233325 w 10890933"/>
              <a:gd name="connsiteY5538" fmla="*/ 2317324 h 4167549"/>
              <a:gd name="connsiteX5539" fmla="*/ 8282548 w 10890933"/>
              <a:gd name="connsiteY5539" fmla="*/ 2309936 h 4167549"/>
              <a:gd name="connsiteX5540" fmla="*/ 614848 w 10890933"/>
              <a:gd name="connsiteY5540" fmla="*/ 2306807 h 4167549"/>
              <a:gd name="connsiteX5541" fmla="*/ 617734 w 10890933"/>
              <a:gd name="connsiteY5541" fmla="*/ 2311810 h 4167549"/>
              <a:gd name="connsiteX5542" fmla="*/ 615233 w 10890933"/>
              <a:gd name="connsiteY5542" fmla="*/ 2315601 h 4167549"/>
              <a:gd name="connsiteX5543" fmla="*/ 475904 w 10890933"/>
              <a:gd name="connsiteY5543" fmla="*/ 2293257 h 4167549"/>
              <a:gd name="connsiteX5544" fmla="*/ 485013 w 10890933"/>
              <a:gd name="connsiteY5544" fmla="*/ 2294584 h 4167549"/>
              <a:gd name="connsiteX5545" fmla="*/ 471888 w 10890933"/>
              <a:gd name="connsiteY5545" fmla="*/ 2309404 h 4167549"/>
              <a:gd name="connsiteX5546" fmla="*/ 488973 w 10890933"/>
              <a:gd name="connsiteY5546" fmla="*/ 2313981 h 4167549"/>
              <a:gd name="connsiteX5547" fmla="*/ 495222 w 10890933"/>
              <a:gd name="connsiteY5547" fmla="*/ 2324824 h 4167549"/>
              <a:gd name="connsiteX5548" fmla="*/ 456469 w 10890933"/>
              <a:gd name="connsiteY5548" fmla="*/ 2332774 h 4167549"/>
              <a:gd name="connsiteX5549" fmla="*/ 452512 w 10890933"/>
              <a:gd name="connsiteY5549" fmla="*/ 2313380 h 4167549"/>
              <a:gd name="connsiteX5550" fmla="*/ 465977 w 10890933"/>
              <a:gd name="connsiteY5550" fmla="*/ 2310111 h 4167549"/>
              <a:gd name="connsiteX5551" fmla="*/ 476472 w 10890933"/>
              <a:gd name="connsiteY5551" fmla="*/ 2292296 h 4167549"/>
              <a:gd name="connsiteX5552" fmla="*/ 475904 w 10890933"/>
              <a:gd name="connsiteY5552" fmla="*/ 2293257 h 4167549"/>
              <a:gd name="connsiteX5553" fmla="*/ 475652 w 10890933"/>
              <a:gd name="connsiteY5553" fmla="*/ 2293220 h 4167549"/>
              <a:gd name="connsiteX5554" fmla="*/ 466288 w 10890933"/>
              <a:gd name="connsiteY5554" fmla="*/ 2291858 h 4167549"/>
              <a:gd name="connsiteX5555" fmla="*/ 475652 w 10890933"/>
              <a:gd name="connsiteY5555" fmla="*/ 2293220 h 4167549"/>
              <a:gd name="connsiteX5556" fmla="*/ 463344 w 10890933"/>
              <a:gd name="connsiteY5556" fmla="*/ 2307115 h 4167549"/>
              <a:gd name="connsiteX5557" fmla="*/ 466288 w 10890933"/>
              <a:gd name="connsiteY5557" fmla="*/ 2291858 h 4167549"/>
              <a:gd name="connsiteX5558" fmla="*/ 10104547 w 10890933"/>
              <a:gd name="connsiteY5558" fmla="*/ 2277863 h 4167549"/>
              <a:gd name="connsiteX5559" fmla="*/ 10121829 w 10890933"/>
              <a:gd name="connsiteY5559" fmla="*/ 2279186 h 4167549"/>
              <a:gd name="connsiteX5560" fmla="*/ 10137457 w 10890933"/>
              <a:gd name="connsiteY5560" fmla="*/ 2286681 h 4167549"/>
              <a:gd name="connsiteX5561" fmla="*/ 10104547 w 10890933"/>
              <a:gd name="connsiteY5561" fmla="*/ 2277863 h 4167549"/>
              <a:gd name="connsiteX5562" fmla="*/ 9612430 w 10890933"/>
              <a:gd name="connsiteY5562" fmla="*/ 2238593 h 4167549"/>
              <a:gd name="connsiteX5563" fmla="*/ 9634908 w 10890933"/>
              <a:gd name="connsiteY5563" fmla="*/ 2253435 h 4167549"/>
              <a:gd name="connsiteX5564" fmla="*/ 9612430 w 10890933"/>
              <a:gd name="connsiteY5564" fmla="*/ 2238593 h 4167549"/>
              <a:gd name="connsiteX5565" fmla="*/ 9635565 w 10890933"/>
              <a:gd name="connsiteY5565" fmla="*/ 2225709 h 4167549"/>
              <a:gd name="connsiteX5566" fmla="*/ 9640561 w 10890933"/>
              <a:gd name="connsiteY5566" fmla="*/ 2226634 h 4167549"/>
              <a:gd name="connsiteX5567" fmla="*/ 9631519 w 10890933"/>
              <a:gd name="connsiteY5567" fmla="*/ 2226216 h 4167549"/>
              <a:gd name="connsiteX5568" fmla="*/ 9617953 w 10890933"/>
              <a:gd name="connsiteY5568" fmla="*/ 2225589 h 4167549"/>
              <a:gd name="connsiteX5569" fmla="*/ 9631519 w 10890933"/>
              <a:gd name="connsiteY5569" fmla="*/ 2226216 h 4167549"/>
              <a:gd name="connsiteX5570" fmla="*/ 9622044 w 10890933"/>
              <a:gd name="connsiteY5570" fmla="*/ 2227402 h 4167549"/>
              <a:gd name="connsiteX5571" fmla="*/ 9617953 w 10890933"/>
              <a:gd name="connsiteY5571" fmla="*/ 2225589 h 4167549"/>
              <a:gd name="connsiteX5572" fmla="*/ 10089830 w 10890933"/>
              <a:gd name="connsiteY5572" fmla="*/ 2212603 h 4167549"/>
              <a:gd name="connsiteX5573" fmla="*/ 10113193 w 10890933"/>
              <a:gd name="connsiteY5573" fmla="*/ 2216797 h 4167549"/>
              <a:gd name="connsiteX5574" fmla="*/ 10177787 w 10890933"/>
              <a:gd name="connsiteY5574" fmla="*/ 2242373 h 4167549"/>
              <a:gd name="connsiteX5575" fmla="*/ 10218039 w 10890933"/>
              <a:gd name="connsiteY5575" fmla="*/ 2264182 h 4167549"/>
              <a:gd name="connsiteX5576" fmla="*/ 10108976 w 10890933"/>
              <a:gd name="connsiteY5576" fmla="*/ 2223935 h 4167549"/>
              <a:gd name="connsiteX5577" fmla="*/ 10089830 w 10890933"/>
              <a:gd name="connsiteY5577" fmla="*/ 2212603 h 4167549"/>
              <a:gd name="connsiteX5578" fmla="*/ 10419355 w 10890933"/>
              <a:gd name="connsiteY5578" fmla="*/ 2146856 h 4167549"/>
              <a:gd name="connsiteX5579" fmla="*/ 10430178 w 10890933"/>
              <a:gd name="connsiteY5579" fmla="*/ 2150170 h 4167549"/>
              <a:gd name="connsiteX5580" fmla="*/ 10457762 w 10890933"/>
              <a:gd name="connsiteY5580" fmla="*/ 2160869 h 4167549"/>
              <a:gd name="connsiteX5581" fmla="*/ 10440278 w 10890933"/>
              <a:gd name="connsiteY5581" fmla="*/ 2156184 h 4167549"/>
              <a:gd name="connsiteX5582" fmla="*/ 10414054 w 10890933"/>
              <a:gd name="connsiteY5582" fmla="*/ 2149157 h 4167549"/>
              <a:gd name="connsiteX5583" fmla="*/ 10419355 w 10890933"/>
              <a:gd name="connsiteY5583" fmla="*/ 2146856 h 4167549"/>
              <a:gd name="connsiteX5584" fmla="*/ 8172002 w 10890933"/>
              <a:gd name="connsiteY5584" fmla="*/ 2134816 h 4167549"/>
              <a:gd name="connsiteX5585" fmla="*/ 8186953 w 10890933"/>
              <a:gd name="connsiteY5585" fmla="*/ 2136616 h 4167549"/>
              <a:gd name="connsiteX5586" fmla="*/ 8198595 w 10890933"/>
              <a:gd name="connsiteY5586" fmla="*/ 2150759 h 4167549"/>
              <a:gd name="connsiteX5587" fmla="*/ 8172002 w 10890933"/>
              <a:gd name="connsiteY5587" fmla="*/ 2134816 h 4167549"/>
              <a:gd name="connsiteX5588" fmla="*/ 10344118 w 10890933"/>
              <a:gd name="connsiteY5588" fmla="*/ 2130418 h 4167549"/>
              <a:gd name="connsiteX5589" fmla="*/ 10379086 w 10890933"/>
              <a:gd name="connsiteY5589" fmla="*/ 2139788 h 4167549"/>
              <a:gd name="connsiteX5590" fmla="*/ 10313482 w 10890933"/>
              <a:gd name="connsiteY5590" fmla="*/ 2139846 h 4167549"/>
              <a:gd name="connsiteX5591" fmla="*/ 10333171 w 10890933"/>
              <a:gd name="connsiteY5591" fmla="*/ 2136303 h 4167549"/>
              <a:gd name="connsiteX5592" fmla="*/ 10324431 w 10890933"/>
              <a:gd name="connsiteY5592" fmla="*/ 2133961 h 4167549"/>
              <a:gd name="connsiteX5593" fmla="*/ 10344118 w 10890933"/>
              <a:gd name="connsiteY5593" fmla="*/ 2130418 h 4167549"/>
              <a:gd name="connsiteX5594" fmla="*/ 8069977 w 10890933"/>
              <a:gd name="connsiteY5594" fmla="*/ 2109683 h 4167549"/>
              <a:gd name="connsiteX5595" fmla="*/ 8077923 w 10890933"/>
              <a:gd name="connsiteY5595" fmla="*/ 2118426 h 4167549"/>
              <a:gd name="connsiteX5596" fmla="*/ 8058724 w 10890933"/>
              <a:gd name="connsiteY5596" fmla="*/ 2113281 h 4167549"/>
              <a:gd name="connsiteX5597" fmla="*/ 8069977 w 10890933"/>
              <a:gd name="connsiteY5597" fmla="*/ 2109683 h 4167549"/>
              <a:gd name="connsiteX5598" fmla="*/ 7837031 w 10890933"/>
              <a:gd name="connsiteY5598" fmla="*/ 2072187 h 4167549"/>
              <a:gd name="connsiteX5599" fmla="*/ 7841042 w 10890933"/>
              <a:gd name="connsiteY5599" fmla="*/ 2074498 h 4167549"/>
              <a:gd name="connsiteX5600" fmla="*/ 7837057 w 10890933"/>
              <a:gd name="connsiteY5600" fmla="*/ 2072284 h 4167549"/>
              <a:gd name="connsiteX5601" fmla="*/ 7736158 w 10890933"/>
              <a:gd name="connsiteY5601" fmla="*/ 2066531 h 4167549"/>
              <a:gd name="connsiteX5602" fmla="*/ 7742181 w 10890933"/>
              <a:gd name="connsiteY5602" fmla="*/ 2076963 h 4167549"/>
              <a:gd name="connsiteX5603" fmla="*/ 7731749 w 10890933"/>
              <a:gd name="connsiteY5603" fmla="*/ 2082985 h 4167549"/>
              <a:gd name="connsiteX5604" fmla="*/ 7736158 w 10890933"/>
              <a:gd name="connsiteY5604" fmla="*/ 2066531 h 4167549"/>
              <a:gd name="connsiteX5605" fmla="*/ 10575178 w 10890933"/>
              <a:gd name="connsiteY5605" fmla="*/ 1955616 h 4167549"/>
              <a:gd name="connsiteX5606" fmla="*/ 10587698 w 10890933"/>
              <a:gd name="connsiteY5606" fmla="*/ 1959798 h 4167549"/>
              <a:gd name="connsiteX5607" fmla="*/ 10613811 w 10890933"/>
              <a:gd name="connsiteY5607" fmla="*/ 1973408 h 4167549"/>
              <a:gd name="connsiteX5608" fmla="*/ 10564446 w 10890933"/>
              <a:gd name="connsiteY5608" fmla="*/ 1960181 h 4167549"/>
              <a:gd name="connsiteX5609" fmla="*/ 10575178 w 10890933"/>
              <a:gd name="connsiteY5609" fmla="*/ 1955616 h 4167549"/>
              <a:gd name="connsiteX5610" fmla="*/ 10466588 w 10890933"/>
              <a:gd name="connsiteY5610" fmla="*/ 1948288 h 4167549"/>
              <a:gd name="connsiteX5611" fmla="*/ 10474333 w 10890933"/>
              <a:gd name="connsiteY5611" fmla="*/ 1953671 h 4167549"/>
              <a:gd name="connsiteX5612" fmla="*/ 10457191 w 10890933"/>
              <a:gd name="connsiteY5612" fmla="*/ 1949078 h 4167549"/>
              <a:gd name="connsiteX5613" fmla="*/ 10466588 w 10890933"/>
              <a:gd name="connsiteY5613" fmla="*/ 1948288 h 4167549"/>
              <a:gd name="connsiteX5614" fmla="*/ 10301689 w 10890933"/>
              <a:gd name="connsiteY5614" fmla="*/ 1894872 h 4167549"/>
              <a:gd name="connsiteX5615" fmla="*/ 10314185 w 10890933"/>
              <a:gd name="connsiteY5615" fmla="*/ 1898634 h 4167549"/>
              <a:gd name="connsiteX5616" fmla="*/ 10340095 w 10890933"/>
              <a:gd name="connsiteY5616" fmla="*/ 1908884 h 4167549"/>
              <a:gd name="connsiteX5617" fmla="*/ 10298958 w 10890933"/>
              <a:gd name="connsiteY5617" fmla="*/ 1897861 h 4167549"/>
              <a:gd name="connsiteX5618" fmla="*/ 10301689 w 10890933"/>
              <a:gd name="connsiteY5618" fmla="*/ 1894872 h 4167549"/>
              <a:gd name="connsiteX5619" fmla="*/ 10349372 w 10890933"/>
              <a:gd name="connsiteY5619" fmla="*/ 1894836 h 4167549"/>
              <a:gd name="connsiteX5620" fmla="*/ 10356551 w 10890933"/>
              <a:gd name="connsiteY5620" fmla="*/ 1913293 h 4167549"/>
              <a:gd name="connsiteX5621" fmla="*/ 10340095 w 10890933"/>
              <a:gd name="connsiteY5621" fmla="*/ 1908884 h 4167549"/>
              <a:gd name="connsiteX5622" fmla="*/ 10349372 w 10890933"/>
              <a:gd name="connsiteY5622" fmla="*/ 1894836 h 4167549"/>
              <a:gd name="connsiteX5623" fmla="*/ 10658392 w 10890933"/>
              <a:gd name="connsiteY5623" fmla="*/ 1885185 h 4167549"/>
              <a:gd name="connsiteX5624" fmla="*/ 10667958 w 10890933"/>
              <a:gd name="connsiteY5624" fmla="*/ 1886508 h 4167549"/>
              <a:gd name="connsiteX5625" fmla="*/ 10690436 w 10890933"/>
              <a:gd name="connsiteY5625" fmla="*/ 1901350 h 4167549"/>
              <a:gd name="connsiteX5626" fmla="*/ 10657526 w 10890933"/>
              <a:gd name="connsiteY5626" fmla="*/ 1892531 h 4167549"/>
              <a:gd name="connsiteX5627" fmla="*/ 10658392 w 10890933"/>
              <a:gd name="connsiteY5627" fmla="*/ 1885185 h 4167549"/>
              <a:gd name="connsiteX5628" fmla="*/ 10549539 w 10890933"/>
              <a:gd name="connsiteY5628" fmla="*/ 1884174 h 4167549"/>
              <a:gd name="connsiteX5629" fmla="*/ 10591361 w 10890933"/>
              <a:gd name="connsiteY5629" fmla="*/ 1891520 h 4167549"/>
              <a:gd name="connsiteX5630" fmla="*/ 10644157 w 10890933"/>
              <a:gd name="connsiteY5630" fmla="*/ 1909527 h 4167549"/>
              <a:gd name="connsiteX5631" fmla="*/ 10549539 w 10890933"/>
              <a:gd name="connsiteY5631" fmla="*/ 1884174 h 4167549"/>
              <a:gd name="connsiteX5632" fmla="*/ 10294260 w 10890933"/>
              <a:gd name="connsiteY5632" fmla="*/ 1870148 h 4167549"/>
              <a:gd name="connsiteX5633" fmla="*/ 10303517 w 10890933"/>
              <a:gd name="connsiteY5633" fmla="*/ 1872628 h 4167549"/>
              <a:gd name="connsiteX5634" fmla="*/ 10292056 w 10890933"/>
              <a:gd name="connsiteY5634" fmla="*/ 1878376 h 4167549"/>
              <a:gd name="connsiteX5635" fmla="*/ 10294260 w 10890933"/>
              <a:gd name="connsiteY5635" fmla="*/ 1870148 h 4167549"/>
              <a:gd name="connsiteX5636" fmla="*/ 10280354 w 10890933"/>
              <a:gd name="connsiteY5636" fmla="*/ 1857604 h 4167549"/>
              <a:gd name="connsiteX5637" fmla="*/ 10287748 w 10890933"/>
              <a:gd name="connsiteY5637" fmla="*/ 1868403 h 4167549"/>
              <a:gd name="connsiteX5638" fmla="*/ 10266345 w 10890933"/>
              <a:gd name="connsiteY5638" fmla="*/ 1871487 h 4167549"/>
              <a:gd name="connsiteX5639" fmla="*/ 10268549 w 10890933"/>
              <a:gd name="connsiteY5639" fmla="*/ 1863259 h 4167549"/>
              <a:gd name="connsiteX5640" fmla="*/ 10280354 w 10890933"/>
              <a:gd name="connsiteY5640" fmla="*/ 1857604 h 4167549"/>
              <a:gd name="connsiteX5641" fmla="*/ 10633729 w 10890933"/>
              <a:gd name="connsiteY5641" fmla="*/ 1833243 h 4167549"/>
              <a:gd name="connsiteX5642" fmla="*/ 10748621 w 10890933"/>
              <a:gd name="connsiteY5642" fmla="*/ 1881664 h 4167549"/>
              <a:gd name="connsiteX5643" fmla="*/ 10633729 w 10890933"/>
              <a:gd name="connsiteY5643" fmla="*/ 1833243 h 4167549"/>
              <a:gd name="connsiteX5644" fmla="*/ 10382851 w 10890933"/>
              <a:gd name="connsiteY5644" fmla="*/ 1820187 h 4167549"/>
              <a:gd name="connsiteX5645" fmla="*/ 10395512 w 10890933"/>
              <a:gd name="connsiteY5645" fmla="*/ 1821522 h 4167549"/>
              <a:gd name="connsiteX5646" fmla="*/ 10389795 w 10890933"/>
              <a:gd name="connsiteY5646" fmla="*/ 1822309 h 4167549"/>
              <a:gd name="connsiteX5647" fmla="*/ 10405689 w 10890933"/>
              <a:gd name="connsiteY5647" fmla="*/ 1820121 h 4167549"/>
              <a:gd name="connsiteX5648" fmla="*/ 10402401 w 10890933"/>
              <a:gd name="connsiteY5648" fmla="*/ 1822249 h 4167549"/>
              <a:gd name="connsiteX5649" fmla="*/ 10395512 w 10890933"/>
              <a:gd name="connsiteY5649" fmla="*/ 1821522 h 4167549"/>
              <a:gd name="connsiteX5650" fmla="*/ 10564915 w 10890933"/>
              <a:gd name="connsiteY5650" fmla="*/ 1796068 h 4167549"/>
              <a:gd name="connsiteX5651" fmla="*/ 10578343 w 10890933"/>
              <a:gd name="connsiteY5651" fmla="*/ 1809586 h 4167549"/>
              <a:gd name="connsiteX5652" fmla="*/ 10562865 w 10890933"/>
              <a:gd name="connsiteY5652" fmla="*/ 1797210 h 4167549"/>
              <a:gd name="connsiteX5653" fmla="*/ 10582752 w 10890933"/>
              <a:gd name="connsiteY5653" fmla="*/ 1793131 h 4167549"/>
              <a:gd name="connsiteX5654" fmla="*/ 10638140 w 10890933"/>
              <a:gd name="connsiteY5654" fmla="*/ 1816791 h 4167549"/>
              <a:gd name="connsiteX5655" fmla="*/ 10582752 w 10890933"/>
              <a:gd name="connsiteY5655" fmla="*/ 1793131 h 4167549"/>
              <a:gd name="connsiteX5656" fmla="*/ 10549321 w 10890933"/>
              <a:gd name="connsiteY5656" fmla="*/ 1786379 h 4167549"/>
              <a:gd name="connsiteX5657" fmla="*/ 10549324 w 10890933"/>
              <a:gd name="connsiteY5657" fmla="*/ 1786380 h 4167549"/>
              <a:gd name="connsiteX5658" fmla="*/ 10562865 w 10890933"/>
              <a:gd name="connsiteY5658" fmla="*/ 1797210 h 4167549"/>
              <a:gd name="connsiteX5659" fmla="*/ 10552888 w 10890933"/>
              <a:gd name="connsiteY5659" fmla="*/ 1802766 h 4167549"/>
              <a:gd name="connsiteX5660" fmla="*/ 10535413 w 10890933"/>
              <a:gd name="connsiteY5660" fmla="*/ 1782055 h 4167549"/>
              <a:gd name="connsiteX5661" fmla="*/ 10548813 w 10890933"/>
              <a:gd name="connsiteY5661" fmla="*/ 1784037 h 4167549"/>
              <a:gd name="connsiteX5662" fmla="*/ 10549321 w 10890933"/>
              <a:gd name="connsiteY5662" fmla="*/ 1786379 h 4167549"/>
              <a:gd name="connsiteX5663" fmla="*/ 10470950 w 10890933"/>
              <a:gd name="connsiteY5663" fmla="*/ 1760160 h 4167549"/>
              <a:gd name="connsiteX5664" fmla="*/ 10473278 w 10890933"/>
              <a:gd name="connsiteY5664" fmla="*/ 1760490 h 4167549"/>
              <a:gd name="connsiteX5665" fmla="*/ 10497906 w 10890933"/>
              <a:gd name="connsiteY5665" fmla="*/ 1770397 h 4167549"/>
              <a:gd name="connsiteX5666" fmla="*/ 10535413 w 10890933"/>
              <a:gd name="connsiteY5666" fmla="*/ 1782055 h 4167549"/>
              <a:gd name="connsiteX5667" fmla="*/ 10502893 w 10890933"/>
              <a:gd name="connsiteY5667" fmla="*/ 1777243 h 4167549"/>
              <a:gd name="connsiteX5668" fmla="*/ 10737244 w 10890933"/>
              <a:gd name="connsiteY5668" fmla="*/ 1759571 h 4167549"/>
              <a:gd name="connsiteX5669" fmla="*/ 10776177 w 10890933"/>
              <a:gd name="connsiteY5669" fmla="*/ 1778821 h 4167549"/>
              <a:gd name="connsiteX5670" fmla="*/ 10730630 w 10890933"/>
              <a:gd name="connsiteY5670" fmla="*/ 1784254 h 4167549"/>
              <a:gd name="connsiteX5671" fmla="*/ 10737244 w 10890933"/>
              <a:gd name="connsiteY5671" fmla="*/ 1759571 h 4167549"/>
              <a:gd name="connsiteX5672" fmla="*/ 10449201 w 10890933"/>
              <a:gd name="connsiteY5672" fmla="*/ 1748528 h 4167549"/>
              <a:gd name="connsiteX5673" fmla="*/ 10470950 w 10890933"/>
              <a:gd name="connsiteY5673" fmla="*/ 1760160 h 4167549"/>
              <a:gd name="connsiteX5674" fmla="*/ 10446997 w 10890933"/>
              <a:gd name="connsiteY5674" fmla="*/ 1756756 h 4167549"/>
              <a:gd name="connsiteX5675" fmla="*/ 10449201 w 10890933"/>
              <a:gd name="connsiteY5675" fmla="*/ 1748528 h 4167549"/>
              <a:gd name="connsiteX5676" fmla="*/ 10378026 w 10890933"/>
              <a:gd name="connsiteY5676" fmla="*/ 1722600 h 4167549"/>
              <a:gd name="connsiteX5677" fmla="*/ 10392167 w 10890933"/>
              <a:gd name="connsiteY5677" fmla="*/ 1726908 h 4167549"/>
              <a:gd name="connsiteX5678" fmla="*/ 10412730 w 10890933"/>
              <a:gd name="connsiteY5678" fmla="*/ 1736550 h 4167549"/>
              <a:gd name="connsiteX5679" fmla="*/ 10363364 w 10890933"/>
              <a:gd name="connsiteY5679" fmla="*/ 1723323 h 4167549"/>
              <a:gd name="connsiteX5680" fmla="*/ 10378026 w 10890933"/>
              <a:gd name="connsiteY5680" fmla="*/ 1722600 h 4167549"/>
              <a:gd name="connsiteX5681" fmla="*/ 10744861 w 10890933"/>
              <a:gd name="connsiteY5681" fmla="*/ 1698233 h 4167549"/>
              <a:gd name="connsiteX5682" fmla="*/ 10759250 w 10890933"/>
              <a:gd name="connsiteY5682" fmla="*/ 1710355 h 4167549"/>
              <a:gd name="connsiteX5683" fmla="*/ 10767477 w 10890933"/>
              <a:gd name="connsiteY5683" fmla="*/ 1712560 h 4167549"/>
              <a:gd name="connsiteX5684" fmla="*/ 10775704 w 10890933"/>
              <a:gd name="connsiteY5684" fmla="*/ 1714764 h 4167549"/>
              <a:gd name="connsiteX5685" fmla="*/ 10726339 w 10890933"/>
              <a:gd name="connsiteY5685" fmla="*/ 1701537 h 4167549"/>
              <a:gd name="connsiteX5686" fmla="*/ 10744861 w 10890933"/>
              <a:gd name="connsiteY5686" fmla="*/ 1698233 h 4167549"/>
              <a:gd name="connsiteX5687" fmla="*/ 10289084 w 10890933"/>
              <a:gd name="connsiteY5687" fmla="*/ 1689950 h 4167549"/>
              <a:gd name="connsiteX5688" fmla="*/ 10298724 w 10890933"/>
              <a:gd name="connsiteY5688" fmla="*/ 1693052 h 4167549"/>
              <a:gd name="connsiteX5689" fmla="*/ 10320316 w 10890933"/>
              <a:gd name="connsiteY5689" fmla="*/ 1702970 h 4167549"/>
              <a:gd name="connsiteX5690" fmla="*/ 10287406 w 10890933"/>
              <a:gd name="connsiteY5690" fmla="*/ 1694152 h 4167549"/>
              <a:gd name="connsiteX5691" fmla="*/ 10289084 w 10890933"/>
              <a:gd name="connsiteY5691" fmla="*/ 1689950 h 4167549"/>
              <a:gd name="connsiteX5692" fmla="*/ 10407846 w 10890933"/>
              <a:gd name="connsiteY5692" fmla="*/ 1688946 h 4167549"/>
              <a:gd name="connsiteX5693" fmla="*/ 10679049 w 10890933"/>
              <a:gd name="connsiteY5693" fmla="*/ 1770432 h 4167549"/>
              <a:gd name="connsiteX5694" fmla="*/ 10672710 w 10890933"/>
              <a:gd name="connsiteY5694" fmla="*/ 1759916 h 4167549"/>
              <a:gd name="connsiteX5695" fmla="*/ 10736654 w 10890933"/>
              <a:gd name="connsiteY5695" fmla="*/ 1794686 h 4167549"/>
              <a:gd name="connsiteX5696" fmla="*/ 10533802 w 10890933"/>
              <a:gd name="connsiteY5696" fmla="*/ 1731514 h 4167549"/>
              <a:gd name="connsiteX5697" fmla="*/ 10407846 w 10890933"/>
              <a:gd name="connsiteY5697" fmla="*/ 1688946 h 4167549"/>
              <a:gd name="connsiteX5698" fmla="*/ 10555765 w 10890933"/>
              <a:gd name="connsiteY5698" fmla="*/ 1647014 h 4167549"/>
              <a:gd name="connsiteX5699" fmla="*/ 10625701 w 10890933"/>
              <a:gd name="connsiteY5699" fmla="*/ 1665753 h 4167549"/>
              <a:gd name="connsiteX5700" fmla="*/ 10555765 w 10890933"/>
              <a:gd name="connsiteY5700" fmla="*/ 1647014 h 4167549"/>
              <a:gd name="connsiteX5701" fmla="*/ 10410644 w 10890933"/>
              <a:gd name="connsiteY5701" fmla="*/ 1645604 h 4167549"/>
              <a:gd name="connsiteX5702" fmla="*/ 10844498 w 10890933"/>
              <a:gd name="connsiteY5702" fmla="*/ 1770673 h 4167549"/>
              <a:gd name="connsiteX5703" fmla="*/ 10773893 w 10890933"/>
              <a:gd name="connsiteY5703" fmla="*/ 1760573 h 4167549"/>
              <a:gd name="connsiteX5704" fmla="*/ 10410644 w 10890933"/>
              <a:gd name="connsiteY5704" fmla="*/ 1645604 h 4167549"/>
              <a:gd name="connsiteX5705" fmla="*/ 10318231 w 10890933"/>
              <a:gd name="connsiteY5705" fmla="*/ 1612024 h 4167549"/>
              <a:gd name="connsiteX5706" fmla="*/ 10366042 w 10890933"/>
              <a:gd name="connsiteY5706" fmla="*/ 1619324 h 4167549"/>
              <a:gd name="connsiteX5707" fmla="*/ 10402416 w 10890933"/>
              <a:gd name="connsiteY5707" fmla="*/ 1643399 h 4167549"/>
              <a:gd name="connsiteX5708" fmla="*/ 10318231 w 10890933"/>
              <a:gd name="connsiteY5708" fmla="*/ 1612024 h 4167549"/>
              <a:gd name="connsiteX5709" fmla="*/ 10685027 w 10890933"/>
              <a:gd name="connsiteY5709" fmla="*/ 1608898 h 4167549"/>
              <a:gd name="connsiteX5710" fmla="*/ 10774374 w 10890933"/>
              <a:gd name="connsiteY5710" fmla="*/ 1631736 h 4167549"/>
              <a:gd name="connsiteX5711" fmla="*/ 10878078 w 10890933"/>
              <a:gd name="connsiteY5711" fmla="*/ 1678262 h 4167549"/>
              <a:gd name="connsiteX5712" fmla="*/ 10682822 w 10890933"/>
              <a:gd name="connsiteY5712" fmla="*/ 1617126 h 4167549"/>
              <a:gd name="connsiteX5713" fmla="*/ 10685027 w 10890933"/>
              <a:gd name="connsiteY5713" fmla="*/ 1608898 h 4167549"/>
              <a:gd name="connsiteX5714" fmla="*/ 10513566 w 10890933"/>
              <a:gd name="connsiteY5714" fmla="*/ 1607046 h 4167549"/>
              <a:gd name="connsiteX5715" fmla="*/ 10565955 w 10890933"/>
              <a:gd name="connsiteY5715" fmla="*/ 1614471 h 4167549"/>
              <a:gd name="connsiteX5716" fmla="*/ 10615040 w 10890933"/>
              <a:gd name="connsiteY5716" fmla="*/ 1634236 h 4167549"/>
              <a:gd name="connsiteX5717" fmla="*/ 10640409 w 10890933"/>
              <a:gd name="connsiteY5717" fmla="*/ 1641034 h 4167549"/>
              <a:gd name="connsiteX5718" fmla="*/ 10648865 w 10890933"/>
              <a:gd name="connsiteY5718" fmla="*/ 1643300 h 4167549"/>
              <a:gd name="connsiteX5719" fmla="*/ 10513566 w 10890933"/>
              <a:gd name="connsiteY5719" fmla="*/ 1607046 h 4167549"/>
              <a:gd name="connsiteX5720" fmla="*/ 10289080 w 10890933"/>
              <a:gd name="connsiteY5720" fmla="*/ 1600491 h 4167549"/>
              <a:gd name="connsiteX5721" fmla="*/ 10296433 w 10890933"/>
              <a:gd name="connsiteY5721" fmla="*/ 1602875 h 4167549"/>
              <a:gd name="connsiteX5722" fmla="*/ 10318231 w 10890933"/>
              <a:gd name="connsiteY5722" fmla="*/ 1612024 h 4167549"/>
              <a:gd name="connsiteX5723" fmla="*/ 10285320 w 10890933"/>
              <a:gd name="connsiteY5723" fmla="*/ 1603206 h 4167549"/>
              <a:gd name="connsiteX5724" fmla="*/ 10289080 w 10890933"/>
              <a:gd name="connsiteY5724" fmla="*/ 1600491 h 4167549"/>
              <a:gd name="connsiteX5725" fmla="*/ 10706549 w 10890933"/>
              <a:gd name="connsiteY5725" fmla="*/ 1594382 h 4167549"/>
              <a:gd name="connsiteX5726" fmla="*/ 10801470 w 10890933"/>
              <a:gd name="connsiteY5726" fmla="*/ 1618605 h 4167549"/>
              <a:gd name="connsiteX5727" fmla="*/ 10890933 w 10890933"/>
              <a:gd name="connsiteY5727" fmla="*/ 1663187 h 4167549"/>
              <a:gd name="connsiteX5728" fmla="*/ 10772937 w 10890933"/>
              <a:gd name="connsiteY5728" fmla="*/ 1621872 h 4167549"/>
              <a:gd name="connsiteX5729" fmla="*/ 10764334 w 10890933"/>
              <a:gd name="connsiteY5729" fmla="*/ 1619566 h 4167549"/>
              <a:gd name="connsiteX5730" fmla="*/ 10706549 w 10890933"/>
              <a:gd name="connsiteY5730" fmla="*/ 1594382 h 4167549"/>
              <a:gd name="connsiteX5731" fmla="*/ 10085064 w 10890933"/>
              <a:gd name="connsiteY5731" fmla="*/ 1593638 h 4167549"/>
              <a:gd name="connsiteX5732" fmla="*/ 10239333 w 10890933"/>
              <a:gd name="connsiteY5732" fmla="*/ 1634975 h 4167549"/>
              <a:gd name="connsiteX5733" fmla="*/ 10391394 w 10890933"/>
              <a:gd name="connsiteY5733" fmla="*/ 1684537 h 4167549"/>
              <a:gd name="connsiteX5734" fmla="*/ 10085064 w 10890933"/>
              <a:gd name="connsiteY5734" fmla="*/ 1593638 h 4167549"/>
              <a:gd name="connsiteX5735" fmla="*/ 10456267 w 10890933"/>
              <a:gd name="connsiteY5735" fmla="*/ 1574054 h 4167549"/>
              <a:gd name="connsiteX5736" fmla="*/ 10497111 w 10890933"/>
              <a:gd name="connsiteY5736" fmla="*/ 1602635 h 4167549"/>
              <a:gd name="connsiteX5737" fmla="*/ 10456267 w 10890933"/>
              <a:gd name="connsiteY5737" fmla="*/ 1574054 h 4167549"/>
              <a:gd name="connsiteX5738" fmla="*/ 10423357 w 10890933"/>
              <a:gd name="connsiteY5738" fmla="*/ 1565236 h 4167549"/>
              <a:gd name="connsiteX5739" fmla="*/ 10439813 w 10890933"/>
              <a:gd name="connsiteY5739" fmla="*/ 1569645 h 4167549"/>
              <a:gd name="connsiteX5740" fmla="*/ 10448041 w 10890933"/>
              <a:gd name="connsiteY5740" fmla="*/ 1571850 h 4167549"/>
              <a:gd name="connsiteX5741" fmla="*/ 10456267 w 10890933"/>
              <a:gd name="connsiteY5741" fmla="*/ 1574054 h 4167549"/>
              <a:gd name="connsiteX5742" fmla="*/ 10423357 w 10890933"/>
              <a:gd name="connsiteY5742" fmla="*/ 1565236 h 4167549"/>
              <a:gd name="connsiteX5743" fmla="*/ 10547551 w 10890933"/>
              <a:gd name="connsiteY5743" fmla="*/ 1560762 h 4167549"/>
              <a:gd name="connsiteX5744" fmla="*/ 10567334 w 10890933"/>
              <a:gd name="connsiteY5744" fmla="*/ 1566339 h 4167549"/>
              <a:gd name="connsiteX5745" fmla="*/ 10611248 w 10890933"/>
              <a:gd name="connsiteY5745" fmla="*/ 1580311 h 4167549"/>
              <a:gd name="connsiteX5746" fmla="*/ 10676799 w 10890933"/>
              <a:gd name="connsiteY5746" fmla="*/ 1606694 h 4167549"/>
              <a:gd name="connsiteX5747" fmla="*/ 10532816 w 10890933"/>
              <a:gd name="connsiteY5747" fmla="*/ 1568114 h 4167549"/>
              <a:gd name="connsiteX5748" fmla="*/ 10547551 w 10890933"/>
              <a:gd name="connsiteY5748" fmla="*/ 1560762 h 4167549"/>
              <a:gd name="connsiteX5749" fmla="*/ 10153976 w 10890933"/>
              <a:gd name="connsiteY5749" fmla="*/ 1550375 h 4167549"/>
              <a:gd name="connsiteX5750" fmla="*/ 10262845 w 10890933"/>
              <a:gd name="connsiteY5750" fmla="*/ 1588365 h 4167549"/>
              <a:gd name="connsiteX5751" fmla="*/ 10153976 w 10890933"/>
              <a:gd name="connsiteY5751" fmla="*/ 1550375 h 4167549"/>
              <a:gd name="connsiteX5752" fmla="*/ 10125949 w 10890933"/>
              <a:gd name="connsiteY5752" fmla="*/ 1542596 h 4167549"/>
              <a:gd name="connsiteX5753" fmla="*/ 10145088 w 10890933"/>
              <a:gd name="connsiteY5753" fmla="*/ 1547994 h 4167549"/>
              <a:gd name="connsiteX5754" fmla="*/ 10127975 w 10890933"/>
              <a:gd name="connsiteY5754" fmla="*/ 1543408 h 4167549"/>
              <a:gd name="connsiteX5755" fmla="*/ 10550964 w 10890933"/>
              <a:gd name="connsiteY5755" fmla="*/ 1533293 h 4167549"/>
              <a:gd name="connsiteX5756" fmla="*/ 10594306 w 10890933"/>
              <a:gd name="connsiteY5756" fmla="*/ 1536088 h 4167549"/>
              <a:gd name="connsiteX5757" fmla="*/ 10550964 w 10890933"/>
              <a:gd name="connsiteY5757" fmla="*/ 1533293 h 4167549"/>
              <a:gd name="connsiteX5758" fmla="*/ 10409698 w 10890933"/>
              <a:gd name="connsiteY5758" fmla="*/ 1517485 h 4167549"/>
              <a:gd name="connsiteX5759" fmla="*/ 10524589 w 10890933"/>
              <a:gd name="connsiteY5759" fmla="*/ 1565906 h 4167549"/>
              <a:gd name="connsiteX5760" fmla="*/ 10405289 w 10890933"/>
              <a:gd name="connsiteY5760" fmla="*/ 1533940 h 4167549"/>
              <a:gd name="connsiteX5761" fmla="*/ 10409698 w 10890933"/>
              <a:gd name="connsiteY5761" fmla="*/ 1517485 h 4167549"/>
              <a:gd name="connsiteX5762" fmla="*/ 10528370 w 10890933"/>
              <a:gd name="connsiteY5762" fmla="*/ 1515112 h 4167549"/>
              <a:gd name="connsiteX5763" fmla="*/ 10553168 w 10890933"/>
              <a:gd name="connsiteY5763" fmla="*/ 1525065 h 4167549"/>
              <a:gd name="connsiteX5764" fmla="*/ 10535343 w 10890933"/>
              <a:gd name="connsiteY5764" fmla="*/ 1520289 h 4167549"/>
              <a:gd name="connsiteX5765" fmla="*/ 10528370 w 10890933"/>
              <a:gd name="connsiteY5765" fmla="*/ 1515112 h 4167549"/>
              <a:gd name="connsiteX5766" fmla="*/ 9951594 w 10890933"/>
              <a:gd name="connsiteY5766" fmla="*/ 1482919 h 4167549"/>
              <a:gd name="connsiteX5767" fmla="*/ 10041025 w 10890933"/>
              <a:gd name="connsiteY5767" fmla="*/ 1508534 h 4167549"/>
              <a:gd name="connsiteX5768" fmla="*/ 10125949 w 10890933"/>
              <a:gd name="connsiteY5768" fmla="*/ 1542596 h 4167549"/>
              <a:gd name="connsiteX5769" fmla="*/ 10027849 w 10890933"/>
              <a:gd name="connsiteY5769" fmla="*/ 1514927 h 4167549"/>
              <a:gd name="connsiteX5770" fmla="*/ 9951594 w 10890933"/>
              <a:gd name="connsiteY5770" fmla="*/ 1482919 h 4167549"/>
              <a:gd name="connsiteX5771" fmla="*/ 10419621 w 10890933"/>
              <a:gd name="connsiteY5771" fmla="*/ 1480463 h 4167549"/>
              <a:gd name="connsiteX5772" fmla="*/ 10479833 w 10890933"/>
              <a:gd name="connsiteY5772" fmla="*/ 1496597 h 4167549"/>
              <a:gd name="connsiteX5773" fmla="*/ 10451823 w 10890933"/>
              <a:gd name="connsiteY5773" fmla="*/ 1497910 h 4167549"/>
              <a:gd name="connsiteX5774" fmla="*/ 10419621 w 10890933"/>
              <a:gd name="connsiteY5774" fmla="*/ 1480463 h 4167549"/>
              <a:gd name="connsiteX5775" fmla="*/ 10360117 w 10890933"/>
              <a:gd name="connsiteY5775" fmla="*/ 1455701 h 4167549"/>
              <a:gd name="connsiteX5776" fmla="*/ 10403165 w 10890933"/>
              <a:gd name="connsiteY5776" fmla="*/ 1476054 h 4167549"/>
              <a:gd name="connsiteX5777" fmla="*/ 10360117 w 10890933"/>
              <a:gd name="connsiteY5777" fmla="*/ 1455701 h 4167549"/>
              <a:gd name="connsiteX5778" fmla="*/ 10280094 w 10890933"/>
              <a:gd name="connsiteY5778" fmla="*/ 1429436 h 4167549"/>
              <a:gd name="connsiteX5779" fmla="*/ 10301847 w 10890933"/>
              <a:gd name="connsiteY5779" fmla="*/ 1434577 h 4167549"/>
              <a:gd name="connsiteX5780" fmla="*/ 10333232 w 10890933"/>
              <a:gd name="connsiteY5780" fmla="*/ 1457315 h 4167549"/>
              <a:gd name="connsiteX5781" fmla="*/ 10265502 w 10890933"/>
              <a:gd name="connsiteY5781" fmla="*/ 1430349 h 4167549"/>
              <a:gd name="connsiteX5782" fmla="*/ 10280094 w 10890933"/>
              <a:gd name="connsiteY5782" fmla="*/ 1429436 h 4167549"/>
              <a:gd name="connsiteX5783" fmla="*/ 10239549 w 10890933"/>
              <a:gd name="connsiteY5783" fmla="*/ 1410993 h 4167549"/>
              <a:gd name="connsiteX5784" fmla="*/ 10247690 w 10890933"/>
              <a:gd name="connsiteY5784" fmla="*/ 1414552 h 4167549"/>
              <a:gd name="connsiteX5785" fmla="*/ 10257274 w 10890933"/>
              <a:gd name="connsiteY5785" fmla="*/ 1428144 h 4167549"/>
              <a:gd name="connsiteX5786" fmla="*/ 10234796 w 10890933"/>
              <a:gd name="connsiteY5786" fmla="*/ 1413303 h 4167549"/>
              <a:gd name="connsiteX5787" fmla="*/ 10239549 w 10890933"/>
              <a:gd name="connsiteY5787" fmla="*/ 1410993 h 4167549"/>
              <a:gd name="connsiteX5788" fmla="*/ 10199578 w 10890933"/>
              <a:gd name="connsiteY5788" fmla="*/ 1404624 h 4167549"/>
              <a:gd name="connsiteX5789" fmla="*/ 10223929 w 10890933"/>
              <a:gd name="connsiteY5789" fmla="*/ 1407711 h 4167549"/>
              <a:gd name="connsiteX5790" fmla="*/ 10208121 w 10890933"/>
              <a:gd name="connsiteY5790" fmla="*/ 1406913 h 4167549"/>
              <a:gd name="connsiteX5791" fmla="*/ 10708799 w 10890933"/>
              <a:gd name="connsiteY5791" fmla="*/ 1329914 h 4167549"/>
              <a:gd name="connsiteX5792" fmla="*/ 10748448 w 10890933"/>
              <a:gd name="connsiteY5792" fmla="*/ 1339298 h 4167549"/>
              <a:gd name="connsiteX5793" fmla="*/ 10696877 w 10890933"/>
              <a:gd name="connsiteY5793" fmla="*/ 1334298 h 4167549"/>
              <a:gd name="connsiteX5794" fmla="*/ 10708799 w 10890933"/>
              <a:gd name="connsiteY5794" fmla="*/ 1329914 h 4167549"/>
              <a:gd name="connsiteX5795" fmla="*/ 10479144 w 10890933"/>
              <a:gd name="connsiteY5795" fmla="*/ 1258320 h 4167549"/>
              <a:gd name="connsiteX5796" fmla="*/ 10508492 w 10890933"/>
              <a:gd name="connsiteY5796" fmla="*/ 1263978 h 4167549"/>
              <a:gd name="connsiteX5797" fmla="*/ 10534532 w 10890933"/>
              <a:gd name="connsiteY5797" fmla="*/ 1281979 h 4167549"/>
              <a:gd name="connsiteX5798" fmla="*/ 10479144 w 10890933"/>
              <a:gd name="connsiteY5798" fmla="*/ 1258320 h 4167549"/>
              <a:gd name="connsiteX5799" fmla="*/ 9528411 w 10890933"/>
              <a:gd name="connsiteY5799" fmla="*/ 1153481 h 4167549"/>
              <a:gd name="connsiteX5800" fmla="*/ 9697087 w 10890933"/>
              <a:gd name="connsiteY5800" fmla="*/ 1207496 h 4167549"/>
              <a:gd name="connsiteX5801" fmla="*/ 9637279 w 10890933"/>
              <a:gd name="connsiteY5801" fmla="*/ 1191471 h 4167549"/>
              <a:gd name="connsiteX5802" fmla="*/ 9577471 w 10890933"/>
              <a:gd name="connsiteY5802" fmla="*/ 1175445 h 4167549"/>
              <a:gd name="connsiteX5803" fmla="*/ 9528411 w 10890933"/>
              <a:gd name="connsiteY5803" fmla="*/ 1153481 h 4167549"/>
              <a:gd name="connsiteX5804" fmla="*/ 10121968 w 10890933"/>
              <a:gd name="connsiteY5804" fmla="*/ 1137262 h 4167549"/>
              <a:gd name="connsiteX5805" fmla="*/ 10141468 w 10890933"/>
              <a:gd name="connsiteY5805" fmla="*/ 1141385 h 4167549"/>
              <a:gd name="connsiteX5806" fmla="*/ 10156351 w 10890933"/>
              <a:gd name="connsiteY5806" fmla="*/ 1154191 h 4167549"/>
              <a:gd name="connsiteX5807" fmla="*/ 10113630 w 10890933"/>
              <a:gd name="connsiteY5807" fmla="*/ 1142744 h 4167549"/>
              <a:gd name="connsiteX5808" fmla="*/ 10121968 w 10890933"/>
              <a:gd name="connsiteY5808" fmla="*/ 1137262 h 4167549"/>
              <a:gd name="connsiteX5809" fmla="*/ 10085143 w 10890933"/>
              <a:gd name="connsiteY5809" fmla="*/ 1128498 h 4167549"/>
              <a:gd name="connsiteX5810" fmla="*/ 10096859 w 10890933"/>
              <a:gd name="connsiteY5810" fmla="*/ 1138250 h 4167549"/>
              <a:gd name="connsiteX5811" fmla="*/ 10063949 w 10890933"/>
              <a:gd name="connsiteY5811" fmla="*/ 1129432 h 4167549"/>
              <a:gd name="connsiteX5812" fmla="*/ 10085143 w 10890933"/>
              <a:gd name="connsiteY5812" fmla="*/ 1128498 h 4167549"/>
              <a:gd name="connsiteX5813" fmla="*/ 9726314 w 10890933"/>
              <a:gd name="connsiteY5813" fmla="*/ 1110787 h 4167549"/>
              <a:gd name="connsiteX5814" fmla="*/ 9728450 w 10890933"/>
              <a:gd name="connsiteY5814" fmla="*/ 1114489 h 4167549"/>
              <a:gd name="connsiteX5815" fmla="*/ 9720222 w 10890933"/>
              <a:gd name="connsiteY5815" fmla="*/ 1112284 h 4167549"/>
              <a:gd name="connsiteX5816" fmla="*/ 9719400 w 10890933"/>
              <a:gd name="connsiteY5816" fmla="*/ 1112064 h 4167549"/>
              <a:gd name="connsiteX5817" fmla="*/ 9722427 w 10890933"/>
              <a:gd name="connsiteY5817" fmla="*/ 1104057 h 4167549"/>
              <a:gd name="connsiteX5818" fmla="*/ 9738881 w 10890933"/>
              <a:gd name="connsiteY5818" fmla="*/ 1108466 h 4167549"/>
              <a:gd name="connsiteX5819" fmla="*/ 9726314 w 10890933"/>
              <a:gd name="connsiteY5819" fmla="*/ 1110787 h 4167549"/>
              <a:gd name="connsiteX5820" fmla="*/ 9725439 w 10890933"/>
              <a:gd name="connsiteY5820" fmla="*/ 1109272 h 4167549"/>
              <a:gd name="connsiteX5821" fmla="*/ 9722427 w 10890933"/>
              <a:gd name="connsiteY5821" fmla="*/ 1104057 h 4167549"/>
              <a:gd name="connsiteX5822" fmla="*/ 9687312 w 10890933"/>
              <a:gd name="connsiteY5822" fmla="*/ 1103466 h 4167549"/>
              <a:gd name="connsiteX5823" fmla="*/ 9694510 w 10890933"/>
              <a:gd name="connsiteY5823" fmla="*/ 1105395 h 4167549"/>
              <a:gd name="connsiteX5824" fmla="*/ 9719400 w 10890933"/>
              <a:gd name="connsiteY5824" fmla="*/ 1112064 h 4167549"/>
              <a:gd name="connsiteX5825" fmla="*/ 9714529 w 10890933"/>
              <a:gd name="connsiteY5825" fmla="*/ 1112964 h 4167549"/>
              <a:gd name="connsiteX5826" fmla="*/ 9921382 w 10890933"/>
              <a:gd name="connsiteY5826" fmla="*/ 1086133 h 4167549"/>
              <a:gd name="connsiteX5827" fmla="*/ 9990460 w 10890933"/>
              <a:gd name="connsiteY5827" fmla="*/ 1100922 h 4167549"/>
              <a:gd name="connsiteX5828" fmla="*/ 10022265 w 10890933"/>
              <a:gd name="connsiteY5828" fmla="*/ 1118263 h 4167549"/>
              <a:gd name="connsiteX5829" fmla="*/ 9911738 w 10890933"/>
              <a:gd name="connsiteY5829" fmla="*/ 1088647 h 4167549"/>
              <a:gd name="connsiteX5830" fmla="*/ 9921382 w 10890933"/>
              <a:gd name="connsiteY5830" fmla="*/ 1086133 h 4167549"/>
              <a:gd name="connsiteX5831" fmla="*/ 9671904 w 10890933"/>
              <a:gd name="connsiteY5831" fmla="*/ 1082806 h 4167549"/>
              <a:gd name="connsiteX5832" fmla="*/ 9683493 w 10890933"/>
              <a:gd name="connsiteY5832" fmla="*/ 1084809 h 4167549"/>
              <a:gd name="connsiteX5833" fmla="*/ 9689516 w 10890933"/>
              <a:gd name="connsiteY5833" fmla="*/ 1095241 h 4167549"/>
              <a:gd name="connsiteX5834" fmla="*/ 9664833 w 10890933"/>
              <a:gd name="connsiteY5834" fmla="*/ 1088627 h 4167549"/>
              <a:gd name="connsiteX5835" fmla="*/ 9671904 w 10890933"/>
              <a:gd name="connsiteY5835" fmla="*/ 1082806 h 4167549"/>
              <a:gd name="connsiteX5836" fmla="*/ 9844010 w 10890933"/>
              <a:gd name="connsiteY5836" fmla="*/ 1061681 h 4167549"/>
              <a:gd name="connsiteX5837" fmla="*/ 9862321 w 10890933"/>
              <a:gd name="connsiteY5837" fmla="*/ 1063280 h 4167549"/>
              <a:gd name="connsiteX5838" fmla="*/ 9885148 w 10890933"/>
              <a:gd name="connsiteY5838" fmla="*/ 1072704 h 4167549"/>
              <a:gd name="connsiteX5839" fmla="*/ 9747046 w 10890933"/>
              <a:gd name="connsiteY5839" fmla="*/ 1028122 h 4167549"/>
              <a:gd name="connsiteX5840" fmla="*/ 9813305 w 10890933"/>
              <a:gd name="connsiteY5840" fmla="*/ 1044635 h 4167549"/>
              <a:gd name="connsiteX5841" fmla="*/ 9741624 w 10890933"/>
              <a:gd name="connsiteY5841" fmla="*/ 1034247 h 4167549"/>
              <a:gd name="connsiteX5842" fmla="*/ 9747046 w 10890933"/>
              <a:gd name="connsiteY5842" fmla="*/ 1028122 h 4167549"/>
              <a:gd name="connsiteX5843" fmla="*/ 9626473 w 10890933"/>
              <a:gd name="connsiteY5843" fmla="*/ 990853 h 4167549"/>
              <a:gd name="connsiteX5844" fmla="*/ 9648360 w 10890933"/>
              <a:gd name="connsiteY5844" fmla="*/ 997131 h 4167549"/>
              <a:gd name="connsiteX5845" fmla="*/ 9685779 w 10890933"/>
              <a:gd name="connsiteY5845" fmla="*/ 1010465 h 4167549"/>
              <a:gd name="connsiteX5846" fmla="*/ 9615844 w 10890933"/>
              <a:gd name="connsiteY5846" fmla="*/ 991726 h 4167549"/>
              <a:gd name="connsiteX5847" fmla="*/ 9626473 w 10890933"/>
              <a:gd name="connsiteY5847" fmla="*/ 990853 h 4167549"/>
              <a:gd name="connsiteX5848" fmla="*/ 9426585 w 10890933"/>
              <a:gd name="connsiteY5848" fmla="*/ 987472 h 4167549"/>
              <a:gd name="connsiteX5849" fmla="*/ 9449314 w 10890933"/>
              <a:gd name="connsiteY5849" fmla="*/ 992729 h 4167549"/>
              <a:gd name="connsiteX5850" fmla="*/ 9435641 w 10890933"/>
              <a:gd name="connsiteY5850" fmla="*/ 992504 h 4167549"/>
              <a:gd name="connsiteX5851" fmla="*/ 9423686 w 10890933"/>
              <a:gd name="connsiteY5851" fmla="*/ 985862 h 4167549"/>
              <a:gd name="connsiteX5852" fmla="*/ 9426585 w 10890933"/>
              <a:gd name="connsiteY5852" fmla="*/ 987472 h 4167549"/>
              <a:gd name="connsiteX5853" fmla="*/ 9423449 w 10890933"/>
              <a:gd name="connsiteY5853" fmla="*/ 986748 h 4167549"/>
              <a:gd name="connsiteX5854" fmla="*/ 9564568 w 10890933"/>
              <a:gd name="connsiteY5854" fmla="*/ 969169 h 4167549"/>
              <a:gd name="connsiteX5855" fmla="*/ 9607616 w 10890933"/>
              <a:gd name="connsiteY5855" fmla="*/ 989522 h 4167549"/>
              <a:gd name="connsiteX5856" fmla="*/ 9564568 w 10890933"/>
              <a:gd name="connsiteY5856" fmla="*/ 969169 h 4167549"/>
              <a:gd name="connsiteX5857" fmla="*/ 9284242 w 10890933"/>
              <a:gd name="connsiteY5857" fmla="*/ 929328 h 4167549"/>
              <a:gd name="connsiteX5858" fmla="*/ 9401338 w 10890933"/>
              <a:gd name="connsiteY5858" fmla="*/ 969522 h 4167549"/>
              <a:gd name="connsiteX5859" fmla="*/ 9284242 w 10890933"/>
              <a:gd name="connsiteY5859" fmla="*/ 929328 h 4167549"/>
              <a:gd name="connsiteX5860" fmla="*/ 9309859 w 10890933"/>
              <a:gd name="connsiteY5860" fmla="*/ 900920 h 4167549"/>
              <a:gd name="connsiteX5861" fmla="*/ 9394247 w 10890933"/>
              <a:gd name="connsiteY5861" fmla="*/ 920223 h 4167549"/>
              <a:gd name="connsiteX5862" fmla="*/ 9489837 w 10890933"/>
              <a:gd name="connsiteY5862" fmla="*/ 949144 h 4167549"/>
              <a:gd name="connsiteX5863" fmla="*/ 9498406 w 10890933"/>
              <a:gd name="connsiteY5863" fmla="*/ 951441 h 4167549"/>
              <a:gd name="connsiteX5864" fmla="*/ 9487632 w 10890933"/>
              <a:gd name="connsiteY5864" fmla="*/ 957372 h 4167549"/>
              <a:gd name="connsiteX5865" fmla="*/ 9384786 w 10890933"/>
              <a:gd name="connsiteY5865" fmla="*/ 929814 h 4167549"/>
              <a:gd name="connsiteX5866" fmla="*/ 9376217 w 10890933"/>
              <a:gd name="connsiteY5866" fmla="*/ 927518 h 4167549"/>
              <a:gd name="connsiteX5867" fmla="*/ 9361280 w 10890933"/>
              <a:gd name="connsiteY5867" fmla="*/ 914698 h 4167549"/>
              <a:gd name="connsiteX5868" fmla="*/ 9359075 w 10890933"/>
              <a:gd name="connsiteY5868" fmla="*/ 922925 h 4167549"/>
              <a:gd name="connsiteX5869" fmla="*/ 9335569 w 10890933"/>
              <a:gd name="connsiteY5869" fmla="*/ 907808 h 4167549"/>
              <a:gd name="connsiteX5870" fmla="*/ 9299083 w 10890933"/>
              <a:gd name="connsiteY5870" fmla="*/ 906850 h 4167549"/>
              <a:gd name="connsiteX5871" fmla="*/ 9309859 w 10890933"/>
              <a:gd name="connsiteY5871" fmla="*/ 900920 h 4167549"/>
              <a:gd name="connsiteX5872" fmla="*/ 9221986 w 10890933"/>
              <a:gd name="connsiteY5872" fmla="*/ 864972 h 4167549"/>
              <a:gd name="connsiteX5873" fmla="*/ 9241996 w 10890933"/>
              <a:gd name="connsiteY5873" fmla="*/ 871712 h 4167549"/>
              <a:gd name="connsiteX5874" fmla="*/ 9284835 w 10890933"/>
              <a:gd name="connsiteY5874" fmla="*/ 894214 h 4167549"/>
              <a:gd name="connsiteX5875" fmla="*/ 9208877 w 10890933"/>
              <a:gd name="connsiteY5875" fmla="*/ 865043 h 4167549"/>
              <a:gd name="connsiteX5876" fmla="*/ 9221986 w 10890933"/>
              <a:gd name="connsiteY5876" fmla="*/ 864972 h 4167549"/>
              <a:gd name="connsiteX5877" fmla="*/ 8740156 w 10890933"/>
              <a:gd name="connsiteY5877" fmla="*/ 697323 h 4167549"/>
              <a:gd name="connsiteX5878" fmla="*/ 8746197 w 10890933"/>
              <a:gd name="connsiteY5878" fmla="*/ 699460 h 4167549"/>
              <a:gd name="connsiteX5879" fmla="*/ 8757504 w 10890933"/>
              <a:gd name="connsiteY5879" fmla="*/ 706623 h 4167549"/>
              <a:gd name="connsiteX5880" fmla="*/ 8732821 w 10890933"/>
              <a:gd name="connsiteY5880" fmla="*/ 700009 h 4167549"/>
              <a:gd name="connsiteX5881" fmla="*/ 8740156 w 10890933"/>
              <a:gd name="connsiteY5881" fmla="*/ 697323 h 4167549"/>
              <a:gd name="connsiteX5882" fmla="*/ 8638388 w 10890933"/>
              <a:gd name="connsiteY5882" fmla="*/ 673970 h 4167549"/>
              <a:gd name="connsiteX5883" fmla="*/ 8727350 w 10890933"/>
              <a:gd name="connsiteY5883" fmla="*/ 687519 h 4167549"/>
              <a:gd name="connsiteX5884" fmla="*/ 8698862 w 10890933"/>
              <a:gd name="connsiteY5884" fmla="*/ 690173 h 4167549"/>
              <a:gd name="connsiteX5885" fmla="*/ 8638388 w 10890933"/>
              <a:gd name="connsiteY5885" fmla="*/ 673970 h 4167549"/>
              <a:gd name="connsiteX5886" fmla="*/ 8579776 w 10890933"/>
              <a:gd name="connsiteY5886" fmla="*/ 586249 h 4167549"/>
              <a:gd name="connsiteX5887" fmla="*/ 8597259 w 10890933"/>
              <a:gd name="connsiteY5887" fmla="*/ 590934 h 4167549"/>
              <a:gd name="connsiteX5888" fmla="*/ 8579776 w 10890933"/>
              <a:gd name="connsiteY5888" fmla="*/ 586249 h 4167549"/>
              <a:gd name="connsiteX5889" fmla="*/ 8445486 w 10890933"/>
              <a:gd name="connsiteY5889" fmla="*/ 581681 h 4167549"/>
              <a:gd name="connsiteX5890" fmla="*/ 8489342 w 10890933"/>
              <a:gd name="connsiteY5890" fmla="*/ 588473 h 4167549"/>
              <a:gd name="connsiteX5891" fmla="*/ 8442572 w 10890933"/>
              <a:gd name="connsiteY5891" fmla="*/ 584759 h 4167549"/>
              <a:gd name="connsiteX5892" fmla="*/ 8445486 w 10890933"/>
              <a:gd name="connsiteY5892" fmla="*/ 581681 h 4167549"/>
              <a:gd name="connsiteX5893" fmla="*/ 1778938 w 10890933"/>
              <a:gd name="connsiteY5893" fmla="*/ 540838 h 4167549"/>
              <a:gd name="connsiteX5894" fmla="*/ 1778687 w 10890933"/>
              <a:gd name="connsiteY5894" fmla="*/ 541774 h 4167549"/>
              <a:gd name="connsiteX5895" fmla="*/ 1778686 w 10890933"/>
              <a:gd name="connsiteY5895" fmla="*/ 541776 h 4167549"/>
              <a:gd name="connsiteX5896" fmla="*/ 8295640 w 10890933"/>
              <a:gd name="connsiteY5896" fmla="*/ 532849 h 4167549"/>
              <a:gd name="connsiteX5897" fmla="*/ 8302994 w 10890933"/>
              <a:gd name="connsiteY5897" fmla="*/ 535233 h 4167549"/>
              <a:gd name="connsiteX5898" fmla="*/ 8324791 w 10890933"/>
              <a:gd name="connsiteY5898" fmla="*/ 544381 h 4167549"/>
              <a:gd name="connsiteX5899" fmla="*/ 8291881 w 10890933"/>
              <a:gd name="connsiteY5899" fmla="*/ 535563 h 4167549"/>
              <a:gd name="connsiteX5900" fmla="*/ 8295640 w 10890933"/>
              <a:gd name="connsiteY5900" fmla="*/ 532849 h 4167549"/>
              <a:gd name="connsiteX5901" fmla="*/ 8401010 w 10890933"/>
              <a:gd name="connsiteY5901" fmla="*/ 527326 h 4167549"/>
              <a:gd name="connsiteX5902" fmla="*/ 8419998 w 10890933"/>
              <a:gd name="connsiteY5902" fmla="*/ 534619 h 4167549"/>
              <a:gd name="connsiteX5903" fmla="*/ 8417793 w 10890933"/>
              <a:gd name="connsiteY5903" fmla="*/ 542846 h 4167549"/>
              <a:gd name="connsiteX5904" fmla="*/ 8384883 w 10890933"/>
              <a:gd name="connsiteY5904" fmla="*/ 534028 h 4167549"/>
              <a:gd name="connsiteX5905" fmla="*/ 8401010 w 10890933"/>
              <a:gd name="connsiteY5905" fmla="*/ 527326 h 4167549"/>
              <a:gd name="connsiteX5906" fmla="*/ 8278861 w 10890933"/>
              <a:gd name="connsiteY5906" fmla="*/ 526564 h 4167549"/>
              <a:gd name="connsiteX5907" fmla="*/ 8281450 w 10890933"/>
              <a:gd name="connsiteY5907" fmla="*/ 541586 h 4167549"/>
              <a:gd name="connsiteX5908" fmla="*/ 8258971 w 10890933"/>
              <a:gd name="connsiteY5908" fmla="*/ 526745 h 4167549"/>
              <a:gd name="connsiteX5909" fmla="*/ 8278861 w 10890933"/>
              <a:gd name="connsiteY5909" fmla="*/ 526564 h 4167549"/>
              <a:gd name="connsiteX5910" fmla="*/ 8370011 w 10890933"/>
              <a:gd name="connsiteY5910" fmla="*/ 520122 h 4167549"/>
              <a:gd name="connsiteX5911" fmla="*/ 8375629 w 10890933"/>
              <a:gd name="connsiteY5911" fmla="*/ 531548 h 4167549"/>
              <a:gd name="connsiteX5912" fmla="*/ 8366373 w 10890933"/>
              <a:gd name="connsiteY5912" fmla="*/ 529068 h 4167549"/>
              <a:gd name="connsiteX5913" fmla="*/ 8370011 w 10890933"/>
              <a:gd name="connsiteY5913" fmla="*/ 520122 h 4167549"/>
              <a:gd name="connsiteX5914" fmla="*/ 8188477 w 10890933"/>
              <a:gd name="connsiteY5914" fmla="*/ 502895 h 4167549"/>
              <a:gd name="connsiteX5915" fmla="*/ 8203032 w 10890933"/>
              <a:gd name="connsiteY5915" fmla="*/ 505143 h 4167549"/>
              <a:gd name="connsiteX5916" fmla="*/ 8221946 w 10890933"/>
              <a:gd name="connsiteY5916" fmla="*/ 516824 h 4167549"/>
              <a:gd name="connsiteX5917" fmla="*/ 8180809 w 10890933"/>
              <a:gd name="connsiteY5917" fmla="*/ 505801 h 4167549"/>
              <a:gd name="connsiteX5918" fmla="*/ 8188477 w 10890933"/>
              <a:gd name="connsiteY5918" fmla="*/ 502895 h 4167549"/>
              <a:gd name="connsiteX5919" fmla="*/ 8298803 w 10890933"/>
              <a:gd name="connsiteY5919" fmla="*/ 498422 h 4167549"/>
              <a:gd name="connsiteX5920" fmla="*/ 8312363 w 10890933"/>
              <a:gd name="connsiteY5920" fmla="*/ 500265 h 4167549"/>
              <a:gd name="connsiteX5921" fmla="*/ 8341838 w 10890933"/>
              <a:gd name="connsiteY5921" fmla="*/ 513673 h 4167549"/>
              <a:gd name="connsiteX5922" fmla="*/ 8339634 w 10890933"/>
              <a:gd name="connsiteY5922" fmla="*/ 521901 h 4167549"/>
              <a:gd name="connsiteX5923" fmla="*/ 8290269 w 10890933"/>
              <a:gd name="connsiteY5923" fmla="*/ 508673 h 4167549"/>
              <a:gd name="connsiteX5924" fmla="*/ 8298803 w 10890933"/>
              <a:gd name="connsiteY5924" fmla="*/ 498422 h 4167549"/>
              <a:gd name="connsiteX5925" fmla="*/ 8123183 w 10890933"/>
              <a:gd name="connsiteY5925" fmla="*/ 486639 h 4167549"/>
              <a:gd name="connsiteX5926" fmla="*/ 8130731 w 10890933"/>
              <a:gd name="connsiteY5926" fmla="*/ 489075 h 4167549"/>
              <a:gd name="connsiteX5927" fmla="*/ 8147901 w 10890933"/>
              <a:gd name="connsiteY5927" fmla="*/ 496984 h 4167549"/>
              <a:gd name="connsiteX5928" fmla="*/ 8119103 w 10890933"/>
              <a:gd name="connsiteY5928" fmla="*/ 489267 h 4167549"/>
              <a:gd name="connsiteX5929" fmla="*/ 8123183 w 10890933"/>
              <a:gd name="connsiteY5929" fmla="*/ 486639 h 4167549"/>
              <a:gd name="connsiteX5930" fmla="*/ 8193775 w 10890933"/>
              <a:gd name="connsiteY5930" fmla="*/ 473865 h 4167549"/>
              <a:gd name="connsiteX5931" fmla="*/ 8232969 w 10890933"/>
              <a:gd name="connsiteY5931" fmla="*/ 475686 h 4167549"/>
              <a:gd name="connsiteX5932" fmla="*/ 8179195 w 10890933"/>
              <a:gd name="connsiteY5932" fmla="*/ 478914 h 4167549"/>
              <a:gd name="connsiteX5933" fmla="*/ 8193775 w 10890933"/>
              <a:gd name="connsiteY5933" fmla="*/ 473865 h 4167549"/>
              <a:gd name="connsiteX5934" fmla="*/ 8071943 w 10890933"/>
              <a:gd name="connsiteY5934" fmla="*/ 467812 h 4167549"/>
              <a:gd name="connsiteX5935" fmla="*/ 8094421 w 10890933"/>
              <a:gd name="connsiteY5935" fmla="*/ 482654 h 4167549"/>
              <a:gd name="connsiteX5936" fmla="*/ 8061511 w 10890933"/>
              <a:gd name="connsiteY5936" fmla="*/ 473835 h 4167549"/>
              <a:gd name="connsiteX5937" fmla="*/ 8069738 w 10890933"/>
              <a:gd name="connsiteY5937" fmla="*/ 476040 h 4167549"/>
              <a:gd name="connsiteX5938" fmla="*/ 8071943 w 10890933"/>
              <a:gd name="connsiteY5938" fmla="*/ 467812 h 4167549"/>
              <a:gd name="connsiteX5939" fmla="*/ 8056079 w 10890933"/>
              <a:gd name="connsiteY5939" fmla="*/ 428289 h 4167549"/>
              <a:gd name="connsiteX5940" fmla="*/ 8064306 w 10890933"/>
              <a:gd name="connsiteY5940" fmla="*/ 430493 h 4167549"/>
              <a:gd name="connsiteX5941" fmla="*/ 8056079 w 10890933"/>
              <a:gd name="connsiteY5941" fmla="*/ 428289 h 4167549"/>
              <a:gd name="connsiteX5942" fmla="*/ 7892292 w 10890933"/>
              <a:gd name="connsiteY5942" fmla="*/ 419813 h 4167549"/>
              <a:gd name="connsiteX5943" fmla="*/ 7905613 w 10890933"/>
              <a:gd name="connsiteY5943" fmla="*/ 422142 h 4167549"/>
              <a:gd name="connsiteX5944" fmla="*/ 7925758 w 10890933"/>
              <a:gd name="connsiteY5944" fmla="*/ 437461 h 4167549"/>
              <a:gd name="connsiteX5945" fmla="*/ 7905453 w 10890933"/>
              <a:gd name="connsiteY5945" fmla="*/ 440838 h 4167549"/>
              <a:gd name="connsiteX5946" fmla="*/ 7880505 w 10890933"/>
              <a:gd name="connsiteY5946" fmla="*/ 425335 h 4167549"/>
              <a:gd name="connsiteX5947" fmla="*/ 7892292 w 10890933"/>
              <a:gd name="connsiteY5947" fmla="*/ 419813 h 4167549"/>
              <a:gd name="connsiteX5948" fmla="*/ 8010827 w 10890933"/>
              <a:gd name="connsiteY5948" fmla="*/ 416161 h 4167549"/>
              <a:gd name="connsiteX5949" fmla="*/ 8038595 w 10890933"/>
              <a:gd name="connsiteY5949" fmla="*/ 423601 h 4167549"/>
              <a:gd name="connsiteX5950" fmla="*/ 8010827 w 10890933"/>
              <a:gd name="connsiteY5950" fmla="*/ 416161 h 4167549"/>
              <a:gd name="connsiteX5951" fmla="*/ 7969689 w 10890933"/>
              <a:gd name="connsiteY5951" fmla="*/ 405140 h 4167549"/>
              <a:gd name="connsiteX5952" fmla="*/ 7986144 w 10890933"/>
              <a:gd name="connsiteY5952" fmla="*/ 409550 h 4167549"/>
              <a:gd name="connsiteX5953" fmla="*/ 7969689 w 10890933"/>
              <a:gd name="connsiteY5953" fmla="*/ 405140 h 4167549"/>
              <a:gd name="connsiteX5954" fmla="*/ 7822648 w 10890933"/>
              <a:gd name="connsiteY5954" fmla="*/ 401014 h 4167549"/>
              <a:gd name="connsiteX5955" fmla="*/ 7872278 w 10890933"/>
              <a:gd name="connsiteY5955" fmla="*/ 423130 h 4167549"/>
              <a:gd name="connsiteX5956" fmla="*/ 7832322 w 10890933"/>
              <a:gd name="connsiteY5956" fmla="*/ 412424 h 4167549"/>
              <a:gd name="connsiteX5957" fmla="*/ 7820443 w 10890933"/>
              <a:gd name="connsiteY5957" fmla="*/ 409241 h 4167549"/>
              <a:gd name="connsiteX5958" fmla="*/ 7822648 w 10890933"/>
              <a:gd name="connsiteY5958" fmla="*/ 401014 h 4167549"/>
              <a:gd name="connsiteX5959" fmla="*/ 7953234 w 10890933"/>
              <a:gd name="connsiteY5959" fmla="*/ 400731 h 4167549"/>
              <a:gd name="connsiteX5960" fmla="*/ 7940597 w 10890933"/>
              <a:gd name="connsiteY5960" fmla="*/ 414982 h 4167549"/>
              <a:gd name="connsiteX5961" fmla="*/ 7953234 w 10890933"/>
              <a:gd name="connsiteY5961" fmla="*/ 400731 h 4167549"/>
              <a:gd name="connsiteX5962" fmla="*/ 7791003 w 10890933"/>
              <a:gd name="connsiteY5962" fmla="*/ 397632 h 4167549"/>
              <a:gd name="connsiteX5963" fmla="*/ 7800754 w 10890933"/>
              <a:gd name="connsiteY5963" fmla="*/ 400658 h 4167549"/>
              <a:gd name="connsiteX5964" fmla="*/ 7820443 w 10890933"/>
              <a:gd name="connsiteY5964" fmla="*/ 409241 h 4167549"/>
              <a:gd name="connsiteX5965" fmla="*/ 7785888 w 10890933"/>
              <a:gd name="connsiteY5965" fmla="*/ 399982 h 4167549"/>
              <a:gd name="connsiteX5966" fmla="*/ 7791003 w 10890933"/>
              <a:gd name="connsiteY5966" fmla="*/ 397632 h 4167549"/>
              <a:gd name="connsiteX5967" fmla="*/ 7883778 w 10890933"/>
              <a:gd name="connsiteY5967" fmla="*/ 384325 h 4167549"/>
              <a:gd name="connsiteX5968" fmla="*/ 7905779 w 10890933"/>
              <a:gd name="connsiteY5968" fmla="*/ 396834 h 4167549"/>
              <a:gd name="connsiteX5969" fmla="*/ 7864641 w 10890933"/>
              <a:gd name="connsiteY5969" fmla="*/ 385811 h 4167549"/>
              <a:gd name="connsiteX5970" fmla="*/ 7883778 w 10890933"/>
              <a:gd name="connsiteY5970" fmla="*/ 384325 h 4167549"/>
              <a:gd name="connsiteX5971" fmla="*/ 7720068 w 10890933"/>
              <a:gd name="connsiteY5971" fmla="*/ 382346 h 4167549"/>
              <a:gd name="connsiteX5972" fmla="*/ 7777660 w 10890933"/>
              <a:gd name="connsiteY5972" fmla="*/ 397778 h 4167549"/>
              <a:gd name="connsiteX5973" fmla="*/ 7720068 w 10890933"/>
              <a:gd name="connsiteY5973" fmla="*/ 382346 h 4167549"/>
              <a:gd name="connsiteX5974" fmla="*/ 7838453 w 10890933"/>
              <a:gd name="connsiteY5974" fmla="*/ 376586 h 4167549"/>
              <a:gd name="connsiteX5975" fmla="*/ 7856414 w 10890933"/>
              <a:gd name="connsiteY5975" fmla="*/ 383604 h 4167549"/>
              <a:gd name="connsiteX5976" fmla="*/ 7829527 w 10890933"/>
              <a:gd name="connsiteY5976" fmla="*/ 385218 h 4167549"/>
              <a:gd name="connsiteX5977" fmla="*/ 7838453 w 10890933"/>
              <a:gd name="connsiteY5977" fmla="*/ 376586 h 4167549"/>
              <a:gd name="connsiteX5978" fmla="*/ 7731091 w 10890933"/>
              <a:gd name="connsiteY5978" fmla="*/ 341206 h 4167549"/>
              <a:gd name="connsiteX5979" fmla="*/ 7770024 w 10890933"/>
              <a:gd name="connsiteY5979" fmla="*/ 360456 h 4167549"/>
              <a:gd name="connsiteX5980" fmla="*/ 7726682 w 10890933"/>
              <a:gd name="connsiteY5980" fmla="*/ 357661 h 4167549"/>
              <a:gd name="connsiteX5981" fmla="*/ 7731091 w 10890933"/>
              <a:gd name="connsiteY5981" fmla="*/ 341206 h 4167549"/>
              <a:gd name="connsiteX5982" fmla="*/ 7695588 w 10890933"/>
              <a:gd name="connsiteY5982" fmla="*/ 341019 h 4167549"/>
              <a:gd name="connsiteX5983" fmla="*/ 7712040 w 10890933"/>
              <a:gd name="connsiteY5983" fmla="*/ 344919 h 4167549"/>
              <a:gd name="connsiteX5984" fmla="*/ 7704999 w 10890933"/>
              <a:gd name="connsiteY5984" fmla="*/ 349645 h 4167549"/>
              <a:gd name="connsiteX5985" fmla="*/ 7687319 w 10890933"/>
              <a:gd name="connsiteY5985" fmla="*/ 339059 h 4167549"/>
              <a:gd name="connsiteX5986" fmla="*/ 7694802 w 10890933"/>
              <a:gd name="connsiteY5986" fmla="*/ 340300 h 4167549"/>
              <a:gd name="connsiteX5987" fmla="*/ 7695588 w 10890933"/>
              <a:gd name="connsiteY5987" fmla="*/ 341019 h 4167549"/>
              <a:gd name="connsiteX5988" fmla="*/ 2445737 w 10890933"/>
              <a:gd name="connsiteY5988" fmla="*/ 336189 h 4167549"/>
              <a:gd name="connsiteX5989" fmla="*/ 2445377 w 10890933"/>
              <a:gd name="connsiteY5989" fmla="*/ 336640 h 4167549"/>
              <a:gd name="connsiteX5990" fmla="*/ 2441691 w 10890933"/>
              <a:gd name="connsiteY5990" fmla="*/ 338124 h 4167549"/>
              <a:gd name="connsiteX5991" fmla="*/ 2442445 w 10890933"/>
              <a:gd name="connsiteY5991" fmla="*/ 336866 h 4167549"/>
              <a:gd name="connsiteX5992" fmla="*/ 7854289 w 10890933"/>
              <a:gd name="connsiteY5992" fmla="*/ 325717 h 4167549"/>
              <a:gd name="connsiteX5993" fmla="*/ 7870744 w 10890933"/>
              <a:gd name="connsiteY5993" fmla="*/ 330126 h 4167549"/>
              <a:gd name="connsiteX5994" fmla="*/ 7868539 w 10890933"/>
              <a:gd name="connsiteY5994" fmla="*/ 338354 h 4167549"/>
              <a:gd name="connsiteX5995" fmla="*/ 7852084 w 10890933"/>
              <a:gd name="connsiteY5995" fmla="*/ 333945 h 4167549"/>
              <a:gd name="connsiteX5996" fmla="*/ 7854289 w 10890933"/>
              <a:gd name="connsiteY5996" fmla="*/ 325717 h 4167549"/>
              <a:gd name="connsiteX5997" fmla="*/ 7680178 w 10890933"/>
              <a:gd name="connsiteY5997" fmla="*/ 304969 h 4167549"/>
              <a:gd name="connsiteX5998" fmla="*/ 7699028 w 10890933"/>
              <a:gd name="connsiteY5998" fmla="*/ 312775 h 4167549"/>
              <a:gd name="connsiteX5999" fmla="*/ 7663362 w 10890933"/>
              <a:gd name="connsiteY5999" fmla="*/ 314242 h 4167549"/>
              <a:gd name="connsiteX6000" fmla="*/ 7680178 w 10890933"/>
              <a:gd name="connsiteY6000" fmla="*/ 304969 h 4167549"/>
              <a:gd name="connsiteX6001" fmla="*/ 7654623 w 10890933"/>
              <a:gd name="connsiteY6001" fmla="*/ 281035 h 4167549"/>
              <a:gd name="connsiteX6002" fmla="*/ 7670876 w 10890933"/>
              <a:gd name="connsiteY6002" fmla="*/ 282083 h 4167549"/>
              <a:gd name="connsiteX6003" fmla="*/ 7679306 w 10890933"/>
              <a:gd name="connsiteY6003" fmla="*/ 287649 h 4167549"/>
              <a:gd name="connsiteX6004" fmla="*/ 7644191 w 10890933"/>
              <a:gd name="connsiteY6004" fmla="*/ 287059 h 4167549"/>
              <a:gd name="connsiteX6005" fmla="*/ 7654623 w 10890933"/>
              <a:gd name="connsiteY6005" fmla="*/ 281035 h 4167549"/>
              <a:gd name="connsiteX6006" fmla="*/ 7354239 w 10890933"/>
              <a:gd name="connsiteY6006" fmla="*/ 266683 h 4167549"/>
              <a:gd name="connsiteX6007" fmla="*/ 7533966 w 10890933"/>
              <a:gd name="connsiteY6007" fmla="*/ 302715 h 4167549"/>
              <a:gd name="connsiteX6008" fmla="*/ 7687319 w 10890933"/>
              <a:gd name="connsiteY6008" fmla="*/ 339059 h 4167549"/>
              <a:gd name="connsiteX6009" fmla="*/ 7522316 w 10890933"/>
              <a:gd name="connsiteY6009" fmla="*/ 311719 h 4167549"/>
              <a:gd name="connsiteX6010" fmla="*/ 7349829 w 10890933"/>
              <a:gd name="connsiteY6010" fmla="*/ 283138 h 4167549"/>
              <a:gd name="connsiteX6011" fmla="*/ 7354239 w 10890933"/>
              <a:gd name="connsiteY6011" fmla="*/ 266683 h 4167549"/>
              <a:gd name="connsiteX6012" fmla="*/ 7543550 w 10890933"/>
              <a:gd name="connsiteY6012" fmla="*/ 251274 h 4167549"/>
              <a:gd name="connsiteX6013" fmla="*/ 7557801 w 10890933"/>
              <a:gd name="connsiteY6013" fmla="*/ 263910 h 4167549"/>
              <a:gd name="connsiteX6014" fmla="*/ 7516663 w 10890933"/>
              <a:gd name="connsiteY6014" fmla="*/ 252887 h 4167549"/>
              <a:gd name="connsiteX6015" fmla="*/ 7543550 w 10890933"/>
              <a:gd name="connsiteY6015" fmla="*/ 251274 h 4167549"/>
              <a:gd name="connsiteX6016" fmla="*/ 7152074 w 10890933"/>
              <a:gd name="connsiteY6016" fmla="*/ 247789 h 4167549"/>
              <a:gd name="connsiteX6017" fmla="*/ 7337599 w 10890933"/>
              <a:gd name="connsiteY6017" fmla="*/ 262227 h 4167549"/>
              <a:gd name="connsiteX6018" fmla="*/ 7343808 w 10890933"/>
              <a:gd name="connsiteY6018" fmla="*/ 272709 h 4167549"/>
              <a:gd name="connsiteX6019" fmla="*/ 7152074 w 10890933"/>
              <a:gd name="connsiteY6019" fmla="*/ 247789 h 4167549"/>
              <a:gd name="connsiteX6020" fmla="*/ 7313383 w 10890933"/>
              <a:gd name="connsiteY6020" fmla="*/ 234382 h 4167549"/>
              <a:gd name="connsiteX6021" fmla="*/ 7335000 w 10890933"/>
              <a:gd name="connsiteY6021" fmla="*/ 238384 h 4167549"/>
              <a:gd name="connsiteX6022" fmla="*/ 7327110 w 10890933"/>
              <a:gd name="connsiteY6022" fmla="*/ 241780 h 4167549"/>
              <a:gd name="connsiteX6023" fmla="*/ 7298850 w 10890933"/>
              <a:gd name="connsiteY6023" fmla="*/ 243026 h 4167549"/>
              <a:gd name="connsiteX6024" fmla="*/ 7313383 w 10890933"/>
              <a:gd name="connsiteY6024" fmla="*/ 234382 h 4167549"/>
              <a:gd name="connsiteX6025" fmla="*/ 7422048 w 10890933"/>
              <a:gd name="connsiteY6025" fmla="*/ 227535 h 4167549"/>
              <a:gd name="connsiteX6026" fmla="*/ 7425131 w 10890933"/>
              <a:gd name="connsiteY6026" fmla="*/ 248939 h 4167549"/>
              <a:gd name="connsiteX6027" fmla="*/ 7392221 w 10890933"/>
              <a:gd name="connsiteY6027" fmla="*/ 240121 h 4167549"/>
              <a:gd name="connsiteX6028" fmla="*/ 7422048 w 10890933"/>
              <a:gd name="connsiteY6028" fmla="*/ 227535 h 4167549"/>
              <a:gd name="connsiteX6029" fmla="*/ 7330627 w 10890933"/>
              <a:gd name="connsiteY6029" fmla="*/ 214935 h 4167549"/>
              <a:gd name="connsiteX6030" fmla="*/ 7336558 w 10890933"/>
              <a:gd name="connsiteY6030" fmla="*/ 217488 h 4167549"/>
              <a:gd name="connsiteX6031" fmla="*/ 7346968 w 10890933"/>
              <a:gd name="connsiteY6031" fmla="*/ 227996 h 4167549"/>
              <a:gd name="connsiteX6032" fmla="*/ 7322286 w 10890933"/>
              <a:gd name="connsiteY6032" fmla="*/ 221382 h 4167549"/>
              <a:gd name="connsiteX6033" fmla="*/ 7330627 w 10890933"/>
              <a:gd name="connsiteY6033" fmla="*/ 214935 h 4167549"/>
              <a:gd name="connsiteX6034" fmla="*/ 7148423 w 10890933"/>
              <a:gd name="connsiteY6034" fmla="*/ 211537 h 4167549"/>
              <a:gd name="connsiteX6035" fmla="*/ 7158360 w 10890933"/>
              <a:gd name="connsiteY6035" fmla="*/ 211995 h 4167549"/>
              <a:gd name="connsiteX6036" fmla="*/ 7177347 w 10890933"/>
              <a:gd name="connsiteY6036" fmla="*/ 219288 h 4167549"/>
              <a:gd name="connsiteX6037" fmla="*/ 7142233 w 10890933"/>
              <a:gd name="connsiteY6037" fmla="*/ 218697 h 4167549"/>
              <a:gd name="connsiteX6038" fmla="*/ 7148423 w 10890933"/>
              <a:gd name="connsiteY6038" fmla="*/ 211537 h 4167549"/>
              <a:gd name="connsiteX6039" fmla="*/ 7290058 w 10890933"/>
              <a:gd name="connsiteY6039" fmla="*/ 206934 h 4167549"/>
              <a:gd name="connsiteX6040" fmla="*/ 7298936 w 10890933"/>
              <a:gd name="connsiteY6040" fmla="*/ 209795 h 4167549"/>
              <a:gd name="connsiteX6041" fmla="*/ 7314426 w 10890933"/>
              <a:gd name="connsiteY6041" fmla="*/ 217804 h 4167549"/>
              <a:gd name="connsiteX6042" fmla="*/ 7281516 w 10890933"/>
              <a:gd name="connsiteY6042" fmla="*/ 208986 h 4167549"/>
              <a:gd name="connsiteX6043" fmla="*/ 7290058 w 10890933"/>
              <a:gd name="connsiteY6043" fmla="*/ 206934 h 4167549"/>
              <a:gd name="connsiteX6044" fmla="*/ 7261978 w 10890933"/>
              <a:gd name="connsiteY6044" fmla="*/ 206692 h 4167549"/>
              <a:gd name="connsiteX6045" fmla="*/ 7295034 w 10890933"/>
              <a:gd name="connsiteY6045" fmla="*/ 224367 h 4167549"/>
              <a:gd name="connsiteX6046" fmla="*/ 7239937 w 10890933"/>
              <a:gd name="connsiteY6046" fmla="*/ 218422 h 4167549"/>
              <a:gd name="connsiteX6047" fmla="*/ 7261978 w 10890933"/>
              <a:gd name="connsiteY6047" fmla="*/ 206692 h 4167549"/>
              <a:gd name="connsiteX6048" fmla="*/ 7192188 w 10890933"/>
              <a:gd name="connsiteY6048" fmla="*/ 196810 h 4167549"/>
              <a:gd name="connsiteX6049" fmla="*/ 7208643 w 10890933"/>
              <a:gd name="connsiteY6049" fmla="*/ 201219 h 4167549"/>
              <a:gd name="connsiteX6050" fmla="*/ 7196007 w 10890933"/>
              <a:gd name="connsiteY6050" fmla="*/ 215470 h 4167549"/>
              <a:gd name="connsiteX6051" fmla="*/ 7192188 w 10890933"/>
              <a:gd name="connsiteY6051" fmla="*/ 196810 h 4167549"/>
              <a:gd name="connsiteX6052" fmla="*/ 6809213 w 10890933"/>
              <a:gd name="connsiteY6052" fmla="*/ 194498 h 4167549"/>
              <a:gd name="connsiteX6053" fmla="*/ 7128811 w 10890933"/>
              <a:gd name="connsiteY6053" fmla="*/ 233285 h 4167549"/>
              <a:gd name="connsiteX6054" fmla="*/ 7137948 w 10890933"/>
              <a:gd name="connsiteY6054" fmla="*/ 233391 h 4167549"/>
              <a:gd name="connsiteX6055" fmla="*/ 7143571 w 10890933"/>
              <a:gd name="connsiteY6055" fmla="*/ 246610 h 4167549"/>
              <a:gd name="connsiteX6056" fmla="*/ 6950737 w 10890933"/>
              <a:gd name="connsiteY6056" fmla="*/ 213680 h 4167549"/>
              <a:gd name="connsiteX6057" fmla="*/ 6809213 w 10890933"/>
              <a:gd name="connsiteY6057" fmla="*/ 194498 h 4167549"/>
              <a:gd name="connsiteX6058" fmla="*/ 7152557 w 10890933"/>
              <a:gd name="connsiteY6058" fmla="*/ 188395 h 4167549"/>
              <a:gd name="connsiteX6059" fmla="*/ 7167506 w 10890933"/>
              <a:gd name="connsiteY6059" fmla="*/ 190196 h 4167549"/>
              <a:gd name="connsiteX6060" fmla="*/ 7155703 w 10890933"/>
              <a:gd name="connsiteY6060" fmla="*/ 195852 h 4167549"/>
              <a:gd name="connsiteX6061" fmla="*/ 7163097 w 10890933"/>
              <a:gd name="connsiteY6061" fmla="*/ 206651 h 4167549"/>
              <a:gd name="connsiteX6062" fmla="*/ 7134299 w 10890933"/>
              <a:gd name="connsiteY6062" fmla="*/ 198935 h 4167549"/>
              <a:gd name="connsiteX6063" fmla="*/ 7152557 w 10890933"/>
              <a:gd name="connsiteY6063" fmla="*/ 188395 h 4167549"/>
              <a:gd name="connsiteX6064" fmla="*/ 7093161 w 10890933"/>
              <a:gd name="connsiteY6064" fmla="*/ 187912 h 4167549"/>
              <a:gd name="connsiteX6065" fmla="*/ 7132095 w 10890933"/>
              <a:gd name="connsiteY6065" fmla="*/ 207162 h 4167549"/>
              <a:gd name="connsiteX6066" fmla="*/ 7097182 w 10890933"/>
              <a:gd name="connsiteY6066" fmla="*/ 209934 h 4167549"/>
              <a:gd name="connsiteX6067" fmla="*/ 7045413 w 10890933"/>
              <a:gd name="connsiteY6067" fmla="*/ 201573 h 4167549"/>
              <a:gd name="connsiteX6068" fmla="*/ 6989728 w 10890933"/>
              <a:gd name="connsiteY6068" fmla="*/ 195470 h 4167549"/>
              <a:gd name="connsiteX6069" fmla="*/ 7012538 w 10890933"/>
              <a:gd name="connsiteY6069" fmla="*/ 190559 h 4167549"/>
              <a:gd name="connsiteX6070" fmla="*/ 7045410 w 10890933"/>
              <a:gd name="connsiteY6070" fmla="*/ 201572 h 4167549"/>
              <a:gd name="connsiteX6071" fmla="*/ 7076412 w 10890933"/>
              <a:gd name="connsiteY6071" fmla="*/ 201061 h 4167549"/>
              <a:gd name="connsiteX6072" fmla="*/ 7107412 w 10890933"/>
              <a:gd name="connsiteY6072" fmla="*/ 200549 h 4167549"/>
              <a:gd name="connsiteX6073" fmla="*/ 7093161 w 10890933"/>
              <a:gd name="connsiteY6073" fmla="*/ 187912 h 4167549"/>
              <a:gd name="connsiteX6074" fmla="*/ 7366954 w 10890933"/>
              <a:gd name="connsiteY6074" fmla="*/ 186318 h 4167549"/>
              <a:gd name="connsiteX6075" fmla="*/ 7395751 w 10890933"/>
              <a:gd name="connsiteY6075" fmla="*/ 194034 h 4167549"/>
              <a:gd name="connsiteX6076" fmla="*/ 7366954 w 10890933"/>
              <a:gd name="connsiteY6076" fmla="*/ 186318 h 4167549"/>
              <a:gd name="connsiteX6077" fmla="*/ 6958396 w 10890933"/>
              <a:gd name="connsiteY6077" fmla="*/ 184867 h 4167549"/>
              <a:gd name="connsiteX6078" fmla="*/ 6981498 w 10890933"/>
              <a:gd name="connsiteY6078" fmla="*/ 193262 h 4167549"/>
              <a:gd name="connsiteX6079" fmla="*/ 6938156 w 10890933"/>
              <a:gd name="connsiteY6079" fmla="*/ 190467 h 4167549"/>
              <a:gd name="connsiteX6080" fmla="*/ 6958396 w 10890933"/>
              <a:gd name="connsiteY6080" fmla="*/ 184867 h 4167549"/>
              <a:gd name="connsiteX6081" fmla="*/ 6904019 w 10890933"/>
              <a:gd name="connsiteY6081" fmla="*/ 178013 h 4167549"/>
              <a:gd name="connsiteX6082" fmla="*/ 6932136 w 10890933"/>
              <a:gd name="connsiteY6082" fmla="*/ 180036 h 4167549"/>
              <a:gd name="connsiteX6083" fmla="*/ 6874247 w 10890933"/>
              <a:gd name="connsiteY6083" fmla="*/ 182161 h 4167549"/>
              <a:gd name="connsiteX6084" fmla="*/ 6904019 w 10890933"/>
              <a:gd name="connsiteY6084" fmla="*/ 178013 h 4167549"/>
              <a:gd name="connsiteX6085" fmla="*/ 6996342 w 10890933"/>
              <a:gd name="connsiteY6085" fmla="*/ 170788 h 4167549"/>
              <a:gd name="connsiteX6086" fmla="*/ 7018820 w 10890933"/>
              <a:gd name="connsiteY6086" fmla="*/ 185629 h 4167549"/>
              <a:gd name="connsiteX6087" fmla="*/ 6975477 w 10890933"/>
              <a:gd name="connsiteY6087" fmla="*/ 182834 h 4167549"/>
              <a:gd name="connsiteX6088" fmla="*/ 6996342 w 10890933"/>
              <a:gd name="connsiteY6088" fmla="*/ 170788 h 4167549"/>
              <a:gd name="connsiteX6089" fmla="*/ 6787858 w 10890933"/>
              <a:gd name="connsiteY6089" fmla="*/ 159016 h 4167549"/>
              <a:gd name="connsiteX6090" fmla="*/ 6730776 w 10890933"/>
              <a:gd name="connsiteY6090" fmla="*/ 174586 h 4167549"/>
              <a:gd name="connsiteX6091" fmla="*/ 6706094 w 10890933"/>
              <a:gd name="connsiteY6091" fmla="*/ 167972 h 4167549"/>
              <a:gd name="connsiteX6092" fmla="*/ 6787858 w 10890933"/>
              <a:gd name="connsiteY6092" fmla="*/ 159016 h 4167549"/>
              <a:gd name="connsiteX6093" fmla="*/ 6900750 w 10890933"/>
              <a:gd name="connsiteY6093" fmla="*/ 157300 h 4167549"/>
              <a:gd name="connsiteX6094" fmla="*/ 6917885 w 10890933"/>
              <a:gd name="connsiteY6094" fmla="*/ 167402 h 4167549"/>
              <a:gd name="connsiteX6095" fmla="*/ 6878655 w 10890933"/>
              <a:gd name="connsiteY6095" fmla="*/ 165708 h 4167549"/>
              <a:gd name="connsiteX6096" fmla="*/ 6900750 w 10890933"/>
              <a:gd name="connsiteY6096" fmla="*/ 157300 h 4167549"/>
              <a:gd name="connsiteX6097" fmla="*/ 6862505 w 10890933"/>
              <a:gd name="connsiteY6097" fmla="*/ 156559 h 4167549"/>
              <a:gd name="connsiteX6098" fmla="*/ 6876451 w 10890933"/>
              <a:gd name="connsiteY6098" fmla="*/ 173936 h 4167549"/>
              <a:gd name="connsiteX6099" fmla="*/ 6824881 w 10890933"/>
              <a:gd name="connsiteY6099" fmla="*/ 168936 h 4167549"/>
              <a:gd name="connsiteX6100" fmla="*/ 6851768 w 10890933"/>
              <a:gd name="connsiteY6100" fmla="*/ 167322 h 4167549"/>
              <a:gd name="connsiteX6101" fmla="*/ 6853972 w 10890933"/>
              <a:gd name="connsiteY6101" fmla="*/ 159095 h 4167549"/>
              <a:gd name="connsiteX6102" fmla="*/ 6862505 w 10890933"/>
              <a:gd name="connsiteY6102" fmla="*/ 156559 h 4167549"/>
              <a:gd name="connsiteX6103" fmla="*/ 6582971 w 10890933"/>
              <a:gd name="connsiteY6103" fmla="*/ 153643 h 4167549"/>
              <a:gd name="connsiteX6104" fmla="*/ 6583183 w 10890933"/>
              <a:gd name="connsiteY6104" fmla="*/ 154105 h 4167549"/>
              <a:gd name="connsiteX6105" fmla="*/ 6569505 w 10890933"/>
              <a:gd name="connsiteY6105" fmla="*/ 156912 h 4167549"/>
              <a:gd name="connsiteX6106" fmla="*/ 6582971 w 10890933"/>
              <a:gd name="connsiteY6106" fmla="*/ 153643 h 4167549"/>
              <a:gd name="connsiteX6107" fmla="*/ 3362969 w 10890933"/>
              <a:gd name="connsiteY6107" fmla="*/ 151869 h 4167549"/>
              <a:gd name="connsiteX6108" fmla="*/ 3367546 w 10890933"/>
              <a:gd name="connsiteY6108" fmla="*/ 151924 h 4167549"/>
              <a:gd name="connsiteX6109" fmla="*/ 3360858 w 10890933"/>
              <a:gd name="connsiteY6109" fmla="*/ 154035 h 4167549"/>
              <a:gd name="connsiteX6110" fmla="*/ 6601045 w 10890933"/>
              <a:gd name="connsiteY6110" fmla="*/ 148640 h 4167549"/>
              <a:gd name="connsiteX6111" fmla="*/ 6660842 w 10890933"/>
              <a:gd name="connsiteY6111" fmla="*/ 155844 h 4167549"/>
              <a:gd name="connsiteX6112" fmla="*/ 6601045 w 10890933"/>
              <a:gd name="connsiteY6112" fmla="*/ 148640 h 4167549"/>
              <a:gd name="connsiteX6113" fmla="*/ 3305212 w 10890933"/>
              <a:gd name="connsiteY6113" fmla="*/ 144590 h 4167549"/>
              <a:gd name="connsiteX6114" fmla="*/ 3313782 w 10890933"/>
              <a:gd name="connsiteY6114" fmla="*/ 146886 h 4167549"/>
              <a:gd name="connsiteX6115" fmla="*/ 3309097 w 10890933"/>
              <a:gd name="connsiteY6115" fmla="*/ 164370 h 4167549"/>
              <a:gd name="connsiteX6116" fmla="*/ 3330923 w 10890933"/>
              <a:gd name="connsiteY6116" fmla="*/ 151479 h 4167549"/>
              <a:gd name="connsiteX6117" fmla="*/ 3347477 w 10890933"/>
              <a:gd name="connsiteY6117" fmla="*/ 158258 h 4167549"/>
              <a:gd name="connsiteX6118" fmla="*/ 3360858 w 10890933"/>
              <a:gd name="connsiteY6118" fmla="*/ 154035 h 4167549"/>
              <a:gd name="connsiteX6119" fmla="*/ 3356635 w 10890933"/>
              <a:gd name="connsiteY6119" fmla="*/ 158369 h 4167549"/>
              <a:gd name="connsiteX6120" fmla="*/ 3373774 w 10890933"/>
              <a:gd name="connsiteY6120" fmla="*/ 162961 h 4167549"/>
              <a:gd name="connsiteX6121" fmla="*/ 3367546 w 10890933"/>
              <a:gd name="connsiteY6121" fmla="*/ 151924 h 4167549"/>
              <a:gd name="connsiteX6122" fmla="*/ 3377583 w 10890933"/>
              <a:gd name="connsiteY6122" fmla="*/ 148756 h 4167549"/>
              <a:gd name="connsiteX6123" fmla="*/ 3382346 w 10890933"/>
              <a:gd name="connsiteY6123" fmla="*/ 165258 h 4167549"/>
              <a:gd name="connsiteX6124" fmla="*/ 3334808 w 10890933"/>
              <a:gd name="connsiteY6124" fmla="*/ 171260 h 4167549"/>
              <a:gd name="connsiteX6125" fmla="*/ 3328581 w 10890933"/>
              <a:gd name="connsiteY6125" fmla="*/ 160223 h 4167549"/>
              <a:gd name="connsiteX6126" fmla="*/ 3306754 w 10890933"/>
              <a:gd name="connsiteY6126" fmla="*/ 173113 h 4167549"/>
              <a:gd name="connsiteX6127" fmla="*/ 3302869 w 10890933"/>
              <a:gd name="connsiteY6127" fmla="*/ 153333 h 4167549"/>
              <a:gd name="connsiteX6128" fmla="*/ 3298184 w 10890933"/>
              <a:gd name="connsiteY6128" fmla="*/ 170817 h 4167549"/>
              <a:gd name="connsiteX6129" fmla="*/ 3294000 w 10890933"/>
              <a:gd name="connsiteY6129" fmla="*/ 165010 h 4167549"/>
              <a:gd name="connsiteX6130" fmla="*/ 3289689 w 10890933"/>
              <a:gd name="connsiteY6130" fmla="*/ 161953 h 4167549"/>
              <a:gd name="connsiteX6131" fmla="*/ 3284051 w 10890933"/>
              <a:gd name="connsiteY6131" fmla="*/ 174196 h 4167549"/>
              <a:gd name="connsiteX6132" fmla="*/ 3284244 w 10890933"/>
              <a:gd name="connsiteY6132" fmla="*/ 185821 h 4167549"/>
              <a:gd name="connsiteX6133" fmla="*/ 3276016 w 10890933"/>
              <a:gd name="connsiteY6133" fmla="*/ 183616 h 4167549"/>
              <a:gd name="connsiteX6134" fmla="*/ 3281160 w 10890933"/>
              <a:gd name="connsiteY6134" fmla="*/ 164417 h 4167549"/>
              <a:gd name="connsiteX6135" fmla="*/ 3270360 w 10890933"/>
              <a:gd name="connsiteY6135" fmla="*/ 171813 h 4167549"/>
              <a:gd name="connsiteX6136" fmla="*/ 3283732 w 10890933"/>
              <a:gd name="connsiteY6136" fmla="*/ 154819 h 4167549"/>
              <a:gd name="connsiteX6137" fmla="*/ 3288109 w 10890933"/>
              <a:gd name="connsiteY6137" fmla="*/ 155991 h 4167549"/>
              <a:gd name="connsiteX6138" fmla="*/ 3293421 w 10890933"/>
              <a:gd name="connsiteY6138" fmla="*/ 154315 h 4167549"/>
              <a:gd name="connsiteX6139" fmla="*/ 3305212 w 10890933"/>
              <a:gd name="connsiteY6139" fmla="*/ 144590 h 4167549"/>
              <a:gd name="connsiteX6140" fmla="*/ 6713811 w 10890933"/>
              <a:gd name="connsiteY6140" fmla="*/ 139175 h 4167549"/>
              <a:gd name="connsiteX6141" fmla="*/ 6835316 w 10890933"/>
              <a:gd name="connsiteY6141" fmla="*/ 162914 h 4167549"/>
              <a:gd name="connsiteX6142" fmla="*/ 6713811 w 10890933"/>
              <a:gd name="connsiteY6142" fmla="*/ 139175 h 4167549"/>
              <a:gd name="connsiteX6143" fmla="*/ 6541063 w 10890933"/>
              <a:gd name="connsiteY6143" fmla="*/ 139044 h 4167549"/>
              <a:gd name="connsiteX6144" fmla="*/ 6545363 w 10890933"/>
              <a:gd name="connsiteY6144" fmla="*/ 142538 h 4167549"/>
              <a:gd name="connsiteX6145" fmla="*/ 6534930 w 10890933"/>
              <a:gd name="connsiteY6145" fmla="*/ 148561 h 4167549"/>
              <a:gd name="connsiteX6146" fmla="*/ 6526703 w 10890933"/>
              <a:gd name="connsiteY6146" fmla="*/ 146357 h 4167549"/>
              <a:gd name="connsiteX6147" fmla="*/ 6541063 w 10890933"/>
              <a:gd name="connsiteY6147" fmla="*/ 139044 h 4167549"/>
              <a:gd name="connsiteX6148" fmla="*/ 6264445 w 10890933"/>
              <a:gd name="connsiteY6148" fmla="*/ 137813 h 4167549"/>
              <a:gd name="connsiteX6149" fmla="*/ 6267659 w 10890933"/>
              <a:gd name="connsiteY6149" fmla="*/ 146390 h 4167549"/>
              <a:gd name="connsiteX6150" fmla="*/ 6278683 w 10890933"/>
              <a:gd name="connsiteY6150" fmla="*/ 150444 h 4167549"/>
              <a:gd name="connsiteX6151" fmla="*/ 6278679 w 10890933"/>
              <a:gd name="connsiteY6151" fmla="*/ 150451 h 4167549"/>
              <a:gd name="connsiteX6152" fmla="*/ 6269642 w 10890933"/>
              <a:gd name="connsiteY6152" fmla="*/ 151330 h 4167549"/>
              <a:gd name="connsiteX6153" fmla="*/ 6262241 w 10890933"/>
              <a:gd name="connsiteY6153" fmla="*/ 146040 h 4167549"/>
              <a:gd name="connsiteX6154" fmla="*/ 6264445 w 10890933"/>
              <a:gd name="connsiteY6154" fmla="*/ 137813 h 4167549"/>
              <a:gd name="connsiteX6155" fmla="*/ 6520680 w 10890933"/>
              <a:gd name="connsiteY6155" fmla="*/ 135925 h 4167549"/>
              <a:gd name="connsiteX6156" fmla="*/ 6526703 w 10890933"/>
              <a:gd name="connsiteY6156" fmla="*/ 146357 h 4167549"/>
              <a:gd name="connsiteX6157" fmla="*/ 6518475 w 10890933"/>
              <a:gd name="connsiteY6157" fmla="*/ 144152 h 4167549"/>
              <a:gd name="connsiteX6158" fmla="*/ 6520680 w 10890933"/>
              <a:gd name="connsiteY6158" fmla="*/ 135925 h 4167549"/>
              <a:gd name="connsiteX6159" fmla="*/ 6318220 w 10890933"/>
              <a:gd name="connsiteY6159" fmla="*/ 134585 h 4167549"/>
              <a:gd name="connsiteX6160" fmla="*/ 6325616 w 10890933"/>
              <a:gd name="connsiteY6160" fmla="*/ 145385 h 4167549"/>
              <a:gd name="connsiteX6161" fmla="*/ 6347017 w 10890933"/>
              <a:gd name="connsiteY6161" fmla="*/ 142301 h 4167549"/>
              <a:gd name="connsiteX6162" fmla="*/ 6344813 w 10890933"/>
              <a:gd name="connsiteY6162" fmla="*/ 150529 h 4167549"/>
              <a:gd name="connsiteX6163" fmla="*/ 6318220 w 10890933"/>
              <a:gd name="connsiteY6163" fmla="*/ 134585 h 4167549"/>
              <a:gd name="connsiteX6164" fmla="*/ 6613892 w 10890933"/>
              <a:gd name="connsiteY6164" fmla="*/ 129488 h 4167549"/>
              <a:gd name="connsiteX6165" fmla="*/ 6630687 w 10890933"/>
              <a:gd name="connsiteY6165" fmla="*/ 136744 h 4167549"/>
              <a:gd name="connsiteX6166" fmla="*/ 6611476 w 10890933"/>
              <a:gd name="connsiteY6166" fmla="*/ 142620 h 4167549"/>
              <a:gd name="connsiteX6167" fmla="*/ 6613892 w 10890933"/>
              <a:gd name="connsiteY6167" fmla="*/ 129488 h 4167549"/>
              <a:gd name="connsiteX6168" fmla="*/ 6221662 w 10890933"/>
              <a:gd name="connsiteY6168" fmla="*/ 126349 h 4167549"/>
              <a:gd name="connsiteX6169" fmla="*/ 6237191 w 10890933"/>
              <a:gd name="connsiteY6169" fmla="*/ 140797 h 4167549"/>
              <a:gd name="connsiteX6170" fmla="*/ 6198417 w 10890933"/>
              <a:gd name="connsiteY6170" fmla="*/ 140698 h 4167549"/>
              <a:gd name="connsiteX6171" fmla="*/ 6191938 w 10890933"/>
              <a:gd name="connsiteY6171" fmla="*/ 128672 h 4167549"/>
              <a:gd name="connsiteX6172" fmla="*/ 6221662 w 10890933"/>
              <a:gd name="connsiteY6172" fmla="*/ 126349 h 4167549"/>
              <a:gd name="connsiteX6173" fmla="*/ 6184078 w 10890933"/>
              <a:gd name="connsiteY6173" fmla="*/ 125097 h 4167549"/>
              <a:gd name="connsiteX6174" fmla="*/ 6154251 w 10890933"/>
              <a:gd name="connsiteY6174" fmla="*/ 137682 h 4167549"/>
              <a:gd name="connsiteX6175" fmla="*/ 6184078 w 10890933"/>
              <a:gd name="connsiteY6175" fmla="*/ 125097 h 4167549"/>
              <a:gd name="connsiteX6176" fmla="*/ 6581873 w 10890933"/>
              <a:gd name="connsiteY6176" fmla="*/ 121459 h 4167549"/>
              <a:gd name="connsiteX6177" fmla="*/ 6584589 w 10890933"/>
              <a:gd name="connsiteY6177" fmla="*/ 144234 h 4167549"/>
              <a:gd name="connsiteX6178" fmla="*/ 6568134 w 10890933"/>
              <a:gd name="connsiteY6178" fmla="*/ 139824 h 4167549"/>
              <a:gd name="connsiteX6179" fmla="*/ 6581873 w 10890933"/>
              <a:gd name="connsiteY6179" fmla="*/ 121459 h 4167549"/>
              <a:gd name="connsiteX6180" fmla="*/ 3660717 w 10890933"/>
              <a:gd name="connsiteY6180" fmla="*/ 119150 h 4167549"/>
              <a:gd name="connsiteX6181" fmla="*/ 3662490 w 10890933"/>
              <a:gd name="connsiteY6181" fmla="*/ 119850 h 4167549"/>
              <a:gd name="connsiteX6182" fmla="*/ 3662394 w 10890933"/>
              <a:gd name="connsiteY6182" fmla="*/ 121805 h 4167549"/>
              <a:gd name="connsiteX6183" fmla="*/ 3660276 w 10890933"/>
              <a:gd name="connsiteY6183" fmla="*/ 120796 h 4167549"/>
              <a:gd name="connsiteX6184" fmla="*/ 6251811 w 10890933"/>
              <a:gd name="connsiteY6184" fmla="*/ 116791 h 4167549"/>
              <a:gd name="connsiteX6185" fmla="*/ 6260627 w 10890933"/>
              <a:gd name="connsiteY6185" fmla="*/ 119153 h 4167549"/>
              <a:gd name="connsiteX6186" fmla="*/ 6251808 w 10890933"/>
              <a:gd name="connsiteY6186" fmla="*/ 152063 h 4167549"/>
              <a:gd name="connsiteX6187" fmla="*/ 6234180 w 10890933"/>
              <a:gd name="connsiteY6187" fmla="*/ 147339 h 4167549"/>
              <a:gd name="connsiteX6188" fmla="*/ 6236384 w 10890933"/>
              <a:gd name="connsiteY6188" fmla="*/ 139112 h 4167549"/>
              <a:gd name="connsiteX6189" fmla="*/ 6251811 w 10890933"/>
              <a:gd name="connsiteY6189" fmla="*/ 116791 h 4167549"/>
              <a:gd name="connsiteX6190" fmla="*/ 6444575 w 10890933"/>
              <a:gd name="connsiteY6190" fmla="*/ 115532 h 4167549"/>
              <a:gd name="connsiteX6191" fmla="*/ 6448246 w 10890933"/>
              <a:gd name="connsiteY6191" fmla="*/ 142971 h 4167549"/>
              <a:gd name="connsiteX6192" fmla="*/ 6427676 w 10890933"/>
              <a:gd name="connsiteY6192" fmla="*/ 137459 h 4167549"/>
              <a:gd name="connsiteX6193" fmla="*/ 6444575 w 10890933"/>
              <a:gd name="connsiteY6193" fmla="*/ 115532 h 4167549"/>
              <a:gd name="connsiteX6194" fmla="*/ 3432469 w 10890933"/>
              <a:gd name="connsiteY6194" fmla="*/ 115308 h 4167549"/>
              <a:gd name="connsiteX6195" fmla="*/ 3433292 w 10890933"/>
              <a:gd name="connsiteY6195" fmla="*/ 116509 h 4167549"/>
              <a:gd name="connsiteX6196" fmla="*/ 3431918 w 10890933"/>
              <a:gd name="connsiteY6196" fmla="*/ 117366 h 4167549"/>
              <a:gd name="connsiteX6197" fmla="*/ 3430627 w 10890933"/>
              <a:gd name="connsiteY6197" fmla="*/ 116703 h 4167549"/>
              <a:gd name="connsiteX6198" fmla="*/ 3422871 w 10890933"/>
              <a:gd name="connsiteY6198" fmla="*/ 112737 h 4167549"/>
              <a:gd name="connsiteX6199" fmla="*/ 3430627 w 10890933"/>
              <a:gd name="connsiteY6199" fmla="*/ 116703 h 4167549"/>
              <a:gd name="connsiteX6200" fmla="*/ 3426017 w 10890933"/>
              <a:gd name="connsiteY6200" fmla="*/ 120193 h 4167549"/>
              <a:gd name="connsiteX6201" fmla="*/ 3422871 w 10890933"/>
              <a:gd name="connsiteY6201" fmla="*/ 112737 h 4167549"/>
              <a:gd name="connsiteX6202" fmla="*/ 6390948 w 10890933"/>
              <a:gd name="connsiteY6202" fmla="*/ 109981 h 4167549"/>
              <a:gd name="connsiteX6203" fmla="*/ 6399175 w 10890933"/>
              <a:gd name="connsiteY6203" fmla="*/ 112186 h 4167549"/>
              <a:gd name="connsiteX6204" fmla="*/ 6394766 w 10890933"/>
              <a:gd name="connsiteY6204" fmla="*/ 128641 h 4167549"/>
              <a:gd name="connsiteX6205" fmla="*/ 6378311 w 10890933"/>
              <a:gd name="connsiteY6205" fmla="*/ 124232 h 4167549"/>
              <a:gd name="connsiteX6206" fmla="*/ 6390948 w 10890933"/>
              <a:gd name="connsiteY6206" fmla="*/ 109981 h 4167549"/>
              <a:gd name="connsiteX6207" fmla="*/ 6180685 w 10890933"/>
              <a:gd name="connsiteY6207" fmla="*/ 108509 h 4167549"/>
              <a:gd name="connsiteX6208" fmla="*/ 6188487 w 10890933"/>
              <a:gd name="connsiteY6208" fmla="*/ 108641 h 4167549"/>
              <a:gd name="connsiteX6209" fmla="*/ 6184078 w 10890933"/>
              <a:gd name="connsiteY6209" fmla="*/ 125097 h 4167549"/>
              <a:gd name="connsiteX6210" fmla="*/ 6182170 w 10890933"/>
              <a:gd name="connsiteY6210" fmla="*/ 115767 h 4167549"/>
              <a:gd name="connsiteX6211" fmla="*/ 3472532 w 10890933"/>
              <a:gd name="connsiteY6211" fmla="*/ 108410 h 4167549"/>
              <a:gd name="connsiteX6212" fmla="*/ 3451668 w 10890933"/>
              <a:gd name="connsiteY6212" fmla="*/ 120456 h 4167549"/>
              <a:gd name="connsiteX6213" fmla="*/ 3453873 w 10890933"/>
              <a:gd name="connsiteY6213" fmla="*/ 112228 h 4167549"/>
              <a:gd name="connsiteX6214" fmla="*/ 3472532 w 10890933"/>
              <a:gd name="connsiteY6214" fmla="*/ 108410 h 4167549"/>
              <a:gd name="connsiteX6215" fmla="*/ 6153373 w 10890933"/>
              <a:gd name="connsiteY6215" fmla="*/ 108051 h 4167549"/>
              <a:gd name="connsiteX6216" fmla="*/ 6179708 w 10890933"/>
              <a:gd name="connsiteY6216" fmla="*/ 108494 h 4167549"/>
              <a:gd name="connsiteX6217" fmla="*/ 6175850 w 10890933"/>
              <a:gd name="connsiteY6217" fmla="*/ 122892 h 4167549"/>
              <a:gd name="connsiteX6218" fmla="*/ 6153373 w 10890933"/>
              <a:gd name="connsiteY6218" fmla="*/ 108051 h 4167549"/>
              <a:gd name="connsiteX6219" fmla="*/ 6180259 w 10890933"/>
              <a:gd name="connsiteY6219" fmla="*/ 106437 h 4167549"/>
              <a:gd name="connsiteX6220" fmla="*/ 6180685 w 10890933"/>
              <a:gd name="connsiteY6220" fmla="*/ 108509 h 4167549"/>
              <a:gd name="connsiteX6221" fmla="*/ 6179708 w 10890933"/>
              <a:gd name="connsiteY6221" fmla="*/ 108494 h 4167549"/>
              <a:gd name="connsiteX6222" fmla="*/ 3573849 w 10890933"/>
              <a:gd name="connsiteY6222" fmla="*/ 105092 h 4167549"/>
              <a:gd name="connsiteX6223" fmla="*/ 3580227 w 10890933"/>
              <a:gd name="connsiteY6223" fmla="*/ 116022 h 4167549"/>
              <a:gd name="connsiteX6224" fmla="*/ 3582532 w 10890933"/>
              <a:gd name="connsiteY6224" fmla="*/ 107419 h 4167549"/>
              <a:gd name="connsiteX6225" fmla="*/ 3586609 w 10890933"/>
              <a:gd name="connsiteY6225" fmla="*/ 126950 h 4167549"/>
              <a:gd name="connsiteX6226" fmla="*/ 3560556 w 10890933"/>
              <a:gd name="connsiteY6226" fmla="*/ 119969 h 4167549"/>
              <a:gd name="connsiteX6227" fmla="*/ 3573849 w 10890933"/>
              <a:gd name="connsiteY6227" fmla="*/ 105092 h 4167549"/>
              <a:gd name="connsiteX6228" fmla="*/ 3791474 w 10890933"/>
              <a:gd name="connsiteY6228" fmla="*/ 104917 h 4167549"/>
              <a:gd name="connsiteX6229" fmla="*/ 3792039 w 10890933"/>
              <a:gd name="connsiteY6229" fmla="*/ 109419 h 4167549"/>
              <a:gd name="connsiteX6230" fmla="*/ 3789764 w 10890933"/>
              <a:gd name="connsiteY6230" fmla="*/ 117903 h 4167549"/>
              <a:gd name="connsiteX6231" fmla="*/ 3788872 w 10890933"/>
              <a:gd name="connsiteY6231" fmla="*/ 108570 h 4167549"/>
              <a:gd name="connsiteX6232" fmla="*/ 6198919 w 10890933"/>
              <a:gd name="connsiteY6232" fmla="*/ 102618 h 4167549"/>
              <a:gd name="connsiteX6233" fmla="*/ 6231977 w 10890933"/>
              <a:gd name="connsiteY6233" fmla="*/ 120295 h 4167549"/>
              <a:gd name="connsiteX6234" fmla="*/ 6234182 w 10890933"/>
              <a:gd name="connsiteY6234" fmla="*/ 112067 h 4167549"/>
              <a:gd name="connsiteX6235" fmla="*/ 6251811 w 10890933"/>
              <a:gd name="connsiteY6235" fmla="*/ 116791 h 4167549"/>
              <a:gd name="connsiteX6236" fmla="*/ 6212141 w 10890933"/>
              <a:gd name="connsiteY6236" fmla="*/ 123798 h 4167549"/>
              <a:gd name="connsiteX6237" fmla="*/ 6198919 w 10890933"/>
              <a:gd name="connsiteY6237" fmla="*/ 102618 h 4167549"/>
              <a:gd name="connsiteX6238" fmla="*/ 3794311 w 10890933"/>
              <a:gd name="connsiteY6238" fmla="*/ 100934 h 4167549"/>
              <a:gd name="connsiteX6239" fmla="*/ 3791474 w 10890933"/>
              <a:gd name="connsiteY6239" fmla="*/ 104917 h 4167549"/>
              <a:gd name="connsiteX6240" fmla="*/ 3791227 w 10890933"/>
              <a:gd name="connsiteY6240" fmla="*/ 102949 h 4167549"/>
              <a:gd name="connsiteX6241" fmla="*/ 3794311 w 10890933"/>
              <a:gd name="connsiteY6241" fmla="*/ 100934 h 4167549"/>
              <a:gd name="connsiteX6242" fmla="*/ 6311609 w 10890933"/>
              <a:gd name="connsiteY6242" fmla="*/ 97541 h 4167549"/>
              <a:gd name="connsiteX6243" fmla="*/ 6320352 w 10890933"/>
              <a:gd name="connsiteY6243" fmla="*/ 99883 h 4167549"/>
              <a:gd name="connsiteX6244" fmla="*/ 6326888 w 10890933"/>
              <a:gd name="connsiteY6244" fmla="*/ 110453 h 4167549"/>
              <a:gd name="connsiteX6245" fmla="*/ 6311609 w 10890933"/>
              <a:gd name="connsiteY6245" fmla="*/ 97541 h 4167549"/>
              <a:gd name="connsiteX6246" fmla="*/ 6081233 w 10890933"/>
              <a:gd name="connsiteY6246" fmla="*/ 97539 h 4167549"/>
              <a:gd name="connsiteX6247" fmla="*/ 6101803 w 10890933"/>
              <a:gd name="connsiteY6247" fmla="*/ 103051 h 4167549"/>
              <a:gd name="connsiteX6248" fmla="*/ 6081233 w 10890933"/>
              <a:gd name="connsiteY6248" fmla="*/ 97539 h 4167549"/>
              <a:gd name="connsiteX6249" fmla="*/ 3640716 w 10890933"/>
              <a:gd name="connsiteY6249" fmla="*/ 96154 h 4167549"/>
              <a:gd name="connsiteX6250" fmla="*/ 3666633 w 10890933"/>
              <a:gd name="connsiteY6250" fmla="*/ 103098 h 4167549"/>
              <a:gd name="connsiteX6251" fmla="*/ 3686116 w 10890933"/>
              <a:gd name="connsiteY6251" fmla="*/ 99501 h 4167549"/>
              <a:gd name="connsiteX6252" fmla="*/ 3682272 w 10890933"/>
              <a:gd name="connsiteY6252" fmla="*/ 113849 h 4167549"/>
              <a:gd name="connsiteX6253" fmla="*/ 3691866 w 10890933"/>
              <a:gd name="connsiteY6253" fmla="*/ 109860 h 4167549"/>
              <a:gd name="connsiteX6254" fmla="*/ 3698576 w 10890933"/>
              <a:gd name="connsiteY6254" fmla="*/ 120476 h 4167549"/>
              <a:gd name="connsiteX6255" fmla="*/ 3677994 w 10890933"/>
              <a:gd name="connsiteY6255" fmla="*/ 125985 h 4167549"/>
              <a:gd name="connsiteX6256" fmla="*/ 3662490 w 10890933"/>
              <a:gd name="connsiteY6256" fmla="*/ 119850 h 4167549"/>
              <a:gd name="connsiteX6257" fmla="*/ 3662923 w 10890933"/>
              <a:gd name="connsiteY6257" fmla="*/ 110923 h 4167549"/>
              <a:gd name="connsiteX6258" fmla="*/ 3675742 w 10890933"/>
              <a:gd name="connsiteY6258" fmla="*/ 116563 h 4167549"/>
              <a:gd name="connsiteX6259" fmla="*/ 3679142 w 10890933"/>
              <a:gd name="connsiteY6259" fmla="*/ 115149 h 4167549"/>
              <a:gd name="connsiteX6260" fmla="*/ 3658225 w 10890933"/>
              <a:gd name="connsiteY6260" fmla="*/ 108561 h 4167549"/>
              <a:gd name="connsiteX6261" fmla="*/ 3646648 w 10890933"/>
              <a:gd name="connsiteY6261" fmla="*/ 119469 h 4167549"/>
              <a:gd name="connsiteX6262" fmla="*/ 3651803 w 10890933"/>
              <a:gd name="connsiteY6262" fmla="*/ 116761 h 4167549"/>
              <a:gd name="connsiteX6263" fmla="*/ 3660276 w 10890933"/>
              <a:gd name="connsiteY6263" fmla="*/ 120796 h 4167549"/>
              <a:gd name="connsiteX6264" fmla="*/ 3658512 w 10890933"/>
              <a:gd name="connsiteY6264" fmla="*/ 127378 h 4167549"/>
              <a:gd name="connsiteX6265" fmla="*/ 3648223 w 10890933"/>
              <a:gd name="connsiteY6265" fmla="*/ 130131 h 4167549"/>
              <a:gd name="connsiteX6266" fmla="*/ 3645107 w 10890933"/>
              <a:gd name="connsiteY6266" fmla="*/ 120922 h 4167549"/>
              <a:gd name="connsiteX6267" fmla="*/ 3642742 w 10890933"/>
              <a:gd name="connsiteY6267" fmla="*/ 123152 h 4167549"/>
              <a:gd name="connsiteX6268" fmla="*/ 3640813 w 10890933"/>
              <a:gd name="connsiteY6268" fmla="*/ 122535 h 4167549"/>
              <a:gd name="connsiteX6269" fmla="*/ 3640687 w 10890933"/>
              <a:gd name="connsiteY6269" fmla="*/ 122601 h 4167549"/>
              <a:gd name="connsiteX6270" fmla="*/ 3640713 w 10890933"/>
              <a:gd name="connsiteY6270" fmla="*/ 122503 h 4167549"/>
              <a:gd name="connsiteX6271" fmla="*/ 3621418 w 10890933"/>
              <a:gd name="connsiteY6271" fmla="*/ 116336 h 4167549"/>
              <a:gd name="connsiteX6272" fmla="*/ 3601751 w 10890933"/>
              <a:gd name="connsiteY6272" fmla="*/ 103350 h 4167549"/>
              <a:gd name="connsiteX6273" fmla="*/ 3636307 w 10890933"/>
              <a:gd name="connsiteY6273" fmla="*/ 112609 h 4167549"/>
              <a:gd name="connsiteX6274" fmla="*/ 3647151 w 10890933"/>
              <a:gd name="connsiteY6274" fmla="*/ 106697 h 4167549"/>
              <a:gd name="connsiteX6275" fmla="*/ 3640716 w 10890933"/>
              <a:gd name="connsiteY6275" fmla="*/ 96154 h 4167549"/>
              <a:gd name="connsiteX6276" fmla="*/ 6174237 w 10890933"/>
              <a:gd name="connsiteY6276" fmla="*/ 96005 h 4167549"/>
              <a:gd name="connsiteX6277" fmla="*/ 6172237 w 10890933"/>
              <a:gd name="connsiteY6277" fmla="*/ 97811 h 4167549"/>
              <a:gd name="connsiteX6278" fmla="*/ 6172216 w 10890933"/>
              <a:gd name="connsiteY6278" fmla="*/ 97780 h 4167549"/>
              <a:gd name="connsiteX6279" fmla="*/ 6302868 w 10890933"/>
              <a:gd name="connsiteY6279" fmla="*/ 95199 h 4167549"/>
              <a:gd name="connsiteX6280" fmla="*/ 6311609 w 10890933"/>
              <a:gd name="connsiteY6280" fmla="*/ 97541 h 4167549"/>
              <a:gd name="connsiteX6281" fmla="*/ 6300664 w 10890933"/>
              <a:gd name="connsiteY6281" fmla="*/ 103426 h 4167549"/>
              <a:gd name="connsiteX6282" fmla="*/ 6307200 w 10890933"/>
              <a:gd name="connsiteY6282" fmla="*/ 113996 h 4167549"/>
              <a:gd name="connsiteX6283" fmla="*/ 6361856 w 10890933"/>
              <a:gd name="connsiteY6283" fmla="*/ 119822 h 4167549"/>
              <a:gd name="connsiteX6284" fmla="*/ 6311534 w 10890933"/>
              <a:gd name="connsiteY6284" fmla="*/ 132793 h 4167549"/>
              <a:gd name="connsiteX6285" fmla="*/ 6302791 w 10890933"/>
              <a:gd name="connsiteY6285" fmla="*/ 130451 h 4167549"/>
              <a:gd name="connsiteX6286" fmla="*/ 6302868 w 10890933"/>
              <a:gd name="connsiteY6286" fmla="*/ 95199 h 4167549"/>
              <a:gd name="connsiteX6287" fmla="*/ 3558785 w 10890933"/>
              <a:gd name="connsiteY6287" fmla="*/ 91837 h 4167549"/>
              <a:gd name="connsiteX6288" fmla="*/ 3556834 w 10890933"/>
              <a:gd name="connsiteY6288" fmla="*/ 94772 h 4167549"/>
              <a:gd name="connsiteX6289" fmla="*/ 3555488 w 10890933"/>
              <a:gd name="connsiteY6289" fmla="*/ 93720 h 4167549"/>
              <a:gd name="connsiteX6290" fmla="*/ 3724487 w 10890933"/>
              <a:gd name="connsiteY6290" fmla="*/ 91318 h 4167549"/>
              <a:gd name="connsiteX6291" fmla="*/ 3749819 w 10890933"/>
              <a:gd name="connsiteY6291" fmla="*/ 98106 h 4167549"/>
              <a:gd name="connsiteX6292" fmla="*/ 3775150 w 10890933"/>
              <a:gd name="connsiteY6292" fmla="*/ 104893 h 4167549"/>
              <a:gd name="connsiteX6293" fmla="*/ 3770603 w 10890933"/>
              <a:gd name="connsiteY6293" fmla="*/ 121864 h 4167549"/>
              <a:gd name="connsiteX6294" fmla="*/ 3742999 w 10890933"/>
              <a:gd name="connsiteY6294" fmla="*/ 123561 h 4167549"/>
              <a:gd name="connsiteX6295" fmla="*/ 3717666 w 10890933"/>
              <a:gd name="connsiteY6295" fmla="*/ 116773 h 4167549"/>
              <a:gd name="connsiteX6296" fmla="*/ 3745272 w 10890933"/>
              <a:gd name="connsiteY6296" fmla="*/ 115077 h 4167549"/>
              <a:gd name="connsiteX6297" fmla="*/ 3724487 w 10890933"/>
              <a:gd name="connsiteY6297" fmla="*/ 91318 h 4167549"/>
              <a:gd name="connsiteX6298" fmla="*/ 4463915 w 10890933"/>
              <a:gd name="connsiteY6298" fmla="*/ 87786 h 4167549"/>
              <a:gd name="connsiteX6299" fmla="*/ 4618304 w 10890933"/>
              <a:gd name="connsiteY6299" fmla="*/ 92485 h 4167549"/>
              <a:gd name="connsiteX6300" fmla="*/ 4663307 w 10890933"/>
              <a:gd name="connsiteY6300" fmla="*/ 95375 h 4167549"/>
              <a:gd name="connsiteX6301" fmla="*/ 4955000 w 10890933"/>
              <a:gd name="connsiteY6301" fmla="*/ 100191 h 4167549"/>
              <a:gd name="connsiteX6302" fmla="*/ 5255232 w 10890933"/>
              <a:gd name="connsiteY6302" fmla="*/ 107292 h 4167549"/>
              <a:gd name="connsiteX6303" fmla="*/ 5392534 w 10890933"/>
              <a:gd name="connsiteY6303" fmla="*/ 107412 h 4167549"/>
              <a:gd name="connsiteX6304" fmla="*/ 5467749 w 10890933"/>
              <a:gd name="connsiteY6304" fmla="*/ 100062 h 4167549"/>
              <a:gd name="connsiteX6305" fmla="*/ 5482541 w 10890933"/>
              <a:gd name="connsiteY6305" fmla="*/ 113194 h 4167549"/>
              <a:gd name="connsiteX6306" fmla="*/ 5493375 w 10890933"/>
              <a:gd name="connsiteY6306" fmla="*/ 106928 h 4167549"/>
              <a:gd name="connsiteX6307" fmla="*/ 5491083 w 10890933"/>
              <a:gd name="connsiteY6307" fmla="*/ 115482 h 4167549"/>
              <a:gd name="connsiteX6308" fmla="*/ 5681933 w 10890933"/>
              <a:gd name="connsiteY6308" fmla="*/ 120782 h 4167549"/>
              <a:gd name="connsiteX6309" fmla="*/ 5692767 w 10890933"/>
              <a:gd name="connsiteY6309" fmla="*/ 114517 h 4167549"/>
              <a:gd name="connsiteX6310" fmla="*/ 5799859 w 10890933"/>
              <a:gd name="connsiteY6310" fmla="*/ 124876 h 4167549"/>
              <a:gd name="connsiteX6311" fmla="*/ 5941121 w 10890933"/>
              <a:gd name="connsiteY6311" fmla="*/ 144390 h 4167549"/>
              <a:gd name="connsiteX6312" fmla="*/ 5986124 w 10890933"/>
              <a:gd name="connsiteY6312" fmla="*/ 147281 h 4167549"/>
              <a:gd name="connsiteX6313" fmla="*/ 5996959 w 10890933"/>
              <a:gd name="connsiteY6313" fmla="*/ 141016 h 4167549"/>
              <a:gd name="connsiteX6314" fmla="*/ 6011752 w 10890933"/>
              <a:gd name="connsiteY6314" fmla="*/ 154148 h 4167549"/>
              <a:gd name="connsiteX6315" fmla="*/ 6078424 w 10890933"/>
              <a:gd name="connsiteY6315" fmla="*/ 144508 h 4167549"/>
              <a:gd name="connsiteX6316" fmla="*/ 6076132 w 10890933"/>
              <a:gd name="connsiteY6316" fmla="*/ 153062 h 4167549"/>
              <a:gd name="connsiteX6317" fmla="*/ 6101757 w 10890933"/>
              <a:gd name="connsiteY6317" fmla="*/ 159928 h 4167549"/>
              <a:gd name="connsiteX6318" fmla="*/ 6196349 w 10890933"/>
              <a:gd name="connsiteY6318" fmla="*/ 148604 h 4167549"/>
              <a:gd name="connsiteX6319" fmla="*/ 6219685 w 10890933"/>
              <a:gd name="connsiteY6319" fmla="*/ 164025 h 4167549"/>
              <a:gd name="connsiteX6320" fmla="*/ 6230518 w 10890933"/>
              <a:gd name="connsiteY6320" fmla="*/ 157759 h 4167549"/>
              <a:gd name="connsiteX6321" fmla="*/ 6239062 w 10890933"/>
              <a:gd name="connsiteY6321" fmla="*/ 160049 h 4167549"/>
              <a:gd name="connsiteX6322" fmla="*/ 6245311 w 10890933"/>
              <a:gd name="connsiteY6322" fmla="*/ 170891 h 4167549"/>
              <a:gd name="connsiteX6323" fmla="*/ 6264688 w 10890933"/>
              <a:gd name="connsiteY6323" fmla="*/ 166915 h 4167549"/>
              <a:gd name="connsiteX6324" fmla="*/ 6258439 w 10890933"/>
              <a:gd name="connsiteY6324" fmla="*/ 156073 h 4167549"/>
              <a:gd name="connsiteX6325" fmla="*/ 6281773 w 10890933"/>
              <a:gd name="connsiteY6325" fmla="*/ 171493 h 4167549"/>
              <a:gd name="connsiteX6326" fmla="*/ 6298857 w 10890933"/>
              <a:gd name="connsiteY6326" fmla="*/ 176071 h 4167549"/>
              <a:gd name="connsiteX6327" fmla="*/ 6303441 w 10890933"/>
              <a:gd name="connsiteY6327" fmla="*/ 158963 h 4167549"/>
              <a:gd name="connsiteX6328" fmla="*/ 6277815 w 10890933"/>
              <a:gd name="connsiteY6328" fmla="*/ 152096 h 4167549"/>
              <a:gd name="connsiteX6329" fmla="*/ 6278679 w 10890933"/>
              <a:gd name="connsiteY6329" fmla="*/ 150451 h 4167549"/>
              <a:gd name="connsiteX6330" fmla="*/ 6278696 w 10890933"/>
              <a:gd name="connsiteY6330" fmla="*/ 150449 h 4167549"/>
              <a:gd name="connsiteX6331" fmla="*/ 6278683 w 10890933"/>
              <a:gd name="connsiteY6331" fmla="*/ 150444 h 4167549"/>
              <a:gd name="connsiteX6332" fmla="*/ 6283949 w 10890933"/>
              <a:gd name="connsiteY6332" fmla="*/ 140417 h 4167549"/>
              <a:gd name="connsiteX6333" fmla="*/ 6310318 w 10890933"/>
              <a:gd name="connsiteY6333" fmla="*/ 133301 h 4167549"/>
              <a:gd name="connsiteX6334" fmla="*/ 6307401 w 10890933"/>
              <a:gd name="connsiteY6334" fmla="*/ 178360 h 4167549"/>
              <a:gd name="connsiteX6335" fmla="*/ 6337611 w 10890933"/>
              <a:gd name="connsiteY6335" fmla="*/ 168119 h 4167549"/>
              <a:gd name="connsiteX6336" fmla="*/ 6329067 w 10890933"/>
              <a:gd name="connsiteY6336" fmla="*/ 165829 h 4167549"/>
              <a:gd name="connsiteX6337" fmla="*/ 6348444 w 10890933"/>
              <a:gd name="connsiteY6337" fmla="*/ 161853 h 4167549"/>
              <a:gd name="connsiteX6338" fmla="*/ 6343860 w 10890933"/>
              <a:gd name="connsiteY6338" fmla="*/ 178961 h 4167549"/>
              <a:gd name="connsiteX6339" fmla="*/ 6354696 w 10890933"/>
              <a:gd name="connsiteY6339" fmla="*/ 172696 h 4167549"/>
              <a:gd name="connsiteX6340" fmla="*/ 6365529 w 10890933"/>
              <a:gd name="connsiteY6340" fmla="*/ 166431 h 4167549"/>
              <a:gd name="connsiteX6341" fmla="*/ 6354696 w 10890933"/>
              <a:gd name="connsiteY6341" fmla="*/ 172696 h 4167549"/>
              <a:gd name="connsiteX6342" fmla="*/ 6350736 w 10890933"/>
              <a:gd name="connsiteY6342" fmla="*/ 153299 h 4167549"/>
              <a:gd name="connsiteX6343" fmla="*/ 6380948 w 10890933"/>
              <a:gd name="connsiteY6343" fmla="*/ 143058 h 4167549"/>
              <a:gd name="connsiteX6344" fmla="*/ 6397406 w 10890933"/>
              <a:gd name="connsiteY6344" fmla="*/ 184141 h 4167549"/>
              <a:gd name="connsiteX6345" fmla="*/ 6408242 w 10890933"/>
              <a:gd name="connsiteY6345" fmla="*/ 177876 h 4167549"/>
              <a:gd name="connsiteX6346" fmla="*/ 6393449 w 10890933"/>
              <a:gd name="connsiteY6346" fmla="*/ 164744 h 4167549"/>
              <a:gd name="connsiteX6347" fmla="*/ 6382613 w 10890933"/>
              <a:gd name="connsiteY6347" fmla="*/ 171009 h 4167549"/>
              <a:gd name="connsiteX6348" fmla="*/ 6389490 w 10890933"/>
              <a:gd name="connsiteY6348" fmla="*/ 145347 h 4167549"/>
              <a:gd name="connsiteX6349" fmla="*/ 6401990 w 10890933"/>
              <a:gd name="connsiteY6349" fmla="*/ 167033 h 4167549"/>
              <a:gd name="connsiteX6350" fmla="*/ 6406574 w 10890933"/>
              <a:gd name="connsiteY6350" fmla="*/ 149925 h 4167549"/>
              <a:gd name="connsiteX6351" fmla="*/ 6451579 w 10890933"/>
              <a:gd name="connsiteY6351" fmla="*/ 152818 h 4167549"/>
              <a:gd name="connsiteX6352" fmla="*/ 6466373 w 10890933"/>
              <a:gd name="connsiteY6352" fmla="*/ 165947 h 4167549"/>
              <a:gd name="connsiteX6353" fmla="*/ 6448661 w 10890933"/>
              <a:gd name="connsiteY6353" fmla="*/ 197874 h 4167549"/>
              <a:gd name="connsiteX6354" fmla="*/ 6464080 w 10890933"/>
              <a:gd name="connsiteY6354" fmla="*/ 174501 h 4167549"/>
              <a:gd name="connsiteX6355" fmla="*/ 6558045 w 10890933"/>
              <a:gd name="connsiteY6355" fmla="*/ 199679 h 4167549"/>
              <a:gd name="connsiteX6356" fmla="*/ 6568881 w 10890933"/>
              <a:gd name="connsiteY6356" fmla="*/ 193414 h 4167549"/>
              <a:gd name="connsiteX6357" fmla="*/ 6579713 w 10890933"/>
              <a:gd name="connsiteY6357" fmla="*/ 187152 h 4167549"/>
              <a:gd name="connsiteX6358" fmla="*/ 6620135 w 10890933"/>
              <a:gd name="connsiteY6358" fmla="*/ 207148 h 4167549"/>
              <a:gd name="connsiteX6359" fmla="*/ 6571172 w 10890933"/>
              <a:gd name="connsiteY6359" fmla="*/ 184863 h 4167549"/>
              <a:gd name="connsiteX6360" fmla="*/ 6498250 w 10890933"/>
              <a:gd name="connsiteY6360" fmla="*/ 183657 h 4167549"/>
              <a:gd name="connsiteX6361" fmla="*/ 6491998 w 10890933"/>
              <a:gd name="connsiteY6361" fmla="*/ 172814 h 4167549"/>
              <a:gd name="connsiteX6362" fmla="*/ 6466373 w 10890933"/>
              <a:gd name="connsiteY6362" fmla="*/ 165947 h 4167549"/>
              <a:gd name="connsiteX6363" fmla="*/ 6496581 w 10890933"/>
              <a:gd name="connsiteY6363" fmla="*/ 155708 h 4167549"/>
              <a:gd name="connsiteX6364" fmla="*/ 6533043 w 10890933"/>
              <a:gd name="connsiteY6364" fmla="*/ 156310 h 4167549"/>
              <a:gd name="connsiteX6365" fmla="*/ 6537003 w 10890933"/>
              <a:gd name="connsiteY6365" fmla="*/ 175707 h 4167549"/>
              <a:gd name="connsiteX6366" fmla="*/ 6573464 w 10890933"/>
              <a:gd name="connsiteY6366" fmla="*/ 176309 h 4167549"/>
              <a:gd name="connsiteX6367" fmla="*/ 6586590 w 10890933"/>
              <a:gd name="connsiteY6367" fmla="*/ 161489 h 4167549"/>
              <a:gd name="connsiteX6368" fmla="*/ 6583183 w 10890933"/>
              <a:gd name="connsiteY6368" fmla="*/ 154105 h 4167549"/>
              <a:gd name="connsiteX6369" fmla="*/ 6588882 w 10890933"/>
              <a:gd name="connsiteY6369" fmla="*/ 152935 h 4167549"/>
              <a:gd name="connsiteX6370" fmla="*/ 6584298 w 10890933"/>
              <a:gd name="connsiteY6370" fmla="*/ 170044 h 4167549"/>
              <a:gd name="connsiteX6371" fmla="*/ 6582005 w 10890933"/>
              <a:gd name="connsiteY6371" fmla="*/ 178598 h 4167549"/>
              <a:gd name="connsiteX6372" fmla="*/ 6612218 w 10890933"/>
              <a:gd name="connsiteY6372" fmla="*/ 168357 h 4167549"/>
              <a:gd name="connsiteX6373" fmla="*/ 6648677 w 10890933"/>
              <a:gd name="connsiteY6373" fmla="*/ 168957 h 4167549"/>
              <a:gd name="connsiteX6374" fmla="*/ 6654928 w 10890933"/>
              <a:gd name="connsiteY6374" fmla="*/ 179801 h 4167549"/>
              <a:gd name="connsiteX6375" fmla="*/ 6717016 w 10890933"/>
              <a:gd name="connsiteY6375" fmla="*/ 187269 h 4167549"/>
              <a:gd name="connsiteX6376" fmla="*/ 6747229 w 10890933"/>
              <a:gd name="connsiteY6376" fmla="*/ 177028 h 4167549"/>
              <a:gd name="connsiteX6377" fmla="*/ 6734101 w 10890933"/>
              <a:gd name="connsiteY6377" fmla="*/ 191847 h 4167549"/>
              <a:gd name="connsiteX6378" fmla="*/ 6768270 w 10890933"/>
              <a:gd name="connsiteY6378" fmla="*/ 201002 h 4167549"/>
              <a:gd name="connsiteX6379" fmla="*/ 6693055 w 10890933"/>
              <a:gd name="connsiteY6379" fmla="*/ 208353 h 4167549"/>
              <a:gd name="connsiteX6380" fmla="*/ 6689098 w 10890933"/>
              <a:gd name="connsiteY6380" fmla="*/ 188956 h 4167549"/>
              <a:gd name="connsiteX6381" fmla="*/ 6641801 w 10890933"/>
              <a:gd name="connsiteY6381" fmla="*/ 194620 h 4167549"/>
              <a:gd name="connsiteX6382" fmla="*/ 6637844 w 10890933"/>
              <a:gd name="connsiteY6382" fmla="*/ 175223 h 4167549"/>
              <a:gd name="connsiteX6383" fmla="*/ 6624719 w 10890933"/>
              <a:gd name="connsiteY6383" fmla="*/ 190043 h 4167549"/>
              <a:gd name="connsiteX6384" fmla="*/ 6639509 w 10890933"/>
              <a:gd name="connsiteY6384" fmla="*/ 203174 h 4167549"/>
              <a:gd name="connsiteX6385" fmla="*/ 6650344 w 10890933"/>
              <a:gd name="connsiteY6385" fmla="*/ 196909 h 4167549"/>
              <a:gd name="connsiteX6386" fmla="*/ 6665137 w 10890933"/>
              <a:gd name="connsiteY6386" fmla="*/ 210041 h 4167549"/>
              <a:gd name="connsiteX6387" fmla="*/ 6723268 w 10890933"/>
              <a:gd name="connsiteY6387" fmla="*/ 198112 h 4167549"/>
              <a:gd name="connsiteX6388" fmla="*/ 6735768 w 10890933"/>
              <a:gd name="connsiteY6388" fmla="*/ 219798 h 4167549"/>
              <a:gd name="connsiteX6389" fmla="*/ 6755145 w 10890933"/>
              <a:gd name="connsiteY6389" fmla="*/ 215822 h 4167549"/>
              <a:gd name="connsiteX6390" fmla="*/ 6774522 w 10890933"/>
              <a:gd name="connsiteY6390" fmla="*/ 211846 h 4167549"/>
              <a:gd name="connsiteX6391" fmla="*/ 6780771 w 10890933"/>
              <a:gd name="connsiteY6391" fmla="*/ 222688 h 4167549"/>
              <a:gd name="connsiteX6392" fmla="*/ 6808691 w 10890933"/>
              <a:gd name="connsiteY6392" fmla="*/ 221001 h 4167549"/>
              <a:gd name="connsiteX6393" fmla="*/ 6851402 w 10890933"/>
              <a:gd name="connsiteY6393" fmla="*/ 232446 h 4167549"/>
              <a:gd name="connsiteX6394" fmla="*/ 6853694 w 10890933"/>
              <a:gd name="connsiteY6394" fmla="*/ 223892 h 4167549"/>
              <a:gd name="connsiteX6395" fmla="*/ 6915784 w 10890933"/>
              <a:gd name="connsiteY6395" fmla="*/ 231360 h 4167549"/>
              <a:gd name="connsiteX6396" fmla="*/ 7178929 w 10890933"/>
              <a:gd name="connsiteY6396" fmla="*/ 274365 h 4167549"/>
              <a:gd name="connsiteX6397" fmla="*/ 7168095 w 10890933"/>
              <a:gd name="connsiteY6397" fmla="*/ 280631 h 4167549"/>
              <a:gd name="connsiteX6398" fmla="*/ 7182888 w 10890933"/>
              <a:gd name="connsiteY6398" fmla="*/ 293763 h 4167549"/>
              <a:gd name="connsiteX6399" fmla="*/ 7189764 w 10890933"/>
              <a:gd name="connsiteY6399" fmla="*/ 268101 h 4167549"/>
              <a:gd name="connsiteX6400" fmla="*/ 7394779 w 10890933"/>
              <a:gd name="connsiteY6400" fmla="*/ 323034 h 4167549"/>
              <a:gd name="connsiteX6401" fmla="*/ 7424991 w 10890933"/>
              <a:gd name="connsiteY6401" fmla="*/ 312796 h 4167549"/>
              <a:gd name="connsiteX6402" fmla="*/ 7465409 w 10890933"/>
              <a:gd name="connsiteY6402" fmla="*/ 332794 h 4167549"/>
              <a:gd name="connsiteX6403" fmla="*/ 7709180 w 10890933"/>
              <a:gd name="connsiteY6403" fmla="*/ 379776 h 4167549"/>
              <a:gd name="connsiteX6404" fmla="*/ 7702304 w 10890933"/>
              <a:gd name="connsiteY6404" fmla="*/ 405435 h 4167549"/>
              <a:gd name="connsiteX6405" fmla="*/ 7755850 w 10890933"/>
              <a:gd name="connsiteY6405" fmla="*/ 410617 h 4167549"/>
              <a:gd name="connsiteX6406" fmla="*/ 7817937 w 10890933"/>
              <a:gd name="connsiteY6406" fmla="*/ 418085 h 4167549"/>
              <a:gd name="connsiteX6407" fmla="*/ 7821898 w 10890933"/>
              <a:gd name="connsiteY6407" fmla="*/ 437480 h 4167549"/>
              <a:gd name="connsiteX6408" fmla="*/ 7898778 w 10890933"/>
              <a:gd name="connsiteY6408" fmla="*/ 458080 h 4167549"/>
              <a:gd name="connsiteX6409" fmla="*/ 7911902 w 10890933"/>
              <a:gd name="connsiteY6409" fmla="*/ 443263 h 4167549"/>
              <a:gd name="connsiteX6410" fmla="*/ 7915862 w 10890933"/>
              <a:gd name="connsiteY6410" fmla="*/ 462658 h 4167549"/>
              <a:gd name="connsiteX6411" fmla="*/ 7937531 w 10890933"/>
              <a:gd name="connsiteY6411" fmla="*/ 450130 h 4167549"/>
              <a:gd name="connsiteX6412" fmla="*/ 7942115 w 10890933"/>
              <a:gd name="connsiteY6412" fmla="*/ 433022 h 4167549"/>
              <a:gd name="connsiteX6413" fmla="*/ 8001910 w 10890933"/>
              <a:gd name="connsiteY6413" fmla="*/ 449044 h 4167549"/>
              <a:gd name="connsiteX6414" fmla="*/ 7980241 w 10890933"/>
              <a:gd name="connsiteY6414" fmla="*/ 461575 h 4167549"/>
              <a:gd name="connsiteX6415" fmla="*/ 8022955 w 10890933"/>
              <a:gd name="connsiteY6415" fmla="*/ 473020 h 4167549"/>
              <a:gd name="connsiteX6416" fmla="*/ 8008162 w 10890933"/>
              <a:gd name="connsiteY6416" fmla="*/ 459888 h 4167549"/>
              <a:gd name="connsiteX6417" fmla="*/ 8033787 w 10890933"/>
              <a:gd name="connsiteY6417" fmla="*/ 466754 h 4167549"/>
              <a:gd name="connsiteX6418" fmla="*/ 8063373 w 10890933"/>
              <a:gd name="connsiteY6418" fmla="*/ 493018 h 4167549"/>
              <a:gd name="connsiteX6419" fmla="*/ 8102126 w 10890933"/>
              <a:gd name="connsiteY6419" fmla="*/ 485066 h 4167549"/>
              <a:gd name="connsiteX6420" fmla="*/ 8106086 w 10890933"/>
              <a:gd name="connsiteY6420" fmla="*/ 504463 h 4167549"/>
              <a:gd name="connsiteX6421" fmla="*/ 8134004 w 10890933"/>
              <a:gd name="connsiteY6421" fmla="*/ 502775 h 4167549"/>
              <a:gd name="connsiteX6422" fmla="*/ 8129421 w 10890933"/>
              <a:gd name="connsiteY6422" fmla="*/ 519881 h 4167549"/>
              <a:gd name="connsiteX6423" fmla="*/ 8148796 w 10890933"/>
              <a:gd name="connsiteY6423" fmla="*/ 515907 h 4167549"/>
              <a:gd name="connsiteX6424" fmla="*/ 8155046 w 10890933"/>
              <a:gd name="connsiteY6424" fmla="*/ 526747 h 4167549"/>
              <a:gd name="connsiteX6425" fmla="*/ 8197759 w 10890933"/>
              <a:gd name="connsiteY6425" fmla="*/ 538192 h 4167549"/>
              <a:gd name="connsiteX6426" fmla="*/ 8240470 w 10890933"/>
              <a:gd name="connsiteY6426" fmla="*/ 549636 h 4167549"/>
              <a:gd name="connsiteX6427" fmla="*/ 8274639 w 10890933"/>
              <a:gd name="connsiteY6427" fmla="*/ 558792 h 4167549"/>
              <a:gd name="connsiteX6428" fmla="*/ 8276931 w 10890933"/>
              <a:gd name="connsiteY6428" fmla="*/ 550240 h 4167549"/>
              <a:gd name="connsiteX6429" fmla="*/ 8360063 w 10890933"/>
              <a:gd name="connsiteY6429" fmla="*/ 581681 h 4167549"/>
              <a:gd name="connsiteX6430" fmla="*/ 8462572 w 10890933"/>
              <a:gd name="connsiteY6430" fmla="*/ 609148 h 4167549"/>
              <a:gd name="connsiteX6431" fmla="*/ 8468821 w 10890933"/>
              <a:gd name="connsiteY6431" fmla="*/ 619991 h 4167549"/>
              <a:gd name="connsiteX6432" fmla="*/ 8551952 w 10890933"/>
              <a:gd name="connsiteY6432" fmla="*/ 651434 h 4167549"/>
              <a:gd name="connsiteX6433" fmla="*/ 8628835 w 10890933"/>
              <a:gd name="connsiteY6433" fmla="*/ 672035 h 4167549"/>
              <a:gd name="connsiteX6434" fmla="*/ 8569037 w 10890933"/>
              <a:gd name="connsiteY6434" fmla="*/ 656012 h 4167549"/>
              <a:gd name="connsiteX6435" fmla="*/ 8549660 w 10890933"/>
              <a:gd name="connsiteY6435" fmla="*/ 659988 h 4167549"/>
              <a:gd name="connsiteX6436" fmla="*/ 8572997 w 10890933"/>
              <a:gd name="connsiteY6436" fmla="*/ 675409 h 4167549"/>
              <a:gd name="connsiteX6437" fmla="*/ 8575289 w 10890933"/>
              <a:gd name="connsiteY6437" fmla="*/ 666855 h 4167549"/>
              <a:gd name="connsiteX6438" fmla="*/ 8609458 w 10890933"/>
              <a:gd name="connsiteY6438" fmla="*/ 676011 h 4167549"/>
              <a:gd name="connsiteX6439" fmla="*/ 8579246 w 10890933"/>
              <a:gd name="connsiteY6439" fmla="*/ 686252 h 4167549"/>
              <a:gd name="connsiteX6440" fmla="*/ 8643628 w 10890933"/>
              <a:gd name="connsiteY6440" fmla="*/ 685167 h 4167549"/>
              <a:gd name="connsiteX6441" fmla="*/ 8615708 w 10890933"/>
              <a:gd name="connsiteY6441" fmla="*/ 686854 h 4167549"/>
              <a:gd name="connsiteX6442" fmla="*/ 8641336 w 10890933"/>
              <a:gd name="connsiteY6442" fmla="*/ 693721 h 4167549"/>
              <a:gd name="connsiteX6443" fmla="*/ 8643628 w 10890933"/>
              <a:gd name="connsiteY6443" fmla="*/ 685167 h 4167549"/>
              <a:gd name="connsiteX6444" fmla="*/ 8660712 w 10890933"/>
              <a:gd name="connsiteY6444" fmla="*/ 689745 h 4167549"/>
              <a:gd name="connsiteX6445" fmla="*/ 8869687 w 10890933"/>
              <a:gd name="connsiteY6445" fmla="*/ 764075 h 4167549"/>
              <a:gd name="connsiteX6446" fmla="*/ 9200545 w 10890933"/>
              <a:gd name="connsiteY6446" fmla="*/ 861897 h 4167549"/>
              <a:gd name="connsiteX6447" fmla="*/ 9063868 w 10890933"/>
              <a:gd name="connsiteY6447" fmla="*/ 825274 h 4167549"/>
              <a:gd name="connsiteX6448" fmla="*/ 9053032 w 10890933"/>
              <a:gd name="connsiteY6448" fmla="*/ 831539 h 4167549"/>
              <a:gd name="connsiteX6449" fmla="*/ 8895312 w 10890933"/>
              <a:gd name="connsiteY6449" fmla="*/ 770942 h 4167549"/>
              <a:gd name="connsiteX6450" fmla="*/ 8878228 w 10890933"/>
              <a:gd name="connsiteY6450" fmla="*/ 766364 h 4167549"/>
              <a:gd name="connsiteX6451" fmla="*/ 8893020 w 10890933"/>
              <a:gd name="connsiteY6451" fmla="*/ 779496 h 4167549"/>
              <a:gd name="connsiteX6452" fmla="*/ 8867395 w 10890933"/>
              <a:gd name="connsiteY6452" fmla="*/ 772629 h 4167549"/>
              <a:gd name="connsiteX6453" fmla="*/ 8862851 w 10890933"/>
              <a:gd name="connsiteY6453" fmla="*/ 789587 h 4167549"/>
              <a:gd name="connsiteX6454" fmla="*/ 8862917 w 10890933"/>
              <a:gd name="connsiteY6454" fmla="*/ 789752 h 4167549"/>
              <a:gd name="connsiteX6455" fmla="*/ 8933441 w 10890933"/>
              <a:gd name="connsiteY6455" fmla="*/ 799495 h 4167549"/>
              <a:gd name="connsiteX6456" fmla="*/ 8948234 w 10890933"/>
              <a:gd name="connsiteY6456" fmla="*/ 812627 h 4167549"/>
              <a:gd name="connsiteX6457" fmla="*/ 8965319 w 10890933"/>
              <a:gd name="connsiteY6457" fmla="*/ 817204 h 4167549"/>
              <a:gd name="connsiteX6458" fmla="*/ 9076368 w 10890933"/>
              <a:gd name="connsiteY6458" fmla="*/ 846960 h 4167549"/>
              <a:gd name="connsiteX6459" fmla="*/ 9093453 w 10890933"/>
              <a:gd name="connsiteY6459" fmla="*/ 851538 h 4167549"/>
              <a:gd name="connsiteX6460" fmla="*/ 9074076 w 10890933"/>
              <a:gd name="connsiteY6460" fmla="*/ 855514 h 4167549"/>
              <a:gd name="connsiteX6461" fmla="*/ 9120748 w 10890933"/>
              <a:gd name="connsiteY6461" fmla="*/ 886353 h 4167549"/>
              <a:gd name="connsiteX6462" fmla="*/ 9131580 w 10890933"/>
              <a:gd name="connsiteY6462" fmla="*/ 880088 h 4167549"/>
              <a:gd name="connsiteX6463" fmla="*/ 9116787 w 10890933"/>
              <a:gd name="connsiteY6463" fmla="*/ 866959 h 4167549"/>
              <a:gd name="connsiteX6464" fmla="*/ 9136164 w 10890933"/>
              <a:gd name="connsiteY6464" fmla="*/ 862982 h 4167549"/>
              <a:gd name="connsiteX6465" fmla="*/ 9146374 w 10890933"/>
              <a:gd name="connsiteY6465" fmla="*/ 893220 h 4167549"/>
              <a:gd name="connsiteX6466" fmla="*/ 9214712 w 10890933"/>
              <a:gd name="connsiteY6466" fmla="*/ 911531 h 4167549"/>
              <a:gd name="connsiteX6467" fmla="*/ 9195336 w 10890933"/>
              <a:gd name="connsiteY6467" fmla="*/ 915507 h 4167549"/>
              <a:gd name="connsiteX6468" fmla="*/ 9199295 w 10890933"/>
              <a:gd name="connsiteY6468" fmla="*/ 934905 h 4167549"/>
              <a:gd name="connsiteX6469" fmla="*/ 9324304 w 10890933"/>
              <a:gd name="connsiteY6469" fmla="*/ 963818 h 4167549"/>
              <a:gd name="connsiteX6470" fmla="*/ 9423449 w 10890933"/>
              <a:gd name="connsiteY6470" fmla="*/ 986748 h 4167549"/>
              <a:gd name="connsiteX6471" fmla="*/ 9421394 w 10890933"/>
              <a:gd name="connsiteY6471" fmla="*/ 994416 h 4167549"/>
              <a:gd name="connsiteX6472" fmla="*/ 9662245 w 10890933"/>
              <a:gd name="connsiteY6472" fmla="*/ 1086456 h 4167549"/>
              <a:gd name="connsiteX6473" fmla="*/ 9606411 w 10890933"/>
              <a:gd name="connsiteY6473" fmla="*/ 1089829 h 4167549"/>
              <a:gd name="connsiteX6474" fmla="*/ 9646829 w 10890933"/>
              <a:gd name="connsiteY6474" fmla="*/ 1109827 h 4167549"/>
              <a:gd name="connsiteX6475" fmla="*/ 9559113 w 10890933"/>
              <a:gd name="connsiteY6475" fmla="*/ 1095492 h 4167549"/>
              <a:gd name="connsiteX6476" fmla="*/ 9599535 w 10890933"/>
              <a:gd name="connsiteY6476" fmla="*/ 1115491 h 4167549"/>
              <a:gd name="connsiteX6477" fmla="*/ 9603491 w 10890933"/>
              <a:gd name="connsiteY6477" fmla="*/ 1134888 h 4167549"/>
              <a:gd name="connsiteX6478" fmla="*/ 9247007 w 10890933"/>
              <a:gd name="connsiteY6478" fmla="*/ 1030200 h 4167549"/>
              <a:gd name="connsiteX6479" fmla="*/ 9240755 w 10890933"/>
              <a:gd name="connsiteY6479" fmla="*/ 1019357 h 4167549"/>
              <a:gd name="connsiteX6480" fmla="*/ 9247007 w 10890933"/>
              <a:gd name="connsiteY6480" fmla="*/ 1030200 h 4167549"/>
              <a:gd name="connsiteX6481" fmla="*/ 9101784 w 10890933"/>
              <a:gd name="connsiteY6481" fmla="*/ 991288 h 4167549"/>
              <a:gd name="connsiteX6482" fmla="*/ 9097200 w 10890933"/>
              <a:gd name="connsiteY6482" fmla="*/ 1008396 h 4167549"/>
              <a:gd name="connsiteX6483" fmla="*/ 9265755 w 10890933"/>
              <a:gd name="connsiteY6483" fmla="*/ 1062728 h 4167549"/>
              <a:gd name="connsiteX6484" fmla="*/ 9302217 w 10890933"/>
              <a:gd name="connsiteY6484" fmla="*/ 1063330 h 4167549"/>
              <a:gd name="connsiteX6485" fmla="*/ 9308467 w 10890933"/>
              <a:gd name="connsiteY6485" fmla="*/ 1074173 h 4167549"/>
              <a:gd name="connsiteX6486" fmla="*/ 9451396 w 10890933"/>
              <a:gd name="connsiteY6486" fmla="*/ 1121639 h 4167549"/>
              <a:gd name="connsiteX6487" fmla="*/ 9494107 w 10890933"/>
              <a:gd name="connsiteY6487" fmla="*/ 1133083 h 4167549"/>
              <a:gd name="connsiteX6488" fmla="*/ 9500359 w 10890933"/>
              <a:gd name="connsiteY6488" fmla="*/ 1143926 h 4167549"/>
              <a:gd name="connsiteX6489" fmla="*/ 9473401 w 10890933"/>
              <a:gd name="connsiteY6489" fmla="*/ 1145555 h 4167549"/>
              <a:gd name="connsiteX6490" fmla="*/ 9472293 w 10890933"/>
              <a:gd name="connsiteY6490" fmla="*/ 1145211 h 4167549"/>
              <a:gd name="connsiteX6491" fmla="*/ 9467830 w 10890933"/>
              <a:gd name="connsiteY6491" fmla="*/ 1132916 h 4167549"/>
              <a:gd name="connsiteX6492" fmla="*/ 9440560 w 10890933"/>
              <a:gd name="connsiteY6492" fmla="*/ 1127903 h 4167549"/>
              <a:gd name="connsiteX6493" fmla="*/ 9453505 w 10890933"/>
              <a:gd name="connsiteY6493" fmla="*/ 1139393 h 4167549"/>
              <a:gd name="connsiteX6494" fmla="*/ 9472293 w 10890933"/>
              <a:gd name="connsiteY6494" fmla="*/ 1145211 h 4167549"/>
              <a:gd name="connsiteX6495" fmla="*/ 9472439 w 10890933"/>
              <a:gd name="connsiteY6495" fmla="*/ 1145611 h 4167549"/>
              <a:gd name="connsiteX6496" fmla="*/ 9473401 w 10890933"/>
              <a:gd name="connsiteY6496" fmla="*/ 1145555 h 4167549"/>
              <a:gd name="connsiteX6497" fmla="*/ 9480982 w 10890933"/>
              <a:gd name="connsiteY6497" fmla="*/ 1147900 h 4167549"/>
              <a:gd name="connsiteX6498" fmla="*/ 9476398 w 10890933"/>
              <a:gd name="connsiteY6498" fmla="*/ 1165008 h 4167549"/>
              <a:gd name="connsiteX6499" fmla="*/ 10201870 w 10890933"/>
              <a:gd name="connsiteY6499" fmla="*/ 1396070 h 4167549"/>
              <a:gd name="connsiteX6500" fmla="*/ 10199578 w 10890933"/>
              <a:gd name="connsiteY6500" fmla="*/ 1404624 h 4167549"/>
              <a:gd name="connsiteX6501" fmla="*/ 10113089 w 10890933"/>
              <a:gd name="connsiteY6501" fmla="*/ 1381450 h 4167549"/>
              <a:gd name="connsiteX6502" fmla="*/ 10037273 w 10890933"/>
              <a:gd name="connsiteY6502" fmla="*/ 1361135 h 4167549"/>
              <a:gd name="connsiteX6503" fmla="*/ 10022481 w 10890933"/>
              <a:gd name="connsiteY6503" fmla="*/ 1348003 h 4167549"/>
              <a:gd name="connsiteX6504" fmla="*/ 9896012 w 10890933"/>
              <a:gd name="connsiteY6504" fmla="*/ 1341618 h 4167549"/>
              <a:gd name="connsiteX6505" fmla="*/ 10096445 w 10890933"/>
              <a:gd name="connsiteY6505" fmla="*/ 1413660 h 4167549"/>
              <a:gd name="connsiteX6506" fmla="*/ 10194370 w 10890933"/>
              <a:gd name="connsiteY6506" fmla="*/ 1458235 h 4167549"/>
              <a:gd name="connsiteX6507" fmla="*/ 10168741 w 10890933"/>
              <a:gd name="connsiteY6507" fmla="*/ 1451368 h 4167549"/>
              <a:gd name="connsiteX6508" fmla="*/ 10245623 w 10890933"/>
              <a:gd name="connsiteY6508" fmla="*/ 1471968 h 4167549"/>
              <a:gd name="connsiteX6509" fmla="*/ 10256456 w 10890933"/>
              <a:gd name="connsiteY6509" fmla="*/ 1465703 h 4167549"/>
              <a:gd name="connsiteX6510" fmla="*/ 10271249 w 10890933"/>
              <a:gd name="connsiteY6510" fmla="*/ 1478835 h 4167549"/>
              <a:gd name="connsiteX6511" fmla="*/ 10282085 w 10890933"/>
              <a:gd name="connsiteY6511" fmla="*/ 1472570 h 4167549"/>
              <a:gd name="connsiteX6512" fmla="*/ 10337296 w 10890933"/>
              <a:gd name="connsiteY6512" fmla="*/ 1505700 h 4167549"/>
              <a:gd name="connsiteX6513" fmla="*/ 10341880 w 10890933"/>
              <a:gd name="connsiteY6513" fmla="*/ 1488592 h 4167549"/>
              <a:gd name="connsiteX6514" fmla="*/ 10399386 w 10890933"/>
              <a:gd name="connsiteY6514" fmla="*/ 1513169 h 4167549"/>
              <a:gd name="connsiteX6515" fmla="*/ 10380009 w 10890933"/>
              <a:gd name="connsiteY6515" fmla="*/ 1517145 h 4167549"/>
              <a:gd name="connsiteX6516" fmla="*/ 10405635 w 10890933"/>
              <a:gd name="connsiteY6516" fmla="*/ 1524012 h 4167549"/>
              <a:gd name="connsiteX6517" fmla="*/ 10365607 w 10890933"/>
              <a:gd name="connsiteY6517" fmla="*/ 1528184 h 4167549"/>
              <a:gd name="connsiteX6518" fmla="*/ 10317919 w 10890933"/>
              <a:gd name="connsiteY6518" fmla="*/ 1509677 h 4167549"/>
              <a:gd name="connsiteX6519" fmla="*/ 10316773 w 10890933"/>
              <a:gd name="connsiteY6519" fmla="*/ 1513954 h 4167549"/>
              <a:gd name="connsiteX6520" fmla="*/ 10315627 w 10890933"/>
              <a:gd name="connsiteY6520" fmla="*/ 1518231 h 4167549"/>
              <a:gd name="connsiteX6521" fmla="*/ 10309379 w 10890933"/>
              <a:gd name="connsiteY6521" fmla="*/ 1507388 h 4167549"/>
              <a:gd name="connsiteX6522" fmla="*/ 10232496 w 10890933"/>
              <a:gd name="connsiteY6522" fmla="*/ 1486787 h 4167549"/>
              <a:gd name="connsiteX6523" fmla="*/ 10258124 w 10890933"/>
              <a:gd name="connsiteY6523" fmla="*/ 1493654 h 4167549"/>
              <a:gd name="connsiteX6524" fmla="*/ 10234788 w 10890933"/>
              <a:gd name="connsiteY6524" fmla="*/ 1478233 h 4167549"/>
              <a:gd name="connsiteX6525" fmla="*/ 10219370 w 10890933"/>
              <a:gd name="connsiteY6525" fmla="*/ 1501607 h 4167549"/>
              <a:gd name="connsiteX6526" fmla="*/ 10220802 w 10890933"/>
              <a:gd name="connsiteY6526" fmla="*/ 1496261 h 4167549"/>
              <a:gd name="connsiteX6527" fmla="*/ 10223887 w 10890933"/>
              <a:gd name="connsiteY6527" fmla="*/ 1484750 h 4167549"/>
              <a:gd name="connsiteX6528" fmla="*/ 10223830 w 10890933"/>
              <a:gd name="connsiteY6528" fmla="*/ 1484651 h 4167549"/>
              <a:gd name="connsiteX6529" fmla="*/ 10215465 w 10890933"/>
              <a:gd name="connsiteY6529" fmla="*/ 1494830 h 4167549"/>
              <a:gd name="connsiteX6530" fmla="*/ 10202286 w 10890933"/>
              <a:gd name="connsiteY6530" fmla="*/ 1497029 h 4167549"/>
              <a:gd name="connsiteX6531" fmla="*/ 10206870 w 10890933"/>
              <a:gd name="connsiteY6531" fmla="*/ 1479921 h 4167549"/>
              <a:gd name="connsiteX6532" fmla="*/ 10176658 w 10890933"/>
              <a:gd name="connsiteY6532" fmla="*/ 1490162 h 4167549"/>
              <a:gd name="connsiteX6533" fmla="*/ 10181242 w 10890933"/>
              <a:gd name="connsiteY6533" fmla="*/ 1473054 h 4167549"/>
              <a:gd name="connsiteX6534" fmla="*/ 10121446 w 10890933"/>
              <a:gd name="connsiteY6534" fmla="*/ 1457032 h 4167549"/>
              <a:gd name="connsiteX6535" fmla="*/ 10116862 w 10890933"/>
              <a:gd name="connsiteY6535" fmla="*/ 1474140 h 4167549"/>
              <a:gd name="connsiteX6536" fmla="*/ 10114570 w 10890933"/>
              <a:gd name="connsiteY6536" fmla="*/ 1482694 h 4167549"/>
              <a:gd name="connsiteX6537" fmla="*/ 10123114 w 10890933"/>
              <a:gd name="connsiteY6537" fmla="*/ 1484983 h 4167549"/>
              <a:gd name="connsiteX6538" fmla="*/ 10116862 w 10890933"/>
              <a:gd name="connsiteY6538" fmla="*/ 1474140 h 4167549"/>
              <a:gd name="connsiteX6539" fmla="*/ 10161864 w 10890933"/>
              <a:gd name="connsiteY6539" fmla="*/ 1477030 h 4167549"/>
              <a:gd name="connsiteX6540" fmla="*/ 10172074 w 10890933"/>
              <a:gd name="connsiteY6540" fmla="*/ 1507267 h 4167549"/>
              <a:gd name="connsiteX6541" fmla="*/ 10217078 w 10890933"/>
              <a:gd name="connsiteY6541" fmla="*/ 1510161 h 4167549"/>
              <a:gd name="connsiteX6542" fmla="*/ 10212495 w 10890933"/>
              <a:gd name="connsiteY6542" fmla="*/ 1527266 h 4167549"/>
              <a:gd name="connsiteX6543" fmla="*/ 10221036 w 10890933"/>
              <a:gd name="connsiteY6543" fmla="*/ 1529555 h 4167549"/>
              <a:gd name="connsiteX6544" fmla="*/ 10217078 w 10890933"/>
              <a:gd name="connsiteY6544" fmla="*/ 1510161 h 4167549"/>
              <a:gd name="connsiteX6545" fmla="*/ 10225620 w 10890933"/>
              <a:gd name="connsiteY6545" fmla="*/ 1512450 h 4167549"/>
              <a:gd name="connsiteX6546" fmla="*/ 10246664 w 10890933"/>
              <a:gd name="connsiteY6546" fmla="*/ 1536422 h 4167549"/>
              <a:gd name="connsiteX6547" fmla="*/ 10500641 w 10890933"/>
              <a:gd name="connsiteY6547" fmla="*/ 1613643 h 4167549"/>
              <a:gd name="connsiteX6548" fmla="*/ 10466471 w 10890933"/>
              <a:gd name="connsiteY6548" fmla="*/ 1604487 h 4167549"/>
              <a:gd name="connsiteX6549" fmla="*/ 10295627 w 10890933"/>
              <a:gd name="connsiteY6549" fmla="*/ 1558710 h 4167549"/>
              <a:gd name="connsiteX6550" fmla="*/ 9482436 w 10890933"/>
              <a:gd name="connsiteY6550" fmla="*/ 1313314 h 4167549"/>
              <a:gd name="connsiteX6551" fmla="*/ 9546192 w 10890933"/>
              <a:gd name="connsiteY6551" fmla="*/ 1348731 h 4167549"/>
              <a:gd name="connsiteX6552" fmla="*/ 9900386 w 10890933"/>
              <a:gd name="connsiteY6552" fmla="*/ 1461973 h 4167549"/>
              <a:gd name="connsiteX6553" fmla="*/ 9949348 w 10890933"/>
              <a:gd name="connsiteY6553" fmla="*/ 1484261 h 4167549"/>
              <a:gd name="connsiteX6554" fmla="*/ 9940807 w 10890933"/>
              <a:gd name="connsiteY6554" fmla="*/ 1481972 h 4167549"/>
              <a:gd name="connsiteX6555" fmla="*/ 9938671 w 10890933"/>
              <a:gd name="connsiteY6555" fmla="*/ 1481400 h 4167549"/>
              <a:gd name="connsiteX6556" fmla="*/ 9932263 w 10890933"/>
              <a:gd name="connsiteY6556" fmla="*/ 1479683 h 4167549"/>
              <a:gd name="connsiteX6557" fmla="*/ 9921430 w 10890933"/>
              <a:gd name="connsiteY6557" fmla="*/ 1485949 h 4167549"/>
              <a:gd name="connsiteX6558" fmla="*/ 9991433 w 10890933"/>
              <a:gd name="connsiteY6558" fmla="*/ 1532210 h 4167549"/>
              <a:gd name="connsiteX6559" fmla="*/ 9931639 w 10890933"/>
              <a:gd name="connsiteY6559" fmla="*/ 1516189 h 4167549"/>
              <a:gd name="connsiteX6560" fmla="*/ 9818298 w 10890933"/>
              <a:gd name="connsiteY6560" fmla="*/ 1494984 h 4167549"/>
              <a:gd name="connsiteX6561" fmla="*/ 9884342 w 10890933"/>
              <a:gd name="connsiteY6561" fmla="*/ 1521849 h 4167549"/>
              <a:gd name="connsiteX6562" fmla="*/ 10076234 w 10890933"/>
              <a:gd name="connsiteY6562" fmla="*/ 1591603 h 4167549"/>
              <a:gd name="connsiteX6563" fmla="*/ 9822254 w 10890933"/>
              <a:gd name="connsiteY6563" fmla="*/ 1514381 h 4167549"/>
              <a:gd name="connsiteX6564" fmla="*/ 9819962 w 10890933"/>
              <a:gd name="connsiteY6564" fmla="*/ 1522935 h 4167549"/>
              <a:gd name="connsiteX6565" fmla="*/ 10220826 w 10890933"/>
              <a:gd name="connsiteY6565" fmla="*/ 1667019 h 4167549"/>
              <a:gd name="connsiteX6566" fmla="*/ 10058521 w 10890933"/>
              <a:gd name="connsiteY6566" fmla="*/ 1623529 h 4167549"/>
              <a:gd name="connsiteX6567" fmla="*/ 10109776 w 10890933"/>
              <a:gd name="connsiteY6567" fmla="*/ 1637263 h 4167549"/>
              <a:gd name="connsiteX6568" fmla="*/ 10105192 w 10890933"/>
              <a:gd name="connsiteY6568" fmla="*/ 1654371 h 4167549"/>
              <a:gd name="connsiteX6569" fmla="*/ 10118317 w 10890933"/>
              <a:gd name="connsiteY6569" fmla="*/ 1639551 h 4167549"/>
              <a:gd name="connsiteX6570" fmla="*/ 10113733 w 10890933"/>
              <a:gd name="connsiteY6570" fmla="*/ 1656660 h 4167549"/>
              <a:gd name="connsiteX6571" fmla="*/ 10126861 w 10890933"/>
              <a:gd name="connsiteY6571" fmla="*/ 1641841 h 4167549"/>
              <a:gd name="connsiteX6572" fmla="*/ 10141654 w 10890933"/>
              <a:gd name="connsiteY6572" fmla="*/ 1654973 h 4167549"/>
              <a:gd name="connsiteX6573" fmla="*/ 10139362 w 10890933"/>
              <a:gd name="connsiteY6573" fmla="*/ 1663527 h 4167549"/>
              <a:gd name="connsiteX6574" fmla="*/ 10199156 w 10890933"/>
              <a:gd name="connsiteY6574" fmla="*/ 1679549 h 4167549"/>
              <a:gd name="connsiteX6575" fmla="*/ 10205409 w 10890933"/>
              <a:gd name="connsiteY6575" fmla="*/ 1690390 h 4167549"/>
              <a:gd name="connsiteX6576" fmla="*/ 10207700 w 10890933"/>
              <a:gd name="connsiteY6576" fmla="*/ 1681838 h 4167549"/>
              <a:gd name="connsiteX6577" fmla="*/ 10241870 w 10890933"/>
              <a:gd name="connsiteY6577" fmla="*/ 1690994 h 4167549"/>
              <a:gd name="connsiteX6578" fmla="*/ 10231035 w 10890933"/>
              <a:gd name="connsiteY6578" fmla="*/ 1697256 h 4167549"/>
              <a:gd name="connsiteX6579" fmla="*/ 10243536 w 10890933"/>
              <a:gd name="connsiteY6579" fmla="*/ 1718942 h 4167549"/>
              <a:gd name="connsiteX6580" fmla="*/ 10204782 w 10890933"/>
              <a:gd name="connsiteY6580" fmla="*/ 1726894 h 4167549"/>
              <a:gd name="connsiteX6581" fmla="*/ 10151235 w 10890933"/>
              <a:gd name="connsiteY6581" fmla="*/ 1721715 h 4167549"/>
              <a:gd name="connsiteX6582" fmla="*/ 10283330 w 10890933"/>
              <a:gd name="connsiteY6582" fmla="*/ 1775446 h 4167549"/>
              <a:gd name="connsiteX6583" fmla="*/ 10328438 w 10890933"/>
              <a:gd name="connsiteY6583" fmla="*/ 1803575 h 4167549"/>
              <a:gd name="connsiteX6584" fmla="*/ 10382851 w 10890933"/>
              <a:gd name="connsiteY6584" fmla="*/ 1820187 h 4167549"/>
              <a:gd name="connsiteX6585" fmla="*/ 10381254 w 10890933"/>
              <a:gd name="connsiteY6585" fmla="*/ 1820021 h 4167549"/>
              <a:gd name="connsiteX6586" fmla="*/ 10430217 w 10890933"/>
              <a:gd name="connsiteY6586" fmla="*/ 1842306 h 4167549"/>
              <a:gd name="connsiteX6587" fmla="*/ 10445009 w 10890933"/>
              <a:gd name="connsiteY6587" fmla="*/ 1855437 h 4167549"/>
              <a:gd name="connsiteX6588" fmla="*/ 10525849 w 10890933"/>
              <a:gd name="connsiteY6588" fmla="*/ 1895435 h 4167549"/>
              <a:gd name="connsiteX6589" fmla="*/ 10585020 w 10890933"/>
              <a:gd name="connsiteY6589" fmla="*/ 1947963 h 4167549"/>
              <a:gd name="connsiteX6590" fmla="*/ 10569003 w 10890933"/>
              <a:gd name="connsiteY6590" fmla="*/ 1943671 h 4167549"/>
              <a:gd name="connsiteX6591" fmla="*/ 10550850 w 10890933"/>
              <a:gd name="connsiteY6591" fmla="*/ 1938807 h 4167549"/>
              <a:gd name="connsiteX6592" fmla="*/ 10544599 w 10890933"/>
              <a:gd name="connsiteY6592" fmla="*/ 1927964 h 4167549"/>
              <a:gd name="connsiteX6593" fmla="*/ 10531474 w 10890933"/>
              <a:gd name="connsiteY6593" fmla="*/ 1942783 h 4167549"/>
              <a:gd name="connsiteX6594" fmla="*/ 10525222 w 10890933"/>
              <a:gd name="connsiteY6594" fmla="*/ 1931940 h 4167549"/>
              <a:gd name="connsiteX6595" fmla="*/ 10526082 w 10890933"/>
              <a:gd name="connsiteY6595" fmla="*/ 1931072 h 4167549"/>
              <a:gd name="connsiteX6596" fmla="*/ 10526443 w 10890933"/>
              <a:gd name="connsiteY6596" fmla="*/ 1931121 h 4167549"/>
              <a:gd name="connsiteX6597" fmla="*/ 10536058 w 10890933"/>
              <a:gd name="connsiteY6597" fmla="*/ 1925675 h 4167549"/>
              <a:gd name="connsiteX6598" fmla="*/ 10531500 w 10890933"/>
              <a:gd name="connsiteY6598" fmla="*/ 1925600 h 4167549"/>
              <a:gd name="connsiteX6599" fmla="*/ 10526082 w 10890933"/>
              <a:gd name="connsiteY6599" fmla="*/ 1931072 h 4167549"/>
              <a:gd name="connsiteX6600" fmla="*/ 10517747 w 10890933"/>
              <a:gd name="connsiteY6600" fmla="*/ 1929937 h 4167549"/>
              <a:gd name="connsiteX6601" fmla="*/ 10505845 w 10890933"/>
              <a:gd name="connsiteY6601" fmla="*/ 1935916 h 4167549"/>
              <a:gd name="connsiteX6602" fmla="*/ 10480220 w 10890933"/>
              <a:gd name="connsiteY6602" fmla="*/ 1929049 h 4167549"/>
              <a:gd name="connsiteX6603" fmla="*/ 10484804 w 10890933"/>
              <a:gd name="connsiteY6603" fmla="*/ 1911942 h 4167549"/>
              <a:gd name="connsiteX6604" fmla="*/ 10471676 w 10890933"/>
              <a:gd name="connsiteY6604" fmla="*/ 1926760 h 4167549"/>
              <a:gd name="connsiteX6605" fmla="*/ 10428965 w 10890933"/>
              <a:gd name="connsiteY6605" fmla="*/ 1915316 h 4167549"/>
              <a:gd name="connsiteX6606" fmla="*/ 10373751 w 10890933"/>
              <a:gd name="connsiteY6606" fmla="*/ 1882185 h 4167549"/>
              <a:gd name="connsiteX6607" fmla="*/ 10354377 w 10890933"/>
              <a:gd name="connsiteY6607" fmla="*/ 1886162 h 4167549"/>
              <a:gd name="connsiteX6608" fmla="*/ 10341877 w 10890933"/>
              <a:gd name="connsiteY6608" fmla="*/ 1864476 h 4167549"/>
              <a:gd name="connsiteX6609" fmla="*/ 10256453 w 10890933"/>
              <a:gd name="connsiteY6609" fmla="*/ 1841587 h 4167549"/>
              <a:gd name="connsiteX6610" fmla="*/ 10245617 w 10890933"/>
              <a:gd name="connsiteY6610" fmla="*/ 1847852 h 4167549"/>
              <a:gd name="connsiteX6611" fmla="*/ 10258118 w 10890933"/>
              <a:gd name="connsiteY6611" fmla="*/ 1869538 h 4167549"/>
              <a:gd name="connsiteX6612" fmla="*/ 10230200 w 10890933"/>
              <a:gd name="connsiteY6612" fmla="*/ 1871222 h 4167549"/>
              <a:gd name="connsiteX6613" fmla="*/ 10215407 w 10890933"/>
              <a:gd name="connsiteY6613" fmla="*/ 1858093 h 4167549"/>
              <a:gd name="connsiteX6614" fmla="*/ 10164153 w 10890933"/>
              <a:gd name="connsiteY6614" fmla="*/ 1844359 h 4167549"/>
              <a:gd name="connsiteX6615" fmla="*/ 10227908 w 10890933"/>
              <a:gd name="connsiteY6615" fmla="*/ 1879777 h 4167549"/>
              <a:gd name="connsiteX6616" fmla="*/ 10016643 w 10890933"/>
              <a:gd name="connsiteY6616" fmla="*/ 1814000 h 4167549"/>
              <a:gd name="connsiteX6617" fmla="*/ 10063310 w 10890933"/>
              <a:gd name="connsiteY6617" fmla="*/ 1844841 h 4167549"/>
              <a:gd name="connsiteX6618" fmla="*/ 10201656 w 10890933"/>
              <a:gd name="connsiteY6618" fmla="*/ 1909415 h 4167549"/>
              <a:gd name="connsiteX6619" fmla="*/ 10419171 w 10890933"/>
              <a:gd name="connsiteY6619" fmla="*/ 1986034 h 4167549"/>
              <a:gd name="connsiteX6620" fmla="*/ 10427715 w 10890933"/>
              <a:gd name="connsiteY6620" fmla="*/ 1988323 h 4167549"/>
              <a:gd name="connsiteX6621" fmla="*/ 10406045 w 10890933"/>
              <a:gd name="connsiteY6621" fmla="*/ 2000854 h 4167549"/>
              <a:gd name="connsiteX6622" fmla="*/ 10352500 w 10890933"/>
              <a:gd name="connsiteY6622" fmla="*/ 1995672 h 4167549"/>
              <a:gd name="connsiteX6623" fmla="*/ 10371250 w 10890933"/>
              <a:gd name="connsiteY6623" fmla="*/ 2028200 h 4167549"/>
              <a:gd name="connsiteX6624" fmla="*/ 10492510 w 10890933"/>
              <a:gd name="connsiteY6624" fmla="*/ 2088197 h 4167549"/>
              <a:gd name="connsiteX6625" fmla="*/ 10460006 w 10890933"/>
              <a:gd name="connsiteY6625" fmla="*/ 2106989 h 4167549"/>
              <a:gd name="connsiteX6626" fmla="*/ 10374582 w 10890933"/>
              <a:gd name="connsiteY6626" fmla="*/ 2084100 h 4167549"/>
              <a:gd name="connsiteX6627" fmla="*/ 10369998 w 10890933"/>
              <a:gd name="connsiteY6627" fmla="*/ 2101208 h 4167549"/>
              <a:gd name="connsiteX6628" fmla="*/ 10404168 w 10890933"/>
              <a:gd name="connsiteY6628" fmla="*/ 2110363 h 4167549"/>
              <a:gd name="connsiteX6629" fmla="*/ 10290826 w 10890933"/>
              <a:gd name="connsiteY6629" fmla="*/ 2089162 h 4167549"/>
              <a:gd name="connsiteX6630" fmla="*/ 10371666 w 10890933"/>
              <a:gd name="connsiteY6630" fmla="*/ 2129159 h 4167549"/>
              <a:gd name="connsiteX6631" fmla="*/ 10292494 w 10890933"/>
              <a:gd name="connsiteY6631" fmla="*/ 2117113 h 4167549"/>
              <a:gd name="connsiteX6632" fmla="*/ 10273117 w 10890933"/>
              <a:gd name="connsiteY6632" fmla="*/ 2121090 h 4167549"/>
              <a:gd name="connsiteX6633" fmla="*/ 10277074 w 10890933"/>
              <a:gd name="connsiteY6633" fmla="*/ 2140486 h 4167549"/>
              <a:gd name="connsiteX6634" fmla="*/ 10306660 w 10890933"/>
              <a:gd name="connsiteY6634" fmla="*/ 2166747 h 4167549"/>
              <a:gd name="connsiteX6635" fmla="*/ 10311244 w 10890933"/>
              <a:gd name="connsiteY6635" fmla="*/ 2149642 h 4167549"/>
              <a:gd name="connsiteX6636" fmla="*/ 10315201 w 10890933"/>
              <a:gd name="connsiteY6636" fmla="*/ 2169036 h 4167549"/>
              <a:gd name="connsiteX6637" fmla="*/ 10372708 w 10890933"/>
              <a:gd name="connsiteY6637" fmla="*/ 2193613 h 4167549"/>
              <a:gd name="connsiteX6638" fmla="*/ 10387500 w 10890933"/>
              <a:gd name="connsiteY6638" fmla="*/ 2206745 h 4167549"/>
              <a:gd name="connsiteX6639" fmla="*/ 10274158 w 10890933"/>
              <a:gd name="connsiteY6639" fmla="*/ 2185543 h 4167549"/>
              <a:gd name="connsiteX6640" fmla="*/ 10278116 w 10890933"/>
              <a:gd name="connsiteY6640" fmla="*/ 2204940 h 4167549"/>
              <a:gd name="connsiteX6641" fmla="*/ 10259390 w 10890933"/>
              <a:gd name="connsiteY6641" fmla="*/ 2202214 h 4167549"/>
              <a:gd name="connsiteX6642" fmla="*/ 10257036 w 10890933"/>
              <a:gd name="connsiteY6642" fmla="*/ 2214420 h 4167549"/>
              <a:gd name="connsiteX6643" fmla="*/ 10252490 w 10890933"/>
              <a:gd name="connsiteY6643" fmla="*/ 2198073 h 4167549"/>
              <a:gd name="connsiteX6644" fmla="*/ 10256446 w 10890933"/>
              <a:gd name="connsiteY6644" fmla="*/ 2217470 h 4167549"/>
              <a:gd name="connsiteX6645" fmla="*/ 10257036 w 10890933"/>
              <a:gd name="connsiteY6645" fmla="*/ 2214420 h 4167549"/>
              <a:gd name="connsiteX6646" fmla="*/ 10260067 w 10890933"/>
              <a:gd name="connsiteY6646" fmla="*/ 2225314 h 4167549"/>
              <a:gd name="connsiteX6647" fmla="*/ 10303117 w 10890933"/>
              <a:gd name="connsiteY6647" fmla="*/ 2248309 h 4167549"/>
              <a:gd name="connsiteX6648" fmla="*/ 10275197 w 10890933"/>
              <a:gd name="connsiteY6648" fmla="*/ 2249996 h 4167549"/>
              <a:gd name="connsiteX6649" fmla="*/ 10053098 w 10890933"/>
              <a:gd name="connsiteY6649" fmla="*/ 2190485 h 4167549"/>
              <a:gd name="connsiteX6650" fmla="*/ 9978507 w 10890933"/>
              <a:gd name="connsiteY6650" fmla="*/ 2161330 h 4167549"/>
              <a:gd name="connsiteX6651" fmla="*/ 9901627 w 10890933"/>
              <a:gd name="connsiteY6651" fmla="*/ 2140730 h 4167549"/>
              <a:gd name="connsiteX6652" fmla="*/ 9813911 w 10890933"/>
              <a:gd name="connsiteY6652" fmla="*/ 2126395 h 4167549"/>
              <a:gd name="connsiteX6653" fmla="*/ 9816203 w 10890933"/>
              <a:gd name="connsiteY6653" fmla="*/ 2117841 h 4167549"/>
              <a:gd name="connsiteX6654" fmla="*/ 9724530 w 10890933"/>
              <a:gd name="connsiteY6654" fmla="*/ 2084109 h 4167549"/>
              <a:gd name="connsiteX6655" fmla="*/ 9677233 w 10890933"/>
              <a:gd name="connsiteY6655" fmla="*/ 2089772 h 4167549"/>
              <a:gd name="connsiteX6656" fmla="*/ 9700570 w 10890933"/>
              <a:gd name="connsiteY6656" fmla="*/ 2105193 h 4167549"/>
              <a:gd name="connsiteX6657" fmla="*/ 9775158 w 10890933"/>
              <a:gd name="connsiteY6657" fmla="*/ 2134347 h 4167549"/>
              <a:gd name="connsiteX6658" fmla="*/ 9732447 w 10890933"/>
              <a:gd name="connsiteY6658" fmla="*/ 2122903 h 4167549"/>
              <a:gd name="connsiteX6659" fmla="*/ 9715362 w 10890933"/>
              <a:gd name="connsiteY6659" fmla="*/ 2118325 h 4167549"/>
              <a:gd name="connsiteX6660" fmla="*/ 9531390 w 10890933"/>
              <a:gd name="connsiteY6660" fmla="*/ 2087366 h 4167549"/>
              <a:gd name="connsiteX6661" fmla="*/ 9640148 w 10890933"/>
              <a:gd name="connsiteY6661" fmla="*/ 2125676 h 4167549"/>
              <a:gd name="connsiteX6662" fmla="*/ 9832037 w 10890933"/>
              <a:gd name="connsiteY6662" fmla="*/ 2195429 h 4167549"/>
              <a:gd name="connsiteX6663" fmla="*/ 9821204 w 10890933"/>
              <a:gd name="connsiteY6663" fmla="*/ 2201691 h 4167549"/>
              <a:gd name="connsiteX6664" fmla="*/ 10030178 w 10890933"/>
              <a:gd name="connsiteY6664" fmla="*/ 2276022 h 4167549"/>
              <a:gd name="connsiteX6665" fmla="*/ 10021010 w 10890933"/>
              <a:gd name="connsiteY6665" fmla="*/ 2310239 h 4167549"/>
              <a:gd name="connsiteX6666" fmla="*/ 9880375 w 10890933"/>
              <a:gd name="connsiteY6666" fmla="*/ 2254219 h 4167549"/>
              <a:gd name="connsiteX6667" fmla="*/ 9735153 w 10890933"/>
              <a:gd name="connsiteY6667" fmla="*/ 2215307 h 4167549"/>
              <a:gd name="connsiteX6668" fmla="*/ 9730569 w 10890933"/>
              <a:gd name="connsiteY6668" fmla="*/ 2232415 h 4167549"/>
              <a:gd name="connsiteX6669" fmla="*/ 9696400 w 10890933"/>
              <a:gd name="connsiteY6669" fmla="*/ 2223259 h 4167549"/>
              <a:gd name="connsiteX6670" fmla="*/ 9645145 w 10890933"/>
              <a:gd name="connsiteY6670" fmla="*/ 2209526 h 4167549"/>
              <a:gd name="connsiteX6671" fmla="*/ 9659938 w 10890933"/>
              <a:gd name="connsiteY6671" fmla="*/ 2222658 h 4167549"/>
              <a:gd name="connsiteX6672" fmla="*/ 9635565 w 10890933"/>
              <a:gd name="connsiteY6672" fmla="*/ 2225709 h 4167549"/>
              <a:gd name="connsiteX6673" fmla="*/ 9599126 w 10890933"/>
              <a:gd name="connsiteY6673" fmla="*/ 2218970 h 4167549"/>
              <a:gd name="connsiteX6674" fmla="*/ 9590975 w 10890933"/>
              <a:gd name="connsiteY6674" fmla="*/ 2240849 h 4167549"/>
              <a:gd name="connsiteX6675" fmla="*/ 9601811 w 10890933"/>
              <a:gd name="connsiteY6675" fmla="*/ 2234584 h 4167549"/>
              <a:gd name="connsiteX6676" fmla="*/ 9597227 w 10890933"/>
              <a:gd name="connsiteY6676" fmla="*/ 2251692 h 4167549"/>
              <a:gd name="connsiteX6677" fmla="*/ 9580142 w 10890933"/>
              <a:gd name="connsiteY6677" fmla="*/ 2247115 h 4167549"/>
              <a:gd name="connsiteX6678" fmla="*/ 9544304 w 10890933"/>
              <a:gd name="connsiteY6678" fmla="*/ 2210010 h 4167549"/>
              <a:gd name="connsiteX6679" fmla="*/ 9531179 w 10890933"/>
              <a:gd name="connsiteY6679" fmla="*/ 2224827 h 4167549"/>
              <a:gd name="connsiteX6680" fmla="*/ 9527219 w 10890933"/>
              <a:gd name="connsiteY6680" fmla="*/ 2205432 h 4167549"/>
              <a:gd name="connsiteX6681" fmla="*/ 9522636 w 10890933"/>
              <a:gd name="connsiteY6681" fmla="*/ 2222538 h 4167549"/>
              <a:gd name="connsiteX6682" fmla="*/ 9443464 w 10890933"/>
              <a:gd name="connsiteY6682" fmla="*/ 2210492 h 4167549"/>
              <a:gd name="connsiteX6683" fmla="*/ 9449713 w 10890933"/>
              <a:gd name="connsiteY6683" fmla="*/ 2221334 h 4167549"/>
              <a:gd name="connsiteX6684" fmla="*/ 9428044 w 10890933"/>
              <a:gd name="connsiteY6684" fmla="*/ 2233865 h 4167549"/>
              <a:gd name="connsiteX6685" fmla="*/ 9519719 w 10890933"/>
              <a:gd name="connsiteY6685" fmla="*/ 2267597 h 4167549"/>
              <a:gd name="connsiteX6686" fmla="*/ 9536804 w 10890933"/>
              <a:gd name="connsiteY6686" fmla="*/ 2272175 h 4167549"/>
              <a:gd name="connsiteX6687" fmla="*/ 9685980 w 10890933"/>
              <a:gd name="connsiteY6687" fmla="*/ 2330483 h 4167549"/>
              <a:gd name="connsiteX6688" fmla="*/ 9649519 w 10890933"/>
              <a:gd name="connsiteY6688" fmla="*/ 2329879 h 4167549"/>
              <a:gd name="connsiteX6689" fmla="*/ 9679105 w 10890933"/>
              <a:gd name="connsiteY6689" fmla="*/ 2356142 h 4167549"/>
              <a:gd name="connsiteX6690" fmla="*/ 9644935 w 10890933"/>
              <a:gd name="connsiteY6690" fmla="*/ 2346987 h 4167549"/>
              <a:gd name="connsiteX6691" fmla="*/ 9507816 w 10890933"/>
              <a:gd name="connsiteY6691" fmla="*/ 2320561 h 4167549"/>
              <a:gd name="connsiteX6692" fmla="*/ 9437760 w 10890933"/>
              <a:gd name="connsiteY6692" fmla="*/ 2311344 h 4167549"/>
              <a:gd name="connsiteX6693" fmla="*/ 9435337 w 10890933"/>
              <a:gd name="connsiteY6693" fmla="*/ 2309161 h 4167549"/>
              <a:gd name="connsiteX6694" fmla="*/ 9434855 w 10890933"/>
              <a:gd name="connsiteY6694" fmla="*/ 2310962 h 4167549"/>
              <a:gd name="connsiteX6695" fmla="*/ 9381790 w 10890933"/>
              <a:gd name="connsiteY6695" fmla="*/ 2303982 h 4167549"/>
              <a:gd name="connsiteX6696" fmla="*/ 9430753 w 10890933"/>
              <a:gd name="connsiteY6696" fmla="*/ 2326270 h 4167549"/>
              <a:gd name="connsiteX6697" fmla="*/ 9434855 w 10890933"/>
              <a:gd name="connsiteY6697" fmla="*/ 2310962 h 4167549"/>
              <a:gd name="connsiteX6698" fmla="*/ 9437760 w 10890933"/>
              <a:gd name="connsiteY6698" fmla="*/ 2311344 h 4167549"/>
              <a:gd name="connsiteX6699" fmla="*/ 9460691 w 10890933"/>
              <a:gd name="connsiteY6699" fmla="*/ 2332000 h 4167549"/>
              <a:gd name="connsiteX6700" fmla="*/ 9614099 w 10890933"/>
              <a:gd name="connsiteY6700" fmla="*/ 2393733 h 4167549"/>
              <a:gd name="connsiteX6701" fmla="*/ 9622642 w 10890933"/>
              <a:gd name="connsiteY6701" fmla="*/ 2396022 h 4167549"/>
              <a:gd name="connsiteX6702" fmla="*/ 9594721 w 10890933"/>
              <a:gd name="connsiteY6702" fmla="*/ 2397709 h 4167549"/>
              <a:gd name="connsiteX6703" fmla="*/ 9609515 w 10890933"/>
              <a:gd name="connsiteY6703" fmla="*/ 2410839 h 4167549"/>
              <a:gd name="connsiteX6704" fmla="*/ 9559929 w 10890933"/>
              <a:gd name="connsiteY6704" fmla="*/ 2425057 h 4167549"/>
              <a:gd name="connsiteX6705" fmla="*/ 9585554 w 10890933"/>
              <a:gd name="connsiteY6705" fmla="*/ 2431923 h 4167549"/>
              <a:gd name="connsiteX6706" fmla="*/ 9625975 w 10890933"/>
              <a:gd name="connsiteY6706" fmla="*/ 2451922 h 4167549"/>
              <a:gd name="connsiteX6707" fmla="*/ 9604306 w 10890933"/>
              <a:gd name="connsiteY6707" fmla="*/ 2464452 h 4167549"/>
              <a:gd name="connsiteX6708" fmla="*/ 9632225 w 10890933"/>
              <a:gd name="connsiteY6708" fmla="*/ 2462765 h 4167549"/>
              <a:gd name="connsiteX6709" fmla="*/ 9647017 w 10890933"/>
              <a:gd name="connsiteY6709" fmla="*/ 2475896 h 4167549"/>
              <a:gd name="connsiteX6710" fmla="*/ 9649309 w 10890933"/>
              <a:gd name="connsiteY6710" fmla="*/ 2467342 h 4167549"/>
              <a:gd name="connsiteX6711" fmla="*/ 9664102 w 10890933"/>
              <a:gd name="connsiteY6711" fmla="*/ 2480474 h 4167549"/>
              <a:gd name="connsiteX6712" fmla="*/ 9644725 w 10890933"/>
              <a:gd name="connsiteY6712" fmla="*/ 2484450 h 4167549"/>
              <a:gd name="connsiteX6713" fmla="*/ 9659518 w 10890933"/>
              <a:gd name="connsiteY6713" fmla="*/ 2497582 h 4167549"/>
              <a:gd name="connsiteX6714" fmla="*/ 9681186 w 10890933"/>
              <a:gd name="connsiteY6714" fmla="*/ 2485052 h 4167549"/>
              <a:gd name="connsiteX6715" fmla="*/ 9676602 w 10890933"/>
              <a:gd name="connsiteY6715" fmla="*/ 2502160 h 4167549"/>
              <a:gd name="connsiteX6716" fmla="*/ 9657227 w 10890933"/>
              <a:gd name="connsiteY6716" fmla="*/ 2506134 h 4167549"/>
              <a:gd name="connsiteX6717" fmla="*/ 9531383 w 10890933"/>
              <a:gd name="connsiteY6717" fmla="*/ 2463249 h 4167549"/>
              <a:gd name="connsiteX6718" fmla="*/ 9521868 w 10890933"/>
              <a:gd name="connsiteY6718" fmla="*/ 2461174 h 4167549"/>
              <a:gd name="connsiteX6719" fmla="*/ 9521908 w 10890933"/>
              <a:gd name="connsiteY6719" fmla="*/ 2461246 h 4167549"/>
              <a:gd name="connsiteX6720" fmla="*/ 9520676 w 10890933"/>
              <a:gd name="connsiteY6720" fmla="*/ 2460916 h 4167549"/>
              <a:gd name="connsiteX6721" fmla="*/ 9371345 w 10890933"/>
              <a:gd name="connsiteY6721" fmla="*/ 2428388 h 4167549"/>
              <a:gd name="connsiteX6722" fmla="*/ 9213025 w 10890933"/>
              <a:gd name="connsiteY6722" fmla="*/ 2387111 h 4167549"/>
              <a:gd name="connsiteX6723" fmla="*/ 9260322 w 10890933"/>
              <a:gd name="connsiteY6723" fmla="*/ 2381450 h 4167549"/>
              <a:gd name="connsiteX6724" fmla="*/ 9172606 w 10890933"/>
              <a:gd name="connsiteY6724" fmla="*/ 2367115 h 4167549"/>
              <a:gd name="connsiteX6725" fmla="*/ 9178856 w 10890933"/>
              <a:gd name="connsiteY6725" fmla="*/ 2377955 h 4167549"/>
              <a:gd name="connsiteX6726" fmla="*/ 9125310 w 10890933"/>
              <a:gd name="connsiteY6726" fmla="*/ 2372775 h 4167549"/>
              <a:gd name="connsiteX6727" fmla="*/ 9225526 w 10890933"/>
              <a:gd name="connsiteY6727" fmla="*/ 2408796 h 4167549"/>
              <a:gd name="connsiteX6728" fmla="*/ 9238027 w 10890933"/>
              <a:gd name="connsiteY6728" fmla="*/ 2430482 h 4167549"/>
              <a:gd name="connsiteX6729" fmla="*/ 9251154 w 10890933"/>
              <a:gd name="connsiteY6729" fmla="*/ 2415664 h 4167549"/>
              <a:gd name="connsiteX6730" fmla="*/ 9263653 w 10890933"/>
              <a:gd name="connsiteY6730" fmla="*/ 2437349 h 4167549"/>
              <a:gd name="connsiteX6731" fmla="*/ 9227193 w 10890933"/>
              <a:gd name="connsiteY6731" fmla="*/ 2436748 h 4167549"/>
              <a:gd name="connsiteX6732" fmla="*/ 9225082 w 10890933"/>
              <a:gd name="connsiteY6732" fmla="*/ 2444628 h 4167549"/>
              <a:gd name="connsiteX6733" fmla="*/ 9057830 w 10890933"/>
              <a:gd name="connsiteY6733" fmla="*/ 2398244 h 4167549"/>
              <a:gd name="connsiteX6734" fmla="*/ 8810910 w 10890933"/>
              <a:gd name="connsiteY6734" fmla="*/ 2316037 h 4167549"/>
              <a:gd name="connsiteX6735" fmla="*/ 8659440 w 10890933"/>
              <a:gd name="connsiteY6735" fmla="*/ 2266283 h 4167549"/>
              <a:gd name="connsiteX6736" fmla="*/ 8644647 w 10890933"/>
              <a:gd name="connsiteY6736" fmla="*/ 2253150 h 4167549"/>
              <a:gd name="connsiteX6737" fmla="*/ 8608185 w 10890933"/>
              <a:gd name="connsiteY6737" fmla="*/ 2252549 h 4167549"/>
              <a:gd name="connsiteX6738" fmla="*/ 8462966 w 10890933"/>
              <a:gd name="connsiteY6738" fmla="*/ 2213637 h 4167549"/>
              <a:gd name="connsiteX6739" fmla="*/ 8183361 w 10890933"/>
              <a:gd name="connsiteY6739" fmla="*/ 2129550 h 4167549"/>
              <a:gd name="connsiteX6740" fmla="*/ 7958968 w 10890933"/>
              <a:gd name="connsiteY6740" fmla="*/ 2078592 h 4167549"/>
              <a:gd name="connsiteX6741" fmla="*/ 7945842 w 10890933"/>
              <a:gd name="connsiteY6741" fmla="*/ 2093411 h 4167549"/>
              <a:gd name="connsiteX6742" fmla="*/ 7950427 w 10890933"/>
              <a:gd name="connsiteY6742" fmla="*/ 2076303 h 4167549"/>
              <a:gd name="connsiteX6743" fmla="*/ 7899172 w 10890933"/>
              <a:gd name="connsiteY6743" fmla="*/ 2062569 h 4167549"/>
              <a:gd name="connsiteX6744" fmla="*/ 7905421 w 10890933"/>
              <a:gd name="connsiteY6744" fmla="*/ 2073412 h 4167549"/>
              <a:gd name="connsiteX6745" fmla="*/ 7894588 w 10890933"/>
              <a:gd name="connsiteY6745" fmla="*/ 2079677 h 4167549"/>
              <a:gd name="connsiteX6746" fmla="*/ 7900837 w 10890933"/>
              <a:gd name="connsiteY6746" fmla="*/ 2090520 h 4167549"/>
              <a:gd name="connsiteX6747" fmla="*/ 7877503 w 10890933"/>
              <a:gd name="connsiteY6747" fmla="*/ 2075099 h 4167549"/>
              <a:gd name="connsiteX6748" fmla="*/ 7854167 w 10890933"/>
              <a:gd name="connsiteY6748" fmla="*/ 2059678 h 4167549"/>
              <a:gd name="connsiteX6749" fmla="*/ 7834790 w 10890933"/>
              <a:gd name="connsiteY6749" fmla="*/ 2063655 h 4167549"/>
              <a:gd name="connsiteX6750" fmla="*/ 7837031 w 10890933"/>
              <a:gd name="connsiteY6750" fmla="*/ 2072187 h 4167549"/>
              <a:gd name="connsiteX6751" fmla="*/ 7826171 w 10890933"/>
              <a:gd name="connsiteY6751" fmla="*/ 2065929 h 4167549"/>
              <a:gd name="connsiteX6752" fmla="*/ 7817706 w 10890933"/>
              <a:gd name="connsiteY6752" fmla="*/ 2059077 h 4167549"/>
              <a:gd name="connsiteX6753" fmla="*/ 7821665 w 10890933"/>
              <a:gd name="connsiteY6753" fmla="*/ 2078474 h 4167549"/>
              <a:gd name="connsiteX6754" fmla="*/ 7785203 w 10890933"/>
              <a:gd name="connsiteY6754" fmla="*/ 2077873 h 4167549"/>
              <a:gd name="connsiteX6755" fmla="*/ 7774368 w 10890933"/>
              <a:gd name="connsiteY6755" fmla="*/ 2084137 h 4167549"/>
              <a:gd name="connsiteX6756" fmla="*/ 7770411 w 10890933"/>
              <a:gd name="connsiteY6756" fmla="*/ 2064740 h 4167549"/>
              <a:gd name="connsiteX6757" fmla="*/ 7787496 w 10890933"/>
              <a:gd name="connsiteY6757" fmla="*/ 2069318 h 4167549"/>
              <a:gd name="connsiteX6758" fmla="*/ 7719157 w 10890933"/>
              <a:gd name="connsiteY6758" fmla="*/ 2051007 h 4167549"/>
              <a:gd name="connsiteX6759" fmla="*/ 7729992 w 10890933"/>
              <a:gd name="connsiteY6759" fmla="*/ 2044742 h 4167549"/>
              <a:gd name="connsiteX6760" fmla="*/ 7661653 w 10890933"/>
              <a:gd name="connsiteY6760" fmla="*/ 2026431 h 4167549"/>
              <a:gd name="connsiteX6761" fmla="*/ 7714573 w 10890933"/>
              <a:gd name="connsiteY6761" fmla="*/ 2068115 h 4167549"/>
              <a:gd name="connsiteX6762" fmla="*/ 7654777 w 10890933"/>
              <a:gd name="connsiteY6762" fmla="*/ 2052093 h 4167549"/>
              <a:gd name="connsiteX6763" fmla="*/ 7669571 w 10890933"/>
              <a:gd name="connsiteY6763" fmla="*/ 2065222 h 4167549"/>
              <a:gd name="connsiteX6764" fmla="*/ 7650194 w 10890933"/>
              <a:gd name="connsiteY6764" fmla="*/ 2069198 h 4167549"/>
              <a:gd name="connsiteX6765" fmla="*/ 7716241 w 10890933"/>
              <a:gd name="connsiteY6765" fmla="*/ 2096064 h 4167549"/>
              <a:gd name="connsiteX6766" fmla="*/ 7795413 w 10890933"/>
              <a:gd name="connsiteY6766" fmla="*/ 2108110 h 4167549"/>
              <a:gd name="connsiteX6767" fmla="*/ 7825622 w 10890933"/>
              <a:gd name="connsiteY6767" fmla="*/ 2097871 h 4167549"/>
              <a:gd name="connsiteX6768" fmla="*/ 7838123 w 10890933"/>
              <a:gd name="connsiteY6768" fmla="*/ 2119554 h 4167549"/>
              <a:gd name="connsiteX6769" fmla="*/ 7810206 w 10890933"/>
              <a:gd name="connsiteY6769" fmla="*/ 2121242 h 4167549"/>
              <a:gd name="connsiteX6770" fmla="*/ 7966260 w 10890933"/>
              <a:gd name="connsiteY6770" fmla="*/ 2153888 h 4167549"/>
              <a:gd name="connsiteX6771" fmla="*/ 7981053 w 10890933"/>
              <a:gd name="connsiteY6771" fmla="*/ 2167020 h 4167549"/>
              <a:gd name="connsiteX6772" fmla="*/ 8245865 w 10890933"/>
              <a:gd name="connsiteY6772" fmla="*/ 2237976 h 4167549"/>
              <a:gd name="connsiteX6773" fmla="*/ 8243573 w 10890933"/>
              <a:gd name="connsiteY6773" fmla="*/ 2246530 h 4167549"/>
              <a:gd name="connsiteX6774" fmla="*/ 8254406 w 10890933"/>
              <a:gd name="connsiteY6774" fmla="*/ 2240265 h 4167549"/>
              <a:gd name="connsiteX6775" fmla="*/ 8416710 w 10890933"/>
              <a:gd name="connsiteY6775" fmla="*/ 2283754 h 4167549"/>
              <a:gd name="connsiteX6776" fmla="*/ 8414418 w 10890933"/>
              <a:gd name="connsiteY6776" fmla="*/ 2292308 h 4167549"/>
              <a:gd name="connsiteX6777" fmla="*/ 8450879 w 10890933"/>
              <a:gd name="connsiteY6777" fmla="*/ 2292910 h 4167549"/>
              <a:gd name="connsiteX6778" fmla="*/ 8454839 w 10890933"/>
              <a:gd name="connsiteY6778" fmla="*/ 2312307 h 4167549"/>
              <a:gd name="connsiteX6779" fmla="*/ 8467964 w 10890933"/>
              <a:gd name="connsiteY6779" fmla="*/ 2297488 h 4167549"/>
              <a:gd name="connsiteX6780" fmla="*/ 8636520 w 10890933"/>
              <a:gd name="connsiteY6780" fmla="*/ 2351820 h 4167549"/>
              <a:gd name="connsiteX6781" fmla="*/ 8717360 w 10890933"/>
              <a:gd name="connsiteY6781" fmla="*/ 2391817 h 4167549"/>
              <a:gd name="connsiteX6782" fmla="*/ 8742986 w 10890933"/>
              <a:gd name="connsiteY6782" fmla="*/ 2398684 h 4167549"/>
              <a:gd name="connsiteX6783" fmla="*/ 8751529 w 10890933"/>
              <a:gd name="connsiteY6783" fmla="*/ 2400973 h 4167549"/>
              <a:gd name="connsiteX6784" fmla="*/ 8757778 w 10890933"/>
              <a:gd name="connsiteY6784" fmla="*/ 2411816 h 4167549"/>
              <a:gd name="connsiteX6785" fmla="*/ 8772570 w 10890933"/>
              <a:gd name="connsiteY6785" fmla="*/ 2424948 h 4167549"/>
              <a:gd name="connsiteX6786" fmla="*/ 8689439 w 10890933"/>
              <a:gd name="connsiteY6786" fmla="*/ 2393504 h 4167549"/>
              <a:gd name="connsiteX6787" fmla="*/ 8426919 w 10890933"/>
              <a:gd name="connsiteY6787" fmla="*/ 2313994 h 4167549"/>
              <a:gd name="connsiteX6788" fmla="*/ 8392749 w 10890933"/>
              <a:gd name="connsiteY6788" fmla="*/ 2304838 h 4167549"/>
              <a:gd name="connsiteX6789" fmla="*/ 8384208 w 10890933"/>
              <a:gd name="connsiteY6789" fmla="*/ 2302550 h 4167549"/>
              <a:gd name="connsiteX6790" fmla="*/ 8375664 w 10890933"/>
              <a:gd name="connsiteY6790" fmla="*/ 2300261 h 4167549"/>
              <a:gd name="connsiteX6791" fmla="*/ 8068142 w 10890933"/>
              <a:gd name="connsiteY6791" fmla="*/ 2217860 h 4167549"/>
              <a:gd name="connsiteX6792" fmla="*/ 8059598 w 10890933"/>
              <a:gd name="connsiteY6792" fmla="*/ 2215571 h 4167549"/>
              <a:gd name="connsiteX6793" fmla="*/ 8033972 w 10890933"/>
              <a:gd name="connsiteY6793" fmla="*/ 2208704 h 4167549"/>
              <a:gd name="connsiteX6794" fmla="*/ 8055641 w 10890933"/>
              <a:gd name="connsiteY6794" fmla="*/ 2196174 h 4167549"/>
              <a:gd name="connsiteX6795" fmla="*/ 8014595 w 10890933"/>
              <a:gd name="connsiteY6795" fmla="*/ 2212681 h 4167549"/>
              <a:gd name="connsiteX6796" fmla="*/ 8016887 w 10890933"/>
              <a:gd name="connsiteY6796" fmla="*/ 2204126 h 4167549"/>
              <a:gd name="connsiteX6797" fmla="*/ 7753740 w 10890933"/>
              <a:gd name="connsiteY6797" fmla="*/ 2161121 h 4167549"/>
              <a:gd name="connsiteX6798" fmla="*/ 7894378 w 10890933"/>
              <a:gd name="connsiteY6798" fmla="*/ 2217139 h 4167549"/>
              <a:gd name="connsiteX6799" fmla="*/ 7920004 w 10890933"/>
              <a:gd name="connsiteY6799" fmla="*/ 2224005 h 4167549"/>
              <a:gd name="connsiteX6800" fmla="*/ 7907503 w 10890933"/>
              <a:gd name="connsiteY6800" fmla="*/ 2202321 h 4167549"/>
              <a:gd name="connsiteX6801" fmla="*/ 8069806 w 10890933"/>
              <a:gd name="connsiteY6801" fmla="*/ 2245811 h 4167549"/>
              <a:gd name="connsiteX6802" fmla="*/ 8082308 w 10890933"/>
              <a:gd name="connsiteY6802" fmla="*/ 2267494 h 4167549"/>
              <a:gd name="connsiteX6803" fmla="*/ 8062931 w 10890933"/>
              <a:gd name="connsiteY6803" fmla="*/ 2271470 h 4167549"/>
              <a:gd name="connsiteX6804" fmla="*/ 8052098 w 10890933"/>
              <a:gd name="connsiteY6804" fmla="*/ 2277736 h 4167549"/>
              <a:gd name="connsiteX6805" fmla="*/ 8086267 w 10890933"/>
              <a:gd name="connsiteY6805" fmla="*/ 2286891 h 4167549"/>
              <a:gd name="connsiteX6806" fmla="*/ 8097100 w 10890933"/>
              <a:gd name="connsiteY6806" fmla="*/ 2280626 h 4167549"/>
              <a:gd name="connsiteX6807" fmla="*/ 8090851 w 10890933"/>
              <a:gd name="connsiteY6807" fmla="*/ 2269783 h 4167549"/>
              <a:gd name="connsiteX6808" fmla="*/ 8146689 w 10890933"/>
              <a:gd name="connsiteY6808" fmla="*/ 2266411 h 4167549"/>
              <a:gd name="connsiteX6809" fmla="*/ 8163774 w 10890933"/>
              <a:gd name="connsiteY6809" fmla="*/ 2270989 h 4167549"/>
              <a:gd name="connsiteX6810" fmla="*/ 8204193 w 10890933"/>
              <a:gd name="connsiteY6810" fmla="*/ 2290985 h 4167549"/>
              <a:gd name="connsiteX6811" fmla="*/ 8173983 w 10890933"/>
              <a:gd name="connsiteY6811" fmla="*/ 2301226 h 4167549"/>
              <a:gd name="connsiteX6812" fmla="*/ 8165440 w 10890933"/>
              <a:gd name="connsiteY6812" fmla="*/ 2298937 h 4167549"/>
              <a:gd name="connsiteX6813" fmla="*/ 8128978 w 10890933"/>
              <a:gd name="connsiteY6813" fmla="*/ 2298336 h 4167549"/>
              <a:gd name="connsiteX6814" fmla="*/ 8419419 w 10890933"/>
              <a:gd name="connsiteY6814" fmla="*/ 2376159 h 4167549"/>
              <a:gd name="connsiteX6815" fmla="*/ 8417127 w 10890933"/>
              <a:gd name="connsiteY6815" fmla="*/ 2384713 h 4167549"/>
              <a:gd name="connsiteX6816" fmla="*/ 8688188 w 10890933"/>
              <a:gd name="connsiteY6816" fmla="*/ 2466512 h 4167549"/>
              <a:gd name="connsiteX6817" fmla="*/ 8814033 w 10890933"/>
              <a:gd name="connsiteY6817" fmla="*/ 2509400 h 4167549"/>
              <a:gd name="connsiteX6818" fmla="*/ 8899457 w 10890933"/>
              <a:gd name="connsiteY6818" fmla="*/ 2532289 h 4167549"/>
              <a:gd name="connsiteX6819" fmla="*/ 8880080 w 10890933"/>
              <a:gd name="connsiteY6819" fmla="*/ 2536266 h 4167549"/>
              <a:gd name="connsiteX6820" fmla="*/ 8888621 w 10890933"/>
              <a:gd name="connsiteY6820" fmla="*/ 2538554 h 4167549"/>
              <a:gd name="connsiteX6821" fmla="*/ 8877788 w 10890933"/>
              <a:gd name="connsiteY6821" fmla="*/ 2544820 h 4167549"/>
              <a:gd name="connsiteX6822" fmla="*/ 8871536 w 10890933"/>
              <a:gd name="connsiteY6822" fmla="*/ 2533976 h 4167549"/>
              <a:gd name="connsiteX6823" fmla="*/ 8869244 w 10890933"/>
              <a:gd name="connsiteY6823" fmla="*/ 2542530 h 4167549"/>
              <a:gd name="connsiteX6824" fmla="*/ 8841327 w 10890933"/>
              <a:gd name="connsiteY6824" fmla="*/ 2544218 h 4167549"/>
              <a:gd name="connsiteX6825" fmla="*/ 8832783 w 10890933"/>
              <a:gd name="connsiteY6825" fmla="*/ 2541929 h 4167549"/>
              <a:gd name="connsiteX6826" fmla="*/ 8693813 w 10890933"/>
              <a:gd name="connsiteY6826" fmla="*/ 2513857 h 4167549"/>
              <a:gd name="connsiteX6827" fmla="*/ 8751319 w 10890933"/>
              <a:gd name="connsiteY6827" fmla="*/ 2538434 h 4167549"/>
              <a:gd name="connsiteX6828" fmla="*/ 8746735 w 10890933"/>
              <a:gd name="connsiteY6828" fmla="*/ 2555542 h 4167549"/>
              <a:gd name="connsiteX6829" fmla="*/ 8759860 w 10890933"/>
              <a:gd name="connsiteY6829" fmla="*/ 2540723 h 4167549"/>
              <a:gd name="connsiteX6830" fmla="*/ 8853828 w 10890933"/>
              <a:gd name="connsiteY6830" fmla="*/ 2565901 h 4167549"/>
              <a:gd name="connsiteX6831" fmla="*/ 8832159 w 10890933"/>
              <a:gd name="connsiteY6831" fmla="*/ 2578432 h 4167549"/>
              <a:gd name="connsiteX6832" fmla="*/ 8812782 w 10890933"/>
              <a:gd name="connsiteY6832" fmla="*/ 2582408 h 4167549"/>
              <a:gd name="connsiteX6833" fmla="*/ 8815074 w 10890933"/>
              <a:gd name="connsiteY6833" fmla="*/ 2573854 h 4167549"/>
              <a:gd name="connsiteX6834" fmla="*/ 8806530 w 10890933"/>
              <a:gd name="connsiteY6834" fmla="*/ 2571564 h 4167549"/>
              <a:gd name="connsiteX6835" fmla="*/ 8582139 w 10890933"/>
              <a:gd name="connsiteY6835" fmla="*/ 2520607 h 4167549"/>
              <a:gd name="connsiteX6836" fmla="*/ 8645891 w 10890933"/>
              <a:gd name="connsiteY6836" fmla="*/ 2556026 h 4167549"/>
              <a:gd name="connsiteX6837" fmla="*/ 8631099 w 10890933"/>
              <a:gd name="connsiteY6837" fmla="*/ 2542894 h 4167549"/>
              <a:gd name="connsiteX6838" fmla="*/ 8759236 w 10890933"/>
              <a:gd name="connsiteY6838" fmla="*/ 2577228 h 4167549"/>
              <a:gd name="connsiteX6839" fmla="*/ 8739858 w 10890933"/>
              <a:gd name="connsiteY6839" fmla="*/ 2581204 h 4167549"/>
              <a:gd name="connsiteX6840" fmla="*/ 8756944 w 10890933"/>
              <a:gd name="connsiteY6840" fmla="*/ 2585782 h 4167549"/>
              <a:gd name="connsiteX6841" fmla="*/ 8810490 w 10890933"/>
              <a:gd name="connsiteY6841" fmla="*/ 2590962 h 4167549"/>
              <a:gd name="connsiteX6842" fmla="*/ 8805906 w 10890933"/>
              <a:gd name="connsiteY6842" fmla="*/ 2608070 h 4167549"/>
              <a:gd name="connsiteX6843" fmla="*/ 8704761 w 10890933"/>
              <a:gd name="connsiteY6843" fmla="*/ 2581732 h 4167549"/>
              <a:gd name="connsiteX6844" fmla="*/ 8704782 w 10890933"/>
              <a:gd name="connsiteY6844" fmla="*/ 2581801 h 4167549"/>
              <a:gd name="connsiteX6845" fmla="*/ 8704634 w 10890933"/>
              <a:gd name="connsiteY6845" fmla="*/ 2581698 h 4167549"/>
              <a:gd name="connsiteX6846" fmla="*/ 8653992 w 10890933"/>
              <a:gd name="connsiteY6846" fmla="*/ 2568509 h 4167549"/>
              <a:gd name="connsiteX6847" fmla="*/ 8513173 w 10890933"/>
              <a:gd name="connsiteY6847" fmla="*/ 2538800 h 4167549"/>
              <a:gd name="connsiteX6848" fmla="*/ 8517133 w 10890933"/>
              <a:gd name="connsiteY6848" fmla="*/ 2558195 h 4167549"/>
              <a:gd name="connsiteX6849" fmla="*/ 8758609 w 10890933"/>
              <a:gd name="connsiteY6849" fmla="*/ 2613730 h 4167549"/>
              <a:gd name="connsiteX6850" fmla="*/ 8799030 w 10890933"/>
              <a:gd name="connsiteY6850" fmla="*/ 2633729 h 4167549"/>
              <a:gd name="connsiteX6851" fmla="*/ 8809864 w 10890933"/>
              <a:gd name="connsiteY6851" fmla="*/ 2627464 h 4167549"/>
              <a:gd name="connsiteX6852" fmla="*/ 8895288 w 10890933"/>
              <a:gd name="connsiteY6852" fmla="*/ 2650353 h 4167549"/>
              <a:gd name="connsiteX6853" fmla="*/ 8912372 w 10890933"/>
              <a:gd name="connsiteY6853" fmla="*/ 2654931 h 4167549"/>
              <a:gd name="connsiteX6854" fmla="*/ 8918621 w 10890933"/>
              <a:gd name="connsiteY6854" fmla="*/ 2665774 h 4167549"/>
              <a:gd name="connsiteX6855" fmla="*/ 8674853 w 10890933"/>
              <a:gd name="connsiteY6855" fmla="*/ 2618792 h 4167549"/>
              <a:gd name="connsiteX6856" fmla="*/ 8679437 w 10890933"/>
              <a:gd name="connsiteY6856" fmla="*/ 2601684 h 4167549"/>
              <a:gd name="connsiteX6857" fmla="*/ 8642975 w 10890933"/>
              <a:gd name="connsiteY6857" fmla="*/ 2601083 h 4167549"/>
              <a:gd name="connsiteX6858" fmla="*/ 8632140 w 10890933"/>
              <a:gd name="connsiteY6858" fmla="*/ 2607347 h 4167549"/>
              <a:gd name="connsiteX6859" fmla="*/ 8633002 w 10890933"/>
              <a:gd name="connsiteY6859" fmla="*/ 2604140 h 4167549"/>
              <a:gd name="connsiteX6860" fmla="*/ 8634432 w 10890933"/>
              <a:gd name="connsiteY6860" fmla="*/ 2598793 h 4167549"/>
              <a:gd name="connsiteX6861" fmla="*/ 8632140 w 10890933"/>
              <a:gd name="connsiteY6861" fmla="*/ 2607347 h 4167549"/>
              <a:gd name="connsiteX6862" fmla="*/ 8629848 w 10890933"/>
              <a:gd name="connsiteY6862" fmla="*/ 2615902 h 4167549"/>
              <a:gd name="connsiteX6863" fmla="*/ 8772778 w 10890933"/>
              <a:gd name="connsiteY6863" fmla="*/ 2663368 h 4167549"/>
              <a:gd name="connsiteX6864" fmla="*/ 9056966 w 10890933"/>
              <a:gd name="connsiteY6864" fmla="*/ 2730348 h 4167549"/>
              <a:gd name="connsiteX6865" fmla="*/ 9174266 w 10890933"/>
              <a:gd name="connsiteY6865" fmla="*/ 2770946 h 4167549"/>
              <a:gd name="connsiteX6866" fmla="*/ 9129262 w 10890933"/>
              <a:gd name="connsiteY6866" fmla="*/ 2768056 h 4167549"/>
              <a:gd name="connsiteX6867" fmla="*/ 9146348 w 10890933"/>
              <a:gd name="connsiteY6867" fmla="*/ 2772634 h 4167549"/>
              <a:gd name="connsiteX6868" fmla="*/ 9144056 w 10890933"/>
              <a:gd name="connsiteY6868" fmla="*/ 2781188 h 4167549"/>
              <a:gd name="connsiteX6869" fmla="*/ 9064884 w 10890933"/>
              <a:gd name="connsiteY6869" fmla="*/ 2769142 h 4167549"/>
              <a:gd name="connsiteX6870" fmla="*/ 9151972 w 10890933"/>
              <a:gd name="connsiteY6870" fmla="*/ 2819979 h 4167549"/>
              <a:gd name="connsiteX6871" fmla="*/ 9203226 w 10890933"/>
              <a:gd name="connsiteY6871" fmla="*/ 2833712 h 4167549"/>
              <a:gd name="connsiteX6872" fmla="*/ 9325113 w 10890933"/>
              <a:gd name="connsiteY6872" fmla="*/ 2857203 h 4167549"/>
              <a:gd name="connsiteX6873" fmla="*/ 9322821 w 10890933"/>
              <a:gd name="connsiteY6873" fmla="*/ 2865758 h 4167549"/>
              <a:gd name="connsiteX6874" fmla="*/ 9399701 w 10890933"/>
              <a:gd name="connsiteY6874" fmla="*/ 2886358 h 4167549"/>
              <a:gd name="connsiteX6875" fmla="*/ 9386575 w 10890933"/>
              <a:gd name="connsiteY6875" fmla="*/ 2901177 h 4167549"/>
              <a:gd name="connsiteX6876" fmla="*/ 9388867 w 10890933"/>
              <a:gd name="connsiteY6876" fmla="*/ 2892623 h 4167549"/>
              <a:gd name="connsiteX6877" fmla="*/ 9371782 w 10890933"/>
              <a:gd name="connsiteY6877" fmla="*/ 2888045 h 4167549"/>
              <a:gd name="connsiteX6878" fmla="*/ 9369490 w 10890933"/>
              <a:gd name="connsiteY6878" fmla="*/ 2896599 h 4167549"/>
              <a:gd name="connsiteX6879" fmla="*/ 9326777 w 10890933"/>
              <a:gd name="connsiteY6879" fmla="*/ 2885154 h 4167549"/>
              <a:gd name="connsiteX6880" fmla="*/ 9324485 w 10890933"/>
              <a:gd name="connsiteY6880" fmla="*/ 2893708 h 4167549"/>
              <a:gd name="connsiteX6881" fmla="*/ 9258438 w 10890933"/>
              <a:gd name="connsiteY6881" fmla="*/ 2866843 h 4167549"/>
              <a:gd name="connsiteX6882" fmla="*/ 9253854 w 10890933"/>
              <a:gd name="connsiteY6882" fmla="*/ 2883951 h 4167549"/>
              <a:gd name="connsiteX6883" fmla="*/ 9241354 w 10890933"/>
              <a:gd name="connsiteY6883" fmla="*/ 2862265 h 4167549"/>
              <a:gd name="connsiteX6884" fmla="*/ 9192391 w 10890933"/>
              <a:gd name="connsiteY6884" fmla="*/ 2839977 h 4167549"/>
              <a:gd name="connsiteX6885" fmla="*/ 9145096 w 10890933"/>
              <a:gd name="connsiteY6885" fmla="*/ 2845641 h 4167549"/>
              <a:gd name="connsiteX6886" fmla="*/ 9196350 w 10890933"/>
              <a:gd name="connsiteY6886" fmla="*/ 2859375 h 4167549"/>
              <a:gd name="connsiteX6887" fmla="*/ 9230520 w 10890933"/>
              <a:gd name="connsiteY6887" fmla="*/ 2868530 h 4167549"/>
              <a:gd name="connsiteX6888" fmla="*/ 9245313 w 10890933"/>
              <a:gd name="connsiteY6888" fmla="*/ 2881662 h 4167549"/>
              <a:gd name="connsiteX6889" fmla="*/ 9117178 w 10890933"/>
              <a:gd name="connsiteY6889" fmla="*/ 2847329 h 4167549"/>
              <a:gd name="connsiteX6890" fmla="*/ 9119470 w 10890933"/>
              <a:gd name="connsiteY6890" fmla="*/ 2838775 h 4167549"/>
              <a:gd name="connsiteX6891" fmla="*/ 9093842 w 10890933"/>
              <a:gd name="connsiteY6891" fmla="*/ 2831908 h 4167549"/>
              <a:gd name="connsiteX6892" fmla="*/ 9046548 w 10890933"/>
              <a:gd name="connsiteY6892" fmla="*/ 2837571 h 4167549"/>
              <a:gd name="connsiteX6893" fmla="*/ 9048840 w 10890933"/>
              <a:gd name="connsiteY6893" fmla="*/ 2829017 h 4167549"/>
              <a:gd name="connsiteX6894" fmla="*/ 8944039 w 10890933"/>
              <a:gd name="connsiteY6894" fmla="*/ 2810104 h 4167549"/>
              <a:gd name="connsiteX6895" fmla="*/ 8948623 w 10890933"/>
              <a:gd name="connsiteY6895" fmla="*/ 2792996 h 4167549"/>
              <a:gd name="connsiteX6896" fmla="*/ 8899034 w 10890933"/>
              <a:gd name="connsiteY6896" fmla="*/ 2807213 h 4167549"/>
              <a:gd name="connsiteX6897" fmla="*/ 8860907 w 10890933"/>
              <a:gd name="connsiteY6897" fmla="*/ 2778661 h 4167549"/>
              <a:gd name="connsiteX6898" fmla="*/ 8847780 w 10890933"/>
              <a:gd name="connsiteY6898" fmla="*/ 2793480 h 4167549"/>
              <a:gd name="connsiteX6899" fmla="*/ 8747566 w 10890933"/>
              <a:gd name="connsiteY6899" fmla="*/ 2757459 h 4167549"/>
              <a:gd name="connsiteX6900" fmla="*/ 8801112 w 10890933"/>
              <a:gd name="connsiteY6900" fmla="*/ 2762639 h 4167549"/>
              <a:gd name="connsiteX6901" fmla="*/ 8790276 w 10890933"/>
              <a:gd name="connsiteY6901" fmla="*/ 2768904 h 4167549"/>
              <a:gd name="connsiteX6902" fmla="*/ 8807361 w 10890933"/>
              <a:gd name="connsiteY6902" fmla="*/ 2773481 h 4167549"/>
              <a:gd name="connsiteX6903" fmla="*/ 8803404 w 10890933"/>
              <a:gd name="connsiteY6903" fmla="*/ 2754085 h 4167549"/>
              <a:gd name="connsiteX6904" fmla="*/ 8707145 w 10890933"/>
              <a:gd name="connsiteY6904" fmla="*/ 2737460 h 4167549"/>
              <a:gd name="connsiteX6905" fmla="*/ 8664434 w 10890933"/>
              <a:gd name="connsiteY6905" fmla="*/ 2726016 h 4167549"/>
              <a:gd name="connsiteX6906" fmla="*/ 8662142 w 10890933"/>
              <a:gd name="connsiteY6906" fmla="*/ 2734570 h 4167549"/>
              <a:gd name="connsiteX6907" fmla="*/ 8576718 w 10890933"/>
              <a:gd name="connsiteY6907" fmla="*/ 2711681 h 4167549"/>
              <a:gd name="connsiteX6908" fmla="*/ 8563590 w 10890933"/>
              <a:gd name="connsiteY6908" fmla="*/ 2726500 h 4167549"/>
              <a:gd name="connsiteX6909" fmla="*/ 8559633 w 10890933"/>
              <a:gd name="connsiteY6909" fmla="*/ 2707103 h 4167549"/>
              <a:gd name="connsiteX6910" fmla="*/ 8546506 w 10890933"/>
              <a:gd name="connsiteY6910" fmla="*/ 2721922 h 4167549"/>
              <a:gd name="connsiteX6911" fmla="*/ 8446292 w 10890933"/>
              <a:gd name="connsiteY6911" fmla="*/ 2685901 h 4167549"/>
              <a:gd name="connsiteX6912" fmla="*/ 8454832 w 10890933"/>
              <a:gd name="connsiteY6912" fmla="*/ 2688190 h 4167549"/>
              <a:gd name="connsiteX6913" fmla="*/ 8241274 w 10890933"/>
              <a:gd name="connsiteY6913" fmla="*/ 2630967 h 4167549"/>
              <a:gd name="connsiteX6914" fmla="*/ 8172936 w 10890933"/>
              <a:gd name="connsiteY6914" fmla="*/ 2612656 h 4167549"/>
              <a:gd name="connsiteX6915" fmla="*/ 8151267 w 10890933"/>
              <a:gd name="connsiteY6915" fmla="*/ 2625186 h 4167549"/>
              <a:gd name="connsiteX6916" fmla="*/ 8268569 w 10890933"/>
              <a:gd name="connsiteY6916" fmla="*/ 2665783 h 4167549"/>
              <a:gd name="connsiteX6917" fmla="*/ 8273152 w 10890933"/>
              <a:gd name="connsiteY6917" fmla="*/ 2648677 h 4167549"/>
              <a:gd name="connsiteX6918" fmla="*/ 8328364 w 10890933"/>
              <a:gd name="connsiteY6918" fmla="*/ 2681805 h 4167549"/>
              <a:gd name="connsiteX6919" fmla="*/ 8249192 w 10890933"/>
              <a:gd name="connsiteY6919" fmla="*/ 2669759 h 4167549"/>
              <a:gd name="connsiteX6920" fmla="*/ 8251484 w 10890933"/>
              <a:gd name="connsiteY6920" fmla="*/ 2661205 h 4167549"/>
              <a:gd name="connsiteX6921" fmla="*/ 8191689 w 10890933"/>
              <a:gd name="connsiteY6921" fmla="*/ 2645183 h 4167549"/>
              <a:gd name="connsiteX6922" fmla="*/ 8187105 w 10890933"/>
              <a:gd name="connsiteY6922" fmla="*/ 2662291 h 4167549"/>
              <a:gd name="connsiteX6923" fmla="*/ 8178561 w 10890933"/>
              <a:gd name="connsiteY6923" fmla="*/ 2660001 h 4167549"/>
              <a:gd name="connsiteX6924" fmla="*/ 8172312 w 10890933"/>
              <a:gd name="connsiteY6924" fmla="*/ 2649159 h 4167549"/>
              <a:gd name="connsiteX6925" fmla="*/ 8069803 w 10890933"/>
              <a:gd name="connsiteY6925" fmla="*/ 2621692 h 4167549"/>
              <a:gd name="connsiteX6926" fmla="*/ 8065219 w 10890933"/>
              <a:gd name="connsiteY6926" fmla="*/ 2638800 h 4167549"/>
              <a:gd name="connsiteX6927" fmla="*/ 8101681 w 10890933"/>
              <a:gd name="connsiteY6927" fmla="*/ 2639401 h 4167549"/>
              <a:gd name="connsiteX6928" fmla="*/ 8082304 w 10890933"/>
              <a:gd name="connsiteY6928" fmla="*/ 2643378 h 4167549"/>
              <a:gd name="connsiteX6929" fmla="*/ 8077720 w 10890933"/>
              <a:gd name="connsiteY6929" fmla="*/ 2660486 h 4167549"/>
              <a:gd name="connsiteX6930" fmla="*/ 7996253 w 10890933"/>
              <a:gd name="connsiteY6930" fmla="*/ 2656993 h 4167549"/>
              <a:gd name="connsiteX6931" fmla="*/ 7944999 w 10890933"/>
              <a:gd name="connsiteY6931" fmla="*/ 2643260 h 4167549"/>
              <a:gd name="connsiteX6932" fmla="*/ 7940416 w 10890933"/>
              <a:gd name="connsiteY6932" fmla="*/ 2660365 h 4167549"/>
              <a:gd name="connsiteX6933" fmla="*/ 8072510 w 10890933"/>
              <a:gd name="connsiteY6933" fmla="*/ 2714096 h 4167549"/>
              <a:gd name="connsiteX6934" fmla="*/ 8077693 w 10890933"/>
              <a:gd name="connsiteY6934" fmla="*/ 2724653 h 4167549"/>
              <a:gd name="connsiteX6935" fmla="*/ 8076905 w 10890933"/>
              <a:gd name="connsiteY6935" fmla="*/ 2730333 h 4167549"/>
              <a:gd name="connsiteX6936" fmla="*/ 8048159 w 10890933"/>
              <a:gd name="connsiteY6936" fmla="*/ 2711010 h 4167549"/>
              <a:gd name="connsiteX6937" fmla="*/ 7993337 w 10890933"/>
              <a:gd name="connsiteY6937" fmla="*/ 2702050 h 4167549"/>
              <a:gd name="connsiteX6938" fmla="*/ 8008130 w 10890933"/>
              <a:gd name="connsiteY6938" fmla="*/ 2715182 h 4167549"/>
              <a:gd name="connsiteX6939" fmla="*/ 7982502 w 10890933"/>
              <a:gd name="connsiteY6939" fmla="*/ 2708315 h 4167549"/>
              <a:gd name="connsiteX6940" fmla="*/ 7984794 w 10890933"/>
              <a:gd name="connsiteY6940" fmla="*/ 2699761 h 4167549"/>
              <a:gd name="connsiteX6941" fmla="*/ 7978545 w 10890933"/>
              <a:gd name="connsiteY6941" fmla="*/ 2688918 h 4167549"/>
              <a:gd name="connsiteX6942" fmla="*/ 7965417 w 10890933"/>
              <a:gd name="connsiteY6942" fmla="*/ 2703737 h 4167549"/>
              <a:gd name="connsiteX6943" fmla="*/ 7967709 w 10890933"/>
              <a:gd name="connsiteY6943" fmla="*/ 2695183 h 4167549"/>
              <a:gd name="connsiteX6944" fmla="*/ 7942083 w 10890933"/>
              <a:gd name="connsiteY6944" fmla="*/ 2688316 h 4167549"/>
              <a:gd name="connsiteX6945" fmla="*/ 7937499 w 10890933"/>
              <a:gd name="connsiteY6945" fmla="*/ 2705425 h 4167549"/>
              <a:gd name="connsiteX6946" fmla="*/ 7914163 w 10890933"/>
              <a:gd name="connsiteY6946" fmla="*/ 2690004 h 4167549"/>
              <a:gd name="connsiteX6947" fmla="*/ 7931248 w 10890933"/>
              <a:gd name="connsiteY6947" fmla="*/ 2694581 h 4167549"/>
              <a:gd name="connsiteX6948" fmla="*/ 7916455 w 10890933"/>
              <a:gd name="connsiteY6948" fmla="*/ 2681449 h 4167549"/>
              <a:gd name="connsiteX6949" fmla="*/ 7877704 w 10890933"/>
              <a:gd name="connsiteY6949" fmla="*/ 2689403 h 4167549"/>
              <a:gd name="connsiteX6950" fmla="*/ 7860619 w 10890933"/>
              <a:gd name="connsiteY6950" fmla="*/ 2684825 h 4167549"/>
              <a:gd name="connsiteX6951" fmla="*/ 7747275 w 10890933"/>
              <a:gd name="connsiteY6951" fmla="*/ 2663622 h 4167549"/>
              <a:gd name="connsiteX6952" fmla="*/ 7706857 w 10890933"/>
              <a:gd name="connsiteY6952" fmla="*/ 2643624 h 4167549"/>
              <a:gd name="connsiteX6953" fmla="*/ 7486422 w 10890933"/>
              <a:gd name="connsiteY6953" fmla="*/ 2612063 h 4167549"/>
              <a:gd name="connsiteX6954" fmla="*/ 7501215 w 10890933"/>
              <a:gd name="connsiteY6954" fmla="*/ 2625195 h 4167549"/>
              <a:gd name="connsiteX6955" fmla="*/ 7458501 w 10890933"/>
              <a:gd name="connsiteY6955" fmla="*/ 2613750 h 4167549"/>
              <a:gd name="connsiteX6956" fmla="*/ 7419749 w 10890933"/>
              <a:gd name="connsiteY6956" fmla="*/ 2621700 h 4167549"/>
              <a:gd name="connsiteX6957" fmla="*/ 7385579 w 10890933"/>
              <a:gd name="connsiteY6957" fmla="*/ 2612544 h 4167549"/>
              <a:gd name="connsiteX6958" fmla="*/ 7381622 w 10890933"/>
              <a:gd name="connsiteY6958" fmla="*/ 2593150 h 4167549"/>
              <a:gd name="connsiteX6959" fmla="*/ 7362245 w 10890933"/>
              <a:gd name="connsiteY6959" fmla="*/ 2597124 h 4167549"/>
              <a:gd name="connsiteX6960" fmla="*/ 7377038 w 10890933"/>
              <a:gd name="connsiteY6960" fmla="*/ 2610256 h 4167549"/>
              <a:gd name="connsiteX6961" fmla="*/ 7255153 w 10890933"/>
              <a:gd name="connsiteY6961" fmla="*/ 2586765 h 4167549"/>
              <a:gd name="connsiteX6962" fmla="*/ 7265989 w 10890933"/>
              <a:gd name="connsiteY6962" fmla="*/ 2580500 h 4167549"/>
              <a:gd name="connsiteX6963" fmla="*/ 7231819 w 10890933"/>
              <a:gd name="connsiteY6963" fmla="*/ 2571344 h 4167549"/>
              <a:gd name="connsiteX6964" fmla="*/ 7246612 w 10890933"/>
              <a:gd name="connsiteY6964" fmla="*/ 2584476 h 4167549"/>
              <a:gd name="connsiteX6965" fmla="*/ 7193066 w 10890933"/>
              <a:gd name="connsiteY6965" fmla="*/ 2579297 h 4167549"/>
              <a:gd name="connsiteX6966" fmla="*/ 7186814 w 10890933"/>
              <a:gd name="connsiteY6966" fmla="*/ 2568454 h 4167549"/>
              <a:gd name="connsiteX6967" fmla="*/ 7186380 w 10890933"/>
              <a:gd name="connsiteY6967" fmla="*/ 2568299 h 4167549"/>
              <a:gd name="connsiteX6968" fmla="*/ 7170202 w 10890933"/>
              <a:gd name="connsiteY6968" fmla="*/ 2578456 h 4167549"/>
              <a:gd name="connsiteX6969" fmla="*/ 7154519 w 10890933"/>
              <a:gd name="connsiteY6969" fmla="*/ 2558823 h 4167549"/>
              <a:gd name="connsiteX6970" fmla="*/ 7170009 w 10890933"/>
              <a:gd name="connsiteY6970" fmla="*/ 2566831 h 4167549"/>
              <a:gd name="connsiteX6971" fmla="*/ 7184120 w 10890933"/>
              <a:gd name="connsiteY6971" fmla="*/ 2567488 h 4167549"/>
              <a:gd name="connsiteX6972" fmla="*/ 7149233 w 10890933"/>
              <a:gd name="connsiteY6972" fmla="*/ 2554948 h 4167549"/>
              <a:gd name="connsiteX6973" fmla="*/ 7109934 w 10890933"/>
              <a:gd name="connsiteY6973" fmla="*/ 2547854 h 4167549"/>
              <a:gd name="connsiteX6974" fmla="*/ 7116183 w 10890933"/>
              <a:gd name="connsiteY6974" fmla="*/ 2558696 h 4167549"/>
              <a:gd name="connsiteX6975" fmla="*/ 7152644 w 10890933"/>
              <a:gd name="connsiteY6975" fmla="*/ 2559298 h 4167549"/>
              <a:gd name="connsiteX6976" fmla="*/ 7128683 w 10890933"/>
              <a:gd name="connsiteY6976" fmla="*/ 2580382 h 4167549"/>
              <a:gd name="connsiteX6977" fmla="*/ 6972629 w 10890933"/>
              <a:gd name="connsiteY6977" fmla="*/ 2547736 h 4167549"/>
              <a:gd name="connsiteX6978" fmla="*/ 6965753 w 10890933"/>
              <a:gd name="connsiteY6978" fmla="*/ 2573395 h 4167549"/>
              <a:gd name="connsiteX6979" fmla="*/ 6982838 w 10890933"/>
              <a:gd name="connsiteY6979" fmla="*/ 2577973 h 4167549"/>
              <a:gd name="connsiteX6980" fmla="*/ 7010758 w 10890933"/>
              <a:gd name="connsiteY6980" fmla="*/ 2576289 h 4167549"/>
              <a:gd name="connsiteX6981" fmla="*/ 6999923 w 10890933"/>
              <a:gd name="connsiteY6981" fmla="*/ 2582551 h 4167549"/>
              <a:gd name="connsiteX6982" fmla="*/ 7026488 w 10890933"/>
              <a:gd name="connsiteY6982" fmla="*/ 2581648 h 4167549"/>
              <a:gd name="connsiteX6983" fmla="*/ 7029293 w 10890933"/>
              <a:gd name="connsiteY6983" fmla="*/ 2581255 h 4167549"/>
              <a:gd name="connsiteX6984" fmla="*/ 7044927 w 10890933"/>
              <a:gd name="connsiteY6984" fmla="*/ 2585444 h 4167549"/>
              <a:gd name="connsiteX6985" fmla="*/ 7070553 w 10890933"/>
              <a:gd name="connsiteY6985" fmla="*/ 2592311 h 4167549"/>
              <a:gd name="connsiteX6986" fmla="*/ 7066596 w 10890933"/>
              <a:gd name="connsiteY6986" fmla="*/ 2572914 h 4167549"/>
              <a:gd name="connsiteX6987" fmla="*/ 7145768 w 10890933"/>
              <a:gd name="connsiteY6987" fmla="*/ 2584960 h 4167549"/>
              <a:gd name="connsiteX6988" fmla="*/ 7134935 w 10890933"/>
              <a:gd name="connsiteY6988" fmla="*/ 2591226 h 4167549"/>
              <a:gd name="connsiteX6989" fmla="*/ 7162853 w 10890933"/>
              <a:gd name="connsiteY6989" fmla="*/ 2589538 h 4167549"/>
              <a:gd name="connsiteX6990" fmla="*/ 7205566 w 10890933"/>
              <a:gd name="connsiteY6990" fmla="*/ 2600983 h 4167549"/>
              <a:gd name="connsiteX6991" fmla="*/ 7276195 w 10890933"/>
              <a:gd name="connsiteY6991" fmla="*/ 2610740 h 4167549"/>
              <a:gd name="connsiteX6992" fmla="*/ 7367870 w 10890933"/>
              <a:gd name="connsiteY6992" fmla="*/ 2644472 h 4167549"/>
              <a:gd name="connsiteX6993" fmla="*/ 7404332 w 10890933"/>
              <a:gd name="connsiteY6993" fmla="*/ 2645074 h 4167549"/>
              <a:gd name="connsiteX6994" fmla="*/ 7443085 w 10890933"/>
              <a:gd name="connsiteY6994" fmla="*/ 2637121 h 4167549"/>
              <a:gd name="connsiteX6995" fmla="*/ 7502880 w 10890933"/>
              <a:gd name="connsiteY6995" fmla="*/ 2653143 h 4167549"/>
              <a:gd name="connsiteX6996" fmla="*/ 7684561 w 10890933"/>
              <a:gd name="connsiteY6996" fmla="*/ 2692656 h 4167549"/>
              <a:gd name="connsiteX6997" fmla="*/ 7873120 w 10890933"/>
              <a:gd name="connsiteY6997" fmla="*/ 2706511 h 4167549"/>
              <a:gd name="connsiteX6998" fmla="*/ 7930623 w 10890933"/>
              <a:gd name="connsiteY6998" fmla="*/ 2731087 h 4167549"/>
              <a:gd name="connsiteX6999" fmla="*/ 7973334 w 10890933"/>
              <a:gd name="connsiteY6999" fmla="*/ 2742531 h 4167549"/>
              <a:gd name="connsiteX7000" fmla="*/ 8165850 w 10890933"/>
              <a:gd name="connsiteY7000" fmla="*/ 2775779 h 4167549"/>
              <a:gd name="connsiteX7001" fmla="*/ 8129388 w 10890933"/>
              <a:gd name="connsiteY7001" fmla="*/ 2775178 h 4167549"/>
              <a:gd name="connsiteX7002" fmla="*/ 8124804 w 10890933"/>
              <a:gd name="connsiteY7002" fmla="*/ 2792286 h 4167549"/>
              <a:gd name="connsiteX7003" fmla="*/ 8120847 w 10890933"/>
              <a:gd name="connsiteY7003" fmla="*/ 2772889 h 4167549"/>
              <a:gd name="connsiteX7004" fmla="*/ 7962500 w 10890933"/>
              <a:gd name="connsiteY7004" fmla="*/ 2748796 h 4167549"/>
              <a:gd name="connsiteX7005" fmla="*/ 7957917 w 10890933"/>
              <a:gd name="connsiteY7005" fmla="*/ 2765902 h 4167549"/>
              <a:gd name="connsiteX7006" fmla="*/ 7923748 w 10890933"/>
              <a:gd name="connsiteY7006" fmla="*/ 2756746 h 4167549"/>
              <a:gd name="connsiteX7007" fmla="*/ 7934581 w 10890933"/>
              <a:gd name="connsiteY7007" fmla="*/ 2750481 h 4167549"/>
              <a:gd name="connsiteX7008" fmla="*/ 7891870 w 10890933"/>
              <a:gd name="connsiteY7008" fmla="*/ 2739037 h 4167549"/>
              <a:gd name="connsiteX7009" fmla="*/ 7915204 w 10890933"/>
              <a:gd name="connsiteY7009" fmla="*/ 2754457 h 4167549"/>
              <a:gd name="connsiteX7010" fmla="*/ 7878742 w 10890933"/>
              <a:gd name="connsiteY7010" fmla="*/ 2753855 h 4167549"/>
              <a:gd name="connsiteX7011" fmla="*/ 7883327 w 10890933"/>
              <a:gd name="connsiteY7011" fmla="*/ 2736747 h 4167549"/>
              <a:gd name="connsiteX7012" fmla="*/ 7784778 w 10890933"/>
              <a:gd name="connsiteY7012" fmla="*/ 2728678 h 4167549"/>
              <a:gd name="connsiteX7013" fmla="*/ 7870201 w 10890933"/>
              <a:gd name="connsiteY7013" fmla="*/ 2751567 h 4167549"/>
              <a:gd name="connsiteX7014" fmla="*/ 7878742 w 10890933"/>
              <a:gd name="connsiteY7014" fmla="*/ 2753855 h 4167549"/>
              <a:gd name="connsiteX7015" fmla="*/ 7931067 w 10890933"/>
              <a:gd name="connsiteY7015" fmla="*/ 2767876 h 4167549"/>
              <a:gd name="connsiteX7016" fmla="*/ 7998336 w 10890933"/>
              <a:gd name="connsiteY7016" fmla="*/ 2785900 h 4167549"/>
              <a:gd name="connsiteX7017" fmla="*/ 8006879 w 10890933"/>
              <a:gd name="connsiteY7017" fmla="*/ 2788189 h 4167549"/>
              <a:gd name="connsiteX7018" fmla="*/ 7987502 w 10890933"/>
              <a:gd name="connsiteY7018" fmla="*/ 2792166 h 4167549"/>
              <a:gd name="connsiteX7019" fmla="*/ 8002295 w 10890933"/>
              <a:gd name="connsiteY7019" fmla="*/ 2805298 h 4167549"/>
              <a:gd name="connsiteX7020" fmla="*/ 8015421 w 10890933"/>
              <a:gd name="connsiteY7020" fmla="*/ 2790478 h 4167549"/>
              <a:gd name="connsiteX7021" fmla="*/ 8045006 w 10890933"/>
              <a:gd name="connsiteY7021" fmla="*/ 2816742 h 4167549"/>
              <a:gd name="connsiteX7022" fmla="*/ 8079175 w 10890933"/>
              <a:gd name="connsiteY7022" fmla="*/ 2825898 h 4167549"/>
              <a:gd name="connsiteX7023" fmla="*/ 8090011 w 10890933"/>
              <a:gd name="connsiteY7023" fmla="*/ 2819633 h 4167549"/>
              <a:gd name="connsiteX7024" fmla="*/ 8164755 w 10890933"/>
              <a:gd name="connsiteY7024" fmla="*/ 2839660 h 4167549"/>
              <a:gd name="connsiteX7025" fmla="*/ 8201060 w 10890933"/>
              <a:gd name="connsiteY7025" fmla="*/ 2849388 h 4167549"/>
              <a:gd name="connsiteX7026" fmla="*/ 8223172 w 10890933"/>
              <a:gd name="connsiteY7026" fmla="*/ 2873650 h 4167549"/>
              <a:gd name="connsiteX7027" fmla="*/ 8258564 w 10890933"/>
              <a:gd name="connsiteY7027" fmla="*/ 2873965 h 4167549"/>
              <a:gd name="connsiteX7028" fmla="*/ 8386701 w 10890933"/>
              <a:gd name="connsiteY7028" fmla="*/ 2908299 h 4167549"/>
              <a:gd name="connsiteX7029" fmla="*/ 8392949 w 10890933"/>
              <a:gd name="connsiteY7029" fmla="*/ 2919141 h 4167549"/>
              <a:gd name="connsiteX7030" fmla="*/ 8617343 w 10890933"/>
              <a:gd name="connsiteY7030" fmla="*/ 2970099 h 4167549"/>
              <a:gd name="connsiteX7031" fmla="*/ 8612759 w 10890933"/>
              <a:gd name="connsiteY7031" fmla="*/ 2987207 h 4167549"/>
              <a:gd name="connsiteX7032" fmla="*/ 8817774 w 10890933"/>
              <a:gd name="connsiteY7032" fmla="*/ 3042141 h 4167549"/>
              <a:gd name="connsiteX7033" fmla="*/ 9436782 w 10890933"/>
              <a:gd name="connsiteY7033" fmla="*/ 3226340 h 4167549"/>
              <a:gd name="connsiteX7034" fmla="*/ 9357611 w 10890933"/>
              <a:gd name="connsiteY7034" fmla="*/ 3214292 h 4167549"/>
              <a:gd name="connsiteX7035" fmla="*/ 9340525 w 10890933"/>
              <a:gd name="connsiteY7035" fmla="*/ 3209714 h 4167549"/>
              <a:gd name="connsiteX7036" fmla="*/ 9342817 w 10890933"/>
              <a:gd name="connsiteY7036" fmla="*/ 3201162 h 4167549"/>
              <a:gd name="connsiteX7037" fmla="*/ 9308647 w 10890933"/>
              <a:gd name="connsiteY7037" fmla="*/ 3192006 h 4167549"/>
              <a:gd name="connsiteX7038" fmla="*/ 9280728 w 10890933"/>
              <a:gd name="connsiteY7038" fmla="*/ 3193691 h 4167549"/>
              <a:gd name="connsiteX7039" fmla="*/ 9283019 w 10890933"/>
              <a:gd name="connsiteY7039" fmla="*/ 3185139 h 4167549"/>
              <a:gd name="connsiteX7040" fmla="*/ 9269894 w 10890933"/>
              <a:gd name="connsiteY7040" fmla="*/ 3199956 h 4167549"/>
              <a:gd name="connsiteX7041" fmla="*/ 9255102 w 10890933"/>
              <a:gd name="connsiteY7041" fmla="*/ 3186824 h 4167549"/>
              <a:gd name="connsiteX7042" fmla="*/ 9248850 w 10890933"/>
              <a:gd name="connsiteY7042" fmla="*/ 3175984 h 4167549"/>
              <a:gd name="connsiteX7043" fmla="*/ 9229473 w 10890933"/>
              <a:gd name="connsiteY7043" fmla="*/ 3179957 h 4167549"/>
              <a:gd name="connsiteX7044" fmla="*/ 9210097 w 10890933"/>
              <a:gd name="connsiteY7044" fmla="*/ 3183933 h 4167549"/>
              <a:gd name="connsiteX7045" fmla="*/ 9220932 w 10890933"/>
              <a:gd name="connsiteY7045" fmla="*/ 3177669 h 4167549"/>
              <a:gd name="connsiteX7046" fmla="*/ 9193012 w 10890933"/>
              <a:gd name="connsiteY7046" fmla="*/ 3179356 h 4167549"/>
              <a:gd name="connsiteX7047" fmla="*/ 9180510 w 10890933"/>
              <a:gd name="connsiteY7047" fmla="*/ 3157672 h 4167549"/>
              <a:gd name="connsiteX7048" fmla="*/ 9163426 w 10890933"/>
              <a:gd name="connsiteY7048" fmla="*/ 3153094 h 4167549"/>
              <a:gd name="connsiteX7049" fmla="*/ 9161135 w 10890933"/>
              <a:gd name="connsiteY7049" fmla="*/ 3161646 h 4167549"/>
              <a:gd name="connsiteX7050" fmla="*/ 9146341 w 10890933"/>
              <a:gd name="connsiteY7050" fmla="*/ 3148516 h 4167549"/>
              <a:gd name="connsiteX7051" fmla="*/ 9144049 w 10890933"/>
              <a:gd name="connsiteY7051" fmla="*/ 3157068 h 4167549"/>
              <a:gd name="connsiteX7052" fmla="*/ 9078003 w 10890933"/>
              <a:gd name="connsiteY7052" fmla="*/ 3130205 h 4167549"/>
              <a:gd name="connsiteX7053" fmla="*/ 9075711 w 10890933"/>
              <a:gd name="connsiteY7053" fmla="*/ 3138757 h 4167549"/>
              <a:gd name="connsiteX7054" fmla="*/ 9067169 w 10890933"/>
              <a:gd name="connsiteY7054" fmla="*/ 3136468 h 4167549"/>
              <a:gd name="connsiteX7055" fmla="*/ 9060920 w 10890933"/>
              <a:gd name="connsiteY7055" fmla="*/ 3125628 h 4167549"/>
              <a:gd name="connsiteX7056" fmla="*/ 9033000 w 10890933"/>
              <a:gd name="connsiteY7056" fmla="*/ 3127312 h 4167549"/>
              <a:gd name="connsiteX7057" fmla="*/ 9035291 w 10890933"/>
              <a:gd name="connsiteY7057" fmla="*/ 3118761 h 4167549"/>
              <a:gd name="connsiteX7058" fmla="*/ 9013623 w 10890933"/>
              <a:gd name="connsiteY7058" fmla="*/ 3131289 h 4167549"/>
              <a:gd name="connsiteX7059" fmla="*/ 8992581 w 10890933"/>
              <a:gd name="connsiteY7059" fmla="*/ 3107317 h 4167549"/>
              <a:gd name="connsiteX7060" fmla="*/ 8975497 w 10890933"/>
              <a:gd name="connsiteY7060" fmla="*/ 3102739 h 4167549"/>
              <a:gd name="connsiteX7061" fmla="*/ 8973205 w 10890933"/>
              <a:gd name="connsiteY7061" fmla="*/ 3111290 h 4167549"/>
              <a:gd name="connsiteX7062" fmla="*/ 8932783 w 10890933"/>
              <a:gd name="connsiteY7062" fmla="*/ 3091294 h 4167549"/>
              <a:gd name="connsiteX7063" fmla="*/ 8896322 w 10890933"/>
              <a:gd name="connsiteY7063" fmla="*/ 3090690 h 4167549"/>
              <a:gd name="connsiteX7064" fmla="*/ 8890072 w 10890933"/>
              <a:gd name="connsiteY7064" fmla="*/ 3079849 h 4167549"/>
              <a:gd name="connsiteX7065" fmla="*/ 8864444 w 10890933"/>
              <a:gd name="connsiteY7065" fmla="*/ 3072982 h 4167549"/>
              <a:gd name="connsiteX7066" fmla="*/ 8853612 w 10890933"/>
              <a:gd name="connsiteY7066" fmla="*/ 3079246 h 4167549"/>
              <a:gd name="connsiteX7067" fmla="*/ 8977162 w 10890933"/>
              <a:gd name="connsiteY7067" fmla="*/ 3130687 h 4167549"/>
              <a:gd name="connsiteX7068" fmla="*/ 9019875 w 10890933"/>
              <a:gd name="connsiteY7068" fmla="*/ 3142132 h 4167549"/>
              <a:gd name="connsiteX7069" fmla="*/ 9000498 w 10890933"/>
              <a:gd name="connsiteY7069" fmla="*/ 3146108 h 4167549"/>
              <a:gd name="connsiteX7070" fmla="*/ 8951536 w 10890933"/>
              <a:gd name="connsiteY7070" fmla="*/ 3123820 h 4167549"/>
              <a:gd name="connsiteX7071" fmla="*/ 8741935 w 10890933"/>
              <a:gd name="connsiteY7071" fmla="*/ 3085994 h 4167549"/>
              <a:gd name="connsiteX7072" fmla="*/ 8746519 w 10890933"/>
              <a:gd name="connsiteY7072" fmla="*/ 3068886 h 4167549"/>
              <a:gd name="connsiteX7073" fmla="*/ 8733394 w 10890933"/>
              <a:gd name="connsiteY7073" fmla="*/ 3083706 h 4167549"/>
              <a:gd name="connsiteX7074" fmla="*/ 8524417 w 10890933"/>
              <a:gd name="connsiteY7074" fmla="*/ 3009374 h 4167549"/>
              <a:gd name="connsiteX7075" fmla="*/ 8468579 w 10890933"/>
              <a:gd name="connsiteY7075" fmla="*/ 3012749 h 4167549"/>
              <a:gd name="connsiteX7076" fmla="*/ 8447537 w 10890933"/>
              <a:gd name="connsiteY7076" fmla="*/ 2988774 h 4167549"/>
              <a:gd name="connsiteX7077" fmla="*/ 8452121 w 10890933"/>
              <a:gd name="connsiteY7077" fmla="*/ 2971666 h 4167549"/>
              <a:gd name="connsiteX7078" fmla="*/ 8469206 w 10890933"/>
              <a:gd name="connsiteY7078" fmla="*/ 2976244 h 4167549"/>
              <a:gd name="connsiteX7079" fmla="*/ 8426495 w 10890933"/>
              <a:gd name="connsiteY7079" fmla="*/ 2964800 h 4167549"/>
              <a:gd name="connsiteX7080" fmla="*/ 8436704 w 10890933"/>
              <a:gd name="connsiteY7080" fmla="*/ 2995040 h 4167549"/>
              <a:gd name="connsiteX7081" fmla="*/ 8417327 w 10890933"/>
              <a:gd name="connsiteY7081" fmla="*/ 2999016 h 4167549"/>
              <a:gd name="connsiteX7082" fmla="*/ 8257313 w 10890933"/>
              <a:gd name="connsiteY7082" fmla="*/ 2946972 h 4167549"/>
              <a:gd name="connsiteX7083" fmla="*/ 8237936 w 10890933"/>
              <a:gd name="connsiteY7083" fmla="*/ 2950948 h 4167549"/>
              <a:gd name="connsiteX7084" fmla="*/ 8150223 w 10890933"/>
              <a:gd name="connsiteY7084" fmla="*/ 2936614 h 4167549"/>
              <a:gd name="connsiteX7085" fmla="*/ 8118345 w 10890933"/>
              <a:gd name="connsiteY7085" fmla="*/ 2918904 h 4167549"/>
              <a:gd name="connsiteX7086" fmla="*/ 8067091 w 10890933"/>
              <a:gd name="connsiteY7086" fmla="*/ 2905170 h 4167549"/>
              <a:gd name="connsiteX7087" fmla="*/ 8011253 w 10890933"/>
              <a:gd name="connsiteY7087" fmla="*/ 2908545 h 4167549"/>
              <a:gd name="connsiteX7088" fmla="*/ 7981040 w 10890933"/>
              <a:gd name="connsiteY7088" fmla="*/ 2918786 h 4167549"/>
              <a:gd name="connsiteX7089" fmla="*/ 7963956 w 10890933"/>
              <a:gd name="connsiteY7089" fmla="*/ 2914208 h 4167549"/>
              <a:gd name="connsiteX7090" fmla="*/ 7953747 w 10890933"/>
              <a:gd name="connsiteY7090" fmla="*/ 2883968 h 4167549"/>
              <a:gd name="connsiteX7091" fmla="*/ 7964504 w 10890933"/>
              <a:gd name="connsiteY7091" fmla="*/ 2882268 h 4167549"/>
              <a:gd name="connsiteX7092" fmla="*/ 7977800 w 10890933"/>
              <a:gd name="connsiteY7092" fmla="*/ 2882278 h 4167549"/>
              <a:gd name="connsiteX7093" fmla="*/ 7975480 w 10890933"/>
              <a:gd name="connsiteY7093" fmla="*/ 2886973 h 4167549"/>
              <a:gd name="connsiteX7094" fmla="*/ 7971615 w 10890933"/>
              <a:gd name="connsiteY7094" fmla="*/ 2889903 h 4167549"/>
              <a:gd name="connsiteX7095" fmla="*/ 7966248 w 10890933"/>
              <a:gd name="connsiteY7095" fmla="*/ 2905654 h 4167549"/>
              <a:gd name="connsiteX7096" fmla="*/ 7975480 w 10890933"/>
              <a:gd name="connsiteY7096" fmla="*/ 2886973 h 4167549"/>
              <a:gd name="connsiteX7097" fmla="*/ 7981667 w 10890933"/>
              <a:gd name="connsiteY7097" fmla="*/ 2882281 h 4167549"/>
              <a:gd name="connsiteX7098" fmla="*/ 7977800 w 10890933"/>
              <a:gd name="connsiteY7098" fmla="*/ 2882278 h 4167549"/>
              <a:gd name="connsiteX7099" fmla="*/ 7986252 w 10890933"/>
              <a:gd name="connsiteY7099" fmla="*/ 2865173 h 4167549"/>
              <a:gd name="connsiteX7100" fmla="*/ 7930413 w 10890933"/>
              <a:gd name="connsiteY7100" fmla="*/ 2868548 h 4167549"/>
              <a:gd name="connsiteX7101" fmla="*/ 7925829 w 10890933"/>
              <a:gd name="connsiteY7101" fmla="*/ 2885656 h 4167549"/>
              <a:gd name="connsiteX7102" fmla="*/ 7911037 w 10890933"/>
              <a:gd name="connsiteY7102" fmla="*/ 2872524 h 4167549"/>
              <a:gd name="connsiteX7103" fmla="*/ 7900200 w 10890933"/>
              <a:gd name="connsiteY7103" fmla="*/ 2878789 h 4167549"/>
              <a:gd name="connsiteX7104" fmla="*/ 7902493 w 10890933"/>
              <a:gd name="connsiteY7104" fmla="*/ 2870235 h 4167549"/>
              <a:gd name="connsiteX7105" fmla="*/ 7899134 w 10890933"/>
              <a:gd name="connsiteY7105" fmla="*/ 2878503 h 4167549"/>
              <a:gd name="connsiteX7106" fmla="*/ 7914992 w 10890933"/>
              <a:gd name="connsiteY7106" fmla="*/ 2891921 h 4167549"/>
              <a:gd name="connsiteX7107" fmla="*/ 7909656 w 10890933"/>
              <a:gd name="connsiteY7107" fmla="*/ 2890491 h 4167549"/>
              <a:gd name="connsiteX7108" fmla="*/ 7872283 w 10890933"/>
              <a:gd name="connsiteY7108" fmla="*/ 2880476 h 4167549"/>
              <a:gd name="connsiteX7109" fmla="*/ 7851239 w 10890933"/>
              <a:gd name="connsiteY7109" fmla="*/ 2856501 h 4167549"/>
              <a:gd name="connsiteX7110" fmla="*/ 7827280 w 10890933"/>
              <a:gd name="connsiteY7110" fmla="*/ 2877586 h 4167549"/>
              <a:gd name="connsiteX7111" fmla="*/ 7835821 w 10890933"/>
              <a:gd name="connsiteY7111" fmla="*/ 2879875 h 4167549"/>
              <a:gd name="connsiteX7112" fmla="*/ 7839779 w 10890933"/>
              <a:gd name="connsiteY7112" fmla="*/ 2899269 h 4167549"/>
              <a:gd name="connsiteX7113" fmla="*/ 7859155 w 10890933"/>
              <a:gd name="connsiteY7113" fmla="*/ 2895295 h 4167549"/>
              <a:gd name="connsiteX7114" fmla="*/ 7863115 w 10890933"/>
              <a:gd name="connsiteY7114" fmla="*/ 2914690 h 4167549"/>
              <a:gd name="connsiteX7115" fmla="*/ 7843739 w 10890933"/>
              <a:gd name="connsiteY7115" fmla="*/ 2918666 h 4167549"/>
              <a:gd name="connsiteX7116" fmla="*/ 7820405 w 10890933"/>
              <a:gd name="connsiteY7116" fmla="*/ 2903246 h 4167549"/>
              <a:gd name="connsiteX7117" fmla="*/ 7831238 w 10890933"/>
              <a:gd name="connsiteY7117" fmla="*/ 2896980 h 4167549"/>
              <a:gd name="connsiteX7118" fmla="*/ 7790819 w 10890933"/>
              <a:gd name="connsiteY7118" fmla="*/ 2876985 h 4167549"/>
              <a:gd name="connsiteX7119" fmla="*/ 7810195 w 10890933"/>
              <a:gd name="connsiteY7119" fmla="*/ 2873008 h 4167549"/>
              <a:gd name="connsiteX7120" fmla="*/ 7817071 w 10890933"/>
              <a:gd name="connsiteY7120" fmla="*/ 2847346 h 4167549"/>
              <a:gd name="connsiteX7121" fmla="*/ 7780610 w 10890933"/>
              <a:gd name="connsiteY7121" fmla="*/ 2846745 h 4167549"/>
              <a:gd name="connsiteX7122" fmla="*/ 7784567 w 10890933"/>
              <a:gd name="connsiteY7122" fmla="*/ 2866141 h 4167549"/>
              <a:gd name="connsiteX7123" fmla="*/ 7733313 w 10890933"/>
              <a:gd name="connsiteY7123" fmla="*/ 2852408 h 4167549"/>
              <a:gd name="connsiteX7124" fmla="*/ 7752690 w 10890933"/>
              <a:gd name="connsiteY7124" fmla="*/ 2848432 h 4167549"/>
              <a:gd name="connsiteX7125" fmla="*/ 7724772 w 10890933"/>
              <a:gd name="connsiteY7125" fmla="*/ 2850119 h 4167549"/>
              <a:gd name="connsiteX7126" fmla="*/ 7707687 w 10890933"/>
              <a:gd name="connsiteY7126" fmla="*/ 2845541 h 4167549"/>
              <a:gd name="connsiteX7127" fmla="*/ 7709979 w 10890933"/>
              <a:gd name="connsiteY7127" fmla="*/ 2836987 h 4167549"/>
              <a:gd name="connsiteX7128" fmla="*/ 7699143 w 10890933"/>
              <a:gd name="connsiteY7128" fmla="*/ 2843252 h 4167549"/>
              <a:gd name="connsiteX7129" fmla="*/ 7745814 w 10890933"/>
              <a:gd name="connsiteY7129" fmla="*/ 2874091 h 4167549"/>
              <a:gd name="connsiteX7130" fmla="*/ 7741230 w 10890933"/>
              <a:gd name="connsiteY7130" fmla="*/ 2891199 h 4167549"/>
              <a:gd name="connsiteX7131" fmla="*/ 7726437 w 10890933"/>
              <a:gd name="connsiteY7131" fmla="*/ 2878067 h 4167549"/>
              <a:gd name="connsiteX7132" fmla="*/ 7700811 w 10890933"/>
              <a:gd name="connsiteY7132" fmla="*/ 2871201 h 4167549"/>
              <a:gd name="connsiteX7133" fmla="*/ 7696851 w 10890933"/>
              <a:gd name="connsiteY7133" fmla="*/ 2851806 h 4167549"/>
              <a:gd name="connsiteX7134" fmla="*/ 7675183 w 10890933"/>
              <a:gd name="connsiteY7134" fmla="*/ 2864334 h 4167549"/>
              <a:gd name="connsiteX7135" fmla="*/ 7683100 w 10890933"/>
              <a:gd name="connsiteY7135" fmla="*/ 2903128 h 4167549"/>
              <a:gd name="connsiteX7136" fmla="*/ 7676850 w 10890933"/>
              <a:gd name="connsiteY7136" fmla="*/ 2892285 h 4167549"/>
              <a:gd name="connsiteX7137" fmla="*/ 7670599 w 10890933"/>
              <a:gd name="connsiteY7137" fmla="*/ 2881442 h 4167549"/>
              <a:gd name="connsiteX7138" fmla="*/ 7644973 w 10890933"/>
              <a:gd name="connsiteY7138" fmla="*/ 2874575 h 4167549"/>
              <a:gd name="connsiteX7139" fmla="*/ 7645597 w 10890933"/>
              <a:gd name="connsiteY7139" fmla="*/ 2838072 h 4167549"/>
              <a:gd name="connsiteX7140" fmla="*/ 7617680 w 10890933"/>
              <a:gd name="connsiteY7140" fmla="*/ 2839758 h 4167549"/>
              <a:gd name="connsiteX7141" fmla="*/ 7621220 w 10890933"/>
              <a:gd name="connsiteY7141" fmla="*/ 2826544 h 4167549"/>
              <a:gd name="connsiteX7142" fmla="*/ 7613503 w 10890933"/>
              <a:gd name="connsiteY7142" fmla="*/ 2825287 h 4167549"/>
              <a:gd name="connsiteX7143" fmla="*/ 7609464 w 10890933"/>
              <a:gd name="connsiteY7143" fmla="*/ 2823827 h 4167549"/>
              <a:gd name="connsiteX7144" fmla="*/ 7599970 w 10890933"/>
              <a:gd name="connsiteY7144" fmla="*/ 2824700 h 4167549"/>
              <a:gd name="connsiteX7145" fmla="*/ 7585802 w 10890933"/>
              <a:gd name="connsiteY7145" fmla="*/ 2822050 h 4167549"/>
              <a:gd name="connsiteX7146" fmla="*/ 7589759 w 10890933"/>
              <a:gd name="connsiteY7146" fmla="*/ 2841444 h 4167549"/>
              <a:gd name="connsiteX7147" fmla="*/ 7523715 w 10890933"/>
              <a:gd name="connsiteY7147" fmla="*/ 2814580 h 4167549"/>
              <a:gd name="connsiteX7148" fmla="*/ 7555590 w 10890933"/>
              <a:gd name="connsiteY7148" fmla="*/ 2832289 h 4167549"/>
              <a:gd name="connsiteX7149" fmla="*/ 7553924 w 10890933"/>
              <a:gd name="connsiteY7149" fmla="*/ 2804341 h 4167549"/>
              <a:gd name="connsiteX7150" fmla="*/ 7539131 w 10890933"/>
              <a:gd name="connsiteY7150" fmla="*/ 2791209 h 4167549"/>
              <a:gd name="connsiteX7151" fmla="*/ 7545380 w 10890933"/>
              <a:gd name="connsiteY7151" fmla="*/ 2802051 h 4167549"/>
              <a:gd name="connsiteX7152" fmla="*/ 7519755 w 10890933"/>
              <a:gd name="connsiteY7152" fmla="*/ 2795185 h 4167549"/>
              <a:gd name="connsiteX7153" fmla="*/ 7511214 w 10890933"/>
              <a:gd name="connsiteY7153" fmla="*/ 2792896 h 4167549"/>
              <a:gd name="connsiteX7154" fmla="*/ 7526006 w 10890933"/>
              <a:gd name="connsiteY7154" fmla="*/ 2806028 h 4167549"/>
              <a:gd name="connsiteX7155" fmla="*/ 7480377 w 10890933"/>
              <a:gd name="connsiteY7155" fmla="*/ 2839640 h 4167549"/>
              <a:gd name="connsiteX7156" fmla="*/ 7439956 w 10890933"/>
              <a:gd name="connsiteY7156" fmla="*/ 2819641 h 4167549"/>
              <a:gd name="connsiteX7157" fmla="*/ 7429123 w 10890933"/>
              <a:gd name="connsiteY7157" fmla="*/ 2825906 h 4167549"/>
              <a:gd name="connsiteX7158" fmla="*/ 7471834 w 10890933"/>
              <a:gd name="connsiteY7158" fmla="*/ 2837351 h 4167549"/>
              <a:gd name="connsiteX7159" fmla="*/ 7456416 w 10890933"/>
              <a:gd name="connsiteY7159" fmla="*/ 2860724 h 4167549"/>
              <a:gd name="connsiteX7160" fmla="*/ 7388078 w 10890933"/>
              <a:gd name="connsiteY7160" fmla="*/ 2842413 h 4167549"/>
              <a:gd name="connsiteX7161" fmla="*/ 7387451 w 10890933"/>
              <a:gd name="connsiteY7161" fmla="*/ 2878915 h 4167549"/>
              <a:gd name="connsiteX7162" fmla="*/ 7355574 w 10890933"/>
              <a:gd name="connsiteY7162" fmla="*/ 2861206 h 4167549"/>
              <a:gd name="connsiteX7163" fmla="*/ 7370366 w 10890933"/>
              <a:gd name="connsiteY7163" fmla="*/ 2874337 h 4167549"/>
              <a:gd name="connsiteX7164" fmla="*/ 7377241 w 10890933"/>
              <a:gd name="connsiteY7164" fmla="*/ 2848678 h 4167549"/>
              <a:gd name="connsiteX7165" fmla="*/ 7307238 w 10890933"/>
              <a:gd name="connsiteY7165" fmla="*/ 2802416 h 4167549"/>
              <a:gd name="connsiteX7166" fmla="*/ 7319738 w 10890933"/>
              <a:gd name="connsiteY7166" fmla="*/ 2824102 h 4167549"/>
              <a:gd name="connsiteX7167" fmla="*/ 7280985 w 10890933"/>
              <a:gd name="connsiteY7167" fmla="*/ 2832051 h 4167549"/>
              <a:gd name="connsiteX7168" fmla="*/ 7281059 w 10890933"/>
              <a:gd name="connsiteY7168" fmla="*/ 2827872 h 4167549"/>
              <a:gd name="connsiteX7169" fmla="*/ 7272293 w 10890933"/>
              <a:gd name="connsiteY7169" fmla="*/ 2835085 h 4167549"/>
              <a:gd name="connsiteX7170" fmla="*/ 7261457 w 10890933"/>
              <a:gd name="connsiteY7170" fmla="*/ 2834387 h 4167549"/>
              <a:gd name="connsiteX7171" fmla="*/ 7281093 w 10890933"/>
              <a:gd name="connsiteY7171" fmla="*/ 2825784 h 4167549"/>
              <a:gd name="connsiteX7172" fmla="*/ 7281377 w 10890933"/>
              <a:gd name="connsiteY7172" fmla="*/ 2809237 h 4167549"/>
              <a:gd name="connsiteX7173" fmla="*/ 7275360 w 10890933"/>
              <a:gd name="connsiteY7173" fmla="*/ 2784706 h 4167549"/>
              <a:gd name="connsiteX7174" fmla="*/ 7262232 w 10890933"/>
              <a:gd name="connsiteY7174" fmla="*/ 2799525 h 4167549"/>
              <a:gd name="connsiteX7175" fmla="*/ 7215565 w 10890933"/>
              <a:gd name="connsiteY7175" fmla="*/ 2768684 h 4167549"/>
              <a:gd name="connsiteX7176" fmla="*/ 7230355 w 10890933"/>
              <a:gd name="connsiteY7176" fmla="*/ 2781815 h 4167549"/>
              <a:gd name="connsiteX7177" fmla="*/ 7175144 w 10890933"/>
              <a:gd name="connsiteY7177" fmla="*/ 2748685 h 4167549"/>
              <a:gd name="connsiteX7178" fmla="*/ 7217857 w 10890933"/>
              <a:gd name="connsiteY7178" fmla="*/ 2760130 h 4167549"/>
              <a:gd name="connsiteX7179" fmla="*/ 7205356 w 10890933"/>
              <a:gd name="connsiteY7179" fmla="*/ 2738444 h 4167549"/>
              <a:gd name="connsiteX7180" fmla="*/ 7166602 w 10890933"/>
              <a:gd name="connsiteY7180" fmla="*/ 2746396 h 4167549"/>
              <a:gd name="connsiteX7181" fmla="*/ 7172852 w 10890933"/>
              <a:gd name="connsiteY7181" fmla="*/ 2757239 h 4167549"/>
              <a:gd name="connsiteX7182" fmla="*/ 7138682 w 10890933"/>
              <a:gd name="connsiteY7182" fmla="*/ 2748083 h 4167549"/>
              <a:gd name="connsiteX7183" fmla="*/ 7123265 w 10890933"/>
              <a:gd name="connsiteY7183" fmla="*/ 2771457 h 4167549"/>
              <a:gd name="connsiteX7184" fmla="*/ 7084512 w 10890933"/>
              <a:gd name="connsiteY7184" fmla="*/ 2779406 h 4167549"/>
              <a:gd name="connsiteX7185" fmla="*/ 7089095 w 10890933"/>
              <a:gd name="connsiteY7185" fmla="*/ 2762301 h 4167549"/>
              <a:gd name="connsiteX7186" fmla="*/ 7075968 w 10890933"/>
              <a:gd name="connsiteY7186" fmla="*/ 2777117 h 4167549"/>
              <a:gd name="connsiteX7187" fmla="*/ 7072011 w 10890933"/>
              <a:gd name="connsiteY7187" fmla="*/ 2757723 h 4167549"/>
              <a:gd name="connsiteX7188" fmla="*/ 7041799 w 10890933"/>
              <a:gd name="connsiteY7188" fmla="*/ 2767962 h 4167549"/>
              <a:gd name="connsiteX7189" fmla="*/ 7037841 w 10890933"/>
              <a:gd name="connsiteY7189" fmla="*/ 2748568 h 4167549"/>
              <a:gd name="connsiteX7190" fmla="*/ 7003672 w 10890933"/>
              <a:gd name="connsiteY7190" fmla="*/ 2739412 h 4167549"/>
              <a:gd name="connsiteX7191" fmla="*/ 7005337 w 10890933"/>
              <a:gd name="connsiteY7191" fmla="*/ 2767360 h 4167549"/>
              <a:gd name="connsiteX7192" fmla="*/ 6988252 w 10890933"/>
              <a:gd name="connsiteY7192" fmla="*/ 2762782 h 4167549"/>
              <a:gd name="connsiteX7193" fmla="*/ 6984295 w 10890933"/>
              <a:gd name="connsiteY7193" fmla="*/ 2743388 h 4167549"/>
              <a:gd name="connsiteX7194" fmla="*/ 6958667 w 10890933"/>
              <a:gd name="connsiteY7194" fmla="*/ 2736521 h 4167549"/>
              <a:gd name="connsiteX7195" fmla="*/ 6971168 w 10890933"/>
              <a:gd name="connsiteY7195" fmla="*/ 2758204 h 4167549"/>
              <a:gd name="connsiteX7196" fmla="*/ 6951791 w 10890933"/>
              <a:gd name="connsiteY7196" fmla="*/ 2762181 h 4167549"/>
              <a:gd name="connsiteX7197" fmla="*/ 6966584 w 10890933"/>
              <a:gd name="connsiteY7197" fmla="*/ 2775312 h 4167549"/>
              <a:gd name="connsiteX7198" fmla="*/ 6927830 w 10890933"/>
              <a:gd name="connsiteY7198" fmla="*/ 2783265 h 4167549"/>
              <a:gd name="connsiteX7199" fmla="*/ 6932414 w 10890933"/>
              <a:gd name="connsiteY7199" fmla="*/ 2766157 h 4167549"/>
              <a:gd name="connsiteX7200" fmla="*/ 6928457 w 10890933"/>
              <a:gd name="connsiteY7200" fmla="*/ 2746760 h 4167549"/>
              <a:gd name="connsiteX7201" fmla="*/ 6906788 w 10890933"/>
              <a:gd name="connsiteY7201" fmla="*/ 2759290 h 4167549"/>
              <a:gd name="connsiteX7202" fmla="*/ 6894288 w 10890933"/>
              <a:gd name="connsiteY7202" fmla="*/ 2737604 h 4167549"/>
              <a:gd name="connsiteX7203" fmla="*/ 6883455 w 10890933"/>
              <a:gd name="connsiteY7203" fmla="*/ 2743870 h 4167549"/>
              <a:gd name="connsiteX7204" fmla="*/ 6889703 w 10890933"/>
              <a:gd name="connsiteY7204" fmla="*/ 2754712 h 4167549"/>
              <a:gd name="connsiteX7205" fmla="*/ 6870327 w 10890933"/>
              <a:gd name="connsiteY7205" fmla="*/ 2758688 h 4167549"/>
              <a:gd name="connsiteX7206" fmla="*/ 6874911 w 10890933"/>
              <a:gd name="connsiteY7206" fmla="*/ 2741581 h 4167549"/>
              <a:gd name="connsiteX7207" fmla="*/ 6861786 w 10890933"/>
              <a:gd name="connsiteY7207" fmla="*/ 2756400 h 4167549"/>
              <a:gd name="connsiteX7208" fmla="*/ 6857826 w 10890933"/>
              <a:gd name="connsiteY7208" fmla="*/ 2737003 h 4167549"/>
              <a:gd name="connsiteX7209" fmla="*/ 6844701 w 10890933"/>
              <a:gd name="connsiteY7209" fmla="*/ 2751822 h 4167549"/>
              <a:gd name="connsiteX7210" fmla="*/ 6829908 w 10890933"/>
              <a:gd name="connsiteY7210" fmla="*/ 2738690 h 4167549"/>
              <a:gd name="connsiteX7211" fmla="*/ 6821365 w 10890933"/>
              <a:gd name="connsiteY7211" fmla="*/ 2736401 h 4167549"/>
              <a:gd name="connsiteX7212" fmla="*/ 6833865 w 10890933"/>
              <a:gd name="connsiteY7212" fmla="*/ 2758087 h 4167549"/>
              <a:gd name="connsiteX7213" fmla="*/ 6812196 w 10890933"/>
              <a:gd name="connsiteY7213" fmla="*/ 2770617 h 4167549"/>
              <a:gd name="connsiteX7214" fmla="*/ 6808239 w 10890933"/>
              <a:gd name="connsiteY7214" fmla="*/ 2751220 h 4167549"/>
              <a:gd name="connsiteX7215" fmla="*/ 6805947 w 10890933"/>
              <a:gd name="connsiteY7215" fmla="*/ 2759774 h 4167549"/>
              <a:gd name="connsiteX7216" fmla="*/ 6795112 w 10890933"/>
              <a:gd name="connsiteY7216" fmla="*/ 2766039 h 4167549"/>
              <a:gd name="connsiteX7217" fmla="*/ 6765526 w 10890933"/>
              <a:gd name="connsiteY7217" fmla="*/ 2739775 h 4167549"/>
              <a:gd name="connsiteX7218" fmla="*/ 6758650 w 10890933"/>
              <a:gd name="connsiteY7218" fmla="*/ 2765438 h 4167549"/>
              <a:gd name="connsiteX7219" fmla="*/ 6743857 w 10890933"/>
              <a:gd name="connsiteY7219" fmla="*/ 2752306 h 4167549"/>
              <a:gd name="connsiteX7220" fmla="*/ 6754693 w 10890933"/>
              <a:gd name="connsiteY7220" fmla="*/ 2746041 h 4167549"/>
              <a:gd name="connsiteX7221" fmla="*/ 6729692 w 10890933"/>
              <a:gd name="connsiteY7221" fmla="*/ 2702669 h 4167549"/>
              <a:gd name="connsiteX7222" fmla="*/ 6699479 w 10890933"/>
              <a:gd name="connsiteY7222" fmla="*/ 2712910 h 4167549"/>
              <a:gd name="connsiteX7223" fmla="*/ 6710288 w 10890933"/>
              <a:gd name="connsiteY7223" fmla="*/ 2723828 h 4167549"/>
              <a:gd name="connsiteX7224" fmla="*/ 6722246 w 10890933"/>
              <a:gd name="connsiteY7224" fmla="*/ 2728126 h 4167549"/>
              <a:gd name="connsiteX7225" fmla="*/ 6720520 w 10890933"/>
              <a:gd name="connsiteY7225" fmla="*/ 2733160 h 4167549"/>
              <a:gd name="connsiteX7226" fmla="*/ 6735317 w 10890933"/>
              <a:gd name="connsiteY7226" fmla="*/ 2750017 h 4167549"/>
              <a:gd name="connsiteX7227" fmla="*/ 6705731 w 10890933"/>
              <a:gd name="connsiteY7227" fmla="*/ 2723753 h 4167549"/>
              <a:gd name="connsiteX7228" fmla="*/ 6696563 w 10890933"/>
              <a:gd name="connsiteY7228" fmla="*/ 2757970 h 4167549"/>
              <a:gd name="connsiteX7229" fmla="*/ 6679478 w 10890933"/>
              <a:gd name="connsiteY7229" fmla="*/ 2753392 h 4167549"/>
              <a:gd name="connsiteX7230" fmla="*/ 6681770 w 10890933"/>
              <a:gd name="connsiteY7230" fmla="*/ 2744838 h 4167549"/>
              <a:gd name="connsiteX7231" fmla="*/ 6664685 w 10890933"/>
              <a:gd name="connsiteY7231" fmla="*/ 2740260 h 4167549"/>
              <a:gd name="connsiteX7232" fmla="*/ 6629889 w 10890933"/>
              <a:gd name="connsiteY7232" fmla="*/ 2767606 h 4167549"/>
              <a:gd name="connsiteX7233" fmla="*/ 6636765 w 10890933"/>
              <a:gd name="connsiteY7233" fmla="*/ 2741947 h 4167549"/>
              <a:gd name="connsiteX7234" fmla="*/ 6594054 w 10890933"/>
              <a:gd name="connsiteY7234" fmla="*/ 2730503 h 4167549"/>
              <a:gd name="connsiteX7235" fmla="*/ 6596346 w 10890933"/>
              <a:gd name="connsiteY7235" fmla="*/ 2721949 h 4167549"/>
              <a:gd name="connsiteX7236" fmla="*/ 6587805 w 10890933"/>
              <a:gd name="connsiteY7236" fmla="*/ 2719660 h 4167549"/>
              <a:gd name="connsiteX7237" fmla="*/ 6594054 w 10890933"/>
              <a:gd name="connsiteY7237" fmla="*/ 2730503 h 4167549"/>
              <a:gd name="connsiteX7238" fmla="*/ 6576970 w 10890933"/>
              <a:gd name="connsiteY7238" fmla="*/ 2725925 h 4167549"/>
              <a:gd name="connsiteX7239" fmla="*/ 6555301 w 10890933"/>
              <a:gd name="connsiteY7239" fmla="*/ 2738452 h 4167549"/>
              <a:gd name="connsiteX7240" fmla="*/ 6546760 w 10890933"/>
              <a:gd name="connsiteY7240" fmla="*/ 2736164 h 4167549"/>
              <a:gd name="connsiteX7241" fmla="*/ 6551344 w 10890933"/>
              <a:gd name="connsiteY7241" fmla="*/ 2719058 h 4167549"/>
              <a:gd name="connsiteX7242" fmla="*/ 6534259 w 10890933"/>
              <a:gd name="connsiteY7242" fmla="*/ 2714480 h 4167549"/>
              <a:gd name="connsiteX7243" fmla="*/ 6529675 w 10890933"/>
              <a:gd name="connsiteY7243" fmla="*/ 2731586 h 4167549"/>
              <a:gd name="connsiteX7244" fmla="*/ 6510299 w 10890933"/>
              <a:gd name="connsiteY7244" fmla="*/ 2735562 h 4167549"/>
              <a:gd name="connsiteX7245" fmla="*/ 6506339 w 10890933"/>
              <a:gd name="connsiteY7245" fmla="*/ 2716165 h 4167549"/>
              <a:gd name="connsiteX7246" fmla="*/ 6502381 w 10890933"/>
              <a:gd name="connsiteY7246" fmla="*/ 2696771 h 4167549"/>
              <a:gd name="connsiteX7247" fmla="*/ 6489254 w 10890933"/>
              <a:gd name="connsiteY7247" fmla="*/ 2711587 h 4167549"/>
              <a:gd name="connsiteX7248" fmla="*/ 6499463 w 10890933"/>
              <a:gd name="connsiteY7248" fmla="*/ 2741827 h 4167549"/>
              <a:gd name="connsiteX7249" fmla="*/ 6476129 w 10890933"/>
              <a:gd name="connsiteY7249" fmla="*/ 2726407 h 4167549"/>
              <a:gd name="connsiteX7250" fmla="*/ 6491546 w 10890933"/>
              <a:gd name="connsiteY7250" fmla="*/ 2703035 h 4167549"/>
              <a:gd name="connsiteX7251" fmla="*/ 6483005 w 10890933"/>
              <a:gd name="connsiteY7251" fmla="*/ 2700747 h 4167549"/>
              <a:gd name="connsiteX7252" fmla="*/ 6454460 w 10890933"/>
              <a:gd name="connsiteY7252" fmla="*/ 2738937 h 4167549"/>
              <a:gd name="connsiteX7253" fmla="*/ 6461960 w 10890933"/>
              <a:gd name="connsiteY7253" fmla="*/ 2676772 h 4167549"/>
              <a:gd name="connsiteX7254" fmla="*/ 6485297 w 10890933"/>
              <a:gd name="connsiteY7254" fmla="*/ 2692193 h 4167549"/>
              <a:gd name="connsiteX7255" fmla="*/ 6481337 w 10890933"/>
              <a:gd name="connsiteY7255" fmla="*/ 2672795 h 4167549"/>
              <a:gd name="connsiteX7256" fmla="*/ 6461960 w 10890933"/>
              <a:gd name="connsiteY7256" fmla="*/ 2676772 h 4167549"/>
              <a:gd name="connsiteX7257" fmla="*/ 6448835 w 10890933"/>
              <a:gd name="connsiteY7257" fmla="*/ 2691591 h 4167549"/>
              <a:gd name="connsiteX7258" fmla="*/ 6442584 w 10890933"/>
              <a:gd name="connsiteY7258" fmla="*/ 2680748 h 4167549"/>
              <a:gd name="connsiteX7259" fmla="*/ 6420915 w 10890933"/>
              <a:gd name="connsiteY7259" fmla="*/ 2693275 h 4167549"/>
              <a:gd name="connsiteX7260" fmla="*/ 6434042 w 10890933"/>
              <a:gd name="connsiteY7260" fmla="*/ 2678459 h 4167549"/>
              <a:gd name="connsiteX7261" fmla="*/ 6414666 w 10890933"/>
              <a:gd name="connsiteY7261" fmla="*/ 2682435 h 4167549"/>
              <a:gd name="connsiteX7262" fmla="*/ 6410082 w 10890933"/>
              <a:gd name="connsiteY7262" fmla="*/ 2699541 h 4167549"/>
              <a:gd name="connsiteX7263" fmla="*/ 6395289 w 10890933"/>
              <a:gd name="connsiteY7263" fmla="*/ 2686409 h 4167549"/>
              <a:gd name="connsiteX7264" fmla="*/ 6373620 w 10890933"/>
              <a:gd name="connsiteY7264" fmla="*/ 2698939 h 4167549"/>
              <a:gd name="connsiteX7265" fmla="*/ 6392997 w 10890933"/>
              <a:gd name="connsiteY7265" fmla="*/ 2694963 h 4167549"/>
              <a:gd name="connsiteX7266" fmla="*/ 6360493 w 10890933"/>
              <a:gd name="connsiteY7266" fmla="*/ 2713758 h 4167549"/>
              <a:gd name="connsiteX7267" fmla="*/ 6347992 w 10890933"/>
              <a:gd name="connsiteY7267" fmla="*/ 2692072 h 4167549"/>
              <a:gd name="connsiteX7268" fmla="*/ 6334867 w 10890933"/>
              <a:gd name="connsiteY7268" fmla="*/ 2706892 h 4167549"/>
              <a:gd name="connsiteX7269" fmla="*/ 6330908 w 10890933"/>
              <a:gd name="connsiteY7269" fmla="*/ 2687494 h 4167549"/>
              <a:gd name="connsiteX7270" fmla="*/ 6324032 w 10890933"/>
              <a:gd name="connsiteY7270" fmla="*/ 2713156 h 4167549"/>
              <a:gd name="connsiteX7271" fmla="*/ 6306947 w 10890933"/>
              <a:gd name="connsiteY7271" fmla="*/ 2708579 h 4167549"/>
              <a:gd name="connsiteX7272" fmla="*/ 6311531 w 10890933"/>
              <a:gd name="connsiteY7272" fmla="*/ 2691471 h 4167549"/>
              <a:gd name="connsiteX7273" fmla="*/ 6298406 w 10890933"/>
              <a:gd name="connsiteY7273" fmla="*/ 2706290 h 4167549"/>
              <a:gd name="connsiteX7274" fmla="*/ 6294446 w 10890933"/>
              <a:gd name="connsiteY7274" fmla="*/ 2686893 h 4167549"/>
              <a:gd name="connsiteX7275" fmla="*/ 6269434 w 10890933"/>
              <a:gd name="connsiteY7275" fmla="*/ 2680191 h 4167549"/>
              <a:gd name="connsiteX7276" fmla="*/ 6269132 w 10890933"/>
              <a:gd name="connsiteY7276" fmla="*/ 2680571 h 4167549"/>
              <a:gd name="connsiteX7277" fmla="*/ 6277415 w 10890933"/>
              <a:gd name="connsiteY7277" fmla="*/ 2694936 h 4167549"/>
              <a:gd name="connsiteX7278" fmla="*/ 6281321 w 10890933"/>
              <a:gd name="connsiteY7278" fmla="*/ 2701712 h 4167549"/>
              <a:gd name="connsiteX7279" fmla="*/ 6255962 w 10890933"/>
              <a:gd name="connsiteY7279" fmla="*/ 2697136 h 4167549"/>
              <a:gd name="connsiteX7280" fmla="*/ 6255894 w 10890933"/>
              <a:gd name="connsiteY7280" fmla="*/ 2697221 h 4167549"/>
              <a:gd name="connsiteX7281" fmla="*/ 6255919 w 10890933"/>
              <a:gd name="connsiteY7281" fmla="*/ 2697128 h 4167549"/>
              <a:gd name="connsiteX7282" fmla="*/ 6255122 w 10890933"/>
              <a:gd name="connsiteY7282" fmla="*/ 2696984 h 4167549"/>
              <a:gd name="connsiteX7283" fmla="*/ 6225482 w 10890933"/>
              <a:gd name="connsiteY7283" fmla="*/ 2705087 h 4167549"/>
              <a:gd name="connsiteX7284" fmla="*/ 6238610 w 10890933"/>
              <a:gd name="connsiteY7284" fmla="*/ 2690268 h 4167549"/>
              <a:gd name="connsiteX7285" fmla="*/ 6195897 w 10890933"/>
              <a:gd name="connsiteY7285" fmla="*/ 2678823 h 4167549"/>
              <a:gd name="connsiteX7286" fmla="*/ 6170271 w 10890933"/>
              <a:gd name="connsiteY7286" fmla="*/ 2671957 h 4167549"/>
              <a:gd name="connsiteX7287" fmla="*/ 6169644 w 10890933"/>
              <a:gd name="connsiteY7287" fmla="*/ 2708461 h 4167549"/>
              <a:gd name="connsiteX7288" fmla="*/ 6195897 w 10890933"/>
              <a:gd name="connsiteY7288" fmla="*/ 2678823 h 4167549"/>
              <a:gd name="connsiteX7289" fmla="*/ 6219234 w 10890933"/>
              <a:gd name="connsiteY7289" fmla="*/ 2694244 h 4167549"/>
              <a:gd name="connsiteX7290" fmla="*/ 6214649 w 10890933"/>
              <a:gd name="connsiteY7290" fmla="*/ 2711352 h 4167549"/>
              <a:gd name="connsiteX7291" fmla="*/ 6210690 w 10890933"/>
              <a:gd name="connsiteY7291" fmla="*/ 2691955 h 4167549"/>
              <a:gd name="connsiteX7292" fmla="*/ 6189021 w 10890933"/>
              <a:gd name="connsiteY7292" fmla="*/ 2704485 h 4167549"/>
              <a:gd name="connsiteX7293" fmla="*/ 6190689 w 10890933"/>
              <a:gd name="connsiteY7293" fmla="*/ 2732434 h 4167549"/>
              <a:gd name="connsiteX7294" fmla="*/ 6180480 w 10890933"/>
              <a:gd name="connsiteY7294" fmla="*/ 2702197 h 4167549"/>
              <a:gd name="connsiteX7295" fmla="*/ 6151935 w 10890933"/>
              <a:gd name="connsiteY7295" fmla="*/ 2740386 h 4167549"/>
              <a:gd name="connsiteX7296" fmla="*/ 6154851 w 10890933"/>
              <a:gd name="connsiteY7296" fmla="*/ 2695329 h 4167549"/>
              <a:gd name="connsiteX7297" fmla="*/ 6133183 w 10890933"/>
              <a:gd name="connsiteY7297" fmla="*/ 2707857 h 4167549"/>
              <a:gd name="connsiteX7298" fmla="*/ 6129225 w 10890933"/>
              <a:gd name="connsiteY7298" fmla="*/ 2688463 h 4167549"/>
              <a:gd name="connsiteX7299" fmla="*/ 6120058 w 10890933"/>
              <a:gd name="connsiteY7299" fmla="*/ 2722677 h 4167549"/>
              <a:gd name="connsiteX7300" fmla="*/ 6112141 w 10890933"/>
              <a:gd name="connsiteY7300" fmla="*/ 2683885 h 4167549"/>
              <a:gd name="connsiteX7301" fmla="*/ 6071096 w 10890933"/>
              <a:gd name="connsiteY7301" fmla="*/ 2700389 h 4167549"/>
              <a:gd name="connsiteX7302" fmla="*/ 6077971 w 10890933"/>
              <a:gd name="connsiteY7302" fmla="*/ 2674730 h 4167549"/>
              <a:gd name="connsiteX7303" fmla="*/ 6060887 w 10890933"/>
              <a:gd name="connsiteY7303" fmla="*/ 2670152 h 4167549"/>
              <a:gd name="connsiteX7304" fmla="*/ 6043802 w 10890933"/>
              <a:gd name="connsiteY7304" fmla="*/ 2665574 h 4167549"/>
              <a:gd name="connsiteX7305" fmla="*/ 6045468 w 10890933"/>
              <a:gd name="connsiteY7305" fmla="*/ 2693522 h 4167549"/>
              <a:gd name="connsiteX7306" fmla="*/ 6071096 w 10890933"/>
              <a:gd name="connsiteY7306" fmla="*/ 2700389 h 4167549"/>
              <a:gd name="connsiteX7307" fmla="*/ 6026091 w 10890933"/>
              <a:gd name="connsiteY7307" fmla="*/ 2697498 h 4167549"/>
              <a:gd name="connsiteX7308" fmla="*/ 5989629 w 10890933"/>
              <a:gd name="connsiteY7308" fmla="*/ 2696896 h 4167549"/>
              <a:gd name="connsiteX7309" fmla="*/ 5985045 w 10890933"/>
              <a:gd name="connsiteY7309" fmla="*/ 2714004 h 4167549"/>
              <a:gd name="connsiteX7310" fmla="*/ 5981088 w 10890933"/>
              <a:gd name="connsiteY7310" fmla="*/ 2694608 h 4167549"/>
              <a:gd name="connsiteX7311" fmla="*/ 5965668 w 10890933"/>
              <a:gd name="connsiteY7311" fmla="*/ 2717981 h 4167549"/>
              <a:gd name="connsiteX7312" fmla="*/ 5966295 w 10890933"/>
              <a:gd name="connsiteY7312" fmla="*/ 2681476 h 4167549"/>
              <a:gd name="connsiteX7313" fmla="*/ 5964003 w 10890933"/>
              <a:gd name="connsiteY7313" fmla="*/ 2690030 h 4167549"/>
              <a:gd name="connsiteX7314" fmla="*/ 5950200 w 10890933"/>
              <a:gd name="connsiteY7314" fmla="*/ 2681749 h 4167549"/>
              <a:gd name="connsiteX7315" fmla="*/ 5939964 w 10890933"/>
              <a:gd name="connsiteY7315" fmla="*/ 2677242 h 4167549"/>
              <a:gd name="connsiteX7316" fmla="*/ 5940670 w 10890933"/>
              <a:gd name="connsiteY7316" fmla="*/ 2674610 h 4167549"/>
              <a:gd name="connsiteX7317" fmla="*/ 5935199 w 10890933"/>
              <a:gd name="connsiteY7317" fmla="*/ 2675144 h 4167549"/>
              <a:gd name="connsiteX7318" fmla="*/ 5923585 w 10890933"/>
              <a:gd name="connsiteY7318" fmla="*/ 2670032 h 4167549"/>
              <a:gd name="connsiteX7319" fmla="*/ 5931266 w 10890933"/>
              <a:gd name="connsiteY7319" fmla="*/ 2675528 h 4167549"/>
              <a:gd name="connsiteX7320" fmla="*/ 5935199 w 10890933"/>
              <a:gd name="connsiteY7320" fmla="*/ 2675144 h 4167549"/>
              <a:gd name="connsiteX7321" fmla="*/ 5939964 w 10890933"/>
              <a:gd name="connsiteY7321" fmla="*/ 2677242 h 4167549"/>
              <a:gd name="connsiteX7322" fmla="*/ 5933793 w 10890933"/>
              <a:gd name="connsiteY7322" fmla="*/ 2700272 h 4167549"/>
              <a:gd name="connsiteX7323" fmla="*/ 5942218 w 10890933"/>
              <a:gd name="connsiteY7323" fmla="*/ 2703532 h 4167549"/>
              <a:gd name="connsiteX7324" fmla="*/ 5942887 w 10890933"/>
              <a:gd name="connsiteY7324" fmla="*/ 2702763 h 4167549"/>
              <a:gd name="connsiteX7325" fmla="*/ 5953794 w 10890933"/>
              <a:gd name="connsiteY7325" fmla="*/ 2706777 h 4167549"/>
              <a:gd name="connsiteX7326" fmla="*/ 5957127 w 10890933"/>
              <a:gd name="connsiteY7326" fmla="*/ 2715692 h 4167549"/>
              <a:gd name="connsiteX7327" fmla="*/ 5918374 w 10890933"/>
              <a:gd name="connsiteY7327" fmla="*/ 2723645 h 4167549"/>
              <a:gd name="connsiteX7328" fmla="*/ 5927542 w 10890933"/>
              <a:gd name="connsiteY7328" fmla="*/ 2689428 h 4167549"/>
              <a:gd name="connsiteX7329" fmla="*/ 5916709 w 10890933"/>
              <a:gd name="connsiteY7329" fmla="*/ 2695694 h 4167549"/>
              <a:gd name="connsiteX7330" fmla="*/ 5870038 w 10890933"/>
              <a:gd name="connsiteY7330" fmla="*/ 2664852 h 4167549"/>
              <a:gd name="connsiteX7331" fmla="*/ 5833577 w 10890933"/>
              <a:gd name="connsiteY7331" fmla="*/ 2664251 h 4167549"/>
              <a:gd name="connsiteX7332" fmla="*/ 5830658 w 10890933"/>
              <a:gd name="connsiteY7332" fmla="*/ 2709307 h 4167549"/>
              <a:gd name="connsiteX7333" fmla="*/ 5796489 w 10890933"/>
              <a:gd name="connsiteY7333" fmla="*/ 2700151 h 4167549"/>
              <a:gd name="connsiteX7334" fmla="*/ 5792531 w 10890933"/>
              <a:gd name="connsiteY7334" fmla="*/ 2680757 h 4167549"/>
              <a:gd name="connsiteX7335" fmla="*/ 5787948 w 10890933"/>
              <a:gd name="connsiteY7335" fmla="*/ 2697862 h 4167549"/>
              <a:gd name="connsiteX7336" fmla="*/ 5775447 w 10890933"/>
              <a:gd name="connsiteY7336" fmla="*/ 2676179 h 4167549"/>
              <a:gd name="connsiteX7337" fmla="*/ 5770863 w 10890933"/>
              <a:gd name="connsiteY7337" fmla="*/ 2693285 h 4167549"/>
              <a:gd name="connsiteX7338" fmla="*/ 5802741 w 10890933"/>
              <a:gd name="connsiteY7338" fmla="*/ 2710994 h 4167549"/>
              <a:gd name="connsiteX7339" fmla="*/ 5768571 w 10890933"/>
              <a:gd name="connsiteY7339" fmla="*/ 2701839 h 4167549"/>
              <a:gd name="connsiteX7340" fmla="*/ 5740651 w 10890933"/>
              <a:gd name="connsiteY7340" fmla="*/ 2703525 h 4167549"/>
              <a:gd name="connsiteX7341" fmla="*/ 5746902 w 10890933"/>
              <a:gd name="connsiteY7341" fmla="*/ 2714369 h 4167549"/>
              <a:gd name="connsiteX7342" fmla="*/ 5718982 w 10890933"/>
              <a:gd name="connsiteY7342" fmla="*/ 2716056 h 4167549"/>
              <a:gd name="connsiteX7343" fmla="*/ 5710440 w 10890933"/>
              <a:gd name="connsiteY7343" fmla="*/ 2713767 h 4167549"/>
              <a:gd name="connsiteX7344" fmla="*/ 5729817 w 10890933"/>
              <a:gd name="connsiteY7344" fmla="*/ 2709791 h 4167549"/>
              <a:gd name="connsiteX7345" fmla="*/ 5701897 w 10890933"/>
              <a:gd name="connsiteY7345" fmla="*/ 2711478 h 4167549"/>
              <a:gd name="connsiteX7346" fmla="*/ 5684812 w 10890933"/>
              <a:gd name="connsiteY7346" fmla="*/ 2706900 h 4167549"/>
              <a:gd name="connsiteX7347" fmla="*/ 5693356 w 10890933"/>
              <a:gd name="connsiteY7347" fmla="*/ 2709189 h 4167549"/>
              <a:gd name="connsiteX7348" fmla="*/ 5687104 w 10890933"/>
              <a:gd name="connsiteY7348" fmla="*/ 2698346 h 4167549"/>
              <a:gd name="connsiteX7349" fmla="*/ 5663143 w 10890933"/>
              <a:gd name="connsiteY7349" fmla="*/ 2719430 h 4167549"/>
              <a:gd name="connsiteX7350" fmla="*/ 5650643 w 10890933"/>
              <a:gd name="connsiteY7350" fmla="*/ 2697744 h 4167549"/>
              <a:gd name="connsiteX7351" fmla="*/ 5616476 w 10890933"/>
              <a:gd name="connsiteY7351" fmla="*/ 2688589 h 4167549"/>
              <a:gd name="connsiteX7352" fmla="*/ 5648351 w 10890933"/>
              <a:gd name="connsiteY7352" fmla="*/ 2706298 h 4167549"/>
              <a:gd name="connsiteX7353" fmla="*/ 5652310 w 10890933"/>
              <a:gd name="connsiteY7353" fmla="*/ 2725696 h 4167549"/>
              <a:gd name="connsiteX7354" fmla="*/ 5594180 w 10890933"/>
              <a:gd name="connsiteY7354" fmla="*/ 2737622 h 4167549"/>
              <a:gd name="connsiteX7355" fmla="*/ 5590223 w 10890933"/>
              <a:gd name="connsiteY7355" fmla="*/ 2718228 h 4167549"/>
              <a:gd name="connsiteX7356" fmla="*/ 5570847 w 10890933"/>
              <a:gd name="connsiteY7356" fmla="*/ 2722201 h 4167549"/>
              <a:gd name="connsiteX7357" fmla="*/ 5600432 w 10890933"/>
              <a:gd name="connsiteY7357" fmla="*/ 2748465 h 4167549"/>
              <a:gd name="connsiteX7358" fmla="*/ 5606681 w 10890933"/>
              <a:gd name="connsiteY7358" fmla="*/ 2759308 h 4167549"/>
              <a:gd name="connsiteX7359" fmla="*/ 5636891 w 10890933"/>
              <a:gd name="connsiteY7359" fmla="*/ 2749066 h 4167549"/>
              <a:gd name="connsiteX7360" fmla="*/ 5640851 w 10890933"/>
              <a:gd name="connsiteY7360" fmla="*/ 2768463 h 4167549"/>
              <a:gd name="connsiteX7361" fmla="*/ 5666476 w 10890933"/>
              <a:gd name="connsiteY7361" fmla="*/ 2775330 h 4167549"/>
              <a:gd name="connsiteX7362" fmla="*/ 5653352 w 10890933"/>
              <a:gd name="connsiteY7362" fmla="*/ 2790149 h 4167549"/>
              <a:gd name="connsiteX7363" fmla="*/ 5638559 w 10890933"/>
              <a:gd name="connsiteY7363" fmla="*/ 2777018 h 4167549"/>
              <a:gd name="connsiteX7364" fmla="*/ 5625849 w 10890933"/>
              <a:gd name="connsiteY7364" fmla="*/ 2798825 h 4167549"/>
              <a:gd name="connsiteX7365" fmla="*/ 5608413 w 10890933"/>
              <a:gd name="connsiteY7365" fmla="*/ 2803199 h 4167549"/>
              <a:gd name="connsiteX7366" fmla="*/ 5597513 w 10890933"/>
              <a:gd name="connsiteY7366" fmla="*/ 2793524 h 4167549"/>
              <a:gd name="connsiteX7367" fmla="*/ 5616890 w 10890933"/>
              <a:gd name="connsiteY7367" fmla="*/ 2789548 h 4167549"/>
              <a:gd name="connsiteX7368" fmla="*/ 5621474 w 10890933"/>
              <a:gd name="connsiteY7368" fmla="*/ 2772440 h 4167549"/>
              <a:gd name="connsiteX7369" fmla="*/ 5591264 w 10890933"/>
              <a:gd name="connsiteY7369" fmla="*/ 2782681 h 4167549"/>
              <a:gd name="connsiteX7370" fmla="*/ 5584388 w 10890933"/>
              <a:gd name="connsiteY7370" fmla="*/ 2808343 h 4167549"/>
              <a:gd name="connsiteX7371" fmla="*/ 5552510 w 10890933"/>
              <a:gd name="connsiteY7371" fmla="*/ 2790633 h 4167549"/>
              <a:gd name="connsiteX7372" fmla="*/ 5517714 w 10890933"/>
              <a:gd name="connsiteY7372" fmla="*/ 2817980 h 4167549"/>
              <a:gd name="connsiteX7373" fmla="*/ 5522298 w 10890933"/>
              <a:gd name="connsiteY7373" fmla="*/ 2800872 h 4167549"/>
              <a:gd name="connsiteX7374" fmla="*/ 5541674 w 10890933"/>
              <a:gd name="connsiteY7374" fmla="*/ 2796898 h 4167549"/>
              <a:gd name="connsiteX7375" fmla="*/ 5526882 w 10890933"/>
              <a:gd name="connsiteY7375" fmla="*/ 2783766 h 4167549"/>
              <a:gd name="connsiteX7376" fmla="*/ 5498964 w 10890933"/>
              <a:gd name="connsiteY7376" fmla="*/ 2785454 h 4167549"/>
              <a:gd name="connsiteX7377" fmla="*/ 5524590 w 10890933"/>
              <a:gd name="connsiteY7377" fmla="*/ 2792320 h 4167549"/>
              <a:gd name="connsiteX7378" fmla="*/ 5512612 w 10890933"/>
              <a:gd name="connsiteY7378" fmla="*/ 2802862 h 4167549"/>
              <a:gd name="connsiteX7379" fmla="*/ 5501589 w 10890933"/>
              <a:gd name="connsiteY7379" fmla="*/ 2812559 h 4167549"/>
              <a:gd name="connsiteX7380" fmla="*/ 5503517 w 10890933"/>
              <a:gd name="connsiteY7380" fmla="*/ 2813076 h 4167549"/>
              <a:gd name="connsiteX7381" fmla="*/ 5479621 w 10890933"/>
              <a:gd name="connsiteY7381" fmla="*/ 2836436 h 4167549"/>
              <a:gd name="connsiteX7382" fmla="*/ 5489610 w 10890933"/>
              <a:gd name="connsiteY7382" fmla="*/ 2827950 h 4167549"/>
              <a:gd name="connsiteX7383" fmla="*/ 5494887 w 10890933"/>
              <a:gd name="connsiteY7383" fmla="*/ 2812083 h 4167549"/>
              <a:gd name="connsiteX7384" fmla="*/ 5484849 w 10890933"/>
              <a:gd name="connsiteY7384" fmla="*/ 2809774 h 4167549"/>
              <a:gd name="connsiteX7385" fmla="*/ 5475235 w 10890933"/>
              <a:gd name="connsiteY7385" fmla="*/ 2820932 h 4167549"/>
              <a:gd name="connsiteX7386" fmla="*/ 5453857 w 10890933"/>
              <a:gd name="connsiteY7386" fmla="*/ 2817409 h 4167549"/>
              <a:gd name="connsiteX7387" fmla="*/ 5482796 w 10890933"/>
              <a:gd name="connsiteY7387" fmla="*/ 2809301 h 4167549"/>
              <a:gd name="connsiteX7388" fmla="*/ 5440261 w 10890933"/>
              <a:gd name="connsiteY7388" fmla="*/ 2799521 h 4167549"/>
              <a:gd name="connsiteX7389" fmla="*/ 5376452 w 10890933"/>
              <a:gd name="connsiteY7389" fmla="*/ 2798465 h 4167549"/>
              <a:gd name="connsiteX7390" fmla="*/ 5388953 w 10890933"/>
              <a:gd name="connsiteY7390" fmla="*/ 2820151 h 4167549"/>
              <a:gd name="connsiteX7391" fmla="*/ 5361062 w 10890933"/>
              <a:gd name="connsiteY7391" fmla="*/ 2804657 h 4167549"/>
              <a:gd name="connsiteX7392" fmla="*/ 5354466 w 10890933"/>
              <a:gd name="connsiteY7392" fmla="*/ 2802634 h 4167549"/>
              <a:gd name="connsiteX7393" fmla="*/ 5357076 w 10890933"/>
              <a:gd name="connsiteY7393" fmla="*/ 2802442 h 4167549"/>
              <a:gd name="connsiteX7394" fmla="*/ 5354375 w 10890933"/>
              <a:gd name="connsiteY7394" fmla="*/ 2802604 h 4167549"/>
              <a:gd name="connsiteX7395" fmla="*/ 5331450 w 10890933"/>
              <a:gd name="connsiteY7395" fmla="*/ 2795575 h 4167549"/>
              <a:gd name="connsiteX7396" fmla="*/ 5336136 w 10890933"/>
              <a:gd name="connsiteY7396" fmla="*/ 2803708 h 4167549"/>
              <a:gd name="connsiteX7397" fmla="*/ 5354375 w 10890933"/>
              <a:gd name="connsiteY7397" fmla="*/ 2802604 h 4167549"/>
              <a:gd name="connsiteX7398" fmla="*/ 5354466 w 10890933"/>
              <a:gd name="connsiteY7398" fmla="*/ 2802634 h 4167549"/>
              <a:gd name="connsiteX7399" fmla="*/ 5303375 w 10890933"/>
              <a:gd name="connsiteY7399" fmla="*/ 2806389 h 4167549"/>
              <a:gd name="connsiteX7400" fmla="*/ 5274088 w 10890933"/>
              <a:gd name="connsiteY7400" fmla="*/ 2811673 h 4167549"/>
              <a:gd name="connsiteX7401" fmla="*/ 5273320 w 10890933"/>
              <a:gd name="connsiteY7401" fmla="*/ 2807504 h 4167549"/>
              <a:gd name="connsiteX7402" fmla="*/ 5265796 w 10890933"/>
              <a:gd name="connsiteY7402" fmla="*/ 2813170 h 4167549"/>
              <a:gd name="connsiteX7403" fmla="*/ 5262486 w 10890933"/>
              <a:gd name="connsiteY7403" fmla="*/ 2813769 h 4167549"/>
              <a:gd name="connsiteX7404" fmla="*/ 5264778 w 10890933"/>
              <a:gd name="connsiteY7404" fmla="*/ 2805215 h 4167549"/>
              <a:gd name="connsiteX7405" fmla="*/ 5161643 w 10890933"/>
              <a:gd name="connsiteY7405" fmla="*/ 2814250 h 4167549"/>
              <a:gd name="connsiteX7406" fmla="*/ 5172479 w 10890933"/>
              <a:gd name="connsiteY7406" fmla="*/ 2807985 h 4167549"/>
              <a:gd name="connsiteX7407" fmla="*/ 5138309 w 10890933"/>
              <a:gd name="connsiteY7407" fmla="*/ 2798830 h 4167549"/>
              <a:gd name="connsiteX7408" fmla="*/ 5099556 w 10890933"/>
              <a:gd name="connsiteY7408" fmla="*/ 2806782 h 4167549"/>
              <a:gd name="connsiteX7409" fmla="*/ 5131433 w 10890933"/>
              <a:gd name="connsiteY7409" fmla="*/ 2824492 h 4167549"/>
              <a:gd name="connsiteX7410" fmla="*/ 5161643 w 10890933"/>
              <a:gd name="connsiteY7410" fmla="*/ 2814250 h 4167549"/>
              <a:gd name="connsiteX7411" fmla="*/ 5193521 w 10890933"/>
              <a:gd name="connsiteY7411" fmla="*/ 2831960 h 4167549"/>
              <a:gd name="connsiteX7412" fmla="*/ 5243110 w 10890933"/>
              <a:gd name="connsiteY7412" fmla="*/ 2817743 h 4167549"/>
              <a:gd name="connsiteX7413" fmla="*/ 5247510 w 10890933"/>
              <a:gd name="connsiteY7413" fmla="*/ 2826946 h 4167549"/>
              <a:gd name="connsiteX7414" fmla="*/ 5265796 w 10890933"/>
              <a:gd name="connsiteY7414" fmla="*/ 2813170 h 4167549"/>
              <a:gd name="connsiteX7415" fmla="*/ 5274088 w 10890933"/>
              <a:gd name="connsiteY7415" fmla="*/ 2811673 h 4167549"/>
              <a:gd name="connsiteX7416" fmla="*/ 5277982 w 10890933"/>
              <a:gd name="connsiteY7416" fmla="*/ 2832819 h 4167549"/>
              <a:gd name="connsiteX7417" fmla="*/ 5300613 w 10890933"/>
              <a:gd name="connsiteY7417" fmla="*/ 2842319 h 4167549"/>
              <a:gd name="connsiteX7418" fmla="*/ 5290404 w 10890933"/>
              <a:gd name="connsiteY7418" fmla="*/ 2812081 h 4167549"/>
              <a:gd name="connsiteX7419" fmla="*/ 5316032 w 10890933"/>
              <a:gd name="connsiteY7419" fmla="*/ 2818949 h 4167549"/>
              <a:gd name="connsiteX7420" fmla="*/ 5316709 w 10890933"/>
              <a:gd name="connsiteY7420" fmla="*/ 2842049 h 4167549"/>
              <a:gd name="connsiteX7421" fmla="*/ 5318208 w 10890933"/>
              <a:gd name="connsiteY7421" fmla="*/ 2844997 h 4167549"/>
              <a:gd name="connsiteX7422" fmla="*/ 5317698 w 10890933"/>
              <a:gd name="connsiteY7422" fmla="*/ 2846897 h 4167549"/>
              <a:gd name="connsiteX7423" fmla="*/ 5319974 w 10890933"/>
              <a:gd name="connsiteY7423" fmla="*/ 2848471 h 4167549"/>
              <a:gd name="connsiteX7424" fmla="*/ 5330199 w 10890933"/>
              <a:gd name="connsiteY7424" fmla="*/ 2868583 h 4167549"/>
              <a:gd name="connsiteX7425" fmla="*/ 5331215 w 10890933"/>
              <a:gd name="connsiteY7425" fmla="*/ 2856249 h 4167549"/>
              <a:gd name="connsiteX7426" fmla="*/ 5319974 w 10890933"/>
              <a:gd name="connsiteY7426" fmla="*/ 2848471 h 4167549"/>
              <a:gd name="connsiteX7427" fmla="*/ 5318208 w 10890933"/>
              <a:gd name="connsiteY7427" fmla="*/ 2844997 h 4167549"/>
              <a:gd name="connsiteX7428" fmla="*/ 5322282 w 10890933"/>
              <a:gd name="connsiteY7428" fmla="*/ 2829791 h 4167549"/>
              <a:gd name="connsiteX7429" fmla="*/ 5360466 w 10890933"/>
              <a:gd name="connsiteY7429" fmla="*/ 2832244 h 4167549"/>
              <a:gd name="connsiteX7430" fmla="*/ 5360635 w 10890933"/>
              <a:gd name="connsiteY7430" fmla="*/ 2832111 h 4167549"/>
              <a:gd name="connsiteX7431" fmla="*/ 5360518 w 10890933"/>
              <a:gd name="connsiteY7431" fmla="*/ 2832246 h 4167549"/>
              <a:gd name="connsiteX7432" fmla="*/ 5367284 w 10890933"/>
              <a:gd name="connsiteY7432" fmla="*/ 2832681 h 4167549"/>
              <a:gd name="connsiteX7433" fmla="*/ 5364992 w 10890933"/>
              <a:gd name="connsiteY7433" fmla="*/ 2841235 h 4167549"/>
              <a:gd name="connsiteX7434" fmla="*/ 5362700 w 10890933"/>
              <a:gd name="connsiteY7434" fmla="*/ 2849787 h 4167549"/>
              <a:gd name="connsiteX7435" fmla="*/ 5392912 w 10890933"/>
              <a:gd name="connsiteY7435" fmla="*/ 2839549 h 4167549"/>
              <a:gd name="connsiteX7436" fmla="*/ 5364992 w 10890933"/>
              <a:gd name="connsiteY7436" fmla="*/ 2841235 h 4167549"/>
              <a:gd name="connsiteX7437" fmla="*/ 5386661 w 10890933"/>
              <a:gd name="connsiteY7437" fmla="*/ 2828705 h 4167549"/>
              <a:gd name="connsiteX7438" fmla="*/ 5427082 w 10890933"/>
              <a:gd name="connsiteY7438" fmla="*/ 2848704 h 4167549"/>
              <a:gd name="connsiteX7439" fmla="*/ 5435572 w 10890933"/>
              <a:gd name="connsiteY7439" fmla="*/ 2838373 h 4167549"/>
              <a:gd name="connsiteX7440" fmla="*/ 5448751 w 10890933"/>
              <a:gd name="connsiteY7440" fmla="*/ 2836174 h 4167549"/>
              <a:gd name="connsiteX7441" fmla="*/ 5461252 w 10890933"/>
              <a:gd name="connsiteY7441" fmla="*/ 2857860 h 4167549"/>
              <a:gd name="connsiteX7442" fmla="*/ 5472085 w 10890933"/>
              <a:gd name="connsiteY7442" fmla="*/ 2851595 h 4167549"/>
              <a:gd name="connsiteX7443" fmla="*/ 5465836 w 10890933"/>
              <a:gd name="connsiteY7443" fmla="*/ 2840752 h 4167549"/>
              <a:gd name="connsiteX7444" fmla="*/ 5459585 w 10890933"/>
              <a:gd name="connsiteY7444" fmla="*/ 2829909 h 4167549"/>
              <a:gd name="connsiteX7445" fmla="*/ 5493754 w 10890933"/>
              <a:gd name="connsiteY7445" fmla="*/ 2839064 h 4167549"/>
              <a:gd name="connsiteX7446" fmla="*/ 5577512 w 10890933"/>
              <a:gd name="connsiteY7446" fmla="*/ 2834003 h 4167549"/>
              <a:gd name="connsiteX7447" fmla="*/ 5581469 w 10890933"/>
              <a:gd name="connsiteY7447" fmla="*/ 2853400 h 4167549"/>
              <a:gd name="connsiteX7448" fmla="*/ 5594597 w 10890933"/>
              <a:gd name="connsiteY7448" fmla="*/ 2838581 h 4167549"/>
              <a:gd name="connsiteX7449" fmla="*/ 5603970 w 10890933"/>
              <a:gd name="connsiteY7449" fmla="*/ 2854846 h 4167549"/>
              <a:gd name="connsiteX7450" fmla="*/ 5598554 w 10890933"/>
              <a:gd name="connsiteY7450" fmla="*/ 2857977 h 4167549"/>
              <a:gd name="connsiteX7451" fmla="*/ 5572928 w 10890933"/>
              <a:gd name="connsiteY7451" fmla="*/ 2851111 h 4167549"/>
              <a:gd name="connsiteX7452" fmla="*/ 5568344 w 10890933"/>
              <a:gd name="connsiteY7452" fmla="*/ 2868219 h 4167549"/>
              <a:gd name="connsiteX7453" fmla="*/ 5562092 w 10890933"/>
              <a:gd name="connsiteY7453" fmla="*/ 2857376 h 4167549"/>
              <a:gd name="connsiteX7454" fmla="*/ 5555216 w 10890933"/>
              <a:gd name="connsiteY7454" fmla="*/ 2883038 h 4167549"/>
              <a:gd name="connsiteX7455" fmla="*/ 5536466 w 10890933"/>
              <a:gd name="connsiteY7455" fmla="*/ 2850509 h 4167549"/>
              <a:gd name="connsiteX7456" fmla="*/ 5523339 w 10890933"/>
              <a:gd name="connsiteY7456" fmla="*/ 2865328 h 4167549"/>
              <a:gd name="connsiteX7457" fmla="*/ 5552924 w 10890933"/>
              <a:gd name="connsiteY7457" fmla="*/ 2891592 h 4167549"/>
              <a:gd name="connsiteX7458" fmla="*/ 5568344 w 10890933"/>
              <a:gd name="connsiteY7458" fmla="*/ 2868219 h 4167549"/>
              <a:gd name="connsiteX7459" fmla="*/ 5613347 w 10890933"/>
              <a:gd name="connsiteY7459" fmla="*/ 2871109 h 4167549"/>
              <a:gd name="connsiteX7460" fmla="*/ 5566052 w 10890933"/>
              <a:gd name="connsiteY7460" fmla="*/ 2876773 h 4167549"/>
              <a:gd name="connsiteX7461" fmla="*/ 5583137 w 10890933"/>
              <a:gd name="connsiteY7461" fmla="*/ 2881351 h 4167549"/>
              <a:gd name="connsiteX7462" fmla="*/ 5577939 w 10890933"/>
              <a:gd name="connsiteY7462" fmla="*/ 2886600 h 4167549"/>
              <a:gd name="connsiteX7463" fmla="*/ 5572301 w 10890933"/>
              <a:gd name="connsiteY7463" fmla="*/ 2887616 h 4167549"/>
              <a:gd name="connsiteX7464" fmla="*/ 5576859 w 10890933"/>
              <a:gd name="connsiteY7464" fmla="*/ 2887691 h 4167549"/>
              <a:gd name="connsiteX7465" fmla="*/ 5577939 w 10890933"/>
              <a:gd name="connsiteY7465" fmla="*/ 2886600 h 4167549"/>
              <a:gd name="connsiteX7466" fmla="*/ 5589888 w 10890933"/>
              <a:gd name="connsiteY7466" fmla="*/ 2884449 h 4167549"/>
              <a:gd name="connsiteX7467" fmla="*/ 5651473 w 10890933"/>
              <a:gd name="connsiteY7467" fmla="*/ 2899662 h 4167549"/>
              <a:gd name="connsiteX7468" fmla="*/ 5661683 w 10890933"/>
              <a:gd name="connsiteY7468" fmla="*/ 2929899 h 4167549"/>
              <a:gd name="connsiteX7469" fmla="*/ 5649181 w 10890933"/>
              <a:gd name="connsiteY7469" fmla="*/ 2908216 h 4167549"/>
              <a:gd name="connsiteX7470" fmla="*/ 5610428 w 10890933"/>
              <a:gd name="connsiteY7470" fmla="*/ 2916165 h 4167549"/>
              <a:gd name="connsiteX7471" fmla="*/ 5565426 w 10890933"/>
              <a:gd name="connsiteY7471" fmla="*/ 2913275 h 4167549"/>
              <a:gd name="connsiteX7472" fmla="*/ 5537508 w 10890933"/>
              <a:gd name="connsiteY7472" fmla="*/ 2914963 h 4167549"/>
              <a:gd name="connsiteX7473" fmla="*/ 5563134 w 10890933"/>
              <a:gd name="connsiteY7473" fmla="*/ 2921829 h 4167549"/>
              <a:gd name="connsiteX7474" fmla="*/ 5556258 w 10890933"/>
              <a:gd name="connsiteY7474" fmla="*/ 2947491 h 4167549"/>
              <a:gd name="connsiteX7475" fmla="*/ 5518131 w 10890933"/>
              <a:gd name="connsiteY7475" fmla="*/ 2918939 h 4167549"/>
              <a:gd name="connsiteX7476" fmla="*/ 5522088 w 10890933"/>
              <a:gd name="connsiteY7476" fmla="*/ 2938336 h 4167549"/>
              <a:gd name="connsiteX7477" fmla="*/ 5481670 w 10890933"/>
              <a:gd name="connsiteY7477" fmla="*/ 2918337 h 4167549"/>
              <a:gd name="connsiteX7478" fmla="*/ 5466250 w 10890933"/>
              <a:gd name="connsiteY7478" fmla="*/ 2941710 h 4167549"/>
              <a:gd name="connsiteX7479" fmla="*/ 5453125 w 10890933"/>
              <a:gd name="connsiteY7479" fmla="*/ 2956527 h 4167549"/>
              <a:gd name="connsiteX7480" fmla="*/ 5436041 w 10890933"/>
              <a:gd name="connsiteY7480" fmla="*/ 2951949 h 4167549"/>
              <a:gd name="connsiteX7481" fmla="*/ 5440624 w 10890933"/>
              <a:gd name="connsiteY7481" fmla="*/ 2934844 h 4167549"/>
              <a:gd name="connsiteX7482" fmla="*/ 5442916 w 10890933"/>
              <a:gd name="connsiteY7482" fmla="*/ 2926290 h 4167549"/>
              <a:gd name="connsiteX7483" fmla="*/ 5425205 w 10890933"/>
              <a:gd name="connsiteY7483" fmla="*/ 2958214 h 4167549"/>
              <a:gd name="connsiteX7484" fmla="*/ 5427497 w 10890933"/>
              <a:gd name="connsiteY7484" fmla="*/ 2949660 h 4167549"/>
              <a:gd name="connsiteX7485" fmla="*/ 5425831 w 10890933"/>
              <a:gd name="connsiteY7485" fmla="*/ 2921712 h 4167549"/>
              <a:gd name="connsiteX7486" fmla="*/ 5410412 w 10890933"/>
              <a:gd name="connsiteY7486" fmla="*/ 2945082 h 4167549"/>
              <a:gd name="connsiteX7487" fmla="*/ 5378534 w 10890933"/>
              <a:gd name="connsiteY7487" fmla="*/ 2927375 h 4167549"/>
              <a:gd name="connsiteX7488" fmla="*/ 5365409 w 10890933"/>
              <a:gd name="connsiteY7488" fmla="*/ 2942192 h 4167549"/>
              <a:gd name="connsiteX7489" fmla="*/ 5342073 w 10890933"/>
              <a:gd name="connsiteY7489" fmla="*/ 2926771 h 4167549"/>
              <a:gd name="connsiteX7490" fmla="*/ 5337489 w 10890933"/>
              <a:gd name="connsiteY7490" fmla="*/ 2943879 h 4167549"/>
              <a:gd name="connsiteX7491" fmla="*/ 5314156 w 10890933"/>
              <a:gd name="connsiteY7491" fmla="*/ 2928458 h 4167549"/>
              <a:gd name="connsiteX7492" fmla="*/ 5260609 w 10890933"/>
              <a:gd name="connsiteY7492" fmla="*/ 2923279 h 4167549"/>
              <a:gd name="connsiteX7493" fmla="*/ 5242899 w 10890933"/>
              <a:gd name="connsiteY7493" fmla="*/ 2955206 h 4167549"/>
              <a:gd name="connsiteX7494" fmla="*/ 5206438 w 10890933"/>
              <a:gd name="connsiteY7494" fmla="*/ 2954605 h 4167549"/>
              <a:gd name="connsiteX7495" fmla="*/ 5202479 w 10890933"/>
              <a:gd name="connsiteY7495" fmla="*/ 2935207 h 4167549"/>
              <a:gd name="connsiteX7496" fmla="*/ 5172269 w 10890933"/>
              <a:gd name="connsiteY7496" fmla="*/ 2945449 h 4167549"/>
              <a:gd name="connsiteX7497" fmla="*/ 5176226 w 10890933"/>
              <a:gd name="connsiteY7497" fmla="*/ 2964846 h 4167549"/>
              <a:gd name="connsiteX7498" fmla="*/ 5144348 w 10890933"/>
              <a:gd name="connsiteY7498" fmla="*/ 2947136 h 4167549"/>
              <a:gd name="connsiteX7499" fmla="*/ 5146641 w 10890933"/>
              <a:gd name="connsiteY7499" fmla="*/ 2938582 h 4167549"/>
              <a:gd name="connsiteX7500" fmla="*/ 5138099 w 10890933"/>
              <a:gd name="connsiteY7500" fmla="*/ 2936293 h 4167549"/>
              <a:gd name="connsiteX7501" fmla="*/ 5124972 w 10890933"/>
              <a:gd name="connsiteY7501" fmla="*/ 2951112 h 4167549"/>
              <a:gd name="connsiteX7502" fmla="*/ 5121014 w 10890933"/>
              <a:gd name="connsiteY7502" fmla="*/ 2931716 h 4167549"/>
              <a:gd name="connsiteX7503" fmla="*/ 5088510 w 10890933"/>
              <a:gd name="connsiteY7503" fmla="*/ 2950508 h 4167549"/>
              <a:gd name="connsiteX7504" fmla="*/ 5093094 w 10890933"/>
              <a:gd name="connsiteY7504" fmla="*/ 2933402 h 4167549"/>
              <a:gd name="connsiteX7505" fmla="*/ 5071425 w 10890933"/>
              <a:gd name="connsiteY7505" fmla="*/ 2945930 h 4167549"/>
              <a:gd name="connsiteX7506" fmla="*/ 5062257 w 10890933"/>
              <a:gd name="connsiteY7506" fmla="*/ 2980146 h 4167549"/>
              <a:gd name="connsiteX7507" fmla="*/ 5054341 w 10890933"/>
              <a:gd name="connsiteY7507" fmla="*/ 2941352 h 4167549"/>
              <a:gd name="connsiteX7508" fmla="*/ 5032672 w 10890933"/>
              <a:gd name="connsiteY7508" fmla="*/ 2953883 h 4167549"/>
              <a:gd name="connsiteX7509" fmla="*/ 5037257 w 10890933"/>
              <a:gd name="connsiteY7509" fmla="*/ 2936775 h 4167549"/>
              <a:gd name="connsiteX7510" fmla="*/ 5024131 w 10890933"/>
              <a:gd name="connsiteY7510" fmla="*/ 2951594 h 4167549"/>
              <a:gd name="connsiteX7511" fmla="*/ 4981418 w 10890933"/>
              <a:gd name="connsiteY7511" fmla="*/ 2940149 h 4167549"/>
              <a:gd name="connsiteX7512" fmla="*/ 4987669 w 10890933"/>
              <a:gd name="connsiteY7512" fmla="*/ 2950992 h 4167549"/>
              <a:gd name="connsiteX7513" fmla="*/ 4996210 w 10890933"/>
              <a:gd name="connsiteY7513" fmla="*/ 2953281 h 4167549"/>
              <a:gd name="connsiteX7514" fmla="*/ 4931832 w 10890933"/>
              <a:gd name="connsiteY7514" fmla="*/ 2954367 h 4167549"/>
              <a:gd name="connsiteX7515" fmla="*/ 4886829 w 10890933"/>
              <a:gd name="connsiteY7515" fmla="*/ 2951477 h 4167549"/>
              <a:gd name="connsiteX7516" fmla="*/ 4885161 w 10890933"/>
              <a:gd name="connsiteY7516" fmla="*/ 2923525 h 4167549"/>
              <a:gd name="connsiteX7517" fmla="*/ 4872036 w 10890933"/>
              <a:gd name="connsiteY7517" fmla="*/ 2938345 h 4167549"/>
              <a:gd name="connsiteX7518" fmla="*/ 4848699 w 10890933"/>
              <a:gd name="connsiteY7518" fmla="*/ 2922923 h 4167549"/>
              <a:gd name="connsiteX7519" fmla="*/ 4854951 w 10890933"/>
              <a:gd name="connsiteY7519" fmla="*/ 2933767 h 4167549"/>
              <a:gd name="connsiteX7520" fmla="*/ 4820782 w 10890933"/>
              <a:gd name="connsiteY7520" fmla="*/ 2924611 h 4167549"/>
              <a:gd name="connsiteX7521" fmla="*/ 4835574 w 10890933"/>
              <a:gd name="connsiteY7521" fmla="*/ 2937743 h 4167549"/>
              <a:gd name="connsiteX7522" fmla="*/ 4809945 w 10890933"/>
              <a:gd name="connsiteY7522" fmla="*/ 2930876 h 4167549"/>
              <a:gd name="connsiteX7523" fmla="*/ 4833282 w 10890933"/>
              <a:gd name="connsiteY7523" fmla="*/ 2946297 h 4167549"/>
              <a:gd name="connsiteX7524" fmla="*/ 4785986 w 10890933"/>
              <a:gd name="connsiteY7524" fmla="*/ 2951958 h 4167549"/>
              <a:gd name="connsiteX7525" fmla="*/ 4784320 w 10890933"/>
              <a:gd name="connsiteY7525" fmla="*/ 2924010 h 4167549"/>
              <a:gd name="connsiteX7526" fmla="*/ 4764943 w 10890933"/>
              <a:gd name="connsiteY7526" fmla="*/ 2927986 h 4167549"/>
              <a:gd name="connsiteX7527" fmla="*/ 4779736 w 10890933"/>
              <a:gd name="connsiteY7527" fmla="*/ 2941118 h 4167549"/>
              <a:gd name="connsiteX7528" fmla="*/ 4743275 w 10890933"/>
              <a:gd name="connsiteY7528" fmla="*/ 2940513 h 4167549"/>
              <a:gd name="connsiteX7529" fmla="*/ 4709105 w 10890933"/>
              <a:gd name="connsiteY7529" fmla="*/ 2931358 h 4167549"/>
              <a:gd name="connsiteX7530" fmla="*/ 4674309 w 10890933"/>
              <a:gd name="connsiteY7530" fmla="*/ 2958707 h 4167549"/>
              <a:gd name="connsiteX7531" fmla="*/ 4659516 w 10890933"/>
              <a:gd name="connsiteY7531" fmla="*/ 2945575 h 4167549"/>
              <a:gd name="connsiteX7532" fmla="*/ 4637848 w 10890933"/>
              <a:gd name="connsiteY7532" fmla="*/ 2958105 h 4167549"/>
              <a:gd name="connsiteX7533" fmla="*/ 4644099 w 10890933"/>
              <a:gd name="connsiteY7533" fmla="*/ 2968948 h 4167549"/>
              <a:gd name="connsiteX7534" fmla="*/ 4629307 w 10890933"/>
              <a:gd name="connsiteY7534" fmla="*/ 2955816 h 4167549"/>
              <a:gd name="connsiteX7535" fmla="*/ 4650975 w 10890933"/>
              <a:gd name="connsiteY7535" fmla="*/ 2943286 h 4167549"/>
              <a:gd name="connsiteX7536" fmla="*/ 4614514 w 10890933"/>
              <a:gd name="connsiteY7536" fmla="*/ 2942685 h 4167549"/>
              <a:gd name="connsiteX7537" fmla="*/ 4620766 w 10890933"/>
              <a:gd name="connsiteY7537" fmla="*/ 2953528 h 4167549"/>
              <a:gd name="connsiteX7538" fmla="*/ 4603107 w 10890933"/>
              <a:gd name="connsiteY7538" fmla="*/ 2951088 h 4167549"/>
              <a:gd name="connsiteX7539" fmla="*/ 4601347 w 10890933"/>
              <a:gd name="connsiteY7539" fmla="*/ 2949200 h 4167549"/>
              <a:gd name="connsiteX7540" fmla="*/ 4594197 w 10890933"/>
              <a:gd name="connsiteY7540" fmla="*/ 2948612 h 4167549"/>
              <a:gd name="connsiteX7541" fmla="*/ 4597603 w 10890933"/>
              <a:gd name="connsiteY7541" fmla="*/ 2945178 h 4167549"/>
              <a:gd name="connsiteX7542" fmla="*/ 4588887 w 10890933"/>
              <a:gd name="connsiteY7542" fmla="*/ 2935818 h 4167549"/>
              <a:gd name="connsiteX7543" fmla="*/ 4582012 w 10890933"/>
              <a:gd name="connsiteY7543" fmla="*/ 2961480 h 4167549"/>
              <a:gd name="connsiteX7544" fmla="*/ 4554091 w 10890933"/>
              <a:gd name="connsiteY7544" fmla="*/ 2963167 h 4167549"/>
              <a:gd name="connsiteX7545" fmla="*/ 4502837 w 10890933"/>
              <a:gd name="connsiteY7545" fmla="*/ 2949434 h 4167549"/>
              <a:gd name="connsiteX7546" fmla="*/ 4515338 w 10890933"/>
              <a:gd name="connsiteY7546" fmla="*/ 2971117 h 4167549"/>
              <a:gd name="connsiteX7547" fmla="*/ 4498253 w 10890933"/>
              <a:gd name="connsiteY7547" fmla="*/ 2966539 h 4167549"/>
              <a:gd name="connsiteX7548" fmla="*/ 4504505 w 10890933"/>
              <a:gd name="connsiteY7548" fmla="*/ 2977382 h 4167549"/>
              <a:gd name="connsiteX7549" fmla="*/ 4500546 w 10890933"/>
              <a:gd name="connsiteY7549" fmla="*/ 2957988 h 4167549"/>
              <a:gd name="connsiteX7550" fmla="*/ 4474919 w 10890933"/>
              <a:gd name="connsiteY7550" fmla="*/ 2951121 h 4167549"/>
              <a:gd name="connsiteX7551" fmla="*/ 4459501 w 10890933"/>
              <a:gd name="connsiteY7551" fmla="*/ 2974492 h 4167549"/>
              <a:gd name="connsiteX7552" fmla="*/ 4453251 w 10890933"/>
              <a:gd name="connsiteY7552" fmla="*/ 2963649 h 4167549"/>
              <a:gd name="connsiteX7553" fmla="*/ 4431583 w 10890933"/>
              <a:gd name="connsiteY7553" fmla="*/ 2976179 h 4167549"/>
              <a:gd name="connsiteX7554" fmla="*/ 4442415 w 10890933"/>
              <a:gd name="connsiteY7554" fmla="*/ 2969914 h 4167549"/>
              <a:gd name="connsiteX7555" fmla="*/ 4431998 w 10890933"/>
              <a:gd name="connsiteY7555" fmla="*/ 2983168 h 4167549"/>
              <a:gd name="connsiteX7556" fmla="*/ 4429169 w 10890933"/>
              <a:gd name="connsiteY7556" fmla="*/ 2982737 h 4167549"/>
              <a:gd name="connsiteX7557" fmla="*/ 4428246 w 10890933"/>
              <a:gd name="connsiteY7557" fmla="*/ 2967264 h 4167549"/>
              <a:gd name="connsiteX7558" fmla="*/ 4419081 w 10890933"/>
              <a:gd name="connsiteY7558" fmla="*/ 2954493 h 4167549"/>
              <a:gd name="connsiteX7559" fmla="*/ 4405954 w 10890933"/>
              <a:gd name="connsiteY7559" fmla="*/ 2969312 h 4167549"/>
              <a:gd name="connsiteX7560" fmla="*/ 4399705 w 10890933"/>
              <a:gd name="connsiteY7560" fmla="*/ 2958470 h 4167549"/>
              <a:gd name="connsiteX7561" fmla="*/ 4378036 w 10890933"/>
              <a:gd name="connsiteY7561" fmla="*/ 2971000 h 4167549"/>
              <a:gd name="connsiteX7562" fmla="*/ 4412206 w 10890933"/>
              <a:gd name="connsiteY7562" fmla="*/ 2980155 h 4167549"/>
              <a:gd name="connsiteX7563" fmla="*/ 4399077 w 10890933"/>
              <a:gd name="connsiteY7563" fmla="*/ 2994974 h 4167549"/>
              <a:gd name="connsiteX7564" fmla="*/ 4360951 w 10890933"/>
              <a:gd name="connsiteY7564" fmla="*/ 2966422 h 4167549"/>
              <a:gd name="connsiteX7565" fmla="*/ 4350742 w 10890933"/>
              <a:gd name="connsiteY7565" fmla="*/ 2936182 h 4167549"/>
              <a:gd name="connsiteX7566" fmla="*/ 4337615 w 10890933"/>
              <a:gd name="connsiteY7566" fmla="*/ 2951001 h 4167549"/>
              <a:gd name="connsiteX7567" fmla="*/ 4307096 w 10890933"/>
              <a:gd name="connsiteY7567" fmla="*/ 2934047 h 4167549"/>
              <a:gd name="connsiteX7568" fmla="*/ 4294148 w 10890933"/>
              <a:gd name="connsiteY7568" fmla="*/ 2949467 h 4167549"/>
              <a:gd name="connsiteX7569" fmla="*/ 4335286 w 10890933"/>
              <a:gd name="connsiteY7569" fmla="*/ 2960489 h 4167549"/>
              <a:gd name="connsiteX7570" fmla="*/ 4332924 w 10890933"/>
              <a:gd name="connsiteY7570" fmla="*/ 2969305 h 4167549"/>
              <a:gd name="connsiteX7571" fmla="*/ 4322334 w 10890933"/>
              <a:gd name="connsiteY7571" fmla="*/ 2975916 h 4167549"/>
              <a:gd name="connsiteX7572" fmla="*/ 4285922 w 10890933"/>
              <a:gd name="connsiteY7572" fmla="*/ 2947262 h 4167549"/>
              <a:gd name="connsiteX7573" fmla="*/ 4275331 w 10890933"/>
              <a:gd name="connsiteY7573" fmla="*/ 2953873 h 4167549"/>
              <a:gd name="connsiteX7574" fmla="*/ 4261238 w 10890933"/>
              <a:gd name="connsiteY7574" fmla="*/ 2940648 h 4167549"/>
              <a:gd name="connsiteX7575" fmla="*/ 4274189 w 10890933"/>
              <a:gd name="connsiteY7575" fmla="*/ 2925224 h 4167549"/>
              <a:gd name="connsiteX7576" fmla="*/ 4307075 w 10890933"/>
              <a:gd name="connsiteY7576" fmla="*/ 2934035 h 4167549"/>
              <a:gd name="connsiteX7577" fmla="*/ 4305740 w 10890933"/>
              <a:gd name="connsiteY7577" fmla="*/ 2933292 h 4167549"/>
              <a:gd name="connsiteX7578" fmla="*/ 4349074 w 10890933"/>
              <a:gd name="connsiteY7578" fmla="*/ 2908233 h 4167549"/>
              <a:gd name="connsiteX7579" fmla="*/ 4353035 w 10890933"/>
              <a:gd name="connsiteY7579" fmla="*/ 2927628 h 4167549"/>
              <a:gd name="connsiteX7580" fmla="*/ 4360664 w 10890933"/>
              <a:gd name="connsiteY7580" fmla="*/ 2920507 h 4167549"/>
              <a:gd name="connsiteX7581" fmla="*/ 4372574 w 10890933"/>
              <a:gd name="connsiteY7581" fmla="*/ 2915921 h 4167549"/>
              <a:gd name="connsiteX7582" fmla="*/ 4373625 w 10890933"/>
              <a:gd name="connsiteY7582" fmla="*/ 2919125 h 4167549"/>
              <a:gd name="connsiteX7583" fmla="*/ 4370405 w 10890933"/>
              <a:gd name="connsiteY7583" fmla="*/ 2931138 h 4167549"/>
              <a:gd name="connsiteX7584" fmla="*/ 4367828 w 10890933"/>
              <a:gd name="connsiteY7584" fmla="*/ 2940760 h 4167549"/>
              <a:gd name="connsiteX7585" fmla="*/ 4412829 w 10890933"/>
              <a:gd name="connsiteY7585" fmla="*/ 2943650 h 4167549"/>
              <a:gd name="connsiteX7586" fmla="*/ 4378660 w 10890933"/>
              <a:gd name="connsiteY7586" fmla="*/ 2934494 h 4167549"/>
              <a:gd name="connsiteX7587" fmla="*/ 4373625 w 10890933"/>
              <a:gd name="connsiteY7587" fmla="*/ 2919125 h 4167549"/>
              <a:gd name="connsiteX7588" fmla="*/ 4374702 w 10890933"/>
              <a:gd name="connsiteY7588" fmla="*/ 2915100 h 4167549"/>
              <a:gd name="connsiteX7589" fmla="*/ 4372574 w 10890933"/>
              <a:gd name="connsiteY7589" fmla="*/ 2915921 h 4167549"/>
              <a:gd name="connsiteX7590" fmla="*/ 4367959 w 10890933"/>
              <a:gd name="connsiteY7590" fmla="*/ 2901834 h 4167549"/>
              <a:gd name="connsiteX7591" fmla="*/ 4314907 w 10890933"/>
              <a:gd name="connsiteY7591" fmla="*/ 2899078 h 4167549"/>
              <a:gd name="connsiteX7592" fmla="*/ 4299488 w 10890933"/>
              <a:gd name="connsiteY7592" fmla="*/ 2922448 h 4167549"/>
              <a:gd name="connsiteX7593" fmla="*/ 4293864 w 10890933"/>
              <a:gd name="connsiteY7593" fmla="*/ 2875103 h 4167549"/>
              <a:gd name="connsiteX7594" fmla="*/ 4280738 w 10890933"/>
              <a:gd name="connsiteY7594" fmla="*/ 2889922 h 4167549"/>
              <a:gd name="connsiteX7595" fmla="*/ 4289280 w 10890933"/>
              <a:gd name="connsiteY7595" fmla="*/ 2892211 h 4167549"/>
              <a:gd name="connsiteX7596" fmla="*/ 4267612 w 10890933"/>
              <a:gd name="connsiteY7596" fmla="*/ 2904739 h 4167549"/>
              <a:gd name="connsiteX7597" fmla="*/ 4261362 w 10890933"/>
              <a:gd name="connsiteY7597" fmla="*/ 2893899 h 4167549"/>
              <a:gd name="connsiteX7598" fmla="*/ 4248235 w 10890933"/>
              <a:gd name="connsiteY7598" fmla="*/ 2908715 h 4167549"/>
              <a:gd name="connsiteX7599" fmla="*/ 4188438 w 10890933"/>
              <a:gd name="connsiteY7599" fmla="*/ 2892693 h 4167549"/>
              <a:gd name="connsiteX7600" fmla="*/ 4177602 w 10890933"/>
              <a:gd name="connsiteY7600" fmla="*/ 2898958 h 4167549"/>
              <a:gd name="connsiteX7601" fmla="*/ 4190731 w 10890933"/>
              <a:gd name="connsiteY7601" fmla="*/ 2884139 h 4167549"/>
              <a:gd name="connsiteX7602" fmla="*/ 4126349 w 10890933"/>
              <a:gd name="connsiteY7602" fmla="*/ 2885224 h 4167549"/>
              <a:gd name="connsiteX7603" fmla="*/ 4121764 w 10890933"/>
              <a:gd name="connsiteY7603" fmla="*/ 2902332 h 4167549"/>
              <a:gd name="connsiteX7604" fmla="*/ 4087595 w 10890933"/>
              <a:gd name="connsiteY7604" fmla="*/ 2893176 h 4167549"/>
              <a:gd name="connsiteX7605" fmla="*/ 4089263 w 10890933"/>
              <a:gd name="connsiteY7605" fmla="*/ 2921128 h 4167549"/>
              <a:gd name="connsiteX7606" fmla="*/ 4069885 w 10890933"/>
              <a:gd name="connsiteY7606" fmla="*/ 2925104 h 4167549"/>
              <a:gd name="connsiteX7607" fmla="*/ 4084679 w 10890933"/>
              <a:gd name="connsiteY7607" fmla="*/ 2938233 h 4167549"/>
              <a:gd name="connsiteX7608" fmla="*/ 4059050 w 10890933"/>
              <a:gd name="connsiteY7608" fmla="*/ 2931366 h 4167549"/>
              <a:gd name="connsiteX7609" fmla="*/ 4045925 w 10890933"/>
              <a:gd name="connsiteY7609" fmla="*/ 2946185 h 4167549"/>
              <a:gd name="connsiteX7610" fmla="*/ 4110305 w 10890933"/>
              <a:gd name="connsiteY7610" fmla="*/ 2945100 h 4167549"/>
              <a:gd name="connsiteX7611" fmla="*/ 4043634 w 10890933"/>
              <a:gd name="connsiteY7611" fmla="*/ 2954740 h 4167549"/>
              <a:gd name="connsiteX7612" fmla="*/ 4044257 w 10890933"/>
              <a:gd name="connsiteY7612" fmla="*/ 2918237 h 4167549"/>
              <a:gd name="connsiteX7613" fmla="*/ 4061342 w 10890933"/>
              <a:gd name="connsiteY7613" fmla="*/ 2922815 h 4167549"/>
              <a:gd name="connsiteX7614" fmla="*/ 4085303 w 10890933"/>
              <a:gd name="connsiteY7614" fmla="*/ 2901730 h 4167549"/>
              <a:gd name="connsiteX7615" fmla="*/ 4007797 w 10890933"/>
              <a:gd name="connsiteY7615" fmla="*/ 2917633 h 4167549"/>
              <a:gd name="connsiteX7616" fmla="*/ 4003838 w 10890933"/>
              <a:gd name="connsiteY7616" fmla="*/ 2898239 h 4167549"/>
              <a:gd name="connsiteX7617" fmla="*/ 3999255 w 10890933"/>
              <a:gd name="connsiteY7617" fmla="*/ 2915344 h 4167549"/>
              <a:gd name="connsiteX7618" fmla="*/ 3973629 w 10890933"/>
              <a:gd name="connsiteY7618" fmla="*/ 2908478 h 4167549"/>
              <a:gd name="connsiteX7619" fmla="*/ 3961128 w 10890933"/>
              <a:gd name="connsiteY7619" fmla="*/ 2886794 h 4167549"/>
              <a:gd name="connsiteX7620" fmla="*/ 3971337 w 10890933"/>
              <a:gd name="connsiteY7620" fmla="*/ 2917031 h 4167549"/>
              <a:gd name="connsiteX7621" fmla="*/ 3945709 w 10890933"/>
              <a:gd name="connsiteY7621" fmla="*/ 2910164 h 4167549"/>
              <a:gd name="connsiteX7622" fmla="*/ 3948001 w 10890933"/>
              <a:gd name="connsiteY7622" fmla="*/ 2901610 h 4167549"/>
              <a:gd name="connsiteX7623" fmla="*/ 3892163 w 10890933"/>
              <a:gd name="connsiteY7623" fmla="*/ 2904985 h 4167549"/>
              <a:gd name="connsiteX7624" fmla="*/ 3836324 w 10890933"/>
              <a:gd name="connsiteY7624" fmla="*/ 2908360 h 4167549"/>
              <a:gd name="connsiteX7625" fmla="*/ 3831741 w 10890933"/>
              <a:gd name="connsiteY7625" fmla="*/ 2925468 h 4167549"/>
              <a:gd name="connsiteX7626" fmla="*/ 3789030 w 10890933"/>
              <a:gd name="connsiteY7626" fmla="*/ 2914023 h 4167549"/>
              <a:gd name="connsiteX7627" fmla="*/ 3806739 w 10890933"/>
              <a:gd name="connsiteY7627" fmla="*/ 2882096 h 4167549"/>
              <a:gd name="connsiteX7628" fmla="*/ 3840908 w 10890933"/>
              <a:gd name="connsiteY7628" fmla="*/ 2891251 h 4167549"/>
              <a:gd name="connsiteX7629" fmla="*/ 3847784 w 10890933"/>
              <a:gd name="connsiteY7629" fmla="*/ 2865592 h 4167549"/>
              <a:gd name="connsiteX7630" fmla="*/ 3806739 w 10890933"/>
              <a:gd name="connsiteY7630" fmla="*/ 2882096 h 4167549"/>
              <a:gd name="connsiteX7631" fmla="*/ 3783405 w 10890933"/>
              <a:gd name="connsiteY7631" fmla="*/ 2866675 h 4167549"/>
              <a:gd name="connsiteX7632" fmla="*/ 3781113 w 10890933"/>
              <a:gd name="connsiteY7632" fmla="*/ 2875229 h 4167549"/>
              <a:gd name="connsiteX7633" fmla="*/ 3764029 w 10890933"/>
              <a:gd name="connsiteY7633" fmla="*/ 2870651 h 4167549"/>
              <a:gd name="connsiteX7634" fmla="*/ 3761736 w 10890933"/>
              <a:gd name="connsiteY7634" fmla="*/ 2879206 h 4167549"/>
              <a:gd name="connsiteX7635" fmla="*/ 3647767 w 10890933"/>
              <a:gd name="connsiteY7635" fmla="*/ 2894509 h 4167549"/>
              <a:gd name="connsiteX7636" fmla="*/ 3615891 w 10890933"/>
              <a:gd name="connsiteY7636" fmla="*/ 2876799 h 4167549"/>
              <a:gd name="connsiteX7637" fmla="*/ 3583389 w 10890933"/>
              <a:gd name="connsiteY7637" fmla="*/ 2895592 h 4167549"/>
              <a:gd name="connsiteX7638" fmla="*/ 3594221 w 10890933"/>
              <a:gd name="connsiteY7638" fmla="*/ 2889329 h 4167549"/>
              <a:gd name="connsiteX7639" fmla="*/ 3578805 w 10890933"/>
              <a:gd name="connsiteY7639" fmla="*/ 2912700 h 4167549"/>
              <a:gd name="connsiteX7640" fmla="*/ 3550885 w 10890933"/>
              <a:gd name="connsiteY7640" fmla="*/ 2914387 h 4167549"/>
              <a:gd name="connsiteX7641" fmla="*/ 3576512 w 10890933"/>
              <a:gd name="connsiteY7641" fmla="*/ 2921254 h 4167549"/>
              <a:gd name="connsiteX7642" fmla="*/ 3571929 w 10890933"/>
              <a:gd name="connsiteY7642" fmla="*/ 2938362 h 4167549"/>
              <a:gd name="connsiteX7643" fmla="*/ 3558801 w 10890933"/>
              <a:gd name="connsiteY7643" fmla="*/ 2953181 h 4167549"/>
              <a:gd name="connsiteX7644" fmla="*/ 3561093 w 10890933"/>
              <a:gd name="connsiteY7644" fmla="*/ 2944627 h 4167549"/>
              <a:gd name="connsiteX7645" fmla="*/ 3540597 w 10890933"/>
              <a:gd name="connsiteY7645" fmla="*/ 2935697 h 4167549"/>
              <a:gd name="connsiteX7646" fmla="*/ 3523768 w 10890933"/>
              <a:gd name="connsiteY7646" fmla="*/ 2933793 h 4167549"/>
              <a:gd name="connsiteX7647" fmla="*/ 3520063 w 10890933"/>
              <a:gd name="connsiteY7647" fmla="*/ 2931822 h 4167549"/>
              <a:gd name="connsiteX7648" fmla="*/ 3530075 w 10890933"/>
              <a:gd name="connsiteY7648" fmla="*/ 2923709 h 4167549"/>
              <a:gd name="connsiteX7649" fmla="*/ 3540051 w 10890933"/>
              <a:gd name="connsiteY7649" fmla="*/ 2920652 h 4167549"/>
              <a:gd name="connsiteX7650" fmla="*/ 3499630 w 10890933"/>
              <a:gd name="connsiteY7650" fmla="*/ 2900654 h 4167549"/>
              <a:gd name="connsiteX7651" fmla="*/ 3492754 w 10890933"/>
              <a:gd name="connsiteY7651" fmla="*/ 2926316 h 4167549"/>
              <a:gd name="connsiteX7652" fmla="*/ 3513904 w 10890933"/>
              <a:gd name="connsiteY7652" fmla="*/ 2928544 h 4167549"/>
              <a:gd name="connsiteX7653" fmla="*/ 3520063 w 10890933"/>
              <a:gd name="connsiteY7653" fmla="*/ 2931822 h 4167549"/>
              <a:gd name="connsiteX7654" fmla="*/ 3518382 w 10890933"/>
              <a:gd name="connsiteY7654" fmla="*/ 2933183 h 4167549"/>
              <a:gd name="connsiteX7655" fmla="*/ 3523768 w 10890933"/>
              <a:gd name="connsiteY7655" fmla="*/ 2933793 h 4167549"/>
              <a:gd name="connsiteX7656" fmla="*/ 3526923 w 10890933"/>
              <a:gd name="connsiteY7656" fmla="*/ 2935471 h 4167549"/>
              <a:gd name="connsiteX7657" fmla="*/ 3502962 w 10890933"/>
              <a:gd name="connsiteY7657" fmla="*/ 2956556 h 4167549"/>
              <a:gd name="connsiteX7658" fmla="*/ 3432958 w 10890933"/>
              <a:gd name="connsiteY7658" fmla="*/ 2910293 h 4167549"/>
              <a:gd name="connsiteX7659" fmla="*/ 3430666 w 10890933"/>
              <a:gd name="connsiteY7659" fmla="*/ 2918847 h 4167549"/>
              <a:gd name="connsiteX7660" fmla="*/ 3464836 w 10890933"/>
              <a:gd name="connsiteY7660" fmla="*/ 2928003 h 4167549"/>
              <a:gd name="connsiteX7661" fmla="*/ 3466502 w 10890933"/>
              <a:gd name="connsiteY7661" fmla="*/ 2955951 h 4167549"/>
              <a:gd name="connsiteX7662" fmla="*/ 3438584 w 10890933"/>
              <a:gd name="connsiteY7662" fmla="*/ 2957639 h 4167549"/>
              <a:gd name="connsiteX7663" fmla="*/ 3296697 w 10890933"/>
              <a:gd name="connsiteY7663" fmla="*/ 2974630 h 4167549"/>
              <a:gd name="connsiteX7664" fmla="*/ 3318366 w 10890933"/>
              <a:gd name="connsiteY7664" fmla="*/ 2962099 h 4167549"/>
              <a:gd name="connsiteX7665" fmla="*/ 3286488 w 10890933"/>
              <a:gd name="connsiteY7665" fmla="*/ 2944390 h 4167549"/>
              <a:gd name="connsiteX7666" fmla="*/ 3288153 w 10890933"/>
              <a:gd name="connsiteY7666" fmla="*/ 2972340 h 4167549"/>
              <a:gd name="connsiteX7667" fmla="*/ 3215231 w 10890933"/>
              <a:gd name="connsiteY7667" fmla="*/ 2971135 h 4167549"/>
              <a:gd name="connsiteX7668" fmla="*/ 3221483 w 10890933"/>
              <a:gd name="connsiteY7668" fmla="*/ 2981978 h 4167549"/>
              <a:gd name="connsiteX7669" fmla="*/ 3180437 w 10890933"/>
              <a:gd name="connsiteY7669" fmla="*/ 2998484 h 4167549"/>
              <a:gd name="connsiteX7670" fmla="*/ 3092721 w 10890933"/>
              <a:gd name="connsiteY7670" fmla="*/ 2984149 h 4167549"/>
              <a:gd name="connsiteX7671" fmla="*/ 3030007 w 10890933"/>
              <a:gd name="connsiteY7671" fmla="*/ 3013183 h 4167549"/>
              <a:gd name="connsiteX7672" fmla="*/ 2959376 w 10890933"/>
              <a:gd name="connsiteY7672" fmla="*/ 3003426 h 4167549"/>
              <a:gd name="connsiteX7673" fmla="*/ 2965625 w 10890933"/>
              <a:gd name="connsiteY7673" fmla="*/ 3014268 h 4167549"/>
              <a:gd name="connsiteX7674" fmla="*/ 2918331 w 10890933"/>
              <a:gd name="connsiteY7674" fmla="*/ 3019932 h 4167549"/>
              <a:gd name="connsiteX7675" fmla="*/ 2921758 w 10890933"/>
              <a:gd name="connsiteY7675" fmla="*/ 3024947 h 4167549"/>
              <a:gd name="connsiteX7676" fmla="*/ 2906843 w 10890933"/>
              <a:gd name="connsiteY7676" fmla="*/ 3032899 h 4167549"/>
              <a:gd name="connsiteX7677" fmla="*/ 2871033 w 10890933"/>
              <a:gd name="connsiteY7677" fmla="*/ 3025595 h 4167549"/>
              <a:gd name="connsiteX7678" fmla="*/ 2898954 w 10890933"/>
              <a:gd name="connsiteY7678" fmla="*/ 3023908 h 4167549"/>
              <a:gd name="connsiteX7679" fmla="*/ 2886453 w 10890933"/>
              <a:gd name="connsiteY7679" fmla="*/ 3002222 h 4167549"/>
              <a:gd name="connsiteX7680" fmla="*/ 2867076 w 10890933"/>
              <a:gd name="connsiteY7680" fmla="*/ 3006199 h 4167549"/>
              <a:gd name="connsiteX7681" fmla="*/ 2871033 w 10890933"/>
              <a:gd name="connsiteY7681" fmla="*/ 3025595 h 4167549"/>
              <a:gd name="connsiteX7682" fmla="*/ 2816863 w 10890933"/>
              <a:gd name="connsiteY7682" fmla="*/ 3056919 h 4167549"/>
              <a:gd name="connsiteX7683" fmla="*/ 2795819 w 10890933"/>
              <a:gd name="connsiteY7683" fmla="*/ 3032944 h 4167549"/>
              <a:gd name="connsiteX7684" fmla="*/ 2765609 w 10890933"/>
              <a:gd name="connsiteY7684" fmla="*/ 3043185 h 4167549"/>
              <a:gd name="connsiteX7685" fmla="*/ 2746232 w 10890933"/>
              <a:gd name="connsiteY7685" fmla="*/ 3047161 h 4167549"/>
              <a:gd name="connsiteX7686" fmla="*/ 2739983 w 10890933"/>
              <a:gd name="connsiteY7686" fmla="*/ 3036319 h 4167549"/>
              <a:gd name="connsiteX7687" fmla="*/ 2703522 w 10890933"/>
              <a:gd name="connsiteY7687" fmla="*/ 3035717 h 4167549"/>
              <a:gd name="connsiteX7688" fmla="*/ 2698937 w 10890933"/>
              <a:gd name="connsiteY7688" fmla="*/ 3052825 h 4167549"/>
              <a:gd name="connsiteX7689" fmla="*/ 2694978 w 10890933"/>
              <a:gd name="connsiteY7689" fmla="*/ 3033428 h 4167549"/>
              <a:gd name="connsiteX7690" fmla="*/ 2688102 w 10890933"/>
              <a:gd name="connsiteY7690" fmla="*/ 3059090 h 4167549"/>
              <a:gd name="connsiteX7691" fmla="*/ 2615179 w 10890933"/>
              <a:gd name="connsiteY7691" fmla="*/ 3057887 h 4167549"/>
              <a:gd name="connsiteX7692" fmla="*/ 2606011 w 10890933"/>
              <a:gd name="connsiteY7692" fmla="*/ 3092100 h 4167549"/>
              <a:gd name="connsiteX7693" fmla="*/ 2592886 w 10890933"/>
              <a:gd name="connsiteY7693" fmla="*/ 3106920 h 4167549"/>
              <a:gd name="connsiteX7694" fmla="*/ 2599135 w 10890933"/>
              <a:gd name="connsiteY7694" fmla="*/ 3117762 h 4167549"/>
              <a:gd name="connsiteX7695" fmla="*/ 2603719 w 10890933"/>
              <a:gd name="connsiteY7695" fmla="*/ 3100654 h 4167549"/>
              <a:gd name="connsiteX7696" fmla="*/ 2637889 w 10890933"/>
              <a:gd name="connsiteY7696" fmla="*/ 3109810 h 4167549"/>
              <a:gd name="connsiteX7697" fmla="*/ 2642473 w 10890933"/>
              <a:gd name="connsiteY7697" fmla="*/ 3092702 h 4167549"/>
              <a:gd name="connsiteX7698" fmla="*/ 2653308 w 10890933"/>
              <a:gd name="connsiteY7698" fmla="*/ 3086437 h 4167549"/>
              <a:gd name="connsiteX7699" fmla="*/ 2681226 w 10890933"/>
              <a:gd name="connsiteY7699" fmla="*/ 3084752 h 4167549"/>
              <a:gd name="connsiteX7700" fmla="*/ 2672058 w 10890933"/>
              <a:gd name="connsiteY7700" fmla="*/ 3118966 h 4167549"/>
              <a:gd name="connsiteX7701" fmla="*/ 2687478 w 10890933"/>
              <a:gd name="connsiteY7701" fmla="*/ 3095593 h 4167549"/>
              <a:gd name="connsiteX7702" fmla="*/ 2678310 w 10890933"/>
              <a:gd name="connsiteY7702" fmla="*/ 3129809 h 4167549"/>
              <a:gd name="connsiteX7703" fmla="*/ 2609971 w 10890933"/>
              <a:gd name="connsiteY7703" fmla="*/ 3111497 h 4167549"/>
              <a:gd name="connsiteX7704" fmla="*/ 2596843 w 10890933"/>
              <a:gd name="connsiteY7704" fmla="*/ 3126316 h 4167549"/>
              <a:gd name="connsiteX7705" fmla="*/ 2562050 w 10890933"/>
              <a:gd name="connsiteY7705" fmla="*/ 3153664 h 4167549"/>
              <a:gd name="connsiteX7706" fmla="*/ 2542673 w 10890933"/>
              <a:gd name="connsiteY7706" fmla="*/ 3157640 h 4167549"/>
              <a:gd name="connsiteX7707" fmla="*/ 2493711 w 10890933"/>
              <a:gd name="connsiteY7707" fmla="*/ 3135352 h 4167549"/>
              <a:gd name="connsiteX7708" fmla="*/ 2527880 w 10890933"/>
              <a:gd name="connsiteY7708" fmla="*/ 3144508 h 4167549"/>
              <a:gd name="connsiteX7709" fmla="*/ 2513088 w 10890933"/>
              <a:gd name="connsiteY7709" fmla="*/ 3131376 h 4167549"/>
              <a:gd name="connsiteX7710" fmla="*/ 2515379 w 10890933"/>
              <a:gd name="connsiteY7710" fmla="*/ 3122824 h 4167549"/>
              <a:gd name="connsiteX7711" fmla="*/ 2539340 w 10890933"/>
              <a:gd name="connsiteY7711" fmla="*/ 3101740 h 4167549"/>
              <a:gd name="connsiteX7712" fmla="*/ 2517671 w 10890933"/>
              <a:gd name="connsiteY7712" fmla="*/ 3114270 h 4167549"/>
              <a:gd name="connsiteX7713" fmla="*/ 2524547 w 10890933"/>
              <a:gd name="connsiteY7713" fmla="*/ 3088608 h 4167549"/>
              <a:gd name="connsiteX7714" fmla="*/ 2543924 w 10890933"/>
              <a:gd name="connsiteY7714" fmla="*/ 3084632 h 4167549"/>
              <a:gd name="connsiteX7715" fmla="*/ 2562674 w 10890933"/>
              <a:gd name="connsiteY7715" fmla="*/ 3117161 h 4167549"/>
              <a:gd name="connsiteX7716" fmla="*/ 2575801 w 10890933"/>
              <a:gd name="connsiteY7716" fmla="*/ 3102342 h 4167549"/>
              <a:gd name="connsiteX7717" fmla="*/ 2577466 w 10890933"/>
              <a:gd name="connsiteY7717" fmla="*/ 3130293 h 4167549"/>
              <a:gd name="connsiteX7718" fmla="*/ 2586010 w 10890933"/>
              <a:gd name="connsiteY7718" fmla="*/ 3132582 h 4167549"/>
              <a:gd name="connsiteX7719" fmla="*/ 2591218 w 10890933"/>
              <a:gd name="connsiteY7719" fmla="*/ 3078968 h 4167549"/>
              <a:gd name="connsiteX7720" fmla="*/ 2477250 w 10890933"/>
              <a:gd name="connsiteY7720" fmla="*/ 3094271 h 4167549"/>
              <a:gd name="connsiteX7721" fmla="*/ 2440788 w 10890933"/>
              <a:gd name="connsiteY7721" fmla="*/ 3093670 h 4167549"/>
              <a:gd name="connsiteX7722" fmla="*/ 2455581 w 10890933"/>
              <a:gd name="connsiteY7722" fmla="*/ 3106802 h 4167549"/>
              <a:gd name="connsiteX7723" fmla="*/ 2410579 w 10890933"/>
              <a:gd name="connsiteY7723" fmla="*/ 3103909 h 4167549"/>
              <a:gd name="connsiteX7724" fmla="*/ 2399743 w 10890933"/>
              <a:gd name="connsiteY7724" fmla="*/ 3110174 h 4167549"/>
              <a:gd name="connsiteX7725" fmla="*/ 2354740 w 10890933"/>
              <a:gd name="connsiteY7725" fmla="*/ 3107283 h 4167549"/>
              <a:gd name="connsiteX7726" fmla="*/ 2326823 w 10890933"/>
              <a:gd name="connsiteY7726" fmla="*/ 3108971 h 4167549"/>
              <a:gd name="connsiteX7727" fmla="*/ 2330780 w 10890933"/>
              <a:gd name="connsiteY7727" fmla="*/ 3128368 h 4167549"/>
              <a:gd name="connsiteX7728" fmla="*/ 2305154 w 10890933"/>
              <a:gd name="connsiteY7728" fmla="*/ 3121501 h 4167549"/>
              <a:gd name="connsiteX7729" fmla="*/ 2317655 w 10890933"/>
              <a:gd name="connsiteY7729" fmla="*/ 3143187 h 4167549"/>
              <a:gd name="connsiteX7730" fmla="*/ 2306819 w 10890933"/>
              <a:gd name="connsiteY7730" fmla="*/ 3149452 h 4167549"/>
              <a:gd name="connsiteX7731" fmla="*/ 2266400 w 10890933"/>
              <a:gd name="connsiteY7731" fmla="*/ 3129454 h 4167549"/>
              <a:gd name="connsiteX7732" fmla="*/ 2264108 w 10890933"/>
              <a:gd name="connsiteY7732" fmla="*/ 3138008 h 4167549"/>
              <a:gd name="connsiteX7733" fmla="*/ 2249315 w 10890933"/>
              <a:gd name="connsiteY7733" fmla="*/ 3124876 h 4167549"/>
              <a:gd name="connsiteX7734" fmla="*/ 2238480 w 10890933"/>
              <a:gd name="connsiteY7734" fmla="*/ 3131141 h 4167549"/>
              <a:gd name="connsiteX7735" fmla="*/ 2208271 w 10890933"/>
              <a:gd name="connsiteY7735" fmla="*/ 3141379 h 4167549"/>
              <a:gd name="connsiteX7736" fmla="*/ 2223063 w 10890933"/>
              <a:gd name="connsiteY7736" fmla="*/ 3154512 h 4167549"/>
              <a:gd name="connsiteX7737" fmla="*/ 2169517 w 10890933"/>
              <a:gd name="connsiteY7737" fmla="*/ 3149332 h 4167549"/>
              <a:gd name="connsiteX7738" fmla="*/ 2156389 w 10890933"/>
              <a:gd name="connsiteY7738" fmla="*/ 3164150 h 4167549"/>
              <a:gd name="connsiteX7739" fmla="*/ 2137013 w 10890933"/>
              <a:gd name="connsiteY7739" fmla="*/ 3168127 h 4167549"/>
              <a:gd name="connsiteX7740" fmla="*/ 2105135 w 10890933"/>
              <a:gd name="connsiteY7740" fmla="*/ 3150417 h 4167549"/>
              <a:gd name="connsiteX7741" fmla="*/ 2083466 w 10890933"/>
              <a:gd name="connsiteY7741" fmla="*/ 3162948 h 4167549"/>
              <a:gd name="connsiteX7742" fmla="*/ 2057840 w 10890933"/>
              <a:gd name="connsiteY7742" fmla="*/ 3156081 h 4167549"/>
              <a:gd name="connsiteX7743" fmla="*/ 2070341 w 10890933"/>
              <a:gd name="connsiteY7743" fmla="*/ 3177767 h 4167549"/>
              <a:gd name="connsiteX7744" fmla="*/ 2037840 w 10890933"/>
              <a:gd name="connsiteY7744" fmla="*/ 3196560 h 4167549"/>
              <a:gd name="connsiteX7745" fmla="*/ 2042423 w 10890933"/>
              <a:gd name="connsiteY7745" fmla="*/ 3179454 h 4167549"/>
              <a:gd name="connsiteX7746" fmla="*/ 2029296 w 10890933"/>
              <a:gd name="connsiteY7746" fmla="*/ 3194271 h 4167549"/>
              <a:gd name="connsiteX7747" fmla="*/ 1960957 w 10890933"/>
              <a:gd name="connsiteY7747" fmla="*/ 3175959 h 4167549"/>
              <a:gd name="connsiteX7748" fmla="*/ 1952416 w 10890933"/>
              <a:gd name="connsiteY7748" fmla="*/ 3173671 h 4167549"/>
              <a:gd name="connsiteX7749" fmla="*/ 1947832 w 10890933"/>
              <a:gd name="connsiteY7749" fmla="*/ 3190779 h 4167549"/>
              <a:gd name="connsiteX7750" fmla="*/ 1960957 w 10890933"/>
              <a:gd name="connsiteY7750" fmla="*/ 3175959 h 4167549"/>
              <a:gd name="connsiteX7751" fmla="*/ 1951789 w 10890933"/>
              <a:gd name="connsiteY7751" fmla="*/ 3210176 h 4167549"/>
              <a:gd name="connsiteX7752" fmla="*/ 1909078 w 10890933"/>
              <a:gd name="connsiteY7752" fmla="*/ 3198731 h 4167549"/>
              <a:gd name="connsiteX7753" fmla="*/ 1904494 w 10890933"/>
              <a:gd name="connsiteY7753" fmla="*/ 3215839 h 4167549"/>
              <a:gd name="connsiteX7754" fmla="*/ 1852613 w 10890933"/>
              <a:gd name="connsiteY7754" fmla="*/ 3238608 h 4167549"/>
              <a:gd name="connsiteX7755" fmla="*/ 1859489 w 10890933"/>
              <a:gd name="connsiteY7755" fmla="*/ 3212948 h 4167549"/>
              <a:gd name="connsiteX7756" fmla="*/ 1850948 w 10890933"/>
              <a:gd name="connsiteY7756" fmla="*/ 3210660 h 4167549"/>
              <a:gd name="connsiteX7757" fmla="*/ 1837821 w 10890933"/>
              <a:gd name="connsiteY7757" fmla="*/ 3225476 h 4167549"/>
              <a:gd name="connsiteX7758" fmla="*/ 1826987 w 10890933"/>
              <a:gd name="connsiteY7758" fmla="*/ 3231742 h 4167549"/>
              <a:gd name="connsiteX7759" fmla="*/ 1823028 w 10890933"/>
              <a:gd name="connsiteY7759" fmla="*/ 3212344 h 4167549"/>
              <a:gd name="connsiteX7760" fmla="*/ 1820449 w 10890933"/>
              <a:gd name="connsiteY7760" fmla="*/ 3221968 h 4167549"/>
              <a:gd name="connsiteX7761" fmla="*/ 1816152 w 10890933"/>
              <a:gd name="connsiteY7761" fmla="*/ 3238006 h 4167549"/>
              <a:gd name="connsiteX7762" fmla="*/ 1809381 w 10890933"/>
              <a:gd name="connsiteY7762" fmla="*/ 3241922 h 4167549"/>
              <a:gd name="connsiteX7763" fmla="*/ 1790526 w 10890933"/>
              <a:gd name="connsiteY7763" fmla="*/ 3231140 h 4167549"/>
              <a:gd name="connsiteX7764" fmla="*/ 1807611 w 10890933"/>
              <a:gd name="connsiteY7764" fmla="*/ 3235718 h 4167549"/>
              <a:gd name="connsiteX7765" fmla="*/ 1809903 w 10890933"/>
              <a:gd name="connsiteY7765" fmla="*/ 3227164 h 4167549"/>
              <a:gd name="connsiteX7766" fmla="*/ 1750105 w 10890933"/>
              <a:gd name="connsiteY7766" fmla="*/ 3211141 h 4167549"/>
              <a:gd name="connsiteX7767" fmla="*/ 1743229 w 10890933"/>
              <a:gd name="connsiteY7767" fmla="*/ 3236803 h 4167549"/>
              <a:gd name="connsiteX7768" fmla="*/ 1754065 w 10890933"/>
              <a:gd name="connsiteY7768" fmla="*/ 3230538 h 4167549"/>
              <a:gd name="connsiteX7769" fmla="*/ 1734688 w 10890933"/>
              <a:gd name="connsiteY7769" fmla="*/ 3234514 h 4167549"/>
              <a:gd name="connsiteX7770" fmla="*/ 1727633 w 10890933"/>
              <a:gd name="connsiteY7770" fmla="*/ 3242009 h 4167549"/>
              <a:gd name="connsiteX7771" fmla="*/ 1723852 w 10890933"/>
              <a:gd name="connsiteY7771" fmla="*/ 3240779 h 4167549"/>
              <a:gd name="connsiteX7772" fmla="*/ 1723487 w 10890933"/>
              <a:gd name="connsiteY7772" fmla="*/ 3246411 h 4167549"/>
              <a:gd name="connsiteX7773" fmla="*/ 1716976 w 10890933"/>
              <a:gd name="connsiteY7773" fmla="*/ 3266441 h 4167549"/>
              <a:gd name="connsiteX7774" fmla="*/ 1722760 w 10890933"/>
              <a:gd name="connsiteY7774" fmla="*/ 3257676 h 4167549"/>
              <a:gd name="connsiteX7775" fmla="*/ 1723487 w 10890933"/>
              <a:gd name="connsiteY7775" fmla="*/ 3246411 h 4167549"/>
              <a:gd name="connsiteX7776" fmla="*/ 1727633 w 10890933"/>
              <a:gd name="connsiteY7776" fmla="*/ 3242009 h 4167549"/>
              <a:gd name="connsiteX7777" fmla="*/ 1743853 w 10890933"/>
              <a:gd name="connsiteY7777" fmla="*/ 3247283 h 4167549"/>
              <a:gd name="connsiteX7778" fmla="*/ 1755729 w 10890933"/>
              <a:gd name="connsiteY7778" fmla="*/ 3258489 h 4167549"/>
              <a:gd name="connsiteX7779" fmla="*/ 1730103 w 10890933"/>
              <a:gd name="connsiteY7779" fmla="*/ 3251623 h 4167549"/>
              <a:gd name="connsiteX7780" fmla="*/ 1734060 w 10890933"/>
              <a:gd name="connsiteY7780" fmla="*/ 3271019 h 4167549"/>
              <a:gd name="connsiteX7781" fmla="*/ 1706143 w 10890933"/>
              <a:gd name="connsiteY7781" fmla="*/ 3272704 h 4167549"/>
              <a:gd name="connsiteX7782" fmla="*/ 1699893 w 10890933"/>
              <a:gd name="connsiteY7782" fmla="*/ 3261864 h 4167549"/>
              <a:gd name="connsiteX7783" fmla="*/ 1710727 w 10890933"/>
              <a:gd name="connsiteY7783" fmla="*/ 3255599 h 4167549"/>
              <a:gd name="connsiteX7784" fmla="*/ 1713019 w 10890933"/>
              <a:gd name="connsiteY7784" fmla="*/ 3247045 h 4167549"/>
              <a:gd name="connsiteX7785" fmla="*/ 1704478 w 10890933"/>
              <a:gd name="connsiteY7785" fmla="*/ 3244756 h 4167549"/>
              <a:gd name="connsiteX7786" fmla="*/ 1699893 w 10890933"/>
              <a:gd name="connsiteY7786" fmla="*/ 3261864 h 4167549"/>
              <a:gd name="connsiteX7787" fmla="*/ 1674265 w 10890933"/>
              <a:gd name="connsiteY7787" fmla="*/ 3254997 h 4167549"/>
              <a:gd name="connsiteX7788" fmla="*/ 1678849 w 10890933"/>
              <a:gd name="connsiteY7788" fmla="*/ 3237889 h 4167549"/>
              <a:gd name="connsiteX7789" fmla="*/ 1654889 w 10890933"/>
              <a:gd name="connsiteY7789" fmla="*/ 3258971 h 4167549"/>
              <a:gd name="connsiteX7790" fmla="*/ 1670308 w 10890933"/>
              <a:gd name="connsiteY7790" fmla="*/ 3235601 h 4167549"/>
              <a:gd name="connsiteX7791" fmla="*/ 1648639 w 10890933"/>
              <a:gd name="connsiteY7791" fmla="*/ 3248131 h 4167549"/>
              <a:gd name="connsiteX7792" fmla="*/ 1666349 w 10890933"/>
              <a:gd name="connsiteY7792" fmla="*/ 3216203 h 4167549"/>
              <a:gd name="connsiteX7793" fmla="*/ 1649264 w 10890933"/>
              <a:gd name="connsiteY7793" fmla="*/ 3211625 h 4167549"/>
              <a:gd name="connsiteX7794" fmla="*/ 1644680 w 10890933"/>
              <a:gd name="connsiteY7794" fmla="*/ 3228733 h 4167549"/>
              <a:gd name="connsiteX7795" fmla="*/ 1584884 w 10890933"/>
              <a:gd name="connsiteY7795" fmla="*/ 3212711 h 4167549"/>
              <a:gd name="connsiteX7796" fmla="*/ 1597385 w 10890933"/>
              <a:gd name="connsiteY7796" fmla="*/ 3234397 h 4167549"/>
              <a:gd name="connsiteX7797" fmla="*/ 1552380 w 10890933"/>
              <a:gd name="connsiteY7797" fmla="*/ 3231504 h 4167549"/>
              <a:gd name="connsiteX7798" fmla="*/ 1554048 w 10890933"/>
              <a:gd name="connsiteY7798" fmla="*/ 3259455 h 4167549"/>
              <a:gd name="connsiteX7799" fmla="*/ 1502794 w 10890933"/>
              <a:gd name="connsiteY7799" fmla="*/ 3245722 h 4167549"/>
              <a:gd name="connsiteX7800" fmla="*/ 1561965 w 10890933"/>
              <a:gd name="connsiteY7800" fmla="*/ 3298249 h 4167549"/>
              <a:gd name="connsiteX7801" fmla="*/ 1497583 w 10890933"/>
              <a:gd name="connsiteY7801" fmla="*/ 3299332 h 4167549"/>
              <a:gd name="connsiteX7802" fmla="*/ 1510710 w 10890933"/>
              <a:gd name="connsiteY7802" fmla="*/ 3284515 h 4167549"/>
              <a:gd name="connsiteX7803" fmla="*/ 1497583 w 10890933"/>
              <a:gd name="connsiteY7803" fmla="*/ 3299332 h 4167549"/>
              <a:gd name="connsiteX7804" fmla="*/ 1486750 w 10890933"/>
              <a:gd name="connsiteY7804" fmla="*/ 3305597 h 4167549"/>
              <a:gd name="connsiteX7805" fmla="*/ 1489042 w 10890933"/>
              <a:gd name="connsiteY7805" fmla="*/ 3297043 h 4167549"/>
              <a:gd name="connsiteX7806" fmla="*/ 1480498 w 10890933"/>
              <a:gd name="connsiteY7806" fmla="*/ 3294754 h 4167549"/>
              <a:gd name="connsiteX7807" fmla="*/ 1471957 w 10890933"/>
              <a:gd name="connsiteY7807" fmla="*/ 3292465 h 4167549"/>
              <a:gd name="connsiteX7808" fmla="*/ 1458830 w 10890933"/>
              <a:gd name="connsiteY7808" fmla="*/ 3307284 h 4167549"/>
              <a:gd name="connsiteX7809" fmla="*/ 1444037 w 10890933"/>
              <a:gd name="connsiteY7809" fmla="*/ 3294152 h 4167549"/>
              <a:gd name="connsiteX7810" fmla="*/ 1430912 w 10890933"/>
              <a:gd name="connsiteY7810" fmla="*/ 3308972 h 4167549"/>
              <a:gd name="connsiteX7811" fmla="*/ 1377366 w 10890933"/>
              <a:gd name="connsiteY7811" fmla="*/ 3303792 h 4167549"/>
              <a:gd name="connsiteX7812" fmla="*/ 1375073 w 10890933"/>
              <a:gd name="connsiteY7812" fmla="*/ 3312346 h 4167549"/>
              <a:gd name="connsiteX7813" fmla="*/ 1336320 w 10890933"/>
              <a:gd name="connsiteY7813" fmla="*/ 3320299 h 4167549"/>
              <a:gd name="connsiteX7814" fmla="*/ 1364240 w 10890933"/>
              <a:gd name="connsiteY7814" fmla="*/ 3318611 h 4167549"/>
              <a:gd name="connsiteX7815" fmla="*/ 1314651 w 10890933"/>
              <a:gd name="connsiteY7815" fmla="*/ 3332829 h 4167549"/>
              <a:gd name="connsiteX7816" fmla="*/ 1312360 w 10890933"/>
              <a:gd name="connsiteY7816" fmla="*/ 3341380 h 4167549"/>
              <a:gd name="connsiteX7817" fmla="*/ 1261105 w 10890933"/>
              <a:gd name="connsiteY7817" fmla="*/ 3327646 h 4167549"/>
              <a:gd name="connsiteX7818" fmla="*/ 1247980 w 10890933"/>
              <a:gd name="connsiteY7818" fmla="*/ 3342466 h 4167549"/>
              <a:gd name="connsiteX7819" fmla="*/ 1263397 w 10890933"/>
              <a:gd name="connsiteY7819" fmla="*/ 3319095 h 4167549"/>
              <a:gd name="connsiteX7820" fmla="*/ 1299858 w 10890933"/>
              <a:gd name="connsiteY7820" fmla="*/ 3319697 h 4167549"/>
              <a:gd name="connsiteX7821" fmla="*/ 1244647 w 10890933"/>
              <a:gd name="connsiteY7821" fmla="*/ 3286567 h 4167549"/>
              <a:gd name="connsiteX7822" fmla="*/ 1240687 w 10890933"/>
              <a:gd name="connsiteY7822" fmla="*/ 3267169 h 4167549"/>
              <a:gd name="connsiteX7823" fmla="*/ 1204226 w 10890933"/>
              <a:gd name="connsiteY7823" fmla="*/ 3266568 h 4167549"/>
              <a:gd name="connsiteX7824" fmla="*/ 1223603 w 10890933"/>
              <a:gd name="connsiteY7824" fmla="*/ 3262591 h 4167549"/>
              <a:gd name="connsiteX7825" fmla="*/ 1166099 w 10890933"/>
              <a:gd name="connsiteY7825" fmla="*/ 3238016 h 4167549"/>
              <a:gd name="connsiteX7826" fmla="*/ 1163807 w 10890933"/>
              <a:gd name="connsiteY7826" fmla="*/ 3246569 h 4167549"/>
              <a:gd name="connsiteX7827" fmla="*/ 1106117 w 10890933"/>
              <a:gd name="connsiteY7827" fmla="*/ 3250450 h 4167549"/>
              <a:gd name="connsiteX7828" fmla="*/ 1098154 w 10890933"/>
              <a:gd name="connsiteY7828" fmla="*/ 3255282 h 4167549"/>
              <a:gd name="connsiteX7829" fmla="*/ 1091301 w 10890933"/>
              <a:gd name="connsiteY7829" fmla="*/ 3252352 h 4167549"/>
              <a:gd name="connsiteX7830" fmla="*/ 1086300 w 10890933"/>
              <a:gd name="connsiteY7830" fmla="*/ 3262474 h 4167549"/>
              <a:gd name="connsiteX7831" fmla="*/ 1098154 w 10890933"/>
              <a:gd name="connsiteY7831" fmla="*/ 3255282 h 4167549"/>
              <a:gd name="connsiteX7832" fmla="*/ 1105677 w 10890933"/>
              <a:gd name="connsiteY7832" fmla="*/ 3258498 h 4167549"/>
              <a:gd name="connsiteX7833" fmla="*/ 1084008 w 10890933"/>
              <a:gd name="connsiteY7833" fmla="*/ 3271028 h 4167549"/>
              <a:gd name="connsiteX7834" fmla="*/ 1058382 w 10890933"/>
              <a:gd name="connsiteY7834" fmla="*/ 3264162 h 4167549"/>
              <a:gd name="connsiteX7835" fmla="*/ 1047547 w 10890933"/>
              <a:gd name="connsiteY7835" fmla="*/ 3270424 h 4167549"/>
              <a:gd name="connsiteX7836" fmla="*/ 1056091 w 10890933"/>
              <a:gd name="connsiteY7836" fmla="*/ 3272713 h 4167549"/>
              <a:gd name="connsiteX7837" fmla="*/ 1021294 w 10890933"/>
              <a:gd name="connsiteY7837" fmla="*/ 3300062 h 4167549"/>
              <a:gd name="connsiteX7838" fmla="*/ 1004210 w 10890933"/>
              <a:gd name="connsiteY7838" fmla="*/ 3295485 h 4167549"/>
              <a:gd name="connsiteX7839" fmla="*/ 1010461 w 10890933"/>
              <a:gd name="connsiteY7839" fmla="*/ 3306328 h 4167549"/>
              <a:gd name="connsiteX7840" fmla="*/ 984833 w 10890933"/>
              <a:gd name="connsiteY7840" fmla="*/ 3299460 h 4167549"/>
              <a:gd name="connsiteX7841" fmla="*/ 980876 w 10890933"/>
              <a:gd name="connsiteY7841" fmla="*/ 3280064 h 4167549"/>
              <a:gd name="connsiteX7842" fmla="*/ 978584 w 10890933"/>
              <a:gd name="connsiteY7842" fmla="*/ 3288618 h 4167549"/>
              <a:gd name="connsiteX7843" fmla="*/ 946706 w 10890933"/>
              <a:gd name="connsiteY7843" fmla="*/ 3270908 h 4167549"/>
              <a:gd name="connsiteX7844" fmla="*/ 968375 w 10890933"/>
              <a:gd name="connsiteY7844" fmla="*/ 3258378 h 4167549"/>
              <a:gd name="connsiteX7845" fmla="*/ 963791 w 10890933"/>
              <a:gd name="connsiteY7845" fmla="*/ 3275486 h 4167549"/>
              <a:gd name="connsiteX7846" fmla="*/ 990043 w 10890933"/>
              <a:gd name="connsiteY7846" fmla="*/ 3245850 h 4167549"/>
              <a:gd name="connsiteX7847" fmla="*/ 975251 w 10890933"/>
              <a:gd name="connsiteY7847" fmla="*/ 3232719 h 4167549"/>
              <a:gd name="connsiteX7848" fmla="*/ 971291 w 10890933"/>
              <a:gd name="connsiteY7848" fmla="*/ 3213321 h 4167549"/>
              <a:gd name="connsiteX7849" fmla="*/ 1018588 w 10890933"/>
              <a:gd name="connsiteY7849" fmla="*/ 3207658 h 4167549"/>
              <a:gd name="connsiteX7850" fmla="*/ 989003 w 10890933"/>
              <a:gd name="connsiteY7850" fmla="*/ 3181394 h 4167549"/>
              <a:gd name="connsiteX7851" fmla="*/ 918372 w 10890933"/>
              <a:gd name="connsiteY7851" fmla="*/ 3171637 h 4167549"/>
              <a:gd name="connsiteX7852" fmla="*/ 908163 w 10890933"/>
              <a:gd name="connsiteY7852" fmla="*/ 3141397 h 4167549"/>
              <a:gd name="connsiteX7853" fmla="*/ 895035 w 10890933"/>
              <a:gd name="connsiteY7853" fmla="*/ 3156216 h 4167549"/>
              <a:gd name="connsiteX7854" fmla="*/ 891078 w 10890933"/>
              <a:gd name="connsiteY7854" fmla="*/ 3136819 h 4167549"/>
              <a:gd name="connsiteX7855" fmla="*/ 869410 w 10890933"/>
              <a:gd name="connsiteY7855" fmla="*/ 3149349 h 4167549"/>
              <a:gd name="connsiteX7856" fmla="*/ 846073 w 10890933"/>
              <a:gd name="connsiteY7856" fmla="*/ 3133928 h 4167549"/>
              <a:gd name="connsiteX7857" fmla="*/ 849367 w 10890933"/>
              <a:gd name="connsiteY7857" fmla="*/ 3121635 h 4167549"/>
              <a:gd name="connsiteX7858" fmla="*/ 840617 w 10890933"/>
              <a:gd name="connsiteY7858" fmla="*/ 3126687 h 4167549"/>
              <a:gd name="connsiteX7859" fmla="*/ 830883 w 10890933"/>
              <a:gd name="connsiteY7859" fmla="*/ 3121876 h 4167549"/>
              <a:gd name="connsiteX7860" fmla="*/ 849911 w 10890933"/>
              <a:gd name="connsiteY7860" fmla="*/ 3119606 h 4167549"/>
              <a:gd name="connsiteX7861" fmla="*/ 857533 w 10890933"/>
              <a:gd name="connsiteY7861" fmla="*/ 3091161 h 4167549"/>
              <a:gd name="connsiteX7862" fmla="*/ 845032 w 10890933"/>
              <a:gd name="connsiteY7862" fmla="*/ 3069475 h 4167549"/>
              <a:gd name="connsiteX7863" fmla="*/ 858160 w 10890933"/>
              <a:gd name="connsiteY7863" fmla="*/ 3054656 h 4167549"/>
              <a:gd name="connsiteX7864" fmla="*/ 851908 w 10890933"/>
              <a:gd name="connsiteY7864" fmla="*/ 3043813 h 4167549"/>
              <a:gd name="connsiteX7865" fmla="*/ 860452 w 10890933"/>
              <a:gd name="connsiteY7865" fmla="*/ 3046102 h 4167549"/>
              <a:gd name="connsiteX7866" fmla="*/ 837115 w 10890933"/>
              <a:gd name="connsiteY7866" fmla="*/ 3030683 h 4167549"/>
              <a:gd name="connsiteX7867" fmla="*/ 852535 w 10890933"/>
              <a:gd name="connsiteY7867" fmla="*/ 3007310 h 4167549"/>
              <a:gd name="connsiteX7868" fmla="*/ 824614 w 10890933"/>
              <a:gd name="connsiteY7868" fmla="*/ 3008998 h 4167549"/>
              <a:gd name="connsiteX7869" fmla="*/ 820657 w 10890933"/>
              <a:gd name="connsiteY7869" fmla="*/ 2989601 h 4167549"/>
              <a:gd name="connsiteX7870" fmla="*/ 825787 w 10890933"/>
              <a:gd name="connsiteY7870" fmla="*/ 2987537 h 4167549"/>
              <a:gd name="connsiteX7871" fmla="*/ 832572 w 10890933"/>
              <a:gd name="connsiteY7871" fmla="*/ 2973482 h 4167549"/>
              <a:gd name="connsiteX7872" fmla="*/ 837742 w 10890933"/>
              <a:gd name="connsiteY7872" fmla="*/ 2994178 h 4167549"/>
              <a:gd name="connsiteX7873" fmla="*/ 874828 w 10890933"/>
              <a:gd name="connsiteY7873" fmla="*/ 2958275 h 4167549"/>
              <a:gd name="connsiteX7874" fmla="*/ 883995 w 10890933"/>
              <a:gd name="connsiteY7874" fmla="*/ 2924061 h 4167549"/>
              <a:gd name="connsiteX7875" fmla="*/ 875455 w 10890933"/>
              <a:gd name="connsiteY7875" fmla="*/ 2921773 h 4167549"/>
              <a:gd name="connsiteX7876" fmla="*/ 893164 w 10890933"/>
              <a:gd name="connsiteY7876" fmla="*/ 2889845 h 4167549"/>
              <a:gd name="connsiteX7877" fmla="*/ 888855 w 10890933"/>
              <a:gd name="connsiteY7877" fmla="*/ 2890982 h 4167549"/>
              <a:gd name="connsiteX7878" fmla="*/ 891029 w 10890933"/>
              <a:gd name="connsiteY7878" fmla="*/ 2889273 h 4167549"/>
              <a:gd name="connsiteX7879" fmla="*/ 912541 w 10890933"/>
              <a:gd name="connsiteY7879" fmla="*/ 2885869 h 4167549"/>
              <a:gd name="connsiteX7880" fmla="*/ 914832 w 10890933"/>
              <a:gd name="connsiteY7880" fmla="*/ 2877317 h 4167549"/>
              <a:gd name="connsiteX7881" fmla="*/ 917124 w 10890933"/>
              <a:gd name="connsiteY7881" fmla="*/ 2868763 h 4167549"/>
              <a:gd name="connsiteX7882" fmla="*/ 893790 w 10890933"/>
              <a:gd name="connsiteY7882" fmla="*/ 2853343 h 4167549"/>
              <a:gd name="connsiteX7883" fmla="*/ 937128 w 10890933"/>
              <a:gd name="connsiteY7883" fmla="*/ 2828283 h 4167549"/>
              <a:gd name="connsiteX7884" fmla="*/ 879622 w 10890933"/>
              <a:gd name="connsiteY7884" fmla="*/ 2803705 h 4167549"/>
              <a:gd name="connsiteX7885" fmla="*/ 866497 w 10890933"/>
              <a:gd name="connsiteY7885" fmla="*/ 2818525 h 4167549"/>
              <a:gd name="connsiteX7886" fmla="*/ 849412 w 10890933"/>
              <a:gd name="connsiteY7886" fmla="*/ 2813947 h 4167549"/>
              <a:gd name="connsiteX7887" fmla="*/ 849882 w 10890933"/>
              <a:gd name="connsiteY7887" fmla="*/ 2786569 h 4167549"/>
              <a:gd name="connsiteX7888" fmla="*/ 862032 w 10890933"/>
              <a:gd name="connsiteY7888" fmla="*/ 2764661 h 4167549"/>
              <a:gd name="connsiteX7889" fmla="*/ 869413 w 10890933"/>
              <a:gd name="connsiteY7889" fmla="*/ 2773468 h 4167549"/>
              <a:gd name="connsiteX7890" fmla="*/ 862601 w 10890933"/>
              <a:gd name="connsiteY7890" fmla="*/ 2763639 h 4167549"/>
              <a:gd name="connsiteX7891" fmla="*/ 863164 w 10890933"/>
              <a:gd name="connsiteY7891" fmla="*/ 2762626 h 4167549"/>
              <a:gd name="connsiteX7892" fmla="*/ 862056 w 10890933"/>
              <a:gd name="connsiteY7892" fmla="*/ 2762851 h 4167549"/>
              <a:gd name="connsiteX7893" fmla="*/ 858685 w 10890933"/>
              <a:gd name="connsiteY7893" fmla="*/ 2757987 h 4167549"/>
              <a:gd name="connsiteX7894" fmla="*/ 832955 w 10890933"/>
              <a:gd name="connsiteY7894" fmla="*/ 2772865 h 4167549"/>
              <a:gd name="connsiteX7895" fmla="*/ 812951 w 10890933"/>
              <a:gd name="connsiteY7895" fmla="*/ 2813346 h 4167549"/>
              <a:gd name="connsiteX7896" fmla="*/ 822119 w 10890933"/>
              <a:gd name="connsiteY7896" fmla="*/ 2779130 h 4167549"/>
              <a:gd name="connsiteX7897" fmla="*/ 806702 w 10890933"/>
              <a:gd name="connsiteY7897" fmla="*/ 2802503 h 4167549"/>
              <a:gd name="connsiteX7898" fmla="*/ 813578 w 10890933"/>
              <a:gd name="connsiteY7898" fmla="*/ 2776841 h 4167549"/>
              <a:gd name="connsiteX7899" fmla="*/ 798158 w 10890933"/>
              <a:gd name="connsiteY7899" fmla="*/ 2800214 h 4167549"/>
              <a:gd name="connsiteX7900" fmla="*/ 796493 w 10890933"/>
              <a:gd name="connsiteY7900" fmla="*/ 2772263 h 4167549"/>
              <a:gd name="connsiteX7901" fmla="*/ 766280 w 10890933"/>
              <a:gd name="connsiteY7901" fmla="*/ 2782504 h 4167549"/>
              <a:gd name="connsiteX7902" fmla="*/ 797117 w 10890933"/>
              <a:gd name="connsiteY7902" fmla="*/ 2735760 h 4167549"/>
              <a:gd name="connsiteX7903" fmla="*/ 750446 w 10890933"/>
              <a:gd name="connsiteY7903" fmla="*/ 2704919 h 4167549"/>
              <a:gd name="connsiteX7904" fmla="*/ 745862 w 10890933"/>
              <a:gd name="connsiteY7904" fmla="*/ 2722027 h 4167549"/>
              <a:gd name="connsiteX7905" fmla="*/ 780032 w 10890933"/>
              <a:gd name="connsiteY7905" fmla="*/ 2731182 h 4167549"/>
              <a:gd name="connsiteX7906" fmla="*/ 773156 w 10890933"/>
              <a:gd name="connsiteY7906" fmla="*/ 2756842 h 4167549"/>
              <a:gd name="connsiteX7907" fmla="*/ 756072 w 10890933"/>
              <a:gd name="connsiteY7907" fmla="*/ 2752264 h 4167549"/>
              <a:gd name="connsiteX7908" fmla="*/ 760655 w 10890933"/>
              <a:gd name="connsiteY7908" fmla="*/ 2735159 h 4167549"/>
              <a:gd name="connsiteX7909" fmla="*/ 687733 w 10890933"/>
              <a:gd name="connsiteY7909" fmla="*/ 2733953 h 4167549"/>
              <a:gd name="connsiteX7910" fmla="*/ 683149 w 10890933"/>
              <a:gd name="connsiteY7910" fmla="*/ 2751061 h 4167549"/>
              <a:gd name="connsiteX7911" fmla="*/ 656896 w 10890933"/>
              <a:gd name="connsiteY7911" fmla="*/ 2780699 h 4167549"/>
              <a:gd name="connsiteX7912" fmla="*/ 653668 w 10890933"/>
              <a:gd name="connsiteY7912" fmla="*/ 2750038 h 4167549"/>
              <a:gd name="connsiteX7913" fmla="*/ 648354 w 10890933"/>
              <a:gd name="connsiteY7913" fmla="*/ 2744237 h 4167549"/>
              <a:gd name="connsiteX7914" fmla="*/ 651271 w 10890933"/>
              <a:gd name="connsiteY7914" fmla="*/ 2733351 h 4167549"/>
              <a:gd name="connsiteX7915" fmla="*/ 634186 w 10890933"/>
              <a:gd name="connsiteY7915" fmla="*/ 2728773 h 4167549"/>
              <a:gd name="connsiteX7916" fmla="*/ 648354 w 10890933"/>
              <a:gd name="connsiteY7916" fmla="*/ 2744237 h 4167549"/>
              <a:gd name="connsiteX7917" fmla="*/ 646687 w 10890933"/>
              <a:gd name="connsiteY7917" fmla="*/ 2750459 h 4167549"/>
              <a:gd name="connsiteX7918" fmla="*/ 623353 w 10890933"/>
              <a:gd name="connsiteY7918" fmla="*/ 2735038 h 4167549"/>
              <a:gd name="connsiteX7919" fmla="*/ 636478 w 10890933"/>
              <a:gd name="connsiteY7919" fmla="*/ 2720219 h 4167549"/>
              <a:gd name="connsiteX7920" fmla="*/ 615460 w 10890933"/>
              <a:gd name="connsiteY7920" fmla="*/ 2726050 h 4167549"/>
              <a:gd name="connsiteX7921" fmla="*/ 593442 w 10890933"/>
              <a:gd name="connsiteY7921" fmla="*/ 2718045 h 4167549"/>
              <a:gd name="connsiteX7922" fmla="*/ 589282 w 10890933"/>
              <a:gd name="connsiteY7922" fmla="*/ 2725515 h 4167549"/>
              <a:gd name="connsiteX7923" fmla="*/ 589184 w 10890933"/>
              <a:gd name="connsiteY7923" fmla="*/ 2725883 h 4167549"/>
              <a:gd name="connsiteX7924" fmla="*/ 603976 w 10890933"/>
              <a:gd name="connsiteY7924" fmla="*/ 2739015 h 4167549"/>
              <a:gd name="connsiteX7925" fmla="*/ 584600 w 10890933"/>
              <a:gd name="connsiteY7925" fmla="*/ 2742991 h 4167549"/>
              <a:gd name="connsiteX7926" fmla="*/ 603349 w 10890933"/>
              <a:gd name="connsiteY7926" fmla="*/ 2775519 h 4167549"/>
              <a:gd name="connsiteX7927" fmla="*/ 621061 w 10890933"/>
              <a:gd name="connsiteY7927" fmla="*/ 2743593 h 4167549"/>
              <a:gd name="connsiteX7928" fmla="*/ 631270 w 10890933"/>
              <a:gd name="connsiteY7928" fmla="*/ 2773833 h 4167549"/>
              <a:gd name="connsiteX7929" fmla="*/ 617518 w 10890933"/>
              <a:gd name="connsiteY7929" fmla="*/ 2825154 h 4167549"/>
              <a:gd name="connsiteX7930" fmla="*/ 593557 w 10890933"/>
              <a:gd name="connsiteY7930" fmla="*/ 2846239 h 4167549"/>
              <a:gd name="connsiteX7931" fmla="*/ 580429 w 10890933"/>
              <a:gd name="connsiteY7931" fmla="*/ 2861057 h 4167549"/>
              <a:gd name="connsiteX7932" fmla="*/ 603766 w 10890933"/>
              <a:gd name="connsiteY7932" fmla="*/ 2876478 h 4167549"/>
              <a:gd name="connsiteX7933" fmla="*/ 579806 w 10890933"/>
              <a:gd name="connsiteY7933" fmla="*/ 2897560 h 4167549"/>
              <a:gd name="connsiteX7934" fmla="*/ 598556 w 10890933"/>
              <a:gd name="connsiteY7934" fmla="*/ 2930088 h 4167549"/>
              <a:gd name="connsiteX7935" fmla="*/ 609391 w 10890933"/>
              <a:gd name="connsiteY7935" fmla="*/ 2923824 h 4167549"/>
              <a:gd name="connsiteX7936" fmla="*/ 624184 w 10890933"/>
              <a:gd name="connsiteY7936" fmla="*/ 2936956 h 4167549"/>
              <a:gd name="connsiteX7937" fmla="*/ 621892 w 10890933"/>
              <a:gd name="connsiteY7937" fmla="*/ 2945510 h 4167549"/>
              <a:gd name="connsiteX7938" fmla="*/ 670854 w 10890933"/>
              <a:gd name="connsiteY7938" fmla="*/ 2967798 h 4167549"/>
              <a:gd name="connsiteX7939" fmla="*/ 640641 w 10890933"/>
              <a:gd name="connsiteY7939" fmla="*/ 2978039 h 4167549"/>
              <a:gd name="connsiteX7940" fmla="*/ 640018 w 10890933"/>
              <a:gd name="connsiteY7940" fmla="*/ 3014541 h 4167549"/>
              <a:gd name="connsiteX7941" fmla="*/ 616057 w 10890933"/>
              <a:gd name="connsiteY7941" fmla="*/ 3035626 h 4167549"/>
              <a:gd name="connsiteX7942" fmla="*/ 650226 w 10890933"/>
              <a:gd name="connsiteY7942" fmla="*/ 3044781 h 4167549"/>
              <a:gd name="connsiteX7943" fmla="*/ 645642 w 10890933"/>
              <a:gd name="connsiteY7943" fmla="*/ 3061889 h 4167549"/>
              <a:gd name="connsiteX7944" fmla="*/ 626266 w 10890933"/>
              <a:gd name="connsiteY7944" fmla="*/ 3065863 h 4167549"/>
              <a:gd name="connsiteX7945" fmla="*/ 622306 w 10890933"/>
              <a:gd name="connsiteY7945" fmla="*/ 3046468 h 4167549"/>
              <a:gd name="connsiteX7946" fmla="*/ 602929 w 10890933"/>
              <a:gd name="connsiteY7946" fmla="*/ 3050444 h 4167549"/>
              <a:gd name="connsiteX7947" fmla="*/ 598972 w 10890933"/>
              <a:gd name="connsiteY7947" fmla="*/ 3031048 h 4167549"/>
              <a:gd name="connsiteX7948" fmla="*/ 596680 w 10890933"/>
              <a:gd name="connsiteY7948" fmla="*/ 3039602 h 4167549"/>
              <a:gd name="connsiteX7949" fmla="*/ 622933 w 10890933"/>
              <a:gd name="connsiteY7949" fmla="*/ 3009964 h 4167549"/>
              <a:gd name="connsiteX7950" fmla="*/ 592720 w 10890933"/>
              <a:gd name="connsiteY7950" fmla="*/ 3020204 h 4167549"/>
              <a:gd name="connsiteX7951" fmla="*/ 584179 w 10890933"/>
              <a:gd name="connsiteY7951" fmla="*/ 3017916 h 4167549"/>
              <a:gd name="connsiteX7952" fmla="*/ 588763 w 10890933"/>
              <a:gd name="connsiteY7952" fmla="*/ 3000808 h 4167549"/>
              <a:gd name="connsiteX7953" fmla="*/ 608140 w 10890933"/>
              <a:gd name="connsiteY7953" fmla="*/ 2996831 h 4167549"/>
              <a:gd name="connsiteX7954" fmla="*/ 595640 w 10890933"/>
              <a:gd name="connsiteY7954" fmla="*/ 2975146 h 4167549"/>
              <a:gd name="connsiteX7955" fmla="*/ 580220 w 10890933"/>
              <a:gd name="connsiteY7955" fmla="*/ 2998519 h 4167549"/>
              <a:gd name="connsiteX7956" fmla="*/ 587096 w 10890933"/>
              <a:gd name="connsiteY7956" fmla="*/ 2972856 h 4167549"/>
              <a:gd name="connsiteX7957" fmla="*/ 559178 w 10890933"/>
              <a:gd name="connsiteY7957" fmla="*/ 2974544 h 4167549"/>
              <a:gd name="connsiteX7958" fmla="*/ 572302 w 10890933"/>
              <a:gd name="connsiteY7958" fmla="*/ 2959727 h 4167549"/>
              <a:gd name="connsiteX7959" fmla="*/ 555218 w 10890933"/>
              <a:gd name="connsiteY7959" fmla="*/ 2955149 h 4167549"/>
              <a:gd name="connsiteX7960" fmla="*/ 548969 w 10890933"/>
              <a:gd name="connsiteY7960" fmla="*/ 2944306 h 4167549"/>
              <a:gd name="connsiteX7961" fmla="*/ 574594 w 10890933"/>
              <a:gd name="connsiteY7961" fmla="*/ 2951173 h 4167549"/>
              <a:gd name="connsiteX7962" fmla="*/ 564386 w 10890933"/>
              <a:gd name="connsiteY7962" fmla="*/ 2920933 h 4167549"/>
              <a:gd name="connsiteX7963" fmla="*/ 545009 w 10890933"/>
              <a:gd name="connsiteY7963" fmla="*/ 2924909 h 4167549"/>
              <a:gd name="connsiteX7964" fmla="*/ 521675 w 10890933"/>
              <a:gd name="connsiteY7964" fmla="*/ 2909489 h 4167549"/>
              <a:gd name="connsiteX7965" fmla="*/ 517091 w 10890933"/>
              <a:gd name="connsiteY7965" fmla="*/ 2926597 h 4167549"/>
              <a:gd name="connsiteX7966" fmla="*/ 504591 w 10890933"/>
              <a:gd name="connsiteY7966" fmla="*/ 2904911 h 4167549"/>
              <a:gd name="connsiteX7967" fmla="*/ 515424 w 10890933"/>
              <a:gd name="connsiteY7967" fmla="*/ 2898646 h 4167549"/>
              <a:gd name="connsiteX7968" fmla="*/ 511467 w 10890933"/>
              <a:gd name="connsiteY7968" fmla="*/ 2879249 h 4167549"/>
              <a:gd name="connsiteX7969" fmla="*/ 496050 w 10890933"/>
              <a:gd name="connsiteY7969" fmla="*/ 2902622 h 4167549"/>
              <a:gd name="connsiteX7970" fmla="*/ 489798 w 10890933"/>
              <a:gd name="connsiteY7970" fmla="*/ 2891779 h 4167549"/>
              <a:gd name="connsiteX7971" fmla="*/ 502926 w 10890933"/>
              <a:gd name="connsiteY7971" fmla="*/ 2876960 h 4167549"/>
              <a:gd name="connsiteX7972" fmla="*/ 490246 w 10890933"/>
              <a:gd name="connsiteY7972" fmla="*/ 2865706 h 4167549"/>
              <a:gd name="connsiteX7973" fmla="*/ 490425 w 10890933"/>
              <a:gd name="connsiteY7973" fmla="*/ 2855275 h 4167549"/>
              <a:gd name="connsiteX7974" fmla="*/ 475005 w 10890933"/>
              <a:gd name="connsiteY7974" fmla="*/ 2878647 h 4167549"/>
              <a:gd name="connsiteX7975" fmla="*/ 464796 w 10890933"/>
              <a:gd name="connsiteY7975" fmla="*/ 2848407 h 4167549"/>
              <a:gd name="connsiteX7976" fmla="*/ 480216 w 10890933"/>
              <a:gd name="connsiteY7976" fmla="*/ 2825037 h 4167549"/>
              <a:gd name="connsiteX7977" fmla="*/ 492716 w 10890933"/>
              <a:gd name="connsiteY7977" fmla="*/ 2846723 h 4167549"/>
              <a:gd name="connsiteX7978" fmla="*/ 488757 w 10890933"/>
              <a:gd name="connsiteY7978" fmla="*/ 2827325 h 4167549"/>
              <a:gd name="connsiteX7979" fmla="*/ 480216 w 10890933"/>
              <a:gd name="connsiteY7979" fmla="*/ 2825037 h 4167549"/>
              <a:gd name="connsiteX7980" fmla="*/ 463131 w 10890933"/>
              <a:gd name="connsiteY7980" fmla="*/ 2820459 h 4167549"/>
              <a:gd name="connsiteX7981" fmla="*/ 473964 w 10890933"/>
              <a:gd name="connsiteY7981" fmla="*/ 2814194 h 4167549"/>
              <a:gd name="connsiteX7982" fmla="*/ 465423 w 10890933"/>
              <a:gd name="connsiteY7982" fmla="*/ 2811905 h 4167549"/>
              <a:gd name="connsiteX7983" fmla="*/ 463131 w 10890933"/>
              <a:gd name="connsiteY7983" fmla="*/ 2820459 h 4167549"/>
              <a:gd name="connsiteX7984" fmla="*/ 462845 w 10890933"/>
              <a:gd name="connsiteY7984" fmla="*/ 2821527 h 4167549"/>
              <a:gd name="connsiteX7985" fmla="*/ 460839 w 10890933"/>
              <a:gd name="connsiteY7985" fmla="*/ 2829013 h 4167549"/>
              <a:gd name="connsiteX7986" fmla="*/ 454587 w 10890933"/>
              <a:gd name="connsiteY7986" fmla="*/ 2818170 h 4167549"/>
              <a:gd name="connsiteX7987" fmla="*/ 455214 w 10890933"/>
              <a:gd name="connsiteY7987" fmla="*/ 2781665 h 4167549"/>
              <a:gd name="connsiteX7988" fmla="*/ 455651 w 10890933"/>
              <a:gd name="connsiteY7988" fmla="*/ 2756113 h 4167549"/>
              <a:gd name="connsiteX7989" fmla="*/ 459798 w 10890933"/>
              <a:gd name="connsiteY7989" fmla="*/ 2764557 h 4167549"/>
              <a:gd name="connsiteX7990" fmla="*/ 455715 w 10890933"/>
              <a:gd name="connsiteY7990" fmla="*/ 2752462 h 4167549"/>
              <a:gd name="connsiteX7991" fmla="*/ 455838 w 10890933"/>
              <a:gd name="connsiteY7991" fmla="*/ 2745162 h 4167549"/>
              <a:gd name="connsiteX7992" fmla="*/ 455086 w 10890933"/>
              <a:gd name="connsiteY7992" fmla="*/ 2750602 h 4167549"/>
              <a:gd name="connsiteX7993" fmla="*/ 449589 w 10890933"/>
              <a:gd name="connsiteY7993" fmla="*/ 2734320 h 4167549"/>
              <a:gd name="connsiteX7994" fmla="*/ 438753 w 10890933"/>
              <a:gd name="connsiteY7994" fmla="*/ 2740585 h 4167549"/>
              <a:gd name="connsiteX7995" fmla="*/ 451255 w 10890933"/>
              <a:gd name="connsiteY7995" fmla="*/ 2762268 h 4167549"/>
              <a:gd name="connsiteX7996" fmla="*/ 436461 w 10890933"/>
              <a:gd name="connsiteY7996" fmla="*/ 2749138 h 4167549"/>
              <a:gd name="connsiteX7997" fmla="*/ 417085 w 10890933"/>
              <a:gd name="connsiteY7997" fmla="*/ 2753112 h 4167549"/>
              <a:gd name="connsiteX7998" fmla="*/ 413128 w 10890933"/>
              <a:gd name="connsiteY7998" fmla="*/ 2733718 h 4167549"/>
              <a:gd name="connsiteX7999" fmla="*/ 419377 w 10890933"/>
              <a:gd name="connsiteY7999" fmla="*/ 2744560 h 4167549"/>
              <a:gd name="connsiteX8000" fmla="*/ 437089 w 10890933"/>
              <a:gd name="connsiteY8000" fmla="*/ 2712634 h 4167549"/>
              <a:gd name="connsiteX8001" fmla="*/ 413752 w 10890933"/>
              <a:gd name="connsiteY8001" fmla="*/ 2697212 h 4167549"/>
              <a:gd name="connsiteX8002" fmla="*/ 461673 w 10890933"/>
              <a:gd name="connsiteY8002" fmla="*/ 2655047 h 4167549"/>
              <a:gd name="connsiteX8003" fmla="*/ 450840 w 10890933"/>
              <a:gd name="connsiteY8003" fmla="*/ 2661312 h 4167549"/>
              <a:gd name="connsiteX8004" fmla="*/ 488967 w 10890933"/>
              <a:gd name="connsiteY8004" fmla="*/ 2689862 h 4167549"/>
              <a:gd name="connsiteX8005" fmla="*/ 508344 w 10890933"/>
              <a:gd name="connsiteY8005" fmla="*/ 2685886 h 4167549"/>
              <a:gd name="connsiteX8006" fmla="*/ 519179 w 10890933"/>
              <a:gd name="connsiteY8006" fmla="*/ 2679623 h 4167549"/>
              <a:gd name="connsiteX8007" fmla="*/ 495843 w 10890933"/>
              <a:gd name="connsiteY8007" fmla="*/ 2664202 h 4167549"/>
              <a:gd name="connsiteX8008" fmla="*/ 523763 w 10890933"/>
              <a:gd name="connsiteY8008" fmla="*/ 2662515 h 4167549"/>
              <a:gd name="connsiteX8009" fmla="*/ 530639 w 10890933"/>
              <a:gd name="connsiteY8009" fmla="*/ 2636853 h 4167549"/>
              <a:gd name="connsiteX8010" fmla="*/ 547724 w 10890933"/>
              <a:gd name="connsiteY8010" fmla="*/ 2641431 h 4167549"/>
              <a:gd name="connsiteX8011" fmla="*/ 581891 w 10890933"/>
              <a:gd name="connsiteY8011" fmla="*/ 2650586 h 4167549"/>
              <a:gd name="connsiteX8012" fmla="*/ 569393 w 10890933"/>
              <a:gd name="connsiteY8012" fmla="*/ 2628901 h 4167549"/>
              <a:gd name="connsiteX8013" fmla="*/ 558557 w 10890933"/>
              <a:gd name="connsiteY8013" fmla="*/ 2635166 h 4167549"/>
              <a:gd name="connsiteX8014" fmla="*/ 528972 w 10890933"/>
              <a:gd name="connsiteY8014" fmla="*/ 2608902 h 4167549"/>
              <a:gd name="connsiteX8015" fmla="*/ 535847 w 10890933"/>
              <a:gd name="connsiteY8015" fmla="*/ 2583242 h 4167549"/>
              <a:gd name="connsiteX8016" fmla="*/ 550640 w 10890933"/>
              <a:gd name="connsiteY8016" fmla="*/ 2596374 h 4167549"/>
              <a:gd name="connsiteX8017" fmla="*/ 548349 w 10890933"/>
              <a:gd name="connsiteY8017" fmla="*/ 2604926 h 4167549"/>
              <a:gd name="connsiteX8018" fmla="*/ 580226 w 10890933"/>
              <a:gd name="connsiteY8018" fmla="*/ 2622636 h 4167549"/>
              <a:gd name="connsiteX8019" fmla="*/ 608144 w 10890933"/>
              <a:gd name="connsiteY8019" fmla="*/ 2620948 h 4167549"/>
              <a:gd name="connsiteX8020" fmla="*/ 604289 w 10890933"/>
              <a:gd name="connsiteY8020" fmla="*/ 2579806 h 4167549"/>
              <a:gd name="connsiteX8021" fmla="*/ 608432 w 10890933"/>
              <a:gd name="connsiteY8021" fmla="*/ 2574587 h 4167549"/>
              <a:gd name="connsiteX8022" fmla="*/ 612295 w 10890933"/>
              <a:gd name="connsiteY8022" fmla="*/ 2567776 h 4167549"/>
              <a:gd name="connsiteX8023" fmla="*/ 622007 w 10890933"/>
              <a:gd name="connsiteY8023" fmla="*/ 2568559 h 4167549"/>
              <a:gd name="connsiteX8024" fmla="*/ 615093 w 10890933"/>
              <a:gd name="connsiteY8024" fmla="*/ 2594361 h 4167549"/>
              <a:gd name="connsiteX8025" fmla="*/ 615306 w 10890933"/>
              <a:gd name="connsiteY8025" fmla="*/ 2594218 h 4167549"/>
              <a:gd name="connsiteX8026" fmla="*/ 628147 w 10890933"/>
              <a:gd name="connsiteY8026" fmla="*/ 2580469 h 4167549"/>
              <a:gd name="connsiteX8027" fmla="*/ 621271 w 10890933"/>
              <a:gd name="connsiteY8027" fmla="*/ 2606132 h 4167549"/>
              <a:gd name="connsiteX8028" fmla="*/ 628147 w 10890933"/>
              <a:gd name="connsiteY8028" fmla="*/ 2580469 h 4167549"/>
              <a:gd name="connsiteX8029" fmla="*/ 670858 w 10890933"/>
              <a:gd name="connsiteY8029" fmla="*/ 2591914 h 4167549"/>
              <a:gd name="connsiteX8030" fmla="*/ 660777 w 10890933"/>
              <a:gd name="connsiteY8030" fmla="*/ 2581089 h 4167549"/>
              <a:gd name="connsiteX8031" fmla="*/ 652331 w 10890933"/>
              <a:gd name="connsiteY8031" fmla="*/ 2576048 h 4167549"/>
              <a:gd name="connsiteX8032" fmla="*/ 638980 w 10890933"/>
              <a:gd name="connsiteY8032" fmla="*/ 2574204 h 4167549"/>
              <a:gd name="connsiteX8033" fmla="*/ 636688 w 10890933"/>
              <a:gd name="connsiteY8033" fmla="*/ 2582758 h 4167549"/>
              <a:gd name="connsiteX8034" fmla="*/ 625908 w 10890933"/>
              <a:gd name="connsiteY8034" fmla="*/ 2560530 h 4167549"/>
              <a:gd name="connsiteX8035" fmla="*/ 624703 w 10890933"/>
              <a:gd name="connsiteY8035" fmla="*/ 2560325 h 4167549"/>
              <a:gd name="connsiteX8036" fmla="*/ 633538 w 10890933"/>
              <a:gd name="connsiteY8036" fmla="*/ 2547534 h 4167549"/>
              <a:gd name="connsiteX8037" fmla="*/ 637230 w 10890933"/>
              <a:gd name="connsiteY8037" fmla="*/ 2545966 h 4167549"/>
              <a:gd name="connsiteX8038" fmla="*/ 637315 w 10890933"/>
              <a:gd name="connsiteY8038" fmla="*/ 2546253 h 4167549"/>
              <a:gd name="connsiteX8039" fmla="*/ 637561 w 10890933"/>
              <a:gd name="connsiteY8039" fmla="*/ 2545826 h 4167549"/>
              <a:gd name="connsiteX8040" fmla="*/ 640156 w 10890933"/>
              <a:gd name="connsiteY8040" fmla="*/ 2544724 h 4167549"/>
              <a:gd name="connsiteX8041" fmla="*/ 645856 w 10890933"/>
              <a:gd name="connsiteY8041" fmla="*/ 2548542 h 4167549"/>
              <a:gd name="connsiteX8042" fmla="*/ 652732 w 10890933"/>
              <a:gd name="connsiteY8042" fmla="*/ 2522882 h 4167549"/>
              <a:gd name="connsiteX8043" fmla="*/ 645883 w 10890933"/>
              <a:gd name="connsiteY8043" fmla="*/ 2531361 h 4167549"/>
              <a:gd name="connsiteX8044" fmla="*/ 637561 w 10890933"/>
              <a:gd name="connsiteY8044" fmla="*/ 2545826 h 4167549"/>
              <a:gd name="connsiteX8045" fmla="*/ 637230 w 10890933"/>
              <a:gd name="connsiteY8045" fmla="*/ 2545966 h 4167549"/>
              <a:gd name="connsiteX8046" fmla="*/ 632496 w 10890933"/>
              <a:gd name="connsiteY8046" fmla="*/ 2530066 h 4167549"/>
              <a:gd name="connsiteX8047" fmla="*/ 622522 w 10890933"/>
              <a:gd name="connsiteY8047" fmla="*/ 2533124 h 4167549"/>
              <a:gd name="connsiteX8048" fmla="*/ 627106 w 10890933"/>
              <a:gd name="connsiteY8048" fmla="*/ 2516016 h 4167549"/>
              <a:gd name="connsiteX8049" fmla="*/ 592936 w 10890933"/>
              <a:gd name="connsiteY8049" fmla="*/ 2506860 h 4167549"/>
              <a:gd name="connsiteX8050" fmla="*/ 612313 w 10890933"/>
              <a:gd name="connsiteY8050" fmla="*/ 2502884 h 4167549"/>
              <a:gd name="connsiteX8051" fmla="*/ 597521 w 10890933"/>
              <a:gd name="connsiteY8051" fmla="*/ 2489752 h 4167549"/>
              <a:gd name="connsiteX8052" fmla="*/ 631690 w 10890933"/>
              <a:gd name="connsiteY8052" fmla="*/ 2498908 h 4167549"/>
              <a:gd name="connsiteX8053" fmla="*/ 627731 w 10890933"/>
              <a:gd name="connsiteY8053" fmla="*/ 2479510 h 4167549"/>
              <a:gd name="connsiteX8054" fmla="*/ 616897 w 10890933"/>
              <a:gd name="connsiteY8054" fmla="*/ 2485776 h 4167549"/>
              <a:gd name="connsiteX8055" fmla="*/ 608981 w 10890933"/>
              <a:gd name="connsiteY8055" fmla="*/ 2446982 h 4167549"/>
              <a:gd name="connsiteX8056" fmla="*/ 615233 w 10890933"/>
              <a:gd name="connsiteY8056" fmla="*/ 2457825 h 4167549"/>
              <a:gd name="connsiteX8057" fmla="*/ 632315 w 10890933"/>
              <a:gd name="connsiteY8057" fmla="*/ 2462402 h 4167549"/>
              <a:gd name="connsiteX8058" fmla="*/ 643150 w 10890933"/>
              <a:gd name="connsiteY8058" fmla="*/ 2456138 h 4167549"/>
              <a:gd name="connsiteX8059" fmla="*/ 649399 w 10890933"/>
              <a:gd name="connsiteY8059" fmla="*/ 2466980 h 4167549"/>
              <a:gd name="connsiteX8060" fmla="*/ 657943 w 10890933"/>
              <a:gd name="connsiteY8060" fmla="*/ 2469270 h 4167549"/>
              <a:gd name="connsiteX8061" fmla="*/ 686487 w 10890933"/>
              <a:gd name="connsiteY8061" fmla="*/ 2431080 h 4167549"/>
              <a:gd name="connsiteX8062" fmla="*/ 669403 w 10890933"/>
              <a:gd name="connsiteY8062" fmla="*/ 2426502 h 4167549"/>
              <a:gd name="connsiteX8063" fmla="*/ 673987 w 10890933"/>
              <a:gd name="connsiteY8063" fmla="*/ 2409394 h 4167549"/>
              <a:gd name="connsiteX8064" fmla="*/ 695028 w 10890933"/>
              <a:gd name="connsiteY8064" fmla="*/ 2433368 h 4167549"/>
              <a:gd name="connsiteX8065" fmla="*/ 692914 w 10890933"/>
              <a:gd name="connsiteY8065" fmla="*/ 2441262 h 4167549"/>
              <a:gd name="connsiteX8066" fmla="*/ 693292 w 10890933"/>
              <a:gd name="connsiteY8066" fmla="*/ 2442379 h 4167549"/>
              <a:gd name="connsiteX8067" fmla="*/ 692236 w 10890933"/>
              <a:gd name="connsiteY8067" fmla="*/ 2443788 h 4167549"/>
              <a:gd name="connsiteX8068" fmla="*/ 688152 w 10890933"/>
              <a:gd name="connsiteY8068" fmla="*/ 2459030 h 4167549"/>
              <a:gd name="connsiteX8069" fmla="*/ 708156 w 10890933"/>
              <a:gd name="connsiteY8069" fmla="*/ 2418549 h 4167549"/>
              <a:gd name="connsiteX8070" fmla="*/ 703572 w 10890933"/>
              <a:gd name="connsiteY8070" fmla="*/ 2435658 h 4167549"/>
              <a:gd name="connsiteX8071" fmla="*/ 742326 w 10890933"/>
              <a:gd name="connsiteY8071" fmla="*/ 2427705 h 4167549"/>
              <a:gd name="connsiteX8072" fmla="*/ 750242 w 10890933"/>
              <a:gd name="connsiteY8072" fmla="*/ 2466499 h 4167549"/>
              <a:gd name="connsiteX8073" fmla="*/ 700654 w 10890933"/>
              <a:gd name="connsiteY8073" fmla="*/ 2480714 h 4167549"/>
              <a:gd name="connsiteX8074" fmla="*/ 715446 w 10890933"/>
              <a:gd name="connsiteY8074" fmla="*/ 2493846 h 4167549"/>
              <a:gd name="connsiteX8075" fmla="*/ 659608 w 10890933"/>
              <a:gd name="connsiteY8075" fmla="*/ 2497220 h 4167549"/>
              <a:gd name="connsiteX8076" fmla="*/ 689193 w 10890933"/>
              <a:gd name="connsiteY8076" fmla="*/ 2523484 h 4167549"/>
              <a:gd name="connsiteX8077" fmla="*/ 717114 w 10890933"/>
              <a:gd name="connsiteY8077" fmla="*/ 2521797 h 4167549"/>
              <a:gd name="connsiteX8078" fmla="*/ 740448 w 10890933"/>
              <a:gd name="connsiteY8078" fmla="*/ 2537218 h 4167549"/>
              <a:gd name="connsiteX8079" fmla="*/ 742740 w 10890933"/>
              <a:gd name="connsiteY8079" fmla="*/ 2528663 h 4167549"/>
              <a:gd name="connsiteX8080" fmla="*/ 772325 w 10890933"/>
              <a:gd name="connsiteY8080" fmla="*/ 2554927 h 4167549"/>
              <a:gd name="connsiteX8081" fmla="*/ 752948 w 10890933"/>
              <a:gd name="connsiteY8081" fmla="*/ 2558903 h 4167549"/>
              <a:gd name="connsiteX8082" fmla="*/ 759200 w 10890933"/>
              <a:gd name="connsiteY8082" fmla="*/ 2569747 h 4167549"/>
              <a:gd name="connsiteX8083" fmla="*/ 796286 w 10890933"/>
              <a:gd name="connsiteY8083" fmla="*/ 2533843 h 4167549"/>
              <a:gd name="connsiteX8084" fmla="*/ 790037 w 10890933"/>
              <a:gd name="connsiteY8084" fmla="*/ 2523000 h 4167549"/>
              <a:gd name="connsiteX8085" fmla="*/ 811706 w 10890933"/>
              <a:gd name="connsiteY8085" fmla="*/ 2510470 h 4167549"/>
              <a:gd name="connsiteX8086" fmla="*/ 829414 w 10890933"/>
              <a:gd name="connsiteY8086" fmla="*/ 2478545 h 4167549"/>
              <a:gd name="connsiteX8087" fmla="*/ 848791 w 10890933"/>
              <a:gd name="connsiteY8087" fmla="*/ 2474569 h 4167549"/>
              <a:gd name="connsiteX8088" fmla="*/ 864835 w 10890933"/>
              <a:gd name="connsiteY8088" fmla="*/ 2414693 h 4167549"/>
              <a:gd name="connsiteX8089" fmla="*/ 856294 w 10890933"/>
              <a:gd name="connsiteY8089" fmla="*/ 2412405 h 4167549"/>
              <a:gd name="connsiteX8090" fmla="*/ 874003 w 10890933"/>
              <a:gd name="connsiteY8090" fmla="*/ 2380477 h 4167549"/>
              <a:gd name="connsiteX8091" fmla="*/ 901924 w 10890933"/>
              <a:gd name="connsiteY8091" fmla="*/ 2378790 h 4167549"/>
              <a:gd name="connsiteX8092" fmla="*/ 878587 w 10890933"/>
              <a:gd name="connsiteY8092" fmla="*/ 2363369 h 4167549"/>
              <a:gd name="connsiteX8093" fmla="*/ 883171 w 10890933"/>
              <a:gd name="connsiteY8093" fmla="*/ 2346261 h 4167549"/>
              <a:gd name="connsiteX8094" fmla="*/ 877546 w 10890933"/>
              <a:gd name="connsiteY8094" fmla="*/ 2298916 h 4167549"/>
              <a:gd name="connsiteX8095" fmla="*/ 896923 w 10890933"/>
              <a:gd name="connsiteY8095" fmla="*/ 2294939 h 4167549"/>
              <a:gd name="connsiteX8096" fmla="*/ 937344 w 10890933"/>
              <a:gd name="connsiteY8096" fmla="*/ 2314938 h 4167549"/>
              <a:gd name="connsiteX8097" fmla="*/ 939636 w 10890933"/>
              <a:gd name="connsiteY8097" fmla="*/ 2306385 h 4167549"/>
              <a:gd name="connsiteX8098" fmla="*/ 896923 w 10890933"/>
              <a:gd name="connsiteY8098" fmla="*/ 2294939 h 4167549"/>
              <a:gd name="connsiteX8099" fmla="*/ 912343 w 10890933"/>
              <a:gd name="connsiteY8099" fmla="*/ 2271567 h 4167549"/>
              <a:gd name="connsiteX8100" fmla="*/ 895258 w 10890933"/>
              <a:gd name="connsiteY8100" fmla="*/ 2266989 h 4167549"/>
              <a:gd name="connsiteX8101" fmla="*/ 916926 w 10890933"/>
              <a:gd name="connsiteY8101" fmla="*/ 2254461 h 4167549"/>
              <a:gd name="connsiteX8102" fmla="*/ 876505 w 10890933"/>
              <a:gd name="connsiteY8102" fmla="*/ 2234462 h 4167549"/>
              <a:gd name="connsiteX8103" fmla="*/ 891298 w 10890933"/>
              <a:gd name="connsiteY8103" fmla="*/ 2247594 h 4167549"/>
              <a:gd name="connsiteX8104" fmla="*/ 878173 w 10890933"/>
              <a:gd name="connsiteY8104" fmla="*/ 2262411 h 4167549"/>
              <a:gd name="connsiteX8105" fmla="*/ 871921 w 10890933"/>
              <a:gd name="connsiteY8105" fmla="*/ 2251570 h 4167549"/>
              <a:gd name="connsiteX8106" fmla="*/ 852545 w 10890933"/>
              <a:gd name="connsiteY8106" fmla="*/ 2255544 h 4167549"/>
              <a:gd name="connsiteX8107" fmla="*/ 846295 w 10890933"/>
              <a:gd name="connsiteY8107" fmla="*/ 2244704 h 4167549"/>
              <a:gd name="connsiteX8108" fmla="*/ 824627 w 10890933"/>
              <a:gd name="connsiteY8108" fmla="*/ 2257232 h 4167549"/>
              <a:gd name="connsiteX8109" fmla="*/ 820667 w 10890933"/>
              <a:gd name="connsiteY8109" fmla="*/ 2237837 h 4167549"/>
              <a:gd name="connsiteX8110" fmla="*/ 801290 w 10890933"/>
              <a:gd name="connsiteY8110" fmla="*/ 2241810 h 4167549"/>
              <a:gd name="connsiteX8111" fmla="*/ 805250 w 10890933"/>
              <a:gd name="connsiteY8111" fmla="*/ 2261207 h 4167549"/>
              <a:gd name="connsiteX8112" fmla="*/ 779622 w 10890933"/>
              <a:gd name="connsiteY8112" fmla="*/ 2254340 h 4167549"/>
              <a:gd name="connsiteX8113" fmla="*/ 830251 w 10890933"/>
              <a:gd name="connsiteY8113" fmla="*/ 2304579 h 4167549"/>
              <a:gd name="connsiteX8114" fmla="*/ 814832 w 10890933"/>
              <a:gd name="connsiteY8114" fmla="*/ 2327950 h 4167549"/>
              <a:gd name="connsiteX8115" fmla="*/ 810875 w 10890933"/>
              <a:gd name="connsiteY8115" fmla="*/ 2308556 h 4167549"/>
              <a:gd name="connsiteX8116" fmla="*/ 804623 w 10890933"/>
              <a:gd name="connsiteY8116" fmla="*/ 2297712 h 4167549"/>
              <a:gd name="connsiteX8117" fmla="*/ 803191 w 10890933"/>
              <a:gd name="connsiteY8117" fmla="*/ 2303058 h 4167549"/>
              <a:gd name="connsiteX8118" fmla="*/ 802331 w 10890933"/>
              <a:gd name="connsiteY8118" fmla="*/ 2306266 h 4167549"/>
              <a:gd name="connsiteX8119" fmla="*/ 791498 w 10890933"/>
              <a:gd name="connsiteY8119" fmla="*/ 2312532 h 4167549"/>
              <a:gd name="connsiteX8120" fmla="*/ 785246 w 10890933"/>
              <a:gd name="connsiteY8120" fmla="*/ 2301689 h 4167549"/>
              <a:gd name="connsiteX8121" fmla="*/ 772122 w 10890933"/>
              <a:gd name="connsiteY8121" fmla="*/ 2316505 h 4167549"/>
              <a:gd name="connsiteX8122" fmla="*/ 759620 w 10890933"/>
              <a:gd name="connsiteY8122" fmla="*/ 2294822 h 4167549"/>
              <a:gd name="connsiteX8123" fmla="*/ 741909 w 10890933"/>
              <a:gd name="connsiteY8123" fmla="*/ 2326746 h 4167549"/>
              <a:gd name="connsiteX8124" fmla="*/ 718575 w 10890933"/>
              <a:gd name="connsiteY8124" fmla="*/ 2311326 h 4167549"/>
              <a:gd name="connsiteX8125" fmla="*/ 724824 w 10890933"/>
              <a:gd name="connsiteY8125" fmla="*/ 2322168 h 4167549"/>
              <a:gd name="connsiteX8126" fmla="*/ 705448 w 10890933"/>
              <a:gd name="connsiteY8126" fmla="*/ 2326145 h 4167549"/>
              <a:gd name="connsiteX8127" fmla="*/ 711699 w 10890933"/>
              <a:gd name="connsiteY8127" fmla="*/ 2336988 h 4167549"/>
              <a:gd name="connsiteX8128" fmla="*/ 677530 w 10890933"/>
              <a:gd name="connsiteY8128" fmla="*/ 2327833 h 4167549"/>
              <a:gd name="connsiteX8129" fmla="*/ 728784 w 10890933"/>
              <a:gd name="connsiteY8129" fmla="*/ 2341566 h 4167549"/>
              <a:gd name="connsiteX8130" fmla="*/ 752118 w 10890933"/>
              <a:gd name="connsiteY8130" fmla="*/ 2356986 h 4167549"/>
              <a:gd name="connsiteX8131" fmla="*/ 696279 w 10890933"/>
              <a:gd name="connsiteY8131" fmla="*/ 2360361 h 4167549"/>
              <a:gd name="connsiteX8132" fmla="*/ 702531 w 10890933"/>
              <a:gd name="connsiteY8132" fmla="*/ 2371204 h 4167549"/>
              <a:gd name="connsiteX8133" fmla="*/ 725865 w 10890933"/>
              <a:gd name="connsiteY8133" fmla="*/ 2386624 h 4167549"/>
              <a:gd name="connsiteX8134" fmla="*/ 721281 w 10890933"/>
              <a:gd name="connsiteY8134" fmla="*/ 2403730 h 4167549"/>
              <a:gd name="connsiteX8135" fmla="*/ 652942 w 10890933"/>
              <a:gd name="connsiteY8135" fmla="*/ 2385419 h 4167549"/>
              <a:gd name="connsiteX8136" fmla="*/ 663778 w 10890933"/>
              <a:gd name="connsiteY8136" fmla="*/ 2379154 h 4167549"/>
              <a:gd name="connsiteX8137" fmla="*/ 693987 w 10890933"/>
              <a:gd name="connsiteY8137" fmla="*/ 2368915 h 4167549"/>
              <a:gd name="connsiteX8138" fmla="*/ 640444 w 10890933"/>
              <a:gd name="connsiteY8138" fmla="*/ 2363736 h 4167549"/>
              <a:gd name="connsiteX8139" fmla="*/ 651277 w 10890933"/>
              <a:gd name="connsiteY8139" fmla="*/ 2357471 h 4167549"/>
              <a:gd name="connsiteX8140" fmla="*/ 619399 w 10890933"/>
              <a:gd name="connsiteY8140" fmla="*/ 2339761 h 4167549"/>
              <a:gd name="connsiteX8141" fmla="*/ 668986 w 10890933"/>
              <a:gd name="connsiteY8141" fmla="*/ 2325543 h 4167549"/>
              <a:gd name="connsiteX8142" fmla="*/ 654196 w 10890933"/>
              <a:gd name="connsiteY8142" fmla="*/ 2312412 h 4167549"/>
              <a:gd name="connsiteX8143" fmla="*/ 667321 w 10890933"/>
              <a:gd name="connsiteY8143" fmla="*/ 2297592 h 4167549"/>
              <a:gd name="connsiteX8144" fmla="*/ 671278 w 10890933"/>
              <a:gd name="connsiteY8144" fmla="*/ 2316989 h 4167549"/>
              <a:gd name="connsiteX8145" fmla="*/ 620650 w 10890933"/>
              <a:gd name="connsiteY8145" fmla="*/ 2266753 h 4167549"/>
              <a:gd name="connsiteX8146" fmla="*/ 624610 w 10890933"/>
              <a:gd name="connsiteY8146" fmla="*/ 2286148 h 4167549"/>
              <a:gd name="connsiteX8147" fmla="*/ 614478 w 10890933"/>
              <a:gd name="connsiteY8147" fmla="*/ 2298331 h 4167549"/>
              <a:gd name="connsiteX8148" fmla="*/ 614848 w 10890933"/>
              <a:gd name="connsiteY8148" fmla="*/ 2306807 h 4167549"/>
              <a:gd name="connsiteX8149" fmla="*/ 611483 w 10890933"/>
              <a:gd name="connsiteY8149" fmla="*/ 2300967 h 4167549"/>
              <a:gd name="connsiteX8150" fmla="*/ 512934 w 10890933"/>
              <a:gd name="connsiteY8150" fmla="*/ 2292897 h 4167549"/>
              <a:gd name="connsiteX8151" fmla="*/ 533976 w 10890933"/>
              <a:gd name="connsiteY8151" fmla="*/ 2316872 h 4167549"/>
              <a:gd name="connsiteX8152" fmla="*/ 559604 w 10890933"/>
              <a:gd name="connsiteY8152" fmla="*/ 2323739 h 4167549"/>
              <a:gd name="connsiteX8153" fmla="*/ 578981 w 10890933"/>
              <a:gd name="connsiteY8153" fmla="*/ 2319763 h 4167549"/>
              <a:gd name="connsiteX8154" fmla="*/ 587522 w 10890933"/>
              <a:gd name="connsiteY8154" fmla="*/ 2322051 h 4167549"/>
              <a:gd name="connsiteX8155" fmla="*/ 582938 w 10890933"/>
              <a:gd name="connsiteY8155" fmla="*/ 2339159 h 4167549"/>
              <a:gd name="connsiteX8156" fmla="*/ 572105 w 10890933"/>
              <a:gd name="connsiteY8156" fmla="*/ 2345425 h 4167549"/>
              <a:gd name="connsiteX8157" fmla="*/ 546476 w 10890933"/>
              <a:gd name="connsiteY8157" fmla="*/ 2338557 h 4167549"/>
              <a:gd name="connsiteX8158" fmla="*/ 551060 w 10890933"/>
              <a:gd name="connsiteY8158" fmla="*/ 2321449 h 4167549"/>
              <a:gd name="connsiteX8159" fmla="*/ 525434 w 10890933"/>
              <a:gd name="connsiteY8159" fmla="*/ 2314583 h 4167549"/>
              <a:gd name="connsiteX8160" fmla="*/ 520850 w 10890933"/>
              <a:gd name="connsiteY8160" fmla="*/ 2331691 h 4167549"/>
              <a:gd name="connsiteX8161" fmla="*/ 495222 w 10890933"/>
              <a:gd name="connsiteY8161" fmla="*/ 2324824 h 4167549"/>
              <a:gd name="connsiteX8162" fmla="*/ 502098 w 10890933"/>
              <a:gd name="connsiteY8162" fmla="*/ 2299162 h 4167549"/>
              <a:gd name="connsiteX8163" fmla="*/ 488973 w 10890933"/>
              <a:gd name="connsiteY8163" fmla="*/ 2313981 h 4167549"/>
              <a:gd name="connsiteX8164" fmla="*/ 481056 w 10890933"/>
              <a:gd name="connsiteY8164" fmla="*/ 2275188 h 4167549"/>
              <a:gd name="connsiteX8165" fmla="*/ 495849 w 10890933"/>
              <a:gd name="connsiteY8165" fmla="*/ 2288319 h 4167549"/>
              <a:gd name="connsiteX8166" fmla="*/ 515226 w 10890933"/>
              <a:gd name="connsiteY8166" fmla="*/ 2284343 h 4167549"/>
              <a:gd name="connsiteX8167" fmla="*/ 500433 w 10890933"/>
              <a:gd name="connsiteY8167" fmla="*/ 2271211 h 4167549"/>
              <a:gd name="connsiteX8168" fmla="*/ 485641 w 10890933"/>
              <a:gd name="connsiteY8168" fmla="*/ 2258079 h 4167549"/>
              <a:gd name="connsiteX8169" fmla="*/ 464596 w 10890933"/>
              <a:gd name="connsiteY8169" fmla="*/ 2234104 h 4167549"/>
              <a:gd name="connsiteX8170" fmla="*/ 462304 w 10890933"/>
              <a:gd name="connsiteY8170" fmla="*/ 2242658 h 4167549"/>
              <a:gd name="connsiteX8171" fmla="*/ 395633 w 10890933"/>
              <a:gd name="connsiteY8171" fmla="*/ 2252298 h 4167549"/>
              <a:gd name="connsiteX8172" fmla="*/ 389381 w 10890933"/>
              <a:gd name="connsiteY8172" fmla="*/ 2241455 h 4167549"/>
              <a:gd name="connsiteX8173" fmla="*/ 378548 w 10890933"/>
              <a:gd name="connsiteY8173" fmla="*/ 2247721 h 4167549"/>
              <a:gd name="connsiteX8174" fmla="*/ 355214 w 10890933"/>
              <a:gd name="connsiteY8174" fmla="*/ 2232300 h 4167549"/>
              <a:gd name="connsiteX8175" fmla="*/ 359798 w 10890933"/>
              <a:gd name="connsiteY8175" fmla="*/ 2215192 h 4167549"/>
              <a:gd name="connsiteX8176" fmla="*/ 369403 w 10890933"/>
              <a:gd name="connsiteY8176" fmla="*/ 2215810 h 4167549"/>
              <a:gd name="connsiteX8177" fmla="*/ 366047 w 10890933"/>
              <a:gd name="connsiteY8177" fmla="*/ 2226035 h 4167549"/>
              <a:gd name="connsiteX8178" fmla="*/ 371047 w 10890933"/>
              <a:gd name="connsiteY8178" fmla="*/ 2215915 h 4167549"/>
              <a:gd name="connsiteX8179" fmla="*/ 369403 w 10890933"/>
              <a:gd name="connsiteY8179" fmla="*/ 2215810 h 4167549"/>
              <a:gd name="connsiteX8180" fmla="*/ 372272 w 10890933"/>
              <a:gd name="connsiteY8180" fmla="*/ 2207075 h 4167549"/>
              <a:gd name="connsiteX8181" fmla="*/ 381464 w 10890933"/>
              <a:gd name="connsiteY8181" fmla="*/ 2202663 h 4167549"/>
              <a:gd name="connsiteX8182" fmla="*/ 368966 w 10890933"/>
              <a:gd name="connsiteY8182" fmla="*/ 2180978 h 4167549"/>
              <a:gd name="connsiteX8183" fmla="*/ 384383 w 10890933"/>
              <a:gd name="connsiteY8183" fmla="*/ 2157605 h 4167549"/>
              <a:gd name="connsiteX8184" fmla="*/ 431678 w 10890933"/>
              <a:gd name="connsiteY8184" fmla="*/ 2151941 h 4167549"/>
              <a:gd name="connsiteX8185" fmla="*/ 410635 w 10890933"/>
              <a:gd name="connsiteY8185" fmla="*/ 2127969 h 4167549"/>
              <a:gd name="connsiteX8186" fmla="*/ 374174 w 10890933"/>
              <a:gd name="connsiteY8186" fmla="*/ 2127365 h 4167549"/>
              <a:gd name="connsiteX8187" fmla="*/ 432304 w 10890933"/>
              <a:gd name="connsiteY8187" fmla="*/ 2115439 h 4167549"/>
              <a:gd name="connsiteX8188" fmla="*/ 419803 w 10890933"/>
              <a:gd name="connsiteY8188" fmla="*/ 2093753 h 4167549"/>
              <a:gd name="connsiteX8189" fmla="*/ 447721 w 10890933"/>
              <a:gd name="connsiteY8189" fmla="*/ 2092065 h 4167549"/>
              <a:gd name="connsiteX8190" fmla="*/ 426680 w 10890933"/>
              <a:gd name="connsiteY8190" fmla="*/ 2068091 h 4167549"/>
              <a:gd name="connsiteX8191" fmla="*/ 398762 w 10890933"/>
              <a:gd name="connsiteY8191" fmla="*/ 2069778 h 4167549"/>
              <a:gd name="connsiteX8192" fmla="*/ 413552 w 10890933"/>
              <a:gd name="connsiteY8192" fmla="*/ 2082910 h 4167549"/>
              <a:gd name="connsiteX8193" fmla="*/ 355424 w 10890933"/>
              <a:gd name="connsiteY8193" fmla="*/ 2094839 h 4167549"/>
              <a:gd name="connsiteX8194" fmla="*/ 341256 w 10890933"/>
              <a:gd name="connsiteY8194" fmla="*/ 2045201 h 4167549"/>
              <a:gd name="connsiteX8195" fmla="*/ 332715 w 10890933"/>
              <a:gd name="connsiteY8195" fmla="*/ 2042913 h 4167549"/>
              <a:gd name="connsiteX8196" fmla="*/ 291669 w 10890933"/>
              <a:gd name="connsiteY8196" fmla="*/ 2059419 h 4167549"/>
              <a:gd name="connsiteX8197" fmla="*/ 315003 w 10890933"/>
              <a:gd name="connsiteY8197" fmla="*/ 2074840 h 4167549"/>
              <a:gd name="connsiteX8198" fmla="*/ 304170 w 10890933"/>
              <a:gd name="connsiteY8198" fmla="*/ 2081105 h 4167549"/>
              <a:gd name="connsiteX8199" fmla="*/ 267708 w 10890933"/>
              <a:gd name="connsiteY8199" fmla="*/ 2080503 h 4167549"/>
              <a:gd name="connsiteX8200" fmla="*/ 282501 w 10890933"/>
              <a:gd name="connsiteY8200" fmla="*/ 2093636 h 4167549"/>
              <a:gd name="connsiteX8201" fmla="*/ 260833 w 10890933"/>
              <a:gd name="connsiteY8201" fmla="*/ 2106163 h 4167549"/>
              <a:gd name="connsiteX8202" fmla="*/ 287499 w 10890933"/>
              <a:gd name="connsiteY8202" fmla="*/ 2177486 h 4167549"/>
              <a:gd name="connsiteX8203" fmla="*/ 300000 w 10890933"/>
              <a:gd name="connsiteY8203" fmla="*/ 2199169 h 4167549"/>
              <a:gd name="connsiteX8204" fmla="*/ 327294 w 10890933"/>
              <a:gd name="connsiteY8204" fmla="*/ 2233987 h 4167549"/>
              <a:gd name="connsiteX8205" fmla="*/ 307917 w 10890933"/>
              <a:gd name="connsiteY8205" fmla="*/ 2237963 h 4167549"/>
              <a:gd name="connsiteX8206" fmla="*/ 311876 w 10890933"/>
              <a:gd name="connsiteY8206" fmla="*/ 2257360 h 4167549"/>
              <a:gd name="connsiteX8207" fmla="*/ 337502 w 10890933"/>
              <a:gd name="connsiteY8207" fmla="*/ 2264227 h 4167549"/>
              <a:gd name="connsiteX8208" fmla="*/ 324377 w 10890933"/>
              <a:gd name="connsiteY8208" fmla="*/ 2279046 h 4167549"/>
              <a:gd name="connsiteX8209" fmla="*/ 335210 w 10890933"/>
              <a:gd name="connsiteY8209" fmla="*/ 2272781 h 4167549"/>
              <a:gd name="connsiteX8210" fmla="*/ 339170 w 10890933"/>
              <a:gd name="connsiteY8210" fmla="*/ 2292176 h 4167549"/>
              <a:gd name="connsiteX8211" fmla="*/ 322086 w 10890933"/>
              <a:gd name="connsiteY8211" fmla="*/ 2287598 h 4167549"/>
              <a:gd name="connsiteX8212" fmla="*/ 327710 w 10890933"/>
              <a:gd name="connsiteY8212" fmla="*/ 2334946 h 4167549"/>
              <a:gd name="connsiteX8213" fmla="*/ 338543 w 10890933"/>
              <a:gd name="connsiteY8213" fmla="*/ 2328680 h 4167549"/>
              <a:gd name="connsiteX8214" fmla="*/ 344169 w 10890933"/>
              <a:gd name="connsiteY8214" fmla="*/ 2376026 h 4167549"/>
              <a:gd name="connsiteX8215" fmla="*/ 324165 w 10890933"/>
              <a:gd name="connsiteY8215" fmla="*/ 2416507 h 4167549"/>
              <a:gd name="connsiteX8216" fmla="*/ 304790 w 10890933"/>
              <a:gd name="connsiteY8216" fmla="*/ 2420484 h 4167549"/>
              <a:gd name="connsiteX8217" fmla="*/ 287706 w 10890933"/>
              <a:gd name="connsiteY8217" fmla="*/ 2415906 h 4167549"/>
              <a:gd name="connsiteX8218" fmla="*/ 283122 w 10890933"/>
              <a:gd name="connsiteY8218" fmla="*/ 2433014 h 4167549"/>
              <a:gd name="connsiteX8219" fmla="*/ 266037 w 10890933"/>
              <a:gd name="connsiteY8219" fmla="*/ 2428436 h 4167549"/>
              <a:gd name="connsiteX8220" fmla="*/ 270621 w 10890933"/>
              <a:gd name="connsiteY8220" fmla="*/ 2411328 h 4167549"/>
              <a:gd name="connsiteX8221" fmla="*/ 266037 w 10890933"/>
              <a:gd name="connsiteY8221" fmla="*/ 2428436 h 4167549"/>
              <a:gd name="connsiteX8222" fmla="*/ 263745 w 10890933"/>
              <a:gd name="connsiteY8222" fmla="*/ 2436990 h 4167549"/>
              <a:gd name="connsiteX8223" fmla="*/ 258120 w 10890933"/>
              <a:gd name="connsiteY8223" fmla="*/ 2389642 h 4167549"/>
              <a:gd name="connsiteX8224" fmla="*/ 242700 w 10890933"/>
              <a:gd name="connsiteY8224" fmla="*/ 2413015 h 4167549"/>
              <a:gd name="connsiteX8225" fmla="*/ 241660 w 10890933"/>
              <a:gd name="connsiteY8225" fmla="*/ 2348559 h 4167549"/>
              <a:gd name="connsiteX8226" fmla="*/ 234784 w 10890933"/>
              <a:gd name="connsiteY8226" fmla="*/ 2374221 h 4167549"/>
              <a:gd name="connsiteX8227" fmla="*/ 225202 w 10890933"/>
              <a:gd name="connsiteY8227" fmla="*/ 2307479 h 4167549"/>
              <a:gd name="connsiteX8228" fmla="*/ 220618 w 10890933"/>
              <a:gd name="connsiteY8228" fmla="*/ 2324587 h 4167549"/>
              <a:gd name="connsiteX8229" fmla="*/ 204157 w 10890933"/>
              <a:gd name="connsiteY8229" fmla="*/ 2283503 h 4167549"/>
              <a:gd name="connsiteX8230" fmla="*/ 199573 w 10890933"/>
              <a:gd name="connsiteY8230" fmla="*/ 2300612 h 4167549"/>
              <a:gd name="connsiteX8231" fmla="*/ 185408 w 10890933"/>
              <a:gd name="connsiteY8231" fmla="*/ 2250975 h 4167549"/>
              <a:gd name="connsiteX8232" fmla="*/ 172280 w 10890933"/>
              <a:gd name="connsiteY8232" fmla="*/ 2265794 h 4167549"/>
              <a:gd name="connsiteX8233" fmla="*/ 168947 w 10890933"/>
              <a:gd name="connsiteY8233" fmla="*/ 2209894 h 4167549"/>
              <a:gd name="connsiteX8234" fmla="*/ 164363 w 10890933"/>
              <a:gd name="connsiteY8234" fmla="*/ 2227003 h 4167549"/>
              <a:gd name="connsiteX8235" fmla="*/ 161030 w 10890933"/>
              <a:gd name="connsiteY8235" fmla="*/ 2171100 h 4167549"/>
              <a:gd name="connsiteX8236" fmla="*/ 150197 w 10890933"/>
              <a:gd name="connsiteY8236" fmla="*/ 2177366 h 4167549"/>
              <a:gd name="connsiteX8237" fmla="*/ 136028 w 10890933"/>
              <a:gd name="connsiteY8237" fmla="*/ 2127731 h 4167549"/>
              <a:gd name="connsiteX8238" fmla="*/ 131445 w 10890933"/>
              <a:gd name="connsiteY8238" fmla="*/ 2144837 h 4167549"/>
              <a:gd name="connsiteX8239" fmla="*/ 121235 w 10890933"/>
              <a:gd name="connsiteY8239" fmla="*/ 2114599 h 4167549"/>
              <a:gd name="connsiteX8240" fmla="*/ 104151 w 10890933"/>
              <a:gd name="connsiteY8240" fmla="*/ 2110021 h 4167549"/>
              <a:gd name="connsiteX8241" fmla="*/ 100194 w 10890933"/>
              <a:gd name="connsiteY8241" fmla="*/ 2090625 h 4167549"/>
              <a:gd name="connsiteX8242" fmla="*/ 74565 w 10890933"/>
              <a:gd name="connsiteY8242" fmla="*/ 2083758 h 4167549"/>
              <a:gd name="connsiteX8243" fmla="*/ 55816 w 10890933"/>
              <a:gd name="connsiteY8243" fmla="*/ 2051229 h 4167549"/>
              <a:gd name="connsiteX8244" fmla="*/ 41023 w 10890933"/>
              <a:gd name="connsiteY8244" fmla="*/ 2038097 h 4167549"/>
              <a:gd name="connsiteX8245" fmla="*/ 35398 w 10890933"/>
              <a:gd name="connsiteY8245" fmla="*/ 1990752 h 4167549"/>
              <a:gd name="connsiteX8246" fmla="*/ 32065 w 10890933"/>
              <a:gd name="connsiteY8246" fmla="*/ 1934852 h 4167549"/>
              <a:gd name="connsiteX8247" fmla="*/ 21856 w 10890933"/>
              <a:gd name="connsiteY8247" fmla="*/ 1904612 h 4167549"/>
              <a:gd name="connsiteX8248" fmla="*/ 16858 w 10890933"/>
              <a:gd name="connsiteY8248" fmla="*/ 1820762 h 4167549"/>
              <a:gd name="connsiteX8249" fmla="*/ 20401 w 10890933"/>
              <a:gd name="connsiteY8249" fmla="*/ 1739201 h 4167549"/>
              <a:gd name="connsiteX8250" fmla="*/ 28942 w 10890933"/>
              <a:gd name="connsiteY8250" fmla="*/ 1741489 h 4167549"/>
              <a:gd name="connsiteX8251" fmla="*/ 55821 w 10890933"/>
              <a:gd name="connsiteY8251" fmla="*/ 1675349 h 4167549"/>
              <a:gd name="connsiteX8252" fmla="*/ 99159 w 10890933"/>
              <a:gd name="connsiteY8252" fmla="*/ 1650288 h 4167549"/>
              <a:gd name="connsiteX8253" fmla="*/ 103743 w 10890933"/>
              <a:gd name="connsiteY8253" fmla="*/ 1633180 h 4167549"/>
              <a:gd name="connsiteX8254" fmla="*/ 112284 w 10890933"/>
              <a:gd name="connsiteY8254" fmla="*/ 1635469 h 4167549"/>
              <a:gd name="connsiteX8255" fmla="*/ 129995 w 10890933"/>
              <a:gd name="connsiteY8255" fmla="*/ 1603544 h 4167549"/>
              <a:gd name="connsiteX8256" fmla="*/ 171665 w 10890933"/>
              <a:gd name="connsiteY8256" fmla="*/ 1550533 h 4167549"/>
              <a:gd name="connsiteX8257" fmla="*/ 191042 w 10890933"/>
              <a:gd name="connsiteY8257" fmla="*/ 1546556 h 4167549"/>
              <a:gd name="connsiteX8258" fmla="*/ 258964 w 10890933"/>
              <a:gd name="connsiteY8258" fmla="*/ 1463911 h 4167549"/>
              <a:gd name="connsiteX8259" fmla="*/ 293761 w 10890933"/>
              <a:gd name="connsiteY8259" fmla="*/ 1436562 h 4167549"/>
              <a:gd name="connsiteX8260" fmla="*/ 302302 w 10890933"/>
              <a:gd name="connsiteY8260" fmla="*/ 1438851 h 4167549"/>
              <a:gd name="connsiteX8261" fmla="*/ 296053 w 10890933"/>
              <a:gd name="connsiteY8261" fmla="*/ 1428008 h 4167549"/>
              <a:gd name="connsiteX8262" fmla="*/ 385019 w 10890933"/>
              <a:gd name="connsiteY8262" fmla="*/ 1369336 h 4167549"/>
              <a:gd name="connsiteX8263" fmla="*/ 391896 w 10890933"/>
              <a:gd name="connsiteY8263" fmla="*/ 1343674 h 4167549"/>
              <a:gd name="connsiteX8264" fmla="*/ 417521 w 10890933"/>
              <a:gd name="connsiteY8264" fmla="*/ 1350540 h 4167549"/>
              <a:gd name="connsiteX8265" fmla="*/ 415856 w 10890933"/>
              <a:gd name="connsiteY8265" fmla="*/ 1322592 h 4167549"/>
              <a:gd name="connsiteX8266" fmla="*/ 452317 w 10890933"/>
              <a:gd name="connsiteY8266" fmla="*/ 1323194 h 4167549"/>
              <a:gd name="connsiteX8267" fmla="*/ 459193 w 10890933"/>
              <a:gd name="connsiteY8267" fmla="*/ 1297532 h 4167549"/>
              <a:gd name="connsiteX8268" fmla="*/ 511072 w 10890933"/>
              <a:gd name="connsiteY8268" fmla="*/ 1274762 h 4167549"/>
              <a:gd name="connsiteX8269" fmla="*/ 504823 w 10890933"/>
              <a:gd name="connsiteY8269" fmla="*/ 1263920 h 4167549"/>
              <a:gd name="connsiteX8270" fmla="*/ 556701 w 10890933"/>
              <a:gd name="connsiteY8270" fmla="*/ 1241148 h 4167549"/>
              <a:gd name="connsiteX8271" fmla="*/ 585246 w 10890933"/>
              <a:gd name="connsiteY8271" fmla="*/ 1202958 h 4167549"/>
              <a:gd name="connsiteX8272" fmla="*/ 622334 w 10890933"/>
              <a:gd name="connsiteY8272" fmla="*/ 1167055 h 4167549"/>
              <a:gd name="connsiteX8273" fmla="*/ 665669 w 10890933"/>
              <a:gd name="connsiteY8273" fmla="*/ 1141996 h 4167549"/>
              <a:gd name="connsiteX8274" fmla="*/ 685045 w 10890933"/>
              <a:gd name="connsiteY8274" fmla="*/ 1138020 h 4167549"/>
              <a:gd name="connsiteX8275" fmla="*/ 717550 w 10890933"/>
              <a:gd name="connsiteY8275" fmla="*/ 1119225 h 4167549"/>
              <a:gd name="connsiteX8276" fmla="*/ 743803 w 10890933"/>
              <a:gd name="connsiteY8276" fmla="*/ 1089587 h 4167549"/>
              <a:gd name="connsiteX8277" fmla="*/ 761512 w 10890933"/>
              <a:gd name="connsiteY8277" fmla="*/ 1057662 h 4167549"/>
              <a:gd name="connsiteX8278" fmla="*/ 800265 w 10890933"/>
              <a:gd name="connsiteY8278" fmla="*/ 1049710 h 4167549"/>
              <a:gd name="connsiteX8279" fmla="*/ 826518 w 10890933"/>
              <a:gd name="connsiteY8279" fmla="*/ 1020071 h 4167549"/>
              <a:gd name="connsiteX8280" fmla="*/ 843603 w 10890933"/>
              <a:gd name="connsiteY8280" fmla="*/ 1024649 h 4167549"/>
              <a:gd name="connsiteX8281" fmla="*/ 869855 w 10890933"/>
              <a:gd name="connsiteY8281" fmla="*/ 995013 h 4167549"/>
              <a:gd name="connsiteX8282" fmla="*/ 891524 w 10890933"/>
              <a:gd name="connsiteY8282" fmla="*/ 982483 h 4167549"/>
              <a:gd name="connsiteX8283" fmla="*/ 924028 w 10890933"/>
              <a:gd name="connsiteY8283" fmla="*/ 963688 h 4167549"/>
              <a:gd name="connsiteX8284" fmla="*/ 938821 w 10890933"/>
              <a:gd name="connsiteY8284" fmla="*/ 976820 h 4167549"/>
              <a:gd name="connsiteX8285" fmla="*/ 956530 w 10890933"/>
              <a:gd name="connsiteY8285" fmla="*/ 944895 h 4167549"/>
              <a:gd name="connsiteX8286" fmla="*/ 967365 w 10890933"/>
              <a:gd name="connsiteY8286" fmla="*/ 938630 h 4167549"/>
              <a:gd name="connsiteX8287" fmla="*/ 965073 w 10890933"/>
              <a:gd name="connsiteY8287" fmla="*/ 947184 h 4167549"/>
              <a:gd name="connsiteX8288" fmla="*/ 1006119 w 10890933"/>
              <a:gd name="connsiteY8288" fmla="*/ 930678 h 4167549"/>
              <a:gd name="connsiteX8289" fmla="*/ 1034663 w 10890933"/>
              <a:gd name="connsiteY8289" fmla="*/ 892488 h 4167549"/>
              <a:gd name="connsiteX8290" fmla="*/ 1075706 w 10890933"/>
              <a:gd name="connsiteY8290" fmla="*/ 875981 h 4167549"/>
              <a:gd name="connsiteX8291" fmla="*/ 1099667 w 10890933"/>
              <a:gd name="connsiteY8291" fmla="*/ 854897 h 4167549"/>
              <a:gd name="connsiteX8292" fmla="*/ 1092791 w 10890933"/>
              <a:gd name="connsiteY8292" fmla="*/ 880559 h 4167549"/>
              <a:gd name="connsiteX8293" fmla="*/ 1108211 w 10890933"/>
              <a:gd name="connsiteY8293" fmla="*/ 857186 h 4167549"/>
              <a:gd name="connsiteX8294" fmla="*/ 1119044 w 10890933"/>
              <a:gd name="connsiteY8294" fmla="*/ 850920 h 4167549"/>
              <a:gd name="connsiteX8295" fmla="*/ 1136129 w 10890933"/>
              <a:gd name="connsiteY8295" fmla="*/ 855498 h 4167549"/>
              <a:gd name="connsiteX8296" fmla="*/ 1151548 w 10890933"/>
              <a:gd name="connsiteY8296" fmla="*/ 832128 h 4167549"/>
              <a:gd name="connsiteX8297" fmla="*/ 1162381 w 10890933"/>
              <a:gd name="connsiteY8297" fmla="*/ 825863 h 4167549"/>
              <a:gd name="connsiteX8298" fmla="*/ 1179466 w 10890933"/>
              <a:gd name="connsiteY8298" fmla="*/ 830440 h 4167549"/>
              <a:gd name="connsiteX8299" fmla="*/ 1184050 w 10890933"/>
              <a:gd name="connsiteY8299" fmla="*/ 813332 h 4167549"/>
              <a:gd name="connsiteX8300" fmla="*/ 1192594 w 10890933"/>
              <a:gd name="connsiteY8300" fmla="*/ 815622 h 4167549"/>
              <a:gd name="connsiteX8301" fmla="*/ 1198843 w 10890933"/>
              <a:gd name="connsiteY8301" fmla="*/ 826464 h 4167549"/>
              <a:gd name="connsiteX8302" fmla="*/ 1216555 w 10890933"/>
              <a:gd name="connsiteY8302" fmla="*/ 794537 h 4167549"/>
              <a:gd name="connsiteX8303" fmla="*/ 1257600 w 10890933"/>
              <a:gd name="connsiteY8303" fmla="*/ 778034 h 4167549"/>
              <a:gd name="connsiteX8304" fmla="*/ 1253016 w 10890933"/>
              <a:gd name="connsiteY8304" fmla="*/ 795139 h 4167549"/>
              <a:gd name="connsiteX8305" fmla="*/ 1285517 w 10890933"/>
              <a:gd name="connsiteY8305" fmla="*/ 776346 h 4167549"/>
              <a:gd name="connsiteX8306" fmla="*/ 1300937 w 10890933"/>
              <a:gd name="connsiteY8306" fmla="*/ 752973 h 4167549"/>
              <a:gd name="connsiteX8307" fmla="*/ 1355108 w 10890933"/>
              <a:gd name="connsiteY8307" fmla="*/ 721647 h 4167549"/>
              <a:gd name="connsiteX8308" fmla="*/ 1348232 w 10890933"/>
              <a:gd name="connsiteY8308" fmla="*/ 747309 h 4167549"/>
              <a:gd name="connsiteX8309" fmla="*/ 1363652 w 10890933"/>
              <a:gd name="connsiteY8309" fmla="*/ 723936 h 4167549"/>
              <a:gd name="connsiteX8310" fmla="*/ 1372193 w 10890933"/>
              <a:gd name="connsiteY8310" fmla="*/ 726225 h 4167549"/>
              <a:gd name="connsiteX8311" fmla="*/ 1378444 w 10890933"/>
              <a:gd name="connsiteY8311" fmla="*/ 737068 h 4167549"/>
              <a:gd name="connsiteX8312" fmla="*/ 1385320 w 10890933"/>
              <a:gd name="connsiteY8312" fmla="*/ 711409 h 4167549"/>
              <a:gd name="connsiteX8313" fmla="*/ 1393861 w 10890933"/>
              <a:gd name="connsiteY8313" fmla="*/ 713697 h 4167549"/>
              <a:gd name="connsiteX8314" fmla="*/ 1410946 w 10890933"/>
              <a:gd name="connsiteY8314" fmla="*/ 718275 h 4167549"/>
              <a:gd name="connsiteX8315" fmla="*/ 1437199 w 10890933"/>
              <a:gd name="connsiteY8315" fmla="*/ 688637 h 4167549"/>
              <a:gd name="connsiteX8316" fmla="*/ 1443448 w 10890933"/>
              <a:gd name="connsiteY8316" fmla="*/ 699480 h 4167549"/>
              <a:gd name="connsiteX8317" fmla="*/ 1467409 w 10890933"/>
              <a:gd name="connsiteY8317" fmla="*/ 678395 h 4167549"/>
              <a:gd name="connsiteX8318" fmla="*/ 1497621 w 10890933"/>
              <a:gd name="connsiteY8318" fmla="*/ 668154 h 4167549"/>
              <a:gd name="connsiteX8319" fmla="*/ 1506162 w 10890933"/>
              <a:gd name="connsiteY8319" fmla="*/ 670443 h 4167549"/>
              <a:gd name="connsiteX8320" fmla="*/ 1521581 w 10890933"/>
              <a:gd name="connsiteY8320" fmla="*/ 647073 h 4167549"/>
              <a:gd name="connsiteX8321" fmla="*/ 1568876 w 10890933"/>
              <a:gd name="connsiteY8321" fmla="*/ 641409 h 4167549"/>
              <a:gd name="connsiteX8322" fmla="*/ 1595129 w 10890933"/>
              <a:gd name="connsiteY8322" fmla="*/ 611770 h 4167549"/>
              <a:gd name="connsiteX8323" fmla="*/ 1601381 w 10890933"/>
              <a:gd name="connsiteY8323" fmla="*/ 622614 h 4167549"/>
              <a:gd name="connsiteX8324" fmla="*/ 1603673 w 10890933"/>
              <a:gd name="connsiteY8324" fmla="*/ 614060 h 4167549"/>
              <a:gd name="connsiteX8325" fmla="*/ 1623049 w 10890933"/>
              <a:gd name="connsiteY8325" fmla="*/ 610086 h 4167549"/>
              <a:gd name="connsiteX8326" fmla="*/ 1629298 w 10890933"/>
              <a:gd name="connsiteY8326" fmla="*/ 620926 h 4167549"/>
              <a:gd name="connsiteX8327" fmla="*/ 1659510 w 10890933"/>
              <a:gd name="connsiteY8327" fmla="*/ 610688 h 4167549"/>
              <a:gd name="connsiteX8328" fmla="*/ 1685763 w 10890933"/>
              <a:gd name="connsiteY8328" fmla="*/ 581050 h 4167549"/>
              <a:gd name="connsiteX8329" fmla="*/ 1763271 w 10890933"/>
              <a:gd name="connsiteY8329" fmla="*/ 565145 h 4167549"/>
              <a:gd name="connsiteX8330" fmla="*/ 1773322 w 10890933"/>
              <a:gd name="connsiteY8330" fmla="*/ 557526 h 4167549"/>
              <a:gd name="connsiteX8331" fmla="*/ 1778686 w 10890933"/>
              <a:gd name="connsiteY8331" fmla="*/ 541776 h 4167549"/>
              <a:gd name="connsiteX8332" fmla="*/ 1777254 w 10890933"/>
              <a:gd name="connsiteY8332" fmla="*/ 547120 h 4167549"/>
              <a:gd name="connsiteX8333" fmla="*/ 1774103 w 10890933"/>
              <a:gd name="connsiteY8333" fmla="*/ 558882 h 4167549"/>
              <a:gd name="connsiteX8334" fmla="*/ 1830566 w 10890933"/>
              <a:gd name="connsiteY8334" fmla="*/ 519002 h 4167549"/>
              <a:gd name="connsiteX8335" fmla="*/ 1845359 w 10890933"/>
              <a:gd name="connsiteY8335" fmla="*/ 532134 h 4167549"/>
              <a:gd name="connsiteX8336" fmla="*/ 1856194 w 10890933"/>
              <a:gd name="connsiteY8336" fmla="*/ 525869 h 4167549"/>
              <a:gd name="connsiteX8337" fmla="*/ 1863070 w 10890933"/>
              <a:gd name="connsiteY8337" fmla="*/ 500210 h 4167549"/>
              <a:gd name="connsiteX8338" fmla="*/ 1867027 w 10890933"/>
              <a:gd name="connsiteY8338" fmla="*/ 519604 h 4167549"/>
              <a:gd name="connsiteX8339" fmla="*/ 1908072 w 10890933"/>
              <a:gd name="connsiteY8339" fmla="*/ 503100 h 4167549"/>
              <a:gd name="connsiteX8340" fmla="*/ 1921200 w 10890933"/>
              <a:gd name="connsiteY8340" fmla="*/ 488281 h 4167549"/>
              <a:gd name="connsiteX8341" fmla="*/ 1946826 w 10890933"/>
              <a:gd name="connsiteY8341" fmla="*/ 495147 h 4167549"/>
              <a:gd name="connsiteX8342" fmla="*/ 1951410 w 10890933"/>
              <a:gd name="connsiteY8342" fmla="*/ 478039 h 4167549"/>
              <a:gd name="connsiteX8343" fmla="*/ 1983914 w 10890933"/>
              <a:gd name="connsiteY8343" fmla="*/ 459244 h 4167549"/>
              <a:gd name="connsiteX8344" fmla="*/ 2007248 w 10890933"/>
              <a:gd name="connsiteY8344" fmla="*/ 474665 h 4167549"/>
              <a:gd name="connsiteX8345" fmla="*/ 2020376 w 10890933"/>
              <a:gd name="connsiteY8345" fmla="*/ 459846 h 4167549"/>
              <a:gd name="connsiteX8346" fmla="*/ 2018084 w 10890933"/>
              <a:gd name="connsiteY8346" fmla="*/ 468400 h 4167549"/>
              <a:gd name="connsiteX8347" fmla="*/ 2031209 w 10890933"/>
              <a:gd name="connsiteY8347" fmla="*/ 453583 h 4167549"/>
              <a:gd name="connsiteX8348" fmla="*/ 2037461 w 10890933"/>
              <a:gd name="connsiteY8348" fmla="*/ 464424 h 4167549"/>
              <a:gd name="connsiteX8349" fmla="*/ 2063713 w 10890933"/>
              <a:gd name="connsiteY8349" fmla="*/ 434788 h 4167549"/>
              <a:gd name="connsiteX8350" fmla="*/ 2093923 w 10890933"/>
              <a:gd name="connsiteY8350" fmla="*/ 424546 h 4167549"/>
              <a:gd name="connsiteX8351" fmla="*/ 2100175 w 10890933"/>
              <a:gd name="connsiteY8351" fmla="*/ 435390 h 4167549"/>
              <a:gd name="connsiteX8352" fmla="*/ 2102466 w 10890933"/>
              <a:gd name="connsiteY8352" fmla="*/ 426836 h 4167549"/>
              <a:gd name="connsiteX8353" fmla="*/ 2121844 w 10890933"/>
              <a:gd name="connsiteY8353" fmla="*/ 422859 h 4167549"/>
              <a:gd name="connsiteX8354" fmla="*/ 2162886 w 10890933"/>
              <a:gd name="connsiteY8354" fmla="*/ 406355 h 4167549"/>
              <a:gd name="connsiteX8355" fmla="*/ 2177679 w 10890933"/>
              <a:gd name="connsiteY8355" fmla="*/ 419484 h 4167549"/>
              <a:gd name="connsiteX8356" fmla="*/ 2193098 w 10890933"/>
              <a:gd name="connsiteY8356" fmla="*/ 396114 h 4167549"/>
              <a:gd name="connsiteX8357" fmla="*/ 2197055 w 10890933"/>
              <a:gd name="connsiteY8357" fmla="*/ 415511 h 4167549"/>
              <a:gd name="connsiteX8358" fmla="*/ 2214767 w 10890933"/>
              <a:gd name="connsiteY8358" fmla="*/ 383584 h 4167549"/>
              <a:gd name="connsiteX8359" fmla="*/ 2240393 w 10890933"/>
              <a:gd name="connsiteY8359" fmla="*/ 390450 h 4167549"/>
              <a:gd name="connsiteX8360" fmla="*/ 2268314 w 10890933"/>
              <a:gd name="connsiteY8360" fmla="*/ 388763 h 4167549"/>
              <a:gd name="connsiteX8361" fmla="*/ 2275190 w 10890933"/>
              <a:gd name="connsiteY8361" fmla="*/ 363101 h 4167549"/>
              <a:gd name="connsiteX8362" fmla="*/ 2283731 w 10890933"/>
              <a:gd name="connsiteY8362" fmla="*/ 365390 h 4167549"/>
              <a:gd name="connsiteX8363" fmla="*/ 2289982 w 10890933"/>
              <a:gd name="connsiteY8363" fmla="*/ 376233 h 4167549"/>
              <a:gd name="connsiteX8364" fmla="*/ 2303107 w 10890933"/>
              <a:gd name="connsiteY8364" fmla="*/ 361414 h 4167549"/>
              <a:gd name="connsiteX8365" fmla="*/ 2328736 w 10890933"/>
              <a:gd name="connsiteY8365" fmla="*/ 368281 h 4167549"/>
              <a:gd name="connsiteX8366" fmla="*/ 2341860 w 10890933"/>
              <a:gd name="connsiteY8366" fmla="*/ 353464 h 4167549"/>
              <a:gd name="connsiteX8367" fmla="*/ 2348112 w 10890933"/>
              <a:gd name="connsiteY8367" fmla="*/ 364307 h 4167549"/>
              <a:gd name="connsiteX8368" fmla="*/ 2363529 w 10890933"/>
              <a:gd name="connsiteY8368" fmla="*/ 340934 h 4167549"/>
              <a:gd name="connsiteX8369" fmla="*/ 2406242 w 10890933"/>
              <a:gd name="connsiteY8369" fmla="*/ 352379 h 4167549"/>
              <a:gd name="connsiteX8370" fmla="*/ 2441691 w 10890933"/>
              <a:gd name="connsiteY8370" fmla="*/ 338124 h 4167549"/>
              <a:gd name="connsiteX8371" fmla="*/ 2434160 w 10890933"/>
              <a:gd name="connsiteY8371" fmla="*/ 350691 h 4167549"/>
              <a:gd name="connsiteX8372" fmla="*/ 2445377 w 10890933"/>
              <a:gd name="connsiteY8372" fmla="*/ 336640 h 4167549"/>
              <a:gd name="connsiteX8373" fmla="*/ 2447288 w 10890933"/>
              <a:gd name="connsiteY8373" fmla="*/ 335872 h 4167549"/>
              <a:gd name="connsiteX8374" fmla="*/ 2445737 w 10890933"/>
              <a:gd name="connsiteY8374" fmla="*/ 336189 h 4167549"/>
              <a:gd name="connsiteX8375" fmla="*/ 2446220 w 10890933"/>
              <a:gd name="connsiteY8375" fmla="*/ 335586 h 4167549"/>
              <a:gd name="connsiteX8376" fmla="*/ 2451872 w 10890933"/>
              <a:gd name="connsiteY8376" fmla="*/ 318764 h 4167549"/>
              <a:gd name="connsiteX8377" fmla="*/ 2462705 w 10890933"/>
              <a:gd name="connsiteY8377" fmla="*/ 312501 h 4167549"/>
              <a:gd name="connsiteX8378" fmla="*/ 2475206 w 10890933"/>
              <a:gd name="connsiteY8378" fmla="*/ 334184 h 4167549"/>
              <a:gd name="connsiteX8379" fmla="*/ 2471248 w 10890933"/>
              <a:gd name="connsiteY8379" fmla="*/ 314790 h 4167549"/>
              <a:gd name="connsiteX8380" fmla="*/ 2490625 w 10890933"/>
              <a:gd name="connsiteY8380" fmla="*/ 310814 h 4167549"/>
              <a:gd name="connsiteX8381" fmla="*/ 2499166 w 10890933"/>
              <a:gd name="connsiteY8381" fmla="*/ 313103 h 4167549"/>
              <a:gd name="connsiteX8382" fmla="*/ 2505415 w 10890933"/>
              <a:gd name="connsiteY8382" fmla="*/ 323945 h 4167549"/>
              <a:gd name="connsiteX8383" fmla="*/ 2516251 w 10890933"/>
              <a:gd name="connsiteY8383" fmla="*/ 317681 h 4167549"/>
              <a:gd name="connsiteX8384" fmla="*/ 2520835 w 10890933"/>
              <a:gd name="connsiteY8384" fmla="*/ 300572 h 4167549"/>
              <a:gd name="connsiteX8385" fmla="*/ 2524792 w 10890933"/>
              <a:gd name="connsiteY8385" fmla="*/ 319969 h 4167549"/>
              <a:gd name="connsiteX8386" fmla="*/ 2529376 w 10890933"/>
              <a:gd name="connsiteY8386" fmla="*/ 302861 h 4167549"/>
              <a:gd name="connsiteX8387" fmla="*/ 2555005 w 10890933"/>
              <a:gd name="connsiteY8387" fmla="*/ 309728 h 4167549"/>
              <a:gd name="connsiteX8388" fmla="*/ 2585214 w 10890933"/>
              <a:gd name="connsiteY8388" fmla="*/ 299487 h 4167549"/>
              <a:gd name="connsiteX8389" fmla="*/ 2654181 w 10890933"/>
              <a:gd name="connsiteY8389" fmla="*/ 281293 h 4167549"/>
              <a:gd name="connsiteX8390" fmla="*/ 2647928 w 10890933"/>
              <a:gd name="connsiteY8390" fmla="*/ 270452 h 4167549"/>
              <a:gd name="connsiteX8391" fmla="*/ 2662722 w 10890933"/>
              <a:gd name="connsiteY8391" fmla="*/ 283582 h 4167549"/>
              <a:gd name="connsiteX8392" fmla="*/ 2667305 w 10890933"/>
              <a:gd name="connsiteY8392" fmla="*/ 266476 h 4167549"/>
              <a:gd name="connsiteX8393" fmla="*/ 2686682 w 10890933"/>
              <a:gd name="connsiteY8393" fmla="*/ 262500 h 4167549"/>
              <a:gd name="connsiteX8394" fmla="*/ 2701474 w 10890933"/>
              <a:gd name="connsiteY8394" fmla="*/ 275632 h 4167549"/>
              <a:gd name="connsiteX8395" fmla="*/ 2719186 w 10890933"/>
              <a:gd name="connsiteY8395" fmla="*/ 243705 h 4167549"/>
              <a:gd name="connsiteX8396" fmla="*/ 2723144 w 10890933"/>
              <a:gd name="connsiteY8396" fmla="*/ 263102 h 4167549"/>
              <a:gd name="connsiteX8397" fmla="*/ 2731687 w 10890933"/>
              <a:gd name="connsiteY8397" fmla="*/ 265391 h 4167549"/>
              <a:gd name="connsiteX8398" fmla="*/ 2757940 w 10890933"/>
              <a:gd name="connsiteY8398" fmla="*/ 235753 h 4167549"/>
              <a:gd name="connsiteX8399" fmla="*/ 2753356 w 10890933"/>
              <a:gd name="connsiteY8399" fmla="*/ 252861 h 4167549"/>
              <a:gd name="connsiteX8400" fmla="*/ 2766481 w 10890933"/>
              <a:gd name="connsiteY8400" fmla="*/ 238041 h 4167549"/>
              <a:gd name="connsiteX8401" fmla="*/ 2785858 w 10890933"/>
              <a:gd name="connsiteY8401" fmla="*/ 234065 h 4167549"/>
              <a:gd name="connsiteX8402" fmla="*/ 2783566 w 10890933"/>
              <a:gd name="connsiteY8402" fmla="*/ 242619 h 4167549"/>
              <a:gd name="connsiteX8403" fmla="*/ 2796694 w 10890933"/>
              <a:gd name="connsiteY8403" fmla="*/ 227800 h 4167549"/>
              <a:gd name="connsiteX8404" fmla="*/ 2822319 w 10890933"/>
              <a:gd name="connsiteY8404" fmla="*/ 234667 h 4167549"/>
              <a:gd name="connsiteX8405" fmla="*/ 2828571 w 10890933"/>
              <a:gd name="connsiteY8405" fmla="*/ 245510 h 4167549"/>
              <a:gd name="connsiteX8406" fmla="*/ 2835447 w 10890933"/>
              <a:gd name="connsiteY8406" fmla="*/ 219850 h 4167549"/>
              <a:gd name="connsiteX8407" fmla="*/ 2833155 w 10890933"/>
              <a:gd name="connsiteY8407" fmla="*/ 228405 h 4167549"/>
              <a:gd name="connsiteX8408" fmla="*/ 2861072 w 10890933"/>
              <a:gd name="connsiteY8408" fmla="*/ 226717 h 4167549"/>
              <a:gd name="connsiteX8409" fmla="*/ 2865656 w 10890933"/>
              <a:gd name="connsiteY8409" fmla="*/ 209609 h 4167549"/>
              <a:gd name="connsiteX8410" fmla="*/ 2869613 w 10890933"/>
              <a:gd name="connsiteY8410" fmla="*/ 229005 h 4167549"/>
              <a:gd name="connsiteX8411" fmla="*/ 2874198 w 10890933"/>
              <a:gd name="connsiteY8411" fmla="*/ 211897 h 4167549"/>
              <a:gd name="connsiteX8412" fmla="*/ 2893574 w 10890933"/>
              <a:gd name="connsiteY8412" fmla="*/ 207921 h 4167549"/>
              <a:gd name="connsiteX8413" fmla="*/ 2888990 w 10890933"/>
              <a:gd name="connsiteY8413" fmla="*/ 225029 h 4167549"/>
              <a:gd name="connsiteX8414" fmla="*/ 2926079 w 10890933"/>
              <a:gd name="connsiteY8414" fmla="*/ 189126 h 4167549"/>
              <a:gd name="connsiteX8415" fmla="*/ 2927744 w 10890933"/>
              <a:gd name="connsiteY8415" fmla="*/ 217077 h 4167549"/>
              <a:gd name="connsiteX8416" fmla="*/ 2947121 w 10890933"/>
              <a:gd name="connsiteY8416" fmla="*/ 213101 h 4167549"/>
              <a:gd name="connsiteX8417" fmla="*/ 2932328 w 10890933"/>
              <a:gd name="connsiteY8417" fmla="*/ 199969 h 4167549"/>
              <a:gd name="connsiteX8418" fmla="*/ 2957957 w 10890933"/>
              <a:gd name="connsiteY8418" fmla="*/ 206836 h 4167549"/>
              <a:gd name="connsiteX8419" fmla="*/ 2973373 w 10890933"/>
              <a:gd name="connsiteY8419" fmla="*/ 183465 h 4167549"/>
              <a:gd name="connsiteX8420" fmla="*/ 3016086 w 10890933"/>
              <a:gd name="connsiteY8420" fmla="*/ 194910 h 4167549"/>
              <a:gd name="connsiteX8421" fmla="*/ 3029211 w 10890933"/>
              <a:gd name="connsiteY8421" fmla="*/ 180090 h 4167549"/>
              <a:gd name="connsiteX8422" fmla="*/ 3033171 w 10890933"/>
              <a:gd name="connsiteY8422" fmla="*/ 199488 h 4167549"/>
              <a:gd name="connsiteX8423" fmla="*/ 3040047 w 10890933"/>
              <a:gd name="connsiteY8423" fmla="*/ 173826 h 4167549"/>
              <a:gd name="connsiteX8424" fmla="*/ 3044004 w 10890933"/>
              <a:gd name="connsiteY8424" fmla="*/ 193222 h 4167549"/>
              <a:gd name="connsiteX8425" fmla="*/ 3074216 w 10890933"/>
              <a:gd name="connsiteY8425" fmla="*/ 182981 h 4167549"/>
              <a:gd name="connsiteX8426" fmla="*/ 3078174 w 10890933"/>
              <a:gd name="connsiteY8426" fmla="*/ 202378 h 4167549"/>
              <a:gd name="connsiteX8427" fmla="*/ 3082758 w 10890933"/>
              <a:gd name="connsiteY8427" fmla="*/ 185270 h 4167549"/>
              <a:gd name="connsiteX8428" fmla="*/ 3086717 w 10890933"/>
              <a:gd name="connsiteY8428" fmla="*/ 204667 h 4167549"/>
              <a:gd name="connsiteX8429" fmla="*/ 3091301 w 10890933"/>
              <a:gd name="connsiteY8429" fmla="*/ 187559 h 4167549"/>
              <a:gd name="connsiteX8430" fmla="*/ 3095258 w 10890933"/>
              <a:gd name="connsiteY8430" fmla="*/ 206956 h 4167549"/>
              <a:gd name="connsiteX8431" fmla="*/ 3108386 w 10890933"/>
              <a:gd name="connsiteY8431" fmla="*/ 192137 h 4167549"/>
              <a:gd name="connsiteX8432" fmla="*/ 3125471 w 10890933"/>
              <a:gd name="connsiteY8432" fmla="*/ 196715 h 4167549"/>
              <a:gd name="connsiteX8433" fmla="*/ 3110051 w 10890933"/>
              <a:gd name="connsiteY8433" fmla="*/ 220088 h 4167549"/>
              <a:gd name="connsiteX8434" fmla="*/ 3191515 w 10890933"/>
              <a:gd name="connsiteY8434" fmla="*/ 223580 h 4167549"/>
              <a:gd name="connsiteX8435" fmla="*/ 3200683 w 10890933"/>
              <a:gd name="connsiteY8435" fmla="*/ 189364 h 4167549"/>
              <a:gd name="connsiteX8436" fmla="*/ 3200059 w 10890933"/>
              <a:gd name="connsiteY8436" fmla="*/ 225869 h 4167549"/>
              <a:gd name="connsiteX8437" fmla="*/ 3217768 w 10890933"/>
              <a:gd name="connsiteY8437" fmla="*/ 193941 h 4167549"/>
              <a:gd name="connsiteX8438" fmla="*/ 3196726 w 10890933"/>
              <a:gd name="connsiteY8438" fmla="*/ 169967 h 4167549"/>
              <a:gd name="connsiteX8439" fmla="*/ 3233188 w 10890933"/>
              <a:gd name="connsiteY8439" fmla="*/ 170569 h 4167549"/>
              <a:gd name="connsiteX8440" fmla="*/ 3241729 w 10890933"/>
              <a:gd name="connsiteY8440" fmla="*/ 172857 h 4167549"/>
              <a:gd name="connsiteX8441" fmla="*/ 3261105 w 10890933"/>
              <a:gd name="connsiteY8441" fmla="*/ 168883 h 4167549"/>
              <a:gd name="connsiteX8442" fmla="*/ 3254229 w 10890933"/>
              <a:gd name="connsiteY8442" fmla="*/ 194543 h 4167549"/>
              <a:gd name="connsiteX8443" fmla="*/ 3234853 w 10890933"/>
              <a:gd name="connsiteY8443" fmla="*/ 198519 h 4167549"/>
              <a:gd name="connsiteX8444" fmla="*/ 3269022 w 10890933"/>
              <a:gd name="connsiteY8444" fmla="*/ 207675 h 4167549"/>
              <a:gd name="connsiteX8445" fmla="*/ 3271314 w 10890933"/>
              <a:gd name="connsiteY8445" fmla="*/ 199121 h 4167549"/>
              <a:gd name="connsiteX8446" fmla="*/ 3277566 w 10890933"/>
              <a:gd name="connsiteY8446" fmla="*/ 209964 h 4167549"/>
              <a:gd name="connsiteX8447" fmla="*/ 3357364 w 10890933"/>
              <a:gd name="connsiteY8447" fmla="*/ 185508 h 4167549"/>
              <a:gd name="connsiteX8448" fmla="*/ 3421744 w 10890933"/>
              <a:gd name="connsiteY8448" fmla="*/ 184422 h 4167549"/>
              <a:gd name="connsiteX8449" fmla="*/ 3464457 w 10890933"/>
              <a:gd name="connsiteY8449" fmla="*/ 195867 h 4167549"/>
              <a:gd name="connsiteX8450" fmla="*/ 3477582 w 10890933"/>
              <a:gd name="connsiteY8450" fmla="*/ 181047 h 4167549"/>
              <a:gd name="connsiteX8451" fmla="*/ 3475290 w 10890933"/>
              <a:gd name="connsiteY8451" fmla="*/ 189601 h 4167549"/>
              <a:gd name="connsiteX8452" fmla="*/ 3488418 w 10890933"/>
              <a:gd name="connsiteY8452" fmla="*/ 174783 h 4167549"/>
              <a:gd name="connsiteX8453" fmla="*/ 3511752 w 10890933"/>
              <a:gd name="connsiteY8453" fmla="*/ 190203 h 4167549"/>
              <a:gd name="connsiteX8454" fmla="*/ 3527172 w 10890933"/>
              <a:gd name="connsiteY8454" fmla="*/ 166830 h 4167549"/>
              <a:gd name="connsiteX8455" fmla="*/ 3541962 w 10890933"/>
              <a:gd name="connsiteY8455" fmla="*/ 179962 h 4167549"/>
              <a:gd name="connsiteX8456" fmla="*/ 3535713 w 10890933"/>
              <a:gd name="connsiteY8456" fmla="*/ 169119 h 4167549"/>
              <a:gd name="connsiteX8457" fmla="*/ 3641137 w 10890933"/>
              <a:gd name="connsiteY8457" fmla="*/ 151529 h 4167549"/>
              <a:gd name="connsiteX8458" fmla="*/ 3735729 w 10890933"/>
              <a:gd name="connsiteY8458" fmla="*/ 140202 h 4167549"/>
              <a:gd name="connsiteX8459" fmla="*/ 3741981 w 10890933"/>
              <a:gd name="connsiteY8459" fmla="*/ 151045 h 4167549"/>
              <a:gd name="connsiteX8460" fmla="*/ 3763650 w 10890933"/>
              <a:gd name="connsiteY8460" fmla="*/ 138515 h 4167549"/>
              <a:gd name="connsiteX8461" fmla="*/ 3772190 w 10890933"/>
              <a:gd name="connsiteY8461" fmla="*/ 140804 h 4167549"/>
              <a:gd name="connsiteX8462" fmla="*/ 3769898 w 10890933"/>
              <a:gd name="connsiteY8462" fmla="*/ 149358 h 4167549"/>
              <a:gd name="connsiteX8463" fmla="*/ 3783026 w 10890933"/>
              <a:gd name="connsiteY8463" fmla="*/ 134542 h 4167549"/>
              <a:gd name="connsiteX8464" fmla="*/ 3845113 w 10890933"/>
              <a:gd name="connsiteY8464" fmla="*/ 142010 h 4167549"/>
              <a:gd name="connsiteX8465" fmla="*/ 3858242 w 10890933"/>
              <a:gd name="connsiteY8465" fmla="*/ 127191 h 4167549"/>
              <a:gd name="connsiteX8466" fmla="*/ 3914079 w 10890933"/>
              <a:gd name="connsiteY8466" fmla="*/ 123816 h 4167549"/>
              <a:gd name="connsiteX8467" fmla="*/ 3961374 w 10890933"/>
              <a:gd name="connsiteY8467" fmla="*/ 118153 h 4167549"/>
              <a:gd name="connsiteX8468" fmla="*/ 3959082 w 10890933"/>
              <a:gd name="connsiteY8468" fmla="*/ 126707 h 4167549"/>
              <a:gd name="connsiteX8469" fmla="*/ 3989294 w 10890933"/>
              <a:gd name="connsiteY8469" fmla="*/ 116466 h 4167549"/>
              <a:gd name="connsiteX8470" fmla="*/ 4036641 w 10890933"/>
              <a:gd name="connsiteY8470" fmla="*/ 117551 h 4167549"/>
              <a:gd name="connsiteX8471" fmla="*/ 4045258 w 10890933"/>
              <a:gd name="connsiteY8471" fmla="*/ 121284 h 4167549"/>
              <a:gd name="connsiteX8472" fmla="*/ 4042840 w 10890933"/>
              <a:gd name="connsiteY8472" fmla="*/ 121648 h 4167549"/>
              <a:gd name="connsiteX8473" fmla="*/ 4051381 w 10890933"/>
              <a:gd name="connsiteY8473" fmla="*/ 123936 h 4167549"/>
              <a:gd name="connsiteX8474" fmla="*/ 4045258 w 10890933"/>
              <a:gd name="connsiteY8474" fmla="*/ 121284 h 4167549"/>
              <a:gd name="connsiteX8475" fmla="*/ 4144202 w 10890933"/>
              <a:gd name="connsiteY8475" fmla="*/ 106405 h 4167549"/>
              <a:gd name="connsiteX8476" fmla="*/ 4246814 w 10890933"/>
              <a:gd name="connsiteY8476" fmla="*/ 112125 h 4167549"/>
              <a:gd name="connsiteX8477" fmla="*/ 4249106 w 10890933"/>
              <a:gd name="connsiteY8477" fmla="*/ 103571 h 4167549"/>
              <a:gd name="connsiteX8478" fmla="*/ 4277027 w 10890933"/>
              <a:gd name="connsiteY8478" fmla="*/ 101884 h 4167549"/>
              <a:gd name="connsiteX8479" fmla="*/ 4328281 w 10890933"/>
              <a:gd name="connsiteY8479" fmla="*/ 115618 h 4167549"/>
              <a:gd name="connsiteX8480" fmla="*/ 4463915 w 10890933"/>
              <a:gd name="connsiteY8480" fmla="*/ 87786 h 4167549"/>
              <a:gd name="connsiteX8481" fmla="*/ 6010081 w 10890933"/>
              <a:gd name="connsiteY8481" fmla="*/ 87476 h 4167549"/>
              <a:gd name="connsiteX8482" fmla="*/ 6037526 w 10890933"/>
              <a:gd name="connsiteY8482" fmla="*/ 96115 h 4167549"/>
              <a:gd name="connsiteX8483" fmla="*/ 6019527 w 10890933"/>
              <a:gd name="connsiteY8483" fmla="*/ 101583 h 4167549"/>
              <a:gd name="connsiteX8484" fmla="*/ 6008748 w 10890933"/>
              <a:gd name="connsiteY8484" fmla="*/ 108071 h 4167549"/>
              <a:gd name="connsiteX8485" fmla="*/ 6006631 w 10890933"/>
              <a:gd name="connsiteY8485" fmla="*/ 115972 h 4167549"/>
              <a:gd name="connsiteX8486" fmla="*/ 6025860 w 10890933"/>
              <a:gd name="connsiteY8486" fmla="*/ 111676 h 4167549"/>
              <a:gd name="connsiteX8487" fmla="*/ 6068026 w 10890933"/>
              <a:gd name="connsiteY8487" fmla="*/ 122974 h 4167549"/>
              <a:gd name="connsiteX8488" fmla="*/ 6093326 w 10890933"/>
              <a:gd name="connsiteY8488" fmla="*/ 129753 h 4167549"/>
              <a:gd name="connsiteX8489" fmla="*/ 6125711 w 10890933"/>
              <a:gd name="connsiteY8489" fmla="*/ 110088 h 4167549"/>
              <a:gd name="connsiteX8490" fmla="*/ 6146287 w 10890933"/>
              <a:gd name="connsiteY8490" fmla="*/ 134495 h 4167549"/>
              <a:gd name="connsiteX8491" fmla="*/ 6127058 w 10890933"/>
              <a:gd name="connsiteY8491" fmla="*/ 138792 h 4167549"/>
              <a:gd name="connsiteX8492" fmla="*/ 6123349 w 10890933"/>
              <a:gd name="connsiteY8492" fmla="*/ 118903 h 4167549"/>
              <a:gd name="connsiteX8493" fmla="*/ 6110193 w 10890933"/>
              <a:gd name="connsiteY8493" fmla="*/ 134273 h 4167549"/>
              <a:gd name="connsiteX8494" fmla="*/ 6059591 w 10890933"/>
              <a:gd name="connsiteY8494" fmla="*/ 120714 h 4167549"/>
              <a:gd name="connsiteX8495" fmla="*/ 6001906 w 10890933"/>
              <a:gd name="connsiteY8495" fmla="*/ 133604 h 4167549"/>
              <a:gd name="connsiteX8496" fmla="*/ 5998196 w 10890933"/>
              <a:gd name="connsiteY8496" fmla="*/ 113712 h 4167549"/>
              <a:gd name="connsiteX8497" fmla="*/ 5985039 w 10890933"/>
              <a:gd name="connsiteY8497" fmla="*/ 129084 h 4167549"/>
              <a:gd name="connsiteX8498" fmla="*/ 5968172 w 10890933"/>
              <a:gd name="connsiteY8498" fmla="*/ 124565 h 4167549"/>
              <a:gd name="connsiteX8499" fmla="*/ 5970535 w 10890933"/>
              <a:gd name="connsiteY8499" fmla="*/ 115749 h 4167549"/>
              <a:gd name="connsiteX8500" fmla="*/ 5983694 w 10890933"/>
              <a:gd name="connsiteY8500" fmla="*/ 100378 h 4167549"/>
              <a:gd name="connsiteX8501" fmla="*/ 5990523 w 10890933"/>
              <a:gd name="connsiteY8501" fmla="*/ 112837 h 4167549"/>
              <a:gd name="connsiteX8502" fmla="*/ 6007833 w 10890933"/>
              <a:gd name="connsiteY8502" fmla="*/ 107515 h 4167549"/>
              <a:gd name="connsiteX8503" fmla="*/ 3541414 w 10890933"/>
              <a:gd name="connsiteY8503" fmla="*/ 87183 h 4167549"/>
              <a:gd name="connsiteX8504" fmla="*/ 3550100 w 10890933"/>
              <a:gd name="connsiteY8504" fmla="*/ 89510 h 4167549"/>
              <a:gd name="connsiteX8505" fmla="*/ 3555488 w 10890933"/>
              <a:gd name="connsiteY8505" fmla="*/ 93720 h 4167549"/>
              <a:gd name="connsiteX8506" fmla="*/ 3547797 w 10890933"/>
              <a:gd name="connsiteY8506" fmla="*/ 98111 h 4167549"/>
              <a:gd name="connsiteX8507" fmla="*/ 3551870 w 10890933"/>
              <a:gd name="connsiteY8507" fmla="*/ 117642 h 4167549"/>
              <a:gd name="connsiteX8508" fmla="*/ 3556480 w 10890933"/>
              <a:gd name="connsiteY8508" fmla="*/ 100438 h 4167549"/>
              <a:gd name="connsiteX8509" fmla="*/ 3560556 w 10890933"/>
              <a:gd name="connsiteY8509" fmla="*/ 119969 h 4167549"/>
              <a:gd name="connsiteX8510" fmla="*/ 3558251 w 10890933"/>
              <a:gd name="connsiteY8510" fmla="*/ 128570 h 4167549"/>
              <a:gd name="connsiteX8511" fmla="*/ 3573313 w 10890933"/>
              <a:gd name="connsiteY8511" fmla="*/ 141827 h 4167549"/>
              <a:gd name="connsiteX8512" fmla="*/ 3533967 w 10890933"/>
              <a:gd name="connsiteY8512" fmla="*/ 149720 h 4167549"/>
              <a:gd name="connsiteX8513" fmla="*/ 3532150 w 10890933"/>
              <a:gd name="connsiteY8513" fmla="*/ 143472 h 4167549"/>
              <a:gd name="connsiteX8514" fmla="*/ 3536203 w 10890933"/>
              <a:gd name="connsiteY8514" fmla="*/ 136563 h 4167549"/>
              <a:gd name="connsiteX8515" fmla="*/ 3536338 w 10890933"/>
              <a:gd name="connsiteY8515" fmla="*/ 136528 h 4167549"/>
              <a:gd name="connsiteX8516" fmla="*/ 3538576 w 10890933"/>
              <a:gd name="connsiteY8516" fmla="*/ 132519 h 4167549"/>
              <a:gd name="connsiteX8517" fmla="*/ 3536203 w 10890933"/>
              <a:gd name="connsiteY8517" fmla="*/ 136563 h 4167549"/>
              <a:gd name="connsiteX8518" fmla="*/ 3527585 w 10890933"/>
              <a:gd name="connsiteY8518" fmla="*/ 138792 h 4167549"/>
              <a:gd name="connsiteX8519" fmla="*/ 3525281 w 10890933"/>
              <a:gd name="connsiteY8519" fmla="*/ 147393 h 4167549"/>
              <a:gd name="connsiteX8520" fmla="*/ 3499227 w 10890933"/>
              <a:gd name="connsiteY8520" fmla="*/ 140412 h 4167549"/>
              <a:gd name="connsiteX8521" fmla="*/ 3494618 w 10890933"/>
              <a:gd name="connsiteY8521" fmla="*/ 157616 h 4167549"/>
              <a:gd name="connsiteX8522" fmla="*/ 3474942 w 10890933"/>
              <a:gd name="connsiteY8522" fmla="*/ 161565 h 4167549"/>
              <a:gd name="connsiteX8523" fmla="*/ 3479552 w 10890933"/>
              <a:gd name="connsiteY8523" fmla="*/ 144361 h 4167549"/>
              <a:gd name="connsiteX8524" fmla="*/ 3455271 w 10890933"/>
              <a:gd name="connsiteY8524" fmla="*/ 165512 h 4167549"/>
              <a:gd name="connsiteX8525" fmla="*/ 3457576 w 10890933"/>
              <a:gd name="connsiteY8525" fmla="*/ 156911 h 4167549"/>
              <a:gd name="connsiteX8526" fmla="*/ 3446584 w 10890933"/>
              <a:gd name="connsiteY8526" fmla="*/ 163185 h 4167549"/>
              <a:gd name="connsiteX8527" fmla="*/ 3451194 w 10890933"/>
              <a:gd name="connsiteY8527" fmla="*/ 145981 h 4167549"/>
              <a:gd name="connsiteX8528" fmla="*/ 3414152 w 10890933"/>
              <a:gd name="connsiteY8528" fmla="*/ 145276 h 4167549"/>
              <a:gd name="connsiteX8529" fmla="*/ 3416457 w 10890933"/>
              <a:gd name="connsiteY8529" fmla="*/ 136673 h 4167549"/>
              <a:gd name="connsiteX8530" fmla="*/ 3444815 w 10890933"/>
              <a:gd name="connsiteY8530" fmla="*/ 135053 h 4167549"/>
              <a:gd name="connsiteX8531" fmla="*/ 3438437 w 10890933"/>
              <a:gd name="connsiteY8531" fmla="*/ 124123 h 4167549"/>
              <a:gd name="connsiteX8532" fmla="*/ 3438510 w 10890933"/>
              <a:gd name="connsiteY8532" fmla="*/ 124129 h 4167549"/>
              <a:gd name="connsiteX8533" fmla="*/ 3433292 w 10890933"/>
              <a:gd name="connsiteY8533" fmla="*/ 116509 h 4167549"/>
              <a:gd name="connsiteX8534" fmla="*/ 3444272 w 10890933"/>
              <a:gd name="connsiteY8534" fmla="*/ 109653 h 4167549"/>
              <a:gd name="connsiteX8535" fmla="*/ 3445670 w 10890933"/>
              <a:gd name="connsiteY8535" fmla="*/ 118845 h 4167549"/>
              <a:gd name="connsiteX8536" fmla="*/ 3441297 w 10890933"/>
              <a:gd name="connsiteY8536" fmla="*/ 124314 h 4167549"/>
              <a:gd name="connsiteX8537" fmla="*/ 3455582 w 10890933"/>
              <a:gd name="connsiteY8537" fmla="*/ 125262 h 4167549"/>
              <a:gd name="connsiteX8538" fmla="*/ 3464491 w 10890933"/>
              <a:gd name="connsiteY8538" fmla="*/ 131104 h 4167549"/>
              <a:gd name="connsiteX8539" fmla="*/ 3466795 w 10890933"/>
              <a:gd name="connsiteY8539" fmla="*/ 122504 h 4167549"/>
              <a:gd name="connsiteX8540" fmla="*/ 3484162 w 10890933"/>
              <a:gd name="connsiteY8540" fmla="*/ 127157 h 4167549"/>
              <a:gd name="connsiteX8541" fmla="*/ 3497458 w 10890933"/>
              <a:gd name="connsiteY8541" fmla="*/ 112280 h 4167549"/>
              <a:gd name="connsiteX8542" fmla="*/ 3482393 w 10890933"/>
              <a:gd name="connsiteY8542" fmla="*/ 99026 h 4167549"/>
              <a:gd name="connsiteX8543" fmla="*/ 3493381 w 10890933"/>
              <a:gd name="connsiteY8543" fmla="*/ 92752 h 4167549"/>
              <a:gd name="connsiteX8544" fmla="*/ 3499763 w 10890933"/>
              <a:gd name="connsiteY8544" fmla="*/ 103680 h 4167549"/>
              <a:gd name="connsiteX8545" fmla="*/ 3508446 w 10890933"/>
              <a:gd name="connsiteY8545" fmla="*/ 106007 h 4167549"/>
              <a:gd name="connsiteX8546" fmla="*/ 3536804 w 10890933"/>
              <a:gd name="connsiteY8546" fmla="*/ 104387 h 4167549"/>
              <a:gd name="connsiteX8547" fmla="*/ 3541414 w 10890933"/>
              <a:gd name="connsiteY8547" fmla="*/ 87183 h 4167549"/>
              <a:gd name="connsiteX8548" fmla="*/ 6226100 w 10890933"/>
              <a:gd name="connsiteY8548" fmla="*/ 83447 h 4167549"/>
              <a:gd name="connsiteX8549" fmla="*/ 6267238 w 10890933"/>
              <a:gd name="connsiteY8549" fmla="*/ 94470 h 4167549"/>
              <a:gd name="connsiteX8550" fmla="*/ 6262829 w 10890933"/>
              <a:gd name="connsiteY8550" fmla="*/ 110925 h 4167549"/>
              <a:gd name="connsiteX8551" fmla="*/ 6246374 w 10890933"/>
              <a:gd name="connsiteY8551" fmla="*/ 106516 h 4167549"/>
              <a:gd name="connsiteX8552" fmla="*/ 6223896 w 10890933"/>
              <a:gd name="connsiteY8552" fmla="*/ 91674 h 4167549"/>
              <a:gd name="connsiteX8553" fmla="*/ 6238147 w 10890933"/>
              <a:gd name="connsiteY8553" fmla="*/ 104311 h 4167549"/>
              <a:gd name="connsiteX8554" fmla="*/ 6219486 w 10890933"/>
              <a:gd name="connsiteY8554" fmla="*/ 108129 h 4167549"/>
              <a:gd name="connsiteX8555" fmla="*/ 6226100 w 10890933"/>
              <a:gd name="connsiteY8555" fmla="*/ 83447 h 4167549"/>
              <a:gd name="connsiteX8556" fmla="*/ 6159986 w 10890933"/>
              <a:gd name="connsiteY8556" fmla="*/ 83368 h 4167549"/>
              <a:gd name="connsiteX8557" fmla="*/ 6169370 w 10890933"/>
              <a:gd name="connsiteY8557" fmla="*/ 93599 h 4167549"/>
              <a:gd name="connsiteX8558" fmla="*/ 6172216 w 10890933"/>
              <a:gd name="connsiteY8558" fmla="*/ 97780 h 4167549"/>
              <a:gd name="connsiteX8559" fmla="*/ 6171353 w 10890933"/>
              <a:gd name="connsiteY8559" fmla="*/ 98539 h 4167549"/>
              <a:gd name="connsiteX8560" fmla="*/ 6157782 w 10890933"/>
              <a:gd name="connsiteY8560" fmla="*/ 91596 h 4167549"/>
              <a:gd name="connsiteX8561" fmla="*/ 6159986 w 10890933"/>
              <a:gd name="connsiteY8561" fmla="*/ 83368 h 4167549"/>
              <a:gd name="connsiteX8562" fmla="*/ 6124872 w 10890933"/>
              <a:gd name="connsiteY8562" fmla="*/ 82777 h 4167549"/>
              <a:gd name="connsiteX8563" fmla="*/ 6130894 w 10890933"/>
              <a:gd name="connsiteY8563" fmla="*/ 93209 h 4167549"/>
              <a:gd name="connsiteX8564" fmla="*/ 6120462 w 10890933"/>
              <a:gd name="connsiteY8564" fmla="*/ 99233 h 4167549"/>
              <a:gd name="connsiteX8565" fmla="*/ 6124872 w 10890933"/>
              <a:gd name="connsiteY8565" fmla="*/ 82777 h 4167549"/>
              <a:gd name="connsiteX8566" fmla="*/ 3620983 w 10890933"/>
              <a:gd name="connsiteY8566" fmla="*/ 80946 h 4167549"/>
              <a:gd name="connsiteX8567" fmla="*/ 3639072 w 10890933"/>
              <a:gd name="connsiteY8567" fmla="*/ 95714 h 4167549"/>
              <a:gd name="connsiteX8568" fmla="*/ 3597935 w 10890933"/>
              <a:gd name="connsiteY8568" fmla="*/ 84691 h 4167549"/>
              <a:gd name="connsiteX8569" fmla="*/ 3620983 w 10890933"/>
              <a:gd name="connsiteY8569" fmla="*/ 80946 h 4167549"/>
              <a:gd name="connsiteX8570" fmla="*/ 4017431 w 10890933"/>
              <a:gd name="connsiteY8570" fmla="*/ 78875 h 4167549"/>
              <a:gd name="connsiteX8571" fmla="*/ 4025997 w 10890933"/>
              <a:gd name="connsiteY8571" fmla="*/ 89127 h 4167549"/>
              <a:gd name="connsiteX8572" fmla="*/ 4028861 w 10890933"/>
              <a:gd name="connsiteY8572" fmla="*/ 90721 h 4167549"/>
              <a:gd name="connsiteX8573" fmla="*/ 4028746 w 10890933"/>
              <a:gd name="connsiteY8573" fmla="*/ 90875 h 4167549"/>
              <a:gd name="connsiteX8574" fmla="*/ 4023604 w 10890933"/>
              <a:gd name="connsiteY8574" fmla="*/ 89622 h 4167549"/>
              <a:gd name="connsiteX8575" fmla="*/ 4027256 w 10890933"/>
              <a:gd name="connsiteY8575" fmla="*/ 92874 h 4167549"/>
              <a:gd name="connsiteX8576" fmla="*/ 4028746 w 10890933"/>
              <a:gd name="connsiteY8576" fmla="*/ 90875 h 4167549"/>
              <a:gd name="connsiteX8577" fmla="*/ 4029444 w 10890933"/>
              <a:gd name="connsiteY8577" fmla="*/ 91045 h 4167549"/>
              <a:gd name="connsiteX8578" fmla="*/ 4028861 w 10890933"/>
              <a:gd name="connsiteY8578" fmla="*/ 90721 h 4167549"/>
              <a:gd name="connsiteX8579" fmla="*/ 4034319 w 10890933"/>
              <a:gd name="connsiteY8579" fmla="*/ 83400 h 4167549"/>
              <a:gd name="connsiteX8580" fmla="*/ 4048933 w 10890933"/>
              <a:gd name="connsiteY8580" fmla="*/ 96409 h 4167549"/>
              <a:gd name="connsiteX8581" fmla="*/ 4040490 w 10890933"/>
              <a:gd name="connsiteY8581" fmla="*/ 94147 h 4167549"/>
              <a:gd name="connsiteX8582" fmla="*/ 4029772 w 10890933"/>
              <a:gd name="connsiteY8582" fmla="*/ 100368 h 4167549"/>
              <a:gd name="connsiteX8583" fmla="*/ 4004439 w 10890933"/>
              <a:gd name="connsiteY8583" fmla="*/ 93580 h 4167549"/>
              <a:gd name="connsiteX8584" fmla="*/ 4015158 w 10890933"/>
              <a:gd name="connsiteY8584" fmla="*/ 87359 h 4167549"/>
              <a:gd name="connsiteX8585" fmla="*/ 4017431 w 10890933"/>
              <a:gd name="connsiteY8585" fmla="*/ 78875 h 4167549"/>
              <a:gd name="connsiteX8586" fmla="*/ 6205533 w 10890933"/>
              <a:gd name="connsiteY8586" fmla="*/ 77936 h 4167549"/>
              <a:gd name="connsiteX8587" fmla="*/ 6203328 w 10890933"/>
              <a:gd name="connsiteY8587" fmla="*/ 86163 h 4167549"/>
              <a:gd name="connsiteX8588" fmla="*/ 6195101 w 10890933"/>
              <a:gd name="connsiteY8588" fmla="*/ 83959 h 4167549"/>
              <a:gd name="connsiteX8589" fmla="*/ 6182464 w 10890933"/>
              <a:gd name="connsiteY8589" fmla="*/ 98209 h 4167549"/>
              <a:gd name="connsiteX8590" fmla="*/ 6176441 w 10890933"/>
              <a:gd name="connsiteY8590" fmla="*/ 87777 h 4167549"/>
              <a:gd name="connsiteX8591" fmla="*/ 6205533 w 10890933"/>
              <a:gd name="connsiteY8591" fmla="*/ 77936 h 4167549"/>
              <a:gd name="connsiteX8592" fmla="*/ 3773528 w 10890933"/>
              <a:gd name="connsiteY8592" fmla="*/ 77176 h 4167549"/>
              <a:gd name="connsiteX8593" fmla="*/ 3781970 w 10890933"/>
              <a:gd name="connsiteY8593" fmla="*/ 79439 h 4167549"/>
              <a:gd name="connsiteX8594" fmla="*/ 3749819 w 10890933"/>
              <a:gd name="connsiteY8594" fmla="*/ 98106 h 4167549"/>
              <a:gd name="connsiteX8595" fmla="*/ 3773528 w 10890933"/>
              <a:gd name="connsiteY8595" fmla="*/ 77176 h 4167549"/>
              <a:gd name="connsiteX8596" fmla="*/ 3662895 w 10890933"/>
              <a:gd name="connsiteY8596" fmla="*/ 76745 h 4167549"/>
              <a:gd name="connsiteX8597" fmla="*/ 3678597 w 10890933"/>
              <a:gd name="connsiteY8597" fmla="*/ 79850 h 4167549"/>
              <a:gd name="connsiteX8598" fmla="*/ 3651709 w 10890933"/>
              <a:gd name="connsiteY8598" fmla="*/ 81464 h 4167549"/>
              <a:gd name="connsiteX8599" fmla="*/ 3662895 w 10890933"/>
              <a:gd name="connsiteY8599" fmla="*/ 76745 h 4167549"/>
              <a:gd name="connsiteX8600" fmla="*/ 5395691 w 10890933"/>
              <a:gd name="connsiteY8600" fmla="*/ 72577 h 4167549"/>
              <a:gd name="connsiteX8601" fmla="*/ 5389077 w 10890933"/>
              <a:gd name="connsiteY8601" fmla="*/ 97260 h 4167549"/>
              <a:gd name="connsiteX8602" fmla="*/ 5395691 w 10890933"/>
              <a:gd name="connsiteY8602" fmla="*/ 72577 h 4167549"/>
              <a:gd name="connsiteX8603" fmla="*/ 3740995 w 10890933"/>
              <a:gd name="connsiteY8603" fmla="*/ 72260 h 4167549"/>
              <a:gd name="connsiteX8604" fmla="*/ 3732734 w 10890933"/>
              <a:gd name="connsiteY8604" fmla="*/ 85538 h 4167549"/>
              <a:gd name="connsiteX8605" fmla="*/ 3739300 w 10890933"/>
              <a:gd name="connsiteY8605" fmla="*/ 72507 h 4167549"/>
              <a:gd name="connsiteX8606" fmla="*/ 6145736 w 10890933"/>
              <a:gd name="connsiteY8606" fmla="*/ 70731 h 4167549"/>
              <a:gd name="connsiteX8607" fmla="*/ 6124872 w 10890933"/>
              <a:gd name="connsiteY8607" fmla="*/ 82777 h 4167549"/>
              <a:gd name="connsiteX8608" fmla="*/ 6116644 w 10890933"/>
              <a:gd name="connsiteY8608" fmla="*/ 80573 h 4167549"/>
              <a:gd name="connsiteX8609" fmla="*/ 6145736 w 10890933"/>
              <a:gd name="connsiteY8609" fmla="*/ 70731 h 4167549"/>
              <a:gd name="connsiteX8610" fmla="*/ 3720332 w 10890933"/>
              <a:gd name="connsiteY8610" fmla="*/ 70641 h 4167549"/>
              <a:gd name="connsiteX8611" fmla="*/ 3732734 w 10890933"/>
              <a:gd name="connsiteY8611" fmla="*/ 85538 h 4167549"/>
              <a:gd name="connsiteX8612" fmla="*/ 3689026 w 10890933"/>
              <a:gd name="connsiteY8612" fmla="*/ 73826 h 4167549"/>
              <a:gd name="connsiteX8613" fmla="*/ 3720332 w 10890933"/>
              <a:gd name="connsiteY8613" fmla="*/ 70641 h 4167549"/>
              <a:gd name="connsiteX8614" fmla="*/ 6088290 w 10890933"/>
              <a:gd name="connsiteY8614" fmla="*/ 69667 h 4167549"/>
              <a:gd name="connsiteX8615" fmla="*/ 6100189 w 10890933"/>
              <a:gd name="connsiteY8615" fmla="*/ 76164 h 4167549"/>
              <a:gd name="connsiteX8616" fmla="*/ 6088728 w 10890933"/>
              <a:gd name="connsiteY8616" fmla="*/ 81911 h 4167549"/>
              <a:gd name="connsiteX8617" fmla="*/ 6079472 w 10890933"/>
              <a:gd name="connsiteY8617" fmla="*/ 79431 h 4167549"/>
              <a:gd name="connsiteX8618" fmla="*/ 6081676 w 10890933"/>
              <a:gd name="connsiteY8618" fmla="*/ 71203 h 4167549"/>
              <a:gd name="connsiteX8619" fmla="*/ 6088290 w 10890933"/>
              <a:gd name="connsiteY8619" fmla="*/ 69667 h 4167549"/>
              <a:gd name="connsiteX8620" fmla="*/ 4112890 w 10890933"/>
              <a:gd name="connsiteY8620" fmla="*/ 68352 h 4167549"/>
              <a:gd name="connsiteX8621" fmla="*/ 4130168 w 10890933"/>
              <a:gd name="connsiteY8621" fmla="*/ 72982 h 4167549"/>
              <a:gd name="connsiteX8622" fmla="*/ 4112890 w 10890933"/>
              <a:gd name="connsiteY8622" fmla="*/ 68352 h 4167549"/>
              <a:gd name="connsiteX8623" fmla="*/ 5754259 w 10890933"/>
              <a:gd name="connsiteY8623" fmla="*/ 67247 h 4167549"/>
              <a:gd name="connsiteX8624" fmla="*/ 5729280 w 10890933"/>
              <a:gd name="connsiteY8624" fmla="*/ 78190 h 4167549"/>
              <a:gd name="connsiteX8625" fmla="*/ 5754259 w 10890933"/>
              <a:gd name="connsiteY8625" fmla="*/ 67247 h 4167549"/>
              <a:gd name="connsiteX8626" fmla="*/ 6059805 w 10890933"/>
              <a:gd name="connsiteY8626" fmla="*/ 66445 h 4167549"/>
              <a:gd name="connsiteX8627" fmla="*/ 6071394 w 10890933"/>
              <a:gd name="connsiteY8627" fmla="*/ 68448 h 4167549"/>
              <a:gd name="connsiteX8628" fmla="*/ 6060962 w 10890933"/>
              <a:gd name="connsiteY8628" fmla="*/ 74471 h 4167549"/>
              <a:gd name="connsiteX8629" fmla="*/ 6064780 w 10890933"/>
              <a:gd name="connsiteY8629" fmla="*/ 93131 h 4167549"/>
              <a:gd name="connsiteX8630" fmla="*/ 6052734 w 10890933"/>
              <a:gd name="connsiteY8630" fmla="*/ 72267 h 4167549"/>
              <a:gd name="connsiteX8631" fmla="*/ 6059805 w 10890933"/>
              <a:gd name="connsiteY8631" fmla="*/ 66445 h 4167549"/>
              <a:gd name="connsiteX8632" fmla="*/ 5796903 w 10890933"/>
              <a:gd name="connsiteY8632" fmla="*/ 61962 h 4167549"/>
              <a:gd name="connsiteX8633" fmla="*/ 5801317 w 10890933"/>
              <a:gd name="connsiteY8633" fmla="*/ 68230 h 4167549"/>
              <a:gd name="connsiteX8634" fmla="*/ 5798018 w 10890933"/>
              <a:gd name="connsiteY8634" fmla="*/ 67346 h 4167549"/>
              <a:gd name="connsiteX8635" fmla="*/ 6046711 w 10890933"/>
              <a:gd name="connsiteY8635" fmla="*/ 61834 h 4167549"/>
              <a:gd name="connsiteX8636" fmla="*/ 6007188 w 10890933"/>
              <a:gd name="connsiteY8636" fmla="*/ 77699 h 4167549"/>
              <a:gd name="connsiteX8637" fmla="*/ 6019824 w 10890933"/>
              <a:gd name="connsiteY8637" fmla="*/ 63448 h 4167549"/>
              <a:gd name="connsiteX8638" fmla="*/ 6046711 w 10890933"/>
              <a:gd name="connsiteY8638" fmla="*/ 61834 h 4167549"/>
              <a:gd name="connsiteX8639" fmla="*/ 4086972 w 10890933"/>
              <a:gd name="connsiteY8639" fmla="*/ 61408 h 4167549"/>
              <a:gd name="connsiteX8640" fmla="*/ 4108571 w 10890933"/>
              <a:gd name="connsiteY8640" fmla="*/ 67195 h 4167549"/>
              <a:gd name="connsiteX8641" fmla="*/ 4112890 w 10890933"/>
              <a:gd name="connsiteY8641" fmla="*/ 68352 h 4167549"/>
              <a:gd name="connsiteX8642" fmla="*/ 4117119 w 10890933"/>
              <a:gd name="connsiteY8642" fmla="*/ 87122 h 4167549"/>
              <a:gd name="connsiteX8643" fmla="*/ 4099842 w 10890933"/>
              <a:gd name="connsiteY8643" fmla="*/ 82493 h 4167549"/>
              <a:gd name="connsiteX8644" fmla="*/ 4082563 w 10890933"/>
              <a:gd name="connsiteY8644" fmla="*/ 77863 h 4167549"/>
              <a:gd name="connsiteX8645" fmla="*/ 4099842 w 10890933"/>
              <a:gd name="connsiteY8645" fmla="*/ 82493 h 4167549"/>
              <a:gd name="connsiteX8646" fmla="*/ 4058672 w 10890933"/>
              <a:gd name="connsiteY8646" fmla="*/ 97916 h 4167549"/>
              <a:gd name="connsiteX8647" fmla="*/ 4043599 w 10890933"/>
              <a:gd name="connsiteY8647" fmla="*/ 85059 h 4167549"/>
              <a:gd name="connsiteX8648" fmla="*/ 4073923 w 10890933"/>
              <a:gd name="connsiteY8648" fmla="*/ 75548 h 4167549"/>
              <a:gd name="connsiteX8649" fmla="*/ 4076127 w 10890933"/>
              <a:gd name="connsiteY8649" fmla="*/ 67320 h 4167549"/>
              <a:gd name="connsiteX8650" fmla="*/ 4086972 w 10890933"/>
              <a:gd name="connsiteY8650" fmla="*/ 61408 h 4167549"/>
              <a:gd name="connsiteX8651" fmla="*/ 5625660 w 10890933"/>
              <a:gd name="connsiteY8651" fmla="*/ 59641 h 4167549"/>
              <a:gd name="connsiteX8652" fmla="*/ 5674132 w 10890933"/>
              <a:gd name="connsiteY8652" fmla="*/ 81850 h 4167549"/>
              <a:gd name="connsiteX8653" fmla="*/ 5718748 w 10890933"/>
              <a:gd name="connsiteY8653" fmla="*/ 84584 h 4167549"/>
              <a:gd name="connsiteX8654" fmla="*/ 5703373 w 10890933"/>
              <a:gd name="connsiteY8654" fmla="*/ 108121 h 4167549"/>
              <a:gd name="connsiteX8655" fmla="*/ 5644135 w 10890933"/>
              <a:gd name="connsiteY8655" fmla="*/ 92248 h 4167549"/>
              <a:gd name="connsiteX8656" fmla="*/ 5641830 w 10890933"/>
              <a:gd name="connsiteY8656" fmla="*/ 100852 h 4167549"/>
              <a:gd name="connsiteX8657" fmla="*/ 5614136 w 10890933"/>
              <a:gd name="connsiteY8657" fmla="*/ 102649 h 4167549"/>
              <a:gd name="connsiteX8658" fmla="*/ 5637976 w 10890933"/>
              <a:gd name="connsiteY8658" fmla="*/ 81380 h 4167549"/>
              <a:gd name="connsiteX8659" fmla="*/ 5627209 w 10890933"/>
              <a:gd name="connsiteY8659" fmla="*/ 87713 h 4167549"/>
              <a:gd name="connsiteX8660" fmla="*/ 5621050 w 10890933"/>
              <a:gd name="connsiteY8660" fmla="*/ 76844 h 4167549"/>
              <a:gd name="connsiteX8661" fmla="*/ 5610284 w 10890933"/>
              <a:gd name="connsiteY8661" fmla="*/ 83178 h 4167549"/>
              <a:gd name="connsiteX8662" fmla="*/ 5595662 w 10890933"/>
              <a:gd name="connsiteY8662" fmla="*/ 70042 h 4167549"/>
              <a:gd name="connsiteX8663" fmla="*/ 5625660 w 10890933"/>
              <a:gd name="connsiteY8663" fmla="*/ 59641 h 4167549"/>
              <a:gd name="connsiteX8664" fmla="*/ 3749194 w 10890933"/>
              <a:gd name="connsiteY8664" fmla="*/ 59083 h 4167549"/>
              <a:gd name="connsiteX8665" fmla="*/ 3757934 w 10890933"/>
              <a:gd name="connsiteY8665" fmla="*/ 61425 h 4167549"/>
              <a:gd name="connsiteX8666" fmla="*/ 3764106 w 10890933"/>
              <a:gd name="connsiteY8666" fmla="*/ 73366 h 4167549"/>
              <a:gd name="connsiteX8667" fmla="*/ 3747071 w 10890933"/>
              <a:gd name="connsiteY8667" fmla="*/ 71374 h 4167549"/>
              <a:gd name="connsiteX8668" fmla="*/ 3740995 w 10890933"/>
              <a:gd name="connsiteY8668" fmla="*/ 72260 h 4167549"/>
              <a:gd name="connsiteX8669" fmla="*/ 3779442 w 10890933"/>
              <a:gd name="connsiteY8669" fmla="*/ 57270 h 4167549"/>
              <a:gd name="connsiteX8670" fmla="*/ 3793196 w 10890933"/>
              <a:gd name="connsiteY8670" fmla="*/ 63527 h 4167549"/>
              <a:gd name="connsiteX8671" fmla="*/ 3774169 w 10890933"/>
              <a:gd name="connsiteY8671" fmla="*/ 68719 h 4167549"/>
              <a:gd name="connsiteX8672" fmla="*/ 3779442 w 10890933"/>
              <a:gd name="connsiteY8672" fmla="*/ 57270 h 4167549"/>
              <a:gd name="connsiteX8673" fmla="*/ 5929025 w 10890933"/>
              <a:gd name="connsiteY8673" fmla="*/ 56755 h 4167549"/>
              <a:gd name="connsiteX8674" fmla="*/ 5932108 w 10890933"/>
              <a:gd name="connsiteY8674" fmla="*/ 78159 h 4167549"/>
              <a:gd name="connsiteX8675" fmla="*/ 5913081 w 10890933"/>
              <a:gd name="connsiteY8675" fmla="*/ 83348 h 4167549"/>
              <a:gd name="connsiteX8676" fmla="*/ 5929025 w 10890933"/>
              <a:gd name="connsiteY8676" fmla="*/ 56755 h 4167549"/>
              <a:gd name="connsiteX8677" fmla="*/ 5955912 w 10890933"/>
              <a:gd name="connsiteY8677" fmla="*/ 55141 h 4167549"/>
              <a:gd name="connsiteX8678" fmla="*/ 5956423 w 10890933"/>
              <a:gd name="connsiteY8678" fmla="*/ 86144 h 4167549"/>
              <a:gd name="connsiteX8679" fmla="*/ 5939968 w 10890933"/>
              <a:gd name="connsiteY8679" fmla="*/ 81734 h 4167549"/>
              <a:gd name="connsiteX8680" fmla="*/ 5955912 w 10890933"/>
              <a:gd name="connsiteY8680" fmla="*/ 55141 h 4167549"/>
              <a:gd name="connsiteX8681" fmla="*/ 5709834 w 10890933"/>
              <a:gd name="connsiteY8681" fmla="*/ 52032 h 4167549"/>
              <a:gd name="connsiteX8682" fmla="*/ 5717235 w 10890933"/>
              <a:gd name="connsiteY8682" fmla="*/ 57323 h 4167549"/>
              <a:gd name="connsiteX8683" fmla="*/ 5709651 w 10890933"/>
              <a:gd name="connsiteY8683" fmla="*/ 52053 h 4167549"/>
              <a:gd name="connsiteX8684" fmla="*/ 4182589 w 10890933"/>
              <a:gd name="connsiteY8684" fmla="*/ 48817 h 4167549"/>
              <a:gd name="connsiteX8685" fmla="*/ 4319476 w 10890933"/>
              <a:gd name="connsiteY8685" fmla="*/ 57572 h 4167549"/>
              <a:gd name="connsiteX8686" fmla="*/ 4312495 w 10890933"/>
              <a:gd name="connsiteY8686" fmla="*/ 83625 h 4167549"/>
              <a:gd name="connsiteX8687" fmla="*/ 4264540 w 10890933"/>
              <a:gd name="connsiteY8687" fmla="*/ 89392 h 4167549"/>
              <a:gd name="connsiteX8688" fmla="*/ 4266867 w 10890933"/>
              <a:gd name="connsiteY8688" fmla="*/ 80709 h 4167549"/>
              <a:gd name="connsiteX8689" fmla="*/ 4243210 w 10890933"/>
              <a:gd name="connsiteY8689" fmla="*/ 65060 h 4167549"/>
              <a:gd name="connsiteX8690" fmla="*/ 4238557 w 10890933"/>
              <a:gd name="connsiteY8690" fmla="*/ 82430 h 4167549"/>
              <a:gd name="connsiteX8691" fmla="*/ 4217229 w 10890933"/>
              <a:gd name="connsiteY8691" fmla="*/ 58099 h 4167549"/>
              <a:gd name="connsiteX8692" fmla="*/ 4203123 w 10890933"/>
              <a:gd name="connsiteY8692" fmla="*/ 71772 h 4167549"/>
              <a:gd name="connsiteX8693" fmla="*/ 4185336 w 10890933"/>
              <a:gd name="connsiteY8693" fmla="*/ 76885 h 4167549"/>
              <a:gd name="connsiteX8694" fmla="*/ 4185187 w 10890933"/>
              <a:gd name="connsiteY8694" fmla="*/ 77440 h 4167549"/>
              <a:gd name="connsiteX8695" fmla="*/ 4227569 w 10890933"/>
              <a:gd name="connsiteY8695" fmla="*/ 88796 h 4167549"/>
              <a:gd name="connsiteX8696" fmla="*/ 4142643 w 10890933"/>
              <a:gd name="connsiteY8696" fmla="*/ 93964 h 4167549"/>
              <a:gd name="connsiteX8697" fmla="*/ 4152499 w 10890933"/>
              <a:gd name="connsiteY8697" fmla="*/ 74497 h 4167549"/>
              <a:gd name="connsiteX8698" fmla="*/ 4154080 w 10890933"/>
              <a:gd name="connsiteY8698" fmla="*/ 71976 h 4167549"/>
              <a:gd name="connsiteX8699" fmla="*/ 4143058 w 10890933"/>
              <a:gd name="connsiteY8699" fmla="*/ 74231 h 4167549"/>
              <a:gd name="connsiteX8700" fmla="*/ 4132369 w 10890933"/>
              <a:gd name="connsiteY8700" fmla="*/ 64754 h 4167549"/>
              <a:gd name="connsiteX8701" fmla="*/ 4140596 w 10890933"/>
              <a:gd name="connsiteY8701" fmla="*/ 66958 h 4167549"/>
              <a:gd name="connsiteX8702" fmla="*/ 4142801 w 10890933"/>
              <a:gd name="connsiteY8702" fmla="*/ 58731 h 4167549"/>
              <a:gd name="connsiteX8703" fmla="*/ 4151028 w 10890933"/>
              <a:gd name="connsiteY8703" fmla="*/ 60935 h 4167549"/>
              <a:gd name="connsiteX8704" fmla="*/ 4155809 w 10890933"/>
              <a:gd name="connsiteY8704" fmla="*/ 69215 h 4167549"/>
              <a:gd name="connsiteX8705" fmla="*/ 4160611 w 10890933"/>
              <a:gd name="connsiteY8705" fmla="*/ 61545 h 4167549"/>
              <a:gd name="connsiteX8706" fmla="*/ 4169274 w 10890933"/>
              <a:gd name="connsiteY8706" fmla="*/ 63866 h 4167549"/>
              <a:gd name="connsiteX8707" fmla="*/ 4182589 w 10890933"/>
              <a:gd name="connsiteY8707" fmla="*/ 48817 h 4167549"/>
              <a:gd name="connsiteX8708" fmla="*/ 5822240 w 10890933"/>
              <a:gd name="connsiteY8708" fmla="*/ 46179 h 4167549"/>
              <a:gd name="connsiteX8709" fmla="*/ 5865505 w 10890933"/>
              <a:gd name="connsiteY8709" fmla="*/ 57772 h 4167549"/>
              <a:gd name="connsiteX8710" fmla="*/ 5845895 w 10890933"/>
              <a:gd name="connsiteY8710" fmla="*/ 61738 h 4167549"/>
              <a:gd name="connsiteX8711" fmla="*/ 5864500 w 10890933"/>
              <a:gd name="connsiteY8711" fmla="*/ 70178 h 4167549"/>
              <a:gd name="connsiteX8712" fmla="*/ 5872180 w 10890933"/>
              <a:gd name="connsiteY8712" fmla="*/ 71439 h 4167549"/>
              <a:gd name="connsiteX8713" fmla="*/ 5877087 w 10890933"/>
              <a:gd name="connsiteY8713" fmla="*/ 53126 h 4167549"/>
              <a:gd name="connsiteX8714" fmla="*/ 5896114 w 10890933"/>
              <a:gd name="connsiteY8714" fmla="*/ 47937 h 4167549"/>
              <a:gd name="connsiteX8715" fmla="*/ 5890202 w 10890933"/>
              <a:gd name="connsiteY8715" fmla="*/ 61784 h 4167549"/>
              <a:gd name="connsiteX8716" fmla="*/ 5873191 w 10890933"/>
              <a:gd name="connsiteY8716" fmla="*/ 71607 h 4167549"/>
              <a:gd name="connsiteX8717" fmla="*/ 5897813 w 10890933"/>
              <a:gd name="connsiteY8717" fmla="*/ 75649 h 4167549"/>
              <a:gd name="connsiteX8718" fmla="*/ 5885920 w 10890933"/>
              <a:gd name="connsiteY8718" fmla="*/ 89746 h 4167549"/>
              <a:gd name="connsiteX8719" fmla="*/ 5885522 w 10890933"/>
              <a:gd name="connsiteY8719" fmla="*/ 90767 h 4167549"/>
              <a:gd name="connsiteX8720" fmla="*/ 5884551 w 10890933"/>
              <a:gd name="connsiteY8720" fmla="*/ 90532 h 4167549"/>
              <a:gd name="connsiteX8721" fmla="*/ 5885288 w 10890933"/>
              <a:gd name="connsiteY8721" fmla="*/ 91366 h 4167549"/>
              <a:gd name="connsiteX8722" fmla="*/ 5882246 w 10890933"/>
              <a:gd name="connsiteY8722" fmla="*/ 99136 h 4167549"/>
              <a:gd name="connsiteX8723" fmla="*/ 5889888 w 10890933"/>
              <a:gd name="connsiteY8723" fmla="*/ 96573 h 4167549"/>
              <a:gd name="connsiteX8724" fmla="*/ 5885288 w 10890933"/>
              <a:gd name="connsiteY8724" fmla="*/ 91366 h 4167549"/>
              <a:gd name="connsiteX8725" fmla="*/ 5885522 w 10890933"/>
              <a:gd name="connsiteY8725" fmla="*/ 90767 h 4167549"/>
              <a:gd name="connsiteX8726" fmla="*/ 5928104 w 10890933"/>
              <a:gd name="connsiteY8726" fmla="*/ 101050 h 4167549"/>
              <a:gd name="connsiteX8727" fmla="*/ 5973386 w 10890933"/>
              <a:gd name="connsiteY8727" fmla="*/ 105117 h 4167549"/>
              <a:gd name="connsiteX8728" fmla="*/ 5951471 w 10890933"/>
              <a:gd name="connsiteY8728" fmla="*/ 117684 h 4167549"/>
              <a:gd name="connsiteX8729" fmla="*/ 5749576 w 10890933"/>
              <a:gd name="connsiteY8729" fmla="*/ 109683 h 4167549"/>
              <a:gd name="connsiteX8730" fmla="*/ 5712659 w 10890933"/>
              <a:gd name="connsiteY8730" fmla="*/ 109009 h 4167549"/>
              <a:gd name="connsiteX8731" fmla="*/ 5767451 w 10890933"/>
              <a:gd name="connsiteY8731" fmla="*/ 77594 h 4167549"/>
              <a:gd name="connsiteX8732" fmla="*/ 5838981 w 10890933"/>
              <a:gd name="connsiteY8732" fmla="*/ 87543 h 4167549"/>
              <a:gd name="connsiteX8733" fmla="*/ 5806313 w 10890933"/>
              <a:gd name="connsiteY8733" fmla="*/ 75332 h 4167549"/>
              <a:gd name="connsiteX8734" fmla="*/ 5801317 w 10890933"/>
              <a:gd name="connsiteY8734" fmla="*/ 68230 h 4167549"/>
              <a:gd name="connsiteX8735" fmla="*/ 5823979 w 10890933"/>
              <a:gd name="connsiteY8735" fmla="*/ 74302 h 4167549"/>
              <a:gd name="connsiteX8736" fmla="*/ 5843591 w 10890933"/>
              <a:gd name="connsiteY8736" fmla="*/ 70339 h 4167549"/>
              <a:gd name="connsiteX8737" fmla="*/ 5822240 w 10890933"/>
              <a:gd name="connsiteY8737" fmla="*/ 46179 h 4167549"/>
              <a:gd name="connsiteX8738" fmla="*/ 5785322 w 10890933"/>
              <a:gd name="connsiteY8738" fmla="*/ 45508 h 4167549"/>
              <a:gd name="connsiteX8739" fmla="*/ 5793975 w 10890933"/>
              <a:gd name="connsiteY8739" fmla="*/ 47826 h 4167549"/>
              <a:gd name="connsiteX8740" fmla="*/ 5796903 w 10890933"/>
              <a:gd name="connsiteY8740" fmla="*/ 61962 h 4167549"/>
              <a:gd name="connsiteX8741" fmla="*/ 5566421 w 10890933"/>
              <a:gd name="connsiteY8741" fmla="*/ 43768 h 4167549"/>
              <a:gd name="connsiteX8742" fmla="*/ 5565665 w 10890933"/>
              <a:gd name="connsiteY8742" fmla="*/ 80443 h 4167549"/>
              <a:gd name="connsiteX8743" fmla="*/ 5582592 w 10890933"/>
              <a:gd name="connsiteY8743" fmla="*/ 84979 h 4167549"/>
              <a:gd name="connsiteX8744" fmla="*/ 5601821 w 10890933"/>
              <a:gd name="connsiteY8744" fmla="*/ 80910 h 4167549"/>
              <a:gd name="connsiteX8745" fmla="*/ 5610284 w 10890933"/>
              <a:gd name="connsiteY8745" fmla="*/ 83178 h 4167549"/>
              <a:gd name="connsiteX8746" fmla="*/ 5605674 w 10890933"/>
              <a:gd name="connsiteY8746" fmla="*/ 100382 h 4167549"/>
              <a:gd name="connsiteX8747" fmla="*/ 5571824 w 10890933"/>
              <a:gd name="connsiteY8747" fmla="*/ 91312 h 4167549"/>
              <a:gd name="connsiteX8748" fmla="*/ 5563361 w 10890933"/>
              <a:gd name="connsiteY8748" fmla="*/ 89044 h 4167549"/>
              <a:gd name="connsiteX8749" fmla="*/ 5569520 w 10890933"/>
              <a:gd name="connsiteY8749" fmla="*/ 99913 h 4167549"/>
              <a:gd name="connsiteX8750" fmla="*/ 5558751 w 10890933"/>
              <a:gd name="connsiteY8750" fmla="*/ 106248 h 4167549"/>
              <a:gd name="connsiteX8751" fmla="*/ 5551046 w 10890933"/>
              <a:gd name="connsiteY8751" fmla="*/ 67305 h 4167549"/>
              <a:gd name="connsiteX8752" fmla="*/ 5544132 w 10890933"/>
              <a:gd name="connsiteY8752" fmla="*/ 93110 h 4167549"/>
              <a:gd name="connsiteX8753" fmla="*/ 5457201 w 10890933"/>
              <a:gd name="connsiteY8753" fmla="*/ 79038 h 4167549"/>
              <a:gd name="connsiteX8754" fmla="*/ 5407973 w 10890933"/>
              <a:gd name="connsiteY8754" fmla="*/ 93504 h 4167549"/>
              <a:gd name="connsiteX8755" fmla="*/ 5414887 w 10890933"/>
              <a:gd name="connsiteY8755" fmla="*/ 67700 h 4167549"/>
              <a:gd name="connsiteX8756" fmla="*/ 5421046 w 10890933"/>
              <a:gd name="connsiteY8756" fmla="*/ 78568 h 4167549"/>
              <a:gd name="connsiteX8757" fmla="*/ 5442580 w 10890933"/>
              <a:gd name="connsiteY8757" fmla="*/ 65899 h 4167549"/>
              <a:gd name="connsiteX8758" fmla="*/ 5417192 w 10890933"/>
              <a:gd name="connsiteY8758" fmla="*/ 59096 h 4167549"/>
              <a:gd name="connsiteX8759" fmla="*/ 5459507 w 10890933"/>
              <a:gd name="connsiteY8759" fmla="*/ 70435 h 4167549"/>
              <a:gd name="connsiteX8760" fmla="*/ 5481039 w 10890933"/>
              <a:gd name="connsiteY8760" fmla="*/ 57768 h 4167549"/>
              <a:gd name="connsiteX8761" fmla="*/ 5536424 w 10890933"/>
              <a:gd name="connsiteY8761" fmla="*/ 54169 h 4167549"/>
              <a:gd name="connsiteX8762" fmla="*/ 5542583 w 10890933"/>
              <a:gd name="connsiteY8762" fmla="*/ 65038 h 4167549"/>
              <a:gd name="connsiteX8763" fmla="*/ 5566421 w 10890933"/>
              <a:gd name="connsiteY8763" fmla="*/ 43768 h 4167549"/>
              <a:gd name="connsiteX8764" fmla="*/ 3961328 w 10890933"/>
              <a:gd name="connsiteY8764" fmla="*/ 43381 h 4167549"/>
              <a:gd name="connsiteX8765" fmla="*/ 3998918 w 10890933"/>
              <a:gd name="connsiteY8765" fmla="*/ 46632 h 4167549"/>
              <a:gd name="connsiteX8766" fmla="*/ 3979758 w 10890933"/>
              <a:gd name="connsiteY8766" fmla="*/ 50591 h 4167549"/>
              <a:gd name="connsiteX8767" fmla="*/ 4008986 w 10890933"/>
              <a:gd name="connsiteY8767" fmla="*/ 76612 h 4167549"/>
              <a:gd name="connsiteX8768" fmla="*/ 4036593 w 10890933"/>
              <a:gd name="connsiteY8768" fmla="*/ 74913 h 4167549"/>
              <a:gd name="connsiteX8769" fmla="*/ 4017431 w 10890933"/>
              <a:gd name="connsiteY8769" fmla="*/ 78875 h 4167549"/>
              <a:gd name="connsiteX8770" fmla="*/ 3974561 w 10890933"/>
              <a:gd name="connsiteY8770" fmla="*/ 103764 h 4167549"/>
              <a:gd name="connsiteX8771" fmla="*/ 3922273 w 10890933"/>
              <a:gd name="connsiteY8771" fmla="*/ 62471 h 4167549"/>
              <a:gd name="connsiteX8772" fmla="*/ 3911555 w 10890933"/>
              <a:gd name="connsiteY8772" fmla="*/ 68692 h 4167549"/>
              <a:gd name="connsiteX8773" fmla="*/ 3907007 w 10890933"/>
              <a:gd name="connsiteY8773" fmla="*/ 85663 h 4167549"/>
              <a:gd name="connsiteX8774" fmla="*/ 3938512 w 10890933"/>
              <a:gd name="connsiteY8774" fmla="*/ 103197 h 4167549"/>
              <a:gd name="connsiteX8775" fmla="*/ 3900189 w 10890933"/>
              <a:gd name="connsiteY8775" fmla="*/ 111115 h 4167549"/>
              <a:gd name="connsiteX8776" fmla="*/ 3896292 w 10890933"/>
              <a:gd name="connsiteY8776" fmla="*/ 91884 h 4167549"/>
              <a:gd name="connsiteX8777" fmla="*/ 3891746 w 10890933"/>
              <a:gd name="connsiteY8777" fmla="*/ 108853 h 4167549"/>
              <a:gd name="connsiteX8778" fmla="*/ 3866412 w 10890933"/>
              <a:gd name="connsiteY8778" fmla="*/ 102065 h 4167549"/>
              <a:gd name="connsiteX8779" fmla="*/ 3857970 w 10890933"/>
              <a:gd name="connsiteY8779" fmla="*/ 99802 h 4167549"/>
              <a:gd name="connsiteX8780" fmla="*/ 3844977 w 10890933"/>
              <a:gd name="connsiteY8780" fmla="*/ 114510 h 4167549"/>
              <a:gd name="connsiteX8781" fmla="*/ 3794311 w 10890933"/>
              <a:gd name="connsiteY8781" fmla="*/ 100934 h 4167549"/>
              <a:gd name="connsiteX8782" fmla="*/ 3766707 w 10890933"/>
              <a:gd name="connsiteY8782" fmla="*/ 102631 h 4167549"/>
              <a:gd name="connsiteX8783" fmla="*/ 3781970 w 10890933"/>
              <a:gd name="connsiteY8783" fmla="*/ 79439 h 4167549"/>
              <a:gd name="connsiteX8784" fmla="*/ 3798859 w 10890933"/>
              <a:gd name="connsiteY8784" fmla="*/ 83964 h 4167549"/>
              <a:gd name="connsiteX8785" fmla="*/ 3805678 w 10890933"/>
              <a:gd name="connsiteY8785" fmla="*/ 58511 h 4167549"/>
              <a:gd name="connsiteX8786" fmla="*/ 3839454 w 10890933"/>
              <a:gd name="connsiteY8786" fmla="*/ 67562 h 4167549"/>
              <a:gd name="connsiteX8787" fmla="*/ 3932992 w 10890933"/>
              <a:gd name="connsiteY8787" fmla="*/ 56250 h 4167549"/>
              <a:gd name="connsiteX8788" fmla="*/ 3940319 w 10890933"/>
              <a:gd name="connsiteY8788" fmla="*/ 52922 h 4167549"/>
              <a:gd name="connsiteX8789" fmla="*/ 3942958 w 10890933"/>
              <a:gd name="connsiteY8789" fmla="*/ 49274 h 4167549"/>
              <a:gd name="connsiteX8790" fmla="*/ 3945098 w 10890933"/>
              <a:gd name="connsiteY8790" fmla="*/ 50752 h 4167549"/>
              <a:gd name="connsiteX8791" fmla="*/ 5694003 w 10890933"/>
              <a:gd name="connsiteY8791" fmla="*/ 41178 h 4167549"/>
              <a:gd name="connsiteX8792" fmla="*/ 5709651 w 10890933"/>
              <a:gd name="connsiteY8792" fmla="*/ 52053 h 4167549"/>
              <a:gd name="connsiteX8793" fmla="*/ 5700780 w 10890933"/>
              <a:gd name="connsiteY8793" fmla="*/ 52914 h 4167549"/>
              <a:gd name="connsiteX8794" fmla="*/ 5717235 w 10890933"/>
              <a:gd name="connsiteY8794" fmla="*/ 57323 h 4167549"/>
              <a:gd name="connsiteX8795" fmla="*/ 5663461 w 10890933"/>
              <a:gd name="connsiteY8795" fmla="*/ 60551 h 4167549"/>
              <a:gd name="connsiteX8796" fmla="*/ 5659642 w 10890933"/>
              <a:gd name="connsiteY8796" fmla="*/ 41891 h 4167549"/>
              <a:gd name="connsiteX8797" fmla="*/ 5694003 w 10890933"/>
              <a:gd name="connsiteY8797" fmla="*/ 41178 h 4167549"/>
              <a:gd name="connsiteX8798" fmla="*/ 5768015 w 10890933"/>
              <a:gd name="connsiteY8798" fmla="*/ 40870 h 4167549"/>
              <a:gd name="connsiteX8799" fmla="*/ 5776670 w 10890933"/>
              <a:gd name="connsiteY8799" fmla="*/ 43189 h 4167549"/>
              <a:gd name="connsiteX8800" fmla="*/ 5785322 w 10890933"/>
              <a:gd name="connsiteY8800" fmla="*/ 45508 h 4167549"/>
              <a:gd name="connsiteX8801" fmla="*/ 5780713 w 10890933"/>
              <a:gd name="connsiteY8801" fmla="*/ 62709 h 4167549"/>
              <a:gd name="connsiteX8802" fmla="*/ 5768015 w 10890933"/>
              <a:gd name="connsiteY8802" fmla="*/ 40870 h 4167549"/>
              <a:gd name="connsiteX8803" fmla="*/ 5276703 w 10890933"/>
              <a:gd name="connsiteY8803" fmla="*/ 39456 h 4167549"/>
              <a:gd name="connsiteX8804" fmla="*/ 5276199 w 10890933"/>
              <a:gd name="connsiteY8804" fmla="*/ 41337 h 4167549"/>
              <a:gd name="connsiteX8805" fmla="*/ 5274709 w 10890933"/>
              <a:gd name="connsiteY8805" fmla="*/ 41310 h 4167549"/>
              <a:gd name="connsiteX8806" fmla="*/ 5275131 w 10890933"/>
              <a:gd name="connsiteY8806" fmla="*/ 41051 h 4167549"/>
              <a:gd name="connsiteX8807" fmla="*/ 5641818 w 10890933"/>
              <a:gd name="connsiteY8807" fmla="*/ 37118 h 4167549"/>
              <a:gd name="connsiteX8808" fmla="*/ 5659644 w 10890933"/>
              <a:gd name="connsiteY8808" fmla="*/ 41895 h 4167549"/>
              <a:gd name="connsiteX8809" fmla="*/ 5639613 w 10890933"/>
              <a:gd name="connsiteY8809" fmla="*/ 45346 h 4167549"/>
              <a:gd name="connsiteX8810" fmla="*/ 5637409 w 10890933"/>
              <a:gd name="connsiteY8810" fmla="*/ 53573 h 4167549"/>
              <a:gd name="connsiteX8811" fmla="*/ 5599550 w 10890933"/>
              <a:gd name="connsiteY8811" fmla="*/ 52247 h 4167549"/>
              <a:gd name="connsiteX8812" fmla="*/ 5641818 w 10890933"/>
              <a:gd name="connsiteY8812" fmla="*/ 37118 h 4167549"/>
              <a:gd name="connsiteX8813" fmla="*/ 4819498 w 10890933"/>
              <a:gd name="connsiteY8813" fmla="*/ 36973 h 4167549"/>
              <a:gd name="connsiteX8814" fmla="*/ 4819498 w 10890933"/>
              <a:gd name="connsiteY8814" fmla="*/ 36973 h 4167549"/>
              <a:gd name="connsiteX8815" fmla="*/ 4819498 w 10890933"/>
              <a:gd name="connsiteY8815" fmla="*/ 36973 h 4167549"/>
              <a:gd name="connsiteX8816" fmla="*/ 4819497 w 10890933"/>
              <a:gd name="connsiteY8816" fmla="*/ 36973 h 4167549"/>
              <a:gd name="connsiteX8817" fmla="*/ 5153220 w 10890933"/>
              <a:gd name="connsiteY8817" fmla="*/ 34928 h 4167549"/>
              <a:gd name="connsiteX8818" fmla="*/ 5155090 w 10890933"/>
              <a:gd name="connsiteY8818" fmla="*/ 35665 h 4167549"/>
              <a:gd name="connsiteX8819" fmla="*/ 5154447 w 10890933"/>
              <a:gd name="connsiteY8819" fmla="*/ 43209 h 4167549"/>
              <a:gd name="connsiteX8820" fmla="*/ 5127708 w 10890933"/>
              <a:gd name="connsiteY8820" fmla="*/ 34456 h 4167549"/>
              <a:gd name="connsiteX8821" fmla="*/ 5124721 w 10890933"/>
              <a:gd name="connsiteY8821" fmla="*/ 37060 h 4167549"/>
              <a:gd name="connsiteX8822" fmla="*/ 5121874 w 10890933"/>
              <a:gd name="connsiteY8822" fmla="*/ 36297 h 4167549"/>
              <a:gd name="connsiteX8823" fmla="*/ 4096745 w 10890933"/>
              <a:gd name="connsiteY8823" fmla="*/ 33164 h 4167549"/>
              <a:gd name="connsiteX8824" fmla="*/ 4054061 w 10890933"/>
              <a:gd name="connsiteY8824" fmla="*/ 52592 h 4167549"/>
              <a:gd name="connsiteX8825" fmla="*/ 4019095 w 10890933"/>
              <a:gd name="connsiteY8825" fmla="*/ 43222 h 4167549"/>
              <a:gd name="connsiteX8826" fmla="*/ 4096745 w 10890933"/>
              <a:gd name="connsiteY8826" fmla="*/ 33164 h 4167549"/>
              <a:gd name="connsiteX8827" fmla="*/ 5622619 w 10890933"/>
              <a:gd name="connsiteY8827" fmla="*/ 31974 h 4167549"/>
              <a:gd name="connsiteX8828" fmla="*/ 5585300 w 10890933"/>
              <a:gd name="connsiteY8828" fmla="*/ 39611 h 4167549"/>
              <a:gd name="connsiteX8829" fmla="*/ 5622619 w 10890933"/>
              <a:gd name="connsiteY8829" fmla="*/ 31974 h 4167549"/>
              <a:gd name="connsiteX8830" fmla="*/ 5454103 w 10890933"/>
              <a:gd name="connsiteY8830" fmla="*/ 22893 h 4167549"/>
              <a:gd name="connsiteX8831" fmla="*/ 5560265 w 10890933"/>
              <a:gd name="connsiteY8831" fmla="*/ 32900 h 4167549"/>
              <a:gd name="connsiteX8832" fmla="*/ 5536424 w 10890933"/>
              <a:gd name="connsiteY8832" fmla="*/ 54169 h 4167549"/>
              <a:gd name="connsiteX8833" fmla="*/ 5466421 w 10890933"/>
              <a:gd name="connsiteY8833" fmla="*/ 44630 h 4167549"/>
              <a:gd name="connsiteX8834" fmla="*/ 5421801 w 10890933"/>
              <a:gd name="connsiteY8834" fmla="*/ 41895 h 4167549"/>
              <a:gd name="connsiteX8835" fmla="*/ 5451798 w 10890933"/>
              <a:gd name="connsiteY8835" fmla="*/ 31494 h 4167549"/>
              <a:gd name="connsiteX8836" fmla="*/ 4247231 w 10890933"/>
              <a:gd name="connsiteY8836" fmla="*/ 22782 h 4167549"/>
              <a:gd name="connsiteX8837" fmla="*/ 4289068 w 10890933"/>
              <a:gd name="connsiteY8837" fmla="*/ 22969 h 4167549"/>
              <a:gd name="connsiteX8838" fmla="*/ 4265998 w 10890933"/>
              <a:gd name="connsiteY8838" fmla="*/ 43242 h 4167549"/>
              <a:gd name="connsiteX8839" fmla="*/ 4214429 w 10890933"/>
              <a:gd name="connsiteY8839" fmla="*/ 38242 h 4167549"/>
              <a:gd name="connsiteX8840" fmla="*/ 4247231 w 10890933"/>
              <a:gd name="connsiteY8840" fmla="*/ 22782 h 4167549"/>
              <a:gd name="connsiteX8841" fmla="*/ 4187838 w 10890933"/>
              <a:gd name="connsiteY8841" fmla="*/ 22299 h 4167549"/>
              <a:gd name="connsiteX8842" fmla="*/ 4185634 w 10890933"/>
              <a:gd name="connsiteY8842" fmla="*/ 30527 h 4167549"/>
              <a:gd name="connsiteX8843" fmla="*/ 4183429 w 10890933"/>
              <a:gd name="connsiteY8843" fmla="*/ 38754 h 4167549"/>
              <a:gd name="connsiteX8844" fmla="*/ 4166975 w 10890933"/>
              <a:gd name="connsiteY8844" fmla="*/ 34345 h 4167549"/>
              <a:gd name="connsiteX8845" fmla="*/ 4172998 w 10890933"/>
              <a:gd name="connsiteY8845" fmla="*/ 44777 h 4167549"/>
              <a:gd name="connsiteX8846" fmla="*/ 4131860 w 10890933"/>
              <a:gd name="connsiteY8846" fmla="*/ 33755 h 4167549"/>
              <a:gd name="connsiteX8847" fmla="*/ 4187838 w 10890933"/>
              <a:gd name="connsiteY8847" fmla="*/ 22299 h 4167549"/>
              <a:gd name="connsiteX8848" fmla="*/ 5271960 w 10890933"/>
              <a:gd name="connsiteY8848" fmla="*/ 21905 h 4167549"/>
              <a:gd name="connsiteX8849" fmla="*/ 5334269 w 10890933"/>
              <a:gd name="connsiteY8849" fmla="*/ 29664 h 4167549"/>
              <a:gd name="connsiteX8850" fmla="*/ 5332000 w 10890933"/>
              <a:gd name="connsiteY8850" fmla="*/ 38133 h 4167549"/>
              <a:gd name="connsiteX8851" fmla="*/ 5291017 w 10890933"/>
              <a:gd name="connsiteY8851" fmla="*/ 54384 h 4167549"/>
              <a:gd name="connsiteX8852" fmla="*/ 5289281 w 10890933"/>
              <a:gd name="connsiteY8852" fmla="*/ 26687 h 4167549"/>
              <a:gd name="connsiteX8853" fmla="*/ 5276703 w 10890933"/>
              <a:gd name="connsiteY8853" fmla="*/ 39456 h 4167549"/>
              <a:gd name="connsiteX8854" fmla="*/ 5278468 w 10890933"/>
              <a:gd name="connsiteY8854" fmla="*/ 32868 h 4167549"/>
              <a:gd name="connsiteX8855" fmla="*/ 5261378 w 10890933"/>
              <a:gd name="connsiteY8855" fmla="*/ 28289 h 4167549"/>
              <a:gd name="connsiteX8856" fmla="*/ 5271960 w 10890933"/>
              <a:gd name="connsiteY8856" fmla="*/ 21905 h 4167549"/>
              <a:gd name="connsiteX8857" fmla="*/ 5199303 w 10890933"/>
              <a:gd name="connsiteY8857" fmla="*/ 20733 h 4167549"/>
              <a:gd name="connsiteX8858" fmla="*/ 5203308 w 10890933"/>
              <a:gd name="connsiteY8858" fmla="*/ 39962 h 4167549"/>
              <a:gd name="connsiteX8859" fmla="*/ 5207847 w 10890933"/>
              <a:gd name="connsiteY8859" fmla="*/ 23022 h 4167549"/>
              <a:gd name="connsiteX8860" fmla="*/ 5214121 w 10890933"/>
              <a:gd name="connsiteY8860" fmla="*/ 33780 h 4167549"/>
              <a:gd name="connsiteX8861" fmla="*/ 5231209 w 10890933"/>
              <a:gd name="connsiteY8861" fmla="*/ 38358 h 4167549"/>
              <a:gd name="connsiteX8862" fmla="*/ 5235747 w 10890933"/>
              <a:gd name="connsiteY8862" fmla="*/ 21421 h 4167549"/>
              <a:gd name="connsiteX8863" fmla="*/ 5239753 w 10890933"/>
              <a:gd name="connsiteY8863" fmla="*/ 40648 h 4167549"/>
              <a:gd name="connsiteX8864" fmla="*/ 5274709 w 10890933"/>
              <a:gd name="connsiteY8864" fmla="*/ 41310 h 4167549"/>
              <a:gd name="connsiteX8865" fmla="*/ 5254570 w 10890933"/>
              <a:gd name="connsiteY8865" fmla="*/ 53697 h 4167549"/>
              <a:gd name="connsiteX8866" fmla="*/ 5211851 w 10890933"/>
              <a:gd name="connsiteY8866" fmla="*/ 42251 h 4167549"/>
              <a:gd name="connsiteX8867" fmla="*/ 5198769 w 10890933"/>
              <a:gd name="connsiteY8867" fmla="*/ 56901 h 4167549"/>
              <a:gd name="connsiteX8868" fmla="*/ 5215856 w 10890933"/>
              <a:gd name="connsiteY8868" fmla="*/ 61480 h 4167549"/>
              <a:gd name="connsiteX8869" fmla="*/ 5237483 w 10890933"/>
              <a:gd name="connsiteY8869" fmla="*/ 49119 h 4167549"/>
              <a:gd name="connsiteX8870" fmla="*/ 5271660 w 10890933"/>
              <a:gd name="connsiteY8870" fmla="*/ 58277 h 4167549"/>
              <a:gd name="connsiteX8871" fmla="*/ 5312109 w 10890933"/>
              <a:gd name="connsiteY8871" fmla="*/ 78191 h 4167549"/>
              <a:gd name="connsiteX8872" fmla="*/ 5316648 w 10890933"/>
              <a:gd name="connsiteY8872" fmla="*/ 61252 h 4167549"/>
              <a:gd name="connsiteX8873" fmla="*/ 5322922 w 10890933"/>
              <a:gd name="connsiteY8873" fmla="*/ 72012 h 4167549"/>
              <a:gd name="connsiteX8874" fmla="*/ 5340012 w 10890933"/>
              <a:gd name="connsiteY8874" fmla="*/ 76591 h 4167549"/>
              <a:gd name="connsiteX8875" fmla="*/ 5370182 w 10890933"/>
              <a:gd name="connsiteY8875" fmla="*/ 66520 h 4167549"/>
              <a:gd name="connsiteX8876" fmla="*/ 5355363 w 10890933"/>
              <a:gd name="connsiteY8876" fmla="*/ 53472 h 4167549"/>
              <a:gd name="connsiteX8877" fmla="*/ 5383264 w 10890933"/>
              <a:gd name="connsiteY8877" fmla="*/ 51869 h 4167549"/>
              <a:gd name="connsiteX8878" fmla="*/ 5371917 w 10890933"/>
              <a:gd name="connsiteY8878" fmla="*/ 94217 h 4167549"/>
              <a:gd name="connsiteX8879" fmla="*/ 5331468 w 10890933"/>
              <a:gd name="connsiteY8879" fmla="*/ 74302 h 4167549"/>
              <a:gd name="connsiteX8880" fmla="*/ 5318383 w 10890933"/>
              <a:gd name="connsiteY8880" fmla="*/ 88952 h 4167549"/>
              <a:gd name="connsiteX8881" fmla="*/ 5290483 w 10890933"/>
              <a:gd name="connsiteY8881" fmla="*/ 90553 h 4167549"/>
              <a:gd name="connsiteX8882" fmla="*/ 5292752 w 10890933"/>
              <a:gd name="connsiteY8882" fmla="*/ 82084 h 4167549"/>
              <a:gd name="connsiteX8883" fmla="*/ 5271126 w 10890933"/>
              <a:gd name="connsiteY8883" fmla="*/ 94443 h 4167549"/>
              <a:gd name="connsiteX8884" fmla="*/ 5258577 w 10890933"/>
              <a:gd name="connsiteY8884" fmla="*/ 72927 h 4167549"/>
              <a:gd name="connsiteX8885" fmla="*/ 5245493 w 10890933"/>
              <a:gd name="connsiteY8885" fmla="*/ 87574 h 4167549"/>
              <a:gd name="connsiteX8886" fmla="*/ 5250031 w 10890933"/>
              <a:gd name="connsiteY8886" fmla="*/ 70637 h 4167549"/>
              <a:gd name="connsiteX8887" fmla="*/ 5232944 w 10890933"/>
              <a:gd name="connsiteY8887" fmla="*/ 66058 h 4167549"/>
              <a:gd name="connsiteX8888" fmla="*/ 5226135 w 10890933"/>
              <a:gd name="connsiteY8888" fmla="*/ 91467 h 4167549"/>
              <a:gd name="connsiteX8889" fmla="*/ 5211318 w 10890933"/>
              <a:gd name="connsiteY8889" fmla="*/ 78417 h 4167549"/>
              <a:gd name="connsiteX8890" fmla="*/ 5198236 w 10890933"/>
              <a:gd name="connsiteY8890" fmla="*/ 93067 h 4167549"/>
              <a:gd name="connsiteX8891" fmla="*/ 5166327 w 10890933"/>
              <a:gd name="connsiteY8891" fmla="*/ 75441 h 4167549"/>
              <a:gd name="connsiteX8892" fmla="*/ 5194230 w 10890933"/>
              <a:gd name="connsiteY8892" fmla="*/ 73838 h 4167549"/>
              <a:gd name="connsiteX8893" fmla="*/ 5155514 w 10890933"/>
              <a:gd name="connsiteY8893" fmla="*/ 81620 h 4167549"/>
              <a:gd name="connsiteX8894" fmla="*/ 5084893 w 10890933"/>
              <a:gd name="connsiteY8894" fmla="*/ 71774 h 4167549"/>
              <a:gd name="connsiteX8895" fmla="*/ 5091167 w 10890933"/>
              <a:gd name="connsiteY8895" fmla="*/ 82534 h 4167549"/>
              <a:gd name="connsiteX8896" fmla="*/ 5078619 w 10890933"/>
              <a:gd name="connsiteY8896" fmla="*/ 61016 h 4167549"/>
              <a:gd name="connsiteX8897" fmla="*/ 5095706 w 10890933"/>
              <a:gd name="connsiteY8897" fmla="*/ 65595 h 4167549"/>
              <a:gd name="connsiteX8898" fmla="*/ 5080888 w 10890933"/>
              <a:gd name="connsiteY8898" fmla="*/ 52548 h 4167549"/>
              <a:gd name="connsiteX8899" fmla="*/ 5112796 w 10890933"/>
              <a:gd name="connsiteY8899" fmla="*/ 70174 h 4167549"/>
              <a:gd name="connsiteX8900" fmla="*/ 5108791 w 10890933"/>
              <a:gd name="connsiteY8900" fmla="*/ 50945 h 4167549"/>
              <a:gd name="connsiteX8901" fmla="*/ 5124721 w 10890933"/>
              <a:gd name="connsiteY8901" fmla="*/ 37060 h 4167549"/>
              <a:gd name="connsiteX8902" fmla="*/ 5134688 w 10890933"/>
              <a:gd name="connsiteY8902" fmla="*/ 39731 h 4167549"/>
              <a:gd name="connsiteX8903" fmla="*/ 5147504 w 10890933"/>
              <a:gd name="connsiteY8903" fmla="*/ 43165 h 4167549"/>
              <a:gd name="connsiteX8904" fmla="*/ 5153779 w 10890933"/>
              <a:gd name="connsiteY8904" fmla="*/ 53923 h 4167549"/>
              <a:gd name="connsiteX8905" fmla="*/ 5192495 w 10890933"/>
              <a:gd name="connsiteY8905" fmla="*/ 46141 h 4167549"/>
              <a:gd name="connsiteX8906" fmla="*/ 5188488 w 10890933"/>
              <a:gd name="connsiteY8906" fmla="*/ 26911 h 4167549"/>
              <a:gd name="connsiteX8907" fmla="*/ 5166861 w 10890933"/>
              <a:gd name="connsiteY8907" fmla="*/ 39272 h 4167549"/>
              <a:gd name="connsiteX8908" fmla="*/ 5171400 w 10890933"/>
              <a:gd name="connsiteY8908" fmla="*/ 22333 h 4167549"/>
              <a:gd name="connsiteX8909" fmla="*/ 5199303 w 10890933"/>
              <a:gd name="connsiteY8909" fmla="*/ 20733 h 4167549"/>
              <a:gd name="connsiteX8910" fmla="*/ 4395131 w 10890933"/>
              <a:gd name="connsiteY8910" fmla="*/ 20524 h 4167549"/>
              <a:gd name="connsiteX8911" fmla="*/ 4437756 w 10890933"/>
              <a:gd name="connsiteY8911" fmla="*/ 27537 h 4167549"/>
              <a:gd name="connsiteX8912" fmla="*/ 4415864 w 10890933"/>
              <a:gd name="connsiteY8912" fmla="*/ 39307 h 4167549"/>
              <a:gd name="connsiteX8913" fmla="*/ 4380895 w 10890933"/>
              <a:gd name="connsiteY8913" fmla="*/ 29938 h 4167549"/>
              <a:gd name="connsiteX8914" fmla="*/ 4376486 w 10890933"/>
              <a:gd name="connsiteY8914" fmla="*/ 46393 h 4167549"/>
              <a:gd name="connsiteX8915" fmla="*/ 4359003 w 10890933"/>
              <a:gd name="connsiteY8915" fmla="*/ 41708 h 4167549"/>
              <a:gd name="connsiteX8916" fmla="*/ 4395131 w 10890933"/>
              <a:gd name="connsiteY8916" fmla="*/ 20524 h 4167549"/>
              <a:gd name="connsiteX8917" fmla="*/ 5344040 w 10890933"/>
              <a:gd name="connsiteY8917" fmla="*/ 20157 h 4167549"/>
              <a:gd name="connsiteX8918" fmla="*/ 5415632 w 10890933"/>
              <a:gd name="connsiteY8918" fmla="*/ 29418 h 4167549"/>
              <a:gd name="connsiteX8919" fmla="*/ 5419311 w 10890933"/>
              <a:gd name="connsiteY8919" fmla="*/ 50246 h 4167549"/>
              <a:gd name="connsiteX8920" fmla="*/ 5336600 w 10890933"/>
              <a:gd name="connsiteY8920" fmla="*/ 47925 h 4167549"/>
              <a:gd name="connsiteX8921" fmla="*/ 5344040 w 10890933"/>
              <a:gd name="connsiteY8921" fmla="*/ 20157 h 4167549"/>
              <a:gd name="connsiteX8922" fmla="*/ 4812789 w 10890933"/>
              <a:gd name="connsiteY8922" fmla="*/ 19289 h 4167549"/>
              <a:gd name="connsiteX8923" fmla="*/ 4832580 w 10890933"/>
              <a:gd name="connsiteY8923" fmla="*/ 22323 h 4167549"/>
              <a:gd name="connsiteX8924" fmla="*/ 4823686 w 10890933"/>
              <a:gd name="connsiteY8924" fmla="*/ 25613 h 4167549"/>
              <a:gd name="connsiteX8925" fmla="*/ 4819498 w 10890933"/>
              <a:gd name="connsiteY8925" fmla="*/ 36973 h 4167549"/>
              <a:gd name="connsiteX8926" fmla="*/ 4813194 w 10890933"/>
              <a:gd name="connsiteY8926" fmla="*/ 32731 h 4167549"/>
              <a:gd name="connsiteX8927" fmla="*/ 4802408 w 10890933"/>
              <a:gd name="connsiteY8927" fmla="*/ 32394 h 4167549"/>
              <a:gd name="connsiteX8928" fmla="*/ 4812789 w 10890933"/>
              <a:gd name="connsiteY8928" fmla="*/ 19289 h 4167549"/>
              <a:gd name="connsiteX8929" fmla="*/ 5072316 w 10890933"/>
              <a:gd name="connsiteY8929" fmla="*/ 12384 h 4167549"/>
              <a:gd name="connsiteX8930" fmla="*/ 5074078 w 10890933"/>
              <a:gd name="connsiteY8930" fmla="*/ 15436 h 4167549"/>
              <a:gd name="connsiteX8931" fmla="*/ 5145769 w 10890933"/>
              <a:gd name="connsiteY8931" fmla="*/ 15465 h 4167549"/>
              <a:gd name="connsiteX8932" fmla="*/ 5139378 w 10890933"/>
              <a:gd name="connsiteY8932" fmla="*/ 30775 h 4167549"/>
              <a:gd name="connsiteX8933" fmla="*/ 5127708 w 10890933"/>
              <a:gd name="connsiteY8933" fmla="*/ 34456 h 4167549"/>
              <a:gd name="connsiteX8934" fmla="*/ 5132687 w 10890933"/>
              <a:gd name="connsiteY8934" fmla="*/ 30115 h 4167549"/>
              <a:gd name="connsiteX8935" fmla="*/ 5115599 w 10890933"/>
              <a:gd name="connsiteY8935" fmla="*/ 25537 h 4167549"/>
              <a:gd name="connsiteX8936" fmla="*/ 5100245 w 10890933"/>
              <a:gd name="connsiteY8936" fmla="*/ 48655 h 4167549"/>
              <a:gd name="connsiteX8937" fmla="*/ 5065537 w 10890933"/>
              <a:gd name="connsiteY8937" fmla="*/ 75666 h 4167549"/>
              <a:gd name="connsiteX8938" fmla="*/ 5048449 w 10890933"/>
              <a:gd name="connsiteY8938" fmla="*/ 71088 h 4167549"/>
              <a:gd name="connsiteX8939" fmla="*/ 4981833 w 10890933"/>
              <a:gd name="connsiteY8939" fmla="*/ 80470 h 4167549"/>
              <a:gd name="connsiteX8940" fmla="*/ 4994915 w 10890933"/>
              <a:gd name="connsiteY8940" fmla="*/ 65820 h 4167549"/>
              <a:gd name="connsiteX8941" fmla="*/ 4973288 w 10890933"/>
              <a:gd name="connsiteY8941" fmla="*/ 78181 h 4167549"/>
              <a:gd name="connsiteX8942" fmla="*/ 4964745 w 10890933"/>
              <a:gd name="connsiteY8942" fmla="*/ 75892 h 4167549"/>
              <a:gd name="connsiteX8943" fmla="*/ 4977827 w 10890933"/>
              <a:gd name="connsiteY8943" fmla="*/ 61242 h 4167549"/>
              <a:gd name="connsiteX8944" fmla="*/ 4952194 w 10890933"/>
              <a:gd name="connsiteY8944" fmla="*/ 54373 h 4167549"/>
              <a:gd name="connsiteX8945" fmla="*/ 4936842 w 10890933"/>
              <a:gd name="connsiteY8945" fmla="*/ 77492 h 4167549"/>
              <a:gd name="connsiteX8946" fmla="*/ 4922025 w 10890933"/>
              <a:gd name="connsiteY8946" fmla="*/ 64445 h 4167549"/>
              <a:gd name="connsiteX8947" fmla="*/ 4913480 w 10890933"/>
              <a:gd name="connsiteY8947" fmla="*/ 62156 h 4167549"/>
              <a:gd name="connsiteX8948" fmla="*/ 4908942 w 10890933"/>
              <a:gd name="connsiteY8948" fmla="*/ 79095 h 4167549"/>
              <a:gd name="connsiteX8949" fmla="*/ 4763160 w 10890933"/>
              <a:gd name="connsiteY8949" fmla="*/ 76342 h 4167549"/>
              <a:gd name="connsiteX8950" fmla="*/ 4756886 w 10890933"/>
              <a:gd name="connsiteY8950" fmla="*/ 65584 h 4167549"/>
              <a:gd name="connsiteX8951" fmla="*/ 4743803 w 10890933"/>
              <a:gd name="connsiteY8951" fmla="*/ 80235 h 4167549"/>
              <a:gd name="connsiteX8952" fmla="*/ 4701083 w 10890933"/>
              <a:gd name="connsiteY8952" fmla="*/ 68788 h 4167549"/>
              <a:gd name="connsiteX8953" fmla="*/ 4698813 w 10890933"/>
              <a:gd name="connsiteY8953" fmla="*/ 77256 h 4167549"/>
              <a:gd name="connsiteX8954" fmla="*/ 4681727 w 10890933"/>
              <a:gd name="connsiteY8954" fmla="*/ 72678 h 4167549"/>
              <a:gd name="connsiteX8955" fmla="*/ 4671461 w 10890933"/>
              <a:gd name="connsiteY8955" fmla="*/ 69927 h 4167549"/>
              <a:gd name="connsiteX8956" fmla="*/ 4655451 w 10890933"/>
              <a:gd name="connsiteY8956" fmla="*/ 78980 h 4167549"/>
              <a:gd name="connsiteX8957" fmla="*/ 4639328 w 10890933"/>
              <a:gd name="connsiteY8957" fmla="*/ 81551 h 4167549"/>
              <a:gd name="connsiteX8958" fmla="*/ 4644840 w 10890933"/>
              <a:gd name="connsiteY8958" fmla="*/ 60981 h 4167549"/>
              <a:gd name="connsiteX8959" fmla="*/ 4654608 w 10890933"/>
              <a:gd name="connsiteY8959" fmla="*/ 67731 h 4167549"/>
              <a:gd name="connsiteX8960" fmla="*/ 4665286 w 10890933"/>
              <a:gd name="connsiteY8960" fmla="*/ 68273 h 4167549"/>
              <a:gd name="connsiteX8961" fmla="*/ 4664638 w 10890933"/>
              <a:gd name="connsiteY8961" fmla="*/ 68099 h 4167549"/>
              <a:gd name="connsiteX8962" fmla="*/ 4675451 w 10890933"/>
              <a:gd name="connsiteY8962" fmla="*/ 61920 h 4167549"/>
              <a:gd name="connsiteX8963" fmla="*/ 4621917 w 10890933"/>
              <a:gd name="connsiteY8963" fmla="*/ 56652 h 4167549"/>
              <a:gd name="connsiteX8964" fmla="*/ 4619648 w 10890933"/>
              <a:gd name="connsiteY8964" fmla="*/ 65121 h 4167549"/>
              <a:gd name="connsiteX8965" fmla="*/ 4625922 w 10890933"/>
              <a:gd name="connsiteY8965" fmla="*/ 75881 h 4167549"/>
              <a:gd name="connsiteX8966" fmla="*/ 4598022 w 10890933"/>
              <a:gd name="connsiteY8966" fmla="*/ 77482 h 4167549"/>
              <a:gd name="connsiteX8967" fmla="*/ 4597971 w 10890933"/>
              <a:gd name="connsiteY8967" fmla="*/ 77393 h 4167549"/>
              <a:gd name="connsiteX8968" fmla="*/ 4595985 w 10890933"/>
              <a:gd name="connsiteY8968" fmla="*/ 78752 h 4167549"/>
              <a:gd name="connsiteX8969" fmla="*/ 4595074 w 10890933"/>
              <a:gd name="connsiteY8969" fmla="*/ 72429 h 4167549"/>
              <a:gd name="connsiteX8970" fmla="*/ 4591747 w 10890933"/>
              <a:gd name="connsiteY8970" fmla="*/ 66724 h 4167549"/>
              <a:gd name="connsiteX8971" fmla="*/ 4570121 w 10890933"/>
              <a:gd name="connsiteY8971" fmla="*/ 79085 h 4167549"/>
              <a:gd name="connsiteX8972" fmla="*/ 4563844 w 10890933"/>
              <a:gd name="connsiteY8972" fmla="*/ 68324 h 4167549"/>
              <a:gd name="connsiteX8973" fmla="*/ 4546757 w 10890933"/>
              <a:gd name="connsiteY8973" fmla="*/ 63746 h 4167549"/>
              <a:gd name="connsiteX8974" fmla="*/ 4542218 w 10890933"/>
              <a:gd name="connsiteY8974" fmla="*/ 80685 h 4167549"/>
              <a:gd name="connsiteX8975" fmla="*/ 4422071 w 10890933"/>
              <a:gd name="connsiteY8975" fmla="*/ 84801 h 4167549"/>
              <a:gd name="connsiteX8976" fmla="*/ 4387895 w 10890933"/>
              <a:gd name="connsiteY8976" fmla="*/ 75643 h 4167549"/>
              <a:gd name="connsiteX8977" fmla="*/ 4368536 w 10890933"/>
              <a:gd name="connsiteY8977" fmla="*/ 79535 h 4167549"/>
              <a:gd name="connsiteX8978" fmla="*/ 4319542 w 10890933"/>
              <a:gd name="connsiteY8978" fmla="*/ 57328 h 4167549"/>
              <a:gd name="connsiteX8979" fmla="*/ 4373075 w 10890933"/>
              <a:gd name="connsiteY8979" fmla="*/ 62596 h 4167549"/>
              <a:gd name="connsiteX8980" fmla="*/ 4441961 w 10890933"/>
              <a:gd name="connsiteY8980" fmla="*/ 44745 h 4167549"/>
              <a:gd name="connsiteX8981" fmla="*/ 4478405 w 10890933"/>
              <a:gd name="connsiteY8981" fmla="*/ 45431 h 4167549"/>
              <a:gd name="connsiteX8982" fmla="*/ 4506308 w 10890933"/>
              <a:gd name="connsiteY8982" fmla="*/ 43831 h 4167549"/>
              <a:gd name="connsiteX8983" fmla="*/ 4501769 w 10890933"/>
              <a:gd name="connsiteY8983" fmla="*/ 60770 h 4167549"/>
              <a:gd name="connsiteX8984" fmla="*/ 4542754 w 10890933"/>
              <a:gd name="connsiteY8984" fmla="*/ 44517 h 4167549"/>
              <a:gd name="connsiteX8985" fmla="*/ 4697077 w 10890933"/>
              <a:gd name="connsiteY8985" fmla="*/ 49559 h 4167549"/>
              <a:gd name="connsiteX8986" fmla="*/ 4710160 w 10890933"/>
              <a:gd name="connsiteY8986" fmla="*/ 34908 h 4167549"/>
              <a:gd name="connsiteX8987" fmla="*/ 4609369 w 10890933"/>
              <a:gd name="connsiteY8987" fmla="*/ 35134 h 4167549"/>
              <a:gd name="connsiteX8988" fmla="*/ 4594551 w 10890933"/>
              <a:gd name="connsiteY8988" fmla="*/ 22087 h 4167549"/>
              <a:gd name="connsiteX8989" fmla="*/ 4508579 w 10890933"/>
              <a:gd name="connsiteY8989" fmla="*/ 35360 h 4167549"/>
              <a:gd name="connsiteX8990" fmla="*/ 4515725 w 10890933"/>
              <a:gd name="connsiteY8990" fmla="*/ 29526 h 4167549"/>
              <a:gd name="connsiteX8991" fmla="*/ 4527935 w 10890933"/>
              <a:gd name="connsiteY8991" fmla="*/ 31470 h 4167549"/>
              <a:gd name="connsiteX8992" fmla="*/ 4515903 w 10890933"/>
              <a:gd name="connsiteY8992" fmla="*/ 29380 h 4167549"/>
              <a:gd name="connsiteX8993" fmla="*/ 4515725 w 10890933"/>
              <a:gd name="connsiteY8993" fmla="*/ 29526 h 4167549"/>
              <a:gd name="connsiteX8994" fmla="*/ 4507076 w 10890933"/>
              <a:gd name="connsiteY8994" fmla="*/ 28150 h 4167549"/>
              <a:gd name="connsiteX8995" fmla="*/ 4489218 w 10890933"/>
              <a:gd name="connsiteY8995" fmla="*/ 39251 h 4167549"/>
              <a:gd name="connsiteX8996" fmla="*/ 4465857 w 10890933"/>
              <a:gd name="connsiteY8996" fmla="*/ 23913 h 4167549"/>
              <a:gd name="connsiteX8997" fmla="*/ 4804676 w 10890933"/>
              <a:gd name="connsiteY8997" fmla="*/ 23925 h 4167549"/>
              <a:gd name="connsiteX8998" fmla="*/ 4800138 w 10890933"/>
              <a:gd name="connsiteY8998" fmla="*/ 40862 h 4167549"/>
              <a:gd name="connsiteX8999" fmla="*/ 4783052 w 10890933"/>
              <a:gd name="connsiteY8999" fmla="*/ 36284 h 4167549"/>
              <a:gd name="connsiteX9000" fmla="*/ 4787056 w 10890933"/>
              <a:gd name="connsiteY9000" fmla="*/ 55513 h 4167549"/>
              <a:gd name="connsiteX9001" fmla="*/ 4817228 w 10890933"/>
              <a:gd name="connsiteY9001" fmla="*/ 45441 h 4167549"/>
              <a:gd name="connsiteX9002" fmla="*/ 4890119 w 10890933"/>
              <a:gd name="connsiteY9002" fmla="*/ 46819 h 4167549"/>
              <a:gd name="connsiteX9003" fmla="*/ 4924293 w 10890933"/>
              <a:gd name="connsiteY9003" fmla="*/ 55976 h 4167549"/>
              <a:gd name="connsiteX9004" fmla="*/ 4957669 w 10890933"/>
              <a:gd name="connsiteY9004" fmla="*/ 46764 h 4167549"/>
              <a:gd name="connsiteX9005" fmla="*/ 4983717 w 10890933"/>
              <a:gd name="connsiteY9005" fmla="*/ 36206 h 4167549"/>
              <a:gd name="connsiteX9006" fmla="*/ 4984757 w 10890933"/>
              <a:gd name="connsiteY9006" fmla="*/ 36416 h 4167549"/>
              <a:gd name="connsiteX9007" fmla="*/ 4988640 w 10890933"/>
              <a:gd name="connsiteY9007" fmla="*/ 55062 h 4167549"/>
              <a:gd name="connsiteX9008" fmla="*/ 5027354 w 10890933"/>
              <a:gd name="connsiteY9008" fmla="*/ 47280 h 4167549"/>
              <a:gd name="connsiteX9009" fmla="*/ 5055257 w 10890933"/>
              <a:gd name="connsiteY9009" fmla="*/ 45680 h 4167549"/>
              <a:gd name="connsiteX9010" fmla="*/ 5062065 w 10890933"/>
              <a:gd name="connsiteY9010" fmla="*/ 20272 h 4167549"/>
              <a:gd name="connsiteX9011" fmla="*/ 5014806 w 10890933"/>
              <a:gd name="connsiteY9011" fmla="*/ 25762 h 4167549"/>
              <a:gd name="connsiteX9012" fmla="*/ 5040439 w 10890933"/>
              <a:gd name="connsiteY9012" fmla="*/ 32630 h 4167549"/>
              <a:gd name="connsiteX9013" fmla="*/ 4978362 w 10890933"/>
              <a:gd name="connsiteY9013" fmla="*/ 25076 h 4167549"/>
              <a:gd name="connsiteX9014" fmla="*/ 4993179 w 10890933"/>
              <a:gd name="connsiteY9014" fmla="*/ 38123 h 4167549"/>
              <a:gd name="connsiteX9015" fmla="*/ 4984757 w 10890933"/>
              <a:gd name="connsiteY9015" fmla="*/ 36416 h 4167549"/>
              <a:gd name="connsiteX9016" fmla="*/ 4984636 w 10890933"/>
              <a:gd name="connsiteY9016" fmla="*/ 35833 h 4167549"/>
              <a:gd name="connsiteX9017" fmla="*/ 4983717 w 10890933"/>
              <a:gd name="connsiteY9017" fmla="*/ 36206 h 4167549"/>
              <a:gd name="connsiteX9018" fmla="*/ 4975808 w 10890933"/>
              <a:gd name="connsiteY9018" fmla="*/ 34604 h 4167549"/>
              <a:gd name="connsiteX9019" fmla="*/ 4956733 w 10890933"/>
              <a:gd name="connsiteY9019" fmla="*/ 37434 h 4167549"/>
              <a:gd name="connsiteX9020" fmla="*/ 4933371 w 10890933"/>
              <a:gd name="connsiteY9020" fmla="*/ 22097 h 4167549"/>
              <a:gd name="connsiteX9021" fmla="*/ 4948189 w 10890933"/>
              <a:gd name="connsiteY9021" fmla="*/ 35144 h 4167549"/>
              <a:gd name="connsiteX9022" fmla="*/ 4873028 w 10890933"/>
              <a:gd name="connsiteY9022" fmla="*/ 42240 h 4167549"/>
              <a:gd name="connsiteX9023" fmla="*/ 4866755 w 10890933"/>
              <a:gd name="connsiteY9023" fmla="*/ 31480 h 4167549"/>
              <a:gd name="connsiteX9024" fmla="*/ 4836585 w 10890933"/>
              <a:gd name="connsiteY9024" fmla="*/ 41552 h 4167549"/>
              <a:gd name="connsiteX9025" fmla="*/ 4825801 w 10890933"/>
              <a:gd name="connsiteY9025" fmla="*/ 41215 h 4167549"/>
              <a:gd name="connsiteX9026" fmla="*/ 4819498 w 10890933"/>
              <a:gd name="connsiteY9026" fmla="*/ 36973 h 4167549"/>
              <a:gd name="connsiteX9027" fmla="*/ 4874716 w 10890933"/>
              <a:gd name="connsiteY9027" fmla="*/ 18862 h 4167549"/>
              <a:gd name="connsiteX9028" fmla="*/ 4924827 w 10890933"/>
              <a:gd name="connsiteY9028" fmla="*/ 19808 h 4167549"/>
              <a:gd name="connsiteX9029" fmla="*/ 5006262 w 10890933"/>
              <a:gd name="connsiteY9029" fmla="*/ 23472 h 4167549"/>
              <a:gd name="connsiteX9030" fmla="*/ 5069132 w 10890933"/>
              <a:gd name="connsiteY9030" fmla="*/ 15974 h 4167549"/>
              <a:gd name="connsiteX9031" fmla="*/ 5163265 w 10890933"/>
              <a:gd name="connsiteY9031" fmla="*/ 10299 h 4167549"/>
              <a:gd name="connsiteX9032" fmla="*/ 5171346 w 10890933"/>
              <a:gd name="connsiteY9032" fmla="*/ 21282 h 4167549"/>
              <a:gd name="connsiteX9033" fmla="*/ 5152852 w 10890933"/>
              <a:gd name="connsiteY9033" fmla="*/ 32448 h 4167549"/>
              <a:gd name="connsiteX9034" fmla="*/ 5153220 w 10890933"/>
              <a:gd name="connsiteY9034" fmla="*/ 34928 h 4167549"/>
              <a:gd name="connsiteX9035" fmla="*/ 5146367 w 10890933"/>
              <a:gd name="connsiteY9035" fmla="*/ 32226 h 4167549"/>
              <a:gd name="connsiteX9036" fmla="*/ 5150776 w 10890933"/>
              <a:gd name="connsiteY9036" fmla="*/ 15771 h 4167549"/>
              <a:gd name="connsiteX9037" fmla="*/ 5163265 w 10890933"/>
              <a:gd name="connsiteY9037" fmla="*/ 10299 h 4167549"/>
              <a:gd name="connsiteX9038" fmla="*/ 5540344 w 10890933"/>
              <a:gd name="connsiteY9038" fmla="*/ 9928 h 4167549"/>
              <a:gd name="connsiteX9039" fmla="*/ 5507137 w 10890933"/>
              <a:gd name="connsiteY9039" fmla="*/ 18667 h 4167549"/>
              <a:gd name="connsiteX9040" fmla="*/ 5540344 w 10890933"/>
              <a:gd name="connsiteY9040" fmla="*/ 9928 h 4167549"/>
              <a:gd name="connsiteX9041" fmla="*/ 5441592 w 10890933"/>
              <a:gd name="connsiteY9041" fmla="*/ 2 h 4167549"/>
              <a:gd name="connsiteX9042" fmla="*/ 5447339 w 10890933"/>
              <a:gd name="connsiteY9042" fmla="*/ 11463 h 4167549"/>
              <a:gd name="connsiteX9043" fmla="*/ 5430885 w 10890933"/>
              <a:gd name="connsiteY9043" fmla="*/ 7054 h 4167549"/>
              <a:gd name="connsiteX9044" fmla="*/ 5441592 w 10890933"/>
              <a:gd name="connsiteY9044" fmla="*/ 2 h 416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Lst>
            <a:rect l="l" t="t" r="r" b="b"/>
            <a:pathLst>
              <a:path w="10890933" h="4167549">
                <a:moveTo>
                  <a:pt x="1260840" y="4154179"/>
                </a:moveTo>
                <a:cubicBezTo>
                  <a:pt x="1270096" y="4156659"/>
                  <a:pt x="1270096" y="4156659"/>
                  <a:pt x="1279352" y="4159140"/>
                </a:cubicBezTo>
                <a:cubicBezTo>
                  <a:pt x="1284199" y="4178075"/>
                  <a:pt x="1249379" y="4159927"/>
                  <a:pt x="1260840" y="4154179"/>
                </a:cubicBezTo>
                <a:close/>
                <a:moveTo>
                  <a:pt x="2082663" y="4061340"/>
                </a:moveTo>
                <a:cubicBezTo>
                  <a:pt x="2082663" y="4061340"/>
                  <a:pt x="2088686" y="4071772"/>
                  <a:pt x="2088686" y="4071772"/>
                </a:cubicBezTo>
                <a:cubicBezTo>
                  <a:pt x="2088686" y="4071772"/>
                  <a:pt x="2072231" y="4067363"/>
                  <a:pt x="2070026" y="4075590"/>
                </a:cubicBezTo>
                <a:cubicBezTo>
                  <a:pt x="2061798" y="4073386"/>
                  <a:pt x="2080458" y="4069567"/>
                  <a:pt x="2082663" y="4061340"/>
                </a:cubicBezTo>
                <a:close/>
                <a:moveTo>
                  <a:pt x="2167854" y="4053305"/>
                </a:moveTo>
                <a:lnTo>
                  <a:pt x="2166752" y="4057417"/>
                </a:lnTo>
                <a:cubicBezTo>
                  <a:pt x="2148927" y="4052641"/>
                  <a:pt x="2135603" y="4066707"/>
                  <a:pt x="2117777" y="4061931"/>
                </a:cubicBezTo>
                <a:close/>
                <a:moveTo>
                  <a:pt x="2177871" y="4051578"/>
                </a:moveTo>
                <a:cubicBezTo>
                  <a:pt x="2177871" y="4051578"/>
                  <a:pt x="2175091" y="4053039"/>
                  <a:pt x="2172587" y="4053470"/>
                </a:cubicBezTo>
                <a:lnTo>
                  <a:pt x="2171860" y="4052615"/>
                </a:lnTo>
                <a:close/>
                <a:moveTo>
                  <a:pt x="2168957" y="4049189"/>
                </a:moveTo>
                <a:lnTo>
                  <a:pt x="2171860" y="4052615"/>
                </a:lnTo>
                <a:lnTo>
                  <a:pt x="2167854" y="4053305"/>
                </a:lnTo>
                <a:close/>
                <a:moveTo>
                  <a:pt x="2546872" y="4040222"/>
                </a:moveTo>
                <a:cubicBezTo>
                  <a:pt x="2563327" y="4044631"/>
                  <a:pt x="2544668" y="4048450"/>
                  <a:pt x="2550690" y="4058882"/>
                </a:cubicBezTo>
                <a:cubicBezTo>
                  <a:pt x="2542463" y="4056677"/>
                  <a:pt x="2521599" y="4068723"/>
                  <a:pt x="2526008" y="4052268"/>
                </a:cubicBezTo>
                <a:cubicBezTo>
                  <a:pt x="2523803" y="4060496"/>
                  <a:pt x="2536440" y="4046245"/>
                  <a:pt x="2544668" y="4048450"/>
                </a:cubicBezTo>
                <a:cubicBezTo>
                  <a:pt x="2544668" y="4048450"/>
                  <a:pt x="2544668" y="4048450"/>
                  <a:pt x="2546872" y="4040222"/>
                </a:cubicBezTo>
                <a:close/>
                <a:moveTo>
                  <a:pt x="2247589" y="4021757"/>
                </a:moveTo>
                <a:cubicBezTo>
                  <a:pt x="2261472" y="4035767"/>
                  <a:pt x="2223418" y="4046146"/>
                  <a:pt x="2206963" y="4041737"/>
                </a:cubicBezTo>
                <a:cubicBezTo>
                  <a:pt x="2217762" y="4034343"/>
                  <a:pt x="2236789" y="4029153"/>
                  <a:pt x="2247589" y="4021757"/>
                </a:cubicBezTo>
                <a:close/>
                <a:moveTo>
                  <a:pt x="2724129" y="4019115"/>
                </a:moveTo>
                <a:lnTo>
                  <a:pt x="2725707" y="4021125"/>
                </a:lnTo>
                <a:lnTo>
                  <a:pt x="2723841" y="4021506"/>
                </a:lnTo>
                <a:close/>
                <a:moveTo>
                  <a:pt x="2742501" y="4017687"/>
                </a:moveTo>
                <a:cubicBezTo>
                  <a:pt x="2741398" y="4021802"/>
                  <a:pt x="2734127" y="4024262"/>
                  <a:pt x="2727678" y="4023636"/>
                </a:cubicBezTo>
                <a:lnTo>
                  <a:pt x="2725707" y="4021125"/>
                </a:lnTo>
                <a:close/>
                <a:moveTo>
                  <a:pt x="1800428" y="4012170"/>
                </a:moveTo>
                <a:cubicBezTo>
                  <a:pt x="1800428" y="4012170"/>
                  <a:pt x="1797672" y="4022455"/>
                  <a:pt x="1794916" y="4032740"/>
                </a:cubicBezTo>
                <a:cubicBezTo>
                  <a:pt x="1794916" y="4032740"/>
                  <a:pt x="1786689" y="4030535"/>
                  <a:pt x="1786689" y="4030535"/>
                </a:cubicBezTo>
                <a:cubicBezTo>
                  <a:pt x="1789445" y="4020251"/>
                  <a:pt x="1797672" y="4022455"/>
                  <a:pt x="1800428" y="4012170"/>
                </a:cubicBezTo>
                <a:close/>
                <a:moveTo>
                  <a:pt x="2717818" y="4011073"/>
                </a:moveTo>
                <a:cubicBezTo>
                  <a:pt x="2721932" y="4012176"/>
                  <a:pt x="2723989" y="4012727"/>
                  <a:pt x="2724742" y="4014031"/>
                </a:cubicBezTo>
                <a:lnTo>
                  <a:pt x="2724129" y="4019115"/>
                </a:lnTo>
                <a:close/>
                <a:moveTo>
                  <a:pt x="2353227" y="4005972"/>
                </a:moveTo>
                <a:cubicBezTo>
                  <a:pt x="2340591" y="4020222"/>
                  <a:pt x="2334567" y="4009790"/>
                  <a:pt x="2324136" y="4015813"/>
                </a:cubicBezTo>
                <a:cubicBezTo>
                  <a:pt x="2324136" y="4015813"/>
                  <a:pt x="2326340" y="4007585"/>
                  <a:pt x="2326340" y="4007585"/>
                </a:cubicBezTo>
                <a:cubicBezTo>
                  <a:pt x="2332363" y="4018018"/>
                  <a:pt x="2345000" y="4003767"/>
                  <a:pt x="2353227" y="4005972"/>
                </a:cubicBezTo>
                <a:close/>
                <a:moveTo>
                  <a:pt x="2877231" y="3992060"/>
                </a:moveTo>
                <a:cubicBezTo>
                  <a:pt x="2885458" y="3994265"/>
                  <a:pt x="2883254" y="4002492"/>
                  <a:pt x="2883254" y="4002492"/>
                </a:cubicBezTo>
                <a:cubicBezTo>
                  <a:pt x="2883254" y="4002492"/>
                  <a:pt x="2883254" y="4002492"/>
                  <a:pt x="2881049" y="4010720"/>
                </a:cubicBezTo>
                <a:cubicBezTo>
                  <a:pt x="2864594" y="4006311"/>
                  <a:pt x="2854162" y="4012334"/>
                  <a:pt x="2848139" y="4001902"/>
                </a:cubicBezTo>
                <a:cubicBezTo>
                  <a:pt x="2848139" y="4001902"/>
                  <a:pt x="2856367" y="4004106"/>
                  <a:pt x="2856367" y="4004106"/>
                </a:cubicBezTo>
                <a:cubicBezTo>
                  <a:pt x="2858571" y="3995879"/>
                  <a:pt x="2872821" y="4008515"/>
                  <a:pt x="2875026" y="4000288"/>
                </a:cubicBezTo>
                <a:cubicBezTo>
                  <a:pt x="2877231" y="3992060"/>
                  <a:pt x="2875026" y="4000288"/>
                  <a:pt x="2877231" y="3992060"/>
                </a:cubicBezTo>
                <a:close/>
                <a:moveTo>
                  <a:pt x="2466949" y="3978025"/>
                </a:moveTo>
                <a:cubicBezTo>
                  <a:pt x="2469295" y="3978011"/>
                  <a:pt x="2470677" y="3979025"/>
                  <a:pt x="2470034" y="3981425"/>
                </a:cubicBezTo>
                <a:cubicBezTo>
                  <a:pt x="2467462" y="3991023"/>
                  <a:pt x="2451007" y="3986614"/>
                  <a:pt x="2448435" y="3996212"/>
                </a:cubicBezTo>
                <a:cubicBezTo>
                  <a:pt x="2444193" y="3987360"/>
                  <a:pt x="2459911" y="3978068"/>
                  <a:pt x="2466949" y="3978025"/>
                </a:cubicBezTo>
                <a:close/>
                <a:moveTo>
                  <a:pt x="2371028" y="3976571"/>
                </a:moveTo>
                <a:cubicBezTo>
                  <a:pt x="2376446" y="3976920"/>
                  <a:pt x="2382617" y="3978573"/>
                  <a:pt x="2386730" y="3979676"/>
                </a:cubicBezTo>
                <a:cubicBezTo>
                  <a:pt x="2382322" y="3996131"/>
                  <a:pt x="2372480" y="3967039"/>
                  <a:pt x="2368071" y="3983494"/>
                </a:cubicBezTo>
                <a:lnTo>
                  <a:pt x="2368068" y="3983494"/>
                </a:lnTo>
                <a:lnTo>
                  <a:pt x="2359844" y="3981290"/>
                </a:lnTo>
                <a:cubicBezTo>
                  <a:pt x="2360946" y="3977176"/>
                  <a:pt x="2365611" y="3976221"/>
                  <a:pt x="2371028" y="3976571"/>
                </a:cubicBezTo>
                <a:close/>
                <a:moveTo>
                  <a:pt x="3105718" y="3966203"/>
                </a:moveTo>
                <a:cubicBezTo>
                  <a:pt x="3106472" y="3967505"/>
                  <a:pt x="3107978" y="3970114"/>
                  <a:pt x="3112090" y="3971216"/>
                </a:cubicBezTo>
                <a:cubicBezTo>
                  <a:pt x="3095635" y="3966807"/>
                  <a:pt x="3082998" y="3981057"/>
                  <a:pt x="3066543" y="3976648"/>
                </a:cubicBezTo>
                <a:cubicBezTo>
                  <a:pt x="3076975" y="3970625"/>
                  <a:pt x="3087408" y="3964602"/>
                  <a:pt x="3103863" y="3969011"/>
                </a:cubicBezTo>
                <a:cubicBezTo>
                  <a:pt x="3104965" y="3964899"/>
                  <a:pt x="3104965" y="3964899"/>
                  <a:pt x="3105718" y="3966203"/>
                </a:cubicBezTo>
                <a:close/>
                <a:moveTo>
                  <a:pt x="7875720" y="3964574"/>
                </a:moveTo>
                <a:cubicBezTo>
                  <a:pt x="7895556" y="3961071"/>
                  <a:pt x="7913188" y="3965796"/>
                  <a:pt x="7939633" y="3972881"/>
                </a:cubicBezTo>
                <a:cubicBezTo>
                  <a:pt x="7910983" y="3974023"/>
                  <a:pt x="7919799" y="3976385"/>
                  <a:pt x="7875720" y="3964574"/>
                </a:cubicBezTo>
                <a:close/>
                <a:moveTo>
                  <a:pt x="2450129" y="3956983"/>
                </a:moveTo>
                <a:cubicBezTo>
                  <a:pt x="2447648" y="3966239"/>
                  <a:pt x="2409514" y="3965942"/>
                  <a:pt x="2395639" y="3982066"/>
                </a:cubicBezTo>
                <a:cubicBezTo>
                  <a:pt x="2395639" y="3982066"/>
                  <a:pt x="2398119" y="3972809"/>
                  <a:pt x="2389208" y="3970421"/>
                </a:cubicBezTo>
                <a:cubicBezTo>
                  <a:pt x="2389208" y="3970421"/>
                  <a:pt x="2398119" y="3972809"/>
                  <a:pt x="2398119" y="3972809"/>
                </a:cubicBezTo>
                <a:cubicBezTo>
                  <a:pt x="2411994" y="3956685"/>
                  <a:pt x="2429820" y="3961462"/>
                  <a:pt x="2450129" y="3956983"/>
                </a:cubicBezTo>
                <a:close/>
                <a:moveTo>
                  <a:pt x="3116499" y="3954761"/>
                </a:moveTo>
                <a:cubicBezTo>
                  <a:pt x="3125551" y="3957186"/>
                  <a:pt x="3134600" y="3959611"/>
                  <a:pt x="3134600" y="3959611"/>
                </a:cubicBezTo>
                <a:cubicBezTo>
                  <a:pt x="3141447" y="3970264"/>
                  <a:pt x="3143651" y="3962036"/>
                  <a:pt x="3143651" y="3962036"/>
                </a:cubicBezTo>
                <a:cubicBezTo>
                  <a:pt x="3152703" y="3964462"/>
                  <a:pt x="3152703" y="3964462"/>
                  <a:pt x="3161752" y="3966886"/>
                </a:cubicBezTo>
                <a:cubicBezTo>
                  <a:pt x="3161752" y="3966886"/>
                  <a:pt x="3132395" y="3967839"/>
                  <a:pt x="3123346" y="3965414"/>
                </a:cubicBezTo>
                <a:cubicBezTo>
                  <a:pt x="3114295" y="3962989"/>
                  <a:pt x="3114295" y="3962989"/>
                  <a:pt x="3114295" y="3962989"/>
                </a:cubicBezTo>
                <a:cubicBezTo>
                  <a:pt x="3114295" y="3962989"/>
                  <a:pt x="3116499" y="3954761"/>
                  <a:pt x="3116499" y="3954761"/>
                </a:cubicBezTo>
                <a:close/>
                <a:moveTo>
                  <a:pt x="2700340" y="3944662"/>
                </a:moveTo>
                <a:cubicBezTo>
                  <a:pt x="2695931" y="3961118"/>
                  <a:pt x="2644096" y="3947229"/>
                  <a:pt x="2628843" y="3969596"/>
                </a:cubicBezTo>
                <a:lnTo>
                  <a:pt x="2602930" y="3962653"/>
                </a:lnTo>
                <a:lnTo>
                  <a:pt x="2602927" y="3962652"/>
                </a:lnTo>
                <a:cubicBezTo>
                  <a:pt x="2641892" y="3955456"/>
                  <a:pt x="2670012" y="3954173"/>
                  <a:pt x="2700340" y="3944662"/>
                </a:cubicBezTo>
                <a:close/>
                <a:moveTo>
                  <a:pt x="2497880" y="3943323"/>
                </a:moveTo>
                <a:cubicBezTo>
                  <a:pt x="2497880" y="3943323"/>
                  <a:pt x="2514335" y="3947732"/>
                  <a:pt x="2514335" y="3947732"/>
                </a:cubicBezTo>
                <a:cubicBezTo>
                  <a:pt x="2493471" y="3959778"/>
                  <a:pt x="2479220" y="3947141"/>
                  <a:pt x="2458356" y="3959187"/>
                </a:cubicBezTo>
                <a:cubicBezTo>
                  <a:pt x="2454538" y="3940528"/>
                  <a:pt x="2503903" y="3953755"/>
                  <a:pt x="2497880" y="3943323"/>
                </a:cubicBezTo>
                <a:close/>
                <a:moveTo>
                  <a:pt x="3239697" y="3939272"/>
                </a:moveTo>
                <a:cubicBezTo>
                  <a:pt x="3236941" y="3949558"/>
                  <a:pt x="3236941" y="3949558"/>
                  <a:pt x="3245169" y="3951762"/>
                </a:cubicBezTo>
                <a:cubicBezTo>
                  <a:pt x="3242412" y="3962047"/>
                  <a:pt x="3225958" y="3957638"/>
                  <a:pt x="3228714" y="3947353"/>
                </a:cubicBezTo>
                <a:cubicBezTo>
                  <a:pt x="3236941" y="3949558"/>
                  <a:pt x="3228714" y="3947353"/>
                  <a:pt x="3239697" y="3939272"/>
                </a:cubicBezTo>
                <a:close/>
                <a:moveTo>
                  <a:pt x="3258356" y="3935454"/>
                </a:moveTo>
                <a:cubicBezTo>
                  <a:pt x="3256152" y="3943682"/>
                  <a:pt x="3275351" y="3948826"/>
                  <a:pt x="3267958" y="3938027"/>
                </a:cubicBezTo>
                <a:cubicBezTo>
                  <a:pt x="3270162" y="3929799"/>
                  <a:pt x="3275351" y="3948826"/>
                  <a:pt x="3277556" y="3940599"/>
                </a:cubicBezTo>
                <a:cubicBezTo>
                  <a:pt x="3289358" y="3934943"/>
                  <a:pt x="3282745" y="3959626"/>
                  <a:pt x="3287154" y="3943171"/>
                </a:cubicBezTo>
                <a:cubicBezTo>
                  <a:pt x="3287154" y="3943171"/>
                  <a:pt x="3284950" y="3951398"/>
                  <a:pt x="3284950" y="3951398"/>
                </a:cubicBezTo>
                <a:cubicBezTo>
                  <a:pt x="3275351" y="3948826"/>
                  <a:pt x="3253947" y="3951909"/>
                  <a:pt x="3258356" y="3935454"/>
                </a:cubicBezTo>
                <a:close/>
                <a:moveTo>
                  <a:pt x="2761214" y="3932866"/>
                </a:moveTo>
                <a:cubicBezTo>
                  <a:pt x="2774299" y="3932514"/>
                  <a:pt x="2790369" y="3934247"/>
                  <a:pt x="2804879" y="3932990"/>
                </a:cubicBezTo>
                <a:cubicBezTo>
                  <a:pt x="2782103" y="3947465"/>
                  <a:pt x="2755656" y="3940379"/>
                  <a:pt x="2735455" y="3945253"/>
                </a:cubicBezTo>
                <a:cubicBezTo>
                  <a:pt x="2738027" y="3935655"/>
                  <a:pt x="2748128" y="3933218"/>
                  <a:pt x="2761214" y="3932866"/>
                </a:cubicBezTo>
                <a:close/>
                <a:moveTo>
                  <a:pt x="2638635" y="3928128"/>
                </a:moveTo>
                <a:cubicBezTo>
                  <a:pt x="2632022" y="3952811"/>
                  <a:pt x="2593577" y="3924874"/>
                  <a:pt x="2589168" y="3941329"/>
                </a:cubicBezTo>
                <a:cubicBezTo>
                  <a:pt x="2572027" y="3936736"/>
                  <a:pt x="2559048" y="3950894"/>
                  <a:pt x="2524767" y="3941709"/>
                </a:cubicBezTo>
                <a:cubicBezTo>
                  <a:pt x="2554887" y="3932143"/>
                  <a:pt x="2599942" y="3935398"/>
                  <a:pt x="2638635" y="3928128"/>
                </a:cubicBezTo>
                <a:close/>
                <a:moveTo>
                  <a:pt x="2684684" y="3926294"/>
                </a:moveTo>
                <a:lnTo>
                  <a:pt x="2683503" y="3930702"/>
                </a:lnTo>
                <a:lnTo>
                  <a:pt x="2674369" y="3927425"/>
                </a:lnTo>
                <a:close/>
                <a:moveTo>
                  <a:pt x="2823334" y="3925810"/>
                </a:moveTo>
                <a:cubicBezTo>
                  <a:pt x="2831360" y="3924654"/>
                  <a:pt x="2842196" y="3925353"/>
                  <a:pt x="2850423" y="3927557"/>
                </a:cubicBezTo>
                <a:cubicBezTo>
                  <a:pt x="2858651" y="3929762"/>
                  <a:pt x="2823536" y="3929171"/>
                  <a:pt x="2813104" y="3935194"/>
                </a:cubicBezTo>
                <a:cubicBezTo>
                  <a:pt x="2810092" y="3929978"/>
                  <a:pt x="2815309" y="3926967"/>
                  <a:pt x="2823334" y="3925810"/>
                </a:cubicBezTo>
                <a:close/>
                <a:moveTo>
                  <a:pt x="2657524" y="3921380"/>
                </a:moveTo>
                <a:lnTo>
                  <a:pt x="2674369" y="3927425"/>
                </a:lnTo>
                <a:lnTo>
                  <a:pt x="2647134" y="3930406"/>
                </a:lnTo>
                <a:cubicBezTo>
                  <a:pt x="2642882" y="3929267"/>
                  <a:pt x="2648906" y="3923796"/>
                  <a:pt x="2657524" y="3921380"/>
                </a:cubicBezTo>
                <a:close/>
                <a:moveTo>
                  <a:pt x="2753786" y="3902737"/>
                </a:moveTo>
                <a:cubicBezTo>
                  <a:pt x="2760052" y="3902201"/>
                  <a:pt x="2766044" y="3903216"/>
                  <a:pt x="2771831" y="3907129"/>
                </a:cubicBezTo>
                <a:cubicBezTo>
                  <a:pt x="2767581" y="3905990"/>
                  <a:pt x="2768171" y="3903787"/>
                  <a:pt x="2770591" y="3903256"/>
                </a:cubicBezTo>
                <a:cubicBezTo>
                  <a:pt x="2773012" y="3902721"/>
                  <a:pt x="2777262" y="3903860"/>
                  <a:pt x="2780333" y="3909407"/>
                </a:cubicBezTo>
                <a:cubicBezTo>
                  <a:pt x="2755536" y="3916936"/>
                  <a:pt x="2734044" y="3920626"/>
                  <a:pt x="2712847" y="3923215"/>
                </a:cubicBezTo>
                <a:lnTo>
                  <a:pt x="2684684" y="3926294"/>
                </a:lnTo>
                <a:lnTo>
                  <a:pt x="2688227" y="3913073"/>
                </a:lnTo>
                <a:cubicBezTo>
                  <a:pt x="2713733" y="3919908"/>
                  <a:pt x="2734988" y="3904343"/>
                  <a:pt x="2753786" y="3902737"/>
                </a:cubicBezTo>
                <a:close/>
                <a:moveTo>
                  <a:pt x="2813697" y="3900080"/>
                </a:moveTo>
                <a:cubicBezTo>
                  <a:pt x="2801892" y="3905735"/>
                  <a:pt x="2799687" y="3913963"/>
                  <a:pt x="2792293" y="3903163"/>
                </a:cubicBezTo>
                <a:cubicBezTo>
                  <a:pt x="2790089" y="3911391"/>
                  <a:pt x="2790089" y="3911391"/>
                  <a:pt x="2790089" y="3911391"/>
                </a:cubicBezTo>
                <a:cubicBezTo>
                  <a:pt x="2790089" y="3911391"/>
                  <a:pt x="2790089" y="3911391"/>
                  <a:pt x="2780491" y="3908819"/>
                </a:cubicBezTo>
                <a:cubicBezTo>
                  <a:pt x="2782695" y="3900591"/>
                  <a:pt x="2782695" y="3900591"/>
                  <a:pt x="2782695" y="3900591"/>
                </a:cubicBezTo>
                <a:cubicBezTo>
                  <a:pt x="2801892" y="3905735"/>
                  <a:pt x="2794498" y="3894936"/>
                  <a:pt x="2813697" y="3900080"/>
                </a:cubicBezTo>
                <a:close/>
                <a:moveTo>
                  <a:pt x="3758029" y="3894077"/>
                </a:moveTo>
                <a:cubicBezTo>
                  <a:pt x="3765248" y="3894909"/>
                  <a:pt x="3774503" y="3897389"/>
                  <a:pt x="3784863" y="3895756"/>
                </a:cubicBezTo>
                <a:cubicBezTo>
                  <a:pt x="3773402" y="3901503"/>
                  <a:pt x="3761941" y="3907250"/>
                  <a:pt x="3743427" y="3902290"/>
                </a:cubicBezTo>
                <a:cubicBezTo>
                  <a:pt x="3745633" y="3894062"/>
                  <a:pt x="3750812" y="3893246"/>
                  <a:pt x="3758029" y="3894077"/>
                </a:cubicBezTo>
                <a:close/>
                <a:moveTo>
                  <a:pt x="7444821" y="3891945"/>
                </a:moveTo>
                <a:lnTo>
                  <a:pt x="7451686" y="3893069"/>
                </a:lnTo>
                <a:lnTo>
                  <a:pt x="7446936" y="3893773"/>
                </a:lnTo>
                <a:close/>
                <a:moveTo>
                  <a:pt x="2842786" y="3890238"/>
                </a:moveTo>
                <a:cubicBezTo>
                  <a:pt x="2857037" y="3902874"/>
                  <a:pt x="2861446" y="3886419"/>
                  <a:pt x="2886129" y="3893033"/>
                </a:cubicBezTo>
                <a:cubicBezTo>
                  <a:pt x="2875696" y="3899056"/>
                  <a:pt x="2877901" y="3890829"/>
                  <a:pt x="2859241" y="3894647"/>
                </a:cubicBezTo>
                <a:cubicBezTo>
                  <a:pt x="2857037" y="3902874"/>
                  <a:pt x="2865264" y="3905079"/>
                  <a:pt x="2865264" y="3905079"/>
                </a:cubicBezTo>
                <a:cubicBezTo>
                  <a:pt x="2863060" y="3913307"/>
                  <a:pt x="2859241" y="3894647"/>
                  <a:pt x="2848809" y="3900670"/>
                </a:cubicBezTo>
                <a:cubicBezTo>
                  <a:pt x="2865264" y="3905079"/>
                  <a:pt x="2830150" y="3904489"/>
                  <a:pt x="2842786" y="3890238"/>
                </a:cubicBezTo>
                <a:close/>
                <a:moveTo>
                  <a:pt x="7481374" y="3888672"/>
                </a:moveTo>
                <a:cubicBezTo>
                  <a:pt x="7493903" y="3888721"/>
                  <a:pt x="7506668" y="3892142"/>
                  <a:pt x="7517231" y="3903790"/>
                </a:cubicBezTo>
                <a:lnTo>
                  <a:pt x="7451686" y="3893069"/>
                </a:lnTo>
                <a:close/>
                <a:moveTo>
                  <a:pt x="3884102" y="3884979"/>
                </a:moveTo>
                <a:lnTo>
                  <a:pt x="3897628" y="3886291"/>
                </a:lnTo>
                <a:cubicBezTo>
                  <a:pt x="3892448" y="3887107"/>
                  <a:pt x="3888261" y="3886536"/>
                  <a:pt x="3884714" y="3885310"/>
                </a:cubicBezTo>
                <a:close/>
                <a:moveTo>
                  <a:pt x="2916866" y="3883633"/>
                </a:moveTo>
                <a:cubicBezTo>
                  <a:pt x="2925917" y="3886058"/>
                  <a:pt x="2934969" y="3888483"/>
                  <a:pt x="2944018" y="3890908"/>
                </a:cubicBezTo>
                <a:cubicBezTo>
                  <a:pt x="2923713" y="3894286"/>
                  <a:pt x="2912457" y="3900088"/>
                  <a:pt x="2894356" y="3895238"/>
                </a:cubicBezTo>
                <a:cubicBezTo>
                  <a:pt x="2898765" y="3878783"/>
                  <a:pt x="2921508" y="3902513"/>
                  <a:pt x="2916866" y="3883633"/>
                </a:cubicBezTo>
                <a:close/>
                <a:moveTo>
                  <a:pt x="3137445" y="3876601"/>
                </a:moveTo>
                <a:cubicBezTo>
                  <a:pt x="3141263" y="3895261"/>
                  <a:pt x="3114376" y="3896875"/>
                  <a:pt x="3097921" y="3892466"/>
                </a:cubicBezTo>
                <a:cubicBezTo>
                  <a:pt x="3102330" y="3876011"/>
                  <a:pt x="3130831" y="3901284"/>
                  <a:pt x="3137445" y="3876601"/>
                </a:cubicBezTo>
                <a:close/>
                <a:moveTo>
                  <a:pt x="3868309" y="3875955"/>
                </a:moveTo>
                <a:cubicBezTo>
                  <a:pt x="3870699" y="3876870"/>
                  <a:pt x="3873027" y="3878596"/>
                  <a:pt x="3875644" y="3880400"/>
                </a:cubicBezTo>
                <a:lnTo>
                  <a:pt x="3884102" y="3884979"/>
                </a:lnTo>
                <a:lnTo>
                  <a:pt x="3878288" y="3884415"/>
                </a:lnTo>
                <a:cubicBezTo>
                  <a:pt x="3871622" y="3881527"/>
                  <a:pt x="3865231" y="3877610"/>
                  <a:pt x="3860602" y="3876370"/>
                </a:cubicBezTo>
                <a:cubicBezTo>
                  <a:pt x="3863468" y="3874933"/>
                  <a:pt x="3865920" y="3875039"/>
                  <a:pt x="3868309" y="3875955"/>
                </a:cubicBezTo>
                <a:close/>
                <a:moveTo>
                  <a:pt x="4019721" y="3874914"/>
                </a:moveTo>
                <a:cubicBezTo>
                  <a:pt x="4008700" y="3880779"/>
                  <a:pt x="3988867" y="3884283"/>
                  <a:pt x="3980051" y="3881921"/>
                </a:cubicBezTo>
                <a:cubicBezTo>
                  <a:pt x="3960215" y="3885424"/>
                  <a:pt x="3951399" y="3883062"/>
                  <a:pt x="3962419" y="3877197"/>
                </a:cubicBezTo>
                <a:cubicBezTo>
                  <a:pt x="3982256" y="3873694"/>
                  <a:pt x="3999887" y="3878418"/>
                  <a:pt x="4019721" y="3874914"/>
                </a:cubicBezTo>
                <a:close/>
                <a:moveTo>
                  <a:pt x="2362715" y="3871833"/>
                </a:moveTo>
                <a:cubicBezTo>
                  <a:pt x="2368738" y="3882265"/>
                  <a:pt x="2352283" y="3877856"/>
                  <a:pt x="2341851" y="3883879"/>
                </a:cubicBezTo>
                <a:cubicBezTo>
                  <a:pt x="2335828" y="3873446"/>
                  <a:pt x="2360510" y="3880060"/>
                  <a:pt x="2362715" y="3871833"/>
                </a:cubicBezTo>
                <a:close/>
                <a:moveTo>
                  <a:pt x="4091880" y="3868896"/>
                </a:moveTo>
                <a:cubicBezTo>
                  <a:pt x="4098325" y="3869521"/>
                  <a:pt x="4104496" y="3871175"/>
                  <a:pt x="4108610" y="3872277"/>
                </a:cubicBezTo>
                <a:cubicBezTo>
                  <a:pt x="4106405" y="3880505"/>
                  <a:pt x="4092155" y="3867868"/>
                  <a:pt x="4073495" y="3871686"/>
                </a:cubicBezTo>
                <a:cubicBezTo>
                  <a:pt x="4078711" y="3868675"/>
                  <a:pt x="4085434" y="3868271"/>
                  <a:pt x="4091880" y="3868896"/>
                </a:cubicBezTo>
                <a:close/>
                <a:moveTo>
                  <a:pt x="6493179" y="3858671"/>
                </a:moveTo>
                <a:cubicBezTo>
                  <a:pt x="6493179" y="3858671"/>
                  <a:pt x="6501407" y="3860876"/>
                  <a:pt x="6509634" y="3863080"/>
                </a:cubicBezTo>
                <a:cubicBezTo>
                  <a:pt x="6505225" y="3879535"/>
                  <a:pt x="6478338" y="3881149"/>
                  <a:pt x="6493179" y="3858671"/>
                </a:cubicBezTo>
                <a:close/>
                <a:moveTo>
                  <a:pt x="7283019" y="3858670"/>
                </a:moveTo>
                <a:cubicBezTo>
                  <a:pt x="7340394" y="3882862"/>
                  <a:pt x="7389563" y="3869582"/>
                  <a:pt x="7432118" y="3880985"/>
                </a:cubicBezTo>
                <a:lnTo>
                  <a:pt x="7444821" y="3891945"/>
                </a:lnTo>
                <a:lnTo>
                  <a:pt x="7263792" y="3862336"/>
                </a:lnTo>
                <a:cubicBezTo>
                  <a:pt x="7274509" y="3856390"/>
                  <a:pt x="7280814" y="3866897"/>
                  <a:pt x="7283019" y="3858670"/>
                </a:cubicBezTo>
                <a:close/>
                <a:moveTo>
                  <a:pt x="3117169" y="3853532"/>
                </a:moveTo>
                <a:cubicBezTo>
                  <a:pt x="3123192" y="3863964"/>
                  <a:pt x="3125397" y="3855736"/>
                  <a:pt x="3133624" y="3857941"/>
                </a:cubicBezTo>
                <a:cubicBezTo>
                  <a:pt x="3123192" y="3863964"/>
                  <a:pt x="3123192" y="3863964"/>
                  <a:pt x="3104532" y="3867782"/>
                </a:cubicBezTo>
                <a:cubicBezTo>
                  <a:pt x="3106737" y="3859555"/>
                  <a:pt x="3114964" y="3861760"/>
                  <a:pt x="3117169" y="3853532"/>
                </a:cubicBezTo>
                <a:close/>
                <a:moveTo>
                  <a:pt x="3152709" y="3852032"/>
                </a:moveTo>
                <a:cubicBezTo>
                  <a:pt x="3156060" y="3852379"/>
                  <a:pt x="3159008" y="3853720"/>
                  <a:pt x="3160514" y="3856328"/>
                </a:cubicBezTo>
                <a:cubicBezTo>
                  <a:pt x="3150082" y="3862351"/>
                  <a:pt x="3144058" y="3851919"/>
                  <a:pt x="3139649" y="3868374"/>
                </a:cubicBezTo>
                <a:cubicBezTo>
                  <a:pt x="3128961" y="3858896"/>
                  <a:pt x="3142654" y="3850991"/>
                  <a:pt x="3152709" y="3852032"/>
                </a:cubicBezTo>
                <a:close/>
                <a:moveTo>
                  <a:pt x="4207123" y="3850172"/>
                </a:moveTo>
                <a:cubicBezTo>
                  <a:pt x="4204367" y="3860457"/>
                  <a:pt x="4223578" y="3854581"/>
                  <a:pt x="4231805" y="3856785"/>
                </a:cubicBezTo>
                <a:cubicBezTo>
                  <a:pt x="4220822" y="3864866"/>
                  <a:pt x="4212594" y="3862661"/>
                  <a:pt x="4201611" y="3870742"/>
                </a:cubicBezTo>
                <a:cubicBezTo>
                  <a:pt x="4204367" y="3860457"/>
                  <a:pt x="4207123" y="3850172"/>
                  <a:pt x="4207123" y="3850172"/>
                </a:cubicBezTo>
                <a:close/>
                <a:moveTo>
                  <a:pt x="4293403" y="3849041"/>
                </a:moveTo>
                <a:cubicBezTo>
                  <a:pt x="4298069" y="3848086"/>
                  <a:pt x="4300124" y="3848637"/>
                  <a:pt x="4297920" y="3856864"/>
                </a:cubicBezTo>
                <a:cubicBezTo>
                  <a:pt x="4281465" y="3852455"/>
                  <a:pt x="4273237" y="3850250"/>
                  <a:pt x="4262807" y="3856274"/>
                </a:cubicBezTo>
                <a:cubicBezTo>
                  <a:pt x="4265010" y="3848046"/>
                  <a:pt x="4281465" y="3852455"/>
                  <a:pt x="4273237" y="3850250"/>
                </a:cubicBezTo>
                <a:cubicBezTo>
                  <a:pt x="4281465" y="3852455"/>
                  <a:pt x="4288740" y="3849994"/>
                  <a:pt x="4293403" y="3849041"/>
                </a:cubicBezTo>
                <a:close/>
                <a:moveTo>
                  <a:pt x="6157902" y="3848750"/>
                </a:moveTo>
                <a:cubicBezTo>
                  <a:pt x="6164824" y="3848951"/>
                  <a:pt x="6184823" y="3857617"/>
                  <a:pt x="6186477" y="3851447"/>
                </a:cubicBezTo>
                <a:cubicBezTo>
                  <a:pt x="6182068" y="3867902"/>
                  <a:pt x="6156503" y="3852233"/>
                  <a:pt x="6156503" y="3852233"/>
                </a:cubicBezTo>
                <a:cubicBezTo>
                  <a:pt x="6154740" y="3849556"/>
                  <a:pt x="6155595" y="3848683"/>
                  <a:pt x="6157902" y="3848750"/>
                </a:cubicBezTo>
                <a:close/>
                <a:moveTo>
                  <a:pt x="7172667" y="3844533"/>
                </a:moveTo>
                <a:cubicBezTo>
                  <a:pt x="7177808" y="3845910"/>
                  <a:pt x="7183427" y="3849621"/>
                  <a:pt x="7191654" y="3851825"/>
                </a:cubicBezTo>
                <a:cubicBezTo>
                  <a:pt x="7189450" y="3860053"/>
                  <a:pt x="7175199" y="3847416"/>
                  <a:pt x="7156540" y="3851235"/>
                </a:cubicBezTo>
                <a:cubicBezTo>
                  <a:pt x="7162859" y="3844110"/>
                  <a:pt x="7167523" y="3843154"/>
                  <a:pt x="7172667" y="3844533"/>
                </a:cubicBezTo>
                <a:close/>
                <a:moveTo>
                  <a:pt x="4310556" y="3842614"/>
                </a:moveTo>
                <a:cubicBezTo>
                  <a:pt x="4302329" y="3840409"/>
                  <a:pt x="4327011" y="3847023"/>
                  <a:pt x="4327011" y="3847023"/>
                </a:cubicBezTo>
                <a:cubicBezTo>
                  <a:pt x="4324807" y="3855250"/>
                  <a:pt x="4316579" y="3853046"/>
                  <a:pt x="4308352" y="3850841"/>
                </a:cubicBezTo>
                <a:cubicBezTo>
                  <a:pt x="4308352" y="3850841"/>
                  <a:pt x="4310556" y="3842614"/>
                  <a:pt x="4310556" y="3842614"/>
                </a:cubicBezTo>
                <a:close/>
                <a:moveTo>
                  <a:pt x="7143153" y="3841035"/>
                </a:moveTo>
                <a:cubicBezTo>
                  <a:pt x="7151250" y="3843205"/>
                  <a:pt x="7157642" y="3847120"/>
                  <a:pt x="7156540" y="3851235"/>
                </a:cubicBezTo>
                <a:cubicBezTo>
                  <a:pt x="7138027" y="3846274"/>
                  <a:pt x="7128771" y="3843794"/>
                  <a:pt x="7119514" y="3841314"/>
                </a:cubicBezTo>
                <a:cubicBezTo>
                  <a:pt x="7125245" y="3838439"/>
                  <a:pt x="7135052" y="3838864"/>
                  <a:pt x="7143153" y="3841035"/>
                </a:cubicBezTo>
                <a:close/>
                <a:moveTo>
                  <a:pt x="8411928" y="3839296"/>
                </a:moveTo>
                <a:cubicBezTo>
                  <a:pt x="8420155" y="3841501"/>
                  <a:pt x="8436611" y="3845910"/>
                  <a:pt x="8433303" y="3858252"/>
                </a:cubicBezTo>
                <a:cubicBezTo>
                  <a:pt x="8425076" y="3856048"/>
                  <a:pt x="8420155" y="3841501"/>
                  <a:pt x="8416848" y="3853843"/>
                </a:cubicBezTo>
                <a:cubicBezTo>
                  <a:pt x="8408621" y="3851639"/>
                  <a:pt x="8411928" y="3839296"/>
                  <a:pt x="8411928" y="3839296"/>
                </a:cubicBezTo>
                <a:close/>
                <a:moveTo>
                  <a:pt x="8191911" y="3837660"/>
                </a:moveTo>
                <a:cubicBezTo>
                  <a:pt x="8226194" y="3846846"/>
                  <a:pt x="8262680" y="3847804"/>
                  <a:pt x="8296961" y="3856990"/>
                </a:cubicBezTo>
                <a:cubicBezTo>
                  <a:pt x="8277617" y="3860625"/>
                  <a:pt x="8215417" y="3852777"/>
                  <a:pt x="8191911" y="3837660"/>
                </a:cubicBezTo>
                <a:close/>
                <a:moveTo>
                  <a:pt x="6061742" y="3835658"/>
                </a:moveTo>
                <a:cubicBezTo>
                  <a:pt x="6068794" y="3846366"/>
                  <a:pt x="6043229" y="3830697"/>
                  <a:pt x="6048077" y="3849633"/>
                </a:cubicBezTo>
                <a:cubicBezTo>
                  <a:pt x="6031768" y="3836445"/>
                  <a:pt x="6052486" y="3833177"/>
                  <a:pt x="6061742" y="3835658"/>
                </a:cubicBezTo>
                <a:close/>
                <a:moveTo>
                  <a:pt x="7071676" y="3835601"/>
                </a:moveTo>
                <a:lnTo>
                  <a:pt x="7080837" y="3837565"/>
                </a:lnTo>
                <a:lnTo>
                  <a:pt x="7081496" y="3837706"/>
                </a:lnTo>
                <a:lnTo>
                  <a:pt x="7079375" y="3839423"/>
                </a:lnTo>
                <a:close/>
                <a:moveTo>
                  <a:pt x="4347878" y="3834978"/>
                </a:moveTo>
                <a:cubicBezTo>
                  <a:pt x="4366538" y="3831159"/>
                  <a:pt x="4353901" y="3845410"/>
                  <a:pt x="4362129" y="3847614"/>
                </a:cubicBezTo>
                <a:cubicBezTo>
                  <a:pt x="4351696" y="3853637"/>
                  <a:pt x="4343469" y="3851433"/>
                  <a:pt x="4335241" y="3849228"/>
                </a:cubicBezTo>
                <a:cubicBezTo>
                  <a:pt x="4345674" y="3843205"/>
                  <a:pt x="4345674" y="3843205"/>
                  <a:pt x="4347878" y="3834978"/>
                </a:cubicBezTo>
                <a:close/>
                <a:moveTo>
                  <a:pt x="6124769" y="3834912"/>
                </a:moveTo>
                <a:cubicBezTo>
                  <a:pt x="6128587" y="3853572"/>
                  <a:pt x="6151656" y="3833298"/>
                  <a:pt x="6145042" y="3857981"/>
                </a:cubicBezTo>
                <a:cubicBezTo>
                  <a:pt x="6136815" y="3855776"/>
                  <a:pt x="6122565" y="3843140"/>
                  <a:pt x="6120360" y="3851367"/>
                </a:cubicBezTo>
                <a:cubicBezTo>
                  <a:pt x="6114337" y="3840935"/>
                  <a:pt x="6114337" y="3840935"/>
                  <a:pt x="6124769" y="3834912"/>
                </a:cubicBezTo>
                <a:close/>
                <a:moveTo>
                  <a:pt x="6089654" y="3834321"/>
                </a:moveTo>
                <a:cubicBezTo>
                  <a:pt x="6097882" y="3836526"/>
                  <a:pt x="6095677" y="3844753"/>
                  <a:pt x="6087450" y="3842549"/>
                </a:cubicBezTo>
                <a:cubicBezTo>
                  <a:pt x="6103905" y="3846958"/>
                  <a:pt x="6116541" y="3832707"/>
                  <a:pt x="6109928" y="3857390"/>
                </a:cubicBezTo>
                <a:cubicBezTo>
                  <a:pt x="6095677" y="3844753"/>
                  <a:pt x="6101701" y="3855186"/>
                  <a:pt x="6085245" y="3850776"/>
                </a:cubicBezTo>
                <a:cubicBezTo>
                  <a:pt x="6095677" y="3844753"/>
                  <a:pt x="6087450" y="3842549"/>
                  <a:pt x="6079222" y="3840344"/>
                </a:cubicBezTo>
                <a:cubicBezTo>
                  <a:pt x="6068790" y="3846367"/>
                  <a:pt x="6081427" y="3832117"/>
                  <a:pt x="6089654" y="3834321"/>
                </a:cubicBezTo>
                <a:close/>
                <a:moveTo>
                  <a:pt x="7086237" y="3833866"/>
                </a:moveTo>
                <a:cubicBezTo>
                  <a:pt x="7083665" y="3843467"/>
                  <a:pt x="7097036" y="3826472"/>
                  <a:pt x="7102692" y="3838276"/>
                </a:cubicBezTo>
                <a:cubicBezTo>
                  <a:pt x="7099992" y="3840125"/>
                  <a:pt x="7096585" y="3840498"/>
                  <a:pt x="7092825" y="3840134"/>
                </a:cubicBezTo>
                <a:lnTo>
                  <a:pt x="7081496" y="3837706"/>
                </a:lnTo>
                <a:close/>
                <a:moveTo>
                  <a:pt x="7061216" y="3830057"/>
                </a:moveTo>
                <a:cubicBezTo>
                  <a:pt x="7063225" y="3830274"/>
                  <a:pt x="7066246" y="3832369"/>
                  <a:pt x="7069524" y="3834533"/>
                </a:cubicBezTo>
                <a:lnTo>
                  <a:pt x="7071676" y="3835601"/>
                </a:lnTo>
                <a:lnTo>
                  <a:pt x="7068849" y="3834996"/>
                </a:lnTo>
                <a:cubicBezTo>
                  <a:pt x="7065089" y="3834631"/>
                  <a:pt x="7061682" y="3835005"/>
                  <a:pt x="7058982" y="3836854"/>
                </a:cubicBezTo>
                <a:cubicBezTo>
                  <a:pt x="7058211" y="3831503"/>
                  <a:pt x="7059208" y="3829840"/>
                  <a:pt x="7061216" y="3830057"/>
                </a:cubicBezTo>
                <a:close/>
                <a:moveTo>
                  <a:pt x="5963743" y="3827036"/>
                </a:moveTo>
                <a:cubicBezTo>
                  <a:pt x="5974176" y="3821013"/>
                  <a:pt x="5967562" y="3845695"/>
                  <a:pt x="5980199" y="3831445"/>
                </a:cubicBezTo>
                <a:cubicBezTo>
                  <a:pt x="5977994" y="3839672"/>
                  <a:pt x="5986222" y="3841877"/>
                  <a:pt x="5986222" y="3841877"/>
                </a:cubicBezTo>
                <a:cubicBezTo>
                  <a:pt x="5984017" y="3850104"/>
                  <a:pt x="5975789" y="3847900"/>
                  <a:pt x="5975789" y="3847900"/>
                </a:cubicBezTo>
                <a:cubicBezTo>
                  <a:pt x="5967562" y="3845695"/>
                  <a:pt x="5969767" y="3837468"/>
                  <a:pt x="5963743" y="3827036"/>
                </a:cubicBezTo>
                <a:close/>
                <a:moveTo>
                  <a:pt x="6025746" y="3826012"/>
                </a:moveTo>
                <a:cubicBezTo>
                  <a:pt x="6042201" y="3830421"/>
                  <a:pt x="6021336" y="3842468"/>
                  <a:pt x="6019132" y="3850695"/>
                </a:cubicBezTo>
                <a:cubicBezTo>
                  <a:pt x="6019132" y="3850695"/>
                  <a:pt x="6021336" y="3842468"/>
                  <a:pt x="6013109" y="3840263"/>
                </a:cubicBezTo>
                <a:cubicBezTo>
                  <a:pt x="6015313" y="3832036"/>
                  <a:pt x="6029564" y="3844672"/>
                  <a:pt x="6025746" y="3826012"/>
                </a:cubicBezTo>
                <a:close/>
                <a:moveTo>
                  <a:pt x="4452098" y="3824484"/>
                </a:moveTo>
                <a:cubicBezTo>
                  <a:pt x="4460898" y="3841012"/>
                  <a:pt x="4473038" y="3826551"/>
                  <a:pt x="4479041" y="3830373"/>
                </a:cubicBezTo>
                <a:cubicBezTo>
                  <a:pt x="4481044" y="3831648"/>
                  <a:pt x="4482363" y="3834954"/>
                  <a:pt x="4482647" y="3842115"/>
                </a:cubicBezTo>
                <a:cubicBezTo>
                  <a:pt x="4441509" y="3831092"/>
                  <a:pt x="4415606" y="3861946"/>
                  <a:pt x="4387420" y="3835496"/>
                </a:cubicBezTo>
                <a:cubicBezTo>
                  <a:pt x="4395647" y="3837701"/>
                  <a:pt x="4417968" y="3853131"/>
                  <a:pt x="4425055" y="3826683"/>
                </a:cubicBezTo>
                <a:cubicBezTo>
                  <a:pt x="4430921" y="3837704"/>
                  <a:pt x="4441509" y="3831092"/>
                  <a:pt x="4449737" y="3833297"/>
                </a:cubicBezTo>
                <a:cubicBezTo>
                  <a:pt x="4449737" y="3833297"/>
                  <a:pt x="4449737" y="3833297"/>
                  <a:pt x="4452098" y="3824484"/>
                </a:cubicBezTo>
                <a:close/>
                <a:moveTo>
                  <a:pt x="4559112" y="3823115"/>
                </a:moveTo>
                <a:cubicBezTo>
                  <a:pt x="4561948" y="3827966"/>
                  <a:pt x="4558033" y="3848742"/>
                  <a:pt x="4569659" y="3830032"/>
                </a:cubicBezTo>
                <a:cubicBezTo>
                  <a:pt x="4573036" y="3850337"/>
                  <a:pt x="4550780" y="3834674"/>
                  <a:pt x="4542551" y="3832470"/>
                </a:cubicBezTo>
                <a:cubicBezTo>
                  <a:pt x="4544976" y="3823418"/>
                  <a:pt x="4561432" y="3827828"/>
                  <a:pt x="4553204" y="3825623"/>
                </a:cubicBezTo>
                <a:cubicBezTo>
                  <a:pt x="4556474" y="3821650"/>
                  <a:pt x="4558167" y="3821498"/>
                  <a:pt x="4559112" y="3823115"/>
                </a:cubicBezTo>
                <a:close/>
                <a:moveTo>
                  <a:pt x="4503445" y="3822100"/>
                </a:moveTo>
                <a:cubicBezTo>
                  <a:pt x="4510643" y="3824029"/>
                  <a:pt x="4517153" y="3828528"/>
                  <a:pt x="4515775" y="3833672"/>
                </a:cubicBezTo>
                <a:cubicBezTo>
                  <a:pt x="4513019" y="3843957"/>
                  <a:pt x="4496578" y="3828528"/>
                  <a:pt x="4503420" y="3841385"/>
                </a:cubicBezTo>
                <a:cubicBezTo>
                  <a:pt x="4493823" y="3838813"/>
                  <a:pt x="4493823" y="3838813"/>
                  <a:pt x="4486977" y="3825956"/>
                </a:cubicBezTo>
                <a:cubicBezTo>
                  <a:pt x="4488356" y="3820812"/>
                  <a:pt x="4496245" y="3820171"/>
                  <a:pt x="4503445" y="3822100"/>
                </a:cubicBezTo>
                <a:close/>
                <a:moveTo>
                  <a:pt x="7006001" y="3821186"/>
                </a:moveTo>
                <a:cubicBezTo>
                  <a:pt x="7009826" y="3820281"/>
                  <a:pt x="7013886" y="3820726"/>
                  <a:pt x="7018342" y="3821920"/>
                </a:cubicBezTo>
                <a:cubicBezTo>
                  <a:pt x="7027257" y="3824309"/>
                  <a:pt x="7037756" y="3829694"/>
                  <a:pt x="7051125" y="3833276"/>
                </a:cubicBezTo>
                <a:cubicBezTo>
                  <a:pt x="7037069" y="3850088"/>
                  <a:pt x="7006559" y="3821335"/>
                  <a:pt x="6995072" y="3828548"/>
                </a:cubicBezTo>
                <a:cubicBezTo>
                  <a:pt x="6998587" y="3824344"/>
                  <a:pt x="7002177" y="3822090"/>
                  <a:pt x="7006001" y="3821186"/>
                </a:cubicBezTo>
                <a:close/>
                <a:moveTo>
                  <a:pt x="5107549" y="3819315"/>
                </a:moveTo>
                <a:cubicBezTo>
                  <a:pt x="5110972" y="3817338"/>
                  <a:pt x="5115075" y="3826705"/>
                  <a:pt x="5122900" y="3822188"/>
                </a:cubicBezTo>
                <a:cubicBezTo>
                  <a:pt x="5120695" y="3830416"/>
                  <a:pt x="5112467" y="3828211"/>
                  <a:pt x="5104240" y="3826006"/>
                </a:cubicBezTo>
                <a:cubicBezTo>
                  <a:pt x="5105342" y="3821893"/>
                  <a:pt x="5106408" y="3819973"/>
                  <a:pt x="5107549" y="3819315"/>
                </a:cubicBezTo>
                <a:close/>
                <a:moveTo>
                  <a:pt x="4721101" y="3818142"/>
                </a:moveTo>
                <a:cubicBezTo>
                  <a:pt x="4727652" y="3817693"/>
                  <a:pt x="4734851" y="3819622"/>
                  <a:pt x="4739651" y="3820908"/>
                </a:cubicBezTo>
                <a:cubicBezTo>
                  <a:pt x="4735242" y="3837363"/>
                  <a:pt x="4725643" y="3834791"/>
                  <a:pt x="4706444" y="3829647"/>
                </a:cubicBezTo>
                <a:cubicBezTo>
                  <a:pt x="4708648" y="3821419"/>
                  <a:pt x="4714550" y="3818592"/>
                  <a:pt x="4721101" y="3818142"/>
                </a:cubicBezTo>
                <a:close/>
                <a:moveTo>
                  <a:pt x="4630191" y="3818033"/>
                </a:moveTo>
                <a:cubicBezTo>
                  <a:pt x="4627988" y="3826261"/>
                  <a:pt x="4608790" y="3821117"/>
                  <a:pt x="4616184" y="3831916"/>
                </a:cubicBezTo>
                <a:cubicBezTo>
                  <a:pt x="4606585" y="3829344"/>
                  <a:pt x="4606585" y="3829344"/>
                  <a:pt x="4606585" y="3829344"/>
                </a:cubicBezTo>
                <a:cubicBezTo>
                  <a:pt x="4596985" y="3826772"/>
                  <a:pt x="4610995" y="3812889"/>
                  <a:pt x="4630191" y="3818033"/>
                </a:cubicBezTo>
                <a:close/>
                <a:moveTo>
                  <a:pt x="4868318" y="3817906"/>
                </a:moveTo>
                <a:lnTo>
                  <a:pt x="4875237" y="3821224"/>
                </a:lnTo>
                <a:lnTo>
                  <a:pt x="4874897" y="3822149"/>
                </a:lnTo>
                <a:cubicBezTo>
                  <a:pt x="4873870" y="3821874"/>
                  <a:pt x="4872433" y="3819009"/>
                  <a:pt x="4868318" y="3817906"/>
                </a:cubicBezTo>
                <a:close/>
                <a:moveTo>
                  <a:pt x="4528963" y="3817363"/>
                </a:moveTo>
                <a:cubicBezTo>
                  <a:pt x="4537190" y="3819568"/>
                  <a:pt x="4529474" y="3848366"/>
                  <a:pt x="4521247" y="3846161"/>
                </a:cubicBezTo>
                <a:cubicBezTo>
                  <a:pt x="4526390" y="3826962"/>
                  <a:pt x="4526390" y="3826962"/>
                  <a:pt x="4528963" y="3817363"/>
                </a:cubicBezTo>
                <a:close/>
                <a:moveTo>
                  <a:pt x="5624811" y="3816686"/>
                </a:moveTo>
                <a:cubicBezTo>
                  <a:pt x="5628648" y="3818816"/>
                  <a:pt x="5634266" y="3822527"/>
                  <a:pt x="5642494" y="3824732"/>
                </a:cubicBezTo>
                <a:cubicBezTo>
                  <a:pt x="5634266" y="3822527"/>
                  <a:pt x="5648517" y="3835164"/>
                  <a:pt x="5632062" y="3830755"/>
                </a:cubicBezTo>
                <a:cubicBezTo>
                  <a:pt x="5632062" y="3830755"/>
                  <a:pt x="5632062" y="3830755"/>
                  <a:pt x="5634266" y="3822527"/>
                </a:cubicBezTo>
                <a:cubicBezTo>
                  <a:pt x="5620016" y="3809890"/>
                  <a:pt x="5629857" y="3838982"/>
                  <a:pt x="5613402" y="3834573"/>
                </a:cubicBezTo>
                <a:cubicBezTo>
                  <a:pt x="5615607" y="3826345"/>
                  <a:pt x="5626039" y="3820323"/>
                  <a:pt x="5617811" y="3818118"/>
                </a:cubicBezTo>
                <a:cubicBezTo>
                  <a:pt x="5618914" y="3814003"/>
                  <a:pt x="5620971" y="3814554"/>
                  <a:pt x="5624811" y="3816686"/>
                </a:cubicBezTo>
                <a:close/>
                <a:moveTo>
                  <a:pt x="6910225" y="3816100"/>
                </a:moveTo>
                <a:cubicBezTo>
                  <a:pt x="6914340" y="3817203"/>
                  <a:pt x="6919004" y="3816247"/>
                  <a:pt x="6923394" y="3816321"/>
                </a:cubicBezTo>
                <a:cubicBezTo>
                  <a:pt x="6927783" y="3816394"/>
                  <a:pt x="6931898" y="3817497"/>
                  <a:pt x="6934908" y="3822714"/>
                </a:cubicBezTo>
                <a:cubicBezTo>
                  <a:pt x="6926680" y="3820509"/>
                  <a:pt x="6918453" y="3818305"/>
                  <a:pt x="6910225" y="3816100"/>
                </a:cubicBezTo>
                <a:close/>
                <a:moveTo>
                  <a:pt x="5573648" y="3815103"/>
                </a:moveTo>
                <a:cubicBezTo>
                  <a:pt x="5582697" y="3817527"/>
                  <a:pt x="5571443" y="3823330"/>
                  <a:pt x="5569239" y="3831558"/>
                </a:cubicBezTo>
                <a:lnTo>
                  <a:pt x="5542087" y="3824282"/>
                </a:lnTo>
                <a:cubicBezTo>
                  <a:pt x="5560187" y="3829132"/>
                  <a:pt x="5562392" y="3820905"/>
                  <a:pt x="5573648" y="3815103"/>
                </a:cubicBezTo>
                <a:close/>
                <a:moveTo>
                  <a:pt x="5747032" y="3813062"/>
                </a:moveTo>
                <a:cubicBezTo>
                  <a:pt x="5752687" y="3824865"/>
                  <a:pt x="5760915" y="3827069"/>
                  <a:pt x="5766570" y="3838875"/>
                </a:cubicBezTo>
                <a:cubicBezTo>
                  <a:pt x="5747543" y="3844064"/>
                  <a:pt x="5752687" y="3824865"/>
                  <a:pt x="5744460" y="3822660"/>
                </a:cubicBezTo>
                <a:cubicBezTo>
                  <a:pt x="5744460" y="3822660"/>
                  <a:pt x="5741887" y="3832261"/>
                  <a:pt x="5739316" y="3841860"/>
                </a:cubicBezTo>
                <a:cubicBezTo>
                  <a:pt x="5731088" y="3839655"/>
                  <a:pt x="5714633" y="3835246"/>
                  <a:pt x="5706406" y="3833041"/>
                </a:cubicBezTo>
                <a:cubicBezTo>
                  <a:pt x="5706406" y="3833041"/>
                  <a:pt x="5733660" y="3830057"/>
                  <a:pt x="5728005" y="3818251"/>
                </a:cubicBezTo>
                <a:cubicBezTo>
                  <a:pt x="5736232" y="3820455"/>
                  <a:pt x="5736232" y="3820455"/>
                  <a:pt x="5725432" y="3827852"/>
                </a:cubicBezTo>
                <a:cubicBezTo>
                  <a:pt x="5725432" y="3827852"/>
                  <a:pt x="5733660" y="3830057"/>
                  <a:pt x="5733660" y="3830057"/>
                </a:cubicBezTo>
                <a:cubicBezTo>
                  <a:pt x="5741887" y="3832261"/>
                  <a:pt x="5738804" y="3810857"/>
                  <a:pt x="5747032" y="3813062"/>
                </a:cubicBezTo>
                <a:close/>
                <a:moveTo>
                  <a:pt x="5187106" y="3812937"/>
                </a:moveTo>
                <a:cubicBezTo>
                  <a:pt x="5187106" y="3812937"/>
                  <a:pt x="5193129" y="3823370"/>
                  <a:pt x="5193129" y="3823370"/>
                </a:cubicBezTo>
                <a:lnTo>
                  <a:pt x="5167814" y="3816586"/>
                </a:lnTo>
                <a:close/>
                <a:moveTo>
                  <a:pt x="4988761" y="3812700"/>
                </a:moveTo>
                <a:cubicBezTo>
                  <a:pt x="5003011" y="3825337"/>
                  <a:pt x="5007420" y="3808882"/>
                  <a:pt x="5021671" y="3821519"/>
                </a:cubicBezTo>
                <a:cubicBezTo>
                  <a:pt x="5003011" y="3825337"/>
                  <a:pt x="4994783" y="3823132"/>
                  <a:pt x="4976124" y="3826951"/>
                </a:cubicBezTo>
                <a:cubicBezTo>
                  <a:pt x="4978328" y="3818723"/>
                  <a:pt x="4986556" y="3820928"/>
                  <a:pt x="4988761" y="3812700"/>
                </a:cubicBezTo>
                <a:close/>
                <a:moveTo>
                  <a:pt x="5151991" y="3812347"/>
                </a:moveTo>
                <a:lnTo>
                  <a:pt x="5167814" y="3816586"/>
                </a:lnTo>
                <a:lnTo>
                  <a:pt x="5155757" y="3818866"/>
                </a:lnTo>
                <a:lnTo>
                  <a:pt x="5150942" y="3816265"/>
                </a:lnTo>
                <a:close/>
                <a:moveTo>
                  <a:pt x="5809034" y="3812039"/>
                </a:moveTo>
                <a:cubicBezTo>
                  <a:pt x="5825753" y="3826440"/>
                  <a:pt x="5804073" y="3830551"/>
                  <a:pt x="5813674" y="3833124"/>
                </a:cubicBezTo>
                <a:cubicBezTo>
                  <a:pt x="5823273" y="3835696"/>
                  <a:pt x="5823273" y="3835696"/>
                  <a:pt x="5832871" y="3838268"/>
                </a:cubicBezTo>
                <a:cubicBezTo>
                  <a:pt x="5818312" y="3854208"/>
                  <a:pt x="5804073" y="3830551"/>
                  <a:pt x="5806554" y="3821295"/>
                </a:cubicBezTo>
                <a:cubicBezTo>
                  <a:pt x="5806554" y="3821295"/>
                  <a:pt x="5806554" y="3821295"/>
                  <a:pt x="5809034" y="3812039"/>
                </a:cubicBezTo>
                <a:close/>
                <a:moveTo>
                  <a:pt x="4640624" y="3812010"/>
                </a:moveTo>
                <a:cubicBezTo>
                  <a:pt x="4651055" y="3805987"/>
                  <a:pt x="4665307" y="3818624"/>
                  <a:pt x="4663101" y="3826851"/>
                </a:cubicBezTo>
                <a:cubicBezTo>
                  <a:pt x="4683966" y="3814806"/>
                  <a:pt x="4681761" y="3823033"/>
                  <a:pt x="4710853" y="3813192"/>
                </a:cubicBezTo>
                <a:lnTo>
                  <a:pt x="4706444" y="3829647"/>
                </a:lnTo>
                <a:lnTo>
                  <a:pt x="4704239" y="3837874"/>
                </a:lnTo>
                <a:cubicBezTo>
                  <a:pt x="4671329" y="3829056"/>
                  <a:pt x="4654876" y="3824647"/>
                  <a:pt x="4634010" y="3836693"/>
                </a:cubicBezTo>
                <a:cubicBezTo>
                  <a:pt x="4632396" y="3809805"/>
                  <a:pt x="4654876" y="3824647"/>
                  <a:pt x="4640624" y="3812010"/>
                </a:cubicBezTo>
                <a:close/>
                <a:moveTo>
                  <a:pt x="4879027" y="3810854"/>
                </a:moveTo>
                <a:cubicBezTo>
                  <a:pt x="4893000" y="3824520"/>
                  <a:pt x="4903708" y="3817468"/>
                  <a:pt x="4922644" y="3812621"/>
                </a:cubicBezTo>
                <a:cubicBezTo>
                  <a:pt x="4916052" y="3820775"/>
                  <a:pt x="4903286" y="3827276"/>
                  <a:pt x="4891761" y="3829148"/>
                </a:cubicBezTo>
                <a:lnTo>
                  <a:pt x="4875237" y="3821224"/>
                </a:lnTo>
                <a:close/>
                <a:moveTo>
                  <a:pt x="4795627" y="3809452"/>
                </a:moveTo>
                <a:cubicBezTo>
                  <a:pt x="4806060" y="3803429"/>
                  <a:pt x="4791218" y="3825907"/>
                  <a:pt x="4799446" y="3828111"/>
                </a:cubicBezTo>
                <a:cubicBezTo>
                  <a:pt x="4797240" y="3836339"/>
                  <a:pt x="4782990" y="3823702"/>
                  <a:pt x="4772558" y="3829726"/>
                </a:cubicBezTo>
                <a:cubicBezTo>
                  <a:pt x="4772558" y="3829726"/>
                  <a:pt x="4774763" y="3821498"/>
                  <a:pt x="4776967" y="3813270"/>
                </a:cubicBezTo>
                <a:cubicBezTo>
                  <a:pt x="4774763" y="3821498"/>
                  <a:pt x="4791218" y="3825907"/>
                  <a:pt x="4793423" y="3817679"/>
                </a:cubicBezTo>
                <a:cubicBezTo>
                  <a:pt x="4793423" y="3817679"/>
                  <a:pt x="4795627" y="3809452"/>
                  <a:pt x="4795627" y="3809452"/>
                </a:cubicBezTo>
                <a:close/>
                <a:moveTo>
                  <a:pt x="4760515" y="3808862"/>
                </a:moveTo>
                <a:cubicBezTo>
                  <a:pt x="4768742" y="3811066"/>
                  <a:pt x="4764333" y="3827522"/>
                  <a:pt x="4762128" y="3835749"/>
                </a:cubicBezTo>
                <a:cubicBezTo>
                  <a:pt x="4753901" y="3833545"/>
                  <a:pt x="4753901" y="3833545"/>
                  <a:pt x="4745675" y="3831340"/>
                </a:cubicBezTo>
                <a:cubicBezTo>
                  <a:pt x="4747878" y="3823113"/>
                  <a:pt x="4758310" y="3817089"/>
                  <a:pt x="4760515" y="3808862"/>
                </a:cubicBezTo>
                <a:close/>
                <a:moveTo>
                  <a:pt x="2717787" y="3808246"/>
                </a:moveTo>
                <a:cubicBezTo>
                  <a:pt x="2730104" y="3833593"/>
                  <a:pt x="2688291" y="3811366"/>
                  <a:pt x="2685536" y="3821651"/>
                </a:cubicBezTo>
                <a:cubicBezTo>
                  <a:pt x="2682136" y="3798693"/>
                  <a:pt x="2715031" y="3818531"/>
                  <a:pt x="2717787" y="3808246"/>
                </a:cubicBezTo>
                <a:close/>
                <a:moveTo>
                  <a:pt x="5382441" y="3807960"/>
                </a:moveTo>
                <a:cubicBezTo>
                  <a:pt x="5372009" y="3813983"/>
                  <a:pt x="5361577" y="3820006"/>
                  <a:pt x="5351144" y="3826029"/>
                </a:cubicBezTo>
                <a:cubicBezTo>
                  <a:pt x="5353349" y="3817801"/>
                  <a:pt x="5355553" y="3809574"/>
                  <a:pt x="5355553" y="3809574"/>
                </a:cubicBezTo>
                <a:cubicBezTo>
                  <a:pt x="5361577" y="3820006"/>
                  <a:pt x="5374213" y="3805755"/>
                  <a:pt x="5382441" y="3807960"/>
                </a:cubicBezTo>
                <a:close/>
                <a:moveTo>
                  <a:pt x="5382441" y="3807960"/>
                </a:moveTo>
                <a:cubicBezTo>
                  <a:pt x="5391771" y="3806049"/>
                  <a:pt x="5395886" y="3807152"/>
                  <a:pt x="5398418" y="3810036"/>
                </a:cubicBezTo>
                <a:cubicBezTo>
                  <a:pt x="5400953" y="3812920"/>
                  <a:pt x="5401909" y="3817584"/>
                  <a:pt x="5404918" y="3822801"/>
                </a:cubicBezTo>
                <a:cubicBezTo>
                  <a:pt x="5394487" y="3828824"/>
                  <a:pt x="5388463" y="3818392"/>
                  <a:pt x="5378032" y="3824415"/>
                </a:cubicBezTo>
                <a:cubicBezTo>
                  <a:pt x="5382441" y="3807960"/>
                  <a:pt x="5388463" y="3818392"/>
                  <a:pt x="5382441" y="3807960"/>
                </a:cubicBezTo>
                <a:close/>
                <a:moveTo>
                  <a:pt x="5347326" y="3807369"/>
                </a:moveTo>
                <a:cubicBezTo>
                  <a:pt x="5344755" y="3816968"/>
                  <a:pt x="5335705" y="3814543"/>
                  <a:pt x="5335705" y="3814543"/>
                </a:cubicBezTo>
                <a:cubicBezTo>
                  <a:pt x="5335705" y="3814543"/>
                  <a:pt x="5333132" y="3824144"/>
                  <a:pt x="5333132" y="3824144"/>
                </a:cubicBezTo>
                <a:cubicBezTo>
                  <a:pt x="5315029" y="3819293"/>
                  <a:pt x="5303408" y="3826467"/>
                  <a:pt x="5294357" y="3824041"/>
                </a:cubicBezTo>
                <a:cubicBezTo>
                  <a:pt x="5308553" y="3807268"/>
                  <a:pt x="5326654" y="3812118"/>
                  <a:pt x="5347326" y="3807369"/>
                </a:cubicBezTo>
                <a:close/>
                <a:moveTo>
                  <a:pt x="5451762" y="3806556"/>
                </a:moveTo>
                <a:cubicBezTo>
                  <a:pt x="5455550" y="3808811"/>
                  <a:pt x="5454709" y="3818506"/>
                  <a:pt x="5461266" y="3820263"/>
                </a:cubicBezTo>
                <a:cubicBezTo>
                  <a:pt x="5470007" y="3822605"/>
                  <a:pt x="5474416" y="3806150"/>
                  <a:pt x="5483159" y="3808493"/>
                </a:cubicBezTo>
                <a:cubicBezTo>
                  <a:pt x="5480955" y="3816720"/>
                  <a:pt x="5480955" y="3816720"/>
                  <a:pt x="5487491" y="3827290"/>
                </a:cubicBezTo>
                <a:cubicBezTo>
                  <a:pt x="5470007" y="3822605"/>
                  <a:pt x="5441578" y="3823806"/>
                  <a:pt x="5413146" y="3825006"/>
                </a:cubicBezTo>
                <a:cubicBezTo>
                  <a:pt x="5424094" y="3819121"/>
                  <a:pt x="5424094" y="3819121"/>
                  <a:pt x="5415351" y="3816778"/>
                </a:cubicBezTo>
                <a:cubicBezTo>
                  <a:pt x="5426298" y="3810893"/>
                  <a:pt x="5441578" y="3823806"/>
                  <a:pt x="5445987" y="3807351"/>
                </a:cubicBezTo>
                <a:cubicBezTo>
                  <a:pt x="5448723" y="3805879"/>
                  <a:pt x="5450500" y="3805804"/>
                  <a:pt x="5451762" y="3806556"/>
                </a:cubicBezTo>
                <a:close/>
                <a:moveTo>
                  <a:pt x="4956727" y="3806300"/>
                </a:moveTo>
                <a:lnTo>
                  <a:pt x="4951176" y="3811448"/>
                </a:lnTo>
                <a:cubicBezTo>
                  <a:pt x="4943229" y="3804909"/>
                  <a:pt x="4947754" y="3806122"/>
                  <a:pt x="4953688" y="3806609"/>
                </a:cubicBezTo>
                <a:close/>
                <a:moveTo>
                  <a:pt x="5127309" y="3805733"/>
                </a:moveTo>
                <a:cubicBezTo>
                  <a:pt x="5135536" y="3807938"/>
                  <a:pt x="5135536" y="3807938"/>
                  <a:pt x="5135536" y="3807938"/>
                </a:cubicBezTo>
                <a:lnTo>
                  <a:pt x="5150942" y="3816265"/>
                </a:lnTo>
                <a:lnTo>
                  <a:pt x="5149786" y="3820574"/>
                </a:lnTo>
                <a:cubicBezTo>
                  <a:pt x="5141560" y="3818370"/>
                  <a:pt x="5139355" y="3826597"/>
                  <a:pt x="5131127" y="3824393"/>
                </a:cubicBezTo>
                <a:cubicBezTo>
                  <a:pt x="5133331" y="3816165"/>
                  <a:pt x="5133331" y="3816165"/>
                  <a:pt x="5125104" y="3813961"/>
                </a:cubicBezTo>
                <a:cubicBezTo>
                  <a:pt x="5127309" y="3805733"/>
                  <a:pt x="5127309" y="3805733"/>
                  <a:pt x="5127309" y="3805733"/>
                </a:cubicBezTo>
                <a:close/>
                <a:moveTo>
                  <a:pt x="4957631" y="3805461"/>
                </a:moveTo>
                <a:lnTo>
                  <a:pt x="4962285" y="3805640"/>
                </a:lnTo>
                <a:lnTo>
                  <a:pt x="4962257" y="3805737"/>
                </a:lnTo>
                <a:lnTo>
                  <a:pt x="4956727" y="3806300"/>
                </a:lnTo>
                <a:close/>
                <a:moveTo>
                  <a:pt x="5537444" y="3805402"/>
                </a:moveTo>
                <a:cubicBezTo>
                  <a:pt x="5546496" y="3807827"/>
                  <a:pt x="5546496" y="3807827"/>
                  <a:pt x="5546496" y="3807827"/>
                </a:cubicBezTo>
                <a:cubicBezTo>
                  <a:pt x="5544292" y="3816055"/>
                  <a:pt x="5544292" y="3816055"/>
                  <a:pt x="5542087" y="3824282"/>
                </a:cubicBezTo>
                <a:lnTo>
                  <a:pt x="5533035" y="3821857"/>
                </a:lnTo>
                <a:cubicBezTo>
                  <a:pt x="5542087" y="3824282"/>
                  <a:pt x="5544292" y="3816055"/>
                  <a:pt x="5535240" y="3813629"/>
                </a:cubicBezTo>
                <a:cubicBezTo>
                  <a:pt x="5535240" y="3813629"/>
                  <a:pt x="5535240" y="3813629"/>
                  <a:pt x="5537444" y="3805402"/>
                </a:cubicBezTo>
                <a:close/>
                <a:moveTo>
                  <a:pt x="5026077" y="3805063"/>
                </a:moveTo>
                <a:cubicBezTo>
                  <a:pt x="5034305" y="3807267"/>
                  <a:pt x="5042532" y="3809472"/>
                  <a:pt x="5050760" y="3811676"/>
                </a:cubicBezTo>
                <a:cubicBezTo>
                  <a:pt x="5048555" y="3819904"/>
                  <a:pt x="5048555" y="3819904"/>
                  <a:pt x="5046350" y="3828131"/>
                </a:cubicBezTo>
                <a:cubicBezTo>
                  <a:pt x="5040327" y="3817699"/>
                  <a:pt x="5032100" y="3815495"/>
                  <a:pt x="5026077" y="3805063"/>
                </a:cubicBezTo>
                <a:close/>
                <a:moveTo>
                  <a:pt x="5219284" y="3803923"/>
                </a:moveTo>
                <a:cubicBezTo>
                  <a:pt x="5228540" y="3806403"/>
                  <a:pt x="5214875" y="3820378"/>
                  <a:pt x="5224131" y="3822858"/>
                </a:cubicBezTo>
                <a:cubicBezTo>
                  <a:pt x="5221926" y="3831086"/>
                  <a:pt x="5203414" y="3826125"/>
                  <a:pt x="5194158" y="3823645"/>
                </a:cubicBezTo>
                <a:cubicBezTo>
                  <a:pt x="5205619" y="3817898"/>
                  <a:pt x="5196362" y="3815418"/>
                  <a:pt x="5189310" y="3804710"/>
                </a:cubicBezTo>
                <a:cubicBezTo>
                  <a:pt x="5200772" y="3798963"/>
                  <a:pt x="5205619" y="3817898"/>
                  <a:pt x="5205619" y="3817898"/>
                </a:cubicBezTo>
                <a:cubicBezTo>
                  <a:pt x="5214875" y="3820378"/>
                  <a:pt x="5219284" y="3803923"/>
                  <a:pt x="5219284" y="3803923"/>
                </a:cubicBezTo>
                <a:close/>
                <a:moveTo>
                  <a:pt x="3874443" y="3802919"/>
                </a:moveTo>
                <a:cubicBezTo>
                  <a:pt x="3885176" y="3803590"/>
                  <a:pt x="3896489" y="3806621"/>
                  <a:pt x="3901014" y="3807834"/>
                </a:cubicBezTo>
                <a:cubicBezTo>
                  <a:pt x="3889760" y="3813636"/>
                  <a:pt x="3871658" y="3808785"/>
                  <a:pt x="3851352" y="3812163"/>
                </a:cubicBezTo>
                <a:cubicBezTo>
                  <a:pt x="3853556" y="3803936"/>
                  <a:pt x="3863710" y="3802247"/>
                  <a:pt x="3874443" y="3802919"/>
                </a:cubicBezTo>
                <a:close/>
                <a:moveTo>
                  <a:pt x="4850504" y="3802109"/>
                </a:moveTo>
                <a:cubicBezTo>
                  <a:pt x="4850504" y="3802109"/>
                  <a:pt x="4847748" y="3812394"/>
                  <a:pt x="4844992" y="3822679"/>
                </a:cubicBezTo>
                <a:cubicBezTo>
                  <a:pt x="4844992" y="3822679"/>
                  <a:pt x="4847748" y="3812394"/>
                  <a:pt x="4839520" y="3810190"/>
                </a:cubicBezTo>
                <a:cubicBezTo>
                  <a:pt x="4839520" y="3810190"/>
                  <a:pt x="4836764" y="3820475"/>
                  <a:pt x="4836764" y="3820475"/>
                </a:cubicBezTo>
                <a:cubicBezTo>
                  <a:pt x="4828537" y="3818270"/>
                  <a:pt x="4842276" y="3799905"/>
                  <a:pt x="4850504" y="3802109"/>
                </a:cubicBezTo>
                <a:close/>
                <a:moveTo>
                  <a:pt x="4964637" y="3797418"/>
                </a:moveTo>
                <a:cubicBezTo>
                  <a:pt x="4973689" y="3799844"/>
                  <a:pt x="4958023" y="3822101"/>
                  <a:pt x="4976124" y="3826951"/>
                </a:cubicBezTo>
                <a:cubicBezTo>
                  <a:pt x="4964870" y="3832754"/>
                  <a:pt x="4958023" y="3822101"/>
                  <a:pt x="4948971" y="3819675"/>
                </a:cubicBezTo>
                <a:cubicBezTo>
                  <a:pt x="4951176" y="3811448"/>
                  <a:pt x="4967076" y="3824526"/>
                  <a:pt x="4962432" y="3805646"/>
                </a:cubicBezTo>
                <a:lnTo>
                  <a:pt x="4962285" y="3805640"/>
                </a:lnTo>
                <a:close/>
                <a:moveTo>
                  <a:pt x="6730833" y="3794487"/>
                </a:moveTo>
                <a:cubicBezTo>
                  <a:pt x="6787207" y="3791956"/>
                  <a:pt x="6847831" y="3808200"/>
                  <a:pt x="6901998" y="3813896"/>
                </a:cubicBezTo>
                <a:cubicBezTo>
                  <a:pt x="6845627" y="3816428"/>
                  <a:pt x="6793663" y="3802504"/>
                  <a:pt x="6730833" y="3794487"/>
                </a:cubicBezTo>
                <a:close/>
                <a:moveTo>
                  <a:pt x="3959805" y="3794100"/>
                </a:moveTo>
                <a:cubicBezTo>
                  <a:pt x="3964263" y="3793916"/>
                  <a:pt x="3970434" y="3795570"/>
                  <a:pt x="3974548" y="3796672"/>
                </a:cubicBezTo>
                <a:cubicBezTo>
                  <a:pt x="3977264" y="3819446"/>
                  <a:pt x="3958093" y="3792263"/>
                  <a:pt x="3955337" y="3802548"/>
                </a:cubicBezTo>
                <a:cubicBezTo>
                  <a:pt x="3952602" y="3796303"/>
                  <a:pt x="3955347" y="3794283"/>
                  <a:pt x="3959805" y="3794100"/>
                </a:cubicBezTo>
                <a:close/>
                <a:moveTo>
                  <a:pt x="2831649" y="3792459"/>
                </a:moveTo>
                <a:cubicBezTo>
                  <a:pt x="2837357" y="3793437"/>
                  <a:pt x="2843348" y="3795594"/>
                  <a:pt x="2849482" y="3799442"/>
                </a:cubicBezTo>
                <a:cubicBezTo>
                  <a:pt x="2820537" y="3800504"/>
                  <a:pt x="2811622" y="3798116"/>
                  <a:pt x="2791592" y="3801567"/>
                </a:cubicBezTo>
                <a:cubicBezTo>
                  <a:pt x="2799929" y="3797187"/>
                  <a:pt x="2814522" y="3789523"/>
                  <a:pt x="2831649" y="3792459"/>
                </a:cubicBezTo>
                <a:close/>
                <a:moveTo>
                  <a:pt x="4096643" y="3785296"/>
                </a:moveTo>
                <a:cubicBezTo>
                  <a:pt x="4051588" y="3782042"/>
                  <a:pt x="4027833" y="3802131"/>
                  <a:pt x="3984979" y="3790648"/>
                </a:cubicBezTo>
                <a:cubicBezTo>
                  <a:pt x="4021468" y="3791607"/>
                  <a:pt x="4043016" y="3779745"/>
                  <a:pt x="4096643" y="3785296"/>
                </a:cubicBezTo>
                <a:close/>
                <a:moveTo>
                  <a:pt x="4164962" y="3777147"/>
                </a:moveTo>
                <a:cubicBezTo>
                  <a:pt x="4151641" y="3791215"/>
                  <a:pt x="4133813" y="3786437"/>
                  <a:pt x="4104868" y="3787500"/>
                </a:cubicBezTo>
                <a:cubicBezTo>
                  <a:pt x="4127106" y="3775822"/>
                  <a:pt x="4153846" y="3782987"/>
                  <a:pt x="4164962" y="3777147"/>
                </a:cubicBezTo>
                <a:close/>
                <a:moveTo>
                  <a:pt x="6542695" y="3767774"/>
                </a:moveTo>
                <a:cubicBezTo>
                  <a:pt x="6556893" y="3766619"/>
                  <a:pt x="6581950" y="3783253"/>
                  <a:pt x="6599867" y="3768213"/>
                </a:cubicBezTo>
                <a:cubicBezTo>
                  <a:pt x="6612737" y="3789298"/>
                  <a:pt x="6671183" y="3778504"/>
                  <a:pt x="6714378" y="3790078"/>
                </a:cubicBezTo>
                <a:cubicBezTo>
                  <a:pt x="6701330" y="3804218"/>
                  <a:pt x="6677618" y="3789046"/>
                  <a:pt x="6660341" y="3784417"/>
                </a:cubicBezTo>
                <a:cubicBezTo>
                  <a:pt x="6606302" y="3778756"/>
                  <a:pt x="6578182" y="3780039"/>
                  <a:pt x="6532782" y="3776692"/>
                </a:cubicBezTo>
                <a:cubicBezTo>
                  <a:pt x="6534435" y="3770522"/>
                  <a:pt x="6537962" y="3768160"/>
                  <a:pt x="6542695" y="3767774"/>
                </a:cubicBezTo>
                <a:close/>
                <a:moveTo>
                  <a:pt x="4052042" y="3763799"/>
                </a:moveTo>
                <a:lnTo>
                  <a:pt x="4039050" y="3769864"/>
                </a:lnTo>
                <a:cubicBezTo>
                  <a:pt x="4041255" y="3761637"/>
                  <a:pt x="4047278" y="3772068"/>
                  <a:pt x="4049483" y="3763841"/>
                </a:cubicBezTo>
                <a:close/>
                <a:moveTo>
                  <a:pt x="6483417" y="3763465"/>
                </a:moveTo>
                <a:cubicBezTo>
                  <a:pt x="6494252" y="3764164"/>
                  <a:pt x="6513315" y="3767067"/>
                  <a:pt x="6526759" y="3766260"/>
                </a:cubicBezTo>
                <a:cubicBezTo>
                  <a:pt x="6526759" y="3766260"/>
                  <a:pt x="6526759" y="3766260"/>
                  <a:pt x="6524555" y="3774488"/>
                </a:cubicBezTo>
                <a:cubicBezTo>
                  <a:pt x="6516327" y="3772283"/>
                  <a:pt x="6516327" y="3772283"/>
                  <a:pt x="6508100" y="3770079"/>
                </a:cubicBezTo>
                <a:cubicBezTo>
                  <a:pt x="6516327" y="3772283"/>
                  <a:pt x="6489440" y="3773897"/>
                  <a:pt x="6489440" y="3773897"/>
                </a:cubicBezTo>
                <a:cubicBezTo>
                  <a:pt x="6469973" y="3764272"/>
                  <a:pt x="6472581" y="3762766"/>
                  <a:pt x="6483417" y="3763465"/>
                </a:cubicBezTo>
                <a:close/>
                <a:moveTo>
                  <a:pt x="6170395" y="3763363"/>
                </a:moveTo>
                <a:cubicBezTo>
                  <a:pt x="6165986" y="3779818"/>
                  <a:pt x="6159963" y="3769386"/>
                  <a:pt x="6151736" y="3767181"/>
                </a:cubicBezTo>
                <a:cubicBezTo>
                  <a:pt x="6151736" y="3767181"/>
                  <a:pt x="6159963" y="3769386"/>
                  <a:pt x="6170395" y="3763363"/>
                </a:cubicBezTo>
                <a:close/>
                <a:moveTo>
                  <a:pt x="6135281" y="3762772"/>
                </a:moveTo>
                <a:cubicBezTo>
                  <a:pt x="6130871" y="3779227"/>
                  <a:pt x="6114416" y="3774818"/>
                  <a:pt x="6108393" y="3764386"/>
                </a:cubicBezTo>
                <a:cubicBezTo>
                  <a:pt x="6116621" y="3766591"/>
                  <a:pt x="6124849" y="3768795"/>
                  <a:pt x="6135281" y="3762772"/>
                </a:cubicBezTo>
                <a:close/>
                <a:moveTo>
                  <a:pt x="3998665" y="3760145"/>
                </a:moveTo>
                <a:cubicBezTo>
                  <a:pt x="4002025" y="3759943"/>
                  <a:pt x="4006139" y="3761045"/>
                  <a:pt x="4010253" y="3762148"/>
                </a:cubicBezTo>
                <a:cubicBezTo>
                  <a:pt x="4010253" y="3762148"/>
                  <a:pt x="4008048" y="3770375"/>
                  <a:pt x="4018480" y="3764352"/>
                </a:cubicBezTo>
                <a:cubicBezTo>
                  <a:pt x="4005844" y="3778603"/>
                  <a:pt x="4002025" y="3759943"/>
                  <a:pt x="3991594" y="3765966"/>
                </a:cubicBezTo>
                <a:cubicBezTo>
                  <a:pt x="3992696" y="3761852"/>
                  <a:pt x="3995304" y="3760347"/>
                  <a:pt x="3998665" y="3760145"/>
                </a:cubicBezTo>
                <a:close/>
                <a:moveTo>
                  <a:pt x="8944273" y="3759035"/>
                </a:moveTo>
                <a:cubicBezTo>
                  <a:pt x="8950509" y="3760189"/>
                  <a:pt x="8957207" y="3762330"/>
                  <a:pt x="8964091" y="3764864"/>
                </a:cubicBezTo>
                <a:cubicBezTo>
                  <a:pt x="8977859" y="3769931"/>
                  <a:pt x="8992368" y="3776574"/>
                  <a:pt x="9005395" y="3780064"/>
                </a:cubicBezTo>
                <a:cubicBezTo>
                  <a:pt x="8985269" y="3785695"/>
                  <a:pt x="8953289" y="3766102"/>
                  <a:pt x="8927232" y="3759121"/>
                </a:cubicBezTo>
                <a:cubicBezTo>
                  <a:pt x="8932264" y="3757712"/>
                  <a:pt x="8938037" y="3757881"/>
                  <a:pt x="8944273" y="3759035"/>
                </a:cubicBezTo>
                <a:close/>
                <a:moveTo>
                  <a:pt x="4091169" y="3758597"/>
                </a:moveTo>
                <a:lnTo>
                  <a:pt x="4103257" y="3760614"/>
                </a:lnTo>
                <a:cubicBezTo>
                  <a:pt x="4106270" y="3765830"/>
                  <a:pt x="4102707" y="3762670"/>
                  <a:pt x="4097839" y="3760264"/>
                </a:cubicBezTo>
                <a:close/>
                <a:moveTo>
                  <a:pt x="4090220" y="3758360"/>
                </a:moveTo>
                <a:lnTo>
                  <a:pt x="4091169" y="3758597"/>
                </a:lnTo>
                <a:lnTo>
                  <a:pt x="4090157" y="3758428"/>
                </a:lnTo>
                <a:close/>
                <a:moveTo>
                  <a:pt x="6010398" y="3755765"/>
                </a:moveTo>
                <a:cubicBezTo>
                  <a:pt x="6022262" y="3756739"/>
                  <a:pt x="6035154" y="3757989"/>
                  <a:pt x="6044484" y="3756080"/>
                </a:cubicBezTo>
                <a:cubicBezTo>
                  <a:pt x="6031847" y="3770330"/>
                  <a:pt x="6007165" y="3763717"/>
                  <a:pt x="5982482" y="3757103"/>
                </a:cubicBezTo>
                <a:cubicBezTo>
                  <a:pt x="5987698" y="3754092"/>
                  <a:pt x="5998534" y="3754790"/>
                  <a:pt x="6010398" y="3755765"/>
                </a:cubicBezTo>
                <a:close/>
                <a:moveTo>
                  <a:pt x="4524528" y="3755551"/>
                </a:moveTo>
                <a:lnTo>
                  <a:pt x="4524848" y="3755614"/>
                </a:lnTo>
                <a:lnTo>
                  <a:pt x="4507672" y="3758119"/>
                </a:lnTo>
                <a:lnTo>
                  <a:pt x="4505663" y="3756303"/>
                </a:lnTo>
                <a:close/>
                <a:moveTo>
                  <a:pt x="4070548" y="3755157"/>
                </a:moveTo>
                <a:lnTo>
                  <a:pt x="4090157" y="3758428"/>
                </a:lnTo>
                <a:lnTo>
                  <a:pt x="4084597" y="3764432"/>
                </a:lnTo>
                <a:cubicBezTo>
                  <a:pt x="4074165" y="3770455"/>
                  <a:pt x="4076371" y="3762227"/>
                  <a:pt x="4068142" y="3760023"/>
                </a:cubicBezTo>
                <a:cubicBezTo>
                  <a:pt x="4079383" y="3767442"/>
                  <a:pt x="4073213" y="3765789"/>
                  <a:pt x="4064985" y="3763584"/>
                </a:cubicBezTo>
                <a:lnTo>
                  <a:pt x="4052042" y="3763799"/>
                </a:lnTo>
                <a:close/>
                <a:moveTo>
                  <a:pt x="6422657" y="3753293"/>
                </a:moveTo>
                <a:cubicBezTo>
                  <a:pt x="6426498" y="3754000"/>
                  <a:pt x="6430516" y="3755720"/>
                  <a:pt x="6434095" y="3757965"/>
                </a:cubicBezTo>
                <a:cubicBezTo>
                  <a:pt x="6441249" y="3762454"/>
                  <a:pt x="6446649" y="3769044"/>
                  <a:pt x="6445362" y="3773846"/>
                </a:cubicBezTo>
                <a:cubicBezTo>
                  <a:pt x="6421195" y="3757080"/>
                  <a:pt x="6418622" y="3766681"/>
                  <a:pt x="6389310" y="3769114"/>
                </a:cubicBezTo>
                <a:cubicBezTo>
                  <a:pt x="6394454" y="3749915"/>
                  <a:pt x="6418622" y="3766681"/>
                  <a:pt x="6412283" y="3754692"/>
                </a:cubicBezTo>
                <a:cubicBezTo>
                  <a:pt x="6415153" y="3752889"/>
                  <a:pt x="6418817" y="3752585"/>
                  <a:pt x="6422657" y="3753293"/>
                </a:cubicBezTo>
                <a:close/>
                <a:moveTo>
                  <a:pt x="4132347" y="3750771"/>
                </a:moveTo>
                <a:cubicBezTo>
                  <a:pt x="4142779" y="3744748"/>
                  <a:pt x="4098845" y="3777068"/>
                  <a:pt x="4105459" y="3752385"/>
                </a:cubicBezTo>
                <a:cubicBezTo>
                  <a:pt x="4113686" y="3754590"/>
                  <a:pt x="4121914" y="3756794"/>
                  <a:pt x="4132347" y="3750771"/>
                </a:cubicBezTo>
                <a:close/>
                <a:moveTo>
                  <a:pt x="5964841" y="3749666"/>
                </a:moveTo>
                <a:cubicBezTo>
                  <a:pt x="5967771" y="3750130"/>
                  <a:pt x="5970595" y="3751529"/>
                  <a:pt x="5972988" y="3753456"/>
                </a:cubicBezTo>
                <a:cubicBezTo>
                  <a:pt x="5977771" y="3757310"/>
                  <a:pt x="5980829" y="3763273"/>
                  <a:pt x="5979542" y="3768075"/>
                </a:cubicBezTo>
                <a:cubicBezTo>
                  <a:pt x="5944803" y="3758766"/>
                  <a:pt x="5924863" y="3763711"/>
                  <a:pt x="5898807" y="3756729"/>
                </a:cubicBezTo>
                <a:cubicBezTo>
                  <a:pt x="5910065" y="3749458"/>
                  <a:pt x="5956061" y="3751493"/>
                  <a:pt x="5956061" y="3751493"/>
                </a:cubicBezTo>
                <a:cubicBezTo>
                  <a:pt x="5958876" y="3749675"/>
                  <a:pt x="5961911" y="3749202"/>
                  <a:pt x="5964841" y="3749666"/>
                </a:cubicBezTo>
                <a:close/>
                <a:moveTo>
                  <a:pt x="6309848" y="3748922"/>
                </a:moveTo>
                <a:cubicBezTo>
                  <a:pt x="6314923" y="3749179"/>
                  <a:pt x="6322122" y="3751108"/>
                  <a:pt x="6331721" y="3753680"/>
                </a:cubicBezTo>
                <a:cubicBezTo>
                  <a:pt x="6329516" y="3761908"/>
                  <a:pt x="6300719" y="3754192"/>
                  <a:pt x="6300719" y="3754192"/>
                </a:cubicBezTo>
                <a:cubicBezTo>
                  <a:pt x="6301821" y="3750078"/>
                  <a:pt x="6304772" y="3748664"/>
                  <a:pt x="6309848" y="3748922"/>
                </a:cubicBezTo>
                <a:close/>
                <a:moveTo>
                  <a:pt x="4592185" y="3747120"/>
                </a:moveTo>
                <a:lnTo>
                  <a:pt x="4584305" y="3747946"/>
                </a:lnTo>
                <a:cubicBezTo>
                  <a:pt x="4576660" y="3750621"/>
                  <a:pt x="4568425" y="3755500"/>
                  <a:pt x="4561753" y="3763161"/>
                </a:cubicBezTo>
                <a:lnTo>
                  <a:pt x="4524848" y="3755614"/>
                </a:lnTo>
                <a:lnTo>
                  <a:pt x="4576174" y="3748128"/>
                </a:lnTo>
                <a:close/>
                <a:moveTo>
                  <a:pt x="4603314" y="3745954"/>
                </a:moveTo>
                <a:lnTo>
                  <a:pt x="4606495" y="3746220"/>
                </a:lnTo>
                <a:lnTo>
                  <a:pt x="4592185" y="3747120"/>
                </a:lnTo>
                <a:close/>
                <a:moveTo>
                  <a:pt x="5261335" y="3745528"/>
                </a:moveTo>
                <a:lnTo>
                  <a:pt x="5262898" y="3746536"/>
                </a:lnTo>
                <a:lnTo>
                  <a:pt x="5262164" y="3749277"/>
                </a:lnTo>
                <a:close/>
                <a:moveTo>
                  <a:pt x="4455800" y="3744850"/>
                </a:moveTo>
                <a:cubicBezTo>
                  <a:pt x="4467846" y="3765714"/>
                  <a:pt x="4414071" y="3768942"/>
                  <a:pt x="4418480" y="3752487"/>
                </a:cubicBezTo>
                <a:cubicBezTo>
                  <a:pt x="4432731" y="3765124"/>
                  <a:pt x="4443163" y="3759101"/>
                  <a:pt x="4455800" y="3744850"/>
                </a:cubicBezTo>
                <a:close/>
                <a:moveTo>
                  <a:pt x="4492797" y="3744685"/>
                </a:moveTo>
                <a:lnTo>
                  <a:pt x="4505663" y="3756303"/>
                </a:lnTo>
                <a:lnTo>
                  <a:pt x="4470836" y="3757697"/>
                </a:lnTo>
                <a:cubicBezTo>
                  <a:pt x="4458319" y="3735446"/>
                  <a:pt x="4496692" y="3764626"/>
                  <a:pt x="4492797" y="3744685"/>
                </a:cubicBezTo>
                <a:close/>
                <a:moveTo>
                  <a:pt x="8413277" y="3743759"/>
                </a:moveTo>
                <a:cubicBezTo>
                  <a:pt x="8423837" y="3745486"/>
                  <a:pt x="8436178" y="3748793"/>
                  <a:pt x="8444405" y="3750998"/>
                </a:cubicBezTo>
                <a:cubicBezTo>
                  <a:pt x="8431769" y="3765249"/>
                  <a:pt x="8411495" y="3742179"/>
                  <a:pt x="8392836" y="3745998"/>
                </a:cubicBezTo>
                <a:cubicBezTo>
                  <a:pt x="8393938" y="3741884"/>
                  <a:pt x="8402717" y="3742032"/>
                  <a:pt x="8413277" y="3743759"/>
                </a:cubicBezTo>
                <a:close/>
                <a:moveTo>
                  <a:pt x="5553981" y="3743695"/>
                </a:moveTo>
                <a:cubicBezTo>
                  <a:pt x="5553981" y="3743695"/>
                  <a:pt x="5583338" y="3742743"/>
                  <a:pt x="5601438" y="3747593"/>
                </a:cubicBezTo>
                <a:cubicBezTo>
                  <a:pt x="5590185" y="3753396"/>
                  <a:pt x="5572081" y="3748545"/>
                  <a:pt x="5553981" y="3743695"/>
                </a:cubicBezTo>
                <a:close/>
                <a:moveTo>
                  <a:pt x="5783328" y="3743423"/>
                </a:moveTo>
                <a:cubicBezTo>
                  <a:pt x="5787443" y="3744526"/>
                  <a:pt x="5794164" y="3744122"/>
                  <a:pt x="5798279" y="3745224"/>
                </a:cubicBezTo>
                <a:cubicBezTo>
                  <a:pt x="5802392" y="3746326"/>
                  <a:pt x="5803898" y="3748935"/>
                  <a:pt x="5797578" y="3756060"/>
                </a:cubicBezTo>
                <a:cubicBezTo>
                  <a:pt x="5789351" y="3753855"/>
                  <a:pt x="5772896" y="3749446"/>
                  <a:pt x="5770691" y="3757674"/>
                </a:cubicBezTo>
                <a:cubicBezTo>
                  <a:pt x="5762464" y="3755469"/>
                  <a:pt x="5754236" y="3753264"/>
                  <a:pt x="5754236" y="3753264"/>
                </a:cubicBezTo>
                <a:cubicBezTo>
                  <a:pt x="5766873" y="3739014"/>
                  <a:pt x="5770691" y="3757674"/>
                  <a:pt x="5783328" y="3743423"/>
                </a:cubicBezTo>
                <a:close/>
                <a:moveTo>
                  <a:pt x="6370140" y="3741928"/>
                </a:moveTo>
                <a:cubicBezTo>
                  <a:pt x="6375612" y="3754418"/>
                  <a:pt x="6375612" y="3754418"/>
                  <a:pt x="6372856" y="3764703"/>
                </a:cubicBezTo>
                <a:cubicBezTo>
                  <a:pt x="6364628" y="3762498"/>
                  <a:pt x="6364628" y="3762498"/>
                  <a:pt x="6356401" y="3760293"/>
                </a:cubicBezTo>
                <a:cubicBezTo>
                  <a:pt x="6359156" y="3750008"/>
                  <a:pt x="6367384" y="3752213"/>
                  <a:pt x="6370140" y="3741928"/>
                </a:cubicBezTo>
                <a:close/>
                <a:moveTo>
                  <a:pt x="4245112" y="3741306"/>
                </a:moveTo>
                <a:cubicBezTo>
                  <a:pt x="4220941" y="3765694"/>
                  <a:pt x="4198829" y="3749483"/>
                  <a:pt x="4163347" y="3750262"/>
                </a:cubicBezTo>
                <a:cubicBezTo>
                  <a:pt x="4184947" y="3735472"/>
                  <a:pt x="4215284" y="3753892"/>
                  <a:pt x="4245112" y="3741306"/>
                </a:cubicBezTo>
                <a:close/>
                <a:moveTo>
                  <a:pt x="7634296" y="3741157"/>
                </a:moveTo>
                <a:lnTo>
                  <a:pt x="7643894" y="3743729"/>
                </a:lnTo>
                <a:cubicBezTo>
                  <a:pt x="7643894" y="3743729"/>
                  <a:pt x="7640587" y="3756071"/>
                  <a:pt x="7640587" y="3756071"/>
                </a:cubicBezTo>
                <a:cubicBezTo>
                  <a:pt x="7630989" y="3753499"/>
                  <a:pt x="7630989" y="3753499"/>
                  <a:pt x="7634296" y="3741157"/>
                </a:cubicBezTo>
                <a:close/>
                <a:moveTo>
                  <a:pt x="4651136" y="3739870"/>
                </a:moveTo>
                <a:cubicBezTo>
                  <a:pt x="4648773" y="3748686"/>
                  <a:pt x="4648773" y="3748686"/>
                  <a:pt x="4646412" y="3757502"/>
                </a:cubicBezTo>
                <a:cubicBezTo>
                  <a:pt x="4638973" y="3750784"/>
                  <a:pt x="4630354" y="3748475"/>
                  <a:pt x="4622516" y="3747556"/>
                </a:cubicBezTo>
                <a:lnTo>
                  <a:pt x="4606495" y="3746220"/>
                </a:lnTo>
                <a:lnTo>
                  <a:pt x="4610970" y="3745938"/>
                </a:lnTo>
                <a:cubicBezTo>
                  <a:pt x="4623255" y="3744801"/>
                  <a:pt x="4636435" y="3743018"/>
                  <a:pt x="4651136" y="3739870"/>
                </a:cubicBezTo>
                <a:close/>
                <a:moveTo>
                  <a:pt x="6182975" y="3739865"/>
                </a:moveTo>
                <a:cubicBezTo>
                  <a:pt x="6216054" y="3737568"/>
                  <a:pt x="6264231" y="3755438"/>
                  <a:pt x="6294695" y="3743760"/>
                </a:cubicBezTo>
                <a:cubicBezTo>
                  <a:pt x="6288082" y="3768442"/>
                  <a:pt x="6249982" y="3740597"/>
                  <a:pt x="6245573" y="3757052"/>
                </a:cubicBezTo>
                <a:cubicBezTo>
                  <a:pt x="6211564" y="3747939"/>
                  <a:pt x="6183856" y="3749333"/>
                  <a:pt x="6156145" y="3750726"/>
                </a:cubicBezTo>
                <a:cubicBezTo>
                  <a:pt x="6162601" y="3743638"/>
                  <a:pt x="6171949" y="3740631"/>
                  <a:pt x="6182975" y="3739865"/>
                </a:cubicBezTo>
                <a:close/>
                <a:moveTo>
                  <a:pt x="6092983" y="3739793"/>
                </a:moveTo>
                <a:lnTo>
                  <a:pt x="6107436" y="3740727"/>
                </a:lnTo>
                <a:lnTo>
                  <a:pt x="6094979" y="3743155"/>
                </a:lnTo>
                <a:close/>
                <a:moveTo>
                  <a:pt x="6121175" y="3738048"/>
                </a:moveTo>
                <a:cubicBezTo>
                  <a:pt x="6134086" y="3740405"/>
                  <a:pt x="6148828" y="3744355"/>
                  <a:pt x="6158352" y="3742499"/>
                </a:cubicBezTo>
                <a:cubicBezTo>
                  <a:pt x="6139301" y="3746213"/>
                  <a:pt x="6130877" y="3743956"/>
                  <a:pt x="6122455" y="3741699"/>
                </a:cubicBezTo>
                <a:lnTo>
                  <a:pt x="6107436" y="3740727"/>
                </a:lnTo>
                <a:close/>
                <a:moveTo>
                  <a:pt x="4672185" y="3737932"/>
                </a:moveTo>
                <a:cubicBezTo>
                  <a:pt x="4677922" y="3736576"/>
                  <a:pt x="4686653" y="3747183"/>
                  <a:pt x="4694477" y="3742666"/>
                </a:cubicBezTo>
                <a:cubicBezTo>
                  <a:pt x="4681841" y="3756916"/>
                  <a:pt x="4678022" y="3738256"/>
                  <a:pt x="4667590" y="3744279"/>
                </a:cubicBezTo>
                <a:cubicBezTo>
                  <a:pt x="4668693" y="3740166"/>
                  <a:pt x="4670273" y="3738384"/>
                  <a:pt x="4672185" y="3737932"/>
                </a:cubicBezTo>
                <a:close/>
                <a:moveTo>
                  <a:pt x="5450882" y="3736685"/>
                </a:moveTo>
                <a:cubicBezTo>
                  <a:pt x="5478785" y="3738099"/>
                  <a:pt x="5509552" y="3741493"/>
                  <a:pt x="5545753" y="3741493"/>
                </a:cubicBezTo>
                <a:cubicBezTo>
                  <a:pt x="5517998" y="3743754"/>
                  <a:pt x="5462481" y="3748282"/>
                  <a:pt x="5428705" y="3739232"/>
                </a:cubicBezTo>
                <a:cubicBezTo>
                  <a:pt x="5409393" y="3743756"/>
                  <a:pt x="5398522" y="3750544"/>
                  <a:pt x="5373189" y="3743756"/>
                </a:cubicBezTo>
                <a:cubicBezTo>
                  <a:pt x="5397938" y="3735837"/>
                  <a:pt x="5422978" y="3735271"/>
                  <a:pt x="5450882" y="3736685"/>
                </a:cubicBezTo>
                <a:close/>
                <a:moveTo>
                  <a:pt x="5247279" y="3736470"/>
                </a:moveTo>
                <a:cubicBezTo>
                  <a:pt x="5252654" y="3733500"/>
                  <a:pt x="5256925" y="3734645"/>
                  <a:pt x="5259579" y="3737561"/>
                </a:cubicBezTo>
                <a:lnTo>
                  <a:pt x="5261335" y="3745528"/>
                </a:lnTo>
                <a:close/>
                <a:moveTo>
                  <a:pt x="6043232" y="3734112"/>
                </a:moveTo>
                <a:lnTo>
                  <a:pt x="6047102" y="3734676"/>
                </a:lnTo>
                <a:lnTo>
                  <a:pt x="6042233" y="3737840"/>
                </a:lnTo>
                <a:lnTo>
                  <a:pt x="6039511" y="3735493"/>
                </a:lnTo>
                <a:close/>
                <a:moveTo>
                  <a:pt x="5217103" y="3733895"/>
                </a:moveTo>
                <a:cubicBezTo>
                  <a:pt x="5219436" y="3733418"/>
                  <a:pt x="5221494" y="3733969"/>
                  <a:pt x="5224504" y="3739186"/>
                </a:cubicBezTo>
                <a:cubicBezTo>
                  <a:pt x="5224504" y="3739186"/>
                  <a:pt x="5222299" y="3747414"/>
                  <a:pt x="5205844" y="3743005"/>
                </a:cubicBezTo>
                <a:cubicBezTo>
                  <a:pt x="5205844" y="3743005"/>
                  <a:pt x="5208049" y="3734777"/>
                  <a:pt x="5208049" y="3734777"/>
                </a:cubicBezTo>
                <a:cubicBezTo>
                  <a:pt x="5212164" y="3735880"/>
                  <a:pt x="5214773" y="3734374"/>
                  <a:pt x="5217103" y="3733895"/>
                </a:cubicBezTo>
                <a:close/>
                <a:moveTo>
                  <a:pt x="4390517" y="3733679"/>
                </a:moveTo>
                <a:lnTo>
                  <a:pt x="4386808" y="3735182"/>
                </a:lnTo>
                <a:lnTo>
                  <a:pt x="4381242" y="3734877"/>
                </a:lnTo>
                <a:close/>
                <a:moveTo>
                  <a:pt x="5266573" y="3732822"/>
                </a:moveTo>
                <a:cubicBezTo>
                  <a:pt x="5309291" y="3744269"/>
                  <a:pt x="5311496" y="3736041"/>
                  <a:pt x="5339335" y="3734682"/>
                </a:cubicBezTo>
                <a:cubicBezTo>
                  <a:pt x="5343604" y="3735826"/>
                  <a:pt x="5350564" y="3735486"/>
                  <a:pt x="5355905" y="3736917"/>
                </a:cubicBezTo>
                <a:cubicBezTo>
                  <a:pt x="5361246" y="3738348"/>
                  <a:pt x="5364965" y="3741550"/>
                  <a:pt x="5362760" y="3749777"/>
                </a:cubicBezTo>
                <a:cubicBezTo>
                  <a:pt x="5356421" y="3739261"/>
                  <a:pt x="5328586" y="3740620"/>
                  <a:pt x="5337130" y="3742910"/>
                </a:cubicBezTo>
                <a:cubicBezTo>
                  <a:pt x="5317835" y="3746558"/>
                  <a:pt x="5292204" y="3739690"/>
                  <a:pt x="5270708" y="3751567"/>
                </a:cubicBezTo>
                <a:lnTo>
                  <a:pt x="5262898" y="3746536"/>
                </a:lnTo>
                <a:close/>
                <a:moveTo>
                  <a:pt x="4917802" y="3731959"/>
                </a:moveTo>
                <a:cubicBezTo>
                  <a:pt x="4923825" y="3742391"/>
                  <a:pt x="4926029" y="3734164"/>
                  <a:pt x="4942485" y="3738573"/>
                </a:cubicBezTo>
                <a:cubicBezTo>
                  <a:pt x="4940281" y="3746801"/>
                  <a:pt x="4923825" y="3742391"/>
                  <a:pt x="4921621" y="3750619"/>
                </a:cubicBezTo>
                <a:cubicBezTo>
                  <a:pt x="4923825" y="3742391"/>
                  <a:pt x="4915598" y="3740187"/>
                  <a:pt x="4917802" y="3731959"/>
                </a:cubicBezTo>
                <a:close/>
                <a:moveTo>
                  <a:pt x="1840268" y="3731844"/>
                </a:moveTo>
                <a:cubicBezTo>
                  <a:pt x="1856723" y="3736253"/>
                  <a:pt x="1854519" y="3744480"/>
                  <a:pt x="1873178" y="3740662"/>
                </a:cubicBezTo>
                <a:cubicBezTo>
                  <a:pt x="1870974" y="3748889"/>
                  <a:pt x="1862746" y="3746685"/>
                  <a:pt x="1870974" y="3748889"/>
                </a:cubicBezTo>
                <a:cubicBezTo>
                  <a:pt x="1854519" y="3744480"/>
                  <a:pt x="1835859" y="3748299"/>
                  <a:pt x="1840268" y="3731844"/>
                </a:cubicBezTo>
                <a:close/>
                <a:moveTo>
                  <a:pt x="4817856" y="3731634"/>
                </a:moveTo>
                <a:cubicBezTo>
                  <a:pt x="4826342" y="3733908"/>
                  <a:pt x="4817856" y="3731634"/>
                  <a:pt x="4815652" y="3739861"/>
                </a:cubicBezTo>
                <a:cubicBezTo>
                  <a:pt x="4843311" y="3738454"/>
                  <a:pt x="4892347" y="3725139"/>
                  <a:pt x="4915598" y="3740187"/>
                </a:cubicBezTo>
                <a:lnTo>
                  <a:pt x="4768821" y="3744950"/>
                </a:lnTo>
                <a:cubicBezTo>
                  <a:pt x="4759565" y="3742469"/>
                  <a:pt x="4750309" y="3739989"/>
                  <a:pt x="4748104" y="3748217"/>
                </a:cubicBezTo>
                <a:cubicBezTo>
                  <a:pt x="4731797" y="3735029"/>
                  <a:pt x="4759565" y="3742469"/>
                  <a:pt x="4761771" y="3734242"/>
                </a:cubicBezTo>
                <a:lnTo>
                  <a:pt x="4768822" y="3744947"/>
                </a:lnTo>
                <a:lnTo>
                  <a:pt x="4782691" y="3739847"/>
                </a:lnTo>
                <a:cubicBezTo>
                  <a:pt x="4785872" y="3740700"/>
                  <a:pt x="4787995" y="3741269"/>
                  <a:pt x="4790199" y="3733041"/>
                </a:cubicBezTo>
                <a:cubicBezTo>
                  <a:pt x="4798683" y="3735315"/>
                  <a:pt x="4798683" y="3735315"/>
                  <a:pt x="4796479" y="3743542"/>
                </a:cubicBezTo>
                <a:cubicBezTo>
                  <a:pt x="4813447" y="3748089"/>
                  <a:pt x="4809371" y="3729360"/>
                  <a:pt x="4817856" y="3731634"/>
                </a:cubicBezTo>
                <a:close/>
                <a:moveTo>
                  <a:pt x="4406434" y="3731623"/>
                </a:moveTo>
                <a:lnTo>
                  <a:pt x="4390517" y="3733679"/>
                </a:lnTo>
                <a:lnTo>
                  <a:pt x="4393355" y="3732526"/>
                </a:lnTo>
                <a:cubicBezTo>
                  <a:pt x="4394996" y="3730763"/>
                  <a:pt x="4397725" y="3729289"/>
                  <a:pt x="4406434" y="3731623"/>
                </a:cubicBezTo>
                <a:close/>
                <a:moveTo>
                  <a:pt x="4314348" y="3731198"/>
                </a:moveTo>
                <a:lnTo>
                  <a:pt x="4381242" y="3734877"/>
                </a:lnTo>
                <a:lnTo>
                  <a:pt x="4331482" y="3741299"/>
                </a:lnTo>
                <a:cubicBezTo>
                  <a:pt x="4303967" y="3739440"/>
                  <a:pt x="4274555" y="3735966"/>
                  <a:pt x="4245112" y="3741306"/>
                </a:cubicBezTo>
                <a:cubicBezTo>
                  <a:pt x="4264741" y="3737747"/>
                  <a:pt x="4289274" y="3733298"/>
                  <a:pt x="4314348" y="3731198"/>
                </a:cubicBezTo>
                <a:close/>
                <a:moveTo>
                  <a:pt x="5191594" y="3730368"/>
                </a:moveTo>
                <a:cubicBezTo>
                  <a:pt x="5199821" y="3732573"/>
                  <a:pt x="5197617" y="3740800"/>
                  <a:pt x="5203639" y="3751232"/>
                </a:cubicBezTo>
                <a:cubicBezTo>
                  <a:pt x="5181162" y="3736391"/>
                  <a:pt x="5158093" y="3756664"/>
                  <a:pt x="5127388" y="3739619"/>
                </a:cubicBezTo>
                <a:cubicBezTo>
                  <a:pt x="5150456" y="3719345"/>
                  <a:pt x="5178957" y="3744618"/>
                  <a:pt x="5191594" y="3730368"/>
                </a:cubicBezTo>
                <a:close/>
                <a:moveTo>
                  <a:pt x="5909208" y="3730042"/>
                </a:moveTo>
                <a:lnTo>
                  <a:pt x="5914751" y="3730136"/>
                </a:lnTo>
                <a:cubicBezTo>
                  <a:pt x="5914751" y="3730136"/>
                  <a:pt x="5914200" y="3732194"/>
                  <a:pt x="5912895" y="3732947"/>
                </a:cubicBezTo>
                <a:close/>
                <a:moveTo>
                  <a:pt x="6012249" y="3727602"/>
                </a:moveTo>
                <a:cubicBezTo>
                  <a:pt x="6019645" y="3727379"/>
                  <a:pt x="6026639" y="3727599"/>
                  <a:pt x="6032035" y="3729045"/>
                </a:cubicBezTo>
                <a:lnTo>
                  <a:pt x="6039511" y="3735493"/>
                </a:lnTo>
                <a:lnTo>
                  <a:pt x="6023182" y="3741554"/>
                </a:lnTo>
                <a:cubicBezTo>
                  <a:pt x="6004131" y="3745267"/>
                  <a:pt x="6000116" y="3726555"/>
                  <a:pt x="5995707" y="3743010"/>
                </a:cubicBezTo>
                <a:cubicBezTo>
                  <a:pt x="5987282" y="3740753"/>
                  <a:pt x="5991691" y="3724298"/>
                  <a:pt x="5987282" y="3740753"/>
                </a:cubicBezTo>
                <a:cubicBezTo>
                  <a:pt x="5981065" y="3730269"/>
                  <a:pt x="5989487" y="3732525"/>
                  <a:pt x="5972641" y="3728011"/>
                </a:cubicBezTo>
                <a:cubicBezTo>
                  <a:pt x="5981064" y="3730268"/>
                  <a:pt x="5997459" y="3728048"/>
                  <a:pt x="6012249" y="3727602"/>
                </a:cubicBezTo>
                <a:close/>
                <a:moveTo>
                  <a:pt x="5938077" y="3725363"/>
                </a:moveTo>
                <a:lnTo>
                  <a:pt x="5938788" y="3725995"/>
                </a:lnTo>
                <a:lnTo>
                  <a:pt x="5931206" y="3734545"/>
                </a:lnTo>
                <a:cubicBezTo>
                  <a:pt x="5933411" y="3726318"/>
                  <a:pt x="5936020" y="3724812"/>
                  <a:pt x="5938077" y="3725363"/>
                </a:cubicBezTo>
                <a:close/>
                <a:moveTo>
                  <a:pt x="5029445" y="3724082"/>
                </a:moveTo>
                <a:cubicBezTo>
                  <a:pt x="5033381" y="3744034"/>
                  <a:pt x="5072749" y="3735685"/>
                  <a:pt x="5083771" y="3729193"/>
                </a:cubicBezTo>
                <a:cubicBezTo>
                  <a:pt x="5088493" y="3737543"/>
                  <a:pt x="5108277" y="3728671"/>
                  <a:pt x="5118535" y="3735850"/>
                </a:cubicBezTo>
                <a:cubicBezTo>
                  <a:pt x="5121955" y="3738241"/>
                  <a:pt x="5124318" y="3742418"/>
                  <a:pt x="5124711" y="3749608"/>
                </a:cubicBezTo>
                <a:cubicBezTo>
                  <a:pt x="5064089" y="3733365"/>
                  <a:pt x="5005038" y="3745888"/>
                  <a:pt x="4950712" y="3740780"/>
                </a:cubicBezTo>
                <a:cubicBezTo>
                  <a:pt x="4972756" y="3727790"/>
                  <a:pt x="5005038" y="3745888"/>
                  <a:pt x="5029445" y="3724082"/>
                </a:cubicBezTo>
                <a:close/>
                <a:moveTo>
                  <a:pt x="6082542" y="3722186"/>
                </a:moveTo>
                <a:lnTo>
                  <a:pt x="6092983" y="3739793"/>
                </a:lnTo>
                <a:lnTo>
                  <a:pt x="6073644" y="3738541"/>
                </a:lnTo>
                <a:lnTo>
                  <a:pt x="6047102" y="3734676"/>
                </a:lnTo>
                <a:lnTo>
                  <a:pt x="6052141" y="3731401"/>
                </a:lnTo>
                <a:cubicBezTo>
                  <a:pt x="6062275" y="3728330"/>
                  <a:pt x="6072917" y="3732835"/>
                  <a:pt x="6082542" y="3722186"/>
                </a:cubicBezTo>
                <a:close/>
                <a:moveTo>
                  <a:pt x="4435527" y="3721781"/>
                </a:moveTo>
                <a:cubicBezTo>
                  <a:pt x="4441550" y="3732214"/>
                  <a:pt x="4441550" y="3732214"/>
                  <a:pt x="4449777" y="3734418"/>
                </a:cubicBezTo>
                <a:cubicBezTo>
                  <a:pt x="4425095" y="3727804"/>
                  <a:pt x="4426708" y="3754692"/>
                  <a:pt x="4416867" y="3725600"/>
                </a:cubicBezTo>
                <a:cubicBezTo>
                  <a:pt x="4425095" y="3727804"/>
                  <a:pt x="4433321" y="3730009"/>
                  <a:pt x="4435527" y="3721781"/>
                </a:cubicBezTo>
                <a:close/>
                <a:moveTo>
                  <a:pt x="4463938" y="3721678"/>
                </a:moveTo>
                <a:cubicBezTo>
                  <a:pt x="4477877" y="3722106"/>
                  <a:pt x="4496278" y="3733651"/>
                  <a:pt x="4505757" y="3722963"/>
                </a:cubicBezTo>
                <a:cubicBezTo>
                  <a:pt x="4513983" y="3725167"/>
                  <a:pt x="4511779" y="3733395"/>
                  <a:pt x="4511779" y="3733395"/>
                </a:cubicBezTo>
                <a:cubicBezTo>
                  <a:pt x="4493119" y="3737213"/>
                  <a:pt x="4468436" y="3730600"/>
                  <a:pt x="4451981" y="3726191"/>
                </a:cubicBezTo>
                <a:cubicBezTo>
                  <a:pt x="4455141" y="3722628"/>
                  <a:pt x="4459291" y="3721536"/>
                  <a:pt x="4463938" y="3721678"/>
                </a:cubicBezTo>
                <a:close/>
                <a:moveTo>
                  <a:pt x="5943843" y="3720295"/>
                </a:moveTo>
                <a:lnTo>
                  <a:pt x="5941638" y="3728522"/>
                </a:lnTo>
                <a:lnTo>
                  <a:pt x="5938788" y="3725995"/>
                </a:lnTo>
                <a:close/>
                <a:moveTo>
                  <a:pt x="5818268" y="3719992"/>
                </a:moveTo>
                <a:cubicBezTo>
                  <a:pt x="5828214" y="3718523"/>
                  <a:pt x="5837816" y="3718340"/>
                  <a:pt x="5846729" y="3720728"/>
                </a:cubicBezTo>
                <a:cubicBezTo>
                  <a:pt x="5823391" y="3736522"/>
                  <a:pt x="5814477" y="3734133"/>
                  <a:pt x="5787737" y="3726968"/>
                </a:cubicBezTo>
                <a:cubicBezTo>
                  <a:pt x="5798029" y="3724214"/>
                  <a:pt x="5808321" y="3721460"/>
                  <a:pt x="5818268" y="3719992"/>
                </a:cubicBezTo>
                <a:close/>
                <a:moveTo>
                  <a:pt x="5873614" y="3719114"/>
                </a:moveTo>
                <a:cubicBezTo>
                  <a:pt x="5878831" y="3716101"/>
                  <a:pt x="5885002" y="3717754"/>
                  <a:pt x="5890896" y="3720436"/>
                </a:cubicBezTo>
                <a:cubicBezTo>
                  <a:pt x="5896792" y="3723119"/>
                  <a:pt x="5902411" y="3726830"/>
                  <a:pt x="5906524" y="3727932"/>
                </a:cubicBezTo>
                <a:lnTo>
                  <a:pt x="5909208" y="3730042"/>
                </a:lnTo>
                <a:lnTo>
                  <a:pt x="5892806" y="3729766"/>
                </a:lnTo>
                <a:cubicBezTo>
                  <a:pt x="5882797" y="3725982"/>
                  <a:pt x="5872512" y="3723226"/>
                  <a:pt x="5869205" y="3735569"/>
                </a:cubicBezTo>
                <a:cubicBezTo>
                  <a:pt x="5852750" y="3731159"/>
                  <a:pt x="5879636" y="3729546"/>
                  <a:pt x="5873614" y="3719114"/>
                </a:cubicBezTo>
                <a:close/>
                <a:moveTo>
                  <a:pt x="5865386" y="3716909"/>
                </a:moveTo>
                <a:cubicBezTo>
                  <a:pt x="5871042" y="3728712"/>
                  <a:pt x="5857670" y="3745707"/>
                  <a:pt x="5843787" y="3731699"/>
                </a:cubicBezTo>
                <a:cubicBezTo>
                  <a:pt x="5848931" y="3712500"/>
                  <a:pt x="5854587" y="3724303"/>
                  <a:pt x="5865386" y="3716909"/>
                </a:cubicBezTo>
                <a:close/>
                <a:moveTo>
                  <a:pt x="4906017" y="3716495"/>
                </a:moveTo>
                <a:lnTo>
                  <a:pt x="4906499" y="3716883"/>
                </a:lnTo>
                <a:lnTo>
                  <a:pt x="4904082" y="3719468"/>
                </a:lnTo>
                <a:cubicBezTo>
                  <a:pt x="4905246" y="3715125"/>
                  <a:pt x="4905246" y="3715125"/>
                  <a:pt x="4906017" y="3716495"/>
                </a:cubicBezTo>
                <a:close/>
                <a:moveTo>
                  <a:pt x="5504235" y="3716259"/>
                </a:moveTo>
                <a:lnTo>
                  <a:pt x="5497820" y="3719831"/>
                </a:lnTo>
                <a:lnTo>
                  <a:pt x="5496032" y="3716327"/>
                </a:lnTo>
                <a:close/>
                <a:moveTo>
                  <a:pt x="5708399" y="3714528"/>
                </a:moveTo>
                <a:cubicBezTo>
                  <a:pt x="5715450" y="3725235"/>
                  <a:pt x="5719860" y="3708780"/>
                  <a:pt x="5736167" y="3721968"/>
                </a:cubicBezTo>
                <a:cubicBezTo>
                  <a:pt x="5733963" y="3730196"/>
                  <a:pt x="5715450" y="3725235"/>
                  <a:pt x="5703989" y="3730983"/>
                </a:cubicBezTo>
                <a:cubicBezTo>
                  <a:pt x="5696938" y="3720275"/>
                  <a:pt x="5699142" y="3712047"/>
                  <a:pt x="5708399" y="3714528"/>
                </a:cubicBezTo>
                <a:close/>
                <a:moveTo>
                  <a:pt x="5755177" y="3712730"/>
                </a:moveTo>
                <a:cubicBezTo>
                  <a:pt x="5755562" y="3715406"/>
                  <a:pt x="5754276" y="3720205"/>
                  <a:pt x="5752990" y="3725007"/>
                </a:cubicBezTo>
                <a:cubicBezTo>
                  <a:pt x="5744762" y="3722802"/>
                  <a:pt x="5742190" y="3732400"/>
                  <a:pt x="5733963" y="3730196"/>
                </a:cubicBezTo>
                <a:cubicBezTo>
                  <a:pt x="5739107" y="3710997"/>
                  <a:pt x="5744762" y="3722802"/>
                  <a:pt x="5747335" y="3713201"/>
                </a:cubicBezTo>
                <a:cubicBezTo>
                  <a:pt x="5752736" y="3709505"/>
                  <a:pt x="5754793" y="3710056"/>
                  <a:pt x="5755177" y="3712730"/>
                </a:cubicBezTo>
                <a:close/>
                <a:moveTo>
                  <a:pt x="5026343" y="3711645"/>
                </a:moveTo>
                <a:lnTo>
                  <a:pt x="5059619" y="3712275"/>
                </a:lnTo>
                <a:lnTo>
                  <a:pt x="5071546" y="3711744"/>
                </a:lnTo>
                <a:lnTo>
                  <a:pt x="5056912" y="3713877"/>
                </a:lnTo>
                <a:cubicBezTo>
                  <a:pt x="5049480" y="3711886"/>
                  <a:pt x="5043110" y="3710179"/>
                  <a:pt x="5040784" y="3718863"/>
                </a:cubicBezTo>
                <a:close/>
                <a:moveTo>
                  <a:pt x="5025732" y="3711340"/>
                </a:moveTo>
                <a:lnTo>
                  <a:pt x="5026343" y="3711645"/>
                </a:lnTo>
                <a:lnTo>
                  <a:pt x="5022307" y="3711569"/>
                </a:lnTo>
                <a:close/>
                <a:moveTo>
                  <a:pt x="5079410" y="3710596"/>
                </a:moveTo>
                <a:lnTo>
                  <a:pt x="5080372" y="3711351"/>
                </a:lnTo>
                <a:lnTo>
                  <a:pt x="5071546" y="3711744"/>
                </a:lnTo>
                <a:close/>
                <a:moveTo>
                  <a:pt x="5104869" y="3710260"/>
                </a:moveTo>
                <a:lnTo>
                  <a:pt x="5090695" y="3719438"/>
                </a:lnTo>
                <a:lnTo>
                  <a:pt x="5080372" y="3711351"/>
                </a:lnTo>
                <a:close/>
                <a:moveTo>
                  <a:pt x="5590145" y="3709294"/>
                </a:moveTo>
                <a:cubicBezTo>
                  <a:pt x="5605310" y="3722176"/>
                  <a:pt x="5633569" y="3720929"/>
                  <a:pt x="5644456" y="3715028"/>
                </a:cubicBezTo>
                <a:cubicBezTo>
                  <a:pt x="5640047" y="3731483"/>
                  <a:pt x="5644456" y="3715028"/>
                  <a:pt x="5661826" y="3719682"/>
                </a:cubicBezTo>
                <a:cubicBezTo>
                  <a:pt x="5637843" y="3739711"/>
                  <a:pt x="5616198" y="3716275"/>
                  <a:pt x="5585736" y="3725749"/>
                </a:cubicBezTo>
                <a:cubicBezTo>
                  <a:pt x="5577050" y="3723421"/>
                  <a:pt x="5590145" y="3709294"/>
                  <a:pt x="5590145" y="3709294"/>
                </a:cubicBezTo>
                <a:close/>
                <a:moveTo>
                  <a:pt x="5107215" y="3708739"/>
                </a:moveTo>
                <a:lnTo>
                  <a:pt x="5107892" y="3710123"/>
                </a:lnTo>
                <a:lnTo>
                  <a:pt x="5104869" y="3710260"/>
                </a:lnTo>
                <a:close/>
                <a:moveTo>
                  <a:pt x="5766362" y="3708012"/>
                </a:moveTo>
                <a:cubicBezTo>
                  <a:pt x="5774589" y="3710216"/>
                  <a:pt x="5782817" y="3712421"/>
                  <a:pt x="5782817" y="3712421"/>
                </a:cubicBezTo>
                <a:cubicBezTo>
                  <a:pt x="5785533" y="3735196"/>
                  <a:pt x="5760850" y="3728582"/>
                  <a:pt x="5766362" y="3708012"/>
                </a:cubicBezTo>
                <a:close/>
                <a:moveTo>
                  <a:pt x="5519200" y="3707923"/>
                </a:moveTo>
                <a:lnTo>
                  <a:pt x="5516995" y="3716151"/>
                </a:lnTo>
                <a:lnTo>
                  <a:pt x="5504235" y="3716259"/>
                </a:lnTo>
                <a:close/>
                <a:moveTo>
                  <a:pt x="5171321" y="3707299"/>
                </a:moveTo>
                <a:cubicBezTo>
                  <a:pt x="5160502" y="3713708"/>
                  <a:pt x="5158174" y="3722394"/>
                  <a:pt x="5149680" y="3720118"/>
                </a:cubicBezTo>
                <a:cubicBezTo>
                  <a:pt x="5159540" y="3708798"/>
                  <a:pt x="5123329" y="3716548"/>
                  <a:pt x="5110154" y="3714762"/>
                </a:cubicBezTo>
                <a:lnTo>
                  <a:pt x="5107892" y="3710123"/>
                </a:lnTo>
                <a:close/>
                <a:moveTo>
                  <a:pt x="5581458" y="3706969"/>
                </a:moveTo>
                <a:cubicBezTo>
                  <a:pt x="5579253" y="3715196"/>
                  <a:pt x="5579253" y="3715196"/>
                  <a:pt x="5577049" y="3723424"/>
                </a:cubicBezTo>
                <a:cubicBezTo>
                  <a:pt x="5568822" y="3721219"/>
                  <a:pt x="5562798" y="3710787"/>
                  <a:pt x="5558390" y="3727242"/>
                </a:cubicBezTo>
                <a:cubicBezTo>
                  <a:pt x="5552367" y="3716810"/>
                  <a:pt x="5544139" y="3714606"/>
                  <a:pt x="5535912" y="3712401"/>
                </a:cubicBezTo>
                <a:cubicBezTo>
                  <a:pt x="5552367" y="3716810"/>
                  <a:pt x="5562798" y="3710787"/>
                  <a:pt x="5581458" y="3706969"/>
                </a:cubicBezTo>
                <a:close/>
                <a:moveTo>
                  <a:pt x="8434560" y="3704955"/>
                </a:moveTo>
                <a:cubicBezTo>
                  <a:pt x="8437107" y="3705224"/>
                  <a:pt x="8440381" y="3706377"/>
                  <a:pt x="8443842" y="3707856"/>
                </a:cubicBezTo>
                <a:cubicBezTo>
                  <a:pt x="8450766" y="3710813"/>
                  <a:pt x="8458442" y="3715075"/>
                  <a:pt x="8462554" y="3716177"/>
                </a:cubicBezTo>
                <a:cubicBezTo>
                  <a:pt x="8452122" y="3722200"/>
                  <a:pt x="8427439" y="3715586"/>
                  <a:pt x="8429644" y="3707359"/>
                </a:cubicBezTo>
                <a:cubicBezTo>
                  <a:pt x="8430196" y="3705301"/>
                  <a:pt x="8432014" y="3704686"/>
                  <a:pt x="8434560" y="3704955"/>
                </a:cubicBezTo>
                <a:close/>
                <a:moveTo>
                  <a:pt x="4945036" y="3702517"/>
                </a:moveTo>
                <a:cubicBezTo>
                  <a:pt x="4962022" y="3707069"/>
                  <a:pt x="4980651" y="3709733"/>
                  <a:pt x="5000042" y="3711147"/>
                </a:cubicBezTo>
                <a:lnTo>
                  <a:pt x="5022307" y="3711569"/>
                </a:lnTo>
                <a:lnTo>
                  <a:pt x="5015305" y="3712036"/>
                </a:lnTo>
                <a:cubicBezTo>
                  <a:pt x="4987500" y="3713896"/>
                  <a:pt x="4951201" y="3713476"/>
                  <a:pt x="4929560" y="3726294"/>
                </a:cubicBezTo>
                <a:cubicBezTo>
                  <a:pt x="4923396" y="3715333"/>
                  <a:pt x="4925723" y="3706649"/>
                  <a:pt x="4912576" y="3721744"/>
                </a:cubicBezTo>
                <a:lnTo>
                  <a:pt x="4906499" y="3716883"/>
                </a:lnTo>
                <a:lnTo>
                  <a:pt x="4913651" y="3709233"/>
                </a:lnTo>
                <a:cubicBezTo>
                  <a:pt x="4922435" y="3710423"/>
                  <a:pt x="4933051" y="3713268"/>
                  <a:pt x="4934215" y="3708925"/>
                </a:cubicBezTo>
                <a:cubicBezTo>
                  <a:pt x="4934215" y="3708925"/>
                  <a:pt x="4934215" y="3708925"/>
                  <a:pt x="4931888" y="3717608"/>
                </a:cubicBezTo>
                <a:cubicBezTo>
                  <a:pt x="4934215" y="3708925"/>
                  <a:pt x="4942709" y="3711201"/>
                  <a:pt x="4945036" y="3702517"/>
                </a:cubicBezTo>
                <a:close/>
                <a:moveTo>
                  <a:pt x="5282984" y="3701947"/>
                </a:moveTo>
                <a:cubicBezTo>
                  <a:pt x="5278575" y="3718402"/>
                  <a:pt x="5261205" y="3713747"/>
                  <a:pt x="5250317" y="3719648"/>
                </a:cubicBezTo>
                <a:cubicBezTo>
                  <a:pt x="5241630" y="3717321"/>
                  <a:pt x="5252521" y="3711421"/>
                  <a:pt x="5252521" y="3711421"/>
                </a:cubicBezTo>
                <a:cubicBezTo>
                  <a:pt x="5241630" y="3717321"/>
                  <a:pt x="5226468" y="3704440"/>
                  <a:pt x="5222059" y="3720895"/>
                </a:cubicBezTo>
                <a:cubicBezTo>
                  <a:pt x="5211302" y="3691558"/>
                  <a:pt x="5200280" y="3732695"/>
                  <a:pt x="5198207" y="3705685"/>
                </a:cubicBezTo>
                <a:cubicBezTo>
                  <a:pt x="5235151" y="3706766"/>
                  <a:pt x="5252521" y="3711421"/>
                  <a:pt x="5282984" y="3701947"/>
                </a:cubicBezTo>
                <a:close/>
                <a:moveTo>
                  <a:pt x="5181752" y="3701276"/>
                </a:moveTo>
                <a:cubicBezTo>
                  <a:pt x="5189980" y="3703481"/>
                  <a:pt x="5187775" y="3711708"/>
                  <a:pt x="5185571" y="3719936"/>
                </a:cubicBezTo>
                <a:cubicBezTo>
                  <a:pt x="5177344" y="3717731"/>
                  <a:pt x="5169116" y="3715527"/>
                  <a:pt x="5166911" y="3723754"/>
                </a:cubicBezTo>
                <a:cubicBezTo>
                  <a:pt x="5152661" y="3711118"/>
                  <a:pt x="5185571" y="3719936"/>
                  <a:pt x="5181752" y="3701276"/>
                </a:cubicBezTo>
                <a:close/>
                <a:moveTo>
                  <a:pt x="5493746" y="3701103"/>
                </a:moveTo>
                <a:cubicBezTo>
                  <a:pt x="5493746" y="3701103"/>
                  <a:pt x="5492643" y="3705215"/>
                  <a:pt x="5492604" y="3709615"/>
                </a:cubicBezTo>
                <a:lnTo>
                  <a:pt x="5496032" y="3716327"/>
                </a:lnTo>
                <a:lnTo>
                  <a:pt x="5453193" y="3716691"/>
                </a:lnTo>
                <a:cubicBezTo>
                  <a:pt x="5433000" y="3715689"/>
                  <a:pt x="5412807" y="3714688"/>
                  <a:pt x="5389390" y="3717232"/>
                </a:cubicBezTo>
                <a:cubicBezTo>
                  <a:pt x="5380905" y="3714959"/>
                  <a:pt x="5380905" y="3714959"/>
                  <a:pt x="5380905" y="3714959"/>
                </a:cubicBezTo>
                <a:cubicBezTo>
                  <a:pt x="5383110" y="3706731"/>
                  <a:pt x="5383110" y="3706731"/>
                  <a:pt x="5383110" y="3706731"/>
                </a:cubicBezTo>
                <a:cubicBezTo>
                  <a:pt x="5419254" y="3707597"/>
                  <a:pt x="5444708" y="3714418"/>
                  <a:pt x="5493746" y="3701103"/>
                </a:cubicBezTo>
                <a:close/>
                <a:moveTo>
                  <a:pt x="5365872" y="3701007"/>
                </a:moveTo>
                <a:cubicBezTo>
                  <a:pt x="5370693" y="3704228"/>
                  <a:pt x="5376960" y="3719411"/>
                  <a:pt x="5367317" y="3724543"/>
                </a:cubicBezTo>
                <a:cubicBezTo>
                  <a:pt x="5367317" y="3724543"/>
                  <a:pt x="5372461" y="3705344"/>
                  <a:pt x="5362176" y="3702588"/>
                </a:cubicBezTo>
                <a:cubicBezTo>
                  <a:pt x="5362819" y="3700189"/>
                  <a:pt x="5364265" y="3699933"/>
                  <a:pt x="5365872" y="3701007"/>
                </a:cubicBezTo>
                <a:close/>
                <a:moveTo>
                  <a:pt x="5319201" y="3698422"/>
                </a:moveTo>
                <a:cubicBezTo>
                  <a:pt x="5316629" y="3708021"/>
                  <a:pt x="5324857" y="3710225"/>
                  <a:pt x="5324857" y="3710225"/>
                </a:cubicBezTo>
                <a:cubicBezTo>
                  <a:pt x="5335656" y="3702831"/>
                  <a:pt x="5341312" y="3714634"/>
                  <a:pt x="5352111" y="3707240"/>
                </a:cubicBezTo>
                <a:cubicBezTo>
                  <a:pt x="5360339" y="3709445"/>
                  <a:pt x="5360339" y="3709445"/>
                  <a:pt x="5357767" y="3719043"/>
                </a:cubicBezTo>
                <a:cubicBezTo>
                  <a:pt x="5349540" y="3716839"/>
                  <a:pt x="5333084" y="3712430"/>
                  <a:pt x="5330512" y="3722031"/>
                </a:cubicBezTo>
                <a:cubicBezTo>
                  <a:pt x="5322284" y="3719826"/>
                  <a:pt x="5322284" y="3719826"/>
                  <a:pt x="5316629" y="3708021"/>
                </a:cubicBezTo>
                <a:cubicBezTo>
                  <a:pt x="5311485" y="3727220"/>
                  <a:pt x="5297601" y="3713212"/>
                  <a:pt x="5286802" y="3720606"/>
                </a:cubicBezTo>
                <a:cubicBezTo>
                  <a:pt x="5297601" y="3713212"/>
                  <a:pt x="5286802" y="3720606"/>
                  <a:pt x="5291947" y="3701407"/>
                </a:cubicBezTo>
                <a:cubicBezTo>
                  <a:pt x="5305829" y="3715417"/>
                  <a:pt x="5308402" y="3705816"/>
                  <a:pt x="5319201" y="3698422"/>
                </a:cubicBezTo>
                <a:close/>
                <a:moveTo>
                  <a:pt x="4872745" y="3697842"/>
                </a:moveTo>
                <a:cubicBezTo>
                  <a:pt x="4876648" y="3717783"/>
                  <a:pt x="4890003" y="3702466"/>
                  <a:pt x="4898630" y="3704778"/>
                </a:cubicBezTo>
                <a:cubicBezTo>
                  <a:pt x="4893907" y="3722407"/>
                  <a:pt x="4876648" y="3717783"/>
                  <a:pt x="4859393" y="3713159"/>
                </a:cubicBezTo>
                <a:cubicBezTo>
                  <a:pt x="4850764" y="3710847"/>
                  <a:pt x="4859393" y="3713159"/>
                  <a:pt x="4857030" y="3721975"/>
                </a:cubicBezTo>
                <a:cubicBezTo>
                  <a:pt x="4848401" y="3719663"/>
                  <a:pt x="4842134" y="3708535"/>
                  <a:pt x="4837410" y="3726166"/>
                </a:cubicBezTo>
                <a:cubicBezTo>
                  <a:pt x="4820152" y="3721542"/>
                  <a:pt x="4820152" y="3721542"/>
                  <a:pt x="4813884" y="3710414"/>
                </a:cubicBezTo>
                <a:cubicBezTo>
                  <a:pt x="4811522" y="3719230"/>
                  <a:pt x="4811522" y="3719230"/>
                  <a:pt x="4800531" y="3725733"/>
                </a:cubicBezTo>
                <a:cubicBezTo>
                  <a:pt x="4802893" y="3716918"/>
                  <a:pt x="4811522" y="3719230"/>
                  <a:pt x="4802893" y="3716918"/>
                </a:cubicBezTo>
                <a:cubicBezTo>
                  <a:pt x="4800531" y="3725733"/>
                  <a:pt x="4774647" y="3718798"/>
                  <a:pt x="4783276" y="3721110"/>
                </a:cubicBezTo>
                <a:cubicBezTo>
                  <a:pt x="4729138" y="3716052"/>
                  <a:pt x="4689900" y="3724433"/>
                  <a:pt x="4633404" y="3728192"/>
                </a:cubicBezTo>
                <a:cubicBezTo>
                  <a:pt x="4627137" y="3717064"/>
                  <a:pt x="4633404" y="3728192"/>
                  <a:pt x="4627137" y="3717064"/>
                </a:cubicBezTo>
                <a:cubicBezTo>
                  <a:pt x="4616145" y="3723568"/>
                  <a:pt x="4624774" y="3725880"/>
                  <a:pt x="4622412" y="3734696"/>
                </a:cubicBezTo>
                <a:cubicBezTo>
                  <a:pt x="4613782" y="3732384"/>
                  <a:pt x="4605153" y="3730071"/>
                  <a:pt x="4598886" y="3718944"/>
                </a:cubicBezTo>
                <a:cubicBezTo>
                  <a:pt x="4587896" y="3725447"/>
                  <a:pt x="4576906" y="3731948"/>
                  <a:pt x="4568279" y="3729637"/>
                </a:cubicBezTo>
                <a:cubicBezTo>
                  <a:pt x="4568279" y="3729637"/>
                  <a:pt x="4562010" y="3718511"/>
                  <a:pt x="4570639" y="3720823"/>
                </a:cubicBezTo>
                <a:cubicBezTo>
                  <a:pt x="4551020" y="3725012"/>
                  <a:pt x="4529037" y="3738019"/>
                  <a:pt x="4514141" y="3724579"/>
                </a:cubicBezTo>
                <a:cubicBezTo>
                  <a:pt x="4536123" y="3711575"/>
                  <a:pt x="4576906" y="3731948"/>
                  <a:pt x="4592619" y="3707816"/>
                </a:cubicBezTo>
                <a:cubicBezTo>
                  <a:pt x="4598886" y="3718944"/>
                  <a:pt x="4624774" y="3725880"/>
                  <a:pt x="4629499" y="3708249"/>
                </a:cubicBezTo>
                <a:cubicBezTo>
                  <a:pt x="4635765" y="3719377"/>
                  <a:pt x="4672643" y="3719809"/>
                  <a:pt x="4677365" y="3702180"/>
                </a:cubicBezTo>
                <a:cubicBezTo>
                  <a:pt x="4711882" y="3711429"/>
                  <a:pt x="4755025" y="3722989"/>
                  <a:pt x="4777009" y="3709982"/>
                </a:cubicBezTo>
                <a:cubicBezTo>
                  <a:pt x="4788000" y="3703478"/>
                  <a:pt x="4768380" y="3707670"/>
                  <a:pt x="4785639" y="3712294"/>
                </a:cubicBezTo>
                <a:cubicBezTo>
                  <a:pt x="4794266" y="3714606"/>
                  <a:pt x="4813884" y="3710414"/>
                  <a:pt x="4824876" y="3703910"/>
                </a:cubicBezTo>
                <a:cubicBezTo>
                  <a:pt x="4824876" y="3703910"/>
                  <a:pt x="4824876" y="3703910"/>
                  <a:pt x="4831143" y="3715038"/>
                </a:cubicBezTo>
                <a:cubicBezTo>
                  <a:pt x="4842134" y="3708535"/>
                  <a:pt x="4853125" y="3702034"/>
                  <a:pt x="4872745" y="3697842"/>
                </a:cubicBezTo>
                <a:close/>
                <a:moveTo>
                  <a:pt x="7315741" y="3693139"/>
                </a:moveTo>
                <a:cubicBezTo>
                  <a:pt x="7321602" y="3695949"/>
                  <a:pt x="7325293" y="3706858"/>
                  <a:pt x="7331464" y="3708512"/>
                </a:cubicBezTo>
                <a:cubicBezTo>
                  <a:pt x="7331464" y="3708512"/>
                  <a:pt x="7304576" y="3710126"/>
                  <a:pt x="7308985" y="3693671"/>
                </a:cubicBezTo>
                <a:cubicBezTo>
                  <a:pt x="7311593" y="3692165"/>
                  <a:pt x="7313788" y="3692202"/>
                  <a:pt x="7315741" y="3693139"/>
                </a:cubicBezTo>
                <a:close/>
                <a:moveTo>
                  <a:pt x="4364784" y="3691666"/>
                </a:moveTo>
                <a:cubicBezTo>
                  <a:pt x="4368487" y="3692244"/>
                  <a:pt x="4372463" y="3693861"/>
                  <a:pt x="4376025" y="3697020"/>
                </a:cubicBezTo>
                <a:cubicBezTo>
                  <a:pt x="4373822" y="3705248"/>
                  <a:pt x="4359570" y="3692611"/>
                  <a:pt x="4357367" y="3700838"/>
                </a:cubicBezTo>
                <a:cubicBezTo>
                  <a:pt x="4345025" y="3697532"/>
                  <a:pt x="4353675" y="3689929"/>
                  <a:pt x="4364784" y="3691666"/>
                </a:cubicBezTo>
                <a:close/>
                <a:moveTo>
                  <a:pt x="4678560" y="3691002"/>
                </a:moveTo>
                <a:cubicBezTo>
                  <a:pt x="4684528" y="3689295"/>
                  <a:pt x="4691249" y="3688891"/>
                  <a:pt x="4699477" y="3691096"/>
                </a:cubicBezTo>
                <a:cubicBezTo>
                  <a:pt x="4695068" y="3707551"/>
                  <a:pt x="4672590" y="3692710"/>
                  <a:pt x="4662158" y="3698733"/>
                </a:cubicBezTo>
                <a:cubicBezTo>
                  <a:pt x="4667374" y="3695721"/>
                  <a:pt x="4672590" y="3692710"/>
                  <a:pt x="4678560" y="3691002"/>
                </a:cubicBezTo>
                <a:close/>
                <a:moveTo>
                  <a:pt x="5890659" y="3688408"/>
                </a:moveTo>
                <a:cubicBezTo>
                  <a:pt x="5898887" y="3690613"/>
                  <a:pt x="5896682" y="3698840"/>
                  <a:pt x="5902705" y="3709272"/>
                </a:cubicBezTo>
                <a:cubicBezTo>
                  <a:pt x="5894478" y="3707068"/>
                  <a:pt x="5888455" y="3696635"/>
                  <a:pt x="5886250" y="3704863"/>
                </a:cubicBezTo>
                <a:cubicBezTo>
                  <a:pt x="5886250" y="3704863"/>
                  <a:pt x="5890659" y="3688408"/>
                  <a:pt x="5890659" y="3688408"/>
                </a:cubicBezTo>
                <a:close/>
                <a:moveTo>
                  <a:pt x="7788177" y="3682450"/>
                </a:moveTo>
                <a:lnTo>
                  <a:pt x="7793832" y="3694255"/>
                </a:lnTo>
                <a:cubicBezTo>
                  <a:pt x="7791260" y="3703854"/>
                  <a:pt x="7788177" y="3682450"/>
                  <a:pt x="7777377" y="3689846"/>
                </a:cubicBezTo>
                <a:close/>
                <a:moveTo>
                  <a:pt x="5049616" y="3680199"/>
                </a:moveTo>
                <a:cubicBezTo>
                  <a:pt x="5050369" y="3681504"/>
                  <a:pt x="5049818" y="3683561"/>
                  <a:pt x="5049818" y="3683561"/>
                </a:cubicBezTo>
                <a:cubicBezTo>
                  <a:pt x="5047613" y="3691789"/>
                  <a:pt x="5039386" y="3689584"/>
                  <a:pt x="5031158" y="3687379"/>
                </a:cubicBezTo>
                <a:cubicBezTo>
                  <a:pt x="5031158" y="3687379"/>
                  <a:pt x="5039386" y="3689584"/>
                  <a:pt x="5041590" y="3681357"/>
                </a:cubicBezTo>
                <a:cubicBezTo>
                  <a:pt x="5046808" y="3678344"/>
                  <a:pt x="5048865" y="3678895"/>
                  <a:pt x="5049616" y="3680199"/>
                </a:cubicBezTo>
                <a:close/>
                <a:moveTo>
                  <a:pt x="5508244" y="3678533"/>
                </a:moveTo>
                <a:cubicBezTo>
                  <a:pt x="5506040" y="3686760"/>
                  <a:pt x="5506040" y="3686760"/>
                  <a:pt x="5515638" y="3689332"/>
                </a:cubicBezTo>
                <a:cubicBezTo>
                  <a:pt x="5501630" y="3703215"/>
                  <a:pt x="5496441" y="3684189"/>
                  <a:pt x="5484636" y="3689844"/>
                </a:cubicBezTo>
                <a:cubicBezTo>
                  <a:pt x="5484636" y="3689844"/>
                  <a:pt x="5498646" y="3675961"/>
                  <a:pt x="5508244" y="3678533"/>
                </a:cubicBezTo>
                <a:close/>
                <a:moveTo>
                  <a:pt x="8905936" y="3674050"/>
                </a:moveTo>
                <a:cubicBezTo>
                  <a:pt x="8914163" y="3676255"/>
                  <a:pt x="8921840" y="3680514"/>
                  <a:pt x="8920737" y="3684629"/>
                </a:cubicBezTo>
                <a:cubicBezTo>
                  <a:pt x="8906487" y="3671993"/>
                  <a:pt x="8893851" y="3686243"/>
                  <a:pt x="8887827" y="3675811"/>
                </a:cubicBezTo>
                <a:cubicBezTo>
                  <a:pt x="8888930" y="3671696"/>
                  <a:pt x="8897708" y="3671846"/>
                  <a:pt x="8905936" y="3674050"/>
                </a:cubicBezTo>
                <a:close/>
                <a:moveTo>
                  <a:pt x="5460719" y="3673916"/>
                </a:moveTo>
                <a:lnTo>
                  <a:pt x="5459953" y="3683230"/>
                </a:lnTo>
                <a:cubicBezTo>
                  <a:pt x="5458999" y="3678565"/>
                  <a:pt x="5459174" y="3675856"/>
                  <a:pt x="5460007" y="3674288"/>
                </a:cubicBezTo>
                <a:close/>
                <a:moveTo>
                  <a:pt x="7742192" y="3673067"/>
                </a:moveTo>
                <a:cubicBezTo>
                  <a:pt x="7739988" y="3681294"/>
                  <a:pt x="7739988" y="3681294"/>
                  <a:pt x="7746010" y="3691726"/>
                </a:cubicBezTo>
                <a:cubicBezTo>
                  <a:pt x="7743806" y="3699954"/>
                  <a:pt x="7739988" y="3681294"/>
                  <a:pt x="7729555" y="3687317"/>
                </a:cubicBezTo>
                <a:cubicBezTo>
                  <a:pt x="7731760" y="3679090"/>
                  <a:pt x="7739988" y="3681294"/>
                  <a:pt x="7742192" y="3673067"/>
                </a:cubicBezTo>
                <a:close/>
                <a:moveTo>
                  <a:pt x="4660547" y="3671846"/>
                </a:moveTo>
                <a:cubicBezTo>
                  <a:pt x="4658342" y="3680074"/>
                  <a:pt x="4658342" y="3680074"/>
                  <a:pt x="4656137" y="3688301"/>
                </a:cubicBezTo>
                <a:cubicBezTo>
                  <a:pt x="4646000" y="3676767"/>
                  <a:pt x="4646000" y="3676767"/>
                  <a:pt x="4646000" y="3676767"/>
                </a:cubicBezTo>
                <a:cubicBezTo>
                  <a:pt x="4646000" y="3676767"/>
                  <a:pt x="4648204" y="3668539"/>
                  <a:pt x="4660547" y="3671846"/>
                </a:cubicBezTo>
                <a:close/>
                <a:moveTo>
                  <a:pt x="5070679" y="3671514"/>
                </a:moveTo>
                <a:cubicBezTo>
                  <a:pt x="5089339" y="3667696"/>
                  <a:pt x="5084930" y="3684151"/>
                  <a:pt x="5082725" y="3692379"/>
                </a:cubicBezTo>
                <a:cubicBezTo>
                  <a:pt x="5066270" y="3687969"/>
                  <a:pt x="5068475" y="3679742"/>
                  <a:pt x="5070679" y="3671514"/>
                </a:cubicBezTo>
                <a:close/>
                <a:moveTo>
                  <a:pt x="2059675" y="3671475"/>
                </a:moveTo>
                <a:cubicBezTo>
                  <a:pt x="2057384" y="3680023"/>
                  <a:pt x="2068210" y="3673762"/>
                  <a:pt x="2063630" y="3690857"/>
                </a:cubicBezTo>
                <a:cubicBezTo>
                  <a:pt x="2057384" y="3680023"/>
                  <a:pt x="2057384" y="3680023"/>
                  <a:pt x="2059675" y="3671475"/>
                </a:cubicBezTo>
                <a:close/>
                <a:moveTo>
                  <a:pt x="4711987" y="3669095"/>
                </a:moveTo>
                <a:cubicBezTo>
                  <a:pt x="4712262" y="3668067"/>
                  <a:pt x="4714319" y="3668618"/>
                  <a:pt x="4722546" y="3670822"/>
                </a:cubicBezTo>
                <a:cubicBezTo>
                  <a:pt x="4720342" y="3679050"/>
                  <a:pt x="4718137" y="3687277"/>
                  <a:pt x="4712115" y="3676845"/>
                </a:cubicBezTo>
                <a:cubicBezTo>
                  <a:pt x="4713216" y="3672732"/>
                  <a:pt x="4711712" y="3670124"/>
                  <a:pt x="4711987" y="3669095"/>
                </a:cubicBezTo>
                <a:close/>
                <a:moveTo>
                  <a:pt x="5472590" y="3668979"/>
                </a:moveTo>
                <a:cubicBezTo>
                  <a:pt x="5471488" y="3673093"/>
                  <a:pt x="5467374" y="3671991"/>
                  <a:pt x="5464013" y="3672193"/>
                </a:cubicBezTo>
                <a:lnTo>
                  <a:pt x="5460719" y="3673916"/>
                </a:lnTo>
                <a:lnTo>
                  <a:pt x="5460928" y="3671366"/>
                </a:lnTo>
                <a:cubicBezTo>
                  <a:pt x="5463812" y="3668832"/>
                  <a:pt x="5468476" y="3667877"/>
                  <a:pt x="5472590" y="3668979"/>
                </a:cubicBezTo>
                <a:close/>
                <a:moveTo>
                  <a:pt x="5116229" y="3666083"/>
                </a:moveTo>
                <a:cubicBezTo>
                  <a:pt x="5105796" y="3672106"/>
                  <a:pt x="5103592" y="3680333"/>
                  <a:pt x="5101387" y="3688561"/>
                </a:cubicBezTo>
                <a:cubicBezTo>
                  <a:pt x="5095365" y="3678129"/>
                  <a:pt x="5108002" y="3663878"/>
                  <a:pt x="5116229" y="3666083"/>
                </a:cubicBezTo>
                <a:close/>
                <a:moveTo>
                  <a:pt x="4775092" y="3663960"/>
                </a:moveTo>
                <a:cubicBezTo>
                  <a:pt x="4780167" y="3664218"/>
                  <a:pt x="4784966" y="3665503"/>
                  <a:pt x="4789766" y="3666789"/>
                </a:cubicBezTo>
                <a:cubicBezTo>
                  <a:pt x="4789766" y="3666789"/>
                  <a:pt x="4777962" y="3672445"/>
                  <a:pt x="4777962" y="3672445"/>
                </a:cubicBezTo>
                <a:cubicBezTo>
                  <a:pt x="4777962" y="3672445"/>
                  <a:pt x="4768364" y="3669873"/>
                  <a:pt x="4758762" y="3667300"/>
                </a:cubicBezTo>
                <a:cubicBezTo>
                  <a:pt x="4764665" y="3664473"/>
                  <a:pt x="4770017" y="3663702"/>
                  <a:pt x="4775092" y="3663960"/>
                </a:cubicBezTo>
                <a:close/>
                <a:moveTo>
                  <a:pt x="5412518" y="3662801"/>
                </a:moveTo>
                <a:cubicBezTo>
                  <a:pt x="5414850" y="3662323"/>
                  <a:pt x="5416907" y="3662875"/>
                  <a:pt x="5421021" y="3663977"/>
                </a:cubicBezTo>
                <a:cubicBezTo>
                  <a:pt x="5410589" y="3670000"/>
                  <a:pt x="5420430" y="3699092"/>
                  <a:pt x="5406179" y="3686455"/>
                </a:cubicBezTo>
                <a:cubicBezTo>
                  <a:pt x="5416612" y="3680432"/>
                  <a:pt x="5408384" y="3678228"/>
                  <a:pt x="5402361" y="3667796"/>
                </a:cubicBezTo>
                <a:cubicBezTo>
                  <a:pt x="5407577" y="3664784"/>
                  <a:pt x="5410185" y="3663278"/>
                  <a:pt x="5412518" y="3662801"/>
                </a:cubicBezTo>
                <a:close/>
                <a:moveTo>
                  <a:pt x="7710017" y="3661507"/>
                </a:moveTo>
                <a:lnTo>
                  <a:pt x="7705560" y="3667173"/>
                </a:lnTo>
                <a:lnTo>
                  <a:pt x="7699217" y="3668903"/>
                </a:lnTo>
                <a:cubicBezTo>
                  <a:pt x="7699217" y="3668903"/>
                  <a:pt x="7699217" y="3668903"/>
                  <a:pt x="7710017" y="3661507"/>
                </a:cubicBezTo>
                <a:close/>
                <a:moveTo>
                  <a:pt x="8826119" y="3659276"/>
                </a:moveTo>
                <a:cubicBezTo>
                  <a:pt x="8831680" y="3656356"/>
                  <a:pt x="8843373" y="3657287"/>
                  <a:pt x="8854513" y="3660272"/>
                </a:cubicBezTo>
                <a:cubicBezTo>
                  <a:pt x="8865656" y="3663257"/>
                  <a:pt x="8876248" y="3668298"/>
                  <a:pt x="8879600" y="3673606"/>
                </a:cubicBezTo>
                <a:cubicBezTo>
                  <a:pt x="8852860" y="3666441"/>
                  <a:pt x="8852860" y="3666441"/>
                  <a:pt x="8826119" y="3659276"/>
                </a:cubicBezTo>
                <a:close/>
                <a:moveTo>
                  <a:pt x="7721523" y="3655589"/>
                </a:moveTo>
                <a:cubicBezTo>
                  <a:pt x="7722873" y="3654664"/>
                  <a:pt x="7724930" y="3655215"/>
                  <a:pt x="7729044" y="3656318"/>
                </a:cubicBezTo>
                <a:cubicBezTo>
                  <a:pt x="7723899" y="3675517"/>
                  <a:pt x="7734699" y="3668121"/>
                  <a:pt x="7721327" y="3685115"/>
                </a:cubicBezTo>
                <a:cubicBezTo>
                  <a:pt x="7715672" y="3673312"/>
                  <a:pt x="7704872" y="3680706"/>
                  <a:pt x="7696645" y="3678502"/>
                </a:cubicBezTo>
                <a:lnTo>
                  <a:pt x="7705560" y="3667173"/>
                </a:lnTo>
                <a:lnTo>
                  <a:pt x="7718244" y="3663711"/>
                </a:lnTo>
                <a:cubicBezTo>
                  <a:pt x="7719530" y="3658912"/>
                  <a:pt x="7720173" y="3656513"/>
                  <a:pt x="7721523" y="3655589"/>
                </a:cubicBezTo>
                <a:close/>
                <a:moveTo>
                  <a:pt x="2705372" y="3653354"/>
                </a:moveTo>
                <a:cubicBezTo>
                  <a:pt x="2709642" y="3652845"/>
                  <a:pt x="2714545" y="3653056"/>
                  <a:pt x="2720716" y="3654710"/>
                </a:cubicBezTo>
                <a:cubicBezTo>
                  <a:pt x="2710284" y="3660733"/>
                  <a:pt x="2668555" y="3684824"/>
                  <a:pt x="2666941" y="3657938"/>
                </a:cubicBezTo>
                <a:cubicBezTo>
                  <a:pt x="2685453" y="3662898"/>
                  <a:pt x="2692562" y="3654882"/>
                  <a:pt x="2705372" y="3653354"/>
                </a:cubicBezTo>
                <a:close/>
                <a:moveTo>
                  <a:pt x="7679678" y="3643090"/>
                </a:moveTo>
                <a:cubicBezTo>
                  <a:pt x="7679678" y="3643090"/>
                  <a:pt x="7677106" y="3652689"/>
                  <a:pt x="7677106" y="3652689"/>
                </a:cubicBezTo>
                <a:cubicBezTo>
                  <a:pt x="7677106" y="3652689"/>
                  <a:pt x="7696134" y="3647499"/>
                  <a:pt x="7680190" y="3674092"/>
                </a:cubicBezTo>
                <a:cubicBezTo>
                  <a:pt x="7682761" y="3664494"/>
                  <a:pt x="7674534" y="3662289"/>
                  <a:pt x="7666306" y="3660085"/>
                </a:cubicBezTo>
                <a:cubicBezTo>
                  <a:pt x="7674534" y="3662289"/>
                  <a:pt x="7677106" y="3652689"/>
                  <a:pt x="7679678" y="3643090"/>
                </a:cubicBezTo>
                <a:close/>
                <a:moveTo>
                  <a:pt x="8750106" y="3640149"/>
                </a:moveTo>
                <a:cubicBezTo>
                  <a:pt x="8752708" y="3640157"/>
                  <a:pt x="8760405" y="3641668"/>
                  <a:pt x="8775524" y="3645719"/>
                </a:cubicBezTo>
                <a:cubicBezTo>
                  <a:pt x="8780946" y="3642762"/>
                  <a:pt x="8785266" y="3643919"/>
                  <a:pt x="8789307" y="3646105"/>
                </a:cubicBezTo>
                <a:cubicBezTo>
                  <a:pt x="8793352" y="3648291"/>
                  <a:pt x="8797120" y="3651506"/>
                  <a:pt x="8801440" y="3652663"/>
                </a:cubicBezTo>
                <a:cubicBezTo>
                  <a:pt x="8780349" y="3653626"/>
                  <a:pt x="8742300" y="3640124"/>
                  <a:pt x="8750106" y="3640149"/>
                </a:cubicBezTo>
                <a:close/>
                <a:moveTo>
                  <a:pt x="7642653" y="3633169"/>
                </a:moveTo>
                <a:cubicBezTo>
                  <a:pt x="7651910" y="3635650"/>
                  <a:pt x="7661166" y="3638130"/>
                  <a:pt x="7661166" y="3638130"/>
                </a:cubicBezTo>
                <a:cubicBezTo>
                  <a:pt x="7658685" y="3647386"/>
                  <a:pt x="7658685" y="3647386"/>
                  <a:pt x="7658685" y="3647386"/>
                </a:cubicBezTo>
                <a:cubicBezTo>
                  <a:pt x="7674718" y="3661603"/>
                  <a:pt x="7656205" y="3656643"/>
                  <a:pt x="7662981" y="3668379"/>
                </a:cubicBezTo>
                <a:cubicBezTo>
                  <a:pt x="7651245" y="3675155"/>
                  <a:pt x="7649430" y="3644906"/>
                  <a:pt x="7642653" y="3633169"/>
                </a:cubicBezTo>
                <a:close/>
                <a:moveTo>
                  <a:pt x="7579627" y="3632357"/>
                </a:moveTo>
                <a:cubicBezTo>
                  <a:pt x="7598911" y="3629808"/>
                  <a:pt x="7619640" y="3645008"/>
                  <a:pt x="7640081" y="3642768"/>
                </a:cubicBezTo>
                <a:cubicBezTo>
                  <a:pt x="7631854" y="3640563"/>
                  <a:pt x="7629281" y="3650164"/>
                  <a:pt x="7626709" y="3659762"/>
                </a:cubicBezTo>
                <a:cubicBezTo>
                  <a:pt x="7623626" y="3638359"/>
                  <a:pt x="7610254" y="3655353"/>
                  <a:pt x="7602027" y="3653149"/>
                </a:cubicBezTo>
                <a:cubicBezTo>
                  <a:pt x="7601515" y="3622147"/>
                  <a:pt x="7577344" y="3646535"/>
                  <a:pt x="7560889" y="3642126"/>
                </a:cubicBezTo>
                <a:cubicBezTo>
                  <a:pt x="7566932" y="3636029"/>
                  <a:pt x="7573199" y="3633207"/>
                  <a:pt x="7579627" y="3632357"/>
                </a:cubicBezTo>
                <a:close/>
                <a:moveTo>
                  <a:pt x="8433581" y="3626847"/>
                </a:moveTo>
                <a:cubicBezTo>
                  <a:pt x="8439279" y="3622861"/>
                  <a:pt x="8460878" y="3628648"/>
                  <a:pt x="8474570" y="3633697"/>
                </a:cubicBezTo>
                <a:cubicBezTo>
                  <a:pt x="8488263" y="3638744"/>
                  <a:pt x="8494055" y="3643051"/>
                  <a:pt x="8468136" y="3636106"/>
                </a:cubicBezTo>
                <a:cubicBezTo>
                  <a:pt x="8448104" y="3641762"/>
                  <a:pt x="8448104" y="3641762"/>
                  <a:pt x="8433581" y="3626847"/>
                </a:cubicBezTo>
                <a:close/>
                <a:moveTo>
                  <a:pt x="4405197" y="3621062"/>
                </a:moveTo>
                <a:cubicBezTo>
                  <a:pt x="4400788" y="3637517"/>
                  <a:pt x="4384333" y="3633108"/>
                  <a:pt x="4376105" y="3630903"/>
                </a:cubicBezTo>
                <a:cubicBezTo>
                  <a:pt x="4386537" y="3624880"/>
                  <a:pt x="4394765" y="3627085"/>
                  <a:pt x="4405197" y="3621062"/>
                </a:cubicBezTo>
                <a:close/>
                <a:moveTo>
                  <a:pt x="4960935" y="3603897"/>
                </a:moveTo>
                <a:cubicBezTo>
                  <a:pt x="4965050" y="3604999"/>
                  <a:pt x="4971862" y="3604253"/>
                  <a:pt x="4977004" y="3605631"/>
                </a:cubicBezTo>
                <a:cubicBezTo>
                  <a:pt x="4982149" y="3607009"/>
                  <a:pt x="4985617" y="3610510"/>
                  <a:pt x="4983044" y="3620112"/>
                </a:cubicBezTo>
                <a:cubicBezTo>
                  <a:pt x="4971734" y="3596503"/>
                  <a:pt x="4955790" y="3623096"/>
                  <a:pt x="4960935" y="3603897"/>
                </a:cubicBezTo>
                <a:close/>
                <a:moveTo>
                  <a:pt x="6653261" y="3603706"/>
                </a:moveTo>
                <a:cubicBezTo>
                  <a:pt x="6656219" y="3603981"/>
                  <a:pt x="6659217" y="3605129"/>
                  <a:pt x="6662130" y="3606599"/>
                </a:cubicBezTo>
                <a:cubicBezTo>
                  <a:pt x="6667958" y="3609540"/>
                  <a:pt x="6673439" y="3613764"/>
                  <a:pt x="6677551" y="3614866"/>
                </a:cubicBezTo>
                <a:cubicBezTo>
                  <a:pt x="6669324" y="3612662"/>
                  <a:pt x="6669324" y="3612662"/>
                  <a:pt x="6666568" y="3622947"/>
                </a:cubicBezTo>
                <a:cubicBezTo>
                  <a:pt x="6658341" y="3620742"/>
                  <a:pt x="6650113" y="3618537"/>
                  <a:pt x="6641885" y="3616333"/>
                </a:cubicBezTo>
                <a:cubicBezTo>
                  <a:pt x="6652869" y="3608252"/>
                  <a:pt x="6650113" y="3618537"/>
                  <a:pt x="6652869" y="3608252"/>
                </a:cubicBezTo>
                <a:cubicBezTo>
                  <a:pt x="6652869" y="3608252"/>
                  <a:pt x="6652869" y="3608252"/>
                  <a:pt x="6644641" y="3606048"/>
                </a:cubicBezTo>
                <a:cubicBezTo>
                  <a:pt x="6647388" y="3604027"/>
                  <a:pt x="6650304" y="3603430"/>
                  <a:pt x="6653261" y="3603706"/>
                </a:cubicBezTo>
                <a:close/>
                <a:moveTo>
                  <a:pt x="8286202" y="3589560"/>
                </a:moveTo>
                <a:cubicBezTo>
                  <a:pt x="8294746" y="3591849"/>
                  <a:pt x="8354554" y="3607874"/>
                  <a:pt x="8363097" y="3610164"/>
                </a:cubicBezTo>
                <a:cubicBezTo>
                  <a:pt x="8360893" y="3618391"/>
                  <a:pt x="8337466" y="3603296"/>
                  <a:pt x="8335262" y="3611523"/>
                </a:cubicBezTo>
                <a:cubicBezTo>
                  <a:pt x="8328923" y="3601007"/>
                  <a:pt x="8301085" y="3602366"/>
                  <a:pt x="8286202" y="3589560"/>
                </a:cubicBezTo>
                <a:close/>
                <a:moveTo>
                  <a:pt x="6075427" y="3574780"/>
                </a:moveTo>
                <a:cubicBezTo>
                  <a:pt x="6071017" y="3591235"/>
                  <a:pt x="6058972" y="3570371"/>
                  <a:pt x="6054562" y="3586826"/>
                </a:cubicBezTo>
                <a:cubicBezTo>
                  <a:pt x="6048539" y="3576394"/>
                  <a:pt x="6067199" y="3572575"/>
                  <a:pt x="6075427" y="3574780"/>
                </a:cubicBezTo>
                <a:close/>
                <a:moveTo>
                  <a:pt x="7898967" y="3565164"/>
                </a:moveTo>
                <a:cubicBezTo>
                  <a:pt x="7898967" y="3565164"/>
                  <a:pt x="7896763" y="3573392"/>
                  <a:pt x="7894558" y="3581619"/>
                </a:cubicBezTo>
                <a:cubicBezTo>
                  <a:pt x="7894558" y="3581619"/>
                  <a:pt x="7894558" y="3581619"/>
                  <a:pt x="7886331" y="3579415"/>
                </a:cubicBezTo>
                <a:cubicBezTo>
                  <a:pt x="7882512" y="3560755"/>
                  <a:pt x="7896763" y="3573392"/>
                  <a:pt x="7898967" y="3565164"/>
                </a:cubicBezTo>
                <a:close/>
                <a:moveTo>
                  <a:pt x="8196660" y="3558713"/>
                </a:moveTo>
                <a:cubicBezTo>
                  <a:pt x="8200389" y="3559196"/>
                  <a:pt x="8204416" y="3560620"/>
                  <a:pt x="8208358" y="3562366"/>
                </a:cubicBezTo>
                <a:cubicBezTo>
                  <a:pt x="8216241" y="3565856"/>
                  <a:pt x="8223780" y="3570631"/>
                  <a:pt x="8227893" y="3571733"/>
                </a:cubicBezTo>
                <a:cubicBezTo>
                  <a:pt x="8216909" y="3579814"/>
                  <a:pt x="8200454" y="3575405"/>
                  <a:pt x="8186755" y="3560710"/>
                </a:cubicBezTo>
                <a:cubicBezTo>
                  <a:pt x="8189502" y="3558690"/>
                  <a:pt x="8192932" y="3558231"/>
                  <a:pt x="8196660" y="3558713"/>
                </a:cubicBezTo>
                <a:close/>
                <a:moveTo>
                  <a:pt x="2969445" y="3558634"/>
                </a:moveTo>
                <a:cubicBezTo>
                  <a:pt x="2974282" y="3557633"/>
                  <a:pt x="2976415" y="3558205"/>
                  <a:pt x="2974119" y="3566772"/>
                </a:cubicBezTo>
                <a:cubicBezTo>
                  <a:pt x="2963296" y="3573051"/>
                  <a:pt x="2969530" y="3583901"/>
                  <a:pt x="2952476" y="3579331"/>
                </a:cubicBezTo>
                <a:cubicBezTo>
                  <a:pt x="2958707" y="3590180"/>
                  <a:pt x="2916074" y="3578757"/>
                  <a:pt x="2905254" y="3585037"/>
                </a:cubicBezTo>
                <a:cubicBezTo>
                  <a:pt x="2892138" y="3599881"/>
                  <a:pt x="2861969" y="3610158"/>
                  <a:pt x="2836390" y="3603304"/>
                </a:cubicBezTo>
                <a:cubicBezTo>
                  <a:pt x="2851149" y="3616438"/>
                  <a:pt x="2817041" y="3607299"/>
                  <a:pt x="2808516" y="3605015"/>
                </a:cubicBezTo>
                <a:cubicBezTo>
                  <a:pt x="2797695" y="3611295"/>
                  <a:pt x="2795401" y="3619859"/>
                  <a:pt x="2795401" y="3619859"/>
                </a:cubicBezTo>
                <a:cubicBezTo>
                  <a:pt x="2786875" y="3617575"/>
                  <a:pt x="2789169" y="3609010"/>
                  <a:pt x="2789169" y="3609010"/>
                </a:cubicBezTo>
                <a:cubicBezTo>
                  <a:pt x="2780642" y="3606725"/>
                  <a:pt x="2759001" y="3619285"/>
                  <a:pt x="2756706" y="3627850"/>
                </a:cubicBezTo>
                <a:cubicBezTo>
                  <a:pt x="2698663" y="3639838"/>
                  <a:pt x="2636684" y="3632410"/>
                  <a:pt x="2582577" y="3663809"/>
                </a:cubicBezTo>
                <a:cubicBezTo>
                  <a:pt x="2582577" y="3663809"/>
                  <a:pt x="2580281" y="3672376"/>
                  <a:pt x="2580281" y="3672376"/>
                </a:cubicBezTo>
                <a:cubicBezTo>
                  <a:pt x="2591105" y="3666094"/>
                  <a:pt x="2605861" y="3679230"/>
                  <a:pt x="2608156" y="3670662"/>
                </a:cubicBezTo>
                <a:cubicBezTo>
                  <a:pt x="2625210" y="3675232"/>
                  <a:pt x="2605861" y="3679230"/>
                  <a:pt x="2601271" y="3696358"/>
                </a:cubicBezTo>
                <a:cubicBezTo>
                  <a:pt x="2595040" y="3685510"/>
                  <a:pt x="2556346" y="3693500"/>
                  <a:pt x="2573397" y="3698069"/>
                </a:cubicBezTo>
                <a:cubicBezTo>
                  <a:pt x="2562577" y="3704349"/>
                  <a:pt x="2545523" y="3699779"/>
                  <a:pt x="2539292" y="3688931"/>
                </a:cubicBezTo>
                <a:cubicBezTo>
                  <a:pt x="2536997" y="3697495"/>
                  <a:pt x="2534703" y="3706059"/>
                  <a:pt x="2517651" y="3701491"/>
                </a:cubicBezTo>
                <a:cubicBezTo>
                  <a:pt x="2517651" y="3701491"/>
                  <a:pt x="2526177" y="3703775"/>
                  <a:pt x="2523882" y="3712339"/>
                </a:cubicBezTo>
                <a:cubicBezTo>
                  <a:pt x="2515357" y="3710055"/>
                  <a:pt x="2506828" y="3707770"/>
                  <a:pt x="2498303" y="3705485"/>
                </a:cubicBezTo>
                <a:cubicBezTo>
                  <a:pt x="2510766" y="3727186"/>
                  <a:pt x="2476659" y="3718047"/>
                  <a:pt x="2465838" y="3724328"/>
                </a:cubicBezTo>
                <a:cubicBezTo>
                  <a:pt x="2470429" y="3707196"/>
                  <a:pt x="2481249" y="3700916"/>
                  <a:pt x="2472724" y="3698631"/>
                </a:cubicBezTo>
                <a:cubicBezTo>
                  <a:pt x="2461903" y="3704911"/>
                  <a:pt x="2470429" y="3707196"/>
                  <a:pt x="2448787" y="3719759"/>
                </a:cubicBezTo>
                <a:cubicBezTo>
                  <a:pt x="2451082" y="3711194"/>
                  <a:pt x="2451082" y="3711194"/>
                  <a:pt x="2453378" y="3702627"/>
                </a:cubicBezTo>
                <a:cubicBezTo>
                  <a:pt x="2442554" y="3708909"/>
                  <a:pt x="2431734" y="3715189"/>
                  <a:pt x="2427144" y="3732318"/>
                </a:cubicBezTo>
                <a:cubicBezTo>
                  <a:pt x="2424849" y="3740882"/>
                  <a:pt x="2444198" y="3736887"/>
                  <a:pt x="2441903" y="3745452"/>
                </a:cubicBezTo>
                <a:cubicBezTo>
                  <a:pt x="2433376" y="3743167"/>
                  <a:pt x="2426408" y="3743595"/>
                  <a:pt x="2419931" y="3746449"/>
                </a:cubicBezTo>
                <a:lnTo>
                  <a:pt x="2400911" y="3762006"/>
                </a:lnTo>
                <a:lnTo>
                  <a:pt x="2401485" y="3759866"/>
                </a:lnTo>
                <a:cubicBezTo>
                  <a:pt x="2402632" y="3755583"/>
                  <a:pt x="2404353" y="3749159"/>
                  <a:pt x="2405501" y="3744877"/>
                </a:cubicBezTo>
                <a:cubicBezTo>
                  <a:pt x="2388450" y="3740308"/>
                  <a:pt x="2400911" y="3762006"/>
                  <a:pt x="2392385" y="3759722"/>
                </a:cubicBezTo>
                <a:cubicBezTo>
                  <a:pt x="2396975" y="3742593"/>
                  <a:pt x="2399270" y="3734028"/>
                  <a:pt x="2399270" y="3734028"/>
                </a:cubicBezTo>
                <a:cubicBezTo>
                  <a:pt x="2390745" y="3731744"/>
                  <a:pt x="2392385" y="3759722"/>
                  <a:pt x="2383860" y="3757437"/>
                </a:cubicBezTo>
                <a:cubicBezTo>
                  <a:pt x="2377627" y="3746588"/>
                  <a:pt x="2366806" y="3752868"/>
                  <a:pt x="2362216" y="3769999"/>
                </a:cubicBezTo>
                <a:cubicBezTo>
                  <a:pt x="2345165" y="3765430"/>
                  <a:pt x="2328112" y="3760861"/>
                  <a:pt x="2323522" y="3777989"/>
                </a:cubicBezTo>
                <a:cubicBezTo>
                  <a:pt x="2323522" y="3777989"/>
                  <a:pt x="2317291" y="3767140"/>
                  <a:pt x="2317291" y="3767140"/>
                </a:cubicBezTo>
                <a:cubicBezTo>
                  <a:pt x="2308763" y="3764855"/>
                  <a:pt x="2314996" y="3775705"/>
                  <a:pt x="2312701" y="3784272"/>
                </a:cubicBezTo>
                <a:cubicBezTo>
                  <a:pt x="2306468" y="3773420"/>
                  <a:pt x="2308763" y="3764855"/>
                  <a:pt x="2300238" y="3762571"/>
                </a:cubicBezTo>
                <a:cubicBezTo>
                  <a:pt x="2289417" y="3768851"/>
                  <a:pt x="2293352" y="3788267"/>
                  <a:pt x="2284827" y="3785983"/>
                </a:cubicBezTo>
                <a:cubicBezTo>
                  <a:pt x="2276299" y="3783698"/>
                  <a:pt x="2289417" y="3768851"/>
                  <a:pt x="2289417" y="3768851"/>
                </a:cubicBezTo>
                <a:cubicBezTo>
                  <a:pt x="2280889" y="3766566"/>
                  <a:pt x="2284827" y="3785983"/>
                  <a:pt x="2274004" y="3792262"/>
                </a:cubicBezTo>
                <a:cubicBezTo>
                  <a:pt x="2265478" y="3789977"/>
                  <a:pt x="2243837" y="3802537"/>
                  <a:pt x="2237604" y="3791688"/>
                </a:cubicBezTo>
                <a:cubicBezTo>
                  <a:pt x="2220553" y="3787119"/>
                  <a:pt x="2233015" y="3808817"/>
                  <a:pt x="2218258" y="3795683"/>
                </a:cubicBezTo>
                <a:cubicBezTo>
                  <a:pt x="2215963" y="3804248"/>
                  <a:pt x="2215963" y="3804248"/>
                  <a:pt x="2215963" y="3804248"/>
                </a:cubicBezTo>
                <a:cubicBezTo>
                  <a:pt x="2213669" y="3812812"/>
                  <a:pt x="2207435" y="3801963"/>
                  <a:pt x="2198910" y="3799678"/>
                </a:cubicBezTo>
                <a:cubicBezTo>
                  <a:pt x="2194320" y="3816807"/>
                  <a:pt x="2172679" y="3829370"/>
                  <a:pt x="2157921" y="3816233"/>
                </a:cubicBezTo>
                <a:cubicBezTo>
                  <a:pt x="2149395" y="3813949"/>
                  <a:pt x="2149395" y="3813949"/>
                  <a:pt x="2147099" y="3822516"/>
                </a:cubicBezTo>
                <a:cubicBezTo>
                  <a:pt x="2132342" y="3809379"/>
                  <a:pt x="2123162" y="3843640"/>
                  <a:pt x="2110698" y="3821941"/>
                </a:cubicBezTo>
                <a:cubicBezTo>
                  <a:pt x="2110698" y="3821941"/>
                  <a:pt x="2102172" y="3819657"/>
                  <a:pt x="2102172" y="3819657"/>
                </a:cubicBezTo>
                <a:cubicBezTo>
                  <a:pt x="2099877" y="3828221"/>
                  <a:pt x="2108402" y="3830506"/>
                  <a:pt x="2106108" y="3839070"/>
                </a:cubicBezTo>
                <a:cubicBezTo>
                  <a:pt x="2091352" y="3825937"/>
                  <a:pt x="2095288" y="3845350"/>
                  <a:pt x="2084467" y="3851630"/>
                </a:cubicBezTo>
                <a:cubicBezTo>
                  <a:pt x="2084467" y="3851630"/>
                  <a:pt x="2078236" y="3840781"/>
                  <a:pt x="2078236" y="3840781"/>
                </a:cubicBezTo>
                <a:cubicBezTo>
                  <a:pt x="2078236" y="3840781"/>
                  <a:pt x="2075941" y="3849346"/>
                  <a:pt x="2065119" y="3855625"/>
                </a:cubicBezTo>
                <a:cubicBezTo>
                  <a:pt x="2054298" y="3861905"/>
                  <a:pt x="2031014" y="3846487"/>
                  <a:pt x="2024129" y="3872182"/>
                </a:cubicBezTo>
                <a:cubicBezTo>
                  <a:pt x="2009370" y="3859048"/>
                  <a:pt x="1979204" y="3869324"/>
                  <a:pt x="1966086" y="3884167"/>
                </a:cubicBezTo>
                <a:cubicBezTo>
                  <a:pt x="1957560" y="3881883"/>
                  <a:pt x="1938212" y="3885878"/>
                  <a:pt x="1942802" y="3868749"/>
                </a:cubicBezTo>
                <a:cubicBezTo>
                  <a:pt x="1940507" y="3877314"/>
                  <a:pt x="1921161" y="3881310"/>
                  <a:pt x="1916571" y="3898438"/>
                </a:cubicBezTo>
                <a:cubicBezTo>
                  <a:pt x="1897877" y="3865891"/>
                  <a:pt x="1839179" y="3914421"/>
                  <a:pt x="1832295" y="3940114"/>
                </a:cubicBezTo>
                <a:cubicBezTo>
                  <a:pt x="1823769" y="3937830"/>
                  <a:pt x="1815244" y="3935545"/>
                  <a:pt x="1821474" y="3946394"/>
                </a:cubicBezTo>
                <a:cubicBezTo>
                  <a:pt x="1798190" y="3930976"/>
                  <a:pt x="1786715" y="3973801"/>
                  <a:pt x="1774254" y="3952103"/>
                </a:cubicBezTo>
                <a:cubicBezTo>
                  <a:pt x="1769664" y="3969232"/>
                  <a:pt x="1763430" y="3958382"/>
                  <a:pt x="1750316" y="3973227"/>
                </a:cubicBezTo>
                <a:cubicBezTo>
                  <a:pt x="1746380" y="3953813"/>
                  <a:pt x="1722441" y="3974937"/>
                  <a:pt x="1705390" y="3970368"/>
                </a:cubicBezTo>
                <a:cubicBezTo>
                  <a:pt x="1694568" y="3976648"/>
                  <a:pt x="1703096" y="3978933"/>
                  <a:pt x="1700801" y="3987497"/>
                </a:cubicBezTo>
                <a:cubicBezTo>
                  <a:pt x="1692273" y="3985212"/>
                  <a:pt x="1683747" y="3982927"/>
                  <a:pt x="1683747" y="3982927"/>
                </a:cubicBezTo>
                <a:cubicBezTo>
                  <a:pt x="1675222" y="3980643"/>
                  <a:pt x="1689977" y="3993779"/>
                  <a:pt x="1672926" y="3989210"/>
                </a:cubicBezTo>
                <a:cubicBezTo>
                  <a:pt x="1664398" y="3986925"/>
                  <a:pt x="1670631" y="3997775"/>
                  <a:pt x="1668336" y="4006339"/>
                </a:cubicBezTo>
                <a:cubicBezTo>
                  <a:pt x="1651283" y="4001770"/>
                  <a:pt x="1648988" y="4010334"/>
                  <a:pt x="1642757" y="3999485"/>
                </a:cubicBezTo>
                <a:cubicBezTo>
                  <a:pt x="1640462" y="4008050"/>
                  <a:pt x="1640462" y="4008050"/>
                  <a:pt x="1638168" y="4016614"/>
                </a:cubicBezTo>
                <a:cubicBezTo>
                  <a:pt x="1635873" y="4025178"/>
                  <a:pt x="1642757" y="3999485"/>
                  <a:pt x="1629642" y="4014330"/>
                </a:cubicBezTo>
                <a:cubicBezTo>
                  <a:pt x="1621114" y="4012044"/>
                  <a:pt x="1629642" y="4014330"/>
                  <a:pt x="1631937" y="4005765"/>
                </a:cubicBezTo>
                <a:cubicBezTo>
                  <a:pt x="1623409" y="4003480"/>
                  <a:pt x="1621114" y="4012044"/>
                  <a:pt x="1618819" y="4020609"/>
                </a:cubicBezTo>
                <a:cubicBezTo>
                  <a:pt x="1618819" y="4020609"/>
                  <a:pt x="1621114" y="4012044"/>
                  <a:pt x="1623409" y="4003480"/>
                </a:cubicBezTo>
                <a:cubicBezTo>
                  <a:pt x="1610294" y="4018324"/>
                  <a:pt x="1607999" y="4026889"/>
                  <a:pt x="1597178" y="4033169"/>
                </a:cubicBezTo>
                <a:cubicBezTo>
                  <a:pt x="1597178" y="4033169"/>
                  <a:pt x="1599473" y="4024604"/>
                  <a:pt x="1599473" y="4024604"/>
                </a:cubicBezTo>
                <a:cubicBezTo>
                  <a:pt x="1590945" y="4022319"/>
                  <a:pt x="1584060" y="4048015"/>
                  <a:pt x="1582420" y="4020035"/>
                </a:cubicBezTo>
                <a:cubicBezTo>
                  <a:pt x="1580125" y="4028599"/>
                  <a:pt x="1577829" y="4037166"/>
                  <a:pt x="1575535" y="4045730"/>
                </a:cubicBezTo>
                <a:cubicBezTo>
                  <a:pt x="1567009" y="4043446"/>
                  <a:pt x="1569304" y="4034882"/>
                  <a:pt x="1569304" y="4034882"/>
                </a:cubicBezTo>
                <a:cubicBezTo>
                  <a:pt x="1560776" y="4032597"/>
                  <a:pt x="1558481" y="4041161"/>
                  <a:pt x="1558481" y="4041161"/>
                </a:cubicBezTo>
                <a:cubicBezTo>
                  <a:pt x="1552250" y="4030312"/>
                  <a:pt x="1558481" y="4041161"/>
                  <a:pt x="1532904" y="4034308"/>
                </a:cubicBezTo>
                <a:cubicBezTo>
                  <a:pt x="1543071" y="4064570"/>
                  <a:pt x="1478797" y="4065707"/>
                  <a:pt x="1474207" y="4082838"/>
                </a:cubicBezTo>
                <a:cubicBezTo>
                  <a:pt x="1465681" y="4080553"/>
                  <a:pt x="1454858" y="4086833"/>
                  <a:pt x="1446333" y="4084548"/>
                </a:cubicBezTo>
                <a:cubicBezTo>
                  <a:pt x="1447974" y="4112526"/>
                  <a:pt x="1440102" y="4073700"/>
                  <a:pt x="1433218" y="4099393"/>
                </a:cubicBezTo>
                <a:cubicBezTo>
                  <a:pt x="1424692" y="4097108"/>
                  <a:pt x="1422397" y="4105673"/>
                  <a:pt x="1411574" y="4111952"/>
                </a:cubicBezTo>
                <a:cubicBezTo>
                  <a:pt x="1411574" y="4111952"/>
                  <a:pt x="1413869" y="4103388"/>
                  <a:pt x="1413869" y="4103388"/>
                </a:cubicBezTo>
                <a:cubicBezTo>
                  <a:pt x="1383700" y="4113662"/>
                  <a:pt x="1362060" y="4126222"/>
                  <a:pt x="1314836" y="4131931"/>
                </a:cubicBezTo>
                <a:cubicBezTo>
                  <a:pt x="1310247" y="4149059"/>
                  <a:pt x="1299426" y="4155339"/>
                  <a:pt x="1288606" y="4161619"/>
                </a:cubicBezTo>
                <a:cubicBezTo>
                  <a:pt x="1299426" y="4155339"/>
                  <a:pt x="1301721" y="4146775"/>
                  <a:pt x="1295491" y="4135926"/>
                </a:cubicBezTo>
                <a:cubicBezTo>
                  <a:pt x="1304016" y="4138210"/>
                  <a:pt x="1314836" y="4131931"/>
                  <a:pt x="1317131" y="4123366"/>
                </a:cubicBezTo>
                <a:cubicBezTo>
                  <a:pt x="1325659" y="4125651"/>
                  <a:pt x="1330250" y="4108520"/>
                  <a:pt x="1345006" y="4121653"/>
                </a:cubicBezTo>
                <a:cubicBezTo>
                  <a:pt x="1341070" y="4102240"/>
                  <a:pt x="1341070" y="4102240"/>
                  <a:pt x="1354185" y="4087395"/>
                </a:cubicBezTo>
                <a:cubicBezTo>
                  <a:pt x="1347955" y="4076546"/>
                  <a:pt x="1328606" y="4080541"/>
                  <a:pt x="1333196" y="4063413"/>
                </a:cubicBezTo>
                <a:cubicBezTo>
                  <a:pt x="1358775" y="4070266"/>
                  <a:pt x="1361070" y="4061702"/>
                  <a:pt x="1380418" y="4057707"/>
                </a:cubicBezTo>
                <a:cubicBezTo>
                  <a:pt x="1385008" y="4040576"/>
                  <a:pt x="1389598" y="4023447"/>
                  <a:pt x="1398124" y="4025731"/>
                </a:cubicBezTo>
                <a:cubicBezTo>
                  <a:pt x="1398124" y="4025731"/>
                  <a:pt x="1398124" y="4025731"/>
                  <a:pt x="1395829" y="4034296"/>
                </a:cubicBezTo>
                <a:cubicBezTo>
                  <a:pt x="1417472" y="4021736"/>
                  <a:pt x="1441408" y="4000612"/>
                  <a:pt x="1435831" y="3953219"/>
                </a:cubicBezTo>
                <a:cubicBezTo>
                  <a:pt x="1442062" y="3964068"/>
                  <a:pt x="1442062" y="3964068"/>
                  <a:pt x="1450588" y="3966352"/>
                </a:cubicBezTo>
                <a:cubicBezTo>
                  <a:pt x="1452882" y="3957788"/>
                  <a:pt x="1433537" y="3961783"/>
                  <a:pt x="1444357" y="3955503"/>
                </a:cubicBezTo>
                <a:cubicBezTo>
                  <a:pt x="1444357" y="3955503"/>
                  <a:pt x="1446652" y="3946939"/>
                  <a:pt x="1446652" y="3946939"/>
                </a:cubicBezTo>
                <a:cubicBezTo>
                  <a:pt x="1455177" y="3949223"/>
                  <a:pt x="1452882" y="3957788"/>
                  <a:pt x="1457472" y="3940659"/>
                </a:cubicBezTo>
                <a:cubicBezTo>
                  <a:pt x="1457472" y="3940659"/>
                  <a:pt x="1455177" y="3949223"/>
                  <a:pt x="1463705" y="3951508"/>
                </a:cubicBezTo>
                <a:cubicBezTo>
                  <a:pt x="1472231" y="3953793"/>
                  <a:pt x="1466000" y="3942944"/>
                  <a:pt x="1468295" y="3934380"/>
                </a:cubicBezTo>
                <a:cubicBezTo>
                  <a:pt x="1476821" y="3936664"/>
                  <a:pt x="1476821" y="3936664"/>
                  <a:pt x="1474526" y="3945228"/>
                </a:cubicBezTo>
                <a:cubicBezTo>
                  <a:pt x="1483051" y="3947513"/>
                  <a:pt x="1485346" y="3938948"/>
                  <a:pt x="1487642" y="3930381"/>
                </a:cubicBezTo>
                <a:cubicBezTo>
                  <a:pt x="1493872" y="3941233"/>
                  <a:pt x="1515516" y="3928671"/>
                  <a:pt x="1534864" y="3924676"/>
                </a:cubicBezTo>
                <a:cubicBezTo>
                  <a:pt x="1537159" y="3916112"/>
                  <a:pt x="1526336" y="3922391"/>
                  <a:pt x="1530926" y="3905262"/>
                </a:cubicBezTo>
                <a:cubicBezTo>
                  <a:pt x="1539454" y="3907547"/>
                  <a:pt x="1541749" y="3898983"/>
                  <a:pt x="1547979" y="3909832"/>
                </a:cubicBezTo>
                <a:cubicBezTo>
                  <a:pt x="1545684" y="3918396"/>
                  <a:pt x="1571918" y="3888708"/>
                  <a:pt x="1586674" y="3901841"/>
                </a:cubicBezTo>
                <a:cubicBezTo>
                  <a:pt x="1576508" y="3871576"/>
                  <a:pt x="1602085" y="3878429"/>
                  <a:pt x="1606674" y="3861301"/>
                </a:cubicBezTo>
                <a:lnTo>
                  <a:pt x="1617419" y="3870862"/>
                </a:lnTo>
                <a:lnTo>
                  <a:pt x="1619386" y="3871253"/>
                </a:lnTo>
                <a:lnTo>
                  <a:pt x="1619220" y="3872464"/>
                </a:lnTo>
                <a:lnTo>
                  <a:pt x="1621433" y="3874435"/>
                </a:lnTo>
                <a:cubicBezTo>
                  <a:pt x="1632253" y="3868155"/>
                  <a:pt x="1626023" y="3857306"/>
                  <a:pt x="1640782" y="3870440"/>
                </a:cubicBezTo>
                <a:cubicBezTo>
                  <a:pt x="1649307" y="3872724"/>
                  <a:pt x="1634548" y="3859590"/>
                  <a:pt x="1645371" y="3853311"/>
                </a:cubicBezTo>
                <a:cubicBezTo>
                  <a:pt x="1662422" y="3857880"/>
                  <a:pt x="1670950" y="3860165"/>
                  <a:pt x="1675540" y="3843036"/>
                </a:cubicBezTo>
                <a:cubicBezTo>
                  <a:pt x="1692591" y="3847605"/>
                  <a:pt x="1709645" y="3852174"/>
                  <a:pt x="1703412" y="3841323"/>
                </a:cubicBezTo>
                <a:cubicBezTo>
                  <a:pt x="1714235" y="3835043"/>
                  <a:pt x="1711940" y="3843608"/>
                  <a:pt x="1711940" y="3843608"/>
                </a:cubicBezTo>
                <a:cubicBezTo>
                  <a:pt x="1720466" y="3845892"/>
                  <a:pt x="1714235" y="3835043"/>
                  <a:pt x="1714235" y="3835043"/>
                </a:cubicBezTo>
                <a:cubicBezTo>
                  <a:pt x="1720466" y="3845892"/>
                  <a:pt x="1739814" y="3841897"/>
                  <a:pt x="1742109" y="3833333"/>
                </a:cubicBezTo>
                <a:cubicBezTo>
                  <a:pt x="1759160" y="3837902"/>
                  <a:pt x="1737519" y="3850462"/>
                  <a:pt x="1743749" y="3861313"/>
                </a:cubicBezTo>
                <a:cubicBezTo>
                  <a:pt x="1730634" y="3876157"/>
                  <a:pt x="1709645" y="3852174"/>
                  <a:pt x="1696527" y="3867018"/>
                </a:cubicBezTo>
                <a:cubicBezTo>
                  <a:pt x="1694232" y="3875583"/>
                  <a:pt x="1711286" y="3880152"/>
                  <a:pt x="1700465" y="3886432"/>
                </a:cubicBezTo>
                <a:cubicBezTo>
                  <a:pt x="1695876" y="3903561"/>
                  <a:pt x="1672591" y="3888142"/>
                  <a:pt x="1674232" y="3916123"/>
                </a:cubicBezTo>
                <a:cubicBezTo>
                  <a:pt x="1664066" y="3885858"/>
                  <a:pt x="1611599" y="3945237"/>
                  <a:pt x="1582084" y="3918970"/>
                </a:cubicBezTo>
                <a:cubicBezTo>
                  <a:pt x="1588315" y="3929819"/>
                  <a:pt x="1592253" y="3949232"/>
                  <a:pt x="1587663" y="3966364"/>
                </a:cubicBezTo>
                <a:cubicBezTo>
                  <a:pt x="1628653" y="3949807"/>
                  <a:pt x="1665052" y="3950380"/>
                  <a:pt x="1691285" y="3920692"/>
                </a:cubicBezTo>
                <a:cubicBezTo>
                  <a:pt x="1716865" y="3927546"/>
                  <a:pt x="1721455" y="3910415"/>
                  <a:pt x="1749326" y="3908704"/>
                </a:cubicBezTo>
                <a:cubicBezTo>
                  <a:pt x="1749326" y="3908704"/>
                  <a:pt x="1743096" y="3897855"/>
                  <a:pt x="1745390" y="3889290"/>
                </a:cubicBezTo>
                <a:cubicBezTo>
                  <a:pt x="1749326" y="3908704"/>
                  <a:pt x="1764739" y="3885295"/>
                  <a:pt x="1764739" y="3885295"/>
                </a:cubicBezTo>
                <a:cubicBezTo>
                  <a:pt x="1775559" y="3879015"/>
                  <a:pt x="1762444" y="3893860"/>
                  <a:pt x="1770970" y="3896144"/>
                </a:cubicBezTo>
                <a:cubicBezTo>
                  <a:pt x="1779495" y="3898429"/>
                  <a:pt x="1792613" y="3883585"/>
                  <a:pt x="1803433" y="3877305"/>
                </a:cubicBezTo>
                <a:cubicBezTo>
                  <a:pt x="1822782" y="3873308"/>
                  <a:pt x="1859182" y="3873882"/>
                  <a:pt x="1863772" y="3856753"/>
                </a:cubicBezTo>
                <a:cubicBezTo>
                  <a:pt x="1872297" y="3859037"/>
                  <a:pt x="1902466" y="3848762"/>
                  <a:pt x="1907056" y="3831633"/>
                </a:cubicBezTo>
                <a:cubicBezTo>
                  <a:pt x="1913287" y="3842482"/>
                  <a:pt x="1926405" y="3827636"/>
                  <a:pt x="1926405" y="3827636"/>
                </a:cubicBezTo>
                <a:cubicBezTo>
                  <a:pt x="1937225" y="3821356"/>
                  <a:pt x="1954276" y="3825925"/>
                  <a:pt x="1965099" y="3819646"/>
                </a:cubicBezTo>
                <a:cubicBezTo>
                  <a:pt x="1984445" y="3815650"/>
                  <a:pt x="1999858" y="3792242"/>
                  <a:pt x="2025434" y="3799095"/>
                </a:cubicBezTo>
                <a:cubicBezTo>
                  <a:pt x="2025434" y="3799095"/>
                  <a:pt x="2025434" y="3799095"/>
                  <a:pt x="2019204" y="3788246"/>
                </a:cubicBezTo>
                <a:cubicBezTo>
                  <a:pt x="2064132" y="3791103"/>
                  <a:pt x="2092006" y="3789392"/>
                  <a:pt x="2118236" y="3759703"/>
                </a:cubicBezTo>
                <a:cubicBezTo>
                  <a:pt x="2135290" y="3764273"/>
                  <a:pt x="2191038" y="3760852"/>
                  <a:pt x="2187100" y="3741435"/>
                </a:cubicBezTo>
                <a:cubicBezTo>
                  <a:pt x="2214974" y="3739725"/>
                  <a:pt x="2240553" y="3746579"/>
                  <a:pt x="2255964" y="3723168"/>
                </a:cubicBezTo>
                <a:cubicBezTo>
                  <a:pt x="2270722" y="3736304"/>
                  <a:pt x="2307776" y="3700333"/>
                  <a:pt x="2300892" y="3726027"/>
                </a:cubicBezTo>
                <a:cubicBezTo>
                  <a:pt x="2300892" y="3726027"/>
                  <a:pt x="2303187" y="3717462"/>
                  <a:pt x="2305481" y="3708898"/>
                </a:cubicBezTo>
                <a:cubicBezTo>
                  <a:pt x="2350407" y="3711756"/>
                  <a:pt x="2445503" y="3663800"/>
                  <a:pt x="2490428" y="3666658"/>
                </a:cubicBezTo>
                <a:cubicBezTo>
                  <a:pt x="2501251" y="3660379"/>
                  <a:pt x="2525188" y="3639252"/>
                  <a:pt x="2520597" y="3656384"/>
                </a:cubicBezTo>
                <a:cubicBezTo>
                  <a:pt x="2550767" y="3646106"/>
                  <a:pt x="2604220" y="3651249"/>
                  <a:pt x="2611105" y="3625556"/>
                </a:cubicBezTo>
                <a:cubicBezTo>
                  <a:pt x="2634389" y="3640974"/>
                  <a:pt x="2660620" y="3611283"/>
                  <a:pt x="2694727" y="3620422"/>
                </a:cubicBezTo>
                <a:cubicBezTo>
                  <a:pt x="2718663" y="3599298"/>
                  <a:pt x="2774411" y="3595877"/>
                  <a:pt x="2815401" y="3579319"/>
                </a:cubicBezTo>
                <a:cubicBezTo>
                  <a:pt x="2810811" y="3596451"/>
                  <a:pt x="2815401" y="3579319"/>
                  <a:pt x="2834749" y="3575325"/>
                </a:cubicBezTo>
                <a:cubicBezTo>
                  <a:pt x="2862623" y="3573614"/>
                  <a:pt x="2896728" y="3582752"/>
                  <a:pt x="2892792" y="3563339"/>
                </a:cubicBezTo>
                <a:cubicBezTo>
                  <a:pt x="2907548" y="3576472"/>
                  <a:pt x="2929192" y="3563913"/>
                  <a:pt x="2948540" y="3559918"/>
                </a:cubicBezTo>
                <a:cubicBezTo>
                  <a:pt x="2957066" y="3562203"/>
                  <a:pt x="2964609" y="3559632"/>
                  <a:pt x="2969445" y="3558634"/>
                </a:cubicBezTo>
                <a:close/>
                <a:moveTo>
                  <a:pt x="5860920" y="3552576"/>
                </a:moveTo>
                <a:cubicBezTo>
                  <a:pt x="5879580" y="3548758"/>
                  <a:pt x="5856511" y="3569031"/>
                  <a:pt x="5848283" y="3566827"/>
                </a:cubicBezTo>
                <a:cubicBezTo>
                  <a:pt x="5844465" y="3548167"/>
                  <a:pt x="5852692" y="3550372"/>
                  <a:pt x="5858716" y="3560804"/>
                </a:cubicBezTo>
                <a:cubicBezTo>
                  <a:pt x="5860920" y="3552576"/>
                  <a:pt x="5860920" y="3552576"/>
                  <a:pt x="5860920" y="3552576"/>
                </a:cubicBezTo>
                <a:close/>
                <a:moveTo>
                  <a:pt x="7849602" y="3551937"/>
                </a:moveTo>
                <a:cubicBezTo>
                  <a:pt x="7855625" y="3562369"/>
                  <a:pt x="7822715" y="3553551"/>
                  <a:pt x="7836965" y="3566188"/>
                </a:cubicBezTo>
                <a:cubicBezTo>
                  <a:pt x="7836965" y="3566188"/>
                  <a:pt x="7828738" y="3563983"/>
                  <a:pt x="7820510" y="3561778"/>
                </a:cubicBezTo>
                <a:cubicBezTo>
                  <a:pt x="7830943" y="3555756"/>
                  <a:pt x="7833147" y="3547528"/>
                  <a:pt x="7849602" y="3551937"/>
                </a:cubicBezTo>
                <a:close/>
                <a:moveTo>
                  <a:pt x="4931190" y="3550364"/>
                </a:moveTo>
                <a:cubicBezTo>
                  <a:pt x="4931190" y="3550364"/>
                  <a:pt x="4928985" y="3558591"/>
                  <a:pt x="4926781" y="3566819"/>
                </a:cubicBezTo>
                <a:cubicBezTo>
                  <a:pt x="4921934" y="3547884"/>
                  <a:pt x="4906064" y="3570086"/>
                  <a:pt x="4889756" y="3556898"/>
                </a:cubicBezTo>
                <a:cubicBezTo>
                  <a:pt x="4901217" y="3551151"/>
                  <a:pt x="4919729" y="3556111"/>
                  <a:pt x="4931190" y="3550364"/>
                </a:cubicBezTo>
                <a:close/>
                <a:moveTo>
                  <a:pt x="5395100" y="3546805"/>
                </a:moveTo>
                <a:cubicBezTo>
                  <a:pt x="5390691" y="3563260"/>
                  <a:pt x="5378645" y="3542396"/>
                  <a:pt x="5366009" y="3556646"/>
                </a:cubicBezTo>
                <a:cubicBezTo>
                  <a:pt x="5359986" y="3546214"/>
                  <a:pt x="5386872" y="3544600"/>
                  <a:pt x="5395100" y="3546805"/>
                </a:cubicBezTo>
                <a:close/>
                <a:moveTo>
                  <a:pt x="5247048" y="3545518"/>
                </a:moveTo>
                <a:cubicBezTo>
                  <a:pt x="5245881" y="3548341"/>
                  <a:pt x="5223287" y="3570947"/>
                  <a:pt x="5220699" y="3555925"/>
                </a:cubicBezTo>
                <a:cubicBezTo>
                  <a:pt x="5223088" y="3547011"/>
                  <a:pt x="5239543" y="3551420"/>
                  <a:pt x="5239543" y="3551420"/>
                </a:cubicBezTo>
                <a:cubicBezTo>
                  <a:pt x="5245449" y="3545837"/>
                  <a:pt x="5247439" y="3544579"/>
                  <a:pt x="5247048" y="3545518"/>
                </a:cubicBezTo>
                <a:close/>
                <a:moveTo>
                  <a:pt x="2195768" y="3540505"/>
                </a:moveTo>
                <a:cubicBezTo>
                  <a:pt x="2195768" y="3540505"/>
                  <a:pt x="2203995" y="3542710"/>
                  <a:pt x="2203995" y="3542710"/>
                </a:cubicBezTo>
                <a:cubicBezTo>
                  <a:pt x="2217879" y="3556717"/>
                  <a:pt x="2176741" y="3545694"/>
                  <a:pt x="2201423" y="3552308"/>
                </a:cubicBezTo>
                <a:cubicBezTo>
                  <a:pt x="2188051" y="3569303"/>
                  <a:pt x="2176741" y="3545694"/>
                  <a:pt x="2195768" y="3540505"/>
                </a:cubicBezTo>
                <a:close/>
                <a:moveTo>
                  <a:pt x="8394173" y="3539813"/>
                </a:moveTo>
                <a:cubicBezTo>
                  <a:pt x="8396302" y="3539970"/>
                  <a:pt x="8399125" y="3541002"/>
                  <a:pt x="8402459" y="3542446"/>
                </a:cubicBezTo>
                <a:cubicBezTo>
                  <a:pt x="8409126" y="3545335"/>
                  <a:pt x="8417830" y="3549873"/>
                  <a:pt x="8427086" y="3552353"/>
                </a:cubicBezTo>
                <a:cubicBezTo>
                  <a:pt x="8422677" y="3568808"/>
                  <a:pt x="8399318" y="3544912"/>
                  <a:pt x="8390061" y="3542432"/>
                </a:cubicBezTo>
                <a:cubicBezTo>
                  <a:pt x="8390613" y="3540375"/>
                  <a:pt x="8392045" y="3539656"/>
                  <a:pt x="8394173" y="3539813"/>
                </a:cubicBezTo>
                <a:close/>
                <a:moveTo>
                  <a:pt x="2268199" y="3533458"/>
                </a:moveTo>
                <a:cubicBezTo>
                  <a:pt x="2265995" y="3541686"/>
                  <a:pt x="2265995" y="3541686"/>
                  <a:pt x="2263790" y="3549914"/>
                </a:cubicBezTo>
                <a:lnTo>
                  <a:pt x="2260735" y="3534986"/>
                </a:lnTo>
                <a:close/>
                <a:moveTo>
                  <a:pt x="7700661" y="3531870"/>
                </a:moveTo>
                <a:cubicBezTo>
                  <a:pt x="7734945" y="3541057"/>
                  <a:pt x="7763412" y="3537661"/>
                  <a:pt x="7806263" y="3549143"/>
                </a:cubicBezTo>
                <a:cubicBezTo>
                  <a:pt x="7777795" y="3552538"/>
                  <a:pt x="7732189" y="3551342"/>
                  <a:pt x="7700661" y="3531870"/>
                </a:cubicBezTo>
                <a:close/>
                <a:moveTo>
                  <a:pt x="2259972" y="3531254"/>
                </a:moveTo>
                <a:lnTo>
                  <a:pt x="2260735" y="3534986"/>
                </a:lnTo>
                <a:lnTo>
                  <a:pt x="2255758" y="3536002"/>
                </a:lnTo>
                <a:close/>
                <a:moveTo>
                  <a:pt x="3129908" y="3526260"/>
                </a:moveTo>
                <a:cubicBezTo>
                  <a:pt x="3125498" y="3542715"/>
                  <a:pt x="3117271" y="3540510"/>
                  <a:pt x="3109043" y="3538306"/>
                </a:cubicBezTo>
                <a:cubicBezTo>
                  <a:pt x="3111248" y="3530078"/>
                  <a:pt x="3121680" y="3524055"/>
                  <a:pt x="3129908" y="3526260"/>
                </a:cubicBezTo>
                <a:close/>
                <a:moveTo>
                  <a:pt x="3094793" y="3525669"/>
                </a:moveTo>
                <a:cubicBezTo>
                  <a:pt x="3092498" y="3534234"/>
                  <a:pt x="3087908" y="3551362"/>
                  <a:pt x="3085614" y="3559927"/>
                </a:cubicBezTo>
                <a:cubicBezTo>
                  <a:pt x="3066268" y="3563922"/>
                  <a:pt x="3087908" y="3551362"/>
                  <a:pt x="3081678" y="3540514"/>
                </a:cubicBezTo>
                <a:cubicBezTo>
                  <a:pt x="3077415" y="3539371"/>
                  <a:pt x="3071431" y="3544653"/>
                  <a:pt x="3065734" y="3548865"/>
                </a:cubicBezTo>
                <a:lnTo>
                  <a:pt x="3053929" y="3550462"/>
                </a:lnTo>
                <a:lnTo>
                  <a:pt x="3054104" y="3550134"/>
                </a:lnTo>
                <a:lnTo>
                  <a:pt x="3061157" y="3548354"/>
                </a:lnTo>
                <a:cubicBezTo>
                  <a:pt x="3061275" y="3547382"/>
                  <a:pt x="3058948" y="3546471"/>
                  <a:pt x="3056140" y="3546294"/>
                </a:cubicBezTo>
                <a:lnTo>
                  <a:pt x="3054104" y="3550134"/>
                </a:lnTo>
                <a:lnTo>
                  <a:pt x="3051509" y="3550788"/>
                </a:lnTo>
                <a:lnTo>
                  <a:pt x="3053929" y="3550462"/>
                </a:lnTo>
                <a:lnTo>
                  <a:pt x="3049214" y="3559353"/>
                </a:lnTo>
                <a:cubicBezTo>
                  <a:pt x="3029866" y="3563348"/>
                  <a:pt x="3032160" y="3554783"/>
                  <a:pt x="3012814" y="3558779"/>
                </a:cubicBezTo>
                <a:cubicBezTo>
                  <a:pt x="3010519" y="3567346"/>
                  <a:pt x="3010519" y="3567346"/>
                  <a:pt x="3019044" y="3569631"/>
                </a:cubicBezTo>
                <a:cubicBezTo>
                  <a:pt x="3027570" y="3571915"/>
                  <a:pt x="2993465" y="3562777"/>
                  <a:pt x="2997404" y="3582191"/>
                </a:cubicBezTo>
                <a:cubicBezTo>
                  <a:pt x="2988875" y="3579905"/>
                  <a:pt x="2999698" y="3573626"/>
                  <a:pt x="2993465" y="3562777"/>
                </a:cubicBezTo>
                <a:cubicBezTo>
                  <a:pt x="2993465" y="3562777"/>
                  <a:pt x="2991170" y="3571341"/>
                  <a:pt x="2988875" y="3579905"/>
                </a:cubicBezTo>
                <a:cubicBezTo>
                  <a:pt x="2982645" y="3569057"/>
                  <a:pt x="2971824" y="3575337"/>
                  <a:pt x="2974119" y="3566772"/>
                </a:cubicBezTo>
                <a:cubicBezTo>
                  <a:pt x="2978710" y="3549641"/>
                  <a:pt x="2993465" y="3562777"/>
                  <a:pt x="2998056" y="3545645"/>
                </a:cubicBezTo>
                <a:cubicBezTo>
                  <a:pt x="3015109" y="3550214"/>
                  <a:pt x="3017404" y="3541650"/>
                  <a:pt x="3023635" y="3552499"/>
                </a:cubicBezTo>
                <a:cubicBezTo>
                  <a:pt x="3011173" y="3530801"/>
                  <a:pt x="3049214" y="3559353"/>
                  <a:pt x="3047573" y="3531375"/>
                </a:cubicBezTo>
                <a:cubicBezTo>
                  <a:pt x="3062329" y="3544509"/>
                  <a:pt x="3090203" y="3542798"/>
                  <a:pt x="3094793" y="3525669"/>
                </a:cubicBezTo>
                <a:close/>
                <a:moveTo>
                  <a:pt x="3208659" y="3512088"/>
                </a:moveTo>
                <a:cubicBezTo>
                  <a:pt x="3208659" y="3512088"/>
                  <a:pt x="3206454" y="3520316"/>
                  <a:pt x="3206454" y="3520316"/>
                </a:cubicBezTo>
                <a:cubicBezTo>
                  <a:pt x="3192203" y="3507679"/>
                  <a:pt x="3193817" y="3534566"/>
                  <a:pt x="3171339" y="3519725"/>
                </a:cubicBezTo>
                <a:cubicBezTo>
                  <a:pt x="3173544" y="3511498"/>
                  <a:pt x="3198226" y="3518111"/>
                  <a:pt x="3208659" y="3512088"/>
                </a:cubicBezTo>
                <a:close/>
                <a:moveTo>
                  <a:pt x="2239698" y="3508185"/>
                </a:moveTo>
                <a:lnTo>
                  <a:pt x="2238335" y="3515460"/>
                </a:lnTo>
                <a:lnTo>
                  <a:pt x="2237494" y="3516413"/>
                </a:lnTo>
                <a:cubicBezTo>
                  <a:pt x="2239698" y="3508185"/>
                  <a:pt x="2239698" y="3508185"/>
                  <a:pt x="2239698" y="3508185"/>
                </a:cubicBezTo>
                <a:close/>
                <a:moveTo>
                  <a:pt x="2303195" y="3507562"/>
                </a:moveTo>
                <a:lnTo>
                  <a:pt x="2320399" y="3512172"/>
                </a:lnTo>
                <a:cubicBezTo>
                  <a:pt x="2300991" y="3515790"/>
                  <a:pt x="2320399" y="3512172"/>
                  <a:pt x="2318195" y="3520400"/>
                </a:cubicBezTo>
                <a:cubicBezTo>
                  <a:pt x="2337603" y="3516782"/>
                  <a:pt x="2341795" y="3535542"/>
                  <a:pt x="2361203" y="3531924"/>
                </a:cubicBezTo>
                <a:cubicBezTo>
                  <a:pt x="2330989" y="3541465"/>
                  <a:pt x="2318195" y="3520400"/>
                  <a:pt x="2300991" y="3515790"/>
                </a:cubicBezTo>
                <a:cubicBezTo>
                  <a:pt x="2292390" y="3513485"/>
                  <a:pt x="2300991" y="3515790"/>
                  <a:pt x="2303195" y="3507562"/>
                </a:cubicBezTo>
                <a:close/>
                <a:moveTo>
                  <a:pt x="2250130" y="3502162"/>
                </a:moveTo>
                <a:cubicBezTo>
                  <a:pt x="2256153" y="3512594"/>
                  <a:pt x="2243517" y="3526845"/>
                  <a:pt x="2249540" y="3537277"/>
                </a:cubicBezTo>
                <a:lnTo>
                  <a:pt x="2255758" y="3536002"/>
                </a:lnTo>
                <a:lnTo>
                  <a:pt x="2247335" y="3545504"/>
                </a:lnTo>
                <a:cubicBezTo>
                  <a:pt x="2239107" y="3543300"/>
                  <a:pt x="2241312" y="3535072"/>
                  <a:pt x="2233084" y="3532868"/>
                </a:cubicBezTo>
                <a:cubicBezTo>
                  <a:pt x="2235289" y="3524640"/>
                  <a:pt x="2249540" y="3537277"/>
                  <a:pt x="2245721" y="3518617"/>
                </a:cubicBezTo>
                <a:cubicBezTo>
                  <a:pt x="2240504" y="3521627"/>
                  <a:pt x="2237898" y="3523134"/>
                  <a:pt x="2237145" y="3521829"/>
                </a:cubicBezTo>
                <a:lnTo>
                  <a:pt x="2238335" y="3515460"/>
                </a:lnTo>
                <a:close/>
                <a:moveTo>
                  <a:pt x="2277391" y="3500648"/>
                </a:moveTo>
                <a:lnTo>
                  <a:pt x="2303195" y="3507562"/>
                </a:lnTo>
                <a:cubicBezTo>
                  <a:pt x="2303195" y="3507562"/>
                  <a:pt x="2292390" y="3513485"/>
                  <a:pt x="2292390" y="3513485"/>
                </a:cubicBezTo>
                <a:cubicBezTo>
                  <a:pt x="2290185" y="3521713"/>
                  <a:pt x="2275186" y="3508876"/>
                  <a:pt x="2264381" y="3514799"/>
                </a:cubicBezTo>
                <a:cubicBezTo>
                  <a:pt x="2275186" y="3508876"/>
                  <a:pt x="2275186" y="3508876"/>
                  <a:pt x="2277391" y="3500648"/>
                </a:cubicBezTo>
                <a:close/>
                <a:moveTo>
                  <a:pt x="8246703" y="3497407"/>
                </a:moveTo>
                <a:cubicBezTo>
                  <a:pt x="8253901" y="3499335"/>
                  <a:pt x="8259524" y="3503044"/>
                  <a:pt x="8254306" y="3506057"/>
                </a:cubicBezTo>
                <a:cubicBezTo>
                  <a:pt x="8246079" y="3503852"/>
                  <a:pt x="8237851" y="3501647"/>
                  <a:pt x="8235646" y="3509875"/>
                </a:cubicBezTo>
                <a:cubicBezTo>
                  <a:pt x="8227418" y="3507670"/>
                  <a:pt x="8237851" y="3501647"/>
                  <a:pt x="8229623" y="3499443"/>
                </a:cubicBezTo>
                <a:cubicBezTo>
                  <a:pt x="8230726" y="3495328"/>
                  <a:pt x="8239504" y="3495478"/>
                  <a:pt x="8246703" y="3497407"/>
                </a:cubicBezTo>
                <a:close/>
                <a:moveTo>
                  <a:pt x="7529493" y="3494997"/>
                </a:moveTo>
                <a:cubicBezTo>
                  <a:pt x="7532281" y="3493849"/>
                  <a:pt x="7535453" y="3494354"/>
                  <a:pt x="7538366" y="3495824"/>
                </a:cubicBezTo>
                <a:cubicBezTo>
                  <a:pt x="7544191" y="3498763"/>
                  <a:pt x="7548984" y="3505557"/>
                  <a:pt x="7547605" y="3510701"/>
                </a:cubicBezTo>
                <a:cubicBezTo>
                  <a:pt x="7531150" y="3506292"/>
                  <a:pt x="7522923" y="3504087"/>
                  <a:pt x="7522923" y="3504087"/>
                </a:cubicBezTo>
                <a:cubicBezTo>
                  <a:pt x="7524301" y="3498945"/>
                  <a:pt x="7526705" y="3496144"/>
                  <a:pt x="7529493" y="3494997"/>
                </a:cubicBezTo>
                <a:close/>
                <a:moveTo>
                  <a:pt x="8107569" y="3477765"/>
                </a:moveTo>
                <a:cubicBezTo>
                  <a:pt x="8115796" y="3479969"/>
                  <a:pt x="8123473" y="3484229"/>
                  <a:pt x="8122371" y="3488344"/>
                </a:cubicBezTo>
                <a:cubicBezTo>
                  <a:pt x="8105916" y="3483935"/>
                  <a:pt x="8097688" y="3481730"/>
                  <a:pt x="8089461" y="3479526"/>
                </a:cubicBezTo>
                <a:cubicBezTo>
                  <a:pt x="8090563" y="3475410"/>
                  <a:pt x="8099341" y="3475560"/>
                  <a:pt x="8107569" y="3477765"/>
                </a:cubicBezTo>
                <a:close/>
                <a:moveTo>
                  <a:pt x="3319810" y="3475735"/>
                </a:moveTo>
                <a:cubicBezTo>
                  <a:pt x="3328038" y="3477940"/>
                  <a:pt x="3325833" y="3486168"/>
                  <a:pt x="3325833" y="3486168"/>
                </a:cubicBezTo>
                <a:cubicBezTo>
                  <a:pt x="3325833" y="3486168"/>
                  <a:pt x="3334061" y="3488372"/>
                  <a:pt x="3334061" y="3488372"/>
                </a:cubicBezTo>
                <a:cubicBezTo>
                  <a:pt x="3334061" y="3488372"/>
                  <a:pt x="3331856" y="3496600"/>
                  <a:pt x="3331856" y="3496600"/>
                </a:cubicBezTo>
                <a:cubicBezTo>
                  <a:pt x="3323629" y="3494395"/>
                  <a:pt x="3323629" y="3494395"/>
                  <a:pt x="3323629" y="3494395"/>
                </a:cubicBezTo>
                <a:cubicBezTo>
                  <a:pt x="3323629" y="3494395"/>
                  <a:pt x="3309378" y="3481759"/>
                  <a:pt x="3319810" y="3475735"/>
                </a:cubicBezTo>
                <a:close/>
                <a:moveTo>
                  <a:pt x="8298792" y="3471683"/>
                </a:moveTo>
                <a:cubicBezTo>
                  <a:pt x="8298792" y="3471683"/>
                  <a:pt x="8306682" y="3471042"/>
                  <a:pt x="8313880" y="3472971"/>
                </a:cubicBezTo>
                <a:cubicBezTo>
                  <a:pt x="8321080" y="3474900"/>
                  <a:pt x="8327590" y="3479399"/>
                  <a:pt x="8324834" y="3489684"/>
                </a:cubicBezTo>
                <a:cubicBezTo>
                  <a:pt x="8315235" y="3487112"/>
                  <a:pt x="8305637" y="3484541"/>
                  <a:pt x="8298792" y="3471683"/>
                </a:cubicBezTo>
                <a:close/>
                <a:moveTo>
                  <a:pt x="6713268" y="3456890"/>
                </a:moveTo>
                <a:cubicBezTo>
                  <a:pt x="6726159" y="3458139"/>
                  <a:pt x="6740560" y="3461997"/>
                  <a:pt x="6743570" y="3467214"/>
                </a:cubicBezTo>
                <a:cubicBezTo>
                  <a:pt x="6733137" y="3473237"/>
                  <a:pt x="6702432" y="3456191"/>
                  <a:pt x="6691999" y="3462214"/>
                </a:cubicBezTo>
                <a:cubicBezTo>
                  <a:pt x="6688990" y="3456997"/>
                  <a:pt x="6700374" y="3455640"/>
                  <a:pt x="6713268" y="3456890"/>
                </a:cubicBezTo>
                <a:close/>
                <a:moveTo>
                  <a:pt x="7994844" y="3454170"/>
                </a:moveTo>
                <a:cubicBezTo>
                  <a:pt x="7984411" y="3460193"/>
                  <a:pt x="7976184" y="3457989"/>
                  <a:pt x="7967956" y="3455784"/>
                </a:cubicBezTo>
                <a:cubicBezTo>
                  <a:pt x="7978389" y="3449761"/>
                  <a:pt x="7984411" y="3460193"/>
                  <a:pt x="7994844" y="3454170"/>
                </a:cubicBezTo>
                <a:close/>
                <a:moveTo>
                  <a:pt x="3600217" y="3449459"/>
                </a:moveTo>
                <a:cubicBezTo>
                  <a:pt x="3600217" y="3449459"/>
                  <a:pt x="3600217" y="3449459"/>
                  <a:pt x="3608444" y="3451664"/>
                </a:cubicBezTo>
                <a:cubicBezTo>
                  <a:pt x="3608444" y="3451664"/>
                  <a:pt x="3606239" y="3459891"/>
                  <a:pt x="3606239" y="3459891"/>
                </a:cubicBezTo>
                <a:cubicBezTo>
                  <a:pt x="3598012" y="3457687"/>
                  <a:pt x="3598012" y="3457687"/>
                  <a:pt x="3589784" y="3455482"/>
                </a:cubicBezTo>
                <a:cubicBezTo>
                  <a:pt x="3589784" y="3455482"/>
                  <a:pt x="3598012" y="3457687"/>
                  <a:pt x="3600217" y="3449459"/>
                </a:cubicBezTo>
                <a:close/>
                <a:moveTo>
                  <a:pt x="7872615" y="3435200"/>
                </a:moveTo>
                <a:cubicBezTo>
                  <a:pt x="7879199" y="3435311"/>
                  <a:pt x="7898427" y="3443770"/>
                  <a:pt x="7906251" y="3439253"/>
                </a:cubicBezTo>
                <a:cubicBezTo>
                  <a:pt x="7891409" y="3461731"/>
                  <a:pt x="7879364" y="3440867"/>
                  <a:pt x="7871136" y="3438662"/>
                </a:cubicBezTo>
                <a:cubicBezTo>
                  <a:pt x="7869630" y="3436054"/>
                  <a:pt x="7870420" y="3435163"/>
                  <a:pt x="7872615" y="3435200"/>
                </a:cubicBezTo>
                <a:close/>
                <a:moveTo>
                  <a:pt x="6518523" y="3426755"/>
                </a:moveTo>
                <a:cubicBezTo>
                  <a:pt x="6528331" y="3427178"/>
                  <a:pt x="6537587" y="3429658"/>
                  <a:pt x="6535383" y="3437885"/>
                </a:cubicBezTo>
                <a:cubicBezTo>
                  <a:pt x="6526126" y="3435405"/>
                  <a:pt x="6507614" y="3430445"/>
                  <a:pt x="6498357" y="3427965"/>
                </a:cubicBezTo>
                <a:cubicBezTo>
                  <a:pt x="6498357" y="3427965"/>
                  <a:pt x="6508716" y="3426330"/>
                  <a:pt x="6518523" y="3426755"/>
                </a:cubicBezTo>
                <a:close/>
                <a:moveTo>
                  <a:pt x="3699831" y="3423241"/>
                </a:moveTo>
                <a:cubicBezTo>
                  <a:pt x="3708059" y="3425446"/>
                  <a:pt x="3714783" y="3425042"/>
                  <a:pt x="3721228" y="3425667"/>
                </a:cubicBezTo>
                <a:cubicBezTo>
                  <a:pt x="3727675" y="3426291"/>
                  <a:pt x="3733844" y="3427945"/>
                  <a:pt x="3740970" y="3434264"/>
                </a:cubicBezTo>
                <a:cubicBezTo>
                  <a:pt x="3730537" y="3440287"/>
                  <a:pt x="3732742" y="3432060"/>
                  <a:pt x="3730537" y="3440287"/>
                </a:cubicBezTo>
                <a:cubicBezTo>
                  <a:pt x="3722309" y="3438083"/>
                  <a:pt x="3722309" y="3438083"/>
                  <a:pt x="3724515" y="3429855"/>
                </a:cubicBezTo>
                <a:cubicBezTo>
                  <a:pt x="3724515" y="3429855"/>
                  <a:pt x="3722309" y="3438083"/>
                  <a:pt x="3722309" y="3438083"/>
                </a:cubicBezTo>
                <a:cubicBezTo>
                  <a:pt x="3711877" y="3444106"/>
                  <a:pt x="3714082" y="3435878"/>
                  <a:pt x="3714082" y="3435878"/>
                </a:cubicBezTo>
                <a:cubicBezTo>
                  <a:pt x="3705854" y="3433674"/>
                  <a:pt x="3714082" y="3435878"/>
                  <a:pt x="3711877" y="3444106"/>
                </a:cubicBezTo>
                <a:cubicBezTo>
                  <a:pt x="3703649" y="3441901"/>
                  <a:pt x="3703649" y="3441901"/>
                  <a:pt x="3703649" y="3441901"/>
                </a:cubicBezTo>
                <a:cubicBezTo>
                  <a:pt x="3695422" y="3439697"/>
                  <a:pt x="3703649" y="3441901"/>
                  <a:pt x="3705854" y="3433674"/>
                </a:cubicBezTo>
                <a:cubicBezTo>
                  <a:pt x="3697627" y="3431469"/>
                  <a:pt x="3695422" y="3439697"/>
                  <a:pt x="3693218" y="3447924"/>
                </a:cubicBezTo>
                <a:cubicBezTo>
                  <a:pt x="3687195" y="3437492"/>
                  <a:pt x="3674558" y="3451742"/>
                  <a:pt x="3658103" y="3447333"/>
                </a:cubicBezTo>
                <a:cubicBezTo>
                  <a:pt x="3647671" y="3453356"/>
                  <a:pt x="3670740" y="3433083"/>
                  <a:pt x="3662512" y="3430878"/>
                </a:cubicBezTo>
                <a:cubicBezTo>
                  <a:pt x="3672944" y="3424855"/>
                  <a:pt x="3691604" y="3421037"/>
                  <a:pt x="3689399" y="3429264"/>
                </a:cubicBezTo>
                <a:cubicBezTo>
                  <a:pt x="3689399" y="3429264"/>
                  <a:pt x="3699831" y="3423241"/>
                  <a:pt x="3697627" y="3431469"/>
                </a:cubicBezTo>
                <a:cubicBezTo>
                  <a:pt x="3697627" y="3431469"/>
                  <a:pt x="3697627" y="3431469"/>
                  <a:pt x="3699831" y="3423241"/>
                </a:cubicBezTo>
                <a:close/>
                <a:moveTo>
                  <a:pt x="7840430" y="3421616"/>
                </a:moveTo>
                <a:cubicBezTo>
                  <a:pt x="7840430" y="3421616"/>
                  <a:pt x="7848658" y="3423821"/>
                  <a:pt x="7856885" y="3426025"/>
                </a:cubicBezTo>
                <a:cubicBezTo>
                  <a:pt x="7854681" y="3434253"/>
                  <a:pt x="7854681" y="3434253"/>
                  <a:pt x="7852476" y="3442480"/>
                </a:cubicBezTo>
                <a:cubicBezTo>
                  <a:pt x="7844249" y="3440276"/>
                  <a:pt x="7850272" y="3450708"/>
                  <a:pt x="7836021" y="3438071"/>
                </a:cubicBezTo>
                <a:cubicBezTo>
                  <a:pt x="7838226" y="3429844"/>
                  <a:pt x="7838226" y="3429844"/>
                  <a:pt x="7840430" y="3421616"/>
                </a:cubicBezTo>
                <a:close/>
                <a:moveTo>
                  <a:pt x="7796798" y="3418881"/>
                </a:moveTo>
                <a:cubicBezTo>
                  <a:pt x="7799491" y="3418087"/>
                  <a:pt x="7802646" y="3418656"/>
                  <a:pt x="7805594" y="3419998"/>
                </a:cubicBezTo>
                <a:cubicBezTo>
                  <a:pt x="7811488" y="3422680"/>
                  <a:pt x="7816556" y="3428445"/>
                  <a:pt x="7815454" y="3432560"/>
                </a:cubicBezTo>
                <a:cubicBezTo>
                  <a:pt x="7805022" y="3438583"/>
                  <a:pt x="7801203" y="3419924"/>
                  <a:pt x="7790771" y="3425947"/>
                </a:cubicBezTo>
                <a:cubicBezTo>
                  <a:pt x="7791874" y="3421833"/>
                  <a:pt x="7794105" y="3419675"/>
                  <a:pt x="7796798" y="3418881"/>
                </a:cubicBezTo>
                <a:close/>
                <a:moveTo>
                  <a:pt x="2062519" y="3416619"/>
                </a:moveTo>
                <a:cubicBezTo>
                  <a:pt x="2090288" y="3424059"/>
                  <a:pt x="2055906" y="3441301"/>
                  <a:pt x="2051058" y="3422366"/>
                </a:cubicBezTo>
                <a:cubicBezTo>
                  <a:pt x="2053263" y="3414139"/>
                  <a:pt x="2067366" y="3435554"/>
                  <a:pt x="2062519" y="3416619"/>
                </a:cubicBezTo>
                <a:close/>
                <a:moveTo>
                  <a:pt x="7777274" y="3414614"/>
                </a:moveTo>
                <a:cubicBezTo>
                  <a:pt x="7778578" y="3413861"/>
                  <a:pt x="7780635" y="3414412"/>
                  <a:pt x="7784748" y="3415515"/>
                </a:cubicBezTo>
                <a:cubicBezTo>
                  <a:pt x="7774316" y="3421538"/>
                  <a:pt x="7790771" y="3425947"/>
                  <a:pt x="7774316" y="3421538"/>
                </a:cubicBezTo>
                <a:cubicBezTo>
                  <a:pt x="7775419" y="3417424"/>
                  <a:pt x="7775970" y="3415367"/>
                  <a:pt x="7777274" y="3414614"/>
                </a:cubicBezTo>
                <a:close/>
                <a:moveTo>
                  <a:pt x="8069927" y="3412564"/>
                </a:moveTo>
                <a:cubicBezTo>
                  <a:pt x="8079184" y="3415044"/>
                  <a:pt x="8067723" y="3420792"/>
                  <a:pt x="8086235" y="3425752"/>
                </a:cubicBezTo>
                <a:cubicBezTo>
                  <a:pt x="8074775" y="3431499"/>
                  <a:pt x="8065518" y="3429019"/>
                  <a:pt x="8063314" y="3437247"/>
                </a:cubicBezTo>
                <a:cubicBezTo>
                  <a:pt x="8063314" y="3437247"/>
                  <a:pt x="8054058" y="3434767"/>
                  <a:pt x="8054058" y="3434767"/>
                </a:cubicBezTo>
                <a:cubicBezTo>
                  <a:pt x="8054058" y="3434767"/>
                  <a:pt x="8054058" y="3434767"/>
                  <a:pt x="8056262" y="3426539"/>
                </a:cubicBezTo>
                <a:cubicBezTo>
                  <a:pt x="8049210" y="3415831"/>
                  <a:pt x="8067723" y="3420792"/>
                  <a:pt x="8069927" y="3412564"/>
                </a:cubicBezTo>
                <a:close/>
                <a:moveTo>
                  <a:pt x="7019553" y="3412198"/>
                </a:moveTo>
                <a:cubicBezTo>
                  <a:pt x="7025521" y="3410489"/>
                  <a:pt x="7031694" y="3412143"/>
                  <a:pt x="7034703" y="3417360"/>
                </a:cubicBezTo>
                <a:cubicBezTo>
                  <a:pt x="7018248" y="3412951"/>
                  <a:pt x="7016044" y="3421179"/>
                  <a:pt x="7005612" y="3427202"/>
                </a:cubicBezTo>
                <a:cubicBezTo>
                  <a:pt x="7007816" y="3418974"/>
                  <a:pt x="7013585" y="3413907"/>
                  <a:pt x="7019553" y="3412198"/>
                </a:cubicBezTo>
                <a:close/>
                <a:moveTo>
                  <a:pt x="7732358" y="3410292"/>
                </a:moveTo>
                <a:lnTo>
                  <a:pt x="7741406" y="3412717"/>
                </a:lnTo>
                <a:cubicBezTo>
                  <a:pt x="7739202" y="3420944"/>
                  <a:pt x="7739202" y="3420944"/>
                  <a:pt x="7736997" y="3429172"/>
                </a:cubicBezTo>
                <a:cubicBezTo>
                  <a:pt x="7727949" y="3426747"/>
                  <a:pt x="7730153" y="3418520"/>
                  <a:pt x="7730153" y="3418520"/>
                </a:cubicBezTo>
                <a:cubicBezTo>
                  <a:pt x="7730153" y="3418520"/>
                  <a:pt x="7721101" y="3416094"/>
                  <a:pt x="7718897" y="3424322"/>
                </a:cubicBezTo>
                <a:cubicBezTo>
                  <a:pt x="7712050" y="3413669"/>
                  <a:pt x="7730153" y="3418520"/>
                  <a:pt x="7732358" y="3410292"/>
                </a:cubicBezTo>
                <a:close/>
                <a:moveTo>
                  <a:pt x="3831257" y="3409958"/>
                </a:moveTo>
                <a:cubicBezTo>
                  <a:pt x="3847711" y="3414367"/>
                  <a:pt x="3803818" y="3413629"/>
                  <a:pt x="3828501" y="3420243"/>
                </a:cubicBezTo>
                <a:cubicBezTo>
                  <a:pt x="3833972" y="3432732"/>
                  <a:pt x="3806575" y="3403344"/>
                  <a:pt x="3809290" y="3426119"/>
                </a:cubicBezTo>
                <a:cubicBezTo>
                  <a:pt x="3806575" y="3403344"/>
                  <a:pt x="3820273" y="3418038"/>
                  <a:pt x="3831257" y="3409958"/>
                </a:cubicBezTo>
                <a:close/>
                <a:moveTo>
                  <a:pt x="7705206" y="3403017"/>
                </a:moveTo>
                <a:lnTo>
                  <a:pt x="7732358" y="3410292"/>
                </a:lnTo>
                <a:cubicBezTo>
                  <a:pt x="7723306" y="3407867"/>
                  <a:pt x="7712050" y="3413669"/>
                  <a:pt x="7693949" y="3408819"/>
                </a:cubicBezTo>
                <a:cubicBezTo>
                  <a:pt x="7705206" y="3403017"/>
                  <a:pt x="7705206" y="3403017"/>
                  <a:pt x="7705206" y="3403017"/>
                </a:cubicBezTo>
                <a:close/>
                <a:moveTo>
                  <a:pt x="4109276" y="3402883"/>
                </a:moveTo>
                <a:cubicBezTo>
                  <a:pt x="4113426" y="3401790"/>
                  <a:pt x="4118225" y="3403076"/>
                  <a:pt x="4126721" y="3409763"/>
                </a:cubicBezTo>
                <a:cubicBezTo>
                  <a:pt x="4124517" y="3417991"/>
                  <a:pt x="4105320" y="3412847"/>
                  <a:pt x="4095719" y="3410274"/>
                </a:cubicBezTo>
                <a:cubicBezTo>
                  <a:pt x="4101624" y="3407446"/>
                  <a:pt x="4105125" y="3403977"/>
                  <a:pt x="4109276" y="3402883"/>
                </a:cubicBezTo>
                <a:close/>
                <a:moveTo>
                  <a:pt x="3962401" y="3401007"/>
                </a:moveTo>
                <a:cubicBezTo>
                  <a:pt x="3979678" y="3405636"/>
                  <a:pt x="3988317" y="3407951"/>
                  <a:pt x="3999161" y="3402038"/>
                </a:cubicBezTo>
                <a:cubicBezTo>
                  <a:pt x="4003392" y="3420808"/>
                  <a:pt x="4016440" y="3406668"/>
                  <a:pt x="4033718" y="3411297"/>
                </a:cubicBezTo>
                <a:cubicBezTo>
                  <a:pt x="4029309" y="3427753"/>
                  <a:pt x="4003392" y="3420808"/>
                  <a:pt x="3996957" y="3410266"/>
                </a:cubicBezTo>
                <a:cubicBezTo>
                  <a:pt x="3996957" y="3410266"/>
                  <a:pt x="3996957" y="3410266"/>
                  <a:pt x="3988317" y="3407951"/>
                </a:cubicBezTo>
                <a:cubicBezTo>
                  <a:pt x="3986113" y="3416178"/>
                  <a:pt x="3994754" y="3418493"/>
                  <a:pt x="3994754" y="3418493"/>
                </a:cubicBezTo>
                <a:cubicBezTo>
                  <a:pt x="3992548" y="3426721"/>
                  <a:pt x="3977474" y="3413864"/>
                  <a:pt x="3968836" y="3411549"/>
                </a:cubicBezTo>
                <a:cubicBezTo>
                  <a:pt x="3968836" y="3411549"/>
                  <a:pt x="3953583" y="3433917"/>
                  <a:pt x="3940713" y="3412832"/>
                </a:cubicBezTo>
                <a:cubicBezTo>
                  <a:pt x="3949352" y="3415147"/>
                  <a:pt x="3949352" y="3415147"/>
                  <a:pt x="3949352" y="3415147"/>
                </a:cubicBezTo>
                <a:cubicBezTo>
                  <a:pt x="3957992" y="3417462"/>
                  <a:pt x="3960197" y="3409234"/>
                  <a:pt x="3962401" y="3401007"/>
                </a:cubicBezTo>
                <a:close/>
                <a:moveTo>
                  <a:pt x="7968368" y="3400783"/>
                </a:moveTo>
                <a:cubicBezTo>
                  <a:pt x="7973167" y="3402069"/>
                  <a:pt x="7979815" y="3406055"/>
                  <a:pt x="7989413" y="3408627"/>
                </a:cubicBezTo>
                <a:lnTo>
                  <a:pt x="7987209" y="3416854"/>
                </a:lnTo>
                <a:cubicBezTo>
                  <a:pt x="7977610" y="3414282"/>
                  <a:pt x="7970216" y="3403483"/>
                  <a:pt x="7958411" y="3409138"/>
                </a:cubicBezTo>
                <a:cubicBezTo>
                  <a:pt x="7960616" y="3400910"/>
                  <a:pt x="7963567" y="3399496"/>
                  <a:pt x="7968368" y="3400783"/>
                </a:cubicBezTo>
                <a:close/>
                <a:moveTo>
                  <a:pt x="4163742" y="3400608"/>
                </a:moveTo>
                <a:lnTo>
                  <a:pt x="4153974" y="3406781"/>
                </a:lnTo>
                <a:cubicBezTo>
                  <a:pt x="4145747" y="3404577"/>
                  <a:pt x="4143359" y="3413488"/>
                  <a:pt x="4135132" y="3411284"/>
                </a:cubicBezTo>
                <a:cubicBezTo>
                  <a:pt x="4141636" y="3403475"/>
                  <a:pt x="4151057" y="3401222"/>
                  <a:pt x="4162237" y="3400635"/>
                </a:cubicBezTo>
                <a:close/>
                <a:moveTo>
                  <a:pt x="4164591" y="3400071"/>
                </a:moveTo>
                <a:lnTo>
                  <a:pt x="4164726" y="3400591"/>
                </a:lnTo>
                <a:lnTo>
                  <a:pt x="4163742" y="3400608"/>
                </a:lnTo>
                <a:close/>
                <a:moveTo>
                  <a:pt x="4197472" y="3400019"/>
                </a:moveTo>
                <a:lnTo>
                  <a:pt x="4197501" y="3408890"/>
                </a:lnTo>
                <a:cubicBezTo>
                  <a:pt x="4197501" y="3408890"/>
                  <a:pt x="4205729" y="3411094"/>
                  <a:pt x="4205729" y="3411094"/>
                </a:cubicBezTo>
                <a:cubicBezTo>
                  <a:pt x="4187219" y="3406134"/>
                  <a:pt x="4173933" y="3418694"/>
                  <a:pt x="4167998" y="3413074"/>
                </a:cubicBezTo>
                <a:lnTo>
                  <a:pt x="4164726" y="3400591"/>
                </a:lnTo>
                <a:close/>
                <a:moveTo>
                  <a:pt x="4197469" y="3399327"/>
                </a:moveTo>
                <a:lnTo>
                  <a:pt x="4199891" y="3399975"/>
                </a:lnTo>
                <a:lnTo>
                  <a:pt x="4197472" y="3400019"/>
                </a:lnTo>
                <a:close/>
                <a:moveTo>
                  <a:pt x="6297854" y="3397389"/>
                </a:moveTo>
                <a:cubicBezTo>
                  <a:pt x="6300529" y="3397004"/>
                  <a:pt x="6302928" y="3397646"/>
                  <a:pt x="6307728" y="3398932"/>
                </a:cubicBezTo>
                <a:cubicBezTo>
                  <a:pt x="6305523" y="3407160"/>
                  <a:pt x="6305523" y="3407160"/>
                  <a:pt x="6305523" y="3407160"/>
                </a:cubicBezTo>
                <a:cubicBezTo>
                  <a:pt x="6295925" y="3404588"/>
                  <a:pt x="6293720" y="3412816"/>
                  <a:pt x="6284122" y="3410244"/>
                </a:cubicBezTo>
                <a:cubicBezTo>
                  <a:pt x="6286326" y="3402016"/>
                  <a:pt x="6286326" y="3402016"/>
                  <a:pt x="6276726" y="3399444"/>
                </a:cubicBezTo>
                <a:cubicBezTo>
                  <a:pt x="6277828" y="3395329"/>
                  <a:pt x="6279676" y="3398029"/>
                  <a:pt x="6282724" y="3401051"/>
                </a:cubicBezTo>
                <a:lnTo>
                  <a:pt x="6286326" y="3402016"/>
                </a:lnTo>
                <a:cubicBezTo>
                  <a:pt x="6292228" y="3399188"/>
                  <a:pt x="6295179" y="3397774"/>
                  <a:pt x="6297854" y="3397389"/>
                </a:cubicBezTo>
                <a:close/>
                <a:moveTo>
                  <a:pt x="4366817" y="3396935"/>
                </a:moveTo>
                <a:cubicBezTo>
                  <a:pt x="4375288" y="3397000"/>
                  <a:pt x="4384339" y="3399425"/>
                  <a:pt x="4392286" y="3405965"/>
                </a:cubicBezTo>
                <a:cubicBezTo>
                  <a:pt x="4374185" y="3401115"/>
                  <a:pt x="4362930" y="3406917"/>
                  <a:pt x="4344829" y="3402067"/>
                </a:cubicBezTo>
                <a:cubicBezTo>
                  <a:pt x="4350458" y="3399165"/>
                  <a:pt x="4358348" y="3396871"/>
                  <a:pt x="4366817" y="3396935"/>
                </a:cubicBezTo>
                <a:close/>
                <a:moveTo>
                  <a:pt x="7944436" y="3395473"/>
                </a:moveTo>
                <a:cubicBezTo>
                  <a:pt x="7948827" y="3395547"/>
                  <a:pt x="7952388" y="3398706"/>
                  <a:pt x="7950184" y="3406933"/>
                </a:cubicBezTo>
                <a:cubicBezTo>
                  <a:pt x="7941956" y="3404729"/>
                  <a:pt x="7941956" y="3404729"/>
                  <a:pt x="7933729" y="3402524"/>
                </a:cubicBezTo>
                <a:cubicBezTo>
                  <a:pt x="7934831" y="3398409"/>
                  <a:pt x="7940048" y="3395399"/>
                  <a:pt x="7944436" y="3395473"/>
                </a:cubicBezTo>
                <a:close/>
                <a:moveTo>
                  <a:pt x="6211714" y="3395250"/>
                </a:moveTo>
                <a:lnTo>
                  <a:pt x="6214724" y="3400467"/>
                </a:lnTo>
                <a:cubicBezTo>
                  <a:pt x="6214724" y="3400467"/>
                  <a:pt x="6206496" y="3398262"/>
                  <a:pt x="6206496" y="3398262"/>
                </a:cubicBezTo>
                <a:close/>
                <a:moveTo>
                  <a:pt x="6208700" y="3390035"/>
                </a:moveTo>
                <a:lnTo>
                  <a:pt x="6217733" y="3391777"/>
                </a:lnTo>
                <a:lnTo>
                  <a:pt x="6211714" y="3395250"/>
                </a:lnTo>
                <a:close/>
                <a:moveTo>
                  <a:pt x="6346665" y="3387318"/>
                </a:moveTo>
                <a:cubicBezTo>
                  <a:pt x="6350678" y="3386740"/>
                  <a:pt x="6354929" y="3387328"/>
                  <a:pt x="6359043" y="3388430"/>
                </a:cubicBezTo>
                <a:cubicBezTo>
                  <a:pt x="6367271" y="3390635"/>
                  <a:pt x="6374947" y="3394897"/>
                  <a:pt x="6379060" y="3395999"/>
                </a:cubicBezTo>
                <a:cubicBezTo>
                  <a:pt x="6379060" y="3395999"/>
                  <a:pt x="6352172" y="3397613"/>
                  <a:pt x="6335717" y="3393203"/>
                </a:cubicBezTo>
                <a:cubicBezTo>
                  <a:pt x="6338877" y="3389641"/>
                  <a:pt x="6342652" y="3387896"/>
                  <a:pt x="6346665" y="3387318"/>
                </a:cubicBezTo>
                <a:close/>
                <a:moveTo>
                  <a:pt x="6141021" y="3387056"/>
                </a:moveTo>
                <a:cubicBezTo>
                  <a:pt x="6146599" y="3389378"/>
                  <a:pt x="6149160" y="3398331"/>
                  <a:pt x="6150814" y="3392160"/>
                </a:cubicBezTo>
                <a:cubicBezTo>
                  <a:pt x="6156837" y="3402593"/>
                  <a:pt x="6123927" y="3393774"/>
                  <a:pt x="6134359" y="3387751"/>
                </a:cubicBezTo>
                <a:cubicBezTo>
                  <a:pt x="6136967" y="3386246"/>
                  <a:pt x="6139162" y="3386283"/>
                  <a:pt x="6141021" y="3387056"/>
                </a:cubicBezTo>
                <a:close/>
                <a:moveTo>
                  <a:pt x="7974625" y="3387028"/>
                </a:moveTo>
                <a:cubicBezTo>
                  <a:pt x="7984224" y="3389600"/>
                  <a:pt x="7982019" y="3397827"/>
                  <a:pt x="7993822" y="3392172"/>
                </a:cubicBezTo>
                <a:lnTo>
                  <a:pt x="7989413" y="3408627"/>
                </a:lnTo>
                <a:cubicBezTo>
                  <a:pt x="7993822" y="3392172"/>
                  <a:pt x="7972421" y="3395255"/>
                  <a:pt x="7974625" y="3387028"/>
                </a:cubicBezTo>
                <a:close/>
                <a:moveTo>
                  <a:pt x="6227360" y="3386216"/>
                </a:moveTo>
                <a:cubicBezTo>
                  <a:pt x="6230373" y="3391431"/>
                  <a:pt x="6227765" y="3392938"/>
                  <a:pt x="6223377" y="3392865"/>
                </a:cubicBezTo>
                <a:lnTo>
                  <a:pt x="6217733" y="3391777"/>
                </a:lnTo>
                <a:close/>
                <a:moveTo>
                  <a:pt x="2127093" y="3385422"/>
                </a:moveTo>
                <a:cubicBezTo>
                  <a:pt x="2135320" y="3387627"/>
                  <a:pt x="2151775" y="3392036"/>
                  <a:pt x="2149571" y="3400264"/>
                </a:cubicBezTo>
                <a:cubicBezTo>
                  <a:pt x="2141343" y="3398059"/>
                  <a:pt x="2122684" y="3401877"/>
                  <a:pt x="2127093" y="3385422"/>
                </a:cubicBezTo>
                <a:close/>
                <a:moveTo>
                  <a:pt x="4406174" y="3384474"/>
                </a:moveTo>
                <a:cubicBezTo>
                  <a:pt x="4420397" y="3385391"/>
                  <a:pt x="4426042" y="3395171"/>
                  <a:pt x="4440037" y="3392307"/>
                </a:cubicBezTo>
                <a:cubicBezTo>
                  <a:pt x="4440037" y="3392307"/>
                  <a:pt x="4429605" y="3398330"/>
                  <a:pt x="4437833" y="3400535"/>
                </a:cubicBezTo>
                <a:cubicBezTo>
                  <a:pt x="4423581" y="3387898"/>
                  <a:pt x="4400513" y="3408172"/>
                  <a:pt x="4386262" y="3395535"/>
                </a:cubicBezTo>
                <a:cubicBezTo>
                  <a:pt x="4388467" y="3387308"/>
                  <a:pt x="4396694" y="3389512"/>
                  <a:pt x="4396694" y="3389512"/>
                </a:cubicBezTo>
                <a:cubicBezTo>
                  <a:pt x="4396694" y="3389512"/>
                  <a:pt x="4396694" y="3389512"/>
                  <a:pt x="4388467" y="3387308"/>
                </a:cubicBezTo>
                <a:cubicBezTo>
                  <a:pt x="4395740" y="3384847"/>
                  <a:pt x="4401433" y="3384168"/>
                  <a:pt x="4406174" y="3384474"/>
                </a:cubicBezTo>
                <a:close/>
                <a:moveTo>
                  <a:pt x="4241116" y="3384338"/>
                </a:moveTo>
                <a:cubicBezTo>
                  <a:pt x="4243689" y="3383787"/>
                  <a:pt x="4245952" y="3384394"/>
                  <a:pt x="4250479" y="3385606"/>
                </a:cubicBezTo>
                <a:cubicBezTo>
                  <a:pt x="4247998" y="3394863"/>
                  <a:pt x="4250479" y="3385606"/>
                  <a:pt x="4238946" y="3392437"/>
                </a:cubicBezTo>
                <a:cubicBezTo>
                  <a:pt x="4237706" y="3397065"/>
                  <a:pt x="4242233" y="3398279"/>
                  <a:pt x="4248201" y="3398636"/>
                </a:cubicBezTo>
                <a:lnTo>
                  <a:pt x="4262654" y="3399506"/>
                </a:lnTo>
                <a:lnTo>
                  <a:pt x="4260349" y="3388249"/>
                </a:lnTo>
                <a:cubicBezTo>
                  <a:pt x="4261451" y="3384134"/>
                  <a:pt x="4265567" y="3385236"/>
                  <a:pt x="4269403" y="3387367"/>
                </a:cubicBezTo>
                <a:cubicBezTo>
                  <a:pt x="4273243" y="3389498"/>
                  <a:pt x="4276804" y="3392658"/>
                  <a:pt x="4276804" y="3392658"/>
                </a:cubicBezTo>
                <a:cubicBezTo>
                  <a:pt x="4276804" y="3392658"/>
                  <a:pt x="4268577" y="3390453"/>
                  <a:pt x="4266372" y="3398681"/>
                </a:cubicBezTo>
                <a:cubicBezTo>
                  <a:pt x="4274601" y="3400885"/>
                  <a:pt x="4274601" y="3400885"/>
                  <a:pt x="4274601" y="3400885"/>
                </a:cubicBezTo>
                <a:cubicBezTo>
                  <a:pt x="4274601" y="3400885"/>
                  <a:pt x="4282827" y="3403090"/>
                  <a:pt x="4282827" y="3403090"/>
                </a:cubicBezTo>
                <a:cubicBezTo>
                  <a:pt x="4274601" y="3400885"/>
                  <a:pt x="4272395" y="3409113"/>
                  <a:pt x="4264167" y="3406908"/>
                </a:cubicBezTo>
                <a:lnTo>
                  <a:pt x="4263040" y="3401393"/>
                </a:lnTo>
                <a:lnTo>
                  <a:pt x="4243348" y="3412217"/>
                </a:lnTo>
                <a:cubicBezTo>
                  <a:pt x="4235630" y="3413871"/>
                  <a:pt x="4228221" y="3414366"/>
                  <a:pt x="4222457" y="3417782"/>
                </a:cubicBezTo>
                <a:cubicBezTo>
                  <a:pt x="4215885" y="3406100"/>
                  <a:pt x="4224938" y="3408525"/>
                  <a:pt x="4215885" y="3406100"/>
                </a:cubicBezTo>
                <a:cubicBezTo>
                  <a:pt x="4224938" y="3408525"/>
                  <a:pt x="4236465" y="3401694"/>
                  <a:pt x="4229897" y="3390013"/>
                </a:cubicBezTo>
                <a:cubicBezTo>
                  <a:pt x="4235661" y="3386597"/>
                  <a:pt x="4238544" y="3384889"/>
                  <a:pt x="4241116" y="3384338"/>
                </a:cubicBezTo>
                <a:close/>
                <a:moveTo>
                  <a:pt x="4190484" y="3384172"/>
                </a:moveTo>
                <a:cubicBezTo>
                  <a:pt x="4192708" y="3384618"/>
                  <a:pt x="4195312" y="3386212"/>
                  <a:pt x="4197435" y="3388572"/>
                </a:cubicBezTo>
                <a:lnTo>
                  <a:pt x="4197469" y="3399327"/>
                </a:lnTo>
                <a:lnTo>
                  <a:pt x="4191662" y="3397771"/>
                </a:lnTo>
                <a:cubicBezTo>
                  <a:pt x="4194051" y="3388859"/>
                  <a:pt x="4185822" y="3386655"/>
                  <a:pt x="4185822" y="3386655"/>
                </a:cubicBezTo>
                <a:cubicBezTo>
                  <a:pt x="4186420" y="3384426"/>
                  <a:pt x="4188261" y="3383725"/>
                  <a:pt x="4190484" y="3384172"/>
                </a:cubicBezTo>
                <a:close/>
                <a:moveTo>
                  <a:pt x="2172640" y="3379990"/>
                </a:moveTo>
                <a:cubicBezTo>
                  <a:pt x="2180867" y="3382194"/>
                  <a:pt x="2178662" y="3390422"/>
                  <a:pt x="2176458" y="3398650"/>
                </a:cubicBezTo>
                <a:cubicBezTo>
                  <a:pt x="2170435" y="3388218"/>
                  <a:pt x="2162207" y="3386013"/>
                  <a:pt x="2168230" y="3396445"/>
                </a:cubicBezTo>
                <a:cubicBezTo>
                  <a:pt x="2160003" y="3394240"/>
                  <a:pt x="2157798" y="3402468"/>
                  <a:pt x="2157798" y="3402468"/>
                </a:cubicBezTo>
                <a:cubicBezTo>
                  <a:pt x="2149571" y="3400264"/>
                  <a:pt x="2151775" y="3392036"/>
                  <a:pt x="2153980" y="3383809"/>
                </a:cubicBezTo>
                <a:cubicBezTo>
                  <a:pt x="2156185" y="3375581"/>
                  <a:pt x="2170435" y="3388218"/>
                  <a:pt x="2172640" y="3379990"/>
                </a:cubicBezTo>
                <a:close/>
                <a:moveTo>
                  <a:pt x="4475809" y="3377842"/>
                </a:moveTo>
                <a:lnTo>
                  <a:pt x="4470502" y="3382834"/>
                </a:lnTo>
                <a:cubicBezTo>
                  <a:pt x="4503949" y="3400614"/>
                  <a:pt x="4468297" y="3391062"/>
                  <a:pt x="4452674" y="3378057"/>
                </a:cubicBezTo>
                <a:cubicBezTo>
                  <a:pt x="4457131" y="3379251"/>
                  <a:pt x="4459359" y="3379848"/>
                  <a:pt x="4462978" y="3379715"/>
                </a:cubicBezTo>
                <a:close/>
                <a:moveTo>
                  <a:pt x="4476888" y="3376829"/>
                </a:moveTo>
                <a:cubicBezTo>
                  <a:pt x="4479391" y="3376397"/>
                  <a:pt x="4481618" y="3376994"/>
                  <a:pt x="4481618" y="3376994"/>
                </a:cubicBezTo>
                <a:lnTo>
                  <a:pt x="4475809" y="3377842"/>
                </a:lnTo>
                <a:close/>
                <a:moveTo>
                  <a:pt x="6120108" y="3375115"/>
                </a:moveTo>
                <a:cubicBezTo>
                  <a:pt x="6117904" y="3383342"/>
                  <a:pt x="6107472" y="3389365"/>
                  <a:pt x="6115699" y="3391570"/>
                </a:cubicBezTo>
                <a:cubicBezTo>
                  <a:pt x="6113495" y="3399797"/>
                  <a:pt x="6107472" y="3389365"/>
                  <a:pt x="6099244" y="3387161"/>
                </a:cubicBezTo>
                <a:cubicBezTo>
                  <a:pt x="6107472" y="3389365"/>
                  <a:pt x="6111881" y="3372910"/>
                  <a:pt x="6120108" y="3375115"/>
                </a:cubicBezTo>
                <a:close/>
                <a:moveTo>
                  <a:pt x="7808260" y="3374000"/>
                </a:moveTo>
                <a:cubicBezTo>
                  <a:pt x="7811980" y="3372930"/>
                  <a:pt x="7816784" y="3373941"/>
                  <a:pt x="7820545" y="3375499"/>
                </a:cubicBezTo>
                <a:cubicBezTo>
                  <a:pt x="7828069" y="3378618"/>
                  <a:pt x="7831424" y="3383927"/>
                  <a:pt x="7813597" y="3379151"/>
                </a:cubicBezTo>
                <a:cubicBezTo>
                  <a:pt x="7804683" y="3376762"/>
                  <a:pt x="7811393" y="3387378"/>
                  <a:pt x="7802479" y="3384990"/>
                </a:cubicBezTo>
                <a:cubicBezTo>
                  <a:pt x="7801904" y="3378221"/>
                  <a:pt x="7804540" y="3375070"/>
                  <a:pt x="7808260" y="3374000"/>
                </a:cubicBezTo>
                <a:close/>
                <a:moveTo>
                  <a:pt x="6712890" y="3371914"/>
                </a:moveTo>
                <a:cubicBezTo>
                  <a:pt x="6715698" y="3373769"/>
                  <a:pt x="6719262" y="3376929"/>
                  <a:pt x="6723375" y="3378031"/>
                </a:cubicBezTo>
                <a:cubicBezTo>
                  <a:pt x="6721170" y="3386259"/>
                  <a:pt x="6712942" y="3384054"/>
                  <a:pt x="6704715" y="3381850"/>
                </a:cubicBezTo>
                <a:cubicBezTo>
                  <a:pt x="6704715" y="3381850"/>
                  <a:pt x="6712942" y="3384054"/>
                  <a:pt x="6715147" y="3375827"/>
                </a:cubicBezTo>
                <a:cubicBezTo>
                  <a:pt x="6706920" y="3373622"/>
                  <a:pt x="6706920" y="3373622"/>
                  <a:pt x="6706920" y="3373622"/>
                </a:cubicBezTo>
                <a:cubicBezTo>
                  <a:pt x="6708022" y="3369507"/>
                  <a:pt x="6710080" y="3370058"/>
                  <a:pt x="6712890" y="3371914"/>
                </a:cubicBezTo>
                <a:close/>
                <a:moveTo>
                  <a:pt x="4812287" y="3371904"/>
                </a:moveTo>
                <a:lnTo>
                  <a:pt x="4811800" y="3372568"/>
                </a:lnTo>
                <a:lnTo>
                  <a:pt x="4813744" y="3372031"/>
                </a:lnTo>
                <a:close/>
                <a:moveTo>
                  <a:pt x="4876562" y="3370077"/>
                </a:moveTo>
                <a:lnTo>
                  <a:pt x="4876778" y="3370265"/>
                </a:lnTo>
                <a:lnTo>
                  <a:pt x="4876365" y="3370335"/>
                </a:lnTo>
                <a:close/>
                <a:moveTo>
                  <a:pt x="4803734" y="3368738"/>
                </a:moveTo>
                <a:lnTo>
                  <a:pt x="4804315" y="3369142"/>
                </a:lnTo>
                <a:lnTo>
                  <a:pt x="4803803" y="3369631"/>
                </a:lnTo>
                <a:close/>
                <a:moveTo>
                  <a:pt x="4565438" y="3368588"/>
                </a:moveTo>
                <a:cubicBezTo>
                  <a:pt x="4573664" y="3370793"/>
                  <a:pt x="4563232" y="3376816"/>
                  <a:pt x="4569255" y="3387248"/>
                </a:cubicBezTo>
                <a:cubicBezTo>
                  <a:pt x="4569255" y="3387248"/>
                  <a:pt x="4561029" y="3385043"/>
                  <a:pt x="4561029" y="3385043"/>
                </a:cubicBezTo>
                <a:cubicBezTo>
                  <a:pt x="4561029" y="3385043"/>
                  <a:pt x="4565438" y="3368588"/>
                  <a:pt x="4555005" y="3374611"/>
                </a:cubicBezTo>
                <a:cubicBezTo>
                  <a:pt x="4546777" y="3372407"/>
                  <a:pt x="4565438" y="3368588"/>
                  <a:pt x="4565438" y="3368588"/>
                </a:cubicBezTo>
                <a:close/>
                <a:moveTo>
                  <a:pt x="4794785" y="3368314"/>
                </a:moveTo>
                <a:cubicBezTo>
                  <a:pt x="4800808" y="3378746"/>
                  <a:pt x="4790375" y="3384769"/>
                  <a:pt x="4790375" y="3384769"/>
                </a:cubicBezTo>
                <a:cubicBezTo>
                  <a:pt x="4782148" y="3382565"/>
                  <a:pt x="4776125" y="3372133"/>
                  <a:pt x="4784352" y="3374337"/>
                </a:cubicBezTo>
                <a:cubicBezTo>
                  <a:pt x="4792581" y="3376542"/>
                  <a:pt x="4792581" y="3376542"/>
                  <a:pt x="4794785" y="3368314"/>
                </a:cubicBezTo>
                <a:close/>
                <a:moveTo>
                  <a:pt x="4530323" y="3367998"/>
                </a:moveTo>
                <a:cubicBezTo>
                  <a:pt x="4538550" y="3370202"/>
                  <a:pt x="4546777" y="3372407"/>
                  <a:pt x="4555005" y="3374611"/>
                </a:cubicBezTo>
                <a:cubicBezTo>
                  <a:pt x="4552250" y="3384896"/>
                  <a:pt x="4535794" y="3380487"/>
                  <a:pt x="4541265" y="3392977"/>
                </a:cubicBezTo>
                <a:cubicBezTo>
                  <a:pt x="4541265" y="3392977"/>
                  <a:pt x="4516584" y="3386363"/>
                  <a:pt x="4527567" y="3378283"/>
                </a:cubicBezTo>
                <a:cubicBezTo>
                  <a:pt x="4533039" y="3390772"/>
                  <a:pt x="4535794" y="3380487"/>
                  <a:pt x="4530323" y="3367998"/>
                </a:cubicBezTo>
                <a:close/>
                <a:moveTo>
                  <a:pt x="4894584" y="3367251"/>
                </a:moveTo>
                <a:lnTo>
                  <a:pt x="4884738" y="3377264"/>
                </a:lnTo>
                <a:lnTo>
                  <a:pt x="4876778" y="3370265"/>
                </a:lnTo>
                <a:close/>
                <a:moveTo>
                  <a:pt x="6682237" y="3367008"/>
                </a:moveTo>
                <a:cubicBezTo>
                  <a:pt x="6690465" y="3369213"/>
                  <a:pt x="6698692" y="3371417"/>
                  <a:pt x="6695936" y="3381703"/>
                </a:cubicBezTo>
                <a:cubicBezTo>
                  <a:pt x="6693180" y="3391988"/>
                  <a:pt x="6682237" y="3367008"/>
                  <a:pt x="6679481" y="3377293"/>
                </a:cubicBezTo>
                <a:cubicBezTo>
                  <a:pt x="6671254" y="3375089"/>
                  <a:pt x="6679481" y="3377293"/>
                  <a:pt x="6682237" y="3367008"/>
                </a:cubicBezTo>
                <a:close/>
                <a:moveTo>
                  <a:pt x="5566528" y="3366919"/>
                </a:moveTo>
                <a:lnTo>
                  <a:pt x="5562657" y="3371246"/>
                </a:lnTo>
                <a:lnTo>
                  <a:pt x="5561794" y="3367637"/>
                </a:lnTo>
                <a:close/>
                <a:moveTo>
                  <a:pt x="5985692" y="3366652"/>
                </a:moveTo>
                <a:cubicBezTo>
                  <a:pt x="5990081" y="3366726"/>
                  <a:pt x="5994195" y="3367828"/>
                  <a:pt x="5994195" y="3367828"/>
                </a:cubicBezTo>
                <a:cubicBezTo>
                  <a:pt x="6000218" y="3378260"/>
                  <a:pt x="6000218" y="3378260"/>
                  <a:pt x="5989786" y="3384283"/>
                </a:cubicBezTo>
                <a:cubicBezTo>
                  <a:pt x="5989786" y="3384283"/>
                  <a:pt x="5981558" y="3382079"/>
                  <a:pt x="5981558" y="3382079"/>
                </a:cubicBezTo>
                <a:cubicBezTo>
                  <a:pt x="5973331" y="3379874"/>
                  <a:pt x="5983763" y="3373851"/>
                  <a:pt x="5975535" y="3371647"/>
                </a:cubicBezTo>
                <a:cubicBezTo>
                  <a:pt x="5976638" y="3367533"/>
                  <a:pt x="5981302" y="3366578"/>
                  <a:pt x="5985692" y="3366652"/>
                </a:cubicBezTo>
                <a:close/>
                <a:moveTo>
                  <a:pt x="4953482" y="3366381"/>
                </a:moveTo>
                <a:cubicBezTo>
                  <a:pt x="4962396" y="3368769"/>
                  <a:pt x="4972895" y="3374154"/>
                  <a:pt x="4978639" y="3370548"/>
                </a:cubicBezTo>
                <a:cubicBezTo>
                  <a:pt x="4982406" y="3392135"/>
                  <a:pt x="4940412" y="3370595"/>
                  <a:pt x="4937840" y="3380194"/>
                </a:cubicBezTo>
                <a:cubicBezTo>
                  <a:pt x="4937241" y="3364601"/>
                  <a:pt x="4944569" y="3363992"/>
                  <a:pt x="4953482" y="3366381"/>
                </a:cubicBezTo>
                <a:close/>
                <a:moveTo>
                  <a:pt x="4895676" y="3366138"/>
                </a:moveTo>
                <a:lnTo>
                  <a:pt x="4897798" y="3366707"/>
                </a:lnTo>
                <a:lnTo>
                  <a:pt x="4894584" y="3367251"/>
                </a:lnTo>
                <a:close/>
                <a:moveTo>
                  <a:pt x="2212163" y="3364125"/>
                </a:moveTo>
                <a:cubicBezTo>
                  <a:pt x="2219557" y="3374925"/>
                  <a:pt x="2231360" y="3369269"/>
                  <a:pt x="2238756" y="3380069"/>
                </a:cubicBezTo>
                <a:cubicBezTo>
                  <a:pt x="2238756" y="3380069"/>
                  <a:pt x="2207754" y="3380581"/>
                  <a:pt x="2212163" y="3364125"/>
                </a:cubicBezTo>
                <a:close/>
                <a:moveTo>
                  <a:pt x="5129248" y="3362991"/>
                </a:moveTo>
                <a:lnTo>
                  <a:pt x="5134693" y="3366802"/>
                </a:lnTo>
                <a:lnTo>
                  <a:pt x="5128874" y="3363207"/>
                </a:lnTo>
                <a:close/>
                <a:moveTo>
                  <a:pt x="4703987" y="3361622"/>
                </a:moveTo>
                <a:cubicBezTo>
                  <a:pt x="4712215" y="3363826"/>
                  <a:pt x="4707806" y="3380281"/>
                  <a:pt x="4707806" y="3380281"/>
                </a:cubicBezTo>
                <a:cubicBezTo>
                  <a:pt x="4693556" y="3367645"/>
                  <a:pt x="4672692" y="3379691"/>
                  <a:pt x="4654032" y="3383509"/>
                </a:cubicBezTo>
                <a:cubicBezTo>
                  <a:pt x="4654032" y="3383509"/>
                  <a:pt x="4656237" y="3375282"/>
                  <a:pt x="4648009" y="3373077"/>
                </a:cubicBezTo>
                <a:cubicBezTo>
                  <a:pt x="4654032" y="3383509"/>
                  <a:pt x="4687532" y="3357213"/>
                  <a:pt x="4683123" y="3373668"/>
                </a:cubicBezTo>
                <a:cubicBezTo>
                  <a:pt x="4685328" y="3365440"/>
                  <a:pt x="4695760" y="3359417"/>
                  <a:pt x="4703987" y="3361622"/>
                </a:cubicBezTo>
                <a:close/>
                <a:moveTo>
                  <a:pt x="5125235" y="3360960"/>
                </a:moveTo>
                <a:lnTo>
                  <a:pt x="5128874" y="3363207"/>
                </a:lnTo>
                <a:lnTo>
                  <a:pt x="5126466" y="3364598"/>
                </a:lnTo>
                <a:cubicBezTo>
                  <a:pt x="5122353" y="3363496"/>
                  <a:pt x="5122905" y="3361438"/>
                  <a:pt x="5125235" y="3360960"/>
                </a:cubicBezTo>
                <a:close/>
                <a:moveTo>
                  <a:pt x="5142476" y="3360958"/>
                </a:moveTo>
                <a:lnTo>
                  <a:pt x="5143821" y="3361532"/>
                </a:lnTo>
                <a:cubicBezTo>
                  <a:pt x="5144574" y="3362836"/>
                  <a:pt x="5144023" y="3364893"/>
                  <a:pt x="5142921" y="3369007"/>
                </a:cubicBezTo>
                <a:close/>
                <a:moveTo>
                  <a:pt x="2553524" y="3360795"/>
                </a:moveTo>
                <a:cubicBezTo>
                  <a:pt x="2556361" y="3361005"/>
                  <a:pt x="2558794" y="3362208"/>
                  <a:pt x="2560300" y="3364816"/>
                </a:cubicBezTo>
                <a:cubicBezTo>
                  <a:pt x="2558096" y="3373043"/>
                  <a:pt x="2552073" y="3362611"/>
                  <a:pt x="2547663" y="3379066"/>
                </a:cubicBezTo>
                <a:cubicBezTo>
                  <a:pt x="2539436" y="3376862"/>
                  <a:pt x="2537231" y="3385089"/>
                  <a:pt x="2531208" y="3374657"/>
                </a:cubicBezTo>
                <a:cubicBezTo>
                  <a:pt x="2532862" y="3368486"/>
                  <a:pt x="2545011" y="3360168"/>
                  <a:pt x="2553524" y="3360795"/>
                </a:cubicBezTo>
                <a:close/>
                <a:moveTo>
                  <a:pt x="4788761" y="3357882"/>
                </a:moveTo>
                <a:cubicBezTo>
                  <a:pt x="4794785" y="3368314"/>
                  <a:pt x="4786557" y="3366110"/>
                  <a:pt x="4784352" y="3374337"/>
                </a:cubicBezTo>
                <a:cubicBezTo>
                  <a:pt x="4778329" y="3363905"/>
                  <a:pt x="4757465" y="3375951"/>
                  <a:pt x="4741010" y="3371542"/>
                </a:cubicBezTo>
                <a:lnTo>
                  <a:pt x="4751442" y="3365519"/>
                </a:lnTo>
                <a:lnTo>
                  <a:pt x="4759670" y="3367724"/>
                </a:lnTo>
                <a:cubicBezTo>
                  <a:pt x="4770102" y="3361700"/>
                  <a:pt x="4778329" y="3363905"/>
                  <a:pt x="4788761" y="3357882"/>
                </a:cubicBezTo>
                <a:close/>
                <a:moveTo>
                  <a:pt x="5031277" y="3357831"/>
                </a:moveTo>
                <a:cubicBezTo>
                  <a:pt x="5037723" y="3358456"/>
                  <a:pt x="5043894" y="3360109"/>
                  <a:pt x="5052121" y="3362314"/>
                </a:cubicBezTo>
                <a:cubicBezTo>
                  <a:pt x="5049917" y="3370541"/>
                  <a:pt x="5035666" y="3357905"/>
                  <a:pt x="5031257" y="3374360"/>
                </a:cubicBezTo>
                <a:cubicBezTo>
                  <a:pt x="5031257" y="3374360"/>
                  <a:pt x="5033461" y="3366132"/>
                  <a:pt x="5033461" y="3366132"/>
                </a:cubicBezTo>
                <a:cubicBezTo>
                  <a:pt x="5023029" y="3372155"/>
                  <a:pt x="5023029" y="3372155"/>
                  <a:pt x="5012597" y="3378178"/>
                </a:cubicBezTo>
                <a:cubicBezTo>
                  <a:pt x="5004370" y="3375973"/>
                  <a:pt x="5014802" y="3369951"/>
                  <a:pt x="5017006" y="3361723"/>
                </a:cubicBezTo>
                <a:cubicBezTo>
                  <a:pt x="5017006" y="3361723"/>
                  <a:pt x="5017006" y="3361723"/>
                  <a:pt x="5008779" y="3359518"/>
                </a:cubicBezTo>
                <a:cubicBezTo>
                  <a:pt x="5018109" y="3357609"/>
                  <a:pt x="5024831" y="3357206"/>
                  <a:pt x="5031277" y="3357831"/>
                </a:cubicBezTo>
                <a:close/>
                <a:moveTo>
                  <a:pt x="4623180" y="3357606"/>
                </a:moveTo>
                <a:cubicBezTo>
                  <a:pt x="4638607" y="3370558"/>
                  <a:pt x="4627587" y="3376423"/>
                  <a:pt x="4654032" y="3383509"/>
                </a:cubicBezTo>
                <a:cubicBezTo>
                  <a:pt x="4651828" y="3391737"/>
                  <a:pt x="4634198" y="3387013"/>
                  <a:pt x="4636403" y="3378785"/>
                </a:cubicBezTo>
                <a:cubicBezTo>
                  <a:pt x="4634198" y="3387013"/>
                  <a:pt x="4631994" y="3395240"/>
                  <a:pt x="4616567" y="3382289"/>
                </a:cubicBezTo>
                <a:lnTo>
                  <a:pt x="4625383" y="3384651"/>
                </a:lnTo>
                <a:lnTo>
                  <a:pt x="4618121" y="3375689"/>
                </a:lnTo>
                <a:lnTo>
                  <a:pt x="4627587" y="3376423"/>
                </a:lnTo>
                <a:cubicBezTo>
                  <a:pt x="4623179" y="3375242"/>
                  <a:pt x="4618772" y="3374061"/>
                  <a:pt x="4617395" y="3374795"/>
                </a:cubicBezTo>
                <a:lnTo>
                  <a:pt x="4618121" y="3375689"/>
                </a:lnTo>
                <a:lnTo>
                  <a:pt x="4610230" y="3375078"/>
                </a:lnTo>
                <a:cubicBezTo>
                  <a:pt x="4603343" y="3378745"/>
                  <a:pt x="4596730" y="3385792"/>
                  <a:pt x="4594526" y="3394019"/>
                </a:cubicBezTo>
                <a:cubicBezTo>
                  <a:pt x="4594526" y="3394019"/>
                  <a:pt x="4598935" y="3377564"/>
                  <a:pt x="4587915" y="3383430"/>
                </a:cubicBezTo>
                <a:cubicBezTo>
                  <a:pt x="4590119" y="3375202"/>
                  <a:pt x="4590119" y="3375202"/>
                  <a:pt x="4598935" y="3377564"/>
                </a:cubicBezTo>
                <a:cubicBezTo>
                  <a:pt x="4598935" y="3377564"/>
                  <a:pt x="4598935" y="3377564"/>
                  <a:pt x="4590119" y="3375202"/>
                </a:cubicBezTo>
                <a:cubicBezTo>
                  <a:pt x="4594529" y="3358747"/>
                  <a:pt x="4609956" y="3371699"/>
                  <a:pt x="4623180" y="3357606"/>
                </a:cubicBezTo>
                <a:close/>
                <a:moveTo>
                  <a:pt x="5000552" y="3357314"/>
                </a:moveTo>
                <a:cubicBezTo>
                  <a:pt x="5008779" y="3359518"/>
                  <a:pt x="4998347" y="3365541"/>
                  <a:pt x="5004370" y="3375973"/>
                </a:cubicBezTo>
                <a:cubicBezTo>
                  <a:pt x="4996143" y="3373769"/>
                  <a:pt x="4996143" y="3373769"/>
                  <a:pt x="4993938" y="3381997"/>
                </a:cubicBezTo>
                <a:cubicBezTo>
                  <a:pt x="4985710" y="3379792"/>
                  <a:pt x="4987915" y="3371564"/>
                  <a:pt x="4987915" y="3371564"/>
                </a:cubicBezTo>
                <a:cubicBezTo>
                  <a:pt x="4987915" y="3371564"/>
                  <a:pt x="4987915" y="3371564"/>
                  <a:pt x="4979688" y="3369360"/>
                </a:cubicBezTo>
                <a:cubicBezTo>
                  <a:pt x="4990119" y="3363337"/>
                  <a:pt x="4998347" y="3365541"/>
                  <a:pt x="5000552" y="3357314"/>
                </a:cubicBezTo>
                <a:close/>
                <a:moveTo>
                  <a:pt x="5454297" y="3357300"/>
                </a:moveTo>
                <a:lnTo>
                  <a:pt x="5453731" y="3358593"/>
                </a:lnTo>
                <a:cubicBezTo>
                  <a:pt x="5452362" y="3359329"/>
                  <a:pt x="5450176" y="3358743"/>
                  <a:pt x="5445805" y="3357572"/>
                </a:cubicBezTo>
                <a:close/>
                <a:moveTo>
                  <a:pt x="5468325" y="3356851"/>
                </a:moveTo>
                <a:lnTo>
                  <a:pt x="5468220" y="3356965"/>
                </a:lnTo>
                <a:lnTo>
                  <a:pt x="5468000" y="3356862"/>
                </a:lnTo>
                <a:close/>
                <a:moveTo>
                  <a:pt x="2477374" y="3356511"/>
                </a:moveTo>
                <a:cubicBezTo>
                  <a:pt x="2479277" y="3356607"/>
                  <a:pt x="2481779" y="3357553"/>
                  <a:pt x="2484728" y="3358895"/>
                </a:cubicBezTo>
                <a:cubicBezTo>
                  <a:pt x="2490622" y="3361577"/>
                  <a:pt x="2498298" y="3365839"/>
                  <a:pt x="2506526" y="3368044"/>
                </a:cubicBezTo>
                <a:cubicBezTo>
                  <a:pt x="2496094" y="3374066"/>
                  <a:pt x="2473616" y="3359225"/>
                  <a:pt x="2473616" y="3359225"/>
                </a:cubicBezTo>
                <a:cubicBezTo>
                  <a:pt x="2474167" y="3357168"/>
                  <a:pt x="2475471" y="3356414"/>
                  <a:pt x="2477374" y="3356511"/>
                </a:cubicBezTo>
                <a:close/>
                <a:moveTo>
                  <a:pt x="5695715" y="3356264"/>
                </a:moveTo>
                <a:lnTo>
                  <a:pt x="5706154" y="3356786"/>
                </a:lnTo>
                <a:cubicBezTo>
                  <a:pt x="5706154" y="3356786"/>
                  <a:pt x="5693005" y="3370899"/>
                  <a:pt x="5703950" y="3365014"/>
                </a:cubicBezTo>
                <a:cubicBezTo>
                  <a:pt x="5701745" y="3373241"/>
                  <a:pt x="5695209" y="3362672"/>
                  <a:pt x="5684261" y="3368556"/>
                </a:cubicBezTo>
                <a:close/>
                <a:moveTo>
                  <a:pt x="4914551" y="3355093"/>
                </a:moveTo>
                <a:cubicBezTo>
                  <a:pt x="4921134" y="3355978"/>
                  <a:pt x="4924423" y="3369156"/>
                  <a:pt x="4934300" y="3357748"/>
                </a:cubicBezTo>
                <a:cubicBezTo>
                  <a:pt x="4931957" y="3366491"/>
                  <a:pt x="4929615" y="3375232"/>
                  <a:pt x="4929615" y="3375232"/>
                </a:cubicBezTo>
                <a:cubicBezTo>
                  <a:pt x="4912647" y="3370685"/>
                  <a:pt x="4910304" y="3379429"/>
                  <a:pt x="4904160" y="3368411"/>
                </a:cubicBezTo>
                <a:lnTo>
                  <a:pt x="4897798" y="3366707"/>
                </a:lnTo>
                <a:cubicBezTo>
                  <a:pt x="4903211" y="3363475"/>
                  <a:pt x="4906502" y="3359671"/>
                  <a:pt x="4906502" y="3359671"/>
                </a:cubicBezTo>
                <a:cubicBezTo>
                  <a:pt x="4909795" y="3355868"/>
                  <a:pt x="4912356" y="3354798"/>
                  <a:pt x="4914551" y="3355093"/>
                </a:cubicBezTo>
                <a:close/>
                <a:moveTo>
                  <a:pt x="5631810" y="3354502"/>
                </a:moveTo>
                <a:cubicBezTo>
                  <a:pt x="5631810" y="3354502"/>
                  <a:pt x="5627401" y="3370957"/>
                  <a:pt x="5637833" y="3364934"/>
                </a:cubicBezTo>
                <a:cubicBezTo>
                  <a:pt x="5625197" y="3379185"/>
                  <a:pt x="5631810" y="3354502"/>
                  <a:pt x="5613151" y="3358321"/>
                </a:cubicBezTo>
                <a:cubicBezTo>
                  <a:pt x="5615355" y="3350093"/>
                  <a:pt x="5629606" y="3362730"/>
                  <a:pt x="5631810" y="3354502"/>
                </a:cubicBezTo>
                <a:close/>
                <a:moveTo>
                  <a:pt x="5631810" y="3354502"/>
                </a:moveTo>
                <a:cubicBezTo>
                  <a:pt x="5637284" y="3351558"/>
                  <a:pt x="5650947" y="3353017"/>
                  <a:pt x="5665704" y="3354766"/>
                </a:cubicBezTo>
                <a:lnTo>
                  <a:pt x="5692086" y="3356083"/>
                </a:lnTo>
                <a:lnTo>
                  <a:pt x="5666778" y="3363872"/>
                </a:lnTo>
                <a:cubicBezTo>
                  <a:pt x="5666778" y="3363872"/>
                  <a:pt x="5675521" y="3366214"/>
                  <a:pt x="5673316" y="3374442"/>
                </a:cubicBezTo>
                <a:cubicBezTo>
                  <a:pt x="5682057" y="3376784"/>
                  <a:pt x="5658037" y="3361530"/>
                  <a:pt x="5653628" y="3377985"/>
                </a:cubicBezTo>
                <a:cubicBezTo>
                  <a:pt x="5649294" y="3359187"/>
                  <a:pt x="5649294" y="3359187"/>
                  <a:pt x="5631810" y="3354502"/>
                </a:cubicBezTo>
                <a:close/>
                <a:moveTo>
                  <a:pt x="5697414" y="3354444"/>
                </a:moveTo>
                <a:lnTo>
                  <a:pt x="5695715" y="3356264"/>
                </a:lnTo>
                <a:lnTo>
                  <a:pt x="5692086" y="3356083"/>
                </a:lnTo>
                <a:close/>
                <a:moveTo>
                  <a:pt x="5120442" y="3354166"/>
                </a:moveTo>
                <a:cubicBezTo>
                  <a:pt x="5124558" y="3355268"/>
                  <a:pt x="5131279" y="3354864"/>
                  <a:pt x="5136421" y="3356242"/>
                </a:cubicBezTo>
                <a:cubicBezTo>
                  <a:pt x="5138992" y="3356931"/>
                  <a:pt x="5141169" y="3358065"/>
                  <a:pt x="5142426" y="3360056"/>
                </a:cubicBezTo>
                <a:lnTo>
                  <a:pt x="5142476" y="3360958"/>
                </a:lnTo>
                <a:lnTo>
                  <a:pt x="5136897" y="3358575"/>
                </a:lnTo>
                <a:lnTo>
                  <a:pt x="5129248" y="3362991"/>
                </a:lnTo>
                <a:lnTo>
                  <a:pt x="5124485" y="3359657"/>
                </a:lnTo>
                <a:cubicBezTo>
                  <a:pt x="5120847" y="3360887"/>
                  <a:pt x="5118238" y="3362393"/>
                  <a:pt x="5120442" y="3354166"/>
                </a:cubicBezTo>
                <a:close/>
                <a:moveTo>
                  <a:pt x="7814450" y="3354030"/>
                </a:moveTo>
                <a:cubicBezTo>
                  <a:pt x="7816783" y="3353552"/>
                  <a:pt x="7818840" y="3354104"/>
                  <a:pt x="7818840" y="3354104"/>
                </a:cubicBezTo>
                <a:cubicBezTo>
                  <a:pt x="7808408" y="3360127"/>
                  <a:pt x="7824863" y="3364536"/>
                  <a:pt x="7824863" y="3364536"/>
                </a:cubicBezTo>
                <a:cubicBezTo>
                  <a:pt x="7830886" y="3374968"/>
                  <a:pt x="7814431" y="3370559"/>
                  <a:pt x="7806203" y="3368354"/>
                </a:cubicBezTo>
                <a:cubicBezTo>
                  <a:pt x="7808408" y="3360127"/>
                  <a:pt x="7808408" y="3360127"/>
                  <a:pt x="7808408" y="3360127"/>
                </a:cubicBezTo>
                <a:cubicBezTo>
                  <a:pt x="7809510" y="3356013"/>
                  <a:pt x="7812118" y="3354507"/>
                  <a:pt x="7814450" y="3354030"/>
                </a:cubicBezTo>
                <a:close/>
                <a:moveTo>
                  <a:pt x="2582810" y="3353211"/>
                </a:moveTo>
                <a:cubicBezTo>
                  <a:pt x="2594066" y="3347408"/>
                  <a:pt x="2587452" y="3372091"/>
                  <a:pt x="2600910" y="3358061"/>
                </a:cubicBezTo>
                <a:cubicBezTo>
                  <a:pt x="2609962" y="3360486"/>
                  <a:pt x="2598706" y="3366288"/>
                  <a:pt x="2596501" y="3374516"/>
                </a:cubicBezTo>
                <a:cubicBezTo>
                  <a:pt x="2587452" y="3372091"/>
                  <a:pt x="2578401" y="3369666"/>
                  <a:pt x="2567145" y="3375468"/>
                </a:cubicBezTo>
                <a:cubicBezTo>
                  <a:pt x="2564709" y="3348361"/>
                  <a:pt x="2580605" y="3361438"/>
                  <a:pt x="2582810" y="3353211"/>
                </a:cubicBezTo>
                <a:close/>
                <a:moveTo>
                  <a:pt x="5870487" y="3352320"/>
                </a:moveTo>
                <a:lnTo>
                  <a:pt x="5878715" y="3354525"/>
                </a:lnTo>
                <a:cubicBezTo>
                  <a:pt x="5876510" y="3362752"/>
                  <a:pt x="5876510" y="3362752"/>
                  <a:pt x="5866078" y="3368775"/>
                </a:cubicBezTo>
                <a:cubicBezTo>
                  <a:pt x="5866078" y="3368775"/>
                  <a:pt x="5868283" y="3360548"/>
                  <a:pt x="5868283" y="3360548"/>
                </a:cubicBezTo>
                <a:cubicBezTo>
                  <a:pt x="5868283" y="3360548"/>
                  <a:pt x="5876510" y="3362752"/>
                  <a:pt x="5870487" y="3352320"/>
                </a:cubicBezTo>
                <a:close/>
                <a:moveTo>
                  <a:pt x="5804370" y="3352241"/>
                </a:moveTo>
                <a:cubicBezTo>
                  <a:pt x="5812598" y="3354445"/>
                  <a:pt x="5812598" y="3354445"/>
                  <a:pt x="5810026" y="3364043"/>
                </a:cubicBezTo>
                <a:cubicBezTo>
                  <a:pt x="5807453" y="3373644"/>
                  <a:pt x="5807453" y="3373644"/>
                  <a:pt x="5807453" y="3373644"/>
                </a:cubicBezTo>
                <a:cubicBezTo>
                  <a:pt x="5807453" y="3373644"/>
                  <a:pt x="5804881" y="3383243"/>
                  <a:pt x="5796654" y="3381038"/>
                </a:cubicBezTo>
                <a:cubicBezTo>
                  <a:pt x="5810026" y="3364043"/>
                  <a:pt x="5801799" y="3361839"/>
                  <a:pt x="5790998" y="3369235"/>
                </a:cubicBezTo>
                <a:cubicBezTo>
                  <a:pt x="5793571" y="3359634"/>
                  <a:pt x="5801799" y="3361839"/>
                  <a:pt x="5801799" y="3361839"/>
                </a:cubicBezTo>
                <a:lnTo>
                  <a:pt x="5804150" y="3353062"/>
                </a:lnTo>
                <a:close/>
                <a:moveTo>
                  <a:pt x="5456753" y="3351687"/>
                </a:moveTo>
                <a:lnTo>
                  <a:pt x="5468000" y="3356862"/>
                </a:lnTo>
                <a:lnTo>
                  <a:pt x="5454297" y="3357300"/>
                </a:lnTo>
                <a:close/>
                <a:moveTo>
                  <a:pt x="5152964" y="3351581"/>
                </a:moveTo>
                <a:cubicBezTo>
                  <a:pt x="5156999" y="3353489"/>
                  <a:pt x="5176530" y="3366990"/>
                  <a:pt x="5172012" y="3359166"/>
                </a:cubicBezTo>
                <a:cubicBezTo>
                  <a:pt x="5173115" y="3355051"/>
                  <a:pt x="5175173" y="3355602"/>
                  <a:pt x="5176679" y="3358211"/>
                </a:cubicBezTo>
                <a:cubicBezTo>
                  <a:pt x="5178182" y="3360819"/>
                  <a:pt x="5179138" y="3365483"/>
                  <a:pt x="5178035" y="3369598"/>
                </a:cubicBezTo>
                <a:cubicBezTo>
                  <a:pt x="5169808" y="3367393"/>
                  <a:pt x="5161580" y="3365189"/>
                  <a:pt x="5155557" y="3354756"/>
                </a:cubicBezTo>
                <a:cubicBezTo>
                  <a:pt x="5151995" y="3351597"/>
                  <a:pt x="5151618" y="3350945"/>
                  <a:pt x="5152964" y="3351581"/>
                </a:cubicBezTo>
                <a:close/>
                <a:moveTo>
                  <a:pt x="4800001" y="3349873"/>
                </a:moveTo>
                <a:cubicBezTo>
                  <a:pt x="4800001" y="3349873"/>
                  <a:pt x="4801537" y="3352627"/>
                  <a:pt x="4802780" y="3356473"/>
                </a:cubicBezTo>
                <a:lnTo>
                  <a:pt x="4803734" y="3368738"/>
                </a:lnTo>
                <a:lnTo>
                  <a:pt x="4803034" y="3368252"/>
                </a:lnTo>
                <a:cubicBezTo>
                  <a:pt x="4798025" y="3365739"/>
                  <a:pt x="4792245" y="3361849"/>
                  <a:pt x="4800001" y="3349873"/>
                </a:cubicBezTo>
                <a:close/>
                <a:moveTo>
                  <a:pt x="6668343" y="3349866"/>
                </a:moveTo>
                <a:cubicBezTo>
                  <a:pt x="6673226" y="3350871"/>
                  <a:pt x="6678428" y="3354084"/>
                  <a:pt x="6684003" y="3360427"/>
                </a:cubicBezTo>
                <a:cubicBezTo>
                  <a:pt x="6672529" y="3367054"/>
                  <a:pt x="6641176" y="3339250"/>
                  <a:pt x="6652001" y="3371252"/>
                </a:cubicBezTo>
                <a:cubicBezTo>
                  <a:pt x="6652001" y="3371252"/>
                  <a:pt x="6652001" y="3371252"/>
                  <a:pt x="6649576" y="3380304"/>
                </a:cubicBezTo>
                <a:cubicBezTo>
                  <a:pt x="6642952" y="3368827"/>
                  <a:pt x="6640527" y="3377879"/>
                  <a:pt x="6631475" y="3375454"/>
                </a:cubicBezTo>
                <a:cubicBezTo>
                  <a:pt x="6638425" y="3367614"/>
                  <a:pt x="6645983" y="3357516"/>
                  <a:pt x="6654589" y="3352545"/>
                </a:cubicBezTo>
                <a:cubicBezTo>
                  <a:pt x="6658893" y="3350062"/>
                  <a:pt x="6663459" y="3348860"/>
                  <a:pt x="6668343" y="3349866"/>
                </a:cubicBezTo>
                <a:close/>
                <a:moveTo>
                  <a:pt x="5578183" y="3348951"/>
                </a:moveTo>
                <a:cubicBezTo>
                  <a:pt x="5584893" y="3359567"/>
                  <a:pt x="5602718" y="3364344"/>
                  <a:pt x="5589398" y="3378411"/>
                </a:cubicBezTo>
                <a:cubicBezTo>
                  <a:pt x="5583791" y="3363680"/>
                  <a:pt x="5581562" y="3363082"/>
                  <a:pt x="5577392" y="3365273"/>
                </a:cubicBezTo>
                <a:lnTo>
                  <a:pt x="5566528" y="3366919"/>
                </a:lnTo>
                <a:lnTo>
                  <a:pt x="5574588" y="3357909"/>
                </a:lnTo>
                <a:cubicBezTo>
                  <a:pt x="5578758" y="3355718"/>
                  <a:pt x="5581538" y="3354258"/>
                  <a:pt x="5578183" y="3348951"/>
                </a:cubicBezTo>
                <a:close/>
                <a:moveTo>
                  <a:pt x="4864079" y="3348304"/>
                </a:moveTo>
                <a:cubicBezTo>
                  <a:pt x="4870221" y="3359317"/>
                  <a:pt x="4861737" y="3357044"/>
                  <a:pt x="4881050" y="3352851"/>
                </a:cubicBezTo>
                <a:cubicBezTo>
                  <a:pt x="4882221" y="3348479"/>
                  <a:pt x="4883574" y="3347670"/>
                  <a:pt x="4884681" y="3348847"/>
                </a:cubicBezTo>
                <a:cubicBezTo>
                  <a:pt x="4885786" y="3350020"/>
                  <a:pt x="4886645" y="3353178"/>
                  <a:pt x="4886829" y="3356741"/>
                </a:cubicBezTo>
                <a:lnTo>
                  <a:pt x="4876562" y="3370077"/>
                </a:lnTo>
                <a:lnTo>
                  <a:pt x="4861737" y="3357044"/>
                </a:lnTo>
                <a:lnTo>
                  <a:pt x="4855378" y="3368024"/>
                </a:lnTo>
                <a:lnTo>
                  <a:pt x="4860901" y="3368394"/>
                </a:lnTo>
                <a:lnTo>
                  <a:pt x="4854858" y="3368921"/>
                </a:lnTo>
                <a:lnTo>
                  <a:pt x="4851164" y="3375294"/>
                </a:lnTo>
                <a:lnTo>
                  <a:pt x="4816461" y="3372267"/>
                </a:lnTo>
                <a:lnTo>
                  <a:pt x="4811718" y="3372682"/>
                </a:lnTo>
                <a:lnTo>
                  <a:pt x="4805116" y="3381695"/>
                </a:lnTo>
                <a:cubicBezTo>
                  <a:pt x="4804531" y="3383880"/>
                  <a:pt x="4804531" y="3383880"/>
                  <a:pt x="4801460" y="3378371"/>
                </a:cubicBezTo>
                <a:cubicBezTo>
                  <a:pt x="4806874" y="3375137"/>
                  <a:pt x="4808521" y="3373236"/>
                  <a:pt x="4808186" y="3371829"/>
                </a:cubicBezTo>
                <a:lnTo>
                  <a:pt x="4804315" y="3369142"/>
                </a:lnTo>
                <a:lnTo>
                  <a:pt x="4811823" y="3361971"/>
                </a:lnTo>
                <a:cubicBezTo>
                  <a:pt x="4823811" y="3358595"/>
                  <a:pt x="4846083" y="3364562"/>
                  <a:pt x="4864079" y="3348304"/>
                </a:cubicBezTo>
                <a:close/>
                <a:moveTo>
                  <a:pt x="5439782" y="3347139"/>
                </a:moveTo>
                <a:cubicBezTo>
                  <a:pt x="5454032" y="3359776"/>
                  <a:pt x="5437577" y="3355367"/>
                  <a:pt x="5435373" y="3363594"/>
                </a:cubicBezTo>
                <a:cubicBezTo>
                  <a:pt x="5437577" y="3355367"/>
                  <a:pt x="5418918" y="3359185"/>
                  <a:pt x="5410690" y="3356981"/>
                </a:cubicBezTo>
                <a:cubicBezTo>
                  <a:pt x="5412895" y="3348753"/>
                  <a:pt x="5437577" y="3355367"/>
                  <a:pt x="5439782" y="3347139"/>
                </a:cubicBezTo>
                <a:close/>
                <a:moveTo>
                  <a:pt x="5202794" y="3347130"/>
                </a:moveTo>
                <a:cubicBezTo>
                  <a:pt x="5207166" y="3348302"/>
                  <a:pt x="5208139" y="3353413"/>
                  <a:pt x="5207230" y="3356807"/>
                </a:cubicBezTo>
                <a:lnTo>
                  <a:pt x="5206642" y="3357511"/>
                </a:lnTo>
                <a:lnTo>
                  <a:pt x="5205833" y="3357645"/>
                </a:lnTo>
                <a:lnTo>
                  <a:pt x="5203066" y="3358530"/>
                </a:lnTo>
                <a:lnTo>
                  <a:pt x="5200369" y="3356182"/>
                </a:lnTo>
                <a:cubicBezTo>
                  <a:pt x="5199763" y="3358444"/>
                  <a:pt x="5200158" y="3359156"/>
                  <a:pt x="5201190" y="3359129"/>
                </a:cubicBezTo>
                <a:lnTo>
                  <a:pt x="5203066" y="3358530"/>
                </a:lnTo>
                <a:lnTo>
                  <a:pt x="5204643" y="3359903"/>
                </a:lnTo>
                <a:lnTo>
                  <a:pt x="5206642" y="3357511"/>
                </a:lnTo>
                <a:lnTo>
                  <a:pt x="5212116" y="3356600"/>
                </a:lnTo>
                <a:cubicBezTo>
                  <a:pt x="5214240" y="3356867"/>
                  <a:pt x="5216274" y="3358018"/>
                  <a:pt x="5217853" y="3360867"/>
                </a:cubicBezTo>
                <a:cubicBezTo>
                  <a:pt x="5213963" y="3340421"/>
                  <a:pt x="5226596" y="3363209"/>
                  <a:pt x="5246505" y="3358843"/>
                </a:cubicBezTo>
                <a:lnTo>
                  <a:pt x="5244080" y="3367894"/>
                </a:lnTo>
                <a:cubicBezTo>
                  <a:pt x="5232912" y="3374600"/>
                  <a:pt x="5226596" y="3363209"/>
                  <a:pt x="5226596" y="3363209"/>
                </a:cubicBezTo>
                <a:cubicBezTo>
                  <a:pt x="5217853" y="3360867"/>
                  <a:pt x="5215428" y="3369916"/>
                  <a:pt x="5224171" y="3372258"/>
                </a:cubicBezTo>
                <a:cubicBezTo>
                  <a:pt x="5213003" y="3378967"/>
                  <a:pt x="5191628" y="3353840"/>
                  <a:pt x="5186778" y="3371940"/>
                </a:cubicBezTo>
                <a:cubicBezTo>
                  <a:pt x="5178035" y="3369598"/>
                  <a:pt x="5191628" y="3353840"/>
                  <a:pt x="5182886" y="3351497"/>
                </a:cubicBezTo>
                <a:cubicBezTo>
                  <a:pt x="5182886" y="3351497"/>
                  <a:pt x="5202794" y="3347130"/>
                  <a:pt x="5202794" y="3347130"/>
                </a:cubicBezTo>
                <a:close/>
                <a:moveTo>
                  <a:pt x="5402336" y="3347027"/>
                </a:moveTo>
                <a:lnTo>
                  <a:pt x="5412895" y="3348753"/>
                </a:lnTo>
                <a:lnTo>
                  <a:pt x="5410288" y="3350260"/>
                </a:lnTo>
                <a:cubicBezTo>
                  <a:pt x="5406173" y="3349158"/>
                  <a:pt x="5402712" y="3347678"/>
                  <a:pt x="5402336" y="3347027"/>
                </a:cubicBezTo>
                <a:close/>
                <a:moveTo>
                  <a:pt x="5236599" y="3346638"/>
                </a:moveTo>
                <a:cubicBezTo>
                  <a:pt x="5238549" y="3347009"/>
                  <a:pt x="5242374" y="3348034"/>
                  <a:pt x="5248931" y="3349791"/>
                </a:cubicBezTo>
                <a:lnTo>
                  <a:pt x="5247718" y="3354318"/>
                </a:lnTo>
                <a:lnTo>
                  <a:pt x="5246505" y="3358843"/>
                </a:lnTo>
                <a:cubicBezTo>
                  <a:pt x="5241767" y="3350297"/>
                  <a:pt x="5230748" y="3345525"/>
                  <a:pt x="5236599" y="3346638"/>
                </a:cubicBezTo>
                <a:close/>
                <a:moveTo>
                  <a:pt x="6520403" y="3345689"/>
                </a:moveTo>
                <a:cubicBezTo>
                  <a:pt x="6520403" y="3345689"/>
                  <a:pt x="6526426" y="3356121"/>
                  <a:pt x="6526426" y="3356121"/>
                </a:cubicBezTo>
                <a:cubicBezTo>
                  <a:pt x="6524221" y="3364349"/>
                  <a:pt x="6515994" y="3362144"/>
                  <a:pt x="6499539" y="3357735"/>
                </a:cubicBezTo>
                <a:cubicBezTo>
                  <a:pt x="6501743" y="3349508"/>
                  <a:pt x="6515994" y="3362144"/>
                  <a:pt x="6520403" y="3345689"/>
                </a:cubicBezTo>
                <a:close/>
                <a:moveTo>
                  <a:pt x="5268321" y="3345288"/>
                </a:moveTo>
                <a:cubicBezTo>
                  <a:pt x="5276549" y="3347492"/>
                  <a:pt x="5265749" y="3354886"/>
                  <a:pt x="5265749" y="3354886"/>
                </a:cubicBezTo>
                <a:cubicBezTo>
                  <a:pt x="5263177" y="3364487"/>
                  <a:pt x="5273976" y="3357091"/>
                  <a:pt x="5284776" y="3349697"/>
                </a:cubicBezTo>
                <a:cubicBezTo>
                  <a:pt x="5284776" y="3349697"/>
                  <a:pt x="5282204" y="3359295"/>
                  <a:pt x="5282204" y="3359295"/>
                </a:cubicBezTo>
                <a:cubicBezTo>
                  <a:pt x="5282204" y="3359295"/>
                  <a:pt x="5282204" y="3359295"/>
                  <a:pt x="5290431" y="3361500"/>
                </a:cubicBezTo>
                <a:cubicBezTo>
                  <a:pt x="5268832" y="3376290"/>
                  <a:pt x="5273976" y="3357091"/>
                  <a:pt x="5254949" y="3362283"/>
                </a:cubicBezTo>
                <a:cubicBezTo>
                  <a:pt x="5257521" y="3352682"/>
                  <a:pt x="5265749" y="3354886"/>
                  <a:pt x="5268321" y="3345288"/>
                </a:cubicBezTo>
                <a:close/>
                <a:moveTo>
                  <a:pt x="5730240" y="3345053"/>
                </a:moveTo>
                <a:cubicBezTo>
                  <a:pt x="5735703" y="3345231"/>
                  <a:pt x="5743287" y="3349835"/>
                  <a:pt x="5750229" y="3356839"/>
                </a:cubicBezTo>
                <a:cubicBezTo>
                  <a:pt x="5750229" y="3356839"/>
                  <a:pt x="5747656" y="3366440"/>
                  <a:pt x="5747656" y="3366440"/>
                </a:cubicBezTo>
                <a:lnTo>
                  <a:pt x="5739429" y="3364236"/>
                </a:lnTo>
                <a:cubicBezTo>
                  <a:pt x="5742001" y="3354635"/>
                  <a:pt x="5733774" y="3352430"/>
                  <a:pt x="5733774" y="3352430"/>
                </a:cubicBezTo>
                <a:lnTo>
                  <a:pt x="5733445" y="3362632"/>
                </a:lnTo>
                <a:lnTo>
                  <a:pt x="5733323" y="3366457"/>
                </a:lnTo>
                <a:cubicBezTo>
                  <a:pt x="5734030" y="3367933"/>
                  <a:pt x="5734030" y="3367933"/>
                  <a:pt x="5728629" y="3371629"/>
                </a:cubicBezTo>
                <a:cubicBezTo>
                  <a:pt x="5712174" y="3367220"/>
                  <a:pt x="5736346" y="3342832"/>
                  <a:pt x="5722974" y="3359826"/>
                </a:cubicBezTo>
                <a:cubicBezTo>
                  <a:pt x="5721434" y="3349123"/>
                  <a:pt x="5724777" y="3344876"/>
                  <a:pt x="5730240" y="3345053"/>
                </a:cubicBezTo>
                <a:close/>
                <a:moveTo>
                  <a:pt x="5388212" y="3342140"/>
                </a:moveTo>
                <a:cubicBezTo>
                  <a:pt x="5396440" y="3344344"/>
                  <a:pt x="5394235" y="3352572"/>
                  <a:pt x="5400258" y="3363004"/>
                </a:cubicBezTo>
                <a:cubicBezTo>
                  <a:pt x="5392030" y="3360799"/>
                  <a:pt x="5383803" y="3358595"/>
                  <a:pt x="5383803" y="3358595"/>
                </a:cubicBezTo>
                <a:cubicBezTo>
                  <a:pt x="5383803" y="3358595"/>
                  <a:pt x="5386007" y="3350367"/>
                  <a:pt x="5388212" y="3342140"/>
                </a:cubicBezTo>
                <a:close/>
                <a:moveTo>
                  <a:pt x="5798347" y="3341808"/>
                </a:moveTo>
                <a:cubicBezTo>
                  <a:pt x="5798347" y="3341808"/>
                  <a:pt x="5795923" y="3350857"/>
                  <a:pt x="5804150" y="3353062"/>
                </a:cubicBezTo>
                <a:cubicBezTo>
                  <a:pt x="5785270" y="3357705"/>
                  <a:pt x="5791072" y="3368961"/>
                  <a:pt x="5780420" y="3375805"/>
                </a:cubicBezTo>
                <a:cubicBezTo>
                  <a:pt x="5782845" y="3366756"/>
                  <a:pt x="5774617" y="3364551"/>
                  <a:pt x="5785270" y="3357705"/>
                </a:cubicBezTo>
                <a:cubicBezTo>
                  <a:pt x="5787695" y="3348653"/>
                  <a:pt x="5774617" y="3364551"/>
                  <a:pt x="5777042" y="3355500"/>
                </a:cubicBezTo>
                <a:cubicBezTo>
                  <a:pt x="5768815" y="3353296"/>
                  <a:pt x="5758162" y="3360142"/>
                  <a:pt x="5766390" y="3362347"/>
                </a:cubicBezTo>
                <a:cubicBezTo>
                  <a:pt x="5761539" y="3380448"/>
                  <a:pt x="5760587" y="3351091"/>
                  <a:pt x="5755737" y="3369191"/>
                </a:cubicBezTo>
                <a:cubicBezTo>
                  <a:pt x="5749935" y="3357938"/>
                  <a:pt x="5749935" y="3357938"/>
                  <a:pt x="5752360" y="3348886"/>
                </a:cubicBezTo>
                <a:cubicBezTo>
                  <a:pt x="5768815" y="3353296"/>
                  <a:pt x="5793497" y="3359909"/>
                  <a:pt x="5798347" y="3341808"/>
                </a:cubicBezTo>
                <a:close/>
                <a:moveTo>
                  <a:pt x="5551443" y="3341786"/>
                </a:moveTo>
                <a:cubicBezTo>
                  <a:pt x="5560357" y="3344175"/>
                  <a:pt x="5558152" y="3352402"/>
                  <a:pt x="5560357" y="3344175"/>
                </a:cubicBezTo>
                <a:cubicBezTo>
                  <a:pt x="5569271" y="3346563"/>
                  <a:pt x="5567067" y="3354791"/>
                  <a:pt x="5567067" y="3354791"/>
                </a:cubicBezTo>
                <a:lnTo>
                  <a:pt x="5558152" y="3352402"/>
                </a:lnTo>
                <a:lnTo>
                  <a:pt x="5561794" y="3367637"/>
                </a:lnTo>
                <a:lnTo>
                  <a:pt x="5553743" y="3368857"/>
                </a:lnTo>
                <a:cubicBezTo>
                  <a:pt x="5555948" y="3360630"/>
                  <a:pt x="5547034" y="3358241"/>
                  <a:pt x="5544829" y="3366469"/>
                </a:cubicBezTo>
                <a:cubicBezTo>
                  <a:pt x="5547034" y="3358241"/>
                  <a:pt x="5547034" y="3358241"/>
                  <a:pt x="5551443" y="3341786"/>
                </a:cubicBezTo>
                <a:close/>
                <a:moveTo>
                  <a:pt x="5304814" y="3340735"/>
                </a:moveTo>
                <a:cubicBezTo>
                  <a:pt x="5308653" y="3342866"/>
                  <a:pt x="5311663" y="3348083"/>
                  <a:pt x="5309458" y="3356311"/>
                </a:cubicBezTo>
                <a:cubicBezTo>
                  <a:pt x="5303436" y="3345879"/>
                  <a:pt x="5301232" y="3354106"/>
                  <a:pt x="5293003" y="3351901"/>
                </a:cubicBezTo>
                <a:cubicBezTo>
                  <a:pt x="5293003" y="3351901"/>
                  <a:pt x="5284776" y="3349697"/>
                  <a:pt x="5284776" y="3349697"/>
                </a:cubicBezTo>
                <a:cubicBezTo>
                  <a:pt x="5286981" y="3341469"/>
                  <a:pt x="5295208" y="3343674"/>
                  <a:pt x="5295208" y="3343674"/>
                </a:cubicBezTo>
                <a:cubicBezTo>
                  <a:pt x="5296310" y="3339559"/>
                  <a:pt x="5300977" y="3338607"/>
                  <a:pt x="5304814" y="3340735"/>
                </a:cubicBezTo>
                <a:close/>
                <a:moveTo>
                  <a:pt x="2641134" y="3340714"/>
                </a:moveTo>
                <a:cubicBezTo>
                  <a:pt x="2645099" y="3360175"/>
                  <a:pt x="2675394" y="3349894"/>
                  <a:pt x="2662228" y="3364764"/>
                </a:cubicBezTo>
                <a:cubicBezTo>
                  <a:pt x="2645099" y="3360175"/>
                  <a:pt x="2647399" y="3351592"/>
                  <a:pt x="2636535" y="3357880"/>
                </a:cubicBezTo>
                <a:cubicBezTo>
                  <a:pt x="2638834" y="3349297"/>
                  <a:pt x="2638834" y="3349297"/>
                  <a:pt x="2641134" y="3340714"/>
                </a:cubicBezTo>
                <a:close/>
                <a:moveTo>
                  <a:pt x="5356288" y="3339924"/>
                </a:moveTo>
                <a:cubicBezTo>
                  <a:pt x="5360710" y="3341935"/>
                  <a:pt x="5367899" y="3352129"/>
                  <a:pt x="5369552" y="3345958"/>
                </a:cubicBezTo>
                <a:cubicBezTo>
                  <a:pt x="5369552" y="3345958"/>
                  <a:pt x="5356916" y="3360208"/>
                  <a:pt x="5377780" y="3348163"/>
                </a:cubicBezTo>
                <a:cubicBezTo>
                  <a:pt x="5377780" y="3348163"/>
                  <a:pt x="5375575" y="3356390"/>
                  <a:pt x="5375575" y="3356390"/>
                </a:cubicBezTo>
                <a:cubicBezTo>
                  <a:pt x="5367348" y="3354186"/>
                  <a:pt x="5359120" y="3351981"/>
                  <a:pt x="5356916" y="3360208"/>
                </a:cubicBezTo>
                <a:cubicBezTo>
                  <a:pt x="5361325" y="3343753"/>
                  <a:pt x="5359120" y="3351981"/>
                  <a:pt x="5353097" y="3341549"/>
                </a:cubicBezTo>
                <a:cubicBezTo>
                  <a:pt x="5353649" y="3339492"/>
                  <a:pt x="5354815" y="3339253"/>
                  <a:pt x="5356288" y="3339924"/>
                </a:cubicBezTo>
                <a:close/>
                <a:moveTo>
                  <a:pt x="5502153" y="3339602"/>
                </a:moveTo>
                <a:cubicBezTo>
                  <a:pt x="5504338" y="3340187"/>
                  <a:pt x="5505972" y="3342830"/>
                  <a:pt x="5504870" y="3346943"/>
                </a:cubicBezTo>
                <a:cubicBezTo>
                  <a:pt x="5513613" y="3349286"/>
                  <a:pt x="5515817" y="3341058"/>
                  <a:pt x="5524558" y="3343401"/>
                </a:cubicBezTo>
                <a:cubicBezTo>
                  <a:pt x="5522354" y="3351628"/>
                  <a:pt x="5522354" y="3351628"/>
                  <a:pt x="5520149" y="3359856"/>
                </a:cubicBezTo>
                <a:cubicBezTo>
                  <a:pt x="5511409" y="3357514"/>
                  <a:pt x="5504870" y="3346943"/>
                  <a:pt x="5502665" y="3355171"/>
                </a:cubicBezTo>
                <a:cubicBezTo>
                  <a:pt x="5491720" y="3361056"/>
                  <a:pt x="5500461" y="3363398"/>
                  <a:pt x="5498256" y="3371626"/>
                </a:cubicBezTo>
                <a:cubicBezTo>
                  <a:pt x="5489515" y="3369284"/>
                  <a:pt x="5489515" y="3369284"/>
                  <a:pt x="5480772" y="3366941"/>
                </a:cubicBezTo>
                <a:cubicBezTo>
                  <a:pt x="5492823" y="3356941"/>
                  <a:pt x="5488451" y="3355770"/>
                  <a:pt x="5478881" y="3356513"/>
                </a:cubicBezTo>
                <a:lnTo>
                  <a:pt x="5468325" y="3356851"/>
                </a:lnTo>
                <a:lnTo>
                  <a:pt x="5476441" y="3348144"/>
                </a:lnTo>
                <a:cubicBezTo>
                  <a:pt x="5474236" y="3356372"/>
                  <a:pt x="5511409" y="3357514"/>
                  <a:pt x="5496129" y="3344601"/>
                </a:cubicBezTo>
                <a:cubicBezTo>
                  <a:pt x="5497232" y="3340487"/>
                  <a:pt x="5499968" y="3339016"/>
                  <a:pt x="5502153" y="3339602"/>
                </a:cubicBezTo>
                <a:close/>
                <a:moveTo>
                  <a:pt x="6547853" y="3333755"/>
                </a:moveTo>
                <a:cubicBezTo>
                  <a:pt x="6555052" y="3335684"/>
                  <a:pt x="6561562" y="3340184"/>
                  <a:pt x="6560183" y="3345328"/>
                </a:cubicBezTo>
                <a:cubicBezTo>
                  <a:pt x="6560183" y="3345328"/>
                  <a:pt x="6538231" y="3350469"/>
                  <a:pt x="6531386" y="3337611"/>
                </a:cubicBezTo>
                <a:cubicBezTo>
                  <a:pt x="6532764" y="3332467"/>
                  <a:pt x="6540654" y="3331826"/>
                  <a:pt x="6547853" y="3333755"/>
                </a:cubicBezTo>
                <a:close/>
                <a:moveTo>
                  <a:pt x="1233362" y="3331131"/>
                </a:moveTo>
                <a:cubicBezTo>
                  <a:pt x="1241589" y="3333335"/>
                  <a:pt x="1237180" y="3349790"/>
                  <a:pt x="1255840" y="3345972"/>
                </a:cubicBezTo>
                <a:cubicBezTo>
                  <a:pt x="1238794" y="3376678"/>
                  <a:pt x="1239384" y="3341563"/>
                  <a:pt x="1218520" y="3353609"/>
                </a:cubicBezTo>
                <a:cubicBezTo>
                  <a:pt x="1220725" y="3345381"/>
                  <a:pt x="1222929" y="3337154"/>
                  <a:pt x="1214702" y="3334949"/>
                </a:cubicBezTo>
                <a:cubicBezTo>
                  <a:pt x="1206474" y="3332745"/>
                  <a:pt x="1228952" y="3347586"/>
                  <a:pt x="1233362" y="3331131"/>
                </a:cubicBezTo>
                <a:close/>
                <a:moveTo>
                  <a:pt x="2853817" y="3326624"/>
                </a:moveTo>
                <a:cubicBezTo>
                  <a:pt x="2861016" y="3328553"/>
                  <a:pt x="2868693" y="3332812"/>
                  <a:pt x="2871705" y="3338030"/>
                </a:cubicBezTo>
                <a:cubicBezTo>
                  <a:pt x="2859068" y="3352280"/>
                  <a:pt x="2844818" y="3339644"/>
                  <a:pt x="2838795" y="3329211"/>
                </a:cubicBezTo>
                <a:cubicBezTo>
                  <a:pt x="2839898" y="3325097"/>
                  <a:pt x="2846618" y="3324695"/>
                  <a:pt x="2853817" y="3326624"/>
                </a:cubicBezTo>
                <a:close/>
                <a:moveTo>
                  <a:pt x="6501053" y="3324832"/>
                </a:moveTo>
                <a:cubicBezTo>
                  <a:pt x="6502082" y="3324591"/>
                  <a:pt x="6503282" y="3325257"/>
                  <a:pt x="6504653" y="3326313"/>
                </a:cubicBezTo>
                <a:cubicBezTo>
                  <a:pt x="6507392" y="3328427"/>
                  <a:pt x="6510818" y="3332100"/>
                  <a:pt x="6514931" y="3333202"/>
                </a:cubicBezTo>
                <a:cubicBezTo>
                  <a:pt x="6514931" y="3333202"/>
                  <a:pt x="6523158" y="3335407"/>
                  <a:pt x="6523158" y="3335407"/>
                </a:cubicBezTo>
                <a:cubicBezTo>
                  <a:pt x="6512175" y="3343487"/>
                  <a:pt x="6498476" y="3328793"/>
                  <a:pt x="6498476" y="3328793"/>
                </a:cubicBezTo>
                <a:cubicBezTo>
                  <a:pt x="6499165" y="3326221"/>
                  <a:pt x="6500024" y="3325073"/>
                  <a:pt x="6501053" y="3324832"/>
                </a:cubicBezTo>
                <a:close/>
                <a:moveTo>
                  <a:pt x="7231514" y="3324593"/>
                </a:moveTo>
                <a:cubicBezTo>
                  <a:pt x="7239742" y="3326798"/>
                  <a:pt x="7235333" y="3343253"/>
                  <a:pt x="7239742" y="3326798"/>
                </a:cubicBezTo>
                <a:cubicBezTo>
                  <a:pt x="7239742" y="3326798"/>
                  <a:pt x="7237538" y="3335025"/>
                  <a:pt x="7245765" y="3337230"/>
                </a:cubicBezTo>
                <a:cubicBezTo>
                  <a:pt x="7235333" y="3343253"/>
                  <a:pt x="7229310" y="3332821"/>
                  <a:pt x="7221083" y="3330616"/>
                </a:cubicBezTo>
                <a:cubicBezTo>
                  <a:pt x="7223287" y="3322389"/>
                  <a:pt x="7229310" y="3332821"/>
                  <a:pt x="7231514" y="3324593"/>
                </a:cubicBezTo>
                <a:close/>
                <a:moveTo>
                  <a:pt x="2710826" y="3321377"/>
                </a:moveTo>
                <a:cubicBezTo>
                  <a:pt x="2720082" y="3323857"/>
                  <a:pt x="2720082" y="3323857"/>
                  <a:pt x="2720082" y="3323857"/>
                </a:cubicBezTo>
                <a:cubicBezTo>
                  <a:pt x="2717602" y="3333114"/>
                  <a:pt x="2715122" y="3342370"/>
                  <a:pt x="2721898" y="3354106"/>
                </a:cubicBezTo>
                <a:cubicBezTo>
                  <a:pt x="2710162" y="3360882"/>
                  <a:pt x="2694129" y="3346666"/>
                  <a:pt x="2684873" y="3344186"/>
                </a:cubicBezTo>
                <a:cubicBezTo>
                  <a:pt x="2687353" y="3334929"/>
                  <a:pt x="2687353" y="3334929"/>
                  <a:pt x="2689833" y="3325673"/>
                </a:cubicBezTo>
                <a:cubicBezTo>
                  <a:pt x="2705866" y="3339890"/>
                  <a:pt x="2705866" y="3339890"/>
                  <a:pt x="2710826" y="3321377"/>
                </a:cubicBezTo>
                <a:close/>
                <a:moveTo>
                  <a:pt x="4332383" y="3318454"/>
                </a:moveTo>
                <a:lnTo>
                  <a:pt x="4340062" y="3320512"/>
                </a:lnTo>
                <a:cubicBezTo>
                  <a:pt x="4335794" y="3319368"/>
                  <a:pt x="4333089" y="3320935"/>
                  <a:pt x="4332021" y="3320649"/>
                </a:cubicBezTo>
                <a:close/>
                <a:moveTo>
                  <a:pt x="6339103" y="3314746"/>
                </a:moveTo>
                <a:cubicBezTo>
                  <a:pt x="6339103" y="3314746"/>
                  <a:pt x="6347331" y="3316951"/>
                  <a:pt x="6355558" y="3319156"/>
                </a:cubicBezTo>
                <a:cubicBezTo>
                  <a:pt x="6353354" y="3327383"/>
                  <a:pt x="6328671" y="3320770"/>
                  <a:pt x="6339103" y="3314746"/>
                </a:cubicBezTo>
                <a:close/>
                <a:moveTo>
                  <a:pt x="7311368" y="3306307"/>
                </a:moveTo>
                <a:cubicBezTo>
                  <a:pt x="7319596" y="3308511"/>
                  <a:pt x="7325067" y="3321001"/>
                  <a:pt x="7333295" y="3323205"/>
                </a:cubicBezTo>
                <a:cubicBezTo>
                  <a:pt x="7330539" y="3333490"/>
                  <a:pt x="7314084" y="3329081"/>
                  <a:pt x="7305857" y="3326877"/>
                </a:cubicBezTo>
                <a:cubicBezTo>
                  <a:pt x="7314084" y="3329081"/>
                  <a:pt x="7300385" y="3314387"/>
                  <a:pt x="7289401" y="3322468"/>
                </a:cubicBezTo>
                <a:cubicBezTo>
                  <a:pt x="7281174" y="3320263"/>
                  <a:pt x="7308612" y="3316592"/>
                  <a:pt x="7311368" y="3306307"/>
                </a:cubicBezTo>
                <a:close/>
                <a:moveTo>
                  <a:pt x="7184354" y="3303138"/>
                </a:moveTo>
                <a:cubicBezTo>
                  <a:pt x="7206832" y="3317980"/>
                  <a:pt x="7150853" y="3329435"/>
                  <a:pt x="7155262" y="3312980"/>
                </a:cubicBezTo>
                <a:cubicBezTo>
                  <a:pt x="7163490" y="3315184"/>
                  <a:pt x="7188172" y="3321798"/>
                  <a:pt x="7184354" y="3303138"/>
                </a:cubicBezTo>
                <a:close/>
                <a:moveTo>
                  <a:pt x="6079050" y="3297975"/>
                </a:moveTo>
                <a:cubicBezTo>
                  <a:pt x="6063387" y="3320233"/>
                  <a:pt x="6051898" y="3290700"/>
                  <a:pt x="6038440" y="3304730"/>
                </a:cubicBezTo>
                <a:cubicBezTo>
                  <a:pt x="6031593" y="3294077"/>
                  <a:pt x="6067797" y="3303778"/>
                  <a:pt x="6079050" y="3297975"/>
                </a:cubicBezTo>
                <a:close/>
                <a:moveTo>
                  <a:pt x="6187972" y="3291888"/>
                </a:moveTo>
                <a:cubicBezTo>
                  <a:pt x="6187972" y="3291888"/>
                  <a:pt x="6195366" y="3302687"/>
                  <a:pt x="6204964" y="3305259"/>
                </a:cubicBezTo>
                <a:cubicBezTo>
                  <a:pt x="6195366" y="3302687"/>
                  <a:pt x="6185767" y="3300115"/>
                  <a:pt x="6183563" y="3308343"/>
                </a:cubicBezTo>
                <a:cubicBezTo>
                  <a:pt x="6176166" y="3297543"/>
                  <a:pt x="6185767" y="3300115"/>
                  <a:pt x="6187972" y="3291888"/>
                </a:cubicBezTo>
                <a:close/>
                <a:moveTo>
                  <a:pt x="5880301" y="3291017"/>
                </a:moveTo>
                <a:cubicBezTo>
                  <a:pt x="5884416" y="3292119"/>
                  <a:pt x="5890034" y="3295830"/>
                  <a:pt x="5894146" y="3296932"/>
                </a:cubicBezTo>
                <a:cubicBezTo>
                  <a:pt x="5900170" y="3307364"/>
                  <a:pt x="5877691" y="3292523"/>
                  <a:pt x="5875487" y="3300750"/>
                </a:cubicBezTo>
                <a:cubicBezTo>
                  <a:pt x="5873579" y="3291421"/>
                  <a:pt x="5876188" y="3289915"/>
                  <a:pt x="5880301" y="3291017"/>
                </a:cubicBezTo>
                <a:close/>
                <a:moveTo>
                  <a:pt x="6006910" y="3287464"/>
                </a:moveTo>
                <a:cubicBezTo>
                  <a:pt x="6015138" y="3289668"/>
                  <a:pt x="6012933" y="3297896"/>
                  <a:pt x="6021161" y="3300100"/>
                </a:cubicBezTo>
                <a:cubicBezTo>
                  <a:pt x="6018956" y="3308328"/>
                  <a:pt x="6002501" y="3303919"/>
                  <a:pt x="6012933" y="3297896"/>
                </a:cubicBezTo>
                <a:cubicBezTo>
                  <a:pt x="6004706" y="3295691"/>
                  <a:pt x="6004706" y="3295691"/>
                  <a:pt x="6002501" y="3303919"/>
                </a:cubicBezTo>
                <a:cubicBezTo>
                  <a:pt x="6002501" y="3303919"/>
                  <a:pt x="5994274" y="3301714"/>
                  <a:pt x="5994274" y="3301714"/>
                </a:cubicBezTo>
                <a:cubicBezTo>
                  <a:pt x="5996478" y="3293486"/>
                  <a:pt x="6004706" y="3295691"/>
                  <a:pt x="6006910" y="3287464"/>
                </a:cubicBezTo>
                <a:close/>
                <a:moveTo>
                  <a:pt x="3826403" y="3284097"/>
                </a:moveTo>
                <a:cubicBezTo>
                  <a:pt x="3833876" y="3284999"/>
                  <a:pt x="3841553" y="3289259"/>
                  <a:pt x="3844563" y="3294476"/>
                </a:cubicBezTo>
                <a:cubicBezTo>
                  <a:pt x="3828108" y="3290067"/>
                  <a:pt x="3825904" y="3298294"/>
                  <a:pt x="3809449" y="3293885"/>
                </a:cubicBezTo>
                <a:cubicBezTo>
                  <a:pt x="3811653" y="3285658"/>
                  <a:pt x="3818928" y="3283196"/>
                  <a:pt x="3826403" y="3284097"/>
                </a:cubicBezTo>
                <a:close/>
                <a:moveTo>
                  <a:pt x="4853047" y="3282517"/>
                </a:moveTo>
                <a:cubicBezTo>
                  <a:pt x="4859894" y="3293170"/>
                  <a:pt x="4868943" y="3295595"/>
                  <a:pt x="4862099" y="3284943"/>
                </a:cubicBezTo>
                <a:cubicBezTo>
                  <a:pt x="4880199" y="3289793"/>
                  <a:pt x="4891455" y="3283991"/>
                  <a:pt x="4900504" y="3286415"/>
                </a:cubicBezTo>
                <a:cubicBezTo>
                  <a:pt x="4893890" y="3311098"/>
                  <a:pt x="4880199" y="3289793"/>
                  <a:pt x="4875790" y="3306248"/>
                </a:cubicBezTo>
                <a:cubicBezTo>
                  <a:pt x="4866738" y="3303822"/>
                  <a:pt x="4868943" y="3295595"/>
                  <a:pt x="4877994" y="3298020"/>
                </a:cubicBezTo>
                <a:cubicBezTo>
                  <a:pt x="4871147" y="3287367"/>
                  <a:pt x="4846434" y="3307200"/>
                  <a:pt x="4853047" y="3282517"/>
                </a:cubicBezTo>
                <a:close/>
                <a:moveTo>
                  <a:pt x="9029937" y="3281795"/>
                </a:moveTo>
                <a:cubicBezTo>
                  <a:pt x="9035447" y="3278861"/>
                  <a:pt x="9047017" y="3279759"/>
                  <a:pt x="9054731" y="3281826"/>
                </a:cubicBezTo>
                <a:cubicBezTo>
                  <a:pt x="9062443" y="3283892"/>
                  <a:pt x="9066300" y="3287128"/>
                  <a:pt x="9056384" y="3288882"/>
                </a:cubicBezTo>
                <a:cubicBezTo>
                  <a:pt x="9058589" y="3280654"/>
                  <a:pt x="9029937" y="3281795"/>
                  <a:pt x="9027733" y="3290023"/>
                </a:cubicBezTo>
                <a:cubicBezTo>
                  <a:pt x="9012306" y="3277071"/>
                  <a:pt x="9047569" y="3286520"/>
                  <a:pt x="9029937" y="3281795"/>
                </a:cubicBezTo>
                <a:close/>
                <a:moveTo>
                  <a:pt x="5155309" y="3277528"/>
                </a:moveTo>
                <a:cubicBezTo>
                  <a:pt x="5163059" y="3277400"/>
                  <a:pt x="5171286" y="3279604"/>
                  <a:pt x="5174296" y="3284821"/>
                </a:cubicBezTo>
                <a:cubicBezTo>
                  <a:pt x="5172092" y="3293049"/>
                  <a:pt x="5166069" y="3282617"/>
                  <a:pt x="5166069" y="3282617"/>
                </a:cubicBezTo>
                <a:cubicBezTo>
                  <a:pt x="5166069" y="3282617"/>
                  <a:pt x="5163864" y="3290844"/>
                  <a:pt x="5163864" y="3290844"/>
                </a:cubicBezTo>
                <a:cubicBezTo>
                  <a:pt x="5155637" y="3288639"/>
                  <a:pt x="5149614" y="3278207"/>
                  <a:pt x="5147409" y="3286435"/>
                </a:cubicBezTo>
                <a:cubicBezTo>
                  <a:pt x="5147409" y="3286435"/>
                  <a:pt x="5139182" y="3284230"/>
                  <a:pt x="5139182" y="3284230"/>
                </a:cubicBezTo>
                <a:cubicBezTo>
                  <a:pt x="5140284" y="3280115"/>
                  <a:pt x="5147556" y="3277656"/>
                  <a:pt x="5155309" y="3277528"/>
                </a:cubicBezTo>
                <a:close/>
                <a:moveTo>
                  <a:pt x="5020425" y="3277487"/>
                </a:moveTo>
                <a:cubicBezTo>
                  <a:pt x="5023023" y="3277563"/>
                  <a:pt x="5025953" y="3278968"/>
                  <a:pt x="5029447" y="3282384"/>
                </a:cubicBezTo>
                <a:cubicBezTo>
                  <a:pt x="5035194" y="3293845"/>
                  <a:pt x="5010511" y="3287232"/>
                  <a:pt x="5024486" y="3300897"/>
                </a:cubicBezTo>
                <a:cubicBezTo>
                  <a:pt x="5013779" y="3307949"/>
                  <a:pt x="5021220" y="3280180"/>
                  <a:pt x="4999804" y="3294283"/>
                </a:cubicBezTo>
                <a:cubicBezTo>
                  <a:pt x="5007835" y="3288995"/>
                  <a:pt x="5012632" y="3277259"/>
                  <a:pt x="5020425" y="3277487"/>
                </a:cubicBezTo>
                <a:close/>
                <a:moveTo>
                  <a:pt x="5524634" y="3277286"/>
                </a:moveTo>
                <a:cubicBezTo>
                  <a:pt x="5532862" y="3279490"/>
                  <a:pt x="5551521" y="3275672"/>
                  <a:pt x="5567977" y="3280081"/>
                </a:cubicBezTo>
                <a:cubicBezTo>
                  <a:pt x="5557545" y="3286104"/>
                  <a:pt x="5538885" y="3289922"/>
                  <a:pt x="5524634" y="3277286"/>
                </a:cubicBezTo>
                <a:close/>
                <a:moveTo>
                  <a:pt x="4964710" y="3277164"/>
                </a:moveTo>
                <a:cubicBezTo>
                  <a:pt x="4981165" y="3281573"/>
                  <a:pt x="4976756" y="3298029"/>
                  <a:pt x="4987188" y="3292005"/>
                </a:cubicBezTo>
                <a:cubicBezTo>
                  <a:pt x="4984985" y="3300233"/>
                  <a:pt x="4976756" y="3298029"/>
                  <a:pt x="4968530" y="3295824"/>
                </a:cubicBezTo>
                <a:cubicBezTo>
                  <a:pt x="4962506" y="3285392"/>
                  <a:pt x="4970733" y="3287596"/>
                  <a:pt x="4964710" y="3277164"/>
                </a:cubicBezTo>
                <a:close/>
                <a:moveTo>
                  <a:pt x="5716813" y="3275870"/>
                </a:moveTo>
                <a:cubicBezTo>
                  <a:pt x="5726069" y="3278350"/>
                  <a:pt x="5723864" y="3286578"/>
                  <a:pt x="5723864" y="3286578"/>
                </a:cubicBezTo>
                <a:cubicBezTo>
                  <a:pt x="5723864" y="3286578"/>
                  <a:pt x="5723864" y="3286578"/>
                  <a:pt x="5733121" y="3289058"/>
                </a:cubicBezTo>
                <a:cubicBezTo>
                  <a:pt x="5721660" y="3294805"/>
                  <a:pt x="5703147" y="3289845"/>
                  <a:pt x="5693891" y="3287365"/>
                </a:cubicBezTo>
                <a:cubicBezTo>
                  <a:pt x="5693891" y="3287365"/>
                  <a:pt x="5696095" y="3279137"/>
                  <a:pt x="5696095" y="3279137"/>
                </a:cubicBezTo>
                <a:cubicBezTo>
                  <a:pt x="5698300" y="3270910"/>
                  <a:pt x="5719455" y="3303033"/>
                  <a:pt x="5716813" y="3275870"/>
                </a:cubicBezTo>
                <a:close/>
                <a:moveTo>
                  <a:pt x="7328416" y="3275604"/>
                </a:moveTo>
                <a:cubicBezTo>
                  <a:pt x="7326211" y="3283832"/>
                  <a:pt x="7326211" y="3283832"/>
                  <a:pt x="7324007" y="3292059"/>
                </a:cubicBezTo>
                <a:cubicBezTo>
                  <a:pt x="7315779" y="3289855"/>
                  <a:pt x="7307552" y="3287650"/>
                  <a:pt x="7307552" y="3287650"/>
                </a:cubicBezTo>
                <a:cubicBezTo>
                  <a:pt x="7301529" y="3277218"/>
                  <a:pt x="7317984" y="3281627"/>
                  <a:pt x="7328416" y="3275604"/>
                </a:cubicBezTo>
                <a:close/>
                <a:moveTo>
                  <a:pt x="891330" y="3274756"/>
                </a:moveTo>
                <a:cubicBezTo>
                  <a:pt x="899558" y="3276961"/>
                  <a:pt x="892944" y="3301644"/>
                  <a:pt x="890739" y="3309871"/>
                </a:cubicBezTo>
                <a:cubicBezTo>
                  <a:pt x="884716" y="3299439"/>
                  <a:pt x="878693" y="3289007"/>
                  <a:pt x="874284" y="3305462"/>
                </a:cubicBezTo>
                <a:cubicBezTo>
                  <a:pt x="868261" y="3295030"/>
                  <a:pt x="878693" y="3289007"/>
                  <a:pt x="880898" y="3280780"/>
                </a:cubicBezTo>
                <a:cubicBezTo>
                  <a:pt x="889125" y="3282984"/>
                  <a:pt x="889125" y="3282984"/>
                  <a:pt x="891330" y="3274756"/>
                </a:cubicBezTo>
                <a:close/>
                <a:moveTo>
                  <a:pt x="5112921" y="3273472"/>
                </a:moveTo>
                <a:cubicBezTo>
                  <a:pt x="5114885" y="3277720"/>
                  <a:pt x="5115709" y="3297783"/>
                  <a:pt x="5120669" y="3279270"/>
                </a:cubicBezTo>
                <a:cubicBezTo>
                  <a:pt x="5133159" y="3273798"/>
                  <a:pt x="5116260" y="3295725"/>
                  <a:pt x="5116260" y="3295725"/>
                </a:cubicBezTo>
                <a:cubicBezTo>
                  <a:pt x="5105975" y="3292969"/>
                  <a:pt x="5120669" y="3279270"/>
                  <a:pt x="5110384" y="3276514"/>
                </a:cubicBezTo>
                <a:cubicBezTo>
                  <a:pt x="5111487" y="3272399"/>
                  <a:pt x="5112267" y="3272058"/>
                  <a:pt x="5112921" y="3273472"/>
                </a:cubicBezTo>
                <a:close/>
                <a:moveTo>
                  <a:pt x="919388" y="3273457"/>
                </a:moveTo>
                <a:cubicBezTo>
                  <a:pt x="917184" y="3281684"/>
                  <a:pt x="923795" y="3292274"/>
                  <a:pt x="921590" y="3300501"/>
                </a:cubicBezTo>
                <a:cubicBezTo>
                  <a:pt x="937020" y="3278181"/>
                  <a:pt x="939222" y="3305225"/>
                  <a:pt x="945836" y="3280543"/>
                </a:cubicBezTo>
                <a:cubicBezTo>
                  <a:pt x="954651" y="3282905"/>
                  <a:pt x="934813" y="3321680"/>
                  <a:pt x="956853" y="3309950"/>
                </a:cubicBezTo>
                <a:cubicBezTo>
                  <a:pt x="956853" y="3309950"/>
                  <a:pt x="954649" y="3318178"/>
                  <a:pt x="954649" y="3318178"/>
                </a:cubicBezTo>
                <a:cubicBezTo>
                  <a:pt x="937017" y="3313453"/>
                  <a:pt x="919386" y="3308729"/>
                  <a:pt x="914977" y="3325184"/>
                </a:cubicBezTo>
                <a:cubicBezTo>
                  <a:pt x="906161" y="3322822"/>
                  <a:pt x="901757" y="3304005"/>
                  <a:pt x="910570" y="3306367"/>
                </a:cubicBezTo>
                <a:cubicBezTo>
                  <a:pt x="912775" y="3298139"/>
                  <a:pt x="903962" y="3295777"/>
                  <a:pt x="895146" y="3293415"/>
                </a:cubicBezTo>
                <a:cubicBezTo>
                  <a:pt x="897350" y="3285188"/>
                  <a:pt x="899555" y="3276960"/>
                  <a:pt x="899555" y="3276960"/>
                </a:cubicBezTo>
                <a:cubicBezTo>
                  <a:pt x="908370" y="3279322"/>
                  <a:pt x="910575" y="3271095"/>
                  <a:pt x="919388" y="3273457"/>
                </a:cubicBezTo>
                <a:close/>
                <a:moveTo>
                  <a:pt x="5093929" y="3272105"/>
                </a:moveTo>
                <a:cubicBezTo>
                  <a:pt x="5102157" y="3274310"/>
                  <a:pt x="5099953" y="3282537"/>
                  <a:pt x="5108179" y="3284742"/>
                </a:cubicBezTo>
                <a:cubicBezTo>
                  <a:pt x="5108179" y="3284742"/>
                  <a:pt x="5091724" y="3280332"/>
                  <a:pt x="5095543" y="3298992"/>
                </a:cubicBezTo>
                <a:cubicBezTo>
                  <a:pt x="5089520" y="3288560"/>
                  <a:pt x="5089520" y="3288560"/>
                  <a:pt x="5093929" y="3272105"/>
                </a:cubicBezTo>
                <a:close/>
                <a:moveTo>
                  <a:pt x="4819161" y="3271213"/>
                </a:moveTo>
                <a:lnTo>
                  <a:pt x="4818870" y="3274735"/>
                </a:lnTo>
                <a:lnTo>
                  <a:pt x="4816025" y="3273972"/>
                </a:lnTo>
                <a:close/>
                <a:moveTo>
                  <a:pt x="5286519" y="3270800"/>
                </a:moveTo>
                <a:lnTo>
                  <a:pt x="5287420" y="3271469"/>
                </a:lnTo>
                <a:lnTo>
                  <a:pt x="5280962" y="3271932"/>
                </a:lnTo>
                <a:close/>
                <a:moveTo>
                  <a:pt x="5253202" y="3270415"/>
                </a:moveTo>
                <a:cubicBezTo>
                  <a:pt x="5260839" y="3270532"/>
                  <a:pt x="5268404" y="3271457"/>
                  <a:pt x="5275699" y="3272309"/>
                </a:cubicBezTo>
                <a:lnTo>
                  <a:pt x="5280962" y="3271932"/>
                </a:lnTo>
                <a:lnTo>
                  <a:pt x="5260810" y="3276036"/>
                </a:lnTo>
                <a:cubicBezTo>
                  <a:pt x="5252425" y="3277096"/>
                  <a:pt x="5243234" y="3276838"/>
                  <a:pt x="5230275" y="3273366"/>
                </a:cubicBezTo>
                <a:cubicBezTo>
                  <a:pt x="5237857" y="3270988"/>
                  <a:pt x="5245565" y="3270298"/>
                  <a:pt x="5253202" y="3270415"/>
                </a:cubicBezTo>
                <a:close/>
                <a:moveTo>
                  <a:pt x="5314640" y="3269517"/>
                </a:moveTo>
                <a:cubicBezTo>
                  <a:pt x="5317858" y="3274787"/>
                  <a:pt x="5307564" y="3278644"/>
                  <a:pt x="5298101" y="3279414"/>
                </a:cubicBezTo>
                <a:lnTo>
                  <a:pt x="5287420" y="3271469"/>
                </a:lnTo>
                <a:close/>
                <a:moveTo>
                  <a:pt x="1691034" y="3268581"/>
                </a:moveTo>
                <a:cubicBezTo>
                  <a:pt x="1697057" y="3279013"/>
                  <a:pt x="1707489" y="3272990"/>
                  <a:pt x="1715716" y="3275194"/>
                </a:cubicBezTo>
                <a:cubicBezTo>
                  <a:pt x="1705284" y="3281217"/>
                  <a:pt x="1688829" y="3276808"/>
                  <a:pt x="1684420" y="3293263"/>
                </a:cubicBezTo>
                <a:cubicBezTo>
                  <a:pt x="1684420" y="3293263"/>
                  <a:pt x="1686625" y="3285036"/>
                  <a:pt x="1686625" y="3285036"/>
                </a:cubicBezTo>
                <a:cubicBezTo>
                  <a:pt x="1688829" y="3276808"/>
                  <a:pt x="1680602" y="3274604"/>
                  <a:pt x="1691034" y="3268581"/>
                </a:cubicBezTo>
                <a:close/>
                <a:moveTo>
                  <a:pt x="5877180" y="3261521"/>
                </a:moveTo>
                <a:cubicBezTo>
                  <a:pt x="5854040" y="3277367"/>
                  <a:pt x="5830348" y="3259995"/>
                  <a:pt x="5818777" y="3267918"/>
                </a:cubicBezTo>
                <a:cubicBezTo>
                  <a:pt x="5812717" y="3255271"/>
                  <a:pt x="5856795" y="3267082"/>
                  <a:pt x="5877180" y="3261521"/>
                </a:cubicBezTo>
                <a:close/>
                <a:moveTo>
                  <a:pt x="4951287" y="3261442"/>
                </a:moveTo>
                <a:cubicBezTo>
                  <a:pt x="4951287" y="3261442"/>
                  <a:pt x="4959516" y="3263646"/>
                  <a:pt x="4967742" y="3265851"/>
                </a:cubicBezTo>
                <a:lnTo>
                  <a:pt x="4964710" y="3277164"/>
                </a:lnTo>
                <a:lnTo>
                  <a:pt x="4960715" y="3292075"/>
                </a:lnTo>
                <a:cubicBezTo>
                  <a:pt x="4952487" y="3289870"/>
                  <a:pt x="4936032" y="3285461"/>
                  <a:pt x="4939575" y="3305150"/>
                </a:cubicBezTo>
                <a:cubicBezTo>
                  <a:pt x="4944260" y="3287666"/>
                  <a:pt x="4909007" y="3287591"/>
                  <a:pt x="4912550" y="3307279"/>
                </a:cubicBezTo>
                <a:cubicBezTo>
                  <a:pt x="4898437" y="3294127"/>
                  <a:pt x="4927806" y="3283257"/>
                  <a:pt x="4938375" y="3276721"/>
                </a:cubicBezTo>
                <a:cubicBezTo>
                  <a:pt x="4936032" y="3285461"/>
                  <a:pt x="4933690" y="3294204"/>
                  <a:pt x="4952487" y="3289870"/>
                </a:cubicBezTo>
                <a:cubicBezTo>
                  <a:pt x="4946602" y="3278925"/>
                  <a:pt x="4936032" y="3285461"/>
                  <a:pt x="4948945" y="3270182"/>
                </a:cubicBezTo>
                <a:cubicBezTo>
                  <a:pt x="4957174" y="3272387"/>
                  <a:pt x="4954829" y="3281130"/>
                  <a:pt x="4954829" y="3281130"/>
                </a:cubicBezTo>
                <a:cubicBezTo>
                  <a:pt x="4963057" y="3283334"/>
                  <a:pt x="4959516" y="3263646"/>
                  <a:pt x="4951287" y="3261442"/>
                </a:cubicBezTo>
                <a:close/>
                <a:moveTo>
                  <a:pt x="4831988" y="3259924"/>
                </a:moveTo>
                <a:lnTo>
                  <a:pt x="4819161" y="3271213"/>
                </a:lnTo>
                <a:lnTo>
                  <a:pt x="4819887" y="3262409"/>
                </a:lnTo>
                <a:cubicBezTo>
                  <a:pt x="4824442" y="3262485"/>
                  <a:pt x="4830842" y="3264200"/>
                  <a:pt x="4831988" y="3259924"/>
                </a:cubicBezTo>
                <a:close/>
                <a:moveTo>
                  <a:pt x="5895840" y="3257702"/>
                </a:moveTo>
                <a:cubicBezTo>
                  <a:pt x="5904067" y="3259907"/>
                  <a:pt x="5912295" y="3262111"/>
                  <a:pt x="5920522" y="3264316"/>
                </a:cubicBezTo>
                <a:cubicBezTo>
                  <a:pt x="5918318" y="3272543"/>
                  <a:pt x="5910091" y="3270339"/>
                  <a:pt x="5910091" y="3270339"/>
                </a:cubicBezTo>
                <a:cubicBezTo>
                  <a:pt x="5901863" y="3268134"/>
                  <a:pt x="5904067" y="3259907"/>
                  <a:pt x="5901863" y="3268134"/>
                </a:cubicBezTo>
                <a:cubicBezTo>
                  <a:pt x="5901863" y="3268134"/>
                  <a:pt x="5893635" y="3265930"/>
                  <a:pt x="5893635" y="3265930"/>
                </a:cubicBezTo>
                <a:cubicBezTo>
                  <a:pt x="5893635" y="3265930"/>
                  <a:pt x="5895840" y="3257702"/>
                  <a:pt x="5895840" y="3257702"/>
                </a:cubicBezTo>
                <a:close/>
                <a:moveTo>
                  <a:pt x="5087154" y="3255958"/>
                </a:moveTo>
                <a:lnTo>
                  <a:pt x="5089405" y="3257717"/>
                </a:lnTo>
                <a:lnTo>
                  <a:pt x="5078062" y="3267853"/>
                </a:lnTo>
                <a:cubicBezTo>
                  <a:pt x="5080267" y="3259626"/>
                  <a:pt x="5083575" y="3256102"/>
                  <a:pt x="5087154" y="3255958"/>
                </a:cubicBezTo>
                <a:close/>
                <a:moveTo>
                  <a:pt x="4852257" y="3255851"/>
                </a:moveTo>
                <a:cubicBezTo>
                  <a:pt x="4867329" y="3268708"/>
                  <a:pt x="4886813" y="3265110"/>
                  <a:pt x="4906297" y="3261512"/>
                </a:cubicBezTo>
                <a:cubicBezTo>
                  <a:pt x="4914933" y="3263827"/>
                  <a:pt x="4912729" y="3272054"/>
                  <a:pt x="4912729" y="3272054"/>
                </a:cubicBezTo>
                <a:cubicBezTo>
                  <a:pt x="4919163" y="3282597"/>
                  <a:pt x="4904091" y="3269740"/>
                  <a:pt x="4901888" y="3277968"/>
                </a:cubicBezTo>
                <a:cubicBezTo>
                  <a:pt x="4897479" y="3294423"/>
                  <a:pt x="4921368" y="3274369"/>
                  <a:pt x="4908320" y="3288509"/>
                </a:cubicBezTo>
                <a:lnTo>
                  <a:pt x="4900504" y="3286415"/>
                </a:lnTo>
                <a:lnTo>
                  <a:pt x="4839208" y="3269991"/>
                </a:lnTo>
                <a:cubicBezTo>
                  <a:pt x="4830568" y="3267676"/>
                  <a:pt x="4843619" y="3253536"/>
                  <a:pt x="4852257" y="3255851"/>
                </a:cubicBezTo>
                <a:close/>
                <a:moveTo>
                  <a:pt x="5378440" y="3255199"/>
                </a:moveTo>
                <a:cubicBezTo>
                  <a:pt x="5385299" y="3254279"/>
                  <a:pt x="5393527" y="3256484"/>
                  <a:pt x="5400376" y="3263832"/>
                </a:cubicBezTo>
                <a:cubicBezTo>
                  <a:pt x="5389393" y="3271913"/>
                  <a:pt x="5375694" y="3257219"/>
                  <a:pt x="5364710" y="3265299"/>
                </a:cubicBezTo>
                <a:cubicBezTo>
                  <a:pt x="5366088" y="3260155"/>
                  <a:pt x="5371581" y="3256117"/>
                  <a:pt x="5378440" y="3255199"/>
                </a:cubicBezTo>
                <a:close/>
                <a:moveTo>
                  <a:pt x="5601477" y="3253784"/>
                </a:moveTo>
                <a:cubicBezTo>
                  <a:pt x="5597068" y="3270239"/>
                  <a:pt x="5585022" y="3249375"/>
                  <a:pt x="5580613" y="3265830"/>
                </a:cubicBezTo>
                <a:cubicBezTo>
                  <a:pt x="5566363" y="3253194"/>
                  <a:pt x="5593250" y="3251580"/>
                  <a:pt x="5601477" y="3253784"/>
                </a:cubicBezTo>
                <a:close/>
                <a:moveTo>
                  <a:pt x="5095145" y="3252589"/>
                </a:moveTo>
                <a:cubicBezTo>
                  <a:pt x="5105613" y="3253189"/>
                  <a:pt x="5118834" y="3256731"/>
                  <a:pt x="5128752" y="3254981"/>
                </a:cubicBezTo>
                <a:cubicBezTo>
                  <a:pt x="5137568" y="3257343"/>
                  <a:pt x="5108919" y="3258485"/>
                  <a:pt x="5097898" y="3264350"/>
                </a:cubicBezTo>
                <a:lnTo>
                  <a:pt x="5089405" y="3257717"/>
                </a:lnTo>
                <a:close/>
                <a:moveTo>
                  <a:pt x="5192923" y="3252334"/>
                </a:moveTo>
                <a:cubicBezTo>
                  <a:pt x="5200672" y="3252205"/>
                  <a:pt x="5208900" y="3254410"/>
                  <a:pt x="5216024" y="3260729"/>
                </a:cubicBezTo>
                <a:cubicBezTo>
                  <a:pt x="5216024" y="3260729"/>
                  <a:pt x="5205593" y="3266752"/>
                  <a:pt x="5205593" y="3266752"/>
                </a:cubicBezTo>
                <a:cubicBezTo>
                  <a:pt x="5205593" y="3266752"/>
                  <a:pt x="5207798" y="3258525"/>
                  <a:pt x="5207798" y="3258525"/>
                </a:cubicBezTo>
                <a:cubicBezTo>
                  <a:pt x="5193547" y="3245888"/>
                  <a:pt x="5178705" y="3268366"/>
                  <a:pt x="5172683" y="3257934"/>
                </a:cubicBezTo>
                <a:cubicBezTo>
                  <a:pt x="5177900" y="3254921"/>
                  <a:pt x="5185172" y="3252462"/>
                  <a:pt x="5192923" y="3252334"/>
                </a:cubicBezTo>
                <a:close/>
                <a:moveTo>
                  <a:pt x="4953767" y="3252185"/>
                </a:moveTo>
                <a:cubicBezTo>
                  <a:pt x="4953767" y="3252185"/>
                  <a:pt x="4951287" y="3261442"/>
                  <a:pt x="4951287" y="3261442"/>
                </a:cubicBezTo>
                <a:cubicBezTo>
                  <a:pt x="4948808" y="3270698"/>
                  <a:pt x="4929871" y="3275545"/>
                  <a:pt x="4924124" y="3264084"/>
                </a:cubicBezTo>
                <a:cubicBezTo>
                  <a:pt x="4921645" y="3273340"/>
                  <a:pt x="4921645" y="3273340"/>
                  <a:pt x="4929871" y="3275545"/>
                </a:cubicBezTo>
                <a:cubicBezTo>
                  <a:pt x="4919163" y="3282597"/>
                  <a:pt x="4913416" y="3271136"/>
                  <a:pt x="4926604" y="3254828"/>
                </a:cubicBezTo>
                <a:cubicBezTo>
                  <a:pt x="4929084" y="3245571"/>
                  <a:pt x="4940579" y="3268493"/>
                  <a:pt x="4953767" y="3252185"/>
                </a:cubicBezTo>
                <a:close/>
                <a:moveTo>
                  <a:pt x="5740811" y="3252124"/>
                </a:moveTo>
                <a:cubicBezTo>
                  <a:pt x="5741429" y="3251876"/>
                  <a:pt x="5742902" y="3252547"/>
                  <a:pt x="5744821" y="3253612"/>
                </a:cubicBezTo>
                <a:cubicBezTo>
                  <a:pt x="5748658" y="3255743"/>
                  <a:pt x="5754278" y="3259454"/>
                  <a:pt x="5758391" y="3260556"/>
                </a:cubicBezTo>
                <a:cubicBezTo>
                  <a:pt x="5758391" y="3260556"/>
                  <a:pt x="5756187" y="3268784"/>
                  <a:pt x="5756187" y="3268784"/>
                </a:cubicBezTo>
                <a:cubicBezTo>
                  <a:pt x="5756187" y="3268784"/>
                  <a:pt x="5747959" y="3266579"/>
                  <a:pt x="5745754" y="3274807"/>
                </a:cubicBezTo>
                <a:cubicBezTo>
                  <a:pt x="5737527" y="3272602"/>
                  <a:pt x="5747959" y="3266579"/>
                  <a:pt x="5747959" y="3266579"/>
                </a:cubicBezTo>
                <a:cubicBezTo>
                  <a:pt x="5739731" y="3264375"/>
                  <a:pt x="5737527" y="3272602"/>
                  <a:pt x="5741936" y="3256147"/>
                </a:cubicBezTo>
                <a:cubicBezTo>
                  <a:pt x="5740431" y="3253539"/>
                  <a:pt x="5740193" y="3252372"/>
                  <a:pt x="5740811" y="3252124"/>
                </a:cubicBezTo>
                <a:close/>
                <a:moveTo>
                  <a:pt x="5560801" y="3251841"/>
                </a:moveTo>
                <a:cubicBezTo>
                  <a:pt x="5562852" y="3250875"/>
                  <a:pt x="5565234" y="3251238"/>
                  <a:pt x="5567667" y="3252441"/>
                </a:cubicBezTo>
                <a:cubicBezTo>
                  <a:pt x="5572536" y="3254848"/>
                  <a:pt x="5577603" y="3260613"/>
                  <a:pt x="5580613" y="3265830"/>
                </a:cubicBezTo>
                <a:cubicBezTo>
                  <a:pt x="5570181" y="3271853"/>
                  <a:pt x="5564158" y="3261421"/>
                  <a:pt x="5555930" y="3259217"/>
                </a:cubicBezTo>
                <a:cubicBezTo>
                  <a:pt x="5557033" y="3255103"/>
                  <a:pt x="5558751" y="3252807"/>
                  <a:pt x="5560801" y="3251841"/>
                </a:cubicBezTo>
                <a:close/>
                <a:moveTo>
                  <a:pt x="5156779" y="3251467"/>
                </a:moveTo>
                <a:cubicBezTo>
                  <a:pt x="5160894" y="3252570"/>
                  <a:pt x="5164455" y="3255729"/>
                  <a:pt x="5164455" y="3255729"/>
                </a:cubicBezTo>
                <a:cubicBezTo>
                  <a:pt x="5172683" y="3257934"/>
                  <a:pt x="5160046" y="3272184"/>
                  <a:pt x="5145795" y="3259548"/>
                </a:cubicBezTo>
                <a:cubicBezTo>
                  <a:pt x="5148000" y="3251320"/>
                  <a:pt x="5152667" y="3250366"/>
                  <a:pt x="5156779" y="3251467"/>
                </a:cubicBezTo>
                <a:close/>
                <a:moveTo>
                  <a:pt x="5343925" y="3251354"/>
                </a:moveTo>
                <a:lnTo>
                  <a:pt x="5349584" y="3256644"/>
                </a:lnTo>
                <a:lnTo>
                  <a:pt x="5345881" y="3258785"/>
                </a:lnTo>
                <a:close/>
                <a:moveTo>
                  <a:pt x="4980655" y="3250571"/>
                </a:moveTo>
                <a:cubicBezTo>
                  <a:pt x="4988882" y="3252776"/>
                  <a:pt x="4978313" y="3259312"/>
                  <a:pt x="4986540" y="3261517"/>
                </a:cubicBezTo>
                <a:cubicBezTo>
                  <a:pt x="4984197" y="3270260"/>
                  <a:pt x="4978313" y="3259312"/>
                  <a:pt x="4975969" y="3268055"/>
                </a:cubicBezTo>
                <a:cubicBezTo>
                  <a:pt x="4967742" y="3265851"/>
                  <a:pt x="4986540" y="3261517"/>
                  <a:pt x="4970085" y="3257107"/>
                </a:cubicBezTo>
                <a:lnTo>
                  <a:pt x="4967742" y="3265851"/>
                </a:lnTo>
                <a:cubicBezTo>
                  <a:pt x="4970085" y="3257107"/>
                  <a:pt x="4961857" y="3254903"/>
                  <a:pt x="4961857" y="3254903"/>
                </a:cubicBezTo>
                <a:cubicBezTo>
                  <a:pt x="4964199" y="3246162"/>
                  <a:pt x="4970085" y="3257107"/>
                  <a:pt x="4978313" y="3259312"/>
                </a:cubicBezTo>
                <a:cubicBezTo>
                  <a:pt x="4978313" y="3259312"/>
                  <a:pt x="4980655" y="3250571"/>
                  <a:pt x="4980655" y="3250571"/>
                </a:cubicBezTo>
                <a:close/>
                <a:moveTo>
                  <a:pt x="5009187" y="3249398"/>
                </a:moveTo>
                <a:cubicBezTo>
                  <a:pt x="4997933" y="3255201"/>
                  <a:pt x="5016034" y="3260051"/>
                  <a:pt x="5006982" y="3257626"/>
                </a:cubicBezTo>
                <a:cubicBezTo>
                  <a:pt x="5009187" y="3249398"/>
                  <a:pt x="5009187" y="3249398"/>
                  <a:pt x="5009187" y="3249398"/>
                </a:cubicBezTo>
                <a:close/>
                <a:moveTo>
                  <a:pt x="5714512" y="3248796"/>
                </a:moveTo>
                <a:cubicBezTo>
                  <a:pt x="5721906" y="3259596"/>
                  <a:pt x="5733709" y="3253940"/>
                  <a:pt x="5731505" y="3262168"/>
                </a:cubicBezTo>
                <a:cubicBezTo>
                  <a:pt x="5729300" y="3270395"/>
                  <a:pt x="5719702" y="3267823"/>
                  <a:pt x="5717497" y="3276051"/>
                </a:cubicBezTo>
                <a:cubicBezTo>
                  <a:pt x="5710103" y="3265251"/>
                  <a:pt x="5721906" y="3259596"/>
                  <a:pt x="5700503" y="3262679"/>
                </a:cubicBezTo>
                <a:cubicBezTo>
                  <a:pt x="5712308" y="3257024"/>
                  <a:pt x="5712308" y="3257024"/>
                  <a:pt x="5714512" y="3248796"/>
                </a:cubicBezTo>
                <a:close/>
                <a:moveTo>
                  <a:pt x="5681867" y="3247905"/>
                </a:moveTo>
                <a:cubicBezTo>
                  <a:pt x="5683206" y="3247024"/>
                  <a:pt x="5684748" y="3247437"/>
                  <a:pt x="5686254" y="3250045"/>
                </a:cubicBezTo>
                <a:cubicBezTo>
                  <a:pt x="5675822" y="3256069"/>
                  <a:pt x="5690072" y="3268705"/>
                  <a:pt x="5694482" y="3252250"/>
                </a:cubicBezTo>
                <a:cubicBezTo>
                  <a:pt x="5694482" y="3252250"/>
                  <a:pt x="5692277" y="3260478"/>
                  <a:pt x="5700504" y="3262682"/>
                </a:cubicBezTo>
                <a:cubicBezTo>
                  <a:pt x="5698300" y="3270910"/>
                  <a:pt x="5684049" y="3258273"/>
                  <a:pt x="5681845" y="3266501"/>
                </a:cubicBezTo>
                <a:cubicBezTo>
                  <a:pt x="5675674" y="3264847"/>
                  <a:pt x="5677852" y="3250550"/>
                  <a:pt x="5681867" y="3247905"/>
                </a:cubicBezTo>
                <a:close/>
                <a:moveTo>
                  <a:pt x="5262471" y="3247822"/>
                </a:moveTo>
                <a:cubicBezTo>
                  <a:pt x="5274096" y="3247630"/>
                  <a:pt x="5301753" y="3261655"/>
                  <a:pt x="5311231" y="3250967"/>
                </a:cubicBezTo>
                <a:cubicBezTo>
                  <a:pt x="5306822" y="3267422"/>
                  <a:pt x="5276117" y="3250376"/>
                  <a:pt x="5257457" y="3254194"/>
                </a:cubicBezTo>
                <a:cubicBezTo>
                  <a:pt x="5256502" y="3249529"/>
                  <a:pt x="5258596" y="3247886"/>
                  <a:pt x="5262471" y="3247822"/>
                </a:cubicBezTo>
                <a:close/>
                <a:moveTo>
                  <a:pt x="5000137" y="3246974"/>
                </a:moveTo>
                <a:cubicBezTo>
                  <a:pt x="4997933" y="3255201"/>
                  <a:pt x="4997933" y="3255201"/>
                  <a:pt x="5006982" y="3257626"/>
                </a:cubicBezTo>
                <a:cubicBezTo>
                  <a:pt x="5016034" y="3260051"/>
                  <a:pt x="5018238" y="3251824"/>
                  <a:pt x="5036339" y="3256674"/>
                </a:cubicBezTo>
                <a:cubicBezTo>
                  <a:pt x="5029725" y="3281356"/>
                  <a:pt x="5009187" y="3249398"/>
                  <a:pt x="5002574" y="3274081"/>
                </a:cubicBezTo>
                <a:cubicBezTo>
                  <a:pt x="5004778" y="3265853"/>
                  <a:pt x="4988882" y="3252776"/>
                  <a:pt x="4995728" y="3263429"/>
                </a:cubicBezTo>
                <a:cubicBezTo>
                  <a:pt x="4993524" y="3271656"/>
                  <a:pt x="4995728" y="3263429"/>
                  <a:pt x="4986677" y="3261003"/>
                </a:cubicBezTo>
                <a:cubicBezTo>
                  <a:pt x="4986677" y="3261003"/>
                  <a:pt x="4986677" y="3261003"/>
                  <a:pt x="4988882" y="3252776"/>
                </a:cubicBezTo>
                <a:cubicBezTo>
                  <a:pt x="4997933" y="3255201"/>
                  <a:pt x="4997933" y="3255201"/>
                  <a:pt x="5000137" y="3246974"/>
                </a:cubicBezTo>
                <a:close/>
                <a:moveTo>
                  <a:pt x="5065428" y="3246832"/>
                </a:moveTo>
                <a:cubicBezTo>
                  <a:pt x="5073656" y="3249036"/>
                  <a:pt x="5061019" y="3263287"/>
                  <a:pt x="5054996" y="3252855"/>
                </a:cubicBezTo>
                <a:cubicBezTo>
                  <a:pt x="5054996" y="3252855"/>
                  <a:pt x="5061019" y="3263287"/>
                  <a:pt x="5061019" y="3263287"/>
                </a:cubicBezTo>
                <a:cubicBezTo>
                  <a:pt x="5061019" y="3263287"/>
                  <a:pt x="5052791" y="3261082"/>
                  <a:pt x="5052791" y="3261082"/>
                </a:cubicBezTo>
                <a:cubicBezTo>
                  <a:pt x="5054996" y="3252855"/>
                  <a:pt x="5052791" y="3261082"/>
                  <a:pt x="5036336" y="3256673"/>
                </a:cubicBezTo>
                <a:cubicBezTo>
                  <a:pt x="5046768" y="3250650"/>
                  <a:pt x="5063224" y="3255059"/>
                  <a:pt x="5065428" y="3246832"/>
                </a:cubicBezTo>
                <a:close/>
                <a:moveTo>
                  <a:pt x="5338852" y="3246611"/>
                </a:moveTo>
                <a:cubicBezTo>
                  <a:pt x="5338852" y="3246611"/>
                  <a:pt x="5341253" y="3247254"/>
                  <a:pt x="5343331" y="3249098"/>
                </a:cubicBezTo>
                <a:lnTo>
                  <a:pt x="5343925" y="3251354"/>
                </a:lnTo>
                <a:close/>
                <a:moveTo>
                  <a:pt x="1163807" y="3246569"/>
                </a:moveTo>
                <a:lnTo>
                  <a:pt x="1158937" y="3264745"/>
                </a:lnTo>
                <a:cubicBezTo>
                  <a:pt x="1155369" y="3269521"/>
                  <a:pt x="1153807" y="3266809"/>
                  <a:pt x="1163807" y="3246569"/>
                </a:cubicBezTo>
                <a:close/>
                <a:moveTo>
                  <a:pt x="5370222" y="3244729"/>
                </a:moveTo>
                <a:cubicBezTo>
                  <a:pt x="5367650" y="3254327"/>
                  <a:pt x="5360922" y="3260240"/>
                  <a:pt x="5354279" y="3261035"/>
                </a:cubicBezTo>
                <a:lnTo>
                  <a:pt x="5349584" y="3256644"/>
                </a:lnTo>
                <a:close/>
                <a:moveTo>
                  <a:pt x="8912181" y="3241422"/>
                </a:moveTo>
                <a:cubicBezTo>
                  <a:pt x="8922025" y="3239649"/>
                  <a:pt x="8930768" y="3241992"/>
                  <a:pt x="8939233" y="3245362"/>
                </a:cubicBezTo>
                <a:cubicBezTo>
                  <a:pt x="8947700" y="3248734"/>
                  <a:pt x="8955889" y="3253133"/>
                  <a:pt x="8964633" y="3255476"/>
                </a:cubicBezTo>
                <a:cubicBezTo>
                  <a:pt x="8971169" y="3266046"/>
                  <a:pt x="8938406" y="3248449"/>
                  <a:pt x="8938406" y="3248449"/>
                </a:cubicBezTo>
                <a:cubicBezTo>
                  <a:pt x="8953685" y="3261361"/>
                  <a:pt x="8899029" y="3255534"/>
                  <a:pt x="8912181" y="3241422"/>
                </a:cubicBezTo>
                <a:close/>
                <a:moveTo>
                  <a:pt x="4866156" y="3240455"/>
                </a:moveTo>
                <a:lnTo>
                  <a:pt x="4866403" y="3240902"/>
                </a:lnTo>
                <a:lnTo>
                  <a:pt x="4865704" y="3240565"/>
                </a:lnTo>
                <a:close/>
                <a:moveTo>
                  <a:pt x="6914756" y="3239718"/>
                </a:moveTo>
                <a:cubicBezTo>
                  <a:pt x="6914756" y="3239718"/>
                  <a:pt x="6914756" y="3239718"/>
                  <a:pt x="6922984" y="3241923"/>
                </a:cubicBezTo>
                <a:cubicBezTo>
                  <a:pt x="6920779" y="3250150"/>
                  <a:pt x="6920779" y="3250150"/>
                  <a:pt x="6920779" y="3250150"/>
                </a:cubicBezTo>
                <a:cubicBezTo>
                  <a:pt x="6912551" y="3247946"/>
                  <a:pt x="6912551" y="3247946"/>
                  <a:pt x="6904324" y="3245741"/>
                </a:cubicBezTo>
                <a:cubicBezTo>
                  <a:pt x="6904324" y="3245741"/>
                  <a:pt x="6912551" y="3247946"/>
                  <a:pt x="6914756" y="3239718"/>
                </a:cubicBezTo>
                <a:close/>
                <a:moveTo>
                  <a:pt x="4854768" y="3235304"/>
                </a:moveTo>
                <a:lnTo>
                  <a:pt x="4865704" y="3240565"/>
                </a:lnTo>
                <a:lnTo>
                  <a:pt x="4846097" y="3245382"/>
                </a:lnTo>
                <a:cubicBezTo>
                  <a:pt x="4844120" y="3234931"/>
                  <a:pt x="4849198" y="3233812"/>
                  <a:pt x="4854768" y="3235304"/>
                </a:cubicBezTo>
                <a:close/>
                <a:moveTo>
                  <a:pt x="4738101" y="3234767"/>
                </a:moveTo>
                <a:cubicBezTo>
                  <a:pt x="4748926" y="3228508"/>
                  <a:pt x="4742056" y="3254152"/>
                  <a:pt x="4761415" y="3250177"/>
                </a:cubicBezTo>
                <a:cubicBezTo>
                  <a:pt x="4756002" y="3253308"/>
                  <a:pt x="4750590" y="3256439"/>
                  <a:pt x="4742056" y="3254152"/>
                </a:cubicBezTo>
                <a:cubicBezTo>
                  <a:pt x="4744346" y="3245603"/>
                  <a:pt x="4735810" y="3243316"/>
                  <a:pt x="4738101" y="3234767"/>
                </a:cubicBezTo>
                <a:close/>
                <a:moveTo>
                  <a:pt x="1761854" y="3234647"/>
                </a:moveTo>
                <a:cubicBezTo>
                  <a:pt x="1766482" y="3235887"/>
                  <a:pt x="1765380" y="3240000"/>
                  <a:pt x="1765709" y="3243396"/>
                </a:cubicBezTo>
                <a:lnTo>
                  <a:pt x="1769859" y="3244875"/>
                </a:lnTo>
                <a:lnTo>
                  <a:pt x="1768905" y="3245355"/>
                </a:lnTo>
                <a:cubicBezTo>
                  <a:pt x="1778162" y="3247835"/>
                  <a:pt x="1778162" y="3247835"/>
                  <a:pt x="1778162" y="3247835"/>
                </a:cubicBezTo>
                <a:lnTo>
                  <a:pt x="1769859" y="3244875"/>
                </a:lnTo>
                <a:lnTo>
                  <a:pt x="1780366" y="3239608"/>
                </a:lnTo>
                <a:cubicBezTo>
                  <a:pt x="1787418" y="3250315"/>
                  <a:pt x="1787418" y="3250315"/>
                  <a:pt x="1794470" y="3261023"/>
                </a:cubicBezTo>
                <a:cubicBezTo>
                  <a:pt x="1775957" y="3256063"/>
                  <a:pt x="1766701" y="3253583"/>
                  <a:pt x="1764496" y="3261810"/>
                </a:cubicBezTo>
                <a:cubicBezTo>
                  <a:pt x="1755240" y="3259330"/>
                  <a:pt x="1757445" y="3251102"/>
                  <a:pt x="1761854" y="3234647"/>
                </a:cubicBezTo>
                <a:close/>
                <a:moveTo>
                  <a:pt x="1597385" y="3234397"/>
                </a:moveTo>
                <a:cubicBezTo>
                  <a:pt x="1603635" y="3245237"/>
                  <a:pt x="1594467" y="3279453"/>
                  <a:pt x="1599051" y="3262345"/>
                </a:cubicBezTo>
                <a:cubicBezTo>
                  <a:pt x="1611551" y="3284031"/>
                  <a:pt x="1573425" y="3255479"/>
                  <a:pt x="1571133" y="3264033"/>
                </a:cubicBezTo>
                <a:cubicBezTo>
                  <a:pt x="1571133" y="3264033"/>
                  <a:pt x="1554048" y="3259455"/>
                  <a:pt x="1567173" y="3244636"/>
                </a:cubicBezTo>
                <a:cubicBezTo>
                  <a:pt x="1571133" y="3264033"/>
                  <a:pt x="1575717" y="3246925"/>
                  <a:pt x="1581966" y="3257767"/>
                </a:cubicBezTo>
                <a:cubicBezTo>
                  <a:pt x="1590510" y="3260057"/>
                  <a:pt x="1595094" y="3242949"/>
                  <a:pt x="1597385" y="3234397"/>
                </a:cubicBezTo>
                <a:close/>
                <a:moveTo>
                  <a:pt x="4785358" y="3229107"/>
                </a:moveTo>
                <a:cubicBezTo>
                  <a:pt x="4783067" y="3237656"/>
                  <a:pt x="4789311" y="3248489"/>
                  <a:pt x="4787020" y="3257038"/>
                </a:cubicBezTo>
                <a:cubicBezTo>
                  <a:pt x="4791601" y="3239942"/>
                  <a:pt x="4769951" y="3252464"/>
                  <a:pt x="4780777" y="3246202"/>
                </a:cubicBezTo>
                <a:cubicBezTo>
                  <a:pt x="4772241" y="3243915"/>
                  <a:pt x="4766828" y="3247046"/>
                  <a:pt x="4761415" y="3250177"/>
                </a:cubicBezTo>
                <a:cubicBezTo>
                  <a:pt x="4763705" y="3241628"/>
                  <a:pt x="4763705" y="3241628"/>
                  <a:pt x="4755172" y="3239341"/>
                </a:cubicBezTo>
                <a:cubicBezTo>
                  <a:pt x="4765996" y="3233082"/>
                  <a:pt x="4783067" y="3237656"/>
                  <a:pt x="4785358" y="3229107"/>
                </a:cubicBezTo>
                <a:close/>
                <a:moveTo>
                  <a:pt x="949666" y="3226591"/>
                </a:moveTo>
                <a:cubicBezTo>
                  <a:pt x="964300" y="3229273"/>
                  <a:pt x="976284" y="3237445"/>
                  <a:pt x="972564" y="3251329"/>
                </a:cubicBezTo>
                <a:cubicBezTo>
                  <a:pt x="959893" y="3228092"/>
                  <a:pt x="934820" y="3251137"/>
                  <a:pt x="910856" y="3234795"/>
                </a:cubicBezTo>
                <a:cubicBezTo>
                  <a:pt x="917744" y="3226720"/>
                  <a:pt x="935030" y="3223911"/>
                  <a:pt x="949666" y="3226591"/>
                </a:cubicBezTo>
                <a:close/>
                <a:moveTo>
                  <a:pt x="4686891" y="3221045"/>
                </a:moveTo>
                <a:cubicBezTo>
                  <a:pt x="4703961" y="3225619"/>
                  <a:pt x="4688555" y="3248977"/>
                  <a:pt x="4697088" y="3251263"/>
                </a:cubicBezTo>
                <a:cubicBezTo>
                  <a:pt x="4701669" y="3234168"/>
                  <a:pt x="4710205" y="3236455"/>
                  <a:pt x="4727276" y="3241029"/>
                </a:cubicBezTo>
                <a:cubicBezTo>
                  <a:pt x="4735810" y="3243316"/>
                  <a:pt x="4710205" y="3236455"/>
                  <a:pt x="4716450" y="3247291"/>
                </a:cubicBezTo>
                <a:cubicBezTo>
                  <a:pt x="4716450" y="3247291"/>
                  <a:pt x="4722696" y="3258125"/>
                  <a:pt x="4731229" y="3260411"/>
                </a:cubicBezTo>
                <a:cubicBezTo>
                  <a:pt x="4739765" y="3262698"/>
                  <a:pt x="4727276" y="3241029"/>
                  <a:pt x="4742056" y="3254152"/>
                </a:cubicBezTo>
                <a:cubicBezTo>
                  <a:pt x="4752569" y="3266129"/>
                  <a:pt x="4766515" y="3265286"/>
                  <a:pt x="4780464" y="3264444"/>
                </a:cubicBezTo>
                <a:lnTo>
                  <a:pt x="4816025" y="3273972"/>
                </a:lnTo>
                <a:lnTo>
                  <a:pt x="4811040" y="3278360"/>
                </a:lnTo>
                <a:cubicBezTo>
                  <a:pt x="4796803" y="3280273"/>
                  <a:pt x="4781295" y="3278408"/>
                  <a:pt x="4782439" y="3274133"/>
                </a:cubicBezTo>
                <a:cubicBezTo>
                  <a:pt x="4773906" y="3271846"/>
                  <a:pt x="4771615" y="3280395"/>
                  <a:pt x="4780149" y="3282682"/>
                </a:cubicBezTo>
                <a:cubicBezTo>
                  <a:pt x="4780149" y="3282682"/>
                  <a:pt x="4760790" y="3286657"/>
                  <a:pt x="4765370" y="3269559"/>
                </a:cubicBezTo>
                <a:cubicBezTo>
                  <a:pt x="4756834" y="3267272"/>
                  <a:pt x="4745381" y="3310013"/>
                  <a:pt x="4758499" y="3295203"/>
                </a:cubicBezTo>
                <a:cubicBezTo>
                  <a:pt x="4753917" y="3312301"/>
                  <a:pt x="4728313" y="3305440"/>
                  <a:pt x="4717487" y="3311702"/>
                </a:cubicBezTo>
                <a:cubicBezTo>
                  <a:pt x="4719777" y="3303153"/>
                  <a:pt x="4730603" y="3296891"/>
                  <a:pt x="4739139" y="3299178"/>
                </a:cubicBezTo>
                <a:cubicBezTo>
                  <a:pt x="4739139" y="3299178"/>
                  <a:pt x="4730603" y="3296891"/>
                  <a:pt x="4732894" y="3288342"/>
                </a:cubicBezTo>
                <a:cubicBezTo>
                  <a:pt x="4724359" y="3286055"/>
                  <a:pt x="4713534" y="3292317"/>
                  <a:pt x="4707289" y="3281481"/>
                </a:cubicBezTo>
                <a:cubicBezTo>
                  <a:pt x="4713534" y="3292317"/>
                  <a:pt x="4713534" y="3292317"/>
                  <a:pt x="4702707" y="3298579"/>
                </a:cubicBezTo>
                <a:cubicBezTo>
                  <a:pt x="4696462" y="3287743"/>
                  <a:pt x="4681683" y="3274620"/>
                  <a:pt x="4670858" y="3280882"/>
                </a:cubicBezTo>
                <a:cubicBezTo>
                  <a:pt x="4711243" y="3300866"/>
                  <a:pt x="4615066" y="3284258"/>
                  <a:pt x="4606530" y="3281971"/>
                </a:cubicBezTo>
                <a:cubicBezTo>
                  <a:pt x="4595706" y="3288231"/>
                  <a:pt x="4591126" y="3305328"/>
                  <a:pt x="4584880" y="3294492"/>
                </a:cubicBezTo>
                <a:cubicBezTo>
                  <a:pt x="4584880" y="3294492"/>
                  <a:pt x="4582589" y="3303041"/>
                  <a:pt x="4582589" y="3303041"/>
                </a:cubicBezTo>
                <a:cubicBezTo>
                  <a:pt x="4580299" y="3311587"/>
                  <a:pt x="4559274" y="3287631"/>
                  <a:pt x="4560938" y="3315562"/>
                </a:cubicBezTo>
                <a:cubicBezTo>
                  <a:pt x="4554695" y="3304726"/>
                  <a:pt x="4543868" y="3310988"/>
                  <a:pt x="4537622" y="3300152"/>
                </a:cubicBezTo>
                <a:cubicBezTo>
                  <a:pt x="4537622" y="3300152"/>
                  <a:pt x="4529089" y="3297866"/>
                  <a:pt x="4529089" y="3297866"/>
                </a:cubicBezTo>
                <a:cubicBezTo>
                  <a:pt x="4526798" y="3306415"/>
                  <a:pt x="4535332" y="3308701"/>
                  <a:pt x="4543868" y="3310988"/>
                </a:cubicBezTo>
                <a:cubicBezTo>
                  <a:pt x="4512017" y="3293291"/>
                  <a:pt x="4479541" y="3312074"/>
                  <a:pt x="4445400" y="3302926"/>
                </a:cubicBezTo>
                <a:cubicBezTo>
                  <a:pt x="4432285" y="3317737"/>
                  <a:pt x="4400435" y="3300041"/>
                  <a:pt x="4393565" y="3325685"/>
                </a:cubicBezTo>
                <a:lnTo>
                  <a:pt x="4369399" y="3311982"/>
                </a:lnTo>
                <a:lnTo>
                  <a:pt x="4369527" y="3311371"/>
                </a:lnTo>
                <a:lnTo>
                  <a:pt x="4367115" y="3310687"/>
                </a:lnTo>
                <a:lnTo>
                  <a:pt x="4366762" y="3310487"/>
                </a:lnTo>
                <a:cubicBezTo>
                  <a:pt x="4360152" y="3305281"/>
                  <a:pt x="4354323" y="3301429"/>
                  <a:pt x="4344643" y="3303417"/>
                </a:cubicBezTo>
                <a:cubicBezTo>
                  <a:pt x="4343499" y="3307690"/>
                  <a:pt x="4352606" y="3307840"/>
                  <a:pt x="4360361" y="3308772"/>
                </a:cubicBezTo>
                <a:lnTo>
                  <a:pt x="4367115" y="3310687"/>
                </a:lnTo>
                <a:lnTo>
                  <a:pt x="4369399" y="3311982"/>
                </a:lnTo>
                <a:lnTo>
                  <a:pt x="4367958" y="3318824"/>
                </a:lnTo>
                <a:cubicBezTo>
                  <a:pt x="4353179" y="3305704"/>
                  <a:pt x="4340062" y="3320512"/>
                  <a:pt x="4333818" y="3309676"/>
                </a:cubicBezTo>
                <a:lnTo>
                  <a:pt x="4332383" y="3318454"/>
                </a:lnTo>
                <a:lnTo>
                  <a:pt x="4322991" y="3315937"/>
                </a:lnTo>
                <a:cubicBezTo>
                  <a:pt x="4292806" y="3326172"/>
                  <a:pt x="4237014" y="3329548"/>
                  <a:pt x="4192049" y="3326662"/>
                </a:cubicBezTo>
                <a:cubicBezTo>
                  <a:pt x="4125431" y="3336297"/>
                  <a:pt x="3985954" y="3344732"/>
                  <a:pt x="3938696" y="3350394"/>
                </a:cubicBezTo>
                <a:cubicBezTo>
                  <a:pt x="3921626" y="3345821"/>
                  <a:pt x="3934741" y="3331009"/>
                  <a:pt x="3915381" y="3334985"/>
                </a:cubicBezTo>
                <a:cubicBezTo>
                  <a:pt x="3913091" y="3343533"/>
                  <a:pt x="3932451" y="3339558"/>
                  <a:pt x="3921626" y="3345821"/>
                </a:cubicBezTo>
                <a:cubicBezTo>
                  <a:pt x="3885195" y="3345219"/>
                  <a:pt x="3844183" y="3361715"/>
                  <a:pt x="3818579" y="3354854"/>
                </a:cubicBezTo>
                <a:cubicBezTo>
                  <a:pt x="3810042" y="3352567"/>
                  <a:pt x="3807752" y="3361115"/>
                  <a:pt x="3807752" y="3361115"/>
                </a:cubicBezTo>
                <a:cubicBezTo>
                  <a:pt x="3807752" y="3361115"/>
                  <a:pt x="3799218" y="3358829"/>
                  <a:pt x="3799218" y="3358829"/>
                </a:cubicBezTo>
                <a:cubicBezTo>
                  <a:pt x="3799218" y="3358829"/>
                  <a:pt x="3796928" y="3367378"/>
                  <a:pt x="3796928" y="3367378"/>
                </a:cubicBezTo>
                <a:cubicBezTo>
                  <a:pt x="3773614" y="3351968"/>
                  <a:pt x="3760496" y="3366776"/>
                  <a:pt x="3732601" y="3368464"/>
                </a:cubicBezTo>
                <a:cubicBezTo>
                  <a:pt x="3732601" y="3368464"/>
                  <a:pt x="3730310" y="3377013"/>
                  <a:pt x="3730310" y="3377013"/>
                </a:cubicBezTo>
                <a:cubicBezTo>
                  <a:pt x="3728020" y="3385562"/>
                  <a:pt x="3719483" y="3383275"/>
                  <a:pt x="3710950" y="3380988"/>
                </a:cubicBezTo>
                <a:lnTo>
                  <a:pt x="3714411" y="3377491"/>
                </a:lnTo>
                <a:lnTo>
                  <a:pt x="3721774" y="3374726"/>
                </a:lnTo>
                <a:cubicBezTo>
                  <a:pt x="3721774" y="3374726"/>
                  <a:pt x="3719641" y="3374154"/>
                  <a:pt x="3717221" y="3374651"/>
                </a:cubicBezTo>
                <a:lnTo>
                  <a:pt x="3714411" y="3377491"/>
                </a:lnTo>
                <a:lnTo>
                  <a:pt x="3712877" y="3378067"/>
                </a:lnTo>
                <a:cubicBezTo>
                  <a:pt x="3711523" y="3378850"/>
                  <a:pt x="3712096" y="3376712"/>
                  <a:pt x="3715532" y="3363890"/>
                </a:cubicBezTo>
                <a:cubicBezTo>
                  <a:pt x="3704705" y="3370152"/>
                  <a:pt x="3697834" y="3395796"/>
                  <a:pt x="3704705" y="3370152"/>
                </a:cubicBezTo>
                <a:cubicBezTo>
                  <a:pt x="3685343" y="3374127"/>
                  <a:pt x="3685343" y="3374127"/>
                  <a:pt x="3670564" y="3361004"/>
                </a:cubicBezTo>
                <a:cubicBezTo>
                  <a:pt x="3676809" y="3371840"/>
                  <a:pt x="3676809" y="3371840"/>
                  <a:pt x="3668273" y="3369553"/>
                </a:cubicBezTo>
                <a:cubicBezTo>
                  <a:pt x="3665983" y="3378099"/>
                  <a:pt x="3674520" y="3380386"/>
                  <a:pt x="3683053" y="3382673"/>
                </a:cubicBezTo>
                <a:cubicBezTo>
                  <a:pt x="3689298" y="3393509"/>
                  <a:pt x="3665983" y="3378099"/>
                  <a:pt x="3663693" y="3386648"/>
                </a:cubicBezTo>
                <a:cubicBezTo>
                  <a:pt x="3634132" y="3360405"/>
                  <a:pt x="3605611" y="3398570"/>
                  <a:pt x="3565226" y="3378586"/>
                </a:cubicBezTo>
                <a:cubicBezTo>
                  <a:pt x="3562934" y="3387135"/>
                  <a:pt x="3560644" y="3395684"/>
                  <a:pt x="3554401" y="3384848"/>
                </a:cubicBezTo>
                <a:cubicBezTo>
                  <a:pt x="3552110" y="3393397"/>
                  <a:pt x="3552110" y="3393397"/>
                  <a:pt x="3552110" y="3393397"/>
                </a:cubicBezTo>
                <a:cubicBezTo>
                  <a:pt x="3552110" y="3393397"/>
                  <a:pt x="3538994" y="3408205"/>
                  <a:pt x="3543574" y="3391110"/>
                </a:cubicBezTo>
                <a:cubicBezTo>
                  <a:pt x="3524215" y="3395083"/>
                  <a:pt x="3487158" y="3430964"/>
                  <a:pt x="3485493" y="3403032"/>
                </a:cubicBezTo>
                <a:cubicBezTo>
                  <a:pt x="3476957" y="3400745"/>
                  <a:pt x="3483202" y="3411581"/>
                  <a:pt x="3480912" y="3420128"/>
                </a:cubicBezTo>
                <a:cubicBezTo>
                  <a:pt x="3463843" y="3415554"/>
                  <a:pt x="3457597" y="3404720"/>
                  <a:pt x="3444481" y="3419528"/>
                </a:cubicBezTo>
                <a:cubicBezTo>
                  <a:pt x="3435945" y="3417241"/>
                  <a:pt x="3446772" y="3410980"/>
                  <a:pt x="3438235" y="3408692"/>
                </a:cubicBezTo>
                <a:cubicBezTo>
                  <a:pt x="3435945" y="3417241"/>
                  <a:pt x="3427412" y="3414955"/>
                  <a:pt x="3425121" y="3423503"/>
                </a:cubicBezTo>
                <a:cubicBezTo>
                  <a:pt x="3425121" y="3423503"/>
                  <a:pt x="3416585" y="3421216"/>
                  <a:pt x="3418876" y="3412668"/>
                </a:cubicBezTo>
                <a:cubicBezTo>
                  <a:pt x="3418876" y="3412668"/>
                  <a:pt x="3416585" y="3421216"/>
                  <a:pt x="3416585" y="3421216"/>
                </a:cubicBezTo>
                <a:cubicBezTo>
                  <a:pt x="3332898" y="3426278"/>
                  <a:pt x="3263990" y="3444462"/>
                  <a:pt x="3199663" y="3445548"/>
                </a:cubicBezTo>
                <a:cubicBezTo>
                  <a:pt x="3192792" y="3471192"/>
                  <a:pt x="3115977" y="3450609"/>
                  <a:pt x="3109106" y="3476253"/>
                </a:cubicBezTo>
                <a:cubicBezTo>
                  <a:pt x="3061850" y="3481916"/>
                  <a:pt x="3016883" y="3479027"/>
                  <a:pt x="2992943" y="3500098"/>
                </a:cubicBezTo>
                <a:cubicBezTo>
                  <a:pt x="2969628" y="3484691"/>
                  <a:pt x="2932568" y="3520568"/>
                  <a:pt x="2898427" y="3511420"/>
                </a:cubicBezTo>
                <a:cubicBezTo>
                  <a:pt x="2887603" y="3517682"/>
                  <a:pt x="2904672" y="3522256"/>
                  <a:pt x="2904672" y="3522256"/>
                </a:cubicBezTo>
                <a:cubicBezTo>
                  <a:pt x="2893846" y="3528515"/>
                  <a:pt x="2885313" y="3526229"/>
                  <a:pt x="2879067" y="3515395"/>
                </a:cubicBezTo>
                <a:cubicBezTo>
                  <a:pt x="2876777" y="3523941"/>
                  <a:pt x="2857418" y="3527917"/>
                  <a:pt x="2859708" y="3519368"/>
                </a:cubicBezTo>
                <a:cubicBezTo>
                  <a:pt x="2851172" y="3517081"/>
                  <a:pt x="2857418" y="3527917"/>
                  <a:pt x="2855127" y="3536466"/>
                </a:cubicBezTo>
                <a:cubicBezTo>
                  <a:pt x="2829519" y="3529604"/>
                  <a:pt x="2810159" y="3533579"/>
                  <a:pt x="2790800" y="3537552"/>
                </a:cubicBezTo>
                <a:cubicBezTo>
                  <a:pt x="2788510" y="3546100"/>
                  <a:pt x="2788510" y="3546100"/>
                  <a:pt x="2786219" y="3554649"/>
                </a:cubicBezTo>
                <a:cubicBezTo>
                  <a:pt x="2771438" y="3541526"/>
                  <a:pt x="2766857" y="3558622"/>
                  <a:pt x="2760614" y="3547789"/>
                </a:cubicBezTo>
                <a:cubicBezTo>
                  <a:pt x="2752078" y="3545501"/>
                  <a:pt x="2760614" y="3547789"/>
                  <a:pt x="2758324" y="3556335"/>
                </a:cubicBezTo>
                <a:cubicBezTo>
                  <a:pt x="2749788" y="3554048"/>
                  <a:pt x="2711065" y="3561997"/>
                  <a:pt x="2683170" y="3563683"/>
                </a:cubicBezTo>
                <a:cubicBezTo>
                  <a:pt x="2683170" y="3563683"/>
                  <a:pt x="2691706" y="3565970"/>
                  <a:pt x="2689416" y="3574519"/>
                </a:cubicBezTo>
                <a:cubicBezTo>
                  <a:pt x="2668391" y="3550563"/>
                  <a:pt x="2650693" y="3582468"/>
                  <a:pt x="2650693" y="3582468"/>
                </a:cubicBezTo>
                <a:cubicBezTo>
                  <a:pt x="2650693" y="3582468"/>
                  <a:pt x="2644448" y="3571633"/>
                  <a:pt x="2625088" y="3575607"/>
                </a:cubicBezTo>
                <a:cubicBezTo>
                  <a:pt x="2614262" y="3581867"/>
                  <a:pt x="2586367" y="3583555"/>
                  <a:pt x="2567007" y="3587530"/>
                </a:cubicBezTo>
                <a:cubicBezTo>
                  <a:pt x="2564717" y="3596076"/>
                  <a:pt x="2562426" y="3604625"/>
                  <a:pt x="2553890" y="3602338"/>
                </a:cubicBezTo>
                <a:cubicBezTo>
                  <a:pt x="2534530" y="3606313"/>
                  <a:pt x="2517458" y="3601739"/>
                  <a:pt x="2508925" y="3599452"/>
                </a:cubicBezTo>
                <a:cubicBezTo>
                  <a:pt x="2467913" y="3615948"/>
                  <a:pt x="2454797" y="3630756"/>
                  <a:pt x="2429191" y="3623895"/>
                </a:cubicBezTo>
                <a:cubicBezTo>
                  <a:pt x="2426901" y="3632444"/>
                  <a:pt x="2435437" y="3634731"/>
                  <a:pt x="2435437" y="3634731"/>
                </a:cubicBezTo>
                <a:cubicBezTo>
                  <a:pt x="2426901" y="3632444"/>
                  <a:pt x="2418365" y="3630157"/>
                  <a:pt x="2409832" y="3627870"/>
                </a:cubicBezTo>
                <a:cubicBezTo>
                  <a:pt x="2422320" y="3649539"/>
                  <a:pt x="2379646" y="3638105"/>
                  <a:pt x="2379646" y="3638105"/>
                </a:cubicBezTo>
                <a:cubicBezTo>
                  <a:pt x="2377355" y="3646653"/>
                  <a:pt x="2368819" y="3644366"/>
                  <a:pt x="2366528" y="3652915"/>
                </a:cubicBezTo>
                <a:cubicBezTo>
                  <a:pt x="2349459" y="3648341"/>
                  <a:pt x="2336343" y="3663149"/>
                  <a:pt x="2321561" y="3650029"/>
                </a:cubicBezTo>
                <a:cubicBezTo>
                  <a:pt x="2297620" y="3671099"/>
                  <a:pt x="2269725" y="3672784"/>
                  <a:pt x="2241830" y="3674473"/>
                </a:cubicBezTo>
                <a:cubicBezTo>
                  <a:pt x="2239539" y="3683021"/>
                  <a:pt x="2237249" y="3691567"/>
                  <a:pt x="2237249" y="3691567"/>
                </a:cubicBezTo>
                <a:cubicBezTo>
                  <a:pt x="2220180" y="3686994"/>
                  <a:pt x="2196236" y="3708066"/>
                  <a:pt x="2189991" y="3697230"/>
                </a:cubicBezTo>
                <a:cubicBezTo>
                  <a:pt x="2155224" y="3724562"/>
                  <a:pt x="2104014" y="3710840"/>
                  <a:pt x="2077783" y="3740459"/>
                </a:cubicBezTo>
                <a:cubicBezTo>
                  <a:pt x="2021992" y="3743833"/>
                  <a:pt x="1978688" y="3768877"/>
                  <a:pt x="1922897" y="3772253"/>
                </a:cubicBezTo>
                <a:cubicBezTo>
                  <a:pt x="1912071" y="3778512"/>
                  <a:pt x="1877304" y="3805844"/>
                  <a:pt x="1873349" y="3786462"/>
                </a:cubicBezTo>
                <a:cubicBezTo>
                  <a:pt x="1838583" y="3813792"/>
                  <a:pt x="1816932" y="3826316"/>
                  <a:pt x="1769675" y="3831976"/>
                </a:cubicBezTo>
                <a:cubicBezTo>
                  <a:pt x="1761141" y="3829689"/>
                  <a:pt x="1771965" y="3823429"/>
                  <a:pt x="1763431" y="3821143"/>
                </a:cubicBezTo>
                <a:cubicBezTo>
                  <a:pt x="1798198" y="3793811"/>
                  <a:pt x="1836920" y="3785861"/>
                  <a:pt x="1864816" y="3784176"/>
                </a:cubicBezTo>
                <a:cubicBezTo>
                  <a:pt x="1858571" y="3773340"/>
                  <a:pt x="1867106" y="3775627"/>
                  <a:pt x="1869397" y="3767078"/>
                </a:cubicBezTo>
                <a:cubicBezTo>
                  <a:pt x="1884176" y="3780200"/>
                  <a:pt x="1891047" y="3754557"/>
                  <a:pt x="1908116" y="3759130"/>
                </a:cubicBezTo>
                <a:cubicBezTo>
                  <a:pt x="1908116" y="3759130"/>
                  <a:pt x="1899583" y="3756844"/>
                  <a:pt x="1891047" y="3754557"/>
                </a:cubicBezTo>
                <a:cubicBezTo>
                  <a:pt x="1918943" y="3752868"/>
                  <a:pt x="1936015" y="3757443"/>
                  <a:pt x="1951419" y="3734085"/>
                </a:cubicBezTo>
                <a:cubicBezTo>
                  <a:pt x="1966200" y="3747209"/>
                  <a:pt x="1962245" y="3727824"/>
                  <a:pt x="1979314" y="3732397"/>
                </a:cubicBezTo>
                <a:cubicBezTo>
                  <a:pt x="1983895" y="3715302"/>
                  <a:pt x="2007210" y="3730712"/>
                  <a:pt x="2014081" y="3705068"/>
                </a:cubicBezTo>
                <a:cubicBezTo>
                  <a:pt x="2020327" y="3715902"/>
                  <a:pt x="2022617" y="3707355"/>
                  <a:pt x="2039686" y="3711929"/>
                </a:cubicBezTo>
                <a:cubicBezTo>
                  <a:pt x="2041977" y="3703380"/>
                  <a:pt x="2041977" y="3703380"/>
                  <a:pt x="2044267" y="3694831"/>
                </a:cubicBezTo>
                <a:cubicBezTo>
                  <a:pt x="2050513" y="3705667"/>
                  <a:pt x="2063630" y="3690857"/>
                  <a:pt x="2069875" y="3701693"/>
                </a:cubicBezTo>
                <a:cubicBezTo>
                  <a:pt x="2078409" y="3703979"/>
                  <a:pt x="2074456" y="3684597"/>
                  <a:pt x="2082989" y="3686884"/>
                </a:cubicBezTo>
                <a:cubicBezTo>
                  <a:pt x="2074456" y="3684597"/>
                  <a:pt x="2076746" y="3676049"/>
                  <a:pt x="2059675" y="3671475"/>
                </a:cubicBezTo>
                <a:cubicBezTo>
                  <a:pt x="2051139" y="3669187"/>
                  <a:pt x="2057384" y="3680023"/>
                  <a:pt x="2046558" y="3686282"/>
                </a:cubicBezTo>
                <a:cubicBezTo>
                  <a:pt x="2046558" y="3686282"/>
                  <a:pt x="2048848" y="3677736"/>
                  <a:pt x="2048848" y="3677736"/>
                </a:cubicBezTo>
                <a:cubicBezTo>
                  <a:pt x="2014081" y="3705068"/>
                  <a:pt x="1979943" y="3695921"/>
                  <a:pt x="1938930" y="3712417"/>
                </a:cubicBezTo>
                <a:cubicBezTo>
                  <a:pt x="1941221" y="3703868"/>
                  <a:pt x="1941221" y="3703868"/>
                  <a:pt x="1943512" y="3695319"/>
                </a:cubicBezTo>
                <a:cubicBezTo>
                  <a:pt x="1932685" y="3701581"/>
                  <a:pt x="1930394" y="3710130"/>
                  <a:pt x="1915616" y="3697007"/>
                </a:cubicBezTo>
                <a:cubicBezTo>
                  <a:pt x="1937266" y="3684485"/>
                  <a:pt x="1958919" y="3671962"/>
                  <a:pt x="1986815" y="3670274"/>
                </a:cubicBezTo>
                <a:cubicBezTo>
                  <a:pt x="1980569" y="3659441"/>
                  <a:pt x="2040942" y="3638967"/>
                  <a:pt x="2049478" y="3641254"/>
                </a:cubicBezTo>
                <a:cubicBezTo>
                  <a:pt x="2049478" y="3641254"/>
                  <a:pt x="2047187" y="3649803"/>
                  <a:pt x="2047187" y="3649803"/>
                </a:cubicBezTo>
                <a:cubicBezTo>
                  <a:pt x="2068837" y="3637282"/>
                  <a:pt x="2088199" y="3633307"/>
                  <a:pt x="2116095" y="3631619"/>
                </a:cubicBezTo>
                <a:cubicBezTo>
                  <a:pt x="2118385" y="3623073"/>
                  <a:pt x="2107559" y="3629332"/>
                  <a:pt x="2107559" y="3629332"/>
                </a:cubicBezTo>
                <a:cubicBezTo>
                  <a:pt x="2114430" y="3603688"/>
                  <a:pt x="2146281" y="3621385"/>
                  <a:pt x="2150861" y="3604290"/>
                </a:cubicBezTo>
                <a:cubicBezTo>
                  <a:pt x="2167930" y="3608863"/>
                  <a:pt x="2176466" y="3611151"/>
                  <a:pt x="2181048" y="3594053"/>
                </a:cubicBezTo>
                <a:cubicBezTo>
                  <a:pt x="2217477" y="3594652"/>
                  <a:pt x="2232884" y="3571294"/>
                  <a:pt x="2275561" y="3582730"/>
                </a:cubicBezTo>
                <a:cubicBezTo>
                  <a:pt x="2277851" y="3574184"/>
                  <a:pt x="2269315" y="3571897"/>
                  <a:pt x="2269315" y="3571897"/>
                </a:cubicBezTo>
                <a:cubicBezTo>
                  <a:pt x="2311989" y="3583331"/>
                  <a:pt x="2325732" y="3532040"/>
                  <a:pt x="2374655" y="3554312"/>
                </a:cubicBezTo>
                <a:cubicBezTo>
                  <a:pt x="2376945" y="3545763"/>
                  <a:pt x="2357583" y="3549737"/>
                  <a:pt x="2370699" y="3534930"/>
                </a:cubicBezTo>
                <a:cubicBezTo>
                  <a:pt x="2387768" y="3539503"/>
                  <a:pt x="2394014" y="3550336"/>
                  <a:pt x="2417955" y="3529266"/>
                </a:cubicBezTo>
                <a:cubicBezTo>
                  <a:pt x="2411711" y="3518433"/>
                  <a:pt x="2387768" y="3539503"/>
                  <a:pt x="2403176" y="3516146"/>
                </a:cubicBezTo>
                <a:cubicBezTo>
                  <a:pt x="2394640" y="3513859"/>
                  <a:pt x="2392350" y="3522405"/>
                  <a:pt x="2392350" y="3522405"/>
                </a:cubicBezTo>
                <a:cubicBezTo>
                  <a:pt x="2386106" y="3511572"/>
                  <a:pt x="2372990" y="3526381"/>
                  <a:pt x="2355918" y="3521806"/>
                </a:cubicBezTo>
                <a:cubicBezTo>
                  <a:pt x="2358209" y="3513257"/>
                  <a:pt x="2358209" y="3513257"/>
                  <a:pt x="2360499" y="3504711"/>
                </a:cubicBezTo>
                <a:cubicBezTo>
                  <a:pt x="2351965" y="3502424"/>
                  <a:pt x="2355918" y="3521806"/>
                  <a:pt x="2338849" y="3517233"/>
                </a:cubicBezTo>
                <a:cubicBezTo>
                  <a:pt x="2351965" y="3502424"/>
                  <a:pt x="2343429" y="3500137"/>
                  <a:pt x="2354256" y="3493876"/>
                </a:cubicBezTo>
                <a:cubicBezTo>
                  <a:pt x="2360499" y="3504711"/>
                  <a:pt x="2379861" y="3500737"/>
                  <a:pt x="2388397" y="3503024"/>
                </a:cubicBezTo>
                <a:cubicBezTo>
                  <a:pt x="2396930" y="3505310"/>
                  <a:pt x="2388397" y="3503024"/>
                  <a:pt x="2386106" y="3511572"/>
                </a:cubicBezTo>
                <a:cubicBezTo>
                  <a:pt x="2394640" y="3513859"/>
                  <a:pt x="2396930" y="3505310"/>
                  <a:pt x="2405466" y="3507598"/>
                </a:cubicBezTo>
                <a:cubicBezTo>
                  <a:pt x="2407757" y="3499049"/>
                  <a:pt x="2390688" y="3494475"/>
                  <a:pt x="2392978" y="3485926"/>
                </a:cubicBezTo>
                <a:cubicBezTo>
                  <a:pt x="2403802" y="3479666"/>
                  <a:pt x="2410048" y="3490500"/>
                  <a:pt x="2418583" y="3492787"/>
                </a:cubicBezTo>
                <a:cubicBezTo>
                  <a:pt x="2427117" y="3495073"/>
                  <a:pt x="2420873" y="3484240"/>
                  <a:pt x="2423164" y="3475692"/>
                </a:cubicBezTo>
                <a:cubicBezTo>
                  <a:pt x="2440233" y="3480266"/>
                  <a:pt x="2452722" y="3501934"/>
                  <a:pt x="2459593" y="3476290"/>
                </a:cubicBezTo>
                <a:cubicBezTo>
                  <a:pt x="2476665" y="3480865"/>
                  <a:pt x="2461258" y="3504222"/>
                  <a:pt x="2452722" y="3501934"/>
                </a:cubicBezTo>
                <a:cubicBezTo>
                  <a:pt x="2450431" y="3510483"/>
                  <a:pt x="2458967" y="3512770"/>
                  <a:pt x="2456676" y="3521319"/>
                </a:cubicBezTo>
                <a:cubicBezTo>
                  <a:pt x="2462090" y="3518187"/>
                  <a:pt x="2471198" y="3518339"/>
                  <a:pt x="2481658" y="3517706"/>
                </a:cubicBezTo>
                <a:lnTo>
                  <a:pt x="2504953" y="3511858"/>
                </a:lnTo>
                <a:lnTo>
                  <a:pt x="2503935" y="3515657"/>
                </a:lnTo>
                <a:lnTo>
                  <a:pt x="2505629" y="3511688"/>
                </a:lnTo>
                <a:lnTo>
                  <a:pt x="2514758" y="3509397"/>
                </a:lnTo>
                <a:cubicBezTo>
                  <a:pt x="2510491" y="3508253"/>
                  <a:pt x="2508358" y="3507682"/>
                  <a:pt x="2507005" y="3508464"/>
                </a:cubicBezTo>
                <a:lnTo>
                  <a:pt x="2505629" y="3511688"/>
                </a:lnTo>
                <a:lnTo>
                  <a:pt x="2504953" y="3511858"/>
                </a:lnTo>
                <a:lnTo>
                  <a:pt x="2508515" y="3498562"/>
                </a:lnTo>
                <a:cubicBezTo>
                  <a:pt x="2489153" y="3502536"/>
                  <a:pt x="2485198" y="3483151"/>
                  <a:pt x="2474374" y="3489414"/>
                </a:cubicBezTo>
                <a:cubicBezTo>
                  <a:pt x="2478955" y="3472318"/>
                  <a:pt x="2519339" y="3492299"/>
                  <a:pt x="2517049" y="3500848"/>
                </a:cubicBezTo>
                <a:cubicBezTo>
                  <a:pt x="2527875" y="3494586"/>
                  <a:pt x="2521004" y="3520230"/>
                  <a:pt x="2542654" y="3507709"/>
                </a:cubicBezTo>
                <a:cubicBezTo>
                  <a:pt x="2542654" y="3507709"/>
                  <a:pt x="2536411" y="3496874"/>
                  <a:pt x="2536411" y="3496874"/>
                </a:cubicBezTo>
                <a:lnTo>
                  <a:pt x="2539109" y="3486806"/>
                </a:lnTo>
                <a:lnTo>
                  <a:pt x="2536645" y="3486007"/>
                </a:lnTo>
                <a:lnTo>
                  <a:pt x="2539542" y="3485189"/>
                </a:lnTo>
                <a:lnTo>
                  <a:pt x="2540992" y="3479778"/>
                </a:lnTo>
                <a:cubicBezTo>
                  <a:pt x="2513096" y="3481466"/>
                  <a:pt x="2504560" y="3479179"/>
                  <a:pt x="2487488" y="3474605"/>
                </a:cubicBezTo>
                <a:cubicBezTo>
                  <a:pt x="2478955" y="3472318"/>
                  <a:pt x="2494359" y="3448961"/>
                  <a:pt x="2475000" y="3452934"/>
                </a:cubicBezTo>
                <a:cubicBezTo>
                  <a:pt x="2477290" y="3444387"/>
                  <a:pt x="2494359" y="3448961"/>
                  <a:pt x="2502896" y="3451248"/>
                </a:cubicBezTo>
                <a:cubicBezTo>
                  <a:pt x="2500606" y="3459795"/>
                  <a:pt x="2492069" y="3457507"/>
                  <a:pt x="2492069" y="3457507"/>
                </a:cubicBezTo>
                <a:cubicBezTo>
                  <a:pt x="2509141" y="3462082"/>
                  <a:pt x="2523920" y="3475204"/>
                  <a:pt x="2543282" y="3471230"/>
                </a:cubicBezTo>
                <a:cubicBezTo>
                  <a:pt x="2537036" y="3460396"/>
                  <a:pt x="2537036" y="3460396"/>
                  <a:pt x="2547863" y="3454134"/>
                </a:cubicBezTo>
                <a:cubicBezTo>
                  <a:pt x="2541618" y="3443298"/>
                  <a:pt x="2530791" y="3449560"/>
                  <a:pt x="2522258" y="3447273"/>
                </a:cubicBezTo>
                <a:cubicBezTo>
                  <a:pt x="2524549" y="3438725"/>
                  <a:pt x="2533082" y="3441011"/>
                  <a:pt x="2535373" y="3432462"/>
                </a:cubicBezTo>
                <a:cubicBezTo>
                  <a:pt x="2518303" y="3427888"/>
                  <a:pt x="2522258" y="3447273"/>
                  <a:pt x="2516013" y="3436437"/>
                </a:cubicBezTo>
                <a:cubicBezTo>
                  <a:pt x="2509768" y="3425601"/>
                  <a:pt x="2531420" y="3413081"/>
                  <a:pt x="2542244" y="3406818"/>
                </a:cubicBezTo>
                <a:cubicBezTo>
                  <a:pt x="2539953" y="3415367"/>
                  <a:pt x="2548489" y="3417654"/>
                  <a:pt x="2546198" y="3426203"/>
                </a:cubicBezTo>
                <a:cubicBezTo>
                  <a:pt x="2553070" y="3400559"/>
                  <a:pt x="2576385" y="3415966"/>
                  <a:pt x="2561606" y="3402847"/>
                </a:cubicBezTo>
                <a:cubicBezTo>
                  <a:pt x="2561606" y="3402847"/>
                  <a:pt x="2580965" y="3398871"/>
                  <a:pt x="2567849" y="3413679"/>
                </a:cubicBezTo>
                <a:cubicBezTo>
                  <a:pt x="2595744" y="3411994"/>
                  <a:pt x="2615106" y="3408019"/>
                  <a:pt x="2649247" y="3417167"/>
                </a:cubicBezTo>
                <a:cubicBezTo>
                  <a:pt x="2651538" y="3408618"/>
                  <a:pt x="2643002" y="3406331"/>
                  <a:pt x="2634466" y="3404044"/>
                </a:cubicBezTo>
                <a:cubicBezTo>
                  <a:pt x="2636756" y="3395498"/>
                  <a:pt x="2653828" y="3400072"/>
                  <a:pt x="2649873" y="3380687"/>
                </a:cubicBezTo>
                <a:cubicBezTo>
                  <a:pt x="2656119" y="3391523"/>
                  <a:pt x="2688595" y="3372741"/>
                  <a:pt x="2681724" y="3398384"/>
                </a:cubicBezTo>
                <a:cubicBezTo>
                  <a:pt x="2692547" y="3392122"/>
                  <a:pt x="2694838" y="3383575"/>
                  <a:pt x="2707955" y="3368765"/>
                </a:cubicBezTo>
                <a:cubicBezTo>
                  <a:pt x="2742096" y="3377913"/>
                  <a:pt x="2789351" y="3372252"/>
                  <a:pt x="2828073" y="3364303"/>
                </a:cubicBezTo>
                <a:cubicBezTo>
                  <a:pt x="2836609" y="3366590"/>
                  <a:pt x="2825782" y="3372852"/>
                  <a:pt x="2823492" y="3381400"/>
                </a:cubicBezTo>
                <a:cubicBezTo>
                  <a:pt x="2834318" y="3375139"/>
                  <a:pt x="2834318" y="3375139"/>
                  <a:pt x="2851387" y="3379712"/>
                </a:cubicBezTo>
                <a:cubicBezTo>
                  <a:pt x="2853678" y="3371164"/>
                  <a:pt x="2845142" y="3368877"/>
                  <a:pt x="2847432" y="3360330"/>
                </a:cubicBezTo>
                <a:cubicBezTo>
                  <a:pt x="2851387" y="3379712"/>
                  <a:pt x="2869085" y="3347807"/>
                  <a:pt x="2858259" y="3354069"/>
                </a:cubicBezTo>
                <a:cubicBezTo>
                  <a:pt x="2869085" y="3347807"/>
                  <a:pt x="2877618" y="3350093"/>
                  <a:pt x="2894691" y="3354668"/>
                </a:cubicBezTo>
                <a:cubicBezTo>
                  <a:pt x="2896981" y="3346122"/>
                  <a:pt x="2896981" y="3346122"/>
                  <a:pt x="2899271" y="3337573"/>
                </a:cubicBezTo>
                <a:cubicBezTo>
                  <a:pt x="2914050" y="3350695"/>
                  <a:pt x="2916340" y="3342146"/>
                  <a:pt x="2935703" y="3338172"/>
                </a:cubicBezTo>
                <a:cubicBezTo>
                  <a:pt x="2937993" y="3329623"/>
                  <a:pt x="2920922" y="3325049"/>
                  <a:pt x="2910098" y="3331311"/>
                </a:cubicBezTo>
                <a:cubicBezTo>
                  <a:pt x="2895317" y="3318188"/>
                  <a:pt x="2937993" y="3329623"/>
                  <a:pt x="2923212" y="3316502"/>
                </a:cubicBezTo>
                <a:cubicBezTo>
                  <a:pt x="2925502" y="3307954"/>
                  <a:pt x="2937993" y="3329623"/>
                  <a:pt x="2944236" y="3340458"/>
                </a:cubicBezTo>
                <a:cubicBezTo>
                  <a:pt x="2946527" y="3331910"/>
                  <a:pt x="2957353" y="3325651"/>
                  <a:pt x="2963598" y="3336484"/>
                </a:cubicBezTo>
                <a:cubicBezTo>
                  <a:pt x="2976713" y="3321675"/>
                  <a:pt x="2957353" y="3325651"/>
                  <a:pt x="2951107" y="3314814"/>
                </a:cubicBezTo>
                <a:cubicBezTo>
                  <a:pt x="2964224" y="3300006"/>
                  <a:pt x="2968179" y="3319389"/>
                  <a:pt x="2985248" y="3323962"/>
                </a:cubicBezTo>
                <a:cubicBezTo>
                  <a:pt x="2985248" y="3323962"/>
                  <a:pt x="2998365" y="3309154"/>
                  <a:pt x="2998365" y="3309154"/>
                </a:cubicBezTo>
                <a:cubicBezTo>
                  <a:pt x="3017727" y="3305180"/>
                  <a:pt x="3032506" y="3318303"/>
                  <a:pt x="3068938" y="3318902"/>
                </a:cubicBezTo>
                <a:cubicBezTo>
                  <a:pt x="3071228" y="3310353"/>
                  <a:pt x="3073518" y="3301807"/>
                  <a:pt x="3064982" y="3299520"/>
                </a:cubicBezTo>
                <a:cubicBezTo>
                  <a:pt x="3082052" y="3304093"/>
                  <a:pt x="3107659" y="3310955"/>
                  <a:pt x="3123065" y="3287595"/>
                </a:cubicBezTo>
                <a:cubicBezTo>
                  <a:pt x="3171984" y="3309865"/>
                  <a:pt x="3164077" y="3271099"/>
                  <a:pt x="3223823" y="3287108"/>
                </a:cubicBezTo>
                <a:cubicBezTo>
                  <a:pt x="3223823" y="3287108"/>
                  <a:pt x="3243182" y="3283135"/>
                  <a:pt x="3271078" y="3281447"/>
                </a:cubicBezTo>
                <a:cubicBezTo>
                  <a:pt x="3273369" y="3272898"/>
                  <a:pt x="3264835" y="3270612"/>
                  <a:pt x="3267125" y="3262065"/>
                </a:cubicBezTo>
                <a:cubicBezTo>
                  <a:pt x="3326869" y="3278074"/>
                  <a:pt x="3348522" y="3265550"/>
                  <a:pt x="3389534" y="3249054"/>
                </a:cubicBezTo>
                <a:cubicBezTo>
                  <a:pt x="3402023" y="3270723"/>
                  <a:pt x="3432208" y="3260489"/>
                  <a:pt x="3443035" y="3254227"/>
                </a:cubicBezTo>
                <a:cubicBezTo>
                  <a:pt x="3460104" y="3258801"/>
                  <a:pt x="3457813" y="3267350"/>
                  <a:pt x="3468640" y="3261088"/>
                </a:cubicBezTo>
                <a:cubicBezTo>
                  <a:pt x="3470930" y="3252542"/>
                  <a:pt x="3470930" y="3252542"/>
                  <a:pt x="3473221" y="3243993"/>
                </a:cubicBezTo>
                <a:cubicBezTo>
                  <a:pt x="3481754" y="3246280"/>
                  <a:pt x="3496535" y="3259403"/>
                  <a:pt x="3501117" y="3242305"/>
                </a:cubicBezTo>
                <a:cubicBezTo>
                  <a:pt x="3532966" y="3260002"/>
                  <a:pt x="3559198" y="3230383"/>
                  <a:pt x="3593340" y="3239531"/>
                </a:cubicBezTo>
                <a:cubicBezTo>
                  <a:pt x="3591049" y="3248080"/>
                  <a:pt x="3571686" y="3252054"/>
                  <a:pt x="3588758" y="3256629"/>
                </a:cubicBezTo>
                <a:cubicBezTo>
                  <a:pt x="3586468" y="3265175"/>
                  <a:pt x="3569396" y="3260600"/>
                  <a:pt x="3575641" y="3271437"/>
                </a:cubicBezTo>
                <a:cubicBezTo>
                  <a:pt x="3575641" y="3271437"/>
                  <a:pt x="3569396" y="3260600"/>
                  <a:pt x="3550036" y="3264576"/>
                </a:cubicBezTo>
                <a:cubicBezTo>
                  <a:pt x="3575641" y="3271437"/>
                  <a:pt x="3541500" y="3262288"/>
                  <a:pt x="3556282" y="3275412"/>
                </a:cubicBezTo>
                <a:cubicBezTo>
                  <a:pt x="3553991" y="3283958"/>
                  <a:pt x="3541500" y="3262288"/>
                  <a:pt x="3530676" y="3268551"/>
                </a:cubicBezTo>
                <a:cubicBezTo>
                  <a:pt x="3539209" y="3270837"/>
                  <a:pt x="3539209" y="3270837"/>
                  <a:pt x="3536919" y="3279384"/>
                </a:cubicBezTo>
                <a:cubicBezTo>
                  <a:pt x="3519850" y="3274810"/>
                  <a:pt x="3506733" y="3289620"/>
                  <a:pt x="3502781" y="3270236"/>
                </a:cubicBezTo>
                <a:cubicBezTo>
                  <a:pt x="3500490" y="3278785"/>
                  <a:pt x="3491955" y="3276498"/>
                  <a:pt x="3489664" y="3285047"/>
                </a:cubicBezTo>
                <a:cubicBezTo>
                  <a:pt x="3481128" y="3282760"/>
                  <a:pt x="3472592" y="3280472"/>
                  <a:pt x="3474883" y="3271923"/>
                </a:cubicBezTo>
                <a:cubicBezTo>
                  <a:pt x="3450942" y="3292994"/>
                  <a:pt x="3388905" y="3285534"/>
                  <a:pt x="3358720" y="3295768"/>
                </a:cubicBezTo>
                <a:cubicBezTo>
                  <a:pt x="3322288" y="3295169"/>
                  <a:pt x="3276698" y="3328761"/>
                  <a:pt x="3236311" y="3308779"/>
                </a:cubicBezTo>
                <a:cubicBezTo>
                  <a:pt x="3242557" y="3319613"/>
                  <a:pt x="3253383" y="3313353"/>
                  <a:pt x="3248802" y="3330449"/>
                </a:cubicBezTo>
                <a:cubicBezTo>
                  <a:pt x="3242557" y="3319613"/>
                  <a:pt x="3219242" y="3304205"/>
                  <a:pt x="3212370" y="3329849"/>
                </a:cubicBezTo>
                <a:cubicBezTo>
                  <a:pt x="3206125" y="3319013"/>
                  <a:pt x="3195298" y="3325275"/>
                  <a:pt x="3178229" y="3320701"/>
                </a:cubicBezTo>
                <a:cubicBezTo>
                  <a:pt x="3175939" y="3329250"/>
                  <a:pt x="3206125" y="3319013"/>
                  <a:pt x="3193008" y="3333824"/>
                </a:cubicBezTo>
                <a:cubicBezTo>
                  <a:pt x="3178229" y="3320701"/>
                  <a:pt x="3173649" y="3337796"/>
                  <a:pt x="3158869" y="3324676"/>
                </a:cubicBezTo>
                <a:cubicBezTo>
                  <a:pt x="3156579" y="3333223"/>
                  <a:pt x="3156579" y="3333223"/>
                  <a:pt x="3165113" y="3335509"/>
                </a:cubicBezTo>
                <a:cubicBezTo>
                  <a:pt x="3154289" y="3341772"/>
                  <a:pt x="3126393" y="3343460"/>
                  <a:pt x="3124103" y="3352006"/>
                </a:cubicBezTo>
                <a:cubicBezTo>
                  <a:pt x="3115567" y="3349719"/>
                  <a:pt x="3115567" y="3349719"/>
                  <a:pt x="3117857" y="3341172"/>
                </a:cubicBezTo>
                <a:cubicBezTo>
                  <a:pt x="3109321" y="3338885"/>
                  <a:pt x="3121813" y="3360555"/>
                  <a:pt x="3113277" y="3358268"/>
                </a:cubicBezTo>
                <a:cubicBezTo>
                  <a:pt x="3083716" y="3332024"/>
                  <a:pt x="3063728" y="3372476"/>
                  <a:pt x="3029590" y="3363329"/>
                </a:cubicBezTo>
                <a:cubicBezTo>
                  <a:pt x="3018763" y="3369591"/>
                  <a:pt x="3010227" y="3367303"/>
                  <a:pt x="3007937" y="3375852"/>
                </a:cubicBezTo>
                <a:cubicBezTo>
                  <a:pt x="2965260" y="3364417"/>
                  <a:pt x="2952146" y="3379225"/>
                  <a:pt x="2915714" y="3378626"/>
                </a:cubicBezTo>
                <a:cubicBezTo>
                  <a:pt x="2915714" y="3378626"/>
                  <a:pt x="2913424" y="3387173"/>
                  <a:pt x="2921960" y="3389460"/>
                </a:cubicBezTo>
                <a:cubicBezTo>
                  <a:pt x="2928203" y="3400295"/>
                  <a:pt x="2898645" y="3374053"/>
                  <a:pt x="2891774" y="3399697"/>
                </a:cubicBezTo>
                <a:cubicBezTo>
                  <a:pt x="2883238" y="3397409"/>
                  <a:pt x="2876993" y="3386573"/>
                  <a:pt x="2868457" y="3384286"/>
                </a:cubicBezTo>
                <a:cubicBezTo>
                  <a:pt x="2866166" y="3392835"/>
                  <a:pt x="2863876" y="3401381"/>
                  <a:pt x="2857633" y="3390549"/>
                </a:cubicBezTo>
                <a:cubicBezTo>
                  <a:pt x="2842225" y="3413906"/>
                  <a:pt x="2846807" y="3396808"/>
                  <a:pt x="2833689" y="3411619"/>
                </a:cubicBezTo>
                <a:cubicBezTo>
                  <a:pt x="2810375" y="3396209"/>
                  <a:pt x="2803504" y="3421853"/>
                  <a:pt x="2771656" y="3404159"/>
                </a:cubicBezTo>
                <a:cubicBezTo>
                  <a:pt x="2769366" y="3412705"/>
                  <a:pt x="2788725" y="3408732"/>
                  <a:pt x="2775608" y="3423541"/>
                </a:cubicBezTo>
                <a:cubicBezTo>
                  <a:pt x="2767075" y="3421254"/>
                  <a:pt x="2747713" y="3425229"/>
                  <a:pt x="2743132" y="3442324"/>
                </a:cubicBezTo>
                <a:cubicBezTo>
                  <a:pt x="2764156" y="3466279"/>
                  <a:pt x="2792680" y="3428115"/>
                  <a:pt x="2813705" y="3452071"/>
                </a:cubicBezTo>
                <a:cubicBezTo>
                  <a:pt x="2813705" y="3452071"/>
                  <a:pt x="2815994" y="3443525"/>
                  <a:pt x="2815994" y="3443525"/>
                </a:cubicBezTo>
                <a:cubicBezTo>
                  <a:pt x="2814330" y="3415593"/>
                  <a:pt x="2895100" y="3455558"/>
                  <a:pt x="2923622" y="3417390"/>
                </a:cubicBezTo>
                <a:cubicBezTo>
                  <a:pt x="2942984" y="3413418"/>
                  <a:pt x="2951517" y="3415705"/>
                  <a:pt x="2966299" y="3428826"/>
                </a:cubicBezTo>
                <a:cubicBezTo>
                  <a:pt x="2974835" y="3431113"/>
                  <a:pt x="2957763" y="3426539"/>
                  <a:pt x="2960053" y="3417992"/>
                </a:cubicBezTo>
                <a:cubicBezTo>
                  <a:pt x="2951517" y="3415705"/>
                  <a:pt x="2951517" y="3415705"/>
                  <a:pt x="2942984" y="3413418"/>
                </a:cubicBezTo>
                <a:cubicBezTo>
                  <a:pt x="2964635" y="3400895"/>
                  <a:pt x="2987952" y="3416305"/>
                  <a:pt x="3015847" y="3414617"/>
                </a:cubicBezTo>
                <a:cubicBezTo>
                  <a:pt x="3018137" y="3406071"/>
                  <a:pt x="3003356" y="3392947"/>
                  <a:pt x="3014183" y="3386685"/>
                </a:cubicBezTo>
                <a:cubicBezTo>
                  <a:pt x="3024380" y="3416904"/>
                  <a:pt x="3088708" y="3415817"/>
                  <a:pt x="3106405" y="3383911"/>
                </a:cubicBezTo>
                <a:cubicBezTo>
                  <a:pt x="3114941" y="3386199"/>
                  <a:pt x="3132010" y="3390772"/>
                  <a:pt x="3129720" y="3399321"/>
                </a:cubicBezTo>
                <a:cubicBezTo>
                  <a:pt x="3151370" y="3386797"/>
                  <a:pt x="3176975" y="3393658"/>
                  <a:pt x="3198628" y="3381137"/>
                </a:cubicBezTo>
                <a:cubicBezTo>
                  <a:pt x="3207164" y="3383424"/>
                  <a:pt x="3213406" y="3394260"/>
                  <a:pt x="3217987" y="3377162"/>
                </a:cubicBezTo>
                <a:cubicBezTo>
                  <a:pt x="3226523" y="3379449"/>
                  <a:pt x="3230478" y="3398834"/>
                  <a:pt x="3215697" y="3385711"/>
                </a:cubicBezTo>
                <a:cubicBezTo>
                  <a:pt x="3221942" y="3396547"/>
                  <a:pt x="3228188" y="3407381"/>
                  <a:pt x="3245257" y="3411954"/>
                </a:cubicBezTo>
                <a:cubicBezTo>
                  <a:pt x="3239011" y="3401121"/>
                  <a:pt x="3230478" y="3398834"/>
                  <a:pt x="3232769" y="3390285"/>
                </a:cubicBezTo>
                <a:cubicBezTo>
                  <a:pt x="3232769" y="3390285"/>
                  <a:pt x="3235059" y="3381736"/>
                  <a:pt x="3237349" y="3373190"/>
                </a:cubicBezTo>
                <a:cubicBezTo>
                  <a:pt x="3252129" y="3386310"/>
                  <a:pt x="3295431" y="3361268"/>
                  <a:pt x="3324991" y="3387511"/>
                </a:cubicBezTo>
                <a:cubicBezTo>
                  <a:pt x="3321036" y="3368129"/>
                  <a:pt x="3327282" y="3378962"/>
                  <a:pt x="3340396" y="3364154"/>
                </a:cubicBezTo>
                <a:cubicBezTo>
                  <a:pt x="3342686" y="3355605"/>
                  <a:pt x="3331863" y="3361867"/>
                  <a:pt x="3331863" y="3361867"/>
                </a:cubicBezTo>
                <a:cubicBezTo>
                  <a:pt x="3334153" y="3353318"/>
                  <a:pt x="3351222" y="3357892"/>
                  <a:pt x="3364339" y="3343084"/>
                </a:cubicBezTo>
                <a:cubicBezTo>
                  <a:pt x="3362049" y="3351630"/>
                  <a:pt x="3368291" y="3362466"/>
                  <a:pt x="3387654" y="3358491"/>
                </a:cubicBezTo>
                <a:cubicBezTo>
                  <a:pt x="3366630" y="3334535"/>
                  <a:pt x="3404723" y="3363065"/>
                  <a:pt x="3421792" y="3367639"/>
                </a:cubicBezTo>
                <a:cubicBezTo>
                  <a:pt x="3417211" y="3384736"/>
                  <a:pt x="3404723" y="3363065"/>
                  <a:pt x="3393896" y="3369327"/>
                </a:cubicBezTo>
                <a:cubicBezTo>
                  <a:pt x="3406387" y="3390999"/>
                  <a:pt x="3406387" y="3390999"/>
                  <a:pt x="3425747" y="3387023"/>
                </a:cubicBezTo>
                <a:cubicBezTo>
                  <a:pt x="3419501" y="3376188"/>
                  <a:pt x="3428038" y="3378475"/>
                  <a:pt x="3432618" y="3361380"/>
                </a:cubicBezTo>
                <a:cubicBezTo>
                  <a:pt x="3441154" y="3363667"/>
                  <a:pt x="3451978" y="3357404"/>
                  <a:pt x="3443445" y="3355118"/>
                </a:cubicBezTo>
                <a:cubicBezTo>
                  <a:pt x="3443445" y="3355118"/>
                  <a:pt x="3449273" y="3358971"/>
                  <a:pt x="3454895" y="3359330"/>
                </a:cubicBezTo>
                <a:lnTo>
                  <a:pt x="3460634" y="3349914"/>
                </a:lnTo>
                <a:lnTo>
                  <a:pt x="3448565" y="3344891"/>
                </a:lnTo>
                <a:cubicBezTo>
                  <a:pt x="3444930" y="3346123"/>
                  <a:pt x="3441771" y="3349684"/>
                  <a:pt x="3436553" y="3352696"/>
                </a:cubicBezTo>
                <a:cubicBezTo>
                  <a:pt x="3433543" y="3347479"/>
                  <a:pt x="3437254" y="3341861"/>
                  <a:pt x="3443497" y="3339126"/>
                </a:cubicBezTo>
                <a:lnTo>
                  <a:pt x="3465004" y="3342747"/>
                </a:lnTo>
                <a:lnTo>
                  <a:pt x="3465095" y="3342597"/>
                </a:lnTo>
                <a:lnTo>
                  <a:pt x="3465848" y="3342707"/>
                </a:lnTo>
                <a:lnTo>
                  <a:pt x="3476628" y="3334777"/>
                </a:lnTo>
                <a:cubicBezTo>
                  <a:pt x="3476628" y="3334777"/>
                  <a:pt x="3476628" y="3334777"/>
                  <a:pt x="3479383" y="3324492"/>
                </a:cubicBezTo>
                <a:lnTo>
                  <a:pt x="3481838" y="3345069"/>
                </a:lnTo>
                <a:lnTo>
                  <a:pt x="3493694" y="3346824"/>
                </a:lnTo>
                <a:cubicBezTo>
                  <a:pt x="3500954" y="3345333"/>
                  <a:pt x="3505794" y="3344339"/>
                  <a:pt x="3507772" y="3354032"/>
                </a:cubicBezTo>
                <a:cubicBezTo>
                  <a:pt x="3529422" y="3341508"/>
                  <a:pt x="3537958" y="3343795"/>
                  <a:pt x="3553362" y="3320437"/>
                </a:cubicBezTo>
                <a:cubicBezTo>
                  <a:pt x="3553362" y="3320437"/>
                  <a:pt x="3551072" y="3328986"/>
                  <a:pt x="3551072" y="3328986"/>
                </a:cubicBezTo>
                <a:cubicBezTo>
                  <a:pt x="3580632" y="3355229"/>
                  <a:pt x="3617690" y="3319351"/>
                  <a:pt x="3660366" y="3330786"/>
                </a:cubicBezTo>
                <a:cubicBezTo>
                  <a:pt x="3684307" y="3309716"/>
                  <a:pt x="3713867" y="3335959"/>
                  <a:pt x="3735517" y="3323438"/>
                </a:cubicBezTo>
                <a:cubicBezTo>
                  <a:pt x="3737807" y="3314889"/>
                  <a:pt x="3737807" y="3314889"/>
                  <a:pt x="3729274" y="3312602"/>
                </a:cubicBezTo>
                <a:cubicBezTo>
                  <a:pt x="3729274" y="3312602"/>
                  <a:pt x="3729274" y="3312602"/>
                  <a:pt x="3720738" y="3310315"/>
                </a:cubicBezTo>
                <a:cubicBezTo>
                  <a:pt x="3733855" y="3295507"/>
                  <a:pt x="3737807" y="3314889"/>
                  <a:pt x="3754880" y="3319463"/>
                </a:cubicBezTo>
                <a:cubicBezTo>
                  <a:pt x="3757170" y="3310914"/>
                  <a:pt x="3774239" y="3315488"/>
                  <a:pt x="3793598" y="3311515"/>
                </a:cubicBezTo>
                <a:cubicBezTo>
                  <a:pt x="3802134" y="3313803"/>
                  <a:pt x="3795889" y="3302967"/>
                  <a:pt x="3798181" y="3294418"/>
                </a:cubicBezTo>
                <a:cubicBezTo>
                  <a:pt x="3800470" y="3285869"/>
                  <a:pt x="3804425" y="3305254"/>
                  <a:pt x="3815251" y="3298992"/>
                </a:cubicBezTo>
                <a:cubicBezTo>
                  <a:pt x="3812961" y="3307541"/>
                  <a:pt x="3812961" y="3307541"/>
                  <a:pt x="3812961" y="3307541"/>
                </a:cubicBezTo>
                <a:cubicBezTo>
                  <a:pt x="3821494" y="3309828"/>
                  <a:pt x="3821494" y="3309828"/>
                  <a:pt x="3830030" y="3312115"/>
                </a:cubicBezTo>
                <a:cubicBezTo>
                  <a:pt x="3838566" y="3314402"/>
                  <a:pt x="3834612" y="3295017"/>
                  <a:pt x="3849392" y="3308140"/>
                </a:cubicBezTo>
                <a:cubicBezTo>
                  <a:pt x="3836276" y="3322951"/>
                  <a:pt x="3881870" y="3289357"/>
                  <a:pt x="3905183" y="3304767"/>
                </a:cubicBezTo>
                <a:cubicBezTo>
                  <a:pt x="3898938" y="3293931"/>
                  <a:pt x="3879579" y="3297906"/>
                  <a:pt x="3875623" y="3278521"/>
                </a:cubicBezTo>
                <a:lnTo>
                  <a:pt x="3908469" y="3294774"/>
                </a:lnTo>
                <a:lnTo>
                  <a:pt x="3907474" y="3296218"/>
                </a:lnTo>
                <a:cubicBezTo>
                  <a:pt x="3907474" y="3296218"/>
                  <a:pt x="3916007" y="3298504"/>
                  <a:pt x="3916007" y="3298504"/>
                </a:cubicBezTo>
                <a:lnTo>
                  <a:pt x="3908469" y="3294774"/>
                </a:lnTo>
                <a:lnTo>
                  <a:pt x="3916815" y="3282687"/>
                </a:lnTo>
                <a:cubicBezTo>
                  <a:pt x="3920588" y="3281409"/>
                  <a:pt x="3924856" y="3282553"/>
                  <a:pt x="3929124" y="3283697"/>
                </a:cubicBezTo>
                <a:cubicBezTo>
                  <a:pt x="3933080" y="3303079"/>
                  <a:pt x="3971800" y="3295132"/>
                  <a:pt x="3984289" y="3316801"/>
                </a:cubicBezTo>
                <a:cubicBezTo>
                  <a:pt x="3986580" y="3308252"/>
                  <a:pt x="3980334" y="3297418"/>
                  <a:pt x="3971800" y="3295132"/>
                </a:cubicBezTo>
                <a:cubicBezTo>
                  <a:pt x="3982625" y="3288869"/>
                  <a:pt x="3982625" y="3288869"/>
                  <a:pt x="3987205" y="3271774"/>
                </a:cubicBezTo>
                <a:cubicBezTo>
                  <a:pt x="4012812" y="3278635"/>
                  <a:pt x="4040707" y="3276947"/>
                  <a:pt x="4057778" y="3281522"/>
                </a:cubicBezTo>
                <a:cubicBezTo>
                  <a:pt x="4068602" y="3275259"/>
                  <a:pt x="4068602" y="3275259"/>
                  <a:pt x="4070893" y="3266710"/>
                </a:cubicBezTo>
                <a:cubicBezTo>
                  <a:pt x="4079428" y="3268997"/>
                  <a:pt x="4119815" y="3288982"/>
                  <a:pt x="4128977" y="3254789"/>
                </a:cubicBezTo>
                <a:cubicBezTo>
                  <a:pt x="4132928" y="3274173"/>
                  <a:pt x="4146046" y="3259362"/>
                  <a:pt x="4154581" y="3261650"/>
                </a:cubicBezTo>
                <a:cubicBezTo>
                  <a:pt x="4152291" y="3270199"/>
                  <a:pt x="4171651" y="3266223"/>
                  <a:pt x="4160824" y="3272485"/>
                </a:cubicBezTo>
                <a:cubicBezTo>
                  <a:pt x="4169360" y="3274772"/>
                  <a:pt x="4184767" y="3251415"/>
                  <a:pt x="4176231" y="3249128"/>
                </a:cubicBezTo>
                <a:cubicBezTo>
                  <a:pt x="4187058" y="3242866"/>
                  <a:pt x="4197256" y="3273084"/>
                  <a:pt x="4216615" y="3269112"/>
                </a:cubicBezTo>
                <a:cubicBezTo>
                  <a:pt x="4218907" y="3260563"/>
                  <a:pt x="4210373" y="3258276"/>
                  <a:pt x="4221196" y="3252014"/>
                </a:cubicBezTo>
                <a:cubicBezTo>
                  <a:pt x="4229732" y="3254301"/>
                  <a:pt x="4253047" y="3269711"/>
                  <a:pt x="4263873" y="3263449"/>
                </a:cubicBezTo>
                <a:cubicBezTo>
                  <a:pt x="4263873" y="3263449"/>
                  <a:pt x="4255338" y="3261162"/>
                  <a:pt x="4255338" y="3261162"/>
                </a:cubicBezTo>
                <a:cubicBezTo>
                  <a:pt x="4274700" y="3257188"/>
                  <a:pt x="4308839" y="3266335"/>
                  <a:pt x="4332782" y="3245265"/>
                </a:cubicBezTo>
                <a:cubicBezTo>
                  <a:pt x="4341315" y="3247552"/>
                  <a:pt x="4321955" y="3251527"/>
                  <a:pt x="4330491" y="3253814"/>
                </a:cubicBezTo>
                <a:cubicBezTo>
                  <a:pt x="4347560" y="3258388"/>
                  <a:pt x="4358386" y="3252126"/>
                  <a:pt x="4375456" y="3256700"/>
                </a:cubicBezTo>
                <a:cubicBezTo>
                  <a:pt x="4362967" y="3235031"/>
                  <a:pt x="4422713" y="3251040"/>
                  <a:pt x="4407306" y="3274397"/>
                </a:cubicBezTo>
                <a:cubicBezTo>
                  <a:pt x="4426666" y="3270421"/>
                  <a:pt x="4435202" y="3272709"/>
                  <a:pt x="4454561" y="3268736"/>
                </a:cubicBezTo>
                <a:cubicBezTo>
                  <a:pt x="4446029" y="3266449"/>
                  <a:pt x="4437492" y="3264162"/>
                  <a:pt x="4439782" y="3255614"/>
                </a:cubicBezTo>
                <a:cubicBezTo>
                  <a:pt x="4428956" y="3261875"/>
                  <a:pt x="4428956" y="3261875"/>
                  <a:pt x="4426666" y="3270421"/>
                </a:cubicBezTo>
                <a:cubicBezTo>
                  <a:pt x="4426666" y="3270421"/>
                  <a:pt x="4420423" y="3259589"/>
                  <a:pt x="4420423" y="3259589"/>
                </a:cubicBezTo>
                <a:cubicBezTo>
                  <a:pt x="4422713" y="3251040"/>
                  <a:pt x="4422713" y="3251040"/>
                  <a:pt x="4433538" y="3244777"/>
                </a:cubicBezTo>
                <a:cubicBezTo>
                  <a:pt x="4439782" y="3255614"/>
                  <a:pt x="4450609" y="3249352"/>
                  <a:pt x="4456852" y="3260187"/>
                </a:cubicBezTo>
                <a:cubicBezTo>
                  <a:pt x="4462265" y="3257058"/>
                  <a:pt x="4468250" y="3251790"/>
                  <a:pt x="4475019" y="3247877"/>
                </a:cubicBezTo>
                <a:lnTo>
                  <a:pt x="4497475" y="3243762"/>
                </a:lnTo>
                <a:lnTo>
                  <a:pt x="4500307" y="3233195"/>
                </a:lnTo>
                <a:cubicBezTo>
                  <a:pt x="4501685" y="3228051"/>
                  <a:pt x="4502788" y="3223938"/>
                  <a:pt x="4502788" y="3223938"/>
                </a:cubicBezTo>
                <a:cubicBezTo>
                  <a:pt x="4513219" y="3217916"/>
                  <a:pt x="4508812" y="3234371"/>
                  <a:pt x="4525265" y="3238780"/>
                </a:cubicBezTo>
                <a:cubicBezTo>
                  <a:pt x="4514834" y="3244803"/>
                  <a:pt x="4514834" y="3244803"/>
                  <a:pt x="4512628" y="3253030"/>
                </a:cubicBezTo>
                <a:cubicBezTo>
                  <a:pt x="4512628" y="3253030"/>
                  <a:pt x="4504401" y="3250826"/>
                  <a:pt x="4496174" y="3248621"/>
                </a:cubicBezTo>
                <a:lnTo>
                  <a:pt x="4497346" y="3244247"/>
                </a:lnTo>
                <a:lnTo>
                  <a:pt x="4485036" y="3257432"/>
                </a:lnTo>
                <a:cubicBezTo>
                  <a:pt x="4479909" y="3259494"/>
                  <a:pt x="4475068" y="3260488"/>
                  <a:pt x="4473923" y="3264762"/>
                </a:cubicBezTo>
                <a:cubicBezTo>
                  <a:pt x="4471633" y="3273310"/>
                  <a:pt x="4501821" y="3263074"/>
                  <a:pt x="4499530" y="3271623"/>
                </a:cubicBezTo>
                <a:cubicBezTo>
                  <a:pt x="4510357" y="3265361"/>
                  <a:pt x="4521179" y="3259101"/>
                  <a:pt x="4532005" y="3252839"/>
                </a:cubicBezTo>
                <a:cubicBezTo>
                  <a:pt x="4529714" y="3261388"/>
                  <a:pt x="4527425" y="3269935"/>
                  <a:pt x="4527425" y="3269935"/>
                </a:cubicBezTo>
                <a:cubicBezTo>
                  <a:pt x="4538250" y="3263675"/>
                  <a:pt x="4540541" y="3255127"/>
                  <a:pt x="4557610" y="3259700"/>
                </a:cubicBezTo>
                <a:cubicBezTo>
                  <a:pt x="4562192" y="3242603"/>
                  <a:pt x="4529714" y="3261388"/>
                  <a:pt x="4534297" y="3244291"/>
                </a:cubicBezTo>
                <a:cubicBezTo>
                  <a:pt x="4551365" y="3248864"/>
                  <a:pt x="4570728" y="3244890"/>
                  <a:pt x="4566772" y="3225507"/>
                </a:cubicBezTo>
                <a:cubicBezTo>
                  <a:pt x="4577598" y="3219246"/>
                  <a:pt x="4562192" y="3242603"/>
                  <a:pt x="4573017" y="3236343"/>
                </a:cubicBezTo>
                <a:cubicBezTo>
                  <a:pt x="4570728" y="3244890"/>
                  <a:pt x="4570728" y="3244890"/>
                  <a:pt x="4562192" y="3242603"/>
                </a:cubicBezTo>
                <a:cubicBezTo>
                  <a:pt x="4576970" y="3255725"/>
                  <a:pt x="4590086" y="3240917"/>
                  <a:pt x="4604868" y="3254038"/>
                </a:cubicBezTo>
                <a:cubicBezTo>
                  <a:pt x="4594042" y="3260300"/>
                  <a:pt x="4579262" y="3247176"/>
                  <a:pt x="4574679" y="3264274"/>
                </a:cubicBezTo>
                <a:cubicBezTo>
                  <a:pt x="4580924" y="3275110"/>
                  <a:pt x="4596332" y="3251751"/>
                  <a:pt x="4591751" y="3268848"/>
                </a:cubicBezTo>
                <a:cubicBezTo>
                  <a:pt x="4600287" y="3271135"/>
                  <a:pt x="4602577" y="3262587"/>
                  <a:pt x="4604868" y="3254038"/>
                </a:cubicBezTo>
                <a:cubicBezTo>
                  <a:pt x="4604868" y="3254038"/>
                  <a:pt x="4613402" y="3256324"/>
                  <a:pt x="4621938" y="3258612"/>
                </a:cubicBezTo>
                <a:cubicBezTo>
                  <a:pt x="4619647" y="3267160"/>
                  <a:pt x="4611111" y="3264873"/>
                  <a:pt x="4608820" y="3273422"/>
                </a:cubicBezTo>
                <a:cubicBezTo>
                  <a:pt x="4619647" y="3267160"/>
                  <a:pt x="4625893" y="3277996"/>
                  <a:pt x="4621938" y="3258612"/>
                </a:cubicBezTo>
                <a:cubicBezTo>
                  <a:pt x="4639006" y="3263185"/>
                  <a:pt x="4628184" y="3269448"/>
                  <a:pt x="4636716" y="3271734"/>
                </a:cubicBezTo>
                <a:cubicBezTo>
                  <a:pt x="4645252" y="3274021"/>
                  <a:pt x="4632763" y="3252352"/>
                  <a:pt x="4635054" y="3243804"/>
                </a:cubicBezTo>
                <a:cubicBezTo>
                  <a:pt x="4643587" y="3246090"/>
                  <a:pt x="4643587" y="3246090"/>
                  <a:pt x="4652124" y="3248377"/>
                </a:cubicBezTo>
                <a:cubicBezTo>
                  <a:pt x="4649833" y="3256926"/>
                  <a:pt x="4658368" y="3259213"/>
                  <a:pt x="4647542" y="3265472"/>
                </a:cubicBezTo>
                <a:cubicBezTo>
                  <a:pt x="4647542" y="3265472"/>
                  <a:pt x="4641297" y="3254639"/>
                  <a:pt x="4639006" y="3263185"/>
                </a:cubicBezTo>
                <a:lnTo>
                  <a:pt x="4647542" y="3265472"/>
                </a:lnTo>
                <a:lnTo>
                  <a:pt x="4664612" y="3270046"/>
                </a:lnTo>
                <a:cubicBezTo>
                  <a:pt x="4669194" y="3252951"/>
                  <a:pt x="4677729" y="3255238"/>
                  <a:pt x="4686265" y="3257525"/>
                </a:cubicBezTo>
                <a:cubicBezTo>
                  <a:pt x="4681683" y="3274620"/>
                  <a:pt x="4703334" y="3262099"/>
                  <a:pt x="4709579" y="3272935"/>
                </a:cubicBezTo>
                <a:cubicBezTo>
                  <a:pt x="4711869" y="3264386"/>
                  <a:pt x="4703334" y="3262099"/>
                  <a:pt x="4714160" y="3255837"/>
                </a:cubicBezTo>
                <a:cubicBezTo>
                  <a:pt x="4697088" y="3251263"/>
                  <a:pt x="4686265" y="3257525"/>
                  <a:pt x="4688555" y="3248977"/>
                </a:cubicBezTo>
                <a:cubicBezTo>
                  <a:pt x="4680019" y="3246689"/>
                  <a:pt x="4669194" y="3252951"/>
                  <a:pt x="4660660" y="3250664"/>
                </a:cubicBezTo>
                <a:cubicBezTo>
                  <a:pt x="4662951" y="3242116"/>
                  <a:pt x="4671483" y="3244402"/>
                  <a:pt x="4665239" y="3233569"/>
                </a:cubicBezTo>
                <a:cubicBezTo>
                  <a:pt x="4671483" y="3244402"/>
                  <a:pt x="4688555" y="3248977"/>
                  <a:pt x="4686891" y="3221045"/>
                </a:cubicBezTo>
                <a:close/>
                <a:moveTo>
                  <a:pt x="5156816" y="3218410"/>
                </a:moveTo>
                <a:cubicBezTo>
                  <a:pt x="5156816" y="3218410"/>
                  <a:pt x="5161482" y="3217454"/>
                  <a:pt x="5165594" y="3218556"/>
                </a:cubicBezTo>
                <a:cubicBezTo>
                  <a:pt x="5169710" y="3219659"/>
                  <a:pt x="5173271" y="3222819"/>
                  <a:pt x="5171066" y="3231046"/>
                </a:cubicBezTo>
                <a:cubicBezTo>
                  <a:pt x="5160634" y="3237069"/>
                  <a:pt x="5154611" y="3226637"/>
                  <a:pt x="5156816" y="3218410"/>
                </a:cubicBezTo>
                <a:close/>
                <a:moveTo>
                  <a:pt x="5055587" y="3217740"/>
                </a:moveTo>
                <a:cubicBezTo>
                  <a:pt x="5072042" y="3222149"/>
                  <a:pt x="5061609" y="3228172"/>
                  <a:pt x="5059405" y="3236400"/>
                </a:cubicBezTo>
                <a:cubicBezTo>
                  <a:pt x="5059405" y="3236400"/>
                  <a:pt x="5051178" y="3234195"/>
                  <a:pt x="5051178" y="3234195"/>
                </a:cubicBezTo>
                <a:cubicBezTo>
                  <a:pt x="5053382" y="3225968"/>
                  <a:pt x="5053382" y="3225968"/>
                  <a:pt x="5055587" y="3217740"/>
                </a:cubicBezTo>
                <a:close/>
                <a:moveTo>
                  <a:pt x="4786785" y="3217622"/>
                </a:moveTo>
                <a:lnTo>
                  <a:pt x="4786276" y="3219064"/>
                </a:lnTo>
                <a:cubicBezTo>
                  <a:pt x="4784991" y="3223864"/>
                  <a:pt x="4783704" y="3228664"/>
                  <a:pt x="4779590" y="3227561"/>
                </a:cubicBezTo>
                <a:cubicBezTo>
                  <a:pt x="4780876" y="3222762"/>
                  <a:pt x="4783576" y="3220914"/>
                  <a:pt x="4786597" y="3217865"/>
                </a:cubicBezTo>
                <a:close/>
                <a:moveTo>
                  <a:pt x="6666439" y="3216171"/>
                </a:moveTo>
                <a:lnTo>
                  <a:pt x="6673363" y="3219128"/>
                </a:lnTo>
                <a:cubicBezTo>
                  <a:pt x="6672812" y="3221185"/>
                  <a:pt x="6671645" y="3221424"/>
                  <a:pt x="6670335" y="3220659"/>
                </a:cubicBezTo>
                <a:close/>
                <a:moveTo>
                  <a:pt x="4882758" y="3215522"/>
                </a:moveTo>
                <a:cubicBezTo>
                  <a:pt x="4891672" y="3217910"/>
                  <a:pt x="4877797" y="3234034"/>
                  <a:pt x="4868883" y="3231646"/>
                </a:cubicBezTo>
                <a:cubicBezTo>
                  <a:pt x="4872101" y="3237468"/>
                  <a:pt x="4877177" y="3236349"/>
                  <a:pt x="4882254" y="3235229"/>
                </a:cubicBezTo>
                <a:lnTo>
                  <a:pt x="4892332" y="3237929"/>
                </a:lnTo>
                <a:lnTo>
                  <a:pt x="4893986" y="3231757"/>
                </a:lnTo>
                <a:cubicBezTo>
                  <a:pt x="4892275" y="3229095"/>
                  <a:pt x="4890564" y="3226432"/>
                  <a:pt x="4897292" y="3219416"/>
                </a:cubicBezTo>
                <a:cubicBezTo>
                  <a:pt x="4897292" y="3219416"/>
                  <a:pt x="4906341" y="3221841"/>
                  <a:pt x="4906341" y="3221841"/>
                </a:cubicBezTo>
                <a:cubicBezTo>
                  <a:pt x="4913188" y="3232494"/>
                  <a:pt x="4913188" y="3232494"/>
                  <a:pt x="4931289" y="3237344"/>
                </a:cubicBezTo>
                <a:lnTo>
                  <a:pt x="4894371" y="3243483"/>
                </a:lnTo>
                <a:lnTo>
                  <a:pt x="4893143" y="3248067"/>
                </a:lnTo>
                <a:cubicBezTo>
                  <a:pt x="4875317" y="3243291"/>
                  <a:pt x="4872837" y="3252547"/>
                  <a:pt x="4863922" y="3250158"/>
                </a:cubicBezTo>
                <a:cubicBezTo>
                  <a:pt x="4875317" y="3243291"/>
                  <a:pt x="4873709" y="3240379"/>
                  <a:pt x="4867827" y="3240042"/>
                </a:cubicBezTo>
                <a:lnTo>
                  <a:pt x="4866156" y="3240455"/>
                </a:lnTo>
                <a:lnTo>
                  <a:pt x="4859971" y="3229258"/>
                </a:lnTo>
                <a:cubicBezTo>
                  <a:pt x="4871363" y="3222390"/>
                  <a:pt x="4877797" y="3234034"/>
                  <a:pt x="4882758" y="3215522"/>
                </a:cubicBezTo>
                <a:close/>
                <a:moveTo>
                  <a:pt x="7133158" y="3214464"/>
                </a:moveTo>
                <a:cubicBezTo>
                  <a:pt x="7139181" y="3224896"/>
                  <a:pt x="7149613" y="3218873"/>
                  <a:pt x="7139181" y="3224896"/>
                </a:cubicBezTo>
                <a:cubicBezTo>
                  <a:pt x="7130953" y="3222692"/>
                  <a:pt x="7139181" y="3224896"/>
                  <a:pt x="7133158" y="3214464"/>
                </a:cubicBezTo>
                <a:close/>
                <a:moveTo>
                  <a:pt x="4631650" y="3213835"/>
                </a:moveTo>
                <a:lnTo>
                  <a:pt x="4631919" y="3213840"/>
                </a:lnTo>
                <a:lnTo>
                  <a:pt x="4625378" y="3220150"/>
                </a:lnTo>
                <a:cubicBezTo>
                  <a:pt x="4626520" y="3215887"/>
                  <a:pt x="4629228" y="3214328"/>
                  <a:pt x="4631650" y="3213835"/>
                </a:cubicBezTo>
                <a:close/>
                <a:moveTo>
                  <a:pt x="5216515" y="3213648"/>
                </a:moveTo>
                <a:cubicBezTo>
                  <a:pt x="5221979" y="3213826"/>
                  <a:pt x="5228149" y="3215479"/>
                  <a:pt x="5236377" y="3217684"/>
                </a:cubicBezTo>
                <a:cubicBezTo>
                  <a:pt x="5231232" y="3236883"/>
                  <a:pt x="5217351" y="3222873"/>
                  <a:pt x="5214777" y="3232474"/>
                </a:cubicBezTo>
                <a:cubicBezTo>
                  <a:pt x="5203978" y="3239868"/>
                  <a:pt x="5200895" y="3218464"/>
                  <a:pt x="5200895" y="3218464"/>
                </a:cubicBezTo>
                <a:cubicBezTo>
                  <a:pt x="5206295" y="3214767"/>
                  <a:pt x="5211052" y="3213470"/>
                  <a:pt x="5216515" y="3213648"/>
                </a:cubicBezTo>
                <a:close/>
                <a:moveTo>
                  <a:pt x="5023477" y="3213270"/>
                </a:moveTo>
                <a:cubicBezTo>
                  <a:pt x="5027579" y="3211889"/>
                  <a:pt x="5032449" y="3211540"/>
                  <a:pt x="5039134" y="3213332"/>
                </a:cubicBezTo>
                <a:cubicBezTo>
                  <a:pt x="5025814" y="3227399"/>
                  <a:pt x="5028018" y="3219171"/>
                  <a:pt x="5032521" y="3238014"/>
                </a:cubicBezTo>
                <a:cubicBezTo>
                  <a:pt x="5023609" y="3235626"/>
                  <a:pt x="5023609" y="3235626"/>
                  <a:pt x="5023609" y="3235626"/>
                </a:cubicBezTo>
                <a:cubicBezTo>
                  <a:pt x="5023609" y="3235626"/>
                  <a:pt x="5025814" y="3227399"/>
                  <a:pt x="5025814" y="3227399"/>
                </a:cubicBezTo>
                <a:cubicBezTo>
                  <a:pt x="5019104" y="3216783"/>
                  <a:pt x="5014695" y="3233238"/>
                  <a:pt x="5014695" y="3233238"/>
                </a:cubicBezTo>
                <a:cubicBezTo>
                  <a:pt x="5014695" y="3233238"/>
                  <a:pt x="5016899" y="3225010"/>
                  <a:pt x="5016899" y="3225010"/>
                </a:cubicBezTo>
                <a:cubicBezTo>
                  <a:pt x="5005780" y="3230849"/>
                  <a:pt x="4981341" y="3250755"/>
                  <a:pt x="4979040" y="3223684"/>
                </a:cubicBezTo>
                <a:cubicBezTo>
                  <a:pt x="5005781" y="3230849"/>
                  <a:pt x="5011172" y="3217413"/>
                  <a:pt x="5023477" y="3213270"/>
                </a:cubicBezTo>
                <a:close/>
                <a:moveTo>
                  <a:pt x="6961699" y="3212616"/>
                </a:moveTo>
                <a:cubicBezTo>
                  <a:pt x="6958943" y="3222901"/>
                  <a:pt x="6947960" y="3230981"/>
                  <a:pt x="6947960" y="3230981"/>
                </a:cubicBezTo>
                <a:cubicBezTo>
                  <a:pt x="6939732" y="3228777"/>
                  <a:pt x="6953471" y="3210411"/>
                  <a:pt x="6961699" y="3212616"/>
                </a:cubicBezTo>
                <a:close/>
                <a:moveTo>
                  <a:pt x="3702350" y="3212279"/>
                </a:moveTo>
                <a:cubicBezTo>
                  <a:pt x="3710834" y="3214552"/>
                  <a:pt x="3727804" y="3219099"/>
                  <a:pt x="3733961" y="3230056"/>
                </a:cubicBezTo>
                <a:cubicBezTo>
                  <a:pt x="3723150" y="3236469"/>
                  <a:pt x="3716993" y="3225509"/>
                  <a:pt x="3720823" y="3245152"/>
                </a:cubicBezTo>
                <a:cubicBezTo>
                  <a:pt x="3678400" y="3233785"/>
                  <a:pt x="3649794" y="3272661"/>
                  <a:pt x="3596560" y="3267707"/>
                </a:cubicBezTo>
                <a:cubicBezTo>
                  <a:pt x="3612025" y="3243927"/>
                  <a:pt x="3586570" y="3237106"/>
                  <a:pt x="3599708" y="3222010"/>
                </a:cubicBezTo>
                <a:cubicBezTo>
                  <a:pt x="3603541" y="3241653"/>
                  <a:pt x="3631321" y="3239787"/>
                  <a:pt x="3644461" y="3224691"/>
                </a:cubicBezTo>
                <a:cubicBezTo>
                  <a:pt x="3648291" y="3244335"/>
                  <a:pt x="3674568" y="3214141"/>
                  <a:pt x="3667586" y="3240198"/>
                </a:cubicBezTo>
                <a:cubicBezTo>
                  <a:pt x="3678400" y="3233785"/>
                  <a:pt x="3689212" y="3227375"/>
                  <a:pt x="3691540" y="3218689"/>
                </a:cubicBezTo>
                <a:cubicBezTo>
                  <a:pt x="3700023" y="3220962"/>
                  <a:pt x="3697695" y="3229648"/>
                  <a:pt x="3708507" y="3223235"/>
                </a:cubicBezTo>
                <a:cubicBezTo>
                  <a:pt x="3700023" y="3220962"/>
                  <a:pt x="3700023" y="3220962"/>
                  <a:pt x="3702350" y="3212279"/>
                </a:cubicBezTo>
                <a:close/>
                <a:moveTo>
                  <a:pt x="4535539" y="3211495"/>
                </a:moveTo>
                <a:cubicBezTo>
                  <a:pt x="4538914" y="3210470"/>
                  <a:pt x="4541228" y="3211090"/>
                  <a:pt x="4543267" y="3212738"/>
                </a:cubicBezTo>
                <a:cubicBezTo>
                  <a:pt x="4547343" y="3216035"/>
                  <a:pt x="4550318" y="3223446"/>
                  <a:pt x="4558473" y="3230041"/>
                </a:cubicBezTo>
                <a:cubicBezTo>
                  <a:pt x="4556268" y="3238268"/>
                  <a:pt x="4528499" y="3230828"/>
                  <a:pt x="4521447" y="3220120"/>
                </a:cubicBezTo>
                <a:cubicBezTo>
                  <a:pt x="4527730" y="3215189"/>
                  <a:pt x="4532165" y="3212520"/>
                  <a:pt x="4535539" y="3211495"/>
                </a:cubicBezTo>
                <a:close/>
                <a:moveTo>
                  <a:pt x="4634393" y="3211453"/>
                </a:moveTo>
                <a:lnTo>
                  <a:pt x="4636209" y="3213914"/>
                </a:lnTo>
                <a:lnTo>
                  <a:pt x="4631919" y="3213840"/>
                </a:lnTo>
                <a:close/>
                <a:moveTo>
                  <a:pt x="4791479" y="3211252"/>
                </a:moveTo>
                <a:lnTo>
                  <a:pt x="4791234" y="3211874"/>
                </a:lnTo>
                <a:lnTo>
                  <a:pt x="4786785" y="3217622"/>
                </a:lnTo>
                <a:lnTo>
                  <a:pt x="4788559" y="3212602"/>
                </a:lnTo>
                <a:close/>
                <a:moveTo>
                  <a:pt x="6833657" y="3209169"/>
                </a:moveTo>
                <a:cubicBezTo>
                  <a:pt x="6831452" y="3217397"/>
                  <a:pt x="6840709" y="3219877"/>
                  <a:pt x="6838504" y="3228105"/>
                </a:cubicBezTo>
                <a:cubicBezTo>
                  <a:pt x="6817786" y="3231372"/>
                  <a:pt x="6822196" y="3214917"/>
                  <a:pt x="6801479" y="3218184"/>
                </a:cubicBezTo>
                <a:cubicBezTo>
                  <a:pt x="6805888" y="3201729"/>
                  <a:pt x="6819991" y="3223144"/>
                  <a:pt x="6833657" y="3209169"/>
                </a:cubicBezTo>
                <a:close/>
                <a:moveTo>
                  <a:pt x="6667340" y="3208696"/>
                </a:moveTo>
                <a:lnTo>
                  <a:pt x="6666439" y="3216170"/>
                </a:lnTo>
                <a:lnTo>
                  <a:pt x="6664500" y="3210553"/>
                </a:lnTo>
                <a:cubicBezTo>
                  <a:pt x="6664493" y="3209035"/>
                  <a:pt x="6665283" y="3208145"/>
                  <a:pt x="6667340" y="3208696"/>
                </a:cubicBezTo>
                <a:close/>
                <a:moveTo>
                  <a:pt x="2146431" y="3206301"/>
                </a:moveTo>
                <a:cubicBezTo>
                  <a:pt x="2159140" y="3200008"/>
                  <a:pt x="2139156" y="3233454"/>
                  <a:pt x="2149440" y="3236209"/>
                </a:cubicBezTo>
                <a:cubicBezTo>
                  <a:pt x="2136730" y="3242505"/>
                  <a:pt x="2128870" y="3230698"/>
                  <a:pt x="2128870" y="3230698"/>
                </a:cubicBezTo>
                <a:cubicBezTo>
                  <a:pt x="2141580" y="3224404"/>
                  <a:pt x="2144006" y="3215353"/>
                  <a:pt x="2146431" y="3206301"/>
                </a:cubicBezTo>
                <a:close/>
                <a:moveTo>
                  <a:pt x="4795533" y="3200968"/>
                </a:moveTo>
                <a:cubicBezTo>
                  <a:pt x="4803761" y="3203173"/>
                  <a:pt x="4801189" y="3212771"/>
                  <a:pt x="4809416" y="3214976"/>
                </a:cubicBezTo>
                <a:cubicBezTo>
                  <a:pt x="4809416" y="3214976"/>
                  <a:pt x="4809416" y="3214976"/>
                  <a:pt x="4806844" y="3224577"/>
                </a:cubicBezTo>
                <a:cubicBezTo>
                  <a:pt x="4806844" y="3224577"/>
                  <a:pt x="4798617" y="3222372"/>
                  <a:pt x="4798617" y="3222372"/>
                </a:cubicBezTo>
                <a:cubicBezTo>
                  <a:pt x="4801189" y="3212771"/>
                  <a:pt x="4801189" y="3212771"/>
                  <a:pt x="4801189" y="3212771"/>
                </a:cubicBezTo>
                <a:cubicBezTo>
                  <a:pt x="4801189" y="3212771"/>
                  <a:pt x="4801189" y="3212771"/>
                  <a:pt x="4792962" y="3210567"/>
                </a:cubicBezTo>
                <a:lnTo>
                  <a:pt x="4791479" y="3211252"/>
                </a:lnTo>
                <a:close/>
                <a:moveTo>
                  <a:pt x="8610330" y="3197580"/>
                </a:moveTo>
                <a:cubicBezTo>
                  <a:pt x="8636557" y="3204608"/>
                  <a:pt x="8667632" y="3193534"/>
                  <a:pt x="8682690" y="3207268"/>
                </a:cubicBezTo>
                <a:cubicBezTo>
                  <a:pt x="8655506" y="3238787"/>
                  <a:pt x="8638982" y="3195556"/>
                  <a:pt x="8607905" y="3206632"/>
                </a:cubicBezTo>
                <a:cubicBezTo>
                  <a:pt x="8607905" y="3206632"/>
                  <a:pt x="8610330" y="3197580"/>
                  <a:pt x="8610330" y="3197580"/>
                </a:cubicBezTo>
                <a:close/>
                <a:moveTo>
                  <a:pt x="6543906" y="3192156"/>
                </a:moveTo>
                <a:cubicBezTo>
                  <a:pt x="6552409" y="3193332"/>
                  <a:pt x="6560085" y="3197594"/>
                  <a:pt x="6566108" y="3208026"/>
                </a:cubicBezTo>
                <a:cubicBezTo>
                  <a:pt x="6551858" y="3195389"/>
                  <a:pt x="6530993" y="3207435"/>
                  <a:pt x="6516743" y="3194798"/>
                </a:cubicBezTo>
                <a:cubicBezTo>
                  <a:pt x="6526073" y="3192888"/>
                  <a:pt x="6535403" y="3190980"/>
                  <a:pt x="6543906" y="3192156"/>
                </a:cubicBezTo>
                <a:close/>
                <a:moveTo>
                  <a:pt x="6628406" y="3189446"/>
                </a:moveTo>
                <a:cubicBezTo>
                  <a:pt x="6626202" y="3197673"/>
                  <a:pt x="6626202" y="3197673"/>
                  <a:pt x="6623997" y="3205901"/>
                </a:cubicBezTo>
                <a:cubicBezTo>
                  <a:pt x="6613565" y="3211924"/>
                  <a:pt x="6605338" y="3209719"/>
                  <a:pt x="6603133" y="3217947"/>
                </a:cubicBezTo>
                <a:cubicBezTo>
                  <a:pt x="6605338" y="3209719"/>
                  <a:pt x="6611951" y="3185036"/>
                  <a:pt x="6628406" y="3189446"/>
                </a:cubicBezTo>
                <a:close/>
                <a:moveTo>
                  <a:pt x="760574" y="3186811"/>
                </a:moveTo>
                <a:cubicBezTo>
                  <a:pt x="774825" y="3199448"/>
                  <a:pt x="785257" y="3193425"/>
                  <a:pt x="809939" y="3200039"/>
                </a:cubicBezTo>
                <a:cubicBezTo>
                  <a:pt x="807735" y="3208266"/>
                  <a:pt x="774825" y="3199448"/>
                  <a:pt x="789075" y="3212084"/>
                </a:cubicBezTo>
                <a:cubicBezTo>
                  <a:pt x="789075" y="3212084"/>
                  <a:pt x="766597" y="3197243"/>
                  <a:pt x="760574" y="3186811"/>
                </a:cubicBezTo>
                <a:close/>
                <a:moveTo>
                  <a:pt x="7958614" y="3182123"/>
                </a:moveTo>
                <a:cubicBezTo>
                  <a:pt x="7963756" y="3183501"/>
                  <a:pt x="7969376" y="3187211"/>
                  <a:pt x="7972388" y="3192427"/>
                </a:cubicBezTo>
                <a:cubicBezTo>
                  <a:pt x="7961955" y="3198450"/>
                  <a:pt x="7955932" y="3188018"/>
                  <a:pt x="7947705" y="3185813"/>
                </a:cubicBezTo>
                <a:cubicBezTo>
                  <a:pt x="7948807" y="3181700"/>
                  <a:pt x="7953472" y="3180745"/>
                  <a:pt x="7958614" y="3182123"/>
                </a:cubicBezTo>
                <a:close/>
                <a:moveTo>
                  <a:pt x="6693434" y="3180415"/>
                </a:moveTo>
                <a:cubicBezTo>
                  <a:pt x="6702483" y="3182840"/>
                  <a:pt x="6700279" y="3191067"/>
                  <a:pt x="6700279" y="3191067"/>
                </a:cubicBezTo>
                <a:cubicBezTo>
                  <a:pt x="6700279" y="3191067"/>
                  <a:pt x="6691230" y="3188643"/>
                  <a:pt x="6691230" y="3188643"/>
                </a:cubicBezTo>
                <a:cubicBezTo>
                  <a:pt x="6689025" y="3196870"/>
                  <a:pt x="6698074" y="3199295"/>
                  <a:pt x="6695869" y="3207522"/>
                </a:cubicBezTo>
                <a:cubicBezTo>
                  <a:pt x="6707126" y="3201720"/>
                  <a:pt x="6725226" y="3206570"/>
                  <a:pt x="6720817" y="3223025"/>
                </a:cubicBezTo>
                <a:cubicBezTo>
                  <a:pt x="6713973" y="3212373"/>
                  <a:pt x="6718612" y="3231253"/>
                  <a:pt x="6702717" y="3218175"/>
                </a:cubicBezTo>
                <a:cubicBezTo>
                  <a:pt x="6713973" y="3212373"/>
                  <a:pt x="6704921" y="3209948"/>
                  <a:pt x="6686821" y="3205098"/>
                </a:cubicBezTo>
                <a:cubicBezTo>
                  <a:pt x="6679973" y="3194445"/>
                  <a:pt x="6689025" y="3196870"/>
                  <a:pt x="6693434" y="3180415"/>
                </a:cubicBezTo>
                <a:close/>
                <a:moveTo>
                  <a:pt x="879235" y="3180025"/>
                </a:moveTo>
                <a:cubicBezTo>
                  <a:pt x="883625" y="3180099"/>
                  <a:pt x="889795" y="3181753"/>
                  <a:pt x="898023" y="3183957"/>
                </a:cubicBezTo>
                <a:cubicBezTo>
                  <a:pt x="887591" y="3189980"/>
                  <a:pt x="877159" y="3196003"/>
                  <a:pt x="871136" y="3185571"/>
                </a:cubicBezTo>
                <a:cubicBezTo>
                  <a:pt x="872238" y="3181457"/>
                  <a:pt x="874846" y="3179952"/>
                  <a:pt x="879235" y="3180025"/>
                </a:cubicBezTo>
                <a:close/>
                <a:moveTo>
                  <a:pt x="3781672" y="3179524"/>
                </a:moveTo>
                <a:cubicBezTo>
                  <a:pt x="3784758" y="3180351"/>
                  <a:pt x="3785989" y="3183986"/>
                  <a:pt x="3780220" y="3189056"/>
                </a:cubicBezTo>
                <a:cubicBezTo>
                  <a:pt x="3780220" y="3189056"/>
                  <a:pt x="3771993" y="3186851"/>
                  <a:pt x="3771993" y="3186851"/>
                </a:cubicBezTo>
                <a:cubicBezTo>
                  <a:pt x="3773647" y="3180678"/>
                  <a:pt x="3778588" y="3178697"/>
                  <a:pt x="3781672" y="3179524"/>
                </a:cubicBezTo>
                <a:close/>
                <a:moveTo>
                  <a:pt x="6891752" y="3177477"/>
                </a:moveTo>
                <a:cubicBezTo>
                  <a:pt x="6898232" y="3177973"/>
                  <a:pt x="6904403" y="3179627"/>
                  <a:pt x="6904403" y="3179627"/>
                </a:cubicBezTo>
                <a:cubicBezTo>
                  <a:pt x="6885468" y="3184474"/>
                  <a:pt x="6896962" y="3207396"/>
                  <a:pt x="6915897" y="3202549"/>
                </a:cubicBezTo>
                <a:cubicBezTo>
                  <a:pt x="6902709" y="3218856"/>
                  <a:pt x="6882987" y="3193730"/>
                  <a:pt x="6877240" y="3182269"/>
                </a:cubicBezTo>
                <a:cubicBezTo>
                  <a:pt x="6878480" y="3177641"/>
                  <a:pt x="6885271" y="3176980"/>
                  <a:pt x="6891752" y="3177477"/>
                </a:cubicBezTo>
                <a:close/>
                <a:moveTo>
                  <a:pt x="2337213" y="3177177"/>
                </a:moveTo>
                <a:cubicBezTo>
                  <a:pt x="2332804" y="3193631"/>
                  <a:pt x="2318553" y="3180995"/>
                  <a:pt x="2314144" y="3197450"/>
                </a:cubicBezTo>
                <a:cubicBezTo>
                  <a:pt x="2310325" y="3178790"/>
                  <a:pt x="2285052" y="3207291"/>
                  <a:pt x="2273006" y="3186427"/>
                </a:cubicBezTo>
                <a:cubicBezTo>
                  <a:pt x="2293870" y="3174381"/>
                  <a:pt x="2308121" y="3187018"/>
                  <a:pt x="2337213" y="3177177"/>
                </a:cubicBezTo>
                <a:close/>
                <a:moveTo>
                  <a:pt x="900228" y="3175729"/>
                </a:moveTo>
                <a:cubicBezTo>
                  <a:pt x="916683" y="3180139"/>
                  <a:pt x="904046" y="3194389"/>
                  <a:pt x="893614" y="3200412"/>
                </a:cubicBezTo>
                <a:lnTo>
                  <a:pt x="898023" y="3183957"/>
                </a:lnTo>
                <a:close/>
                <a:moveTo>
                  <a:pt x="3364655" y="3175127"/>
                </a:moveTo>
                <a:cubicBezTo>
                  <a:pt x="3366790" y="3174118"/>
                  <a:pt x="3369467" y="3174835"/>
                  <a:pt x="3373174" y="3178127"/>
                </a:cubicBezTo>
                <a:cubicBezTo>
                  <a:pt x="3362310" y="3184415"/>
                  <a:pt x="3353746" y="3182120"/>
                  <a:pt x="3362310" y="3184415"/>
                </a:cubicBezTo>
                <a:cubicBezTo>
                  <a:pt x="3370875" y="3186710"/>
                  <a:pt x="3388003" y="3191300"/>
                  <a:pt x="3396568" y="3193594"/>
                </a:cubicBezTo>
                <a:cubicBezTo>
                  <a:pt x="3398867" y="3185014"/>
                  <a:pt x="3411874" y="3179301"/>
                  <a:pt x="3425869" y="3178451"/>
                </a:cubicBezTo>
                <a:cubicBezTo>
                  <a:pt x="3439867" y="3177603"/>
                  <a:pt x="3454855" y="3181619"/>
                  <a:pt x="3461120" y="3192496"/>
                </a:cubicBezTo>
                <a:cubicBezTo>
                  <a:pt x="3469684" y="3194791"/>
                  <a:pt x="3456521" y="3209659"/>
                  <a:pt x="3473650" y="3214248"/>
                </a:cubicBezTo>
                <a:cubicBezTo>
                  <a:pt x="3460486" y="3229119"/>
                  <a:pt x="3428528" y="3211357"/>
                  <a:pt x="3426228" y="3219939"/>
                </a:cubicBezTo>
                <a:cubicBezTo>
                  <a:pt x="3419961" y="3209061"/>
                  <a:pt x="3428528" y="3211357"/>
                  <a:pt x="3422261" y="3200479"/>
                </a:cubicBezTo>
                <a:cubicBezTo>
                  <a:pt x="3405132" y="3195889"/>
                  <a:pt x="3391969" y="3210759"/>
                  <a:pt x="3374840" y="3206170"/>
                </a:cubicBezTo>
                <a:lnTo>
                  <a:pt x="3372540" y="3214752"/>
                </a:lnTo>
                <a:cubicBezTo>
                  <a:pt x="3374840" y="3206170"/>
                  <a:pt x="3355411" y="3210163"/>
                  <a:pt x="3346847" y="3207868"/>
                </a:cubicBezTo>
                <a:cubicBezTo>
                  <a:pt x="3356720" y="3196715"/>
                  <a:pt x="3358251" y="3178155"/>
                  <a:pt x="3364655" y="3175127"/>
                </a:cubicBezTo>
                <a:close/>
                <a:moveTo>
                  <a:pt x="3305016" y="3173054"/>
                </a:moveTo>
                <a:cubicBezTo>
                  <a:pt x="3308377" y="3172852"/>
                  <a:pt x="3312491" y="3173954"/>
                  <a:pt x="3316605" y="3175057"/>
                </a:cubicBezTo>
                <a:cubicBezTo>
                  <a:pt x="3312195" y="3191512"/>
                  <a:pt x="3303968" y="3189307"/>
                  <a:pt x="3297945" y="3178875"/>
                </a:cubicBezTo>
                <a:cubicBezTo>
                  <a:pt x="3299047" y="3174761"/>
                  <a:pt x="3301656" y="3173256"/>
                  <a:pt x="3305016" y="3173054"/>
                </a:cubicBezTo>
                <a:close/>
                <a:moveTo>
                  <a:pt x="4703412" y="3172371"/>
                </a:moveTo>
                <a:lnTo>
                  <a:pt x="4701183" y="3176506"/>
                </a:lnTo>
                <a:lnTo>
                  <a:pt x="4702236" y="3172573"/>
                </a:lnTo>
                <a:close/>
                <a:moveTo>
                  <a:pt x="2082996" y="3171523"/>
                </a:moveTo>
                <a:cubicBezTo>
                  <a:pt x="2085384" y="3162609"/>
                  <a:pt x="2079282" y="3218293"/>
                  <a:pt x="2065215" y="3204970"/>
                </a:cubicBezTo>
                <a:cubicBezTo>
                  <a:pt x="2073443" y="3207175"/>
                  <a:pt x="2072380" y="3178230"/>
                  <a:pt x="2082996" y="3171523"/>
                </a:cubicBezTo>
                <a:close/>
                <a:moveTo>
                  <a:pt x="6211366" y="3170293"/>
                </a:moveTo>
                <a:cubicBezTo>
                  <a:pt x="6220622" y="3172773"/>
                  <a:pt x="6227674" y="3183481"/>
                  <a:pt x="6239134" y="3177734"/>
                </a:cubicBezTo>
                <a:cubicBezTo>
                  <a:pt x="6236930" y="3185961"/>
                  <a:pt x="6209161" y="3178520"/>
                  <a:pt x="6197700" y="3184268"/>
                </a:cubicBezTo>
                <a:cubicBezTo>
                  <a:pt x="6199905" y="3176040"/>
                  <a:pt x="6218417" y="3181001"/>
                  <a:pt x="6211366" y="3170293"/>
                </a:cubicBezTo>
                <a:close/>
                <a:moveTo>
                  <a:pt x="6589473" y="3170195"/>
                </a:moveTo>
                <a:cubicBezTo>
                  <a:pt x="6589473" y="3170195"/>
                  <a:pt x="6597701" y="3172400"/>
                  <a:pt x="6597701" y="3172400"/>
                </a:cubicBezTo>
                <a:cubicBezTo>
                  <a:pt x="6595496" y="3180627"/>
                  <a:pt x="6593292" y="3188855"/>
                  <a:pt x="6585064" y="3186650"/>
                </a:cubicBezTo>
                <a:cubicBezTo>
                  <a:pt x="6587269" y="3178423"/>
                  <a:pt x="6587269" y="3178423"/>
                  <a:pt x="6589473" y="3170195"/>
                </a:cubicBezTo>
                <a:close/>
                <a:moveTo>
                  <a:pt x="6029546" y="3170073"/>
                </a:moveTo>
                <a:lnTo>
                  <a:pt x="6031643" y="3171932"/>
                </a:lnTo>
                <a:lnTo>
                  <a:pt x="6028444" y="3174189"/>
                </a:lnTo>
                <a:close/>
                <a:moveTo>
                  <a:pt x="7916999" y="3168768"/>
                </a:moveTo>
                <a:cubicBezTo>
                  <a:pt x="7923022" y="3179200"/>
                  <a:pt x="7933454" y="3173177"/>
                  <a:pt x="7939477" y="3183609"/>
                </a:cubicBezTo>
                <a:cubicBezTo>
                  <a:pt x="7929045" y="3189632"/>
                  <a:pt x="7923022" y="3179200"/>
                  <a:pt x="7912590" y="3185223"/>
                </a:cubicBezTo>
                <a:cubicBezTo>
                  <a:pt x="7914795" y="3176995"/>
                  <a:pt x="7914795" y="3176995"/>
                  <a:pt x="7906567" y="3174791"/>
                </a:cubicBezTo>
                <a:cubicBezTo>
                  <a:pt x="7908772" y="3166563"/>
                  <a:pt x="7914795" y="3176995"/>
                  <a:pt x="7916999" y="3168768"/>
                </a:cubicBezTo>
                <a:close/>
                <a:moveTo>
                  <a:pt x="6175590" y="3168056"/>
                </a:moveTo>
                <a:cubicBezTo>
                  <a:pt x="6173263" y="3176739"/>
                  <a:pt x="6202600" y="3165983"/>
                  <a:pt x="6189718" y="3181148"/>
                </a:cubicBezTo>
                <a:cubicBezTo>
                  <a:pt x="6189718" y="3181148"/>
                  <a:pt x="6181490" y="3178944"/>
                  <a:pt x="6173263" y="3176739"/>
                </a:cubicBezTo>
                <a:close/>
                <a:moveTo>
                  <a:pt x="6515129" y="3167911"/>
                </a:moveTo>
                <a:cubicBezTo>
                  <a:pt x="6504697" y="3173934"/>
                  <a:pt x="6504697" y="3173934"/>
                  <a:pt x="6502493" y="3182162"/>
                </a:cubicBezTo>
                <a:cubicBezTo>
                  <a:pt x="6502493" y="3182162"/>
                  <a:pt x="6502493" y="3182162"/>
                  <a:pt x="6494265" y="3179957"/>
                </a:cubicBezTo>
                <a:cubicBezTo>
                  <a:pt x="6494265" y="3179957"/>
                  <a:pt x="6496469" y="3171730"/>
                  <a:pt x="6496469" y="3171730"/>
                </a:cubicBezTo>
                <a:cubicBezTo>
                  <a:pt x="6496469" y="3171730"/>
                  <a:pt x="6506902" y="3165707"/>
                  <a:pt x="6515129" y="3167911"/>
                </a:cubicBezTo>
                <a:close/>
                <a:moveTo>
                  <a:pt x="6312393" y="3167600"/>
                </a:moveTo>
                <a:lnTo>
                  <a:pt x="6328848" y="3172010"/>
                </a:lnTo>
                <a:cubicBezTo>
                  <a:pt x="6326368" y="3181266"/>
                  <a:pt x="6320621" y="3169805"/>
                  <a:pt x="6312393" y="3167600"/>
                </a:cubicBezTo>
                <a:close/>
                <a:moveTo>
                  <a:pt x="4706022" y="3167524"/>
                </a:moveTo>
                <a:cubicBezTo>
                  <a:pt x="4707368" y="3167312"/>
                  <a:pt x="4708273" y="3169269"/>
                  <a:pt x="4708236" y="3171545"/>
                </a:cubicBezTo>
                <a:lnTo>
                  <a:pt x="4703412" y="3172371"/>
                </a:lnTo>
                <a:close/>
                <a:moveTo>
                  <a:pt x="3748518" y="3167515"/>
                </a:moveTo>
                <a:cubicBezTo>
                  <a:pt x="3757066" y="3168520"/>
                  <a:pt x="3762593" y="3172573"/>
                  <a:pt x="3755905" y="3181071"/>
                </a:cubicBezTo>
                <a:cubicBezTo>
                  <a:pt x="3739450" y="3176662"/>
                  <a:pt x="3736878" y="3186260"/>
                  <a:pt x="3722995" y="3172253"/>
                </a:cubicBezTo>
                <a:cubicBezTo>
                  <a:pt x="3728397" y="3168554"/>
                  <a:pt x="3739968" y="3166510"/>
                  <a:pt x="3748518" y="3167515"/>
                </a:cubicBezTo>
                <a:close/>
                <a:moveTo>
                  <a:pt x="3467659" y="3165761"/>
                </a:moveTo>
                <a:cubicBezTo>
                  <a:pt x="3482465" y="3178863"/>
                  <a:pt x="3499555" y="3183442"/>
                  <a:pt x="3505817" y="3194257"/>
                </a:cubicBezTo>
                <a:cubicBezTo>
                  <a:pt x="3492702" y="3209016"/>
                  <a:pt x="3477897" y="3195911"/>
                  <a:pt x="3467069" y="3202148"/>
                </a:cubicBezTo>
                <a:cubicBezTo>
                  <a:pt x="3471637" y="3185099"/>
                  <a:pt x="3471637" y="3185099"/>
                  <a:pt x="3454545" y="3180519"/>
                </a:cubicBezTo>
                <a:cubicBezTo>
                  <a:pt x="3456829" y="3171994"/>
                  <a:pt x="3456829" y="3171994"/>
                  <a:pt x="3465375" y="3174283"/>
                </a:cubicBezTo>
                <a:close/>
                <a:moveTo>
                  <a:pt x="6042036" y="3164602"/>
                </a:moveTo>
                <a:cubicBezTo>
                  <a:pt x="6044094" y="3165153"/>
                  <a:pt x="6042991" y="3169268"/>
                  <a:pt x="6036672" y="3176393"/>
                </a:cubicBezTo>
                <a:lnTo>
                  <a:pt x="6031643" y="3171932"/>
                </a:lnTo>
                <a:close/>
                <a:moveTo>
                  <a:pt x="6693319" y="3163850"/>
                </a:moveTo>
                <a:cubicBezTo>
                  <a:pt x="6695995" y="3163465"/>
                  <a:pt x="6698395" y="3164108"/>
                  <a:pt x="6698395" y="3164108"/>
                </a:cubicBezTo>
                <a:cubicBezTo>
                  <a:pt x="6705789" y="3174907"/>
                  <a:pt x="6698395" y="3164108"/>
                  <a:pt x="6717592" y="3169252"/>
                </a:cubicBezTo>
                <a:cubicBezTo>
                  <a:pt x="6715388" y="3177479"/>
                  <a:pt x="6696191" y="3172336"/>
                  <a:pt x="6686590" y="3169763"/>
                </a:cubicBezTo>
                <a:cubicBezTo>
                  <a:pt x="6687692" y="3165649"/>
                  <a:pt x="6690644" y="3164235"/>
                  <a:pt x="6693319" y="3163850"/>
                </a:cubicBezTo>
                <a:close/>
                <a:moveTo>
                  <a:pt x="6100163" y="3163643"/>
                </a:moveTo>
                <a:cubicBezTo>
                  <a:pt x="6103194" y="3165558"/>
                  <a:pt x="6107050" y="3168796"/>
                  <a:pt x="6111458" y="3169978"/>
                </a:cubicBezTo>
                <a:cubicBezTo>
                  <a:pt x="6107049" y="3186433"/>
                  <a:pt x="6120274" y="3172340"/>
                  <a:pt x="6137903" y="3177063"/>
                </a:cubicBezTo>
                <a:cubicBezTo>
                  <a:pt x="6093824" y="3200525"/>
                  <a:pt x="6104847" y="3159388"/>
                  <a:pt x="6089418" y="3181708"/>
                </a:cubicBezTo>
                <a:cubicBezTo>
                  <a:pt x="6073991" y="3168756"/>
                  <a:pt x="6111458" y="3169978"/>
                  <a:pt x="6093827" y="3165253"/>
                </a:cubicBezTo>
                <a:cubicBezTo>
                  <a:pt x="6094929" y="3161138"/>
                  <a:pt x="6097132" y="3161728"/>
                  <a:pt x="6100163" y="3163643"/>
                </a:cubicBezTo>
                <a:close/>
                <a:moveTo>
                  <a:pt x="6251768" y="3163482"/>
                </a:moveTo>
                <a:cubicBezTo>
                  <a:pt x="6256986" y="3160470"/>
                  <a:pt x="6261099" y="3161572"/>
                  <a:pt x="6264938" y="3163703"/>
                </a:cubicBezTo>
                <a:cubicBezTo>
                  <a:pt x="6268775" y="3165834"/>
                  <a:pt x="6272339" y="3168994"/>
                  <a:pt x="6276451" y="3170096"/>
                </a:cubicBezTo>
                <a:cubicBezTo>
                  <a:pt x="6275349" y="3174209"/>
                  <a:pt x="6270686" y="3175164"/>
                  <a:pt x="6266772" y="3177423"/>
                </a:cubicBezTo>
                <a:lnTo>
                  <a:pt x="6264415" y="3184343"/>
                </a:lnTo>
                <a:lnTo>
                  <a:pt x="6275955" y="3184292"/>
                </a:lnTo>
                <a:cubicBezTo>
                  <a:pt x="6278763" y="3186147"/>
                  <a:pt x="6280270" y="3188756"/>
                  <a:pt x="6280270" y="3188756"/>
                </a:cubicBezTo>
                <a:lnTo>
                  <a:pt x="6278065" y="3196983"/>
                </a:lnTo>
                <a:lnTo>
                  <a:pt x="6264275" y="3184753"/>
                </a:lnTo>
                <a:lnTo>
                  <a:pt x="6261610" y="3192574"/>
                </a:lnTo>
                <a:cubicBezTo>
                  <a:pt x="6253382" y="3190370"/>
                  <a:pt x="6255587" y="3182142"/>
                  <a:pt x="6245155" y="3188165"/>
                </a:cubicBezTo>
                <a:cubicBezTo>
                  <a:pt x="6242145" y="3182948"/>
                  <a:pt x="6247359" y="3179937"/>
                  <a:pt x="6251549" y="3176649"/>
                </a:cubicBezTo>
                <a:lnTo>
                  <a:pt x="6251771" y="3163486"/>
                </a:lnTo>
                <a:lnTo>
                  <a:pt x="6237115" y="3174987"/>
                </a:lnTo>
                <a:cubicBezTo>
                  <a:pt x="6230565" y="3175437"/>
                  <a:pt x="6223364" y="3173508"/>
                  <a:pt x="6218565" y="3172222"/>
                </a:cubicBezTo>
                <a:close/>
                <a:moveTo>
                  <a:pt x="6525561" y="3161888"/>
                </a:moveTo>
                <a:cubicBezTo>
                  <a:pt x="6525561" y="3161888"/>
                  <a:pt x="6529379" y="3180548"/>
                  <a:pt x="6533789" y="3164093"/>
                </a:cubicBezTo>
                <a:cubicBezTo>
                  <a:pt x="6548039" y="3176729"/>
                  <a:pt x="6527175" y="3188775"/>
                  <a:pt x="6523357" y="3170116"/>
                </a:cubicBezTo>
                <a:cubicBezTo>
                  <a:pt x="6523357" y="3170116"/>
                  <a:pt x="6523357" y="3170116"/>
                  <a:pt x="6525561" y="3161888"/>
                </a:cubicBezTo>
                <a:close/>
                <a:moveTo>
                  <a:pt x="3276661" y="3161465"/>
                </a:moveTo>
                <a:cubicBezTo>
                  <a:pt x="3276661" y="3161465"/>
                  <a:pt x="3283660" y="3161041"/>
                  <a:pt x="3289796" y="3163835"/>
                </a:cubicBezTo>
                <a:cubicBezTo>
                  <a:pt x="3295933" y="3166629"/>
                  <a:pt x="3301207" y="3172642"/>
                  <a:pt x="3297757" y="3185516"/>
                </a:cubicBezTo>
                <a:cubicBezTo>
                  <a:pt x="3289193" y="3183221"/>
                  <a:pt x="3289193" y="3183221"/>
                  <a:pt x="3289193" y="3183221"/>
                </a:cubicBezTo>
                <a:cubicBezTo>
                  <a:pt x="3305688" y="3224433"/>
                  <a:pt x="3340580" y="3196990"/>
                  <a:pt x="3372540" y="3214752"/>
                </a:cubicBezTo>
                <a:lnTo>
                  <a:pt x="3370240" y="3223335"/>
                </a:lnTo>
                <a:cubicBezTo>
                  <a:pt x="3344547" y="3216450"/>
                  <a:pt x="3348513" y="3235908"/>
                  <a:pt x="3322817" y="3229022"/>
                </a:cubicBezTo>
                <a:cubicBezTo>
                  <a:pt x="3325116" y="3220443"/>
                  <a:pt x="3325116" y="3220443"/>
                  <a:pt x="3325116" y="3220443"/>
                </a:cubicBezTo>
                <a:cubicBezTo>
                  <a:pt x="3310287" y="3207270"/>
                  <a:pt x="3297124" y="3222138"/>
                  <a:pt x="3299423" y="3213558"/>
                </a:cubicBezTo>
                <a:cubicBezTo>
                  <a:pt x="3282294" y="3208968"/>
                  <a:pt x="3277695" y="3226131"/>
                  <a:pt x="3260564" y="3221540"/>
                </a:cubicBezTo>
                <a:cubicBezTo>
                  <a:pt x="3255965" y="3238706"/>
                  <a:pt x="3277695" y="3226131"/>
                  <a:pt x="3273096" y="3243296"/>
                </a:cubicBezTo>
                <a:lnTo>
                  <a:pt x="3255965" y="3238706"/>
                </a:lnTo>
                <a:lnTo>
                  <a:pt x="3238836" y="3234116"/>
                </a:lnTo>
                <a:cubicBezTo>
                  <a:pt x="3241135" y="3225533"/>
                  <a:pt x="3241135" y="3225533"/>
                  <a:pt x="3241135" y="3225533"/>
                </a:cubicBezTo>
                <a:cubicBezTo>
                  <a:pt x="3243435" y="3216951"/>
                  <a:pt x="3247400" y="3236411"/>
                  <a:pt x="3258264" y="3230123"/>
                </a:cubicBezTo>
                <a:cubicBezTo>
                  <a:pt x="3256598" y="3202083"/>
                  <a:pt x="3217742" y="3210066"/>
                  <a:pt x="3221707" y="3229526"/>
                </a:cubicBezTo>
                <a:cubicBezTo>
                  <a:pt x="3227972" y="3240404"/>
                  <a:pt x="3230271" y="3231821"/>
                  <a:pt x="3238836" y="3234116"/>
                </a:cubicBezTo>
                <a:cubicBezTo>
                  <a:pt x="3234236" y="3251281"/>
                  <a:pt x="3247400" y="3236411"/>
                  <a:pt x="3255965" y="3238706"/>
                </a:cubicBezTo>
                <a:cubicBezTo>
                  <a:pt x="3249065" y="3264453"/>
                  <a:pt x="3227972" y="3240404"/>
                  <a:pt x="3217108" y="3246691"/>
                </a:cubicBezTo>
                <a:cubicBezTo>
                  <a:pt x="3208543" y="3244397"/>
                  <a:pt x="3206244" y="3252979"/>
                  <a:pt x="3197679" y="3250684"/>
                </a:cubicBezTo>
                <a:cubicBezTo>
                  <a:pt x="3189115" y="3248389"/>
                  <a:pt x="3191414" y="3239807"/>
                  <a:pt x="3191414" y="3239807"/>
                </a:cubicBezTo>
                <a:cubicBezTo>
                  <a:pt x="3171983" y="3243799"/>
                  <a:pt x="3123928" y="3286112"/>
                  <a:pt x="3126862" y="3240908"/>
                </a:cubicBezTo>
                <a:cubicBezTo>
                  <a:pt x="3109099" y="3272940"/>
                  <a:pt x="3077139" y="3255178"/>
                  <a:pt x="3063975" y="3270048"/>
                </a:cubicBezTo>
                <a:cubicBezTo>
                  <a:pt x="3035982" y="3271746"/>
                  <a:pt x="3032014" y="3252286"/>
                  <a:pt x="3021785" y="3221948"/>
                </a:cubicBezTo>
                <a:cubicBezTo>
                  <a:pt x="3010920" y="3228236"/>
                  <a:pt x="3032014" y="3252286"/>
                  <a:pt x="3014885" y="3247696"/>
                </a:cubicBezTo>
                <a:cubicBezTo>
                  <a:pt x="3029715" y="3260868"/>
                  <a:pt x="3027415" y="3269451"/>
                  <a:pt x="3044546" y="3274041"/>
                </a:cubicBezTo>
                <a:cubicBezTo>
                  <a:pt x="3033682" y="3280329"/>
                  <a:pt x="3016551" y="3275738"/>
                  <a:pt x="3020517" y="3295196"/>
                </a:cubicBezTo>
                <a:cubicBezTo>
                  <a:pt x="3016551" y="3275738"/>
                  <a:pt x="3003388" y="3290606"/>
                  <a:pt x="2977692" y="3283721"/>
                </a:cubicBezTo>
                <a:cubicBezTo>
                  <a:pt x="2981657" y="3303181"/>
                  <a:pt x="2949699" y="3285419"/>
                  <a:pt x="2921706" y="3287117"/>
                </a:cubicBezTo>
                <a:cubicBezTo>
                  <a:pt x="2924006" y="3278534"/>
                  <a:pt x="2932570" y="3280829"/>
                  <a:pt x="2932570" y="3280829"/>
                </a:cubicBezTo>
                <a:cubicBezTo>
                  <a:pt x="2934870" y="3272247"/>
                  <a:pt x="2915441" y="3276239"/>
                  <a:pt x="2915441" y="3276239"/>
                </a:cubicBezTo>
                <a:cubicBezTo>
                  <a:pt x="2927971" y="3297994"/>
                  <a:pt x="2908542" y="3301987"/>
                  <a:pt x="2917107" y="3304282"/>
                </a:cubicBezTo>
                <a:cubicBezTo>
                  <a:pt x="2914807" y="3312865"/>
                  <a:pt x="2917107" y="3304282"/>
                  <a:pt x="2906243" y="3310570"/>
                </a:cubicBezTo>
                <a:cubicBezTo>
                  <a:pt x="2906243" y="3310570"/>
                  <a:pt x="2908542" y="3301987"/>
                  <a:pt x="2908542" y="3301987"/>
                </a:cubicBezTo>
                <a:cubicBezTo>
                  <a:pt x="2897675" y="3308274"/>
                  <a:pt x="2891411" y="3297397"/>
                  <a:pt x="2878248" y="3312264"/>
                </a:cubicBezTo>
                <a:cubicBezTo>
                  <a:pt x="2869684" y="3309970"/>
                  <a:pt x="2874282" y="3292807"/>
                  <a:pt x="2865718" y="3290512"/>
                </a:cubicBezTo>
                <a:cubicBezTo>
                  <a:pt x="2846289" y="3294505"/>
                  <a:pt x="2829158" y="3289915"/>
                  <a:pt x="2822260" y="3315660"/>
                </a:cubicBezTo>
                <a:cubicBezTo>
                  <a:pt x="2805131" y="3311070"/>
                  <a:pt x="2822260" y="3315660"/>
                  <a:pt x="2824559" y="3307077"/>
                </a:cubicBezTo>
                <a:cubicBezTo>
                  <a:pt x="2809730" y="3293905"/>
                  <a:pt x="2809096" y="3330530"/>
                  <a:pt x="2794267" y="3317358"/>
                </a:cubicBezTo>
                <a:cubicBezTo>
                  <a:pt x="2791967" y="3325941"/>
                  <a:pt x="2811396" y="3321948"/>
                  <a:pt x="2798232" y="3336818"/>
                </a:cubicBezTo>
                <a:cubicBezTo>
                  <a:pt x="2789667" y="3334523"/>
                  <a:pt x="2785702" y="3315063"/>
                  <a:pt x="2772538" y="3329934"/>
                </a:cubicBezTo>
                <a:lnTo>
                  <a:pt x="2763376" y="3302765"/>
                </a:lnTo>
                <a:lnTo>
                  <a:pt x="2765794" y="3298880"/>
                </a:lnTo>
                <a:lnTo>
                  <a:pt x="2776879" y="3296601"/>
                </a:lnTo>
                <a:cubicBezTo>
                  <a:pt x="2781737" y="3295603"/>
                  <a:pt x="2786018" y="3296750"/>
                  <a:pt x="2788002" y="3306481"/>
                </a:cubicBezTo>
                <a:cubicBezTo>
                  <a:pt x="2788002" y="3306481"/>
                  <a:pt x="2790302" y="3297898"/>
                  <a:pt x="2798866" y="3300193"/>
                </a:cubicBezTo>
                <a:cubicBezTo>
                  <a:pt x="2792601" y="3289318"/>
                  <a:pt x="2782471" y="3284304"/>
                  <a:pt x="2774115" y="3285512"/>
                </a:cubicBezTo>
                <a:lnTo>
                  <a:pt x="2765794" y="3298880"/>
                </a:lnTo>
                <a:lnTo>
                  <a:pt x="2762309" y="3299596"/>
                </a:lnTo>
                <a:lnTo>
                  <a:pt x="2763376" y="3302765"/>
                </a:lnTo>
                <a:lnTo>
                  <a:pt x="2760009" y="3308179"/>
                </a:lnTo>
                <a:cubicBezTo>
                  <a:pt x="2740578" y="3312171"/>
                  <a:pt x="2756041" y="3288718"/>
                  <a:pt x="2747477" y="3286423"/>
                </a:cubicBezTo>
                <a:cubicBezTo>
                  <a:pt x="2745177" y="3295006"/>
                  <a:pt x="2742878" y="3303589"/>
                  <a:pt x="2742878" y="3303589"/>
                </a:cubicBezTo>
                <a:cubicBezTo>
                  <a:pt x="2710920" y="3285827"/>
                  <a:pt x="2695456" y="3309279"/>
                  <a:pt x="2674360" y="3285229"/>
                </a:cubicBezTo>
                <a:cubicBezTo>
                  <a:pt x="2665795" y="3282934"/>
                  <a:pt x="2663496" y="3291517"/>
                  <a:pt x="2654931" y="3289222"/>
                </a:cubicBezTo>
                <a:cubicBezTo>
                  <a:pt x="2661196" y="3300099"/>
                  <a:pt x="2669761" y="3302394"/>
                  <a:pt x="2680625" y="3296106"/>
                </a:cubicBezTo>
                <a:cubicBezTo>
                  <a:pt x="2678325" y="3304689"/>
                  <a:pt x="2686892" y="3306985"/>
                  <a:pt x="2695456" y="3309279"/>
                </a:cubicBezTo>
                <a:cubicBezTo>
                  <a:pt x="2684592" y="3315567"/>
                  <a:pt x="2673726" y="3321852"/>
                  <a:pt x="2658896" y="3308682"/>
                </a:cubicBezTo>
                <a:cubicBezTo>
                  <a:pt x="2656597" y="3317262"/>
                  <a:pt x="2656597" y="3317262"/>
                  <a:pt x="2648033" y="3314967"/>
                </a:cubicBezTo>
                <a:cubicBezTo>
                  <a:pt x="2654298" y="3325844"/>
                  <a:pt x="2662862" y="3328139"/>
                  <a:pt x="2677694" y="3341312"/>
                </a:cubicBezTo>
                <a:cubicBezTo>
                  <a:pt x="2677694" y="3341312"/>
                  <a:pt x="2669127" y="3339017"/>
                  <a:pt x="2669127" y="3339017"/>
                </a:cubicBezTo>
                <a:cubicBezTo>
                  <a:pt x="2660562" y="3336722"/>
                  <a:pt x="2658263" y="3345304"/>
                  <a:pt x="2641134" y="3340714"/>
                </a:cubicBezTo>
                <a:cubicBezTo>
                  <a:pt x="2630270" y="3347002"/>
                  <a:pt x="2630270" y="3347002"/>
                  <a:pt x="2627970" y="3355585"/>
                </a:cubicBezTo>
                <a:cubicBezTo>
                  <a:pt x="2619406" y="3353290"/>
                  <a:pt x="2621706" y="3344708"/>
                  <a:pt x="2621706" y="3344708"/>
                </a:cubicBezTo>
                <a:cubicBezTo>
                  <a:pt x="2621706" y="3344708"/>
                  <a:pt x="2613141" y="3342413"/>
                  <a:pt x="2610841" y="3350995"/>
                </a:cubicBezTo>
                <a:cubicBezTo>
                  <a:pt x="2615441" y="3333830"/>
                  <a:pt x="2593710" y="3346405"/>
                  <a:pt x="2587445" y="3335528"/>
                </a:cubicBezTo>
                <a:cubicBezTo>
                  <a:pt x="2576581" y="3341815"/>
                  <a:pt x="2585146" y="3344110"/>
                  <a:pt x="2574281" y="3350398"/>
                </a:cubicBezTo>
                <a:cubicBezTo>
                  <a:pt x="2568017" y="3339521"/>
                  <a:pt x="2548588" y="3343513"/>
                  <a:pt x="2531460" y="3338924"/>
                </a:cubicBezTo>
                <a:cubicBezTo>
                  <a:pt x="2525192" y="3328046"/>
                  <a:pt x="2550888" y="3334931"/>
                  <a:pt x="2555487" y="3317765"/>
                </a:cubicBezTo>
                <a:cubicBezTo>
                  <a:pt x="2544623" y="3324053"/>
                  <a:pt x="2501798" y="3312579"/>
                  <a:pt x="2503464" y="3340621"/>
                </a:cubicBezTo>
                <a:cubicBezTo>
                  <a:pt x="2494900" y="3338326"/>
                  <a:pt x="2497199" y="3329744"/>
                  <a:pt x="2499499" y="3321161"/>
                </a:cubicBezTo>
                <a:cubicBezTo>
                  <a:pt x="2499499" y="3321161"/>
                  <a:pt x="2488635" y="3327449"/>
                  <a:pt x="2490935" y="3318867"/>
                </a:cubicBezTo>
                <a:cubicBezTo>
                  <a:pt x="2480071" y="3325154"/>
                  <a:pt x="2484036" y="3344611"/>
                  <a:pt x="2481737" y="3353194"/>
                </a:cubicBezTo>
                <a:cubicBezTo>
                  <a:pt x="2466908" y="3340022"/>
                  <a:pt x="2453744" y="3354892"/>
                  <a:pt x="2456043" y="3346310"/>
                </a:cubicBezTo>
                <a:cubicBezTo>
                  <a:pt x="2447476" y="3344014"/>
                  <a:pt x="2445177" y="3352596"/>
                  <a:pt x="2438912" y="3341719"/>
                </a:cubicBezTo>
                <a:cubicBezTo>
                  <a:pt x="2434313" y="3358884"/>
                  <a:pt x="2434313" y="3358884"/>
                  <a:pt x="2432013" y="3367467"/>
                </a:cubicBezTo>
                <a:cubicBezTo>
                  <a:pt x="2414884" y="3362877"/>
                  <a:pt x="2436612" y="3350302"/>
                  <a:pt x="2430348" y="3339424"/>
                </a:cubicBezTo>
                <a:cubicBezTo>
                  <a:pt x="2417184" y="3354295"/>
                  <a:pt x="2410919" y="3343417"/>
                  <a:pt x="2413219" y="3334835"/>
                </a:cubicBezTo>
                <a:cubicBezTo>
                  <a:pt x="2402355" y="3341122"/>
                  <a:pt x="2391491" y="3347410"/>
                  <a:pt x="2389191" y="3355993"/>
                </a:cubicBezTo>
                <a:cubicBezTo>
                  <a:pt x="2389191" y="3355993"/>
                  <a:pt x="2380626" y="3353698"/>
                  <a:pt x="2372059" y="3351402"/>
                </a:cubicBezTo>
                <a:cubicBezTo>
                  <a:pt x="2369760" y="3359985"/>
                  <a:pt x="2369760" y="3359985"/>
                  <a:pt x="2361195" y="3357690"/>
                </a:cubicBezTo>
                <a:cubicBezTo>
                  <a:pt x="2358896" y="3366273"/>
                  <a:pt x="2367460" y="3368567"/>
                  <a:pt x="2376027" y="3370863"/>
                </a:cubicBezTo>
                <a:cubicBezTo>
                  <a:pt x="2376027" y="3370863"/>
                  <a:pt x="2373728" y="3379443"/>
                  <a:pt x="2371428" y="3388026"/>
                </a:cubicBezTo>
                <a:cubicBezTo>
                  <a:pt x="2362861" y="3385730"/>
                  <a:pt x="2321705" y="3402298"/>
                  <a:pt x="2328604" y="3376551"/>
                </a:cubicBezTo>
                <a:cubicBezTo>
                  <a:pt x="2337168" y="3378846"/>
                  <a:pt x="2337168" y="3378846"/>
                  <a:pt x="2354297" y="3383435"/>
                </a:cubicBezTo>
                <a:cubicBezTo>
                  <a:pt x="2356597" y="3374852"/>
                  <a:pt x="2337168" y="3378846"/>
                  <a:pt x="2350331" y="3363978"/>
                </a:cubicBezTo>
                <a:cubicBezTo>
                  <a:pt x="2337168" y="3378846"/>
                  <a:pt x="2316074" y="3354799"/>
                  <a:pt x="2320673" y="3337634"/>
                </a:cubicBezTo>
                <a:cubicBezTo>
                  <a:pt x="2333202" y="3359388"/>
                  <a:pt x="2331537" y="3331346"/>
                  <a:pt x="2346366" y="3344518"/>
                </a:cubicBezTo>
                <a:cubicBezTo>
                  <a:pt x="2354931" y="3346813"/>
                  <a:pt x="2359530" y="3329647"/>
                  <a:pt x="2359530" y="3329647"/>
                </a:cubicBezTo>
                <a:cubicBezTo>
                  <a:pt x="2361830" y="3321065"/>
                  <a:pt x="2406954" y="3323957"/>
                  <a:pt x="2396090" y="3330245"/>
                </a:cubicBezTo>
                <a:cubicBezTo>
                  <a:pt x="2396090" y="3330245"/>
                  <a:pt x="2406954" y="3323957"/>
                  <a:pt x="2398390" y="3321662"/>
                </a:cubicBezTo>
                <a:cubicBezTo>
                  <a:pt x="2417817" y="3317672"/>
                  <a:pt x="2443511" y="3324557"/>
                  <a:pt x="2450410" y="3298809"/>
                </a:cubicBezTo>
                <a:cubicBezTo>
                  <a:pt x="2512663" y="3306291"/>
                  <a:pt x="2553822" y="3289723"/>
                  <a:pt x="2597278" y="3264575"/>
                </a:cubicBezTo>
                <a:cubicBezTo>
                  <a:pt x="2626938" y="3290920"/>
                  <a:pt x="2660164" y="3235435"/>
                  <a:pt x="2689823" y="3261776"/>
                </a:cubicBezTo>
                <a:cubicBezTo>
                  <a:pt x="2692122" y="3253196"/>
                  <a:pt x="2683558" y="3250901"/>
                  <a:pt x="2677293" y="3240024"/>
                </a:cubicBezTo>
                <a:cubicBezTo>
                  <a:pt x="2685858" y="3242319"/>
                  <a:pt x="2720118" y="3251499"/>
                  <a:pt x="2724717" y="3234334"/>
                </a:cubicBezTo>
                <a:cubicBezTo>
                  <a:pt x="2733282" y="3236629"/>
                  <a:pt x="2730982" y="3245211"/>
                  <a:pt x="2730982" y="3245211"/>
                </a:cubicBezTo>
                <a:cubicBezTo>
                  <a:pt x="2739546" y="3247506"/>
                  <a:pt x="2758975" y="3243513"/>
                  <a:pt x="2752710" y="3232636"/>
                </a:cubicBezTo>
                <a:cubicBezTo>
                  <a:pt x="2755010" y="3224053"/>
                  <a:pt x="2818928" y="3259578"/>
                  <a:pt x="2830426" y="3216668"/>
                </a:cubicBezTo>
                <a:cubicBezTo>
                  <a:pt x="2851523" y="3240715"/>
                  <a:pt x="2869285" y="3208683"/>
                  <a:pt x="2903543" y="3217862"/>
                </a:cubicBezTo>
                <a:cubicBezTo>
                  <a:pt x="2905843" y="3209279"/>
                  <a:pt x="2897278" y="3206984"/>
                  <a:pt x="2899578" y="3198402"/>
                </a:cubicBezTo>
                <a:cubicBezTo>
                  <a:pt x="2938437" y="3190419"/>
                  <a:pt x="2985225" y="3221351"/>
                  <a:pt x="2992123" y="3195606"/>
                </a:cubicBezTo>
                <a:cubicBezTo>
                  <a:pt x="3009252" y="3200195"/>
                  <a:pt x="3009252" y="3200195"/>
                  <a:pt x="3026383" y="3204786"/>
                </a:cubicBezTo>
                <a:cubicBezTo>
                  <a:pt x="3020119" y="3193908"/>
                  <a:pt x="3011552" y="3191613"/>
                  <a:pt x="3022418" y="3185326"/>
                </a:cubicBezTo>
                <a:cubicBezTo>
                  <a:pt x="3034948" y="3207080"/>
                  <a:pt x="3065243" y="3196801"/>
                  <a:pt x="3069842" y="3179635"/>
                </a:cubicBezTo>
                <a:cubicBezTo>
                  <a:pt x="3112664" y="3191110"/>
                  <a:pt x="3140660" y="3189412"/>
                  <a:pt x="3156122" y="3165962"/>
                </a:cubicBezTo>
                <a:cubicBezTo>
                  <a:pt x="3168653" y="3187714"/>
                  <a:pt x="3186415" y="3155681"/>
                  <a:pt x="3209811" y="3171149"/>
                </a:cubicBezTo>
                <a:cubicBezTo>
                  <a:pt x="3194979" y="3157976"/>
                  <a:pt x="3254933" y="3174041"/>
                  <a:pt x="3269762" y="3187213"/>
                </a:cubicBezTo>
                <a:cubicBezTo>
                  <a:pt x="3252633" y="3182623"/>
                  <a:pt x="3230905" y="3195199"/>
                  <a:pt x="3207512" y="3179732"/>
                </a:cubicBezTo>
                <a:cubicBezTo>
                  <a:pt x="3211477" y="3199189"/>
                  <a:pt x="3233205" y="3186616"/>
                  <a:pt x="3237170" y="3206073"/>
                </a:cubicBezTo>
                <a:cubicBezTo>
                  <a:pt x="3248034" y="3199788"/>
                  <a:pt x="3258898" y="3193501"/>
                  <a:pt x="3267462" y="3195795"/>
                </a:cubicBezTo>
                <a:cubicBezTo>
                  <a:pt x="3278329" y="3189508"/>
                  <a:pt x="3269762" y="3187213"/>
                  <a:pt x="3278329" y="3189508"/>
                </a:cubicBezTo>
                <a:cubicBezTo>
                  <a:pt x="3280628" y="3180926"/>
                  <a:pt x="3272062" y="3178630"/>
                  <a:pt x="3269762" y="3187213"/>
                </a:cubicBezTo>
                <a:cubicBezTo>
                  <a:pt x="3263497" y="3176336"/>
                  <a:pt x="3274361" y="3170048"/>
                  <a:pt x="3276661" y="3161465"/>
                </a:cubicBezTo>
                <a:close/>
                <a:moveTo>
                  <a:pt x="5392312" y="3160691"/>
                </a:moveTo>
                <a:lnTo>
                  <a:pt x="5390028" y="3169217"/>
                </a:lnTo>
                <a:cubicBezTo>
                  <a:pt x="5390028" y="3169217"/>
                  <a:pt x="5381482" y="3166927"/>
                  <a:pt x="5381482" y="3166927"/>
                </a:cubicBezTo>
                <a:cubicBezTo>
                  <a:pt x="5372938" y="3164637"/>
                  <a:pt x="5383766" y="3158401"/>
                  <a:pt x="5392312" y="3160691"/>
                </a:cubicBezTo>
                <a:close/>
                <a:moveTo>
                  <a:pt x="2484761" y="3157187"/>
                </a:moveTo>
                <a:cubicBezTo>
                  <a:pt x="2489904" y="3158565"/>
                  <a:pt x="2495523" y="3162276"/>
                  <a:pt x="2495523" y="3162276"/>
                </a:cubicBezTo>
                <a:cubicBezTo>
                  <a:pt x="2493319" y="3170503"/>
                  <a:pt x="2479068" y="3157867"/>
                  <a:pt x="2476864" y="3166094"/>
                </a:cubicBezTo>
                <a:cubicBezTo>
                  <a:pt x="2474953" y="3156764"/>
                  <a:pt x="2479619" y="3155809"/>
                  <a:pt x="2484761" y="3157187"/>
                </a:cubicBezTo>
                <a:close/>
                <a:moveTo>
                  <a:pt x="6720896" y="3156911"/>
                </a:moveTo>
                <a:cubicBezTo>
                  <a:pt x="6737351" y="3161320"/>
                  <a:pt x="6723979" y="3178315"/>
                  <a:pt x="6723979" y="3178315"/>
                </a:cubicBezTo>
                <a:cubicBezTo>
                  <a:pt x="6704952" y="3183504"/>
                  <a:pt x="6726552" y="3168714"/>
                  <a:pt x="6720896" y="3156911"/>
                </a:cubicBezTo>
                <a:close/>
                <a:moveTo>
                  <a:pt x="5703379" y="3153223"/>
                </a:moveTo>
                <a:cubicBezTo>
                  <a:pt x="5701175" y="3161451"/>
                  <a:pt x="5713811" y="3147200"/>
                  <a:pt x="5719834" y="3157632"/>
                </a:cubicBezTo>
                <a:cubicBezTo>
                  <a:pt x="5717630" y="3165860"/>
                  <a:pt x="5698970" y="3169678"/>
                  <a:pt x="5692947" y="3159246"/>
                </a:cubicBezTo>
                <a:cubicBezTo>
                  <a:pt x="5701175" y="3161451"/>
                  <a:pt x="5703379" y="3153223"/>
                  <a:pt x="5703379" y="3153223"/>
                </a:cubicBezTo>
                <a:close/>
                <a:moveTo>
                  <a:pt x="6256478" y="3151562"/>
                </a:moveTo>
                <a:lnTo>
                  <a:pt x="6256512" y="3151604"/>
                </a:lnTo>
                <a:lnTo>
                  <a:pt x="6254340" y="3153884"/>
                </a:lnTo>
                <a:cubicBezTo>
                  <a:pt x="6254983" y="3151484"/>
                  <a:pt x="6255658" y="3151021"/>
                  <a:pt x="6256478" y="3151562"/>
                </a:cubicBezTo>
                <a:close/>
                <a:moveTo>
                  <a:pt x="6008171" y="3151120"/>
                </a:moveTo>
                <a:cubicBezTo>
                  <a:pt x="6016398" y="3153324"/>
                  <a:pt x="6003762" y="3167575"/>
                  <a:pt x="6011989" y="3169779"/>
                </a:cubicBezTo>
                <a:cubicBezTo>
                  <a:pt x="6001557" y="3175802"/>
                  <a:pt x="5997738" y="3157143"/>
                  <a:pt x="6008171" y="3151120"/>
                </a:cubicBezTo>
                <a:close/>
                <a:moveTo>
                  <a:pt x="3305661" y="3150080"/>
                </a:moveTo>
                <a:cubicBezTo>
                  <a:pt x="3313888" y="3152285"/>
                  <a:pt x="3311133" y="3162570"/>
                  <a:pt x="3319360" y="3164774"/>
                </a:cubicBezTo>
                <a:cubicBezTo>
                  <a:pt x="3311133" y="3162570"/>
                  <a:pt x="3291922" y="3168446"/>
                  <a:pt x="3286450" y="3155956"/>
                </a:cubicBezTo>
                <a:cubicBezTo>
                  <a:pt x="3286450" y="3155956"/>
                  <a:pt x="3294677" y="3158161"/>
                  <a:pt x="3294677" y="3158161"/>
                </a:cubicBezTo>
                <a:cubicBezTo>
                  <a:pt x="3302905" y="3160365"/>
                  <a:pt x="3305661" y="3150080"/>
                  <a:pt x="3305661" y="3150080"/>
                </a:cubicBezTo>
                <a:close/>
                <a:moveTo>
                  <a:pt x="6035058" y="3149506"/>
                </a:moveTo>
                <a:cubicBezTo>
                  <a:pt x="6041081" y="3159938"/>
                  <a:pt x="6032853" y="3157733"/>
                  <a:pt x="6032853" y="3157733"/>
                </a:cubicBezTo>
                <a:lnTo>
                  <a:pt x="6029546" y="3170073"/>
                </a:lnTo>
                <a:lnTo>
                  <a:pt x="6027764" y="3168496"/>
                </a:lnTo>
                <a:cubicBezTo>
                  <a:pt x="6025434" y="3168972"/>
                  <a:pt x="6024331" y="3173087"/>
                  <a:pt x="6026239" y="3182416"/>
                </a:cubicBezTo>
                <a:cubicBezTo>
                  <a:pt x="6009784" y="3178007"/>
                  <a:pt x="6026830" y="3147301"/>
                  <a:pt x="6035058" y="3149506"/>
                </a:cubicBezTo>
                <a:close/>
                <a:moveTo>
                  <a:pt x="7644606" y="3148689"/>
                </a:moveTo>
                <a:cubicBezTo>
                  <a:pt x="7650508" y="3145860"/>
                  <a:pt x="7657709" y="3147790"/>
                  <a:pt x="7663157" y="3151455"/>
                </a:cubicBezTo>
                <a:cubicBezTo>
                  <a:pt x="7668605" y="3155120"/>
                  <a:pt x="7672302" y="3160518"/>
                  <a:pt x="7671199" y="3164633"/>
                </a:cubicBezTo>
                <a:cubicBezTo>
                  <a:pt x="7649798" y="3167717"/>
                  <a:pt x="7666010" y="3145606"/>
                  <a:pt x="7644606" y="3148689"/>
                </a:cubicBezTo>
                <a:close/>
                <a:moveTo>
                  <a:pt x="2433173" y="3148141"/>
                </a:moveTo>
                <a:cubicBezTo>
                  <a:pt x="2446158" y="3149048"/>
                  <a:pt x="2462613" y="3153457"/>
                  <a:pt x="2470841" y="3155662"/>
                </a:cubicBezTo>
                <a:cubicBezTo>
                  <a:pt x="2463124" y="3184460"/>
                  <a:pt x="2421475" y="3142435"/>
                  <a:pt x="2416331" y="3161634"/>
                </a:cubicBezTo>
                <a:cubicBezTo>
                  <a:pt x="2410675" y="3149830"/>
                  <a:pt x="2420189" y="3147234"/>
                  <a:pt x="2433173" y="3148141"/>
                </a:cubicBezTo>
                <a:close/>
                <a:moveTo>
                  <a:pt x="6253862" y="3145387"/>
                </a:moveTo>
                <a:lnTo>
                  <a:pt x="6244349" y="3151940"/>
                </a:lnTo>
                <a:cubicBezTo>
                  <a:pt x="6235805" y="3149651"/>
                  <a:pt x="6236403" y="3147422"/>
                  <a:pt x="6240205" y="3146052"/>
                </a:cubicBezTo>
                <a:close/>
                <a:moveTo>
                  <a:pt x="6254465" y="3144971"/>
                </a:moveTo>
                <a:lnTo>
                  <a:pt x="6255283" y="3145318"/>
                </a:lnTo>
                <a:lnTo>
                  <a:pt x="6253862" y="3145387"/>
                </a:lnTo>
                <a:close/>
                <a:moveTo>
                  <a:pt x="6339413" y="3142874"/>
                </a:moveTo>
                <a:cubicBezTo>
                  <a:pt x="6343012" y="3143838"/>
                  <a:pt x="6347812" y="3145124"/>
                  <a:pt x="6358512" y="3143582"/>
                </a:cubicBezTo>
                <a:cubicBezTo>
                  <a:pt x="6356308" y="3151810"/>
                  <a:pt x="6348914" y="3141010"/>
                  <a:pt x="6346709" y="3149238"/>
                </a:cubicBezTo>
                <a:cubicBezTo>
                  <a:pt x="6344505" y="3157465"/>
                  <a:pt x="6327510" y="3144094"/>
                  <a:pt x="6327510" y="3144094"/>
                </a:cubicBezTo>
                <a:cubicBezTo>
                  <a:pt x="6333413" y="3141266"/>
                  <a:pt x="6335813" y="3141909"/>
                  <a:pt x="6339413" y="3142874"/>
                </a:cubicBezTo>
                <a:close/>
                <a:moveTo>
                  <a:pt x="6265077" y="3142613"/>
                </a:moveTo>
                <a:cubicBezTo>
                  <a:pt x="6273240" y="3140942"/>
                  <a:pt x="6284168" y="3141298"/>
                  <a:pt x="6292395" y="3143503"/>
                </a:cubicBezTo>
                <a:cubicBezTo>
                  <a:pt x="6281596" y="3150897"/>
                  <a:pt x="6289823" y="3153101"/>
                  <a:pt x="6298051" y="3155306"/>
                </a:cubicBezTo>
                <a:lnTo>
                  <a:pt x="6289931" y="3161582"/>
                </a:lnTo>
                <a:lnTo>
                  <a:pt x="6311364" y="3167325"/>
                </a:lnTo>
                <a:lnTo>
                  <a:pt x="6312393" y="3167600"/>
                </a:lnTo>
                <a:cubicBezTo>
                  <a:pt x="6299205" y="3183908"/>
                  <a:pt x="6326368" y="3181266"/>
                  <a:pt x="6323887" y="3190522"/>
                </a:cubicBezTo>
                <a:cubicBezTo>
                  <a:pt x="6329635" y="3201983"/>
                  <a:pt x="6301685" y="3174652"/>
                  <a:pt x="6304952" y="3195369"/>
                </a:cubicBezTo>
                <a:cubicBezTo>
                  <a:pt x="6302080" y="3189639"/>
                  <a:pt x="6298585" y="3186223"/>
                  <a:pt x="6295403" y="3181648"/>
                </a:cubicBezTo>
                <a:lnTo>
                  <a:pt x="6288379" y="3162782"/>
                </a:lnTo>
                <a:lnTo>
                  <a:pt x="6286929" y="3163902"/>
                </a:lnTo>
                <a:cubicBezTo>
                  <a:pt x="6283138" y="3161600"/>
                  <a:pt x="6280310" y="3155696"/>
                  <a:pt x="6281596" y="3150897"/>
                </a:cubicBezTo>
                <a:cubicBezTo>
                  <a:pt x="6273368" y="3148692"/>
                  <a:pt x="6281596" y="3150897"/>
                  <a:pt x="6270795" y="3158293"/>
                </a:cubicBezTo>
                <a:cubicBezTo>
                  <a:pt x="6265396" y="3161990"/>
                  <a:pt x="6261925" y="3158487"/>
                  <a:pt x="6259483" y="3155261"/>
                </a:cubicBezTo>
                <a:lnTo>
                  <a:pt x="6256512" y="3151604"/>
                </a:lnTo>
                <a:close/>
                <a:moveTo>
                  <a:pt x="8492163" y="3141023"/>
                </a:moveTo>
                <a:lnTo>
                  <a:pt x="8498521" y="3148218"/>
                </a:lnTo>
                <a:cubicBezTo>
                  <a:pt x="8494253" y="3147075"/>
                  <a:pt x="8492670" y="3144446"/>
                  <a:pt x="8492154" y="3142103"/>
                </a:cubicBezTo>
                <a:close/>
                <a:moveTo>
                  <a:pt x="6412286" y="3140355"/>
                </a:moveTo>
                <a:cubicBezTo>
                  <a:pt x="6421616" y="3138444"/>
                  <a:pt x="6419962" y="3144617"/>
                  <a:pt x="6414197" y="3149685"/>
                </a:cubicBezTo>
                <a:lnTo>
                  <a:pt x="6412774" y="3149854"/>
                </a:lnTo>
                <a:lnTo>
                  <a:pt x="6420844" y="3153671"/>
                </a:lnTo>
                <a:cubicBezTo>
                  <a:pt x="6423930" y="3154498"/>
                  <a:pt x="6425435" y="3157104"/>
                  <a:pt x="6422128" y="3169446"/>
                </a:cubicBezTo>
                <a:cubicBezTo>
                  <a:pt x="6419118" y="3164229"/>
                  <a:pt x="6415003" y="3163127"/>
                  <a:pt x="6412194" y="3161272"/>
                </a:cubicBezTo>
                <a:lnTo>
                  <a:pt x="6410343" y="3150144"/>
                </a:lnTo>
                <a:lnTo>
                  <a:pt x="6391422" y="3152401"/>
                </a:lnTo>
                <a:cubicBezTo>
                  <a:pt x="6393627" y="3144173"/>
                  <a:pt x="6401854" y="3146378"/>
                  <a:pt x="6412286" y="3140355"/>
                </a:cubicBezTo>
                <a:close/>
                <a:moveTo>
                  <a:pt x="7704698" y="3138336"/>
                </a:moveTo>
                <a:cubicBezTo>
                  <a:pt x="7702493" y="3146564"/>
                  <a:pt x="7702493" y="3146564"/>
                  <a:pt x="7694265" y="3144359"/>
                </a:cubicBezTo>
                <a:lnTo>
                  <a:pt x="7686038" y="3142155"/>
                </a:lnTo>
                <a:cubicBezTo>
                  <a:pt x="7694265" y="3144359"/>
                  <a:pt x="7696470" y="3136132"/>
                  <a:pt x="7704698" y="3138336"/>
                </a:cubicBezTo>
                <a:close/>
                <a:moveTo>
                  <a:pt x="8492190" y="3137704"/>
                </a:moveTo>
                <a:lnTo>
                  <a:pt x="8492163" y="3141023"/>
                </a:lnTo>
                <a:lnTo>
                  <a:pt x="8489366" y="3137858"/>
                </a:lnTo>
                <a:close/>
                <a:moveTo>
                  <a:pt x="6329714" y="3135866"/>
                </a:moveTo>
                <a:cubicBezTo>
                  <a:pt x="6325305" y="3152321"/>
                  <a:pt x="6317078" y="3150116"/>
                  <a:pt x="6323101" y="3160549"/>
                </a:cubicBezTo>
                <a:cubicBezTo>
                  <a:pt x="6306646" y="3156139"/>
                  <a:pt x="6317078" y="3150116"/>
                  <a:pt x="6298418" y="3153935"/>
                </a:cubicBezTo>
                <a:cubicBezTo>
                  <a:pt x="6300623" y="3145707"/>
                  <a:pt x="6300623" y="3145707"/>
                  <a:pt x="6292395" y="3143503"/>
                </a:cubicBezTo>
                <a:cubicBezTo>
                  <a:pt x="6311055" y="3139684"/>
                  <a:pt x="6311055" y="3139684"/>
                  <a:pt x="6329714" y="3135866"/>
                </a:cubicBezTo>
                <a:close/>
                <a:moveTo>
                  <a:pt x="8371833" y="3129156"/>
                </a:moveTo>
                <a:cubicBezTo>
                  <a:pt x="8379651" y="3128771"/>
                  <a:pt x="8385204" y="3132739"/>
                  <a:pt x="8385596" y="3147725"/>
                </a:cubicBezTo>
                <a:cubicBezTo>
                  <a:pt x="8366661" y="3152573"/>
                  <a:pt x="8352686" y="3138907"/>
                  <a:pt x="8344459" y="3136703"/>
                </a:cubicBezTo>
                <a:cubicBezTo>
                  <a:pt x="8353926" y="3134279"/>
                  <a:pt x="8364014" y="3129541"/>
                  <a:pt x="8371833" y="3129156"/>
                </a:cubicBezTo>
                <a:close/>
                <a:moveTo>
                  <a:pt x="6357363" y="3128943"/>
                </a:moveTo>
                <a:cubicBezTo>
                  <a:pt x="6366689" y="3130342"/>
                  <a:pt x="6377453" y="3135429"/>
                  <a:pt x="6385399" y="3141968"/>
                </a:cubicBezTo>
                <a:cubicBezTo>
                  <a:pt x="6376350" y="3139544"/>
                  <a:pt x="6374146" y="3147771"/>
                  <a:pt x="6374146" y="3147771"/>
                </a:cubicBezTo>
                <a:lnTo>
                  <a:pt x="6358512" y="3143582"/>
                </a:lnTo>
                <a:lnTo>
                  <a:pt x="6337942" y="3138071"/>
                </a:lnTo>
                <a:cubicBezTo>
                  <a:pt x="6340146" y="3129843"/>
                  <a:pt x="6348038" y="3127547"/>
                  <a:pt x="6357363" y="3128943"/>
                </a:cubicBezTo>
                <a:close/>
                <a:moveTo>
                  <a:pt x="7624333" y="3125621"/>
                </a:moveTo>
                <a:cubicBezTo>
                  <a:pt x="7632560" y="3127825"/>
                  <a:pt x="7640788" y="3130030"/>
                  <a:pt x="7649015" y="3132234"/>
                </a:cubicBezTo>
                <a:cubicBezTo>
                  <a:pt x="7638583" y="3138257"/>
                  <a:pt x="7619924" y="3142076"/>
                  <a:pt x="7624333" y="3125621"/>
                </a:cubicBezTo>
                <a:close/>
                <a:moveTo>
                  <a:pt x="6647896" y="3120814"/>
                </a:moveTo>
                <a:cubicBezTo>
                  <a:pt x="6653314" y="3121163"/>
                  <a:pt x="6659484" y="3122817"/>
                  <a:pt x="6663598" y="3123919"/>
                </a:cubicBezTo>
                <a:cubicBezTo>
                  <a:pt x="6653166" y="3129942"/>
                  <a:pt x="6650962" y="3138169"/>
                  <a:pt x="6636711" y="3125533"/>
                </a:cubicBezTo>
                <a:cubicBezTo>
                  <a:pt x="6637813" y="3121419"/>
                  <a:pt x="6642478" y="3120464"/>
                  <a:pt x="6647896" y="3120814"/>
                </a:cubicBezTo>
                <a:close/>
                <a:moveTo>
                  <a:pt x="593308" y="3119946"/>
                </a:moveTo>
                <a:cubicBezTo>
                  <a:pt x="590736" y="3129544"/>
                  <a:pt x="596392" y="3141346"/>
                  <a:pt x="593819" y="3150948"/>
                </a:cubicBezTo>
                <a:cubicBezTo>
                  <a:pt x="577364" y="3146539"/>
                  <a:pt x="590736" y="3129544"/>
                  <a:pt x="593308" y="3119946"/>
                </a:cubicBezTo>
                <a:close/>
                <a:moveTo>
                  <a:pt x="5980899" y="3117402"/>
                </a:moveTo>
                <a:lnTo>
                  <a:pt x="5984910" y="3124334"/>
                </a:lnTo>
                <a:lnTo>
                  <a:pt x="5978615" y="3125925"/>
                </a:lnTo>
                <a:close/>
                <a:moveTo>
                  <a:pt x="6245358" y="3113999"/>
                </a:moveTo>
                <a:cubicBezTo>
                  <a:pt x="6245358" y="3113999"/>
                  <a:pt x="6253902" y="3116288"/>
                  <a:pt x="6262448" y="3118578"/>
                </a:cubicBezTo>
                <a:cubicBezTo>
                  <a:pt x="6262448" y="3118578"/>
                  <a:pt x="6262448" y="3118578"/>
                  <a:pt x="6260060" y="3127490"/>
                </a:cubicBezTo>
                <a:cubicBezTo>
                  <a:pt x="6273381" y="3111953"/>
                  <a:pt x="6279536" y="3123157"/>
                  <a:pt x="6299011" y="3118821"/>
                </a:cubicBezTo>
                <a:cubicBezTo>
                  <a:pt x="6296623" y="3127735"/>
                  <a:pt x="6296623" y="3127735"/>
                  <a:pt x="6294235" y="3136647"/>
                </a:cubicBezTo>
                <a:cubicBezTo>
                  <a:pt x="6279536" y="3123157"/>
                  <a:pt x="6288079" y="3125446"/>
                  <a:pt x="6268604" y="3129779"/>
                </a:cubicBezTo>
                <a:cubicBezTo>
                  <a:pt x="6266216" y="3138693"/>
                  <a:pt x="6260748" y="3142005"/>
                  <a:pt x="6255579" y="3144203"/>
                </a:cubicBezTo>
                <a:lnTo>
                  <a:pt x="6254465" y="3144971"/>
                </a:lnTo>
                <a:lnTo>
                  <a:pt x="6239858" y="3138797"/>
                </a:lnTo>
                <a:cubicBezTo>
                  <a:pt x="6233922" y="3139595"/>
                  <a:pt x="6228456" y="3142904"/>
                  <a:pt x="6227262" y="3147362"/>
                </a:cubicBezTo>
                <a:cubicBezTo>
                  <a:pt x="6216330" y="3153986"/>
                  <a:pt x="6240582" y="3131825"/>
                  <a:pt x="6232038" y="3129536"/>
                </a:cubicBezTo>
                <a:cubicBezTo>
                  <a:pt x="6240582" y="3131825"/>
                  <a:pt x="6253902" y="3116288"/>
                  <a:pt x="6245358" y="3113999"/>
                </a:cubicBezTo>
                <a:close/>
                <a:moveTo>
                  <a:pt x="6125953" y="3108826"/>
                </a:moveTo>
                <a:cubicBezTo>
                  <a:pt x="6114656" y="3115720"/>
                  <a:pt x="6138624" y="3132062"/>
                  <a:pt x="6134768" y="3111188"/>
                </a:cubicBezTo>
                <a:cubicBezTo>
                  <a:pt x="6141104" y="3122806"/>
                  <a:pt x="6154880" y="3106656"/>
                  <a:pt x="6163696" y="3109018"/>
                </a:cubicBezTo>
                <a:cubicBezTo>
                  <a:pt x="6176364" y="3132254"/>
                  <a:pt x="6147439" y="3134425"/>
                  <a:pt x="6144959" y="3143681"/>
                </a:cubicBezTo>
                <a:cubicBezTo>
                  <a:pt x="6136143" y="3141319"/>
                  <a:pt x="6136143" y="3141319"/>
                  <a:pt x="6127327" y="3138956"/>
                </a:cubicBezTo>
                <a:cubicBezTo>
                  <a:pt x="6138624" y="3132062"/>
                  <a:pt x="6120992" y="3127338"/>
                  <a:pt x="6138624" y="3132062"/>
                </a:cubicBezTo>
                <a:cubicBezTo>
                  <a:pt x="6141104" y="3122806"/>
                  <a:pt x="6120992" y="3127338"/>
                  <a:pt x="6114656" y="3115720"/>
                </a:cubicBezTo>
                <a:cubicBezTo>
                  <a:pt x="6114656" y="3115720"/>
                  <a:pt x="6117137" y="3106463"/>
                  <a:pt x="6125953" y="3108826"/>
                </a:cubicBezTo>
                <a:close/>
                <a:moveTo>
                  <a:pt x="6183162" y="3106885"/>
                </a:moveTo>
                <a:cubicBezTo>
                  <a:pt x="6191706" y="3109174"/>
                  <a:pt x="6191706" y="3109174"/>
                  <a:pt x="6191706" y="3109174"/>
                </a:cubicBezTo>
                <a:cubicBezTo>
                  <a:pt x="6200252" y="3111464"/>
                  <a:pt x="6200252" y="3111464"/>
                  <a:pt x="6189317" y="3118089"/>
                </a:cubicBezTo>
                <a:cubicBezTo>
                  <a:pt x="6208795" y="3113753"/>
                  <a:pt x="6217339" y="3116043"/>
                  <a:pt x="6214950" y="3124957"/>
                </a:cubicBezTo>
                <a:cubicBezTo>
                  <a:pt x="6223495" y="3127246"/>
                  <a:pt x="6245358" y="3113999"/>
                  <a:pt x="6232038" y="3129536"/>
                </a:cubicBezTo>
                <a:cubicBezTo>
                  <a:pt x="6226573" y="3132848"/>
                  <a:pt x="6222300" y="3131703"/>
                  <a:pt x="6215593" y="3131101"/>
                </a:cubicBezTo>
                <a:lnTo>
                  <a:pt x="6187369" y="3135475"/>
                </a:lnTo>
                <a:lnTo>
                  <a:pt x="6190311" y="3139857"/>
                </a:lnTo>
                <a:cubicBezTo>
                  <a:pt x="6192700" y="3141222"/>
                  <a:pt x="6196077" y="3140966"/>
                  <a:pt x="6201353" y="3137725"/>
                </a:cubicBezTo>
                <a:cubicBezTo>
                  <a:pt x="6199026" y="3146409"/>
                  <a:pt x="6199026" y="3146409"/>
                  <a:pt x="6190799" y="3144204"/>
                </a:cubicBezTo>
                <a:cubicBezTo>
                  <a:pt x="6188471" y="3152891"/>
                  <a:pt x="6207254" y="3148613"/>
                  <a:pt x="6207254" y="3148613"/>
                </a:cubicBezTo>
                <a:cubicBezTo>
                  <a:pt x="6215481" y="3150818"/>
                  <a:pt x="6196699" y="3155095"/>
                  <a:pt x="6196699" y="3155095"/>
                </a:cubicBezTo>
                <a:cubicBezTo>
                  <a:pt x="6196699" y="3155095"/>
                  <a:pt x="6192045" y="3172465"/>
                  <a:pt x="6202600" y="3165983"/>
                </a:cubicBezTo>
                <a:cubicBezTo>
                  <a:pt x="6197946" y="3183353"/>
                  <a:pt x="6194372" y="3163778"/>
                  <a:pt x="6188471" y="3152891"/>
                </a:cubicBezTo>
                <a:cubicBezTo>
                  <a:pt x="6188471" y="3152891"/>
                  <a:pt x="6194372" y="3163778"/>
                  <a:pt x="6175590" y="3168056"/>
                </a:cubicBezTo>
                <a:lnTo>
                  <a:pt x="6182571" y="3142000"/>
                </a:lnTo>
                <a:cubicBezTo>
                  <a:pt x="6166116" y="3137590"/>
                  <a:pt x="6140353" y="3167921"/>
                  <a:pt x="6154481" y="3181014"/>
                </a:cubicBezTo>
                <a:cubicBezTo>
                  <a:pt x="6143926" y="3187495"/>
                  <a:pt x="6142679" y="3159237"/>
                  <a:pt x="6129799" y="3174400"/>
                </a:cubicBezTo>
                <a:cubicBezTo>
                  <a:pt x="6134452" y="3157033"/>
                  <a:pt x="6161462" y="3154960"/>
                  <a:pt x="6166116" y="3137590"/>
                </a:cubicBezTo>
                <a:cubicBezTo>
                  <a:pt x="6166116" y="3137590"/>
                  <a:pt x="6163789" y="3146277"/>
                  <a:pt x="6174344" y="3139795"/>
                </a:cubicBezTo>
                <a:cubicBezTo>
                  <a:pt x="6176671" y="3131112"/>
                  <a:pt x="6176671" y="3131112"/>
                  <a:pt x="6170770" y="3120221"/>
                </a:cubicBezTo>
                <a:cubicBezTo>
                  <a:pt x="6180161" y="3118085"/>
                  <a:pt x="6182531" y="3125700"/>
                  <a:pt x="6185189" y="3132230"/>
                </a:cubicBezTo>
                <a:lnTo>
                  <a:pt x="6185432" y="3132590"/>
                </a:lnTo>
                <a:lnTo>
                  <a:pt x="6186929" y="3127003"/>
                </a:lnTo>
                <a:cubicBezTo>
                  <a:pt x="6191706" y="3109174"/>
                  <a:pt x="6180774" y="3115799"/>
                  <a:pt x="6183162" y="3106885"/>
                </a:cubicBezTo>
                <a:close/>
                <a:moveTo>
                  <a:pt x="6075485" y="3106201"/>
                </a:moveTo>
                <a:cubicBezTo>
                  <a:pt x="6073201" y="3114724"/>
                  <a:pt x="6073201" y="3114724"/>
                  <a:pt x="6073201" y="3114724"/>
                </a:cubicBezTo>
                <a:cubicBezTo>
                  <a:pt x="6070917" y="3123250"/>
                  <a:pt x="6062373" y="3120961"/>
                  <a:pt x="6053827" y="3118671"/>
                </a:cubicBezTo>
                <a:cubicBezTo>
                  <a:pt x="6057805" y="3138009"/>
                  <a:pt x="6077179" y="3134063"/>
                  <a:pt x="6081747" y="3117014"/>
                </a:cubicBezTo>
                <a:cubicBezTo>
                  <a:pt x="6088007" y="3127829"/>
                  <a:pt x="6107381" y="3123883"/>
                  <a:pt x="6115927" y="3126173"/>
                </a:cubicBezTo>
                <a:cubicBezTo>
                  <a:pt x="6115927" y="3126173"/>
                  <a:pt x="6113643" y="3134698"/>
                  <a:pt x="6111359" y="3143221"/>
                </a:cubicBezTo>
                <a:cubicBezTo>
                  <a:pt x="6102813" y="3140931"/>
                  <a:pt x="6096553" y="3130119"/>
                  <a:pt x="6094269" y="3138642"/>
                </a:cubicBezTo>
                <a:cubicBezTo>
                  <a:pt x="6091985" y="3147167"/>
                  <a:pt x="6109075" y="3151747"/>
                  <a:pt x="6102813" y="3140931"/>
                </a:cubicBezTo>
                <a:cubicBezTo>
                  <a:pt x="6115335" y="3162559"/>
                  <a:pt x="6081155" y="3153401"/>
                  <a:pt x="6087417" y="3164216"/>
                </a:cubicBezTo>
                <a:cubicBezTo>
                  <a:pt x="6076586" y="3170452"/>
                  <a:pt x="6078870" y="3161926"/>
                  <a:pt x="6070327" y="3159637"/>
                </a:cubicBezTo>
                <a:cubicBezTo>
                  <a:pt x="6072611" y="3151111"/>
                  <a:pt x="6081155" y="3153401"/>
                  <a:pt x="6083439" y="3144877"/>
                </a:cubicBezTo>
                <a:cubicBezTo>
                  <a:pt x="6070327" y="3159637"/>
                  <a:pt x="6074895" y="3142588"/>
                  <a:pt x="6057805" y="3138009"/>
                </a:cubicBezTo>
                <a:cubicBezTo>
                  <a:pt x="6053237" y="3155058"/>
                  <a:pt x="6070327" y="3159637"/>
                  <a:pt x="6059496" y="3165872"/>
                </a:cubicBezTo>
                <a:cubicBezTo>
                  <a:pt x="6050953" y="3163583"/>
                  <a:pt x="6064065" y="3148821"/>
                  <a:pt x="6046975" y="3144242"/>
                </a:cubicBezTo>
                <a:cubicBezTo>
                  <a:pt x="6049259" y="3135719"/>
                  <a:pt x="6051543" y="3127193"/>
                  <a:pt x="6045281" y="3116381"/>
                </a:cubicBezTo>
                <a:cubicBezTo>
                  <a:pt x="6062373" y="3120961"/>
                  <a:pt x="6058395" y="3101622"/>
                  <a:pt x="6075485" y="3106201"/>
                </a:cubicBezTo>
                <a:close/>
                <a:moveTo>
                  <a:pt x="3522396" y="3098197"/>
                </a:moveTo>
                <a:cubicBezTo>
                  <a:pt x="3530943" y="3100487"/>
                  <a:pt x="3534917" y="3119827"/>
                  <a:pt x="3543464" y="3122117"/>
                </a:cubicBezTo>
                <a:cubicBezTo>
                  <a:pt x="3565123" y="3109646"/>
                  <a:pt x="3599302" y="3118804"/>
                  <a:pt x="3627220" y="3117149"/>
                </a:cubicBezTo>
                <a:cubicBezTo>
                  <a:pt x="3627220" y="3117149"/>
                  <a:pt x="3627220" y="3117149"/>
                  <a:pt x="3618676" y="3114860"/>
                </a:cubicBezTo>
                <a:cubicBezTo>
                  <a:pt x="3623244" y="3097812"/>
                  <a:pt x="3633483" y="3127962"/>
                  <a:pt x="3638050" y="3110914"/>
                </a:cubicBezTo>
                <a:cubicBezTo>
                  <a:pt x="3644310" y="3121729"/>
                  <a:pt x="3689320" y="3124652"/>
                  <a:pt x="3676798" y="3103024"/>
                </a:cubicBezTo>
                <a:cubicBezTo>
                  <a:pt x="3677940" y="3098764"/>
                  <a:pt x="3681643" y="3102039"/>
                  <a:pt x="3686412" y="3105600"/>
                </a:cubicBezTo>
                <a:cubicBezTo>
                  <a:pt x="3691182" y="3109164"/>
                  <a:pt x="3697019" y="3113011"/>
                  <a:pt x="3702434" y="3109893"/>
                </a:cubicBezTo>
                <a:cubicBezTo>
                  <a:pt x="3714956" y="3131521"/>
                  <a:pt x="3689320" y="3124652"/>
                  <a:pt x="3680777" y="3122362"/>
                </a:cubicBezTo>
                <a:cubicBezTo>
                  <a:pt x="3680777" y="3122362"/>
                  <a:pt x="3680777" y="3122362"/>
                  <a:pt x="3678492" y="3130888"/>
                </a:cubicBezTo>
                <a:lnTo>
                  <a:pt x="3682440" y="3134037"/>
                </a:lnTo>
                <a:lnTo>
                  <a:pt x="3693319" y="3134905"/>
                </a:lnTo>
                <a:lnTo>
                  <a:pt x="3691596" y="3141339"/>
                </a:lnTo>
                <a:lnTo>
                  <a:pt x="3693584" y="3142925"/>
                </a:lnTo>
                <a:cubicBezTo>
                  <a:pt x="3697000" y="3147268"/>
                  <a:pt x="3700701" y="3150542"/>
                  <a:pt x="3710388" y="3148569"/>
                </a:cubicBezTo>
                <a:cubicBezTo>
                  <a:pt x="3708104" y="3157095"/>
                  <a:pt x="3699557" y="3154805"/>
                  <a:pt x="3705819" y="3165620"/>
                </a:cubicBezTo>
                <a:cubicBezTo>
                  <a:pt x="3697273" y="3163330"/>
                  <a:pt x="3697273" y="3163330"/>
                  <a:pt x="3697273" y="3163330"/>
                </a:cubicBezTo>
                <a:cubicBezTo>
                  <a:pt x="3688729" y="3161041"/>
                  <a:pt x="3694989" y="3171853"/>
                  <a:pt x="3686446" y="3169564"/>
                </a:cubicBezTo>
                <a:cubicBezTo>
                  <a:pt x="3684162" y="3178089"/>
                  <a:pt x="3712080" y="3176432"/>
                  <a:pt x="3698967" y="3191192"/>
                </a:cubicBezTo>
                <a:cubicBezTo>
                  <a:pt x="3688137" y="3197427"/>
                  <a:pt x="3690421" y="3188902"/>
                  <a:pt x="3681878" y="3186613"/>
                </a:cubicBezTo>
                <a:cubicBezTo>
                  <a:pt x="3673331" y="3184323"/>
                  <a:pt x="3673331" y="3184323"/>
                  <a:pt x="3671047" y="3192848"/>
                </a:cubicBezTo>
                <a:cubicBezTo>
                  <a:pt x="3671047" y="3192848"/>
                  <a:pt x="3679593" y="3195138"/>
                  <a:pt x="3677309" y="3203661"/>
                </a:cubicBezTo>
                <a:cubicBezTo>
                  <a:pt x="3656241" y="3179743"/>
                  <a:pt x="3615209" y="3196159"/>
                  <a:pt x="3598119" y="3191579"/>
                </a:cubicBezTo>
                <a:cubicBezTo>
                  <a:pt x="3593552" y="3208628"/>
                  <a:pt x="3612924" y="3204684"/>
                  <a:pt x="3610641" y="3213207"/>
                </a:cubicBezTo>
                <a:cubicBezTo>
                  <a:pt x="3595835" y="3200105"/>
                  <a:pt x="3585005" y="3206338"/>
                  <a:pt x="3589574" y="3189290"/>
                </a:cubicBezTo>
                <a:cubicBezTo>
                  <a:pt x="3578744" y="3195526"/>
                  <a:pt x="3587288" y="3197815"/>
                  <a:pt x="3585005" y="3206338"/>
                </a:cubicBezTo>
                <a:cubicBezTo>
                  <a:pt x="3561656" y="3190947"/>
                  <a:pt x="3536018" y="3184078"/>
                  <a:pt x="3510385" y="3177209"/>
                </a:cubicBezTo>
                <a:cubicBezTo>
                  <a:pt x="3512669" y="3168683"/>
                  <a:pt x="3512669" y="3168683"/>
                  <a:pt x="3514954" y="3160158"/>
                </a:cubicBezTo>
                <a:cubicBezTo>
                  <a:pt x="3523497" y="3162447"/>
                  <a:pt x="3523497" y="3162447"/>
                  <a:pt x="3532044" y="3164737"/>
                </a:cubicBezTo>
                <a:cubicBezTo>
                  <a:pt x="3527475" y="3181788"/>
                  <a:pt x="3546849" y="3177842"/>
                  <a:pt x="3555394" y="3180131"/>
                </a:cubicBezTo>
                <a:cubicBezTo>
                  <a:pt x="3557678" y="3171606"/>
                  <a:pt x="3540588" y="3167026"/>
                  <a:pt x="3559961" y="3163083"/>
                </a:cubicBezTo>
                <a:cubicBezTo>
                  <a:pt x="3562246" y="3154557"/>
                  <a:pt x="3551417" y="3160793"/>
                  <a:pt x="3545156" y="3149978"/>
                </a:cubicBezTo>
                <a:cubicBezTo>
                  <a:pt x="3547439" y="3141455"/>
                  <a:pt x="3555986" y="3143745"/>
                  <a:pt x="3564529" y="3146034"/>
                </a:cubicBezTo>
                <a:cubicBezTo>
                  <a:pt x="3566814" y="3137509"/>
                  <a:pt x="3555986" y="3143745"/>
                  <a:pt x="3549724" y="3132929"/>
                </a:cubicBezTo>
                <a:cubicBezTo>
                  <a:pt x="3547439" y="3141455"/>
                  <a:pt x="3530349" y="3136876"/>
                  <a:pt x="3525781" y="3153924"/>
                </a:cubicBezTo>
                <a:cubicBezTo>
                  <a:pt x="3506408" y="3157868"/>
                  <a:pt x="3521806" y="3134586"/>
                  <a:pt x="3502432" y="3138530"/>
                </a:cubicBezTo>
                <a:cubicBezTo>
                  <a:pt x="3487033" y="3161814"/>
                  <a:pt x="3474511" y="3140187"/>
                  <a:pt x="3467659" y="3165761"/>
                </a:cubicBezTo>
                <a:lnTo>
                  <a:pt x="3469943" y="3157235"/>
                </a:lnTo>
                <a:cubicBezTo>
                  <a:pt x="3448285" y="3169704"/>
                  <a:pt x="3416389" y="3152023"/>
                  <a:pt x="3409537" y="3177594"/>
                </a:cubicBezTo>
                <a:cubicBezTo>
                  <a:pt x="3400991" y="3175304"/>
                  <a:pt x="3392447" y="3173015"/>
                  <a:pt x="3383901" y="3170725"/>
                </a:cubicBezTo>
                <a:cubicBezTo>
                  <a:pt x="3394731" y="3164492"/>
                  <a:pt x="3399299" y="3147444"/>
                  <a:pt x="3424933" y="3154312"/>
                </a:cubicBezTo>
                <a:cubicBezTo>
                  <a:pt x="3427217" y="3145786"/>
                  <a:pt x="3427217" y="3145786"/>
                  <a:pt x="3427217" y="3145786"/>
                </a:cubicBezTo>
                <a:cubicBezTo>
                  <a:pt x="3420958" y="3134972"/>
                  <a:pt x="3403868" y="3130392"/>
                  <a:pt x="3414695" y="3124159"/>
                </a:cubicBezTo>
                <a:cubicBezTo>
                  <a:pt x="3431785" y="3128738"/>
                  <a:pt x="3455138" y="3144130"/>
                  <a:pt x="3491601" y="3144766"/>
                </a:cubicBezTo>
                <a:cubicBezTo>
                  <a:pt x="3481364" y="3114612"/>
                  <a:pt x="3519522" y="3143109"/>
                  <a:pt x="3521806" y="3134586"/>
                </a:cubicBezTo>
                <a:cubicBezTo>
                  <a:pt x="3524090" y="3126061"/>
                  <a:pt x="3513259" y="3132296"/>
                  <a:pt x="3496169" y="3127717"/>
                </a:cubicBezTo>
                <a:cubicBezTo>
                  <a:pt x="3500738" y="3110669"/>
                  <a:pt x="3517827" y="3115248"/>
                  <a:pt x="3526374" y="3117538"/>
                </a:cubicBezTo>
                <a:cubicBezTo>
                  <a:pt x="3526374" y="3117538"/>
                  <a:pt x="3520112" y="3106723"/>
                  <a:pt x="3517827" y="3115248"/>
                </a:cubicBezTo>
                <a:cubicBezTo>
                  <a:pt x="3509284" y="3112959"/>
                  <a:pt x="3520112" y="3106723"/>
                  <a:pt x="3520112" y="3106723"/>
                </a:cubicBezTo>
                <a:cubicBezTo>
                  <a:pt x="3520112" y="3106723"/>
                  <a:pt x="3520112" y="3106723"/>
                  <a:pt x="3522396" y="3098197"/>
                </a:cubicBezTo>
                <a:close/>
                <a:moveTo>
                  <a:pt x="6597113" y="3097288"/>
                </a:moveTo>
                <a:cubicBezTo>
                  <a:pt x="6599754" y="3096343"/>
                  <a:pt x="6603792" y="3096873"/>
                  <a:pt x="6608247" y="3098067"/>
                </a:cubicBezTo>
                <a:cubicBezTo>
                  <a:pt x="6617162" y="3100456"/>
                  <a:pt x="6627753" y="3105499"/>
                  <a:pt x="6632210" y="3106693"/>
                </a:cubicBezTo>
                <a:cubicBezTo>
                  <a:pt x="6636713" y="3125536"/>
                  <a:pt x="6638917" y="3117308"/>
                  <a:pt x="6627801" y="3123148"/>
                </a:cubicBezTo>
                <a:cubicBezTo>
                  <a:pt x="6630006" y="3114920"/>
                  <a:pt x="6621092" y="3112532"/>
                  <a:pt x="6614382" y="3101916"/>
                </a:cubicBezTo>
                <a:cubicBezTo>
                  <a:pt x="6603266" y="3107755"/>
                  <a:pt x="6612177" y="3110143"/>
                  <a:pt x="6594352" y="3105367"/>
                </a:cubicBezTo>
                <a:cubicBezTo>
                  <a:pt x="6593225" y="3100656"/>
                  <a:pt x="6594471" y="3098234"/>
                  <a:pt x="6597113" y="3097288"/>
                </a:cubicBezTo>
                <a:close/>
                <a:moveTo>
                  <a:pt x="8272048" y="3096353"/>
                </a:moveTo>
                <a:cubicBezTo>
                  <a:pt x="8287107" y="3110087"/>
                  <a:pt x="8304591" y="3114772"/>
                  <a:pt x="8330816" y="3121799"/>
                </a:cubicBezTo>
                <a:cubicBezTo>
                  <a:pt x="8328390" y="3130850"/>
                  <a:pt x="8319649" y="3128508"/>
                  <a:pt x="8322075" y="3119457"/>
                </a:cubicBezTo>
                <a:cubicBezTo>
                  <a:pt x="8310906" y="3126166"/>
                  <a:pt x="8308481" y="3135217"/>
                  <a:pt x="8293423" y="3121481"/>
                </a:cubicBezTo>
                <a:cubicBezTo>
                  <a:pt x="8288573" y="3139581"/>
                  <a:pt x="8299740" y="3132875"/>
                  <a:pt x="8308481" y="3135217"/>
                </a:cubicBezTo>
                <a:cubicBezTo>
                  <a:pt x="8303631" y="3153318"/>
                  <a:pt x="8290997" y="3130532"/>
                  <a:pt x="8279832" y="3137239"/>
                </a:cubicBezTo>
                <a:cubicBezTo>
                  <a:pt x="8282257" y="3128190"/>
                  <a:pt x="8275938" y="3116796"/>
                  <a:pt x="8256029" y="3121163"/>
                </a:cubicBezTo>
                <a:cubicBezTo>
                  <a:pt x="8269624" y="3105402"/>
                  <a:pt x="8267198" y="3114454"/>
                  <a:pt x="8272048" y="3096353"/>
                </a:cubicBezTo>
                <a:close/>
                <a:moveTo>
                  <a:pt x="7258127" y="3093632"/>
                </a:moveTo>
                <a:cubicBezTo>
                  <a:pt x="7266355" y="3095836"/>
                  <a:pt x="7261946" y="3112291"/>
                  <a:pt x="7253718" y="3110087"/>
                </a:cubicBezTo>
                <a:cubicBezTo>
                  <a:pt x="7247696" y="3099655"/>
                  <a:pt x="7255923" y="3101859"/>
                  <a:pt x="7258127" y="3093632"/>
                </a:cubicBezTo>
                <a:close/>
                <a:moveTo>
                  <a:pt x="6462777" y="3091789"/>
                </a:moveTo>
                <a:cubicBezTo>
                  <a:pt x="6471648" y="3091594"/>
                  <a:pt x="6477818" y="3093248"/>
                  <a:pt x="6475245" y="3102849"/>
                </a:cubicBezTo>
                <a:cubicBezTo>
                  <a:pt x="6458790" y="3098440"/>
                  <a:pt x="6450563" y="3096235"/>
                  <a:pt x="6439763" y="3103629"/>
                </a:cubicBezTo>
                <a:cubicBezTo>
                  <a:pt x="6450563" y="3096235"/>
                  <a:pt x="6431536" y="3101424"/>
                  <a:pt x="6434108" y="3091826"/>
                </a:cubicBezTo>
                <a:cubicBezTo>
                  <a:pt x="6442335" y="3094030"/>
                  <a:pt x="6453907" y="3091984"/>
                  <a:pt x="6462777" y="3091789"/>
                </a:cubicBezTo>
                <a:close/>
                <a:moveTo>
                  <a:pt x="6052133" y="3090807"/>
                </a:moveTo>
                <a:cubicBezTo>
                  <a:pt x="6060679" y="3093097"/>
                  <a:pt x="6058395" y="3101622"/>
                  <a:pt x="6058395" y="3101622"/>
                </a:cubicBezTo>
                <a:cubicBezTo>
                  <a:pt x="6066942" y="3103912"/>
                  <a:pt x="6047565" y="3107855"/>
                  <a:pt x="6045281" y="3116381"/>
                </a:cubicBezTo>
                <a:cubicBezTo>
                  <a:pt x="6025907" y="3120324"/>
                  <a:pt x="6040713" y="3133429"/>
                  <a:pt x="6038429" y="3141952"/>
                </a:cubicBezTo>
                <a:cubicBezTo>
                  <a:pt x="6021339" y="3137373"/>
                  <a:pt x="6008226" y="3152135"/>
                  <a:pt x="5984875" y="3136740"/>
                </a:cubicBezTo>
                <a:cubicBezTo>
                  <a:pt x="5987159" y="3128214"/>
                  <a:pt x="6001964" y="3141319"/>
                  <a:pt x="6012795" y="3135084"/>
                </a:cubicBezTo>
                <a:cubicBezTo>
                  <a:pt x="6005390" y="3128533"/>
                  <a:pt x="5995705" y="3130504"/>
                  <a:pt x="5988725" y="3130920"/>
                </a:cubicBezTo>
                <a:lnTo>
                  <a:pt x="5984910" y="3124334"/>
                </a:lnTo>
                <a:lnTo>
                  <a:pt x="6009313" y="3118164"/>
                </a:lnTo>
                <a:cubicBezTo>
                  <a:pt x="6016367" y="3113200"/>
                  <a:pt x="6020789" y="3105249"/>
                  <a:pt x="6024215" y="3092464"/>
                </a:cubicBezTo>
                <a:cubicBezTo>
                  <a:pt x="6030475" y="3103276"/>
                  <a:pt x="6028191" y="3111801"/>
                  <a:pt x="6025907" y="3120324"/>
                </a:cubicBezTo>
                <a:cubicBezTo>
                  <a:pt x="6032169" y="3131140"/>
                  <a:pt x="6047565" y="3107855"/>
                  <a:pt x="6030475" y="3103276"/>
                </a:cubicBezTo>
                <a:cubicBezTo>
                  <a:pt x="6041305" y="3097043"/>
                  <a:pt x="6053827" y="3118671"/>
                  <a:pt x="6052133" y="3090807"/>
                </a:cubicBezTo>
                <a:close/>
                <a:moveTo>
                  <a:pt x="8212418" y="3090574"/>
                </a:moveTo>
                <a:cubicBezTo>
                  <a:pt x="8215848" y="3090115"/>
                  <a:pt x="8219962" y="3091218"/>
                  <a:pt x="8228189" y="3093422"/>
                </a:cubicBezTo>
                <a:cubicBezTo>
                  <a:pt x="8222678" y="3113992"/>
                  <a:pt x="8206223" y="3109583"/>
                  <a:pt x="8200751" y="3097094"/>
                </a:cubicBezTo>
                <a:cubicBezTo>
                  <a:pt x="8206242" y="3093054"/>
                  <a:pt x="8208988" y="3091033"/>
                  <a:pt x="8212418" y="3090574"/>
                </a:cubicBezTo>
                <a:close/>
                <a:moveTo>
                  <a:pt x="3874517" y="3082912"/>
                </a:moveTo>
                <a:cubicBezTo>
                  <a:pt x="3891606" y="3087491"/>
                  <a:pt x="3910981" y="3083545"/>
                  <a:pt x="3936617" y="3090414"/>
                </a:cubicBezTo>
                <a:cubicBezTo>
                  <a:pt x="3923502" y="3105173"/>
                  <a:pt x="3914959" y="3102884"/>
                  <a:pt x="3912675" y="3111409"/>
                </a:cubicBezTo>
                <a:cubicBezTo>
                  <a:pt x="3908973" y="3108133"/>
                  <a:pt x="3906588" y="3106352"/>
                  <a:pt x="3904959" y="3105487"/>
                </a:cubicBezTo>
                <a:lnTo>
                  <a:pt x="3903691" y="3105318"/>
                </a:lnTo>
                <a:lnTo>
                  <a:pt x="3890392" y="3096301"/>
                </a:lnTo>
                <a:cubicBezTo>
                  <a:pt x="3883486" y="3092167"/>
                  <a:pt x="3877648" y="3088319"/>
                  <a:pt x="3874517" y="3082912"/>
                </a:cubicBezTo>
                <a:close/>
                <a:moveTo>
                  <a:pt x="2737586" y="3081637"/>
                </a:moveTo>
                <a:cubicBezTo>
                  <a:pt x="2743425" y="3092756"/>
                  <a:pt x="2732809" y="3099463"/>
                  <a:pt x="2757492" y="3106076"/>
                </a:cubicBezTo>
                <a:cubicBezTo>
                  <a:pt x="2741037" y="3101667"/>
                  <a:pt x="2725644" y="3126203"/>
                  <a:pt x="2700962" y="3119589"/>
                </a:cubicBezTo>
                <a:cubicBezTo>
                  <a:pt x="2692735" y="3117385"/>
                  <a:pt x="2695122" y="3108473"/>
                  <a:pt x="2690346" y="3126299"/>
                </a:cubicBezTo>
                <a:cubicBezTo>
                  <a:pt x="2684507" y="3115180"/>
                  <a:pt x="2697511" y="3099559"/>
                  <a:pt x="2699900" y="3090644"/>
                </a:cubicBezTo>
                <a:cubicBezTo>
                  <a:pt x="2716355" y="3095054"/>
                  <a:pt x="2726970" y="3088346"/>
                  <a:pt x="2737586" y="3081637"/>
                </a:cubicBezTo>
                <a:close/>
                <a:moveTo>
                  <a:pt x="8268791" y="3079661"/>
                </a:moveTo>
                <a:lnTo>
                  <a:pt x="8267795" y="3086396"/>
                </a:lnTo>
                <a:cubicBezTo>
                  <a:pt x="8266693" y="3090508"/>
                  <a:pt x="8265111" y="3087882"/>
                  <a:pt x="8264870" y="3084509"/>
                </a:cubicBezTo>
                <a:close/>
                <a:moveTo>
                  <a:pt x="5936482" y="3078091"/>
                </a:moveTo>
                <a:cubicBezTo>
                  <a:pt x="5945025" y="3080380"/>
                  <a:pt x="5942741" y="3088905"/>
                  <a:pt x="5940457" y="3097428"/>
                </a:cubicBezTo>
                <a:lnTo>
                  <a:pt x="5931914" y="3095139"/>
                </a:lnTo>
                <a:cubicBezTo>
                  <a:pt x="5942741" y="3088905"/>
                  <a:pt x="5934197" y="3086616"/>
                  <a:pt x="5936482" y="3078091"/>
                </a:cubicBezTo>
                <a:close/>
                <a:moveTo>
                  <a:pt x="8269066" y="3077807"/>
                </a:moveTo>
                <a:lnTo>
                  <a:pt x="8270000" y="3078168"/>
                </a:lnTo>
                <a:lnTo>
                  <a:pt x="8268791" y="3079661"/>
                </a:lnTo>
                <a:close/>
                <a:moveTo>
                  <a:pt x="6037342" y="3075161"/>
                </a:moveTo>
                <a:cubicBezTo>
                  <a:pt x="6037342" y="3075161"/>
                  <a:pt x="6045569" y="3077366"/>
                  <a:pt x="6053797" y="3079571"/>
                </a:cubicBezTo>
                <a:cubicBezTo>
                  <a:pt x="6042813" y="3087651"/>
                  <a:pt x="6042813" y="3087651"/>
                  <a:pt x="6040058" y="3097936"/>
                </a:cubicBezTo>
                <a:cubicBezTo>
                  <a:pt x="6031830" y="3095732"/>
                  <a:pt x="6026358" y="3083242"/>
                  <a:pt x="6037342" y="3075161"/>
                </a:cubicBezTo>
                <a:close/>
                <a:moveTo>
                  <a:pt x="2952254" y="3074299"/>
                </a:moveTo>
                <a:cubicBezTo>
                  <a:pt x="2966985" y="3087411"/>
                  <a:pt x="2960766" y="3076580"/>
                  <a:pt x="2958475" y="3085131"/>
                </a:cubicBezTo>
                <a:cubicBezTo>
                  <a:pt x="2956183" y="3093683"/>
                  <a:pt x="2949962" y="3082850"/>
                  <a:pt x="2952254" y="3074299"/>
                </a:cubicBezTo>
                <a:close/>
                <a:moveTo>
                  <a:pt x="6364057" y="3074162"/>
                </a:moveTo>
                <a:cubicBezTo>
                  <a:pt x="6365542" y="3074405"/>
                  <a:pt x="6368047" y="3076626"/>
                  <a:pt x="6371053" y="3079291"/>
                </a:cubicBezTo>
                <a:cubicBezTo>
                  <a:pt x="6377065" y="3084623"/>
                  <a:pt x="6385081" y="3091732"/>
                  <a:pt x="6390950" y="3088344"/>
                </a:cubicBezTo>
                <a:cubicBezTo>
                  <a:pt x="6379213" y="3095120"/>
                  <a:pt x="6385989" y="3106857"/>
                  <a:pt x="6376733" y="3104376"/>
                </a:cubicBezTo>
                <a:cubicBezTo>
                  <a:pt x="6379213" y="3095120"/>
                  <a:pt x="6363181" y="3080903"/>
                  <a:pt x="6363181" y="3080903"/>
                </a:cubicBezTo>
                <a:cubicBezTo>
                  <a:pt x="6362107" y="3075655"/>
                  <a:pt x="6362572" y="3073920"/>
                  <a:pt x="6364057" y="3074162"/>
                </a:cubicBezTo>
                <a:close/>
                <a:moveTo>
                  <a:pt x="8038328" y="3073411"/>
                </a:moveTo>
                <a:cubicBezTo>
                  <a:pt x="8041200" y="3072527"/>
                  <a:pt x="8043942" y="3072711"/>
                  <a:pt x="8046835" y="3073486"/>
                </a:cubicBezTo>
                <a:cubicBezTo>
                  <a:pt x="8052619" y="3075036"/>
                  <a:pt x="8059010" y="3078953"/>
                  <a:pt x="8068266" y="3081434"/>
                </a:cubicBezTo>
                <a:cubicBezTo>
                  <a:pt x="8056805" y="3087181"/>
                  <a:pt x="8049753" y="3076473"/>
                  <a:pt x="8029036" y="3079740"/>
                </a:cubicBezTo>
                <a:cubicBezTo>
                  <a:pt x="8032453" y="3076246"/>
                  <a:pt x="8035456" y="3074295"/>
                  <a:pt x="8038328" y="3073411"/>
                </a:cubicBezTo>
                <a:close/>
                <a:moveTo>
                  <a:pt x="8293021" y="3073316"/>
                </a:moveTo>
                <a:cubicBezTo>
                  <a:pt x="8298531" y="3074792"/>
                  <a:pt x="8304593" y="3078622"/>
                  <a:pt x="8313409" y="3080984"/>
                </a:cubicBezTo>
                <a:cubicBezTo>
                  <a:pt x="8313409" y="3080984"/>
                  <a:pt x="8311204" y="3089211"/>
                  <a:pt x="8311204" y="3089211"/>
                </a:cubicBezTo>
                <a:cubicBezTo>
                  <a:pt x="8328833" y="3093935"/>
                  <a:pt x="8320020" y="3091573"/>
                  <a:pt x="8337649" y="3096297"/>
                </a:cubicBezTo>
                <a:cubicBezTo>
                  <a:pt x="8335444" y="3104525"/>
                  <a:pt x="8335444" y="3104525"/>
                  <a:pt x="8335444" y="3104525"/>
                </a:cubicBezTo>
                <a:cubicBezTo>
                  <a:pt x="8324423" y="3110390"/>
                  <a:pt x="8311204" y="3089211"/>
                  <a:pt x="8291368" y="3092715"/>
                </a:cubicBezTo>
                <a:cubicBezTo>
                  <a:pt x="8293572" y="3084487"/>
                  <a:pt x="8293572" y="3084487"/>
                  <a:pt x="8293572" y="3084487"/>
                </a:cubicBezTo>
                <a:cubicBezTo>
                  <a:pt x="8291368" y="3092715"/>
                  <a:pt x="8284756" y="3082125"/>
                  <a:pt x="8275941" y="3079763"/>
                </a:cubicBezTo>
                <a:cubicBezTo>
                  <a:pt x="8282553" y="3072716"/>
                  <a:pt x="8287512" y="3071840"/>
                  <a:pt x="8293021" y="3073316"/>
                </a:cubicBezTo>
                <a:close/>
                <a:moveTo>
                  <a:pt x="579648" y="3072194"/>
                </a:moveTo>
                <a:cubicBezTo>
                  <a:pt x="577443" y="3080422"/>
                  <a:pt x="583466" y="3090854"/>
                  <a:pt x="576853" y="3115536"/>
                </a:cubicBezTo>
                <a:cubicBezTo>
                  <a:pt x="573034" y="3096877"/>
                  <a:pt x="569216" y="3078217"/>
                  <a:pt x="579648" y="3072194"/>
                </a:cubicBezTo>
                <a:close/>
                <a:moveTo>
                  <a:pt x="6228166" y="3072059"/>
                </a:moveTo>
                <a:cubicBezTo>
                  <a:pt x="6236768" y="3074363"/>
                  <a:pt x="6236768" y="3074363"/>
                  <a:pt x="6245368" y="3076668"/>
                </a:cubicBezTo>
                <a:cubicBezTo>
                  <a:pt x="6268858" y="3092222"/>
                  <a:pt x="6212619" y="3095672"/>
                  <a:pt x="6228166" y="3072059"/>
                </a:cubicBezTo>
                <a:close/>
                <a:moveTo>
                  <a:pt x="6326435" y="3069952"/>
                </a:moveTo>
                <a:cubicBezTo>
                  <a:pt x="6329243" y="3071807"/>
                  <a:pt x="6332806" y="3074967"/>
                  <a:pt x="6336919" y="3076069"/>
                </a:cubicBezTo>
                <a:cubicBezTo>
                  <a:pt x="6334714" y="3084296"/>
                  <a:pt x="6334714" y="3084296"/>
                  <a:pt x="6334714" y="3084296"/>
                </a:cubicBezTo>
                <a:cubicBezTo>
                  <a:pt x="6332510" y="3092524"/>
                  <a:pt x="6330305" y="3100751"/>
                  <a:pt x="6324282" y="3090319"/>
                </a:cubicBezTo>
                <a:cubicBezTo>
                  <a:pt x="6324282" y="3090319"/>
                  <a:pt x="6336919" y="3076069"/>
                  <a:pt x="6320464" y="3071660"/>
                </a:cubicBezTo>
                <a:cubicBezTo>
                  <a:pt x="6321566" y="3067545"/>
                  <a:pt x="6323624" y="3068096"/>
                  <a:pt x="6326435" y="3069952"/>
                </a:cubicBezTo>
                <a:close/>
                <a:moveTo>
                  <a:pt x="8335357" y="3067986"/>
                </a:moveTo>
                <a:cubicBezTo>
                  <a:pt x="8354716" y="3066146"/>
                  <a:pt x="8376706" y="3073691"/>
                  <a:pt x="8387854" y="3083292"/>
                </a:cubicBezTo>
                <a:cubicBezTo>
                  <a:pt x="8394186" y="3093807"/>
                  <a:pt x="8398595" y="3077352"/>
                  <a:pt x="8404924" y="3087866"/>
                </a:cubicBezTo>
                <a:cubicBezTo>
                  <a:pt x="8409333" y="3071411"/>
                  <a:pt x="8407129" y="3079639"/>
                  <a:pt x="8409333" y="3071411"/>
                </a:cubicBezTo>
                <a:cubicBezTo>
                  <a:pt x="8417866" y="3073697"/>
                  <a:pt x="8422686" y="3072784"/>
                  <a:pt x="8426162" y="3072613"/>
                </a:cubicBezTo>
                <a:cubicBezTo>
                  <a:pt x="8429637" y="3072441"/>
                  <a:pt x="8431770" y="3073012"/>
                  <a:pt x="8434935" y="3078271"/>
                </a:cubicBezTo>
                <a:cubicBezTo>
                  <a:pt x="8430526" y="3094726"/>
                  <a:pt x="8420074" y="3065471"/>
                  <a:pt x="8415665" y="3081926"/>
                </a:cubicBezTo>
                <a:cubicBezTo>
                  <a:pt x="8453927" y="3109815"/>
                  <a:pt x="8483938" y="3100220"/>
                  <a:pt x="8532941" y="3122168"/>
                </a:cubicBezTo>
                <a:cubicBezTo>
                  <a:pt x="8541477" y="3124455"/>
                  <a:pt x="8535146" y="3113941"/>
                  <a:pt x="8543682" y="3116228"/>
                </a:cubicBezTo>
                <a:cubicBezTo>
                  <a:pt x="8560751" y="3120802"/>
                  <a:pt x="8552216" y="3118514"/>
                  <a:pt x="8569284" y="3123088"/>
                </a:cubicBezTo>
                <a:cubicBezTo>
                  <a:pt x="8567080" y="3131316"/>
                  <a:pt x="8567080" y="3131316"/>
                  <a:pt x="8567080" y="3131316"/>
                </a:cubicBezTo>
                <a:cubicBezTo>
                  <a:pt x="8573411" y="3141830"/>
                  <a:pt x="8584149" y="3135889"/>
                  <a:pt x="8575616" y="3133603"/>
                </a:cubicBezTo>
                <a:cubicBezTo>
                  <a:pt x="8654631" y="3145957"/>
                  <a:pt x="8750715" y="3162884"/>
                  <a:pt x="8812377" y="3205861"/>
                </a:cubicBezTo>
                <a:cubicBezTo>
                  <a:pt x="8829447" y="3210435"/>
                  <a:pt x="8876528" y="3205414"/>
                  <a:pt x="8886983" y="3234670"/>
                </a:cubicBezTo>
                <a:cubicBezTo>
                  <a:pt x="8884779" y="3242898"/>
                  <a:pt x="8855049" y="3217295"/>
                  <a:pt x="8859176" y="3236037"/>
                </a:cubicBezTo>
                <a:cubicBezTo>
                  <a:pt x="8835776" y="3220949"/>
                  <a:pt x="8825038" y="3226890"/>
                  <a:pt x="8810173" y="3214089"/>
                </a:cubicBezTo>
                <a:cubicBezTo>
                  <a:pt x="8801637" y="3211802"/>
                  <a:pt x="8799432" y="3220029"/>
                  <a:pt x="8799432" y="3220029"/>
                </a:cubicBezTo>
                <a:cubicBezTo>
                  <a:pt x="8799432" y="3220029"/>
                  <a:pt x="8793104" y="3209515"/>
                  <a:pt x="8795309" y="3201287"/>
                </a:cubicBezTo>
                <a:cubicBezTo>
                  <a:pt x="8793104" y="3209515"/>
                  <a:pt x="8793104" y="3209515"/>
                  <a:pt x="8784571" y="3207229"/>
                </a:cubicBezTo>
                <a:cubicBezTo>
                  <a:pt x="8801637" y="3211802"/>
                  <a:pt x="8771626" y="3221397"/>
                  <a:pt x="8776035" y="3204942"/>
                </a:cubicBezTo>
                <a:cubicBezTo>
                  <a:pt x="8771626" y="3221397"/>
                  <a:pt x="8756761" y="3208595"/>
                  <a:pt x="8731159" y="3201735"/>
                </a:cubicBezTo>
                <a:cubicBezTo>
                  <a:pt x="8733363" y="3193508"/>
                  <a:pt x="8714089" y="3197161"/>
                  <a:pt x="8727031" y="3182993"/>
                </a:cubicBezTo>
                <a:cubicBezTo>
                  <a:pt x="8718498" y="3180706"/>
                  <a:pt x="8722622" y="3199448"/>
                  <a:pt x="8714089" y="3197161"/>
                </a:cubicBezTo>
                <a:cubicBezTo>
                  <a:pt x="8705553" y="3194874"/>
                  <a:pt x="8707758" y="3186647"/>
                  <a:pt x="8699225" y="3184360"/>
                </a:cubicBezTo>
                <a:cubicBezTo>
                  <a:pt x="8690689" y="3182073"/>
                  <a:pt x="8690689" y="3182073"/>
                  <a:pt x="8688484" y="3190301"/>
                </a:cubicBezTo>
                <a:cubicBezTo>
                  <a:pt x="8671414" y="3185727"/>
                  <a:pt x="8671414" y="3185727"/>
                  <a:pt x="8662881" y="3183440"/>
                </a:cubicBezTo>
                <a:cubicBezTo>
                  <a:pt x="8662881" y="3183440"/>
                  <a:pt x="8665086" y="3175213"/>
                  <a:pt x="8667290" y="3166985"/>
                </a:cubicBezTo>
                <a:cubicBezTo>
                  <a:pt x="8645812" y="3178867"/>
                  <a:pt x="8658755" y="3164698"/>
                  <a:pt x="8650222" y="3162412"/>
                </a:cubicBezTo>
                <a:cubicBezTo>
                  <a:pt x="8630947" y="3166065"/>
                  <a:pt x="8633152" y="3157838"/>
                  <a:pt x="8613878" y="3161492"/>
                </a:cubicBezTo>
                <a:cubicBezTo>
                  <a:pt x="8611674" y="3169719"/>
                  <a:pt x="8622411" y="3163778"/>
                  <a:pt x="8628743" y="3174293"/>
                </a:cubicBezTo>
                <a:cubicBezTo>
                  <a:pt x="8620207" y="3172006"/>
                  <a:pt x="8618002" y="3180233"/>
                  <a:pt x="8618002" y="3180233"/>
                </a:cubicBezTo>
                <a:cubicBezTo>
                  <a:pt x="8594605" y="3165146"/>
                  <a:pt x="8564593" y="3174741"/>
                  <a:pt x="8554138" y="3145484"/>
                </a:cubicBezTo>
                <a:cubicBezTo>
                  <a:pt x="8537068" y="3140911"/>
                  <a:pt x="8551933" y="3153712"/>
                  <a:pt x="8549729" y="3161939"/>
                </a:cubicBezTo>
                <a:cubicBezTo>
                  <a:pt x="8526327" y="3146851"/>
                  <a:pt x="8538988" y="3167880"/>
                  <a:pt x="8528250" y="3173821"/>
                </a:cubicBezTo>
                <a:cubicBezTo>
                  <a:pt x="8513385" y="3161020"/>
                  <a:pt x="8504849" y="3158732"/>
                  <a:pt x="8494112" y="3164673"/>
                </a:cubicBezTo>
                <a:cubicBezTo>
                  <a:pt x="8487781" y="3154159"/>
                  <a:pt x="8524123" y="3155078"/>
                  <a:pt x="8509259" y="3142277"/>
                </a:cubicBezTo>
                <a:cubicBezTo>
                  <a:pt x="8519999" y="3136337"/>
                  <a:pt x="8526327" y="3146851"/>
                  <a:pt x="8534863" y="3149138"/>
                </a:cubicBezTo>
                <a:cubicBezTo>
                  <a:pt x="8522204" y="3128109"/>
                  <a:pt x="8485860" y="3127190"/>
                  <a:pt x="8468791" y="3122616"/>
                </a:cubicBezTo>
                <a:cubicBezTo>
                  <a:pt x="8467689" y="3126728"/>
                  <a:pt x="8476222" y="3129015"/>
                  <a:pt x="8484483" y="3132331"/>
                </a:cubicBezTo>
                <a:lnTo>
                  <a:pt x="8489366" y="3137858"/>
                </a:lnTo>
                <a:lnTo>
                  <a:pt x="8453318" y="3139825"/>
                </a:lnTo>
                <a:cubicBezTo>
                  <a:pt x="8419403" y="3131979"/>
                  <a:pt x="8396798" y="3101120"/>
                  <a:pt x="8353434" y="3109343"/>
                </a:cubicBezTo>
                <a:cubicBezTo>
                  <a:pt x="8349307" y="3090600"/>
                  <a:pt x="8387572" y="3118490"/>
                  <a:pt x="8391981" y="3102035"/>
                </a:cubicBezTo>
                <a:cubicBezTo>
                  <a:pt x="8383445" y="3099747"/>
                  <a:pt x="8370785" y="3078719"/>
                  <a:pt x="8353717" y="3074145"/>
                </a:cubicBezTo>
                <a:cubicBezTo>
                  <a:pt x="8345183" y="3071858"/>
                  <a:pt x="8340773" y="3088314"/>
                  <a:pt x="8332238" y="3086027"/>
                </a:cubicBezTo>
                <a:cubicBezTo>
                  <a:pt x="8321500" y="3091968"/>
                  <a:pt x="8334443" y="3077799"/>
                  <a:pt x="8317373" y="3073225"/>
                </a:cubicBezTo>
                <a:cubicBezTo>
                  <a:pt x="8322743" y="3070255"/>
                  <a:pt x="8328904" y="3068599"/>
                  <a:pt x="8335357" y="3067986"/>
                </a:cubicBezTo>
                <a:close/>
                <a:moveTo>
                  <a:pt x="4015749" y="3066982"/>
                </a:moveTo>
                <a:cubicBezTo>
                  <a:pt x="4019865" y="3068085"/>
                  <a:pt x="4026585" y="3067681"/>
                  <a:pt x="4031728" y="3069058"/>
                </a:cubicBezTo>
                <a:cubicBezTo>
                  <a:pt x="4036871" y="3070436"/>
                  <a:pt x="4040432" y="3073596"/>
                  <a:pt x="4038227" y="3081824"/>
                </a:cubicBezTo>
                <a:cubicBezTo>
                  <a:pt x="4030001" y="3079619"/>
                  <a:pt x="4013545" y="3075210"/>
                  <a:pt x="4015749" y="3066982"/>
                </a:cubicBezTo>
                <a:close/>
                <a:moveTo>
                  <a:pt x="8226576" y="3066535"/>
                </a:moveTo>
                <a:cubicBezTo>
                  <a:pt x="8230394" y="3085195"/>
                  <a:pt x="8245235" y="3062717"/>
                  <a:pt x="8249054" y="3081376"/>
                </a:cubicBezTo>
                <a:cubicBezTo>
                  <a:pt x="8249054" y="3081376"/>
                  <a:pt x="8249054" y="3081376"/>
                  <a:pt x="8240826" y="3079172"/>
                </a:cubicBezTo>
                <a:cubicBezTo>
                  <a:pt x="8238622" y="3087399"/>
                  <a:pt x="8230394" y="3085195"/>
                  <a:pt x="8213939" y="3080786"/>
                </a:cubicBezTo>
                <a:cubicBezTo>
                  <a:pt x="8216144" y="3072558"/>
                  <a:pt x="8224371" y="3074763"/>
                  <a:pt x="8226576" y="3066535"/>
                </a:cubicBezTo>
                <a:close/>
                <a:moveTo>
                  <a:pt x="6121196" y="3064393"/>
                </a:moveTo>
                <a:lnTo>
                  <a:pt x="6124883" y="3066484"/>
                </a:lnTo>
                <a:lnTo>
                  <a:pt x="6124351" y="3067671"/>
                </a:lnTo>
                <a:cubicBezTo>
                  <a:pt x="6123706" y="3067927"/>
                  <a:pt x="6122774" y="3067105"/>
                  <a:pt x="6121196" y="3064393"/>
                </a:cubicBezTo>
                <a:close/>
                <a:moveTo>
                  <a:pt x="7138830" y="3061666"/>
                </a:moveTo>
                <a:cubicBezTo>
                  <a:pt x="7138830" y="3061666"/>
                  <a:pt x="7132216" y="3086348"/>
                  <a:pt x="7126193" y="3075916"/>
                </a:cubicBezTo>
                <a:cubicBezTo>
                  <a:pt x="7126193" y="3075916"/>
                  <a:pt x="7128398" y="3067689"/>
                  <a:pt x="7128398" y="3067689"/>
                </a:cubicBezTo>
                <a:cubicBezTo>
                  <a:pt x="7128398" y="3067689"/>
                  <a:pt x="7136625" y="3069893"/>
                  <a:pt x="7138830" y="3061666"/>
                </a:cubicBezTo>
                <a:close/>
                <a:moveTo>
                  <a:pt x="6140687" y="3060459"/>
                </a:moveTo>
                <a:cubicBezTo>
                  <a:pt x="6147001" y="3071308"/>
                  <a:pt x="6147001" y="3071308"/>
                  <a:pt x="6147001" y="3071308"/>
                </a:cubicBezTo>
                <a:cubicBezTo>
                  <a:pt x="6155602" y="3073612"/>
                  <a:pt x="6166494" y="3067374"/>
                  <a:pt x="6172806" y="3078222"/>
                </a:cubicBezTo>
                <a:cubicBezTo>
                  <a:pt x="6159627" y="3093005"/>
                  <a:pt x="6181406" y="3080526"/>
                  <a:pt x="6176828" y="3097614"/>
                </a:cubicBezTo>
                <a:cubicBezTo>
                  <a:pt x="6159627" y="3093005"/>
                  <a:pt x="6155048" y="3110092"/>
                  <a:pt x="6140133" y="3096939"/>
                </a:cubicBezTo>
                <a:cubicBezTo>
                  <a:pt x="6140133" y="3096939"/>
                  <a:pt x="6147001" y="3071308"/>
                  <a:pt x="6161916" y="3084461"/>
                </a:cubicBezTo>
                <a:cubicBezTo>
                  <a:pt x="6153312" y="3082156"/>
                  <a:pt x="6153312" y="3082156"/>
                  <a:pt x="6155602" y="3073612"/>
                </a:cubicBezTo>
                <a:cubicBezTo>
                  <a:pt x="6153312" y="3082156"/>
                  <a:pt x="6144712" y="3079851"/>
                  <a:pt x="6142423" y="3088395"/>
                </a:cubicBezTo>
                <a:cubicBezTo>
                  <a:pt x="6133820" y="3086090"/>
                  <a:pt x="6138398" y="3069002"/>
                  <a:pt x="6140687" y="3060459"/>
                </a:cubicBezTo>
                <a:close/>
                <a:moveTo>
                  <a:pt x="6188527" y="3053944"/>
                </a:moveTo>
                <a:cubicBezTo>
                  <a:pt x="6186322" y="3062171"/>
                  <a:pt x="6196754" y="3056148"/>
                  <a:pt x="6204982" y="3058353"/>
                </a:cubicBezTo>
                <a:cubicBezTo>
                  <a:pt x="6200573" y="3074808"/>
                  <a:pt x="6188527" y="3053944"/>
                  <a:pt x="6178094" y="3059967"/>
                </a:cubicBezTo>
                <a:cubicBezTo>
                  <a:pt x="6175890" y="3068194"/>
                  <a:pt x="6186322" y="3062171"/>
                  <a:pt x="6192345" y="3072603"/>
                </a:cubicBezTo>
                <a:cubicBezTo>
                  <a:pt x="6200573" y="3074808"/>
                  <a:pt x="6204982" y="3058353"/>
                  <a:pt x="6211004" y="3068785"/>
                </a:cubicBezTo>
                <a:cubicBezTo>
                  <a:pt x="6200573" y="3074808"/>
                  <a:pt x="6217028" y="3079217"/>
                  <a:pt x="6202186" y="3101695"/>
                </a:cubicBezTo>
                <a:cubicBezTo>
                  <a:pt x="6206595" y="3085240"/>
                  <a:pt x="6193959" y="3099490"/>
                  <a:pt x="6185731" y="3097286"/>
                </a:cubicBezTo>
                <a:cubicBezTo>
                  <a:pt x="6177504" y="3095081"/>
                  <a:pt x="6187936" y="3089058"/>
                  <a:pt x="6196163" y="3091263"/>
                </a:cubicBezTo>
                <a:cubicBezTo>
                  <a:pt x="6187936" y="3089058"/>
                  <a:pt x="6181913" y="3078626"/>
                  <a:pt x="6198368" y="3083035"/>
                </a:cubicBezTo>
                <a:cubicBezTo>
                  <a:pt x="6190140" y="3080831"/>
                  <a:pt x="6184118" y="3070399"/>
                  <a:pt x="6159435" y="3063785"/>
                </a:cubicBezTo>
                <a:cubicBezTo>
                  <a:pt x="6161639" y="3055558"/>
                  <a:pt x="6169867" y="3057762"/>
                  <a:pt x="6188527" y="3053944"/>
                </a:cubicBezTo>
                <a:close/>
                <a:moveTo>
                  <a:pt x="4175367" y="3053887"/>
                </a:moveTo>
                <a:cubicBezTo>
                  <a:pt x="4194742" y="3049941"/>
                  <a:pt x="4177059" y="3081751"/>
                  <a:pt x="4190173" y="3066989"/>
                </a:cubicBezTo>
                <a:cubicBezTo>
                  <a:pt x="4198720" y="3069279"/>
                  <a:pt x="4185605" y="3084040"/>
                  <a:pt x="4177059" y="3081751"/>
                </a:cubicBezTo>
                <a:cubicBezTo>
                  <a:pt x="4177059" y="3081751"/>
                  <a:pt x="4162253" y="3068646"/>
                  <a:pt x="4159969" y="3077171"/>
                </a:cubicBezTo>
                <a:cubicBezTo>
                  <a:pt x="4162253" y="3068646"/>
                  <a:pt x="4153709" y="3066356"/>
                  <a:pt x="4155994" y="3057831"/>
                </a:cubicBezTo>
                <a:cubicBezTo>
                  <a:pt x="4164537" y="3060120"/>
                  <a:pt x="4179344" y="3073225"/>
                  <a:pt x="4175367" y="3053887"/>
                </a:cubicBezTo>
                <a:close/>
                <a:moveTo>
                  <a:pt x="4315135" y="3053388"/>
                </a:moveTo>
                <a:lnTo>
                  <a:pt x="4315101" y="3053639"/>
                </a:lnTo>
                <a:lnTo>
                  <a:pt x="4313628" y="3054389"/>
                </a:lnTo>
                <a:lnTo>
                  <a:pt x="4312679" y="3054135"/>
                </a:lnTo>
                <a:close/>
                <a:moveTo>
                  <a:pt x="2933596" y="3041801"/>
                </a:moveTo>
                <a:cubicBezTo>
                  <a:pt x="2950618" y="3046362"/>
                  <a:pt x="2959128" y="3048642"/>
                  <a:pt x="2976151" y="3053203"/>
                </a:cubicBezTo>
                <a:cubicBezTo>
                  <a:pt x="2984663" y="3055484"/>
                  <a:pt x="2976151" y="3053203"/>
                  <a:pt x="2978443" y="3044649"/>
                </a:cubicBezTo>
                <a:cubicBezTo>
                  <a:pt x="3008561" y="3034388"/>
                  <a:pt x="3044241" y="3071448"/>
                  <a:pt x="3068141" y="3050353"/>
                </a:cubicBezTo>
                <a:cubicBezTo>
                  <a:pt x="3055046" y="3065175"/>
                  <a:pt x="3074360" y="3061185"/>
                  <a:pt x="3074360" y="3061185"/>
                </a:cubicBezTo>
                <a:cubicBezTo>
                  <a:pt x="3075998" y="3089122"/>
                  <a:pt x="3040315" y="3052062"/>
                  <a:pt x="3041950" y="3079999"/>
                </a:cubicBezTo>
                <a:cubicBezTo>
                  <a:pt x="3024927" y="3075438"/>
                  <a:pt x="3010196" y="3062326"/>
                  <a:pt x="2994811" y="3085702"/>
                </a:cubicBezTo>
                <a:cubicBezTo>
                  <a:pt x="2969276" y="3078860"/>
                  <a:pt x="2980081" y="3072587"/>
                  <a:pt x="2952254" y="3074299"/>
                </a:cubicBezTo>
                <a:cubicBezTo>
                  <a:pt x="2941452" y="3080570"/>
                  <a:pt x="2947671" y="3091402"/>
                  <a:pt x="2936869" y="3097676"/>
                </a:cubicBezTo>
                <a:cubicBezTo>
                  <a:pt x="2919846" y="3093114"/>
                  <a:pt x="2894314" y="3086273"/>
                  <a:pt x="2889730" y="3103379"/>
                </a:cubicBezTo>
                <a:cubicBezTo>
                  <a:pt x="2847173" y="3091975"/>
                  <a:pt x="2825567" y="3104517"/>
                  <a:pt x="2795451" y="3114781"/>
                </a:cubicBezTo>
                <a:cubicBezTo>
                  <a:pt x="2783012" y="3093114"/>
                  <a:pt x="2810836" y="3091404"/>
                  <a:pt x="2796105" y="3078292"/>
                </a:cubicBezTo>
                <a:cubicBezTo>
                  <a:pt x="2821640" y="3085134"/>
                  <a:pt x="2839317" y="3053203"/>
                  <a:pt x="2851756" y="3074870"/>
                </a:cubicBezTo>
                <a:cubicBezTo>
                  <a:pt x="2860269" y="3077151"/>
                  <a:pt x="2856339" y="3057764"/>
                  <a:pt x="2864852" y="3060045"/>
                </a:cubicBezTo>
                <a:cubicBezTo>
                  <a:pt x="2881875" y="3064606"/>
                  <a:pt x="2924430" y="3076009"/>
                  <a:pt x="2933596" y="3041801"/>
                </a:cubicBezTo>
                <a:close/>
                <a:moveTo>
                  <a:pt x="4234153" y="3041729"/>
                </a:moveTo>
                <a:cubicBezTo>
                  <a:pt x="4220146" y="3055612"/>
                  <a:pt x="4217941" y="3063839"/>
                  <a:pt x="4198742" y="3058695"/>
                </a:cubicBezTo>
                <a:cubicBezTo>
                  <a:pt x="4200947" y="3050468"/>
                  <a:pt x="4200947" y="3050468"/>
                  <a:pt x="4200947" y="3050468"/>
                </a:cubicBezTo>
                <a:cubicBezTo>
                  <a:pt x="4203151" y="3042240"/>
                  <a:pt x="4222351" y="3047384"/>
                  <a:pt x="4234153" y="3041729"/>
                </a:cubicBezTo>
                <a:close/>
                <a:moveTo>
                  <a:pt x="6323273" y="3039066"/>
                </a:moveTo>
                <a:cubicBezTo>
                  <a:pt x="6328741" y="3038713"/>
                  <a:pt x="6338630" y="3045000"/>
                  <a:pt x="6346619" y="3039865"/>
                </a:cubicBezTo>
                <a:cubicBezTo>
                  <a:pt x="6344194" y="3048917"/>
                  <a:pt x="6344194" y="3048917"/>
                  <a:pt x="6341769" y="3057968"/>
                </a:cubicBezTo>
                <a:cubicBezTo>
                  <a:pt x="6352422" y="3051121"/>
                  <a:pt x="6373727" y="3037430"/>
                  <a:pt x="6366451" y="3064582"/>
                </a:cubicBezTo>
                <a:cubicBezTo>
                  <a:pt x="6360649" y="3053326"/>
                  <a:pt x="6355799" y="3071426"/>
                  <a:pt x="6360649" y="3053326"/>
                </a:cubicBezTo>
                <a:cubicBezTo>
                  <a:pt x="6352422" y="3051121"/>
                  <a:pt x="6347572" y="3069222"/>
                  <a:pt x="6355799" y="3071426"/>
                </a:cubicBezTo>
                <a:cubicBezTo>
                  <a:pt x="6345146" y="3078273"/>
                  <a:pt x="6344194" y="3048917"/>
                  <a:pt x="6339344" y="3067017"/>
                </a:cubicBezTo>
                <a:cubicBezTo>
                  <a:pt x="6335967" y="3046712"/>
                  <a:pt x="6325314" y="3053559"/>
                  <a:pt x="6319512" y="3042303"/>
                </a:cubicBezTo>
                <a:cubicBezTo>
                  <a:pt x="6320118" y="3040040"/>
                  <a:pt x="6321450" y="3039184"/>
                  <a:pt x="6323273" y="3039066"/>
                </a:cubicBezTo>
                <a:close/>
                <a:moveTo>
                  <a:pt x="7939652" y="3038153"/>
                </a:moveTo>
                <a:cubicBezTo>
                  <a:pt x="7946496" y="3048805"/>
                  <a:pt x="7953343" y="3059458"/>
                  <a:pt x="7973648" y="3056081"/>
                </a:cubicBezTo>
                <a:cubicBezTo>
                  <a:pt x="7951139" y="3067686"/>
                  <a:pt x="7939652" y="3038153"/>
                  <a:pt x="7928395" y="3043955"/>
                </a:cubicBezTo>
                <a:cubicBezTo>
                  <a:pt x="7930600" y="3035728"/>
                  <a:pt x="7937447" y="3046381"/>
                  <a:pt x="7939652" y="3038153"/>
                </a:cubicBezTo>
                <a:close/>
                <a:moveTo>
                  <a:pt x="4317248" y="3037084"/>
                </a:moveTo>
                <a:cubicBezTo>
                  <a:pt x="4314964" y="3045609"/>
                  <a:pt x="4317248" y="3037084"/>
                  <a:pt x="4334338" y="3041663"/>
                </a:cubicBezTo>
                <a:cubicBezTo>
                  <a:pt x="4332054" y="3050189"/>
                  <a:pt x="4327210" y="3051174"/>
                  <a:pt x="4322650" y="3051096"/>
                </a:cubicBezTo>
                <a:lnTo>
                  <a:pt x="4315135" y="3053388"/>
                </a:lnTo>
                <a:close/>
                <a:moveTo>
                  <a:pt x="6219823" y="3035875"/>
                </a:moveTo>
                <a:cubicBezTo>
                  <a:pt x="6217618" y="3044102"/>
                  <a:pt x="6225846" y="3046307"/>
                  <a:pt x="6225846" y="3046307"/>
                </a:cubicBezTo>
                <a:cubicBezTo>
                  <a:pt x="6223641" y="3054534"/>
                  <a:pt x="6215414" y="3052330"/>
                  <a:pt x="6207186" y="3050125"/>
                </a:cubicBezTo>
                <a:cubicBezTo>
                  <a:pt x="6217618" y="3044102"/>
                  <a:pt x="6209391" y="3041898"/>
                  <a:pt x="6219823" y="3035875"/>
                </a:cubicBezTo>
                <a:close/>
                <a:moveTo>
                  <a:pt x="6456170" y="3034171"/>
                </a:moveTo>
                <a:cubicBezTo>
                  <a:pt x="6458503" y="3033693"/>
                  <a:pt x="6462616" y="3034796"/>
                  <a:pt x="6466730" y="3035898"/>
                </a:cubicBezTo>
                <a:cubicBezTo>
                  <a:pt x="6456298" y="3041921"/>
                  <a:pt x="6464525" y="3044125"/>
                  <a:pt x="6454093" y="3050148"/>
                </a:cubicBezTo>
                <a:cubicBezTo>
                  <a:pt x="6454093" y="3050148"/>
                  <a:pt x="6454093" y="3050148"/>
                  <a:pt x="6445866" y="3047944"/>
                </a:cubicBezTo>
                <a:cubicBezTo>
                  <a:pt x="6454093" y="3050148"/>
                  <a:pt x="6445866" y="3047944"/>
                  <a:pt x="6448070" y="3039716"/>
                </a:cubicBezTo>
                <a:cubicBezTo>
                  <a:pt x="6448070" y="3039716"/>
                  <a:pt x="6456298" y="3041921"/>
                  <a:pt x="6456298" y="3041921"/>
                </a:cubicBezTo>
                <a:cubicBezTo>
                  <a:pt x="6453286" y="3036705"/>
                  <a:pt x="6453838" y="3034648"/>
                  <a:pt x="6456170" y="3034171"/>
                </a:cubicBezTo>
                <a:close/>
                <a:moveTo>
                  <a:pt x="6997509" y="3033720"/>
                </a:moveTo>
                <a:cubicBezTo>
                  <a:pt x="7000870" y="3033518"/>
                  <a:pt x="7004984" y="3034620"/>
                  <a:pt x="7009097" y="3035722"/>
                </a:cubicBezTo>
                <a:cubicBezTo>
                  <a:pt x="7012916" y="3054382"/>
                  <a:pt x="6998665" y="3041745"/>
                  <a:pt x="6994256" y="3058201"/>
                </a:cubicBezTo>
                <a:cubicBezTo>
                  <a:pt x="6986029" y="3055996"/>
                  <a:pt x="6998665" y="3041745"/>
                  <a:pt x="6990438" y="3039541"/>
                </a:cubicBezTo>
                <a:cubicBezTo>
                  <a:pt x="6991540" y="3035427"/>
                  <a:pt x="6994148" y="3033921"/>
                  <a:pt x="6997509" y="3033720"/>
                </a:cubicBezTo>
                <a:close/>
                <a:moveTo>
                  <a:pt x="6211595" y="3033670"/>
                </a:moveTo>
                <a:cubicBezTo>
                  <a:pt x="6209391" y="3041898"/>
                  <a:pt x="6209391" y="3041898"/>
                  <a:pt x="6207186" y="3050125"/>
                </a:cubicBezTo>
                <a:cubicBezTo>
                  <a:pt x="6198959" y="3047921"/>
                  <a:pt x="6196754" y="3056148"/>
                  <a:pt x="6188527" y="3053944"/>
                </a:cubicBezTo>
                <a:cubicBezTo>
                  <a:pt x="6182503" y="3043512"/>
                  <a:pt x="6195140" y="3029261"/>
                  <a:pt x="6211595" y="3033670"/>
                </a:cubicBezTo>
                <a:close/>
                <a:moveTo>
                  <a:pt x="6313183" y="3030026"/>
                </a:moveTo>
                <a:cubicBezTo>
                  <a:pt x="6302265" y="3036360"/>
                  <a:pt x="6297636" y="3053636"/>
                  <a:pt x="6314840" y="3058246"/>
                </a:cubicBezTo>
                <a:cubicBezTo>
                  <a:pt x="6312525" y="3066886"/>
                  <a:pt x="6306239" y="3055942"/>
                  <a:pt x="6303924" y="3064581"/>
                </a:cubicBezTo>
                <a:cubicBezTo>
                  <a:pt x="6306239" y="3055942"/>
                  <a:pt x="6297636" y="3053636"/>
                  <a:pt x="6291350" y="3042692"/>
                </a:cubicBezTo>
                <a:cubicBezTo>
                  <a:pt x="6271831" y="3046722"/>
                  <a:pt x="6297636" y="3053636"/>
                  <a:pt x="6295321" y="3062276"/>
                </a:cubicBezTo>
                <a:cubicBezTo>
                  <a:pt x="6278117" y="3057666"/>
                  <a:pt x="6278117" y="3057666"/>
                  <a:pt x="6269516" y="3055361"/>
                </a:cubicBezTo>
                <a:cubicBezTo>
                  <a:pt x="6260915" y="3053057"/>
                  <a:pt x="6267201" y="3064001"/>
                  <a:pt x="6264886" y="3072641"/>
                </a:cubicBezTo>
                <a:cubicBezTo>
                  <a:pt x="6284405" y="3068611"/>
                  <a:pt x="6288376" y="3088192"/>
                  <a:pt x="6303924" y="3064581"/>
                </a:cubicBezTo>
                <a:cubicBezTo>
                  <a:pt x="6310210" y="3075525"/>
                  <a:pt x="6310210" y="3075525"/>
                  <a:pt x="6318810" y="3077830"/>
                </a:cubicBezTo>
                <a:cubicBezTo>
                  <a:pt x="6316495" y="3086469"/>
                  <a:pt x="6314181" y="3095106"/>
                  <a:pt x="6305581" y="3092802"/>
                </a:cubicBezTo>
                <a:cubicBezTo>
                  <a:pt x="6299294" y="3081860"/>
                  <a:pt x="6307895" y="3084165"/>
                  <a:pt x="6310210" y="3075525"/>
                </a:cubicBezTo>
                <a:cubicBezTo>
                  <a:pt x="6293006" y="3070915"/>
                  <a:pt x="6294665" y="3099137"/>
                  <a:pt x="6279776" y="3085887"/>
                </a:cubicBezTo>
                <a:cubicBezTo>
                  <a:pt x="6277461" y="3094527"/>
                  <a:pt x="6286061" y="3096831"/>
                  <a:pt x="6286061" y="3096831"/>
                </a:cubicBezTo>
                <a:cubicBezTo>
                  <a:pt x="6275146" y="3103166"/>
                  <a:pt x="6268858" y="3092222"/>
                  <a:pt x="6247026" y="3104892"/>
                </a:cubicBezTo>
                <a:cubicBezTo>
                  <a:pt x="6249341" y="3096252"/>
                  <a:pt x="6257942" y="3098557"/>
                  <a:pt x="6260257" y="3089917"/>
                </a:cubicBezTo>
                <a:cubicBezTo>
                  <a:pt x="6262572" y="3081277"/>
                  <a:pt x="6243053" y="3085307"/>
                  <a:pt x="6245368" y="3076668"/>
                </a:cubicBezTo>
                <a:cubicBezTo>
                  <a:pt x="6239082" y="3065726"/>
                  <a:pt x="6247682" y="3068031"/>
                  <a:pt x="6243712" y="3048447"/>
                </a:cubicBezTo>
                <a:cubicBezTo>
                  <a:pt x="6247682" y="3068031"/>
                  <a:pt x="6258600" y="3061696"/>
                  <a:pt x="6263230" y="3044417"/>
                </a:cubicBezTo>
                <a:cubicBezTo>
                  <a:pt x="6263230" y="3044417"/>
                  <a:pt x="6278117" y="3057666"/>
                  <a:pt x="6280432" y="3049027"/>
                </a:cubicBezTo>
                <a:cubicBezTo>
                  <a:pt x="6282747" y="3040387"/>
                  <a:pt x="6269516" y="3055361"/>
                  <a:pt x="6271831" y="3046722"/>
                </a:cubicBezTo>
                <a:cubicBezTo>
                  <a:pt x="6282747" y="3040387"/>
                  <a:pt x="6293664" y="3034055"/>
                  <a:pt x="6313183" y="3030026"/>
                </a:cubicBezTo>
                <a:close/>
                <a:moveTo>
                  <a:pt x="6953412" y="3029620"/>
                </a:moveTo>
                <a:cubicBezTo>
                  <a:pt x="6951208" y="3037847"/>
                  <a:pt x="6951208" y="3037847"/>
                  <a:pt x="6942980" y="3035643"/>
                </a:cubicBezTo>
                <a:cubicBezTo>
                  <a:pt x="6949003" y="3046075"/>
                  <a:pt x="6957231" y="3048280"/>
                  <a:pt x="6946799" y="3054303"/>
                </a:cubicBezTo>
                <a:cubicBezTo>
                  <a:pt x="6942980" y="3035643"/>
                  <a:pt x="6918298" y="3029029"/>
                  <a:pt x="6953412" y="3029620"/>
                </a:cubicBezTo>
                <a:close/>
                <a:moveTo>
                  <a:pt x="8141091" y="3025991"/>
                </a:moveTo>
                <a:cubicBezTo>
                  <a:pt x="8158742" y="3024107"/>
                  <a:pt x="8174225" y="3026051"/>
                  <a:pt x="8178348" y="3044792"/>
                </a:cubicBezTo>
                <a:cubicBezTo>
                  <a:pt x="8197617" y="3041136"/>
                  <a:pt x="8225418" y="3039768"/>
                  <a:pt x="8251016" y="3046626"/>
                </a:cubicBezTo>
                <a:cubicBezTo>
                  <a:pt x="8251016" y="3046626"/>
                  <a:pt x="8242482" y="3044340"/>
                  <a:pt x="8233952" y="3042054"/>
                </a:cubicBezTo>
                <a:cubicBezTo>
                  <a:pt x="8236156" y="3033827"/>
                  <a:pt x="8261754" y="3040686"/>
                  <a:pt x="8259549" y="3048913"/>
                </a:cubicBezTo>
                <a:cubicBezTo>
                  <a:pt x="8272489" y="3034744"/>
                  <a:pt x="8285144" y="3055771"/>
                  <a:pt x="8295882" y="3049830"/>
                </a:cubicBezTo>
                <a:cubicBezTo>
                  <a:pt x="8295882" y="3049830"/>
                  <a:pt x="8293677" y="3058058"/>
                  <a:pt x="8302208" y="3060343"/>
                </a:cubicBezTo>
                <a:cubicBezTo>
                  <a:pt x="8304413" y="3052116"/>
                  <a:pt x="8312946" y="3054402"/>
                  <a:pt x="8327806" y="3067202"/>
                </a:cubicBezTo>
                <a:cubicBezTo>
                  <a:pt x="8319274" y="3064916"/>
                  <a:pt x="8272204" y="3069941"/>
                  <a:pt x="8265875" y="3059426"/>
                </a:cubicBezTo>
                <a:cubicBezTo>
                  <a:pt x="8267936" y="3068797"/>
                  <a:pt x="8268970" y="3073482"/>
                  <a:pt x="8269208" y="3076853"/>
                </a:cubicBezTo>
                <a:lnTo>
                  <a:pt x="8269066" y="3077807"/>
                </a:lnTo>
                <a:lnTo>
                  <a:pt x="8251352" y="3070966"/>
                </a:lnTo>
                <a:cubicBezTo>
                  <a:pt x="8247086" y="3069823"/>
                  <a:pt x="8245505" y="3067194"/>
                  <a:pt x="8248811" y="3054854"/>
                </a:cubicBezTo>
                <a:cubicBezTo>
                  <a:pt x="8221009" y="3056223"/>
                  <a:pt x="8212479" y="3053937"/>
                  <a:pt x="8184677" y="3055306"/>
                </a:cubicBezTo>
                <a:cubicBezTo>
                  <a:pt x="8193208" y="3057592"/>
                  <a:pt x="8221009" y="3056223"/>
                  <a:pt x="8205865" y="3078620"/>
                </a:cubicBezTo>
                <a:cubicBezTo>
                  <a:pt x="8201741" y="3059878"/>
                  <a:pt x="8186594" y="3082274"/>
                  <a:pt x="8165408" y="3058961"/>
                </a:cubicBezTo>
                <a:cubicBezTo>
                  <a:pt x="8165408" y="3058961"/>
                  <a:pt x="8167613" y="3050734"/>
                  <a:pt x="8176144" y="3053019"/>
                </a:cubicBezTo>
                <a:cubicBezTo>
                  <a:pt x="8178348" y="3044792"/>
                  <a:pt x="8159080" y="3048447"/>
                  <a:pt x="8150546" y="3046161"/>
                </a:cubicBezTo>
                <a:cubicBezTo>
                  <a:pt x="8165408" y="3058961"/>
                  <a:pt x="8148341" y="3054388"/>
                  <a:pt x="8146137" y="3062616"/>
                </a:cubicBezTo>
                <a:cubicBezTo>
                  <a:pt x="8133482" y="3041588"/>
                  <a:pt x="8120542" y="3055758"/>
                  <a:pt x="8094945" y="3048899"/>
                </a:cubicBezTo>
                <a:cubicBezTo>
                  <a:pt x="8107885" y="3034730"/>
                  <a:pt x="8099354" y="3032444"/>
                  <a:pt x="8090821" y="3030157"/>
                </a:cubicBezTo>
                <a:cubicBezTo>
                  <a:pt x="8103619" y="3033587"/>
                  <a:pt x="8123440" y="3027875"/>
                  <a:pt x="8141091" y="3025991"/>
                </a:cubicBezTo>
                <a:close/>
                <a:moveTo>
                  <a:pt x="6972074" y="3025802"/>
                </a:moveTo>
                <a:cubicBezTo>
                  <a:pt x="6982507" y="3019779"/>
                  <a:pt x="6975893" y="3044462"/>
                  <a:pt x="6967665" y="3042257"/>
                </a:cubicBezTo>
                <a:cubicBezTo>
                  <a:pt x="6959438" y="3040053"/>
                  <a:pt x="6972074" y="3025802"/>
                  <a:pt x="6972074" y="3025802"/>
                </a:cubicBezTo>
                <a:close/>
                <a:moveTo>
                  <a:pt x="4436908" y="3025511"/>
                </a:moveTo>
                <a:cubicBezTo>
                  <a:pt x="4445135" y="3027715"/>
                  <a:pt x="4440726" y="3044170"/>
                  <a:pt x="4432499" y="3041966"/>
                </a:cubicBezTo>
                <a:cubicBezTo>
                  <a:pt x="4424271" y="3039761"/>
                  <a:pt x="4436908" y="3025511"/>
                  <a:pt x="4436908" y="3025511"/>
                </a:cubicBezTo>
                <a:close/>
                <a:moveTo>
                  <a:pt x="8035254" y="3024089"/>
                </a:moveTo>
                <a:cubicBezTo>
                  <a:pt x="8038921" y="3023417"/>
                  <a:pt x="8042736" y="3023888"/>
                  <a:pt x="8046695" y="3024949"/>
                </a:cubicBezTo>
                <a:cubicBezTo>
                  <a:pt x="8054614" y="3027071"/>
                  <a:pt x="8063114" y="3031554"/>
                  <a:pt x="8072163" y="3033979"/>
                </a:cubicBezTo>
                <a:cubicBezTo>
                  <a:pt x="8049654" y="3045584"/>
                  <a:pt x="8042806" y="3034931"/>
                  <a:pt x="8024706" y="3030081"/>
                </a:cubicBezTo>
                <a:cubicBezTo>
                  <a:pt x="8028071" y="3026573"/>
                  <a:pt x="8031588" y="3024760"/>
                  <a:pt x="8035254" y="3024089"/>
                </a:cubicBezTo>
                <a:close/>
                <a:moveTo>
                  <a:pt x="6104550" y="3023302"/>
                </a:moveTo>
                <a:cubicBezTo>
                  <a:pt x="6115440" y="3017063"/>
                  <a:pt x="6106282" y="3051240"/>
                  <a:pt x="6103993" y="3059784"/>
                </a:cubicBezTo>
                <a:cubicBezTo>
                  <a:pt x="6101704" y="3068327"/>
                  <a:pt x="6112593" y="3062088"/>
                  <a:pt x="6121196" y="3064393"/>
                </a:cubicBezTo>
                <a:cubicBezTo>
                  <a:pt x="6125219" y="3083785"/>
                  <a:pt x="6122929" y="3092329"/>
                  <a:pt x="6120640" y="3100872"/>
                </a:cubicBezTo>
                <a:cubicBezTo>
                  <a:pt x="6109749" y="3107114"/>
                  <a:pt x="6107460" y="3115658"/>
                  <a:pt x="6096568" y="3121896"/>
                </a:cubicBezTo>
                <a:cubicBezTo>
                  <a:pt x="6098857" y="3113353"/>
                  <a:pt x="6112039" y="3098568"/>
                  <a:pt x="6114329" y="3090024"/>
                </a:cubicBezTo>
                <a:cubicBezTo>
                  <a:pt x="6116618" y="3081480"/>
                  <a:pt x="6105726" y="3087719"/>
                  <a:pt x="6110304" y="3070632"/>
                </a:cubicBezTo>
                <a:cubicBezTo>
                  <a:pt x="6099414" y="3076871"/>
                  <a:pt x="6090813" y="3074566"/>
                  <a:pt x="6097125" y="3085415"/>
                </a:cubicBezTo>
                <a:cubicBezTo>
                  <a:pt x="6088524" y="3083110"/>
                  <a:pt x="6079921" y="3080805"/>
                  <a:pt x="6082210" y="3072261"/>
                </a:cubicBezTo>
                <a:cubicBezTo>
                  <a:pt x="6093102" y="3066022"/>
                  <a:pt x="6093102" y="3066022"/>
                  <a:pt x="6101704" y="3068327"/>
                </a:cubicBezTo>
                <a:cubicBezTo>
                  <a:pt x="6086789" y="3055174"/>
                  <a:pt x="6097681" y="3048935"/>
                  <a:pt x="6093657" y="3029540"/>
                </a:cubicBezTo>
                <a:cubicBezTo>
                  <a:pt x="6099971" y="3040389"/>
                  <a:pt x="6102260" y="3031845"/>
                  <a:pt x="6104550" y="3023302"/>
                </a:cubicBezTo>
                <a:close/>
                <a:moveTo>
                  <a:pt x="6149629" y="3022790"/>
                </a:moveTo>
                <a:cubicBezTo>
                  <a:pt x="6155291" y="3023162"/>
                  <a:pt x="6163893" y="3025467"/>
                  <a:pt x="6186542" y="3026957"/>
                </a:cubicBezTo>
                <a:cubicBezTo>
                  <a:pt x="6186542" y="3026957"/>
                  <a:pt x="6184253" y="3035501"/>
                  <a:pt x="6184253" y="3035501"/>
                </a:cubicBezTo>
                <a:cubicBezTo>
                  <a:pt x="6175652" y="3033196"/>
                  <a:pt x="6167049" y="3030891"/>
                  <a:pt x="6167049" y="3030891"/>
                </a:cubicBezTo>
                <a:cubicBezTo>
                  <a:pt x="6171074" y="3050284"/>
                  <a:pt x="6153870" y="3045674"/>
                  <a:pt x="6140687" y="3060459"/>
                </a:cubicBezTo>
                <a:cubicBezTo>
                  <a:pt x="6134237" y="3058730"/>
                  <a:pt x="6134886" y="3069206"/>
                  <a:pt x="6129324" y="3069003"/>
                </a:cubicBezTo>
                <a:lnTo>
                  <a:pt x="6124883" y="3066484"/>
                </a:lnTo>
                <a:lnTo>
                  <a:pt x="6125783" y="3064477"/>
                </a:lnTo>
                <a:cubicBezTo>
                  <a:pt x="6126641" y="3061274"/>
                  <a:pt x="6127786" y="3057002"/>
                  <a:pt x="6132086" y="3058154"/>
                </a:cubicBezTo>
                <a:cubicBezTo>
                  <a:pt x="6125776" y="3047303"/>
                  <a:pt x="6121196" y="3064393"/>
                  <a:pt x="6125776" y="3047303"/>
                </a:cubicBezTo>
                <a:cubicBezTo>
                  <a:pt x="6136666" y="3041064"/>
                  <a:pt x="6134376" y="3049608"/>
                  <a:pt x="6142977" y="3051913"/>
                </a:cubicBezTo>
                <a:cubicBezTo>
                  <a:pt x="6142977" y="3051913"/>
                  <a:pt x="6138955" y="3032520"/>
                  <a:pt x="6128065" y="3038760"/>
                </a:cubicBezTo>
                <a:cubicBezTo>
                  <a:pt x="6138955" y="3032520"/>
                  <a:pt x="6136666" y="3041064"/>
                  <a:pt x="6145267" y="3043369"/>
                </a:cubicBezTo>
                <a:cubicBezTo>
                  <a:pt x="6145267" y="3043369"/>
                  <a:pt x="6147556" y="3034825"/>
                  <a:pt x="6149845" y="3026281"/>
                </a:cubicBezTo>
                <a:cubicBezTo>
                  <a:pt x="6138955" y="3032520"/>
                  <a:pt x="6136666" y="3041064"/>
                  <a:pt x="6130354" y="3030216"/>
                </a:cubicBezTo>
                <a:cubicBezTo>
                  <a:pt x="6141244" y="3023977"/>
                  <a:pt x="6143967" y="3022417"/>
                  <a:pt x="6149629" y="3022790"/>
                </a:cubicBezTo>
                <a:close/>
                <a:moveTo>
                  <a:pt x="2926872" y="3022221"/>
                </a:moveTo>
                <a:cubicBezTo>
                  <a:pt x="2929999" y="3027642"/>
                  <a:pt x="2927288" y="3029209"/>
                  <a:pt x="2924085" y="3028351"/>
                </a:cubicBezTo>
                <a:lnTo>
                  <a:pt x="2921758" y="3024947"/>
                </a:lnTo>
                <a:close/>
                <a:moveTo>
                  <a:pt x="6252971" y="3013892"/>
                </a:moveTo>
                <a:cubicBezTo>
                  <a:pt x="6261571" y="3016196"/>
                  <a:pt x="6259256" y="3024836"/>
                  <a:pt x="6267859" y="3027141"/>
                </a:cubicBezTo>
                <a:cubicBezTo>
                  <a:pt x="6267859" y="3027141"/>
                  <a:pt x="6265545" y="3035778"/>
                  <a:pt x="6263230" y="3044417"/>
                </a:cubicBezTo>
                <a:cubicBezTo>
                  <a:pt x="6254627" y="3042112"/>
                  <a:pt x="6246027" y="3039808"/>
                  <a:pt x="6256942" y="3033473"/>
                </a:cubicBezTo>
                <a:cubicBezTo>
                  <a:pt x="6259256" y="3024836"/>
                  <a:pt x="6248342" y="3031168"/>
                  <a:pt x="6239740" y="3028864"/>
                </a:cubicBezTo>
                <a:cubicBezTo>
                  <a:pt x="6242055" y="3020226"/>
                  <a:pt x="6250656" y="3022531"/>
                  <a:pt x="6252971" y="3013892"/>
                </a:cubicBezTo>
                <a:close/>
                <a:moveTo>
                  <a:pt x="7948088" y="3013751"/>
                </a:moveTo>
                <a:cubicBezTo>
                  <a:pt x="7948238" y="3013791"/>
                  <a:pt x="7947772" y="3015527"/>
                  <a:pt x="7946532" y="3020155"/>
                </a:cubicBezTo>
                <a:cubicBezTo>
                  <a:pt x="7956131" y="3022727"/>
                  <a:pt x="7944052" y="3029411"/>
                  <a:pt x="7953651" y="3031983"/>
                </a:cubicBezTo>
                <a:cubicBezTo>
                  <a:pt x="7941572" y="3038668"/>
                  <a:pt x="7924853" y="3024267"/>
                  <a:pt x="7927333" y="3015011"/>
                </a:cubicBezTo>
                <a:cubicBezTo>
                  <a:pt x="7927333" y="3015011"/>
                  <a:pt x="7936934" y="3017583"/>
                  <a:pt x="7934454" y="3026839"/>
                </a:cubicBezTo>
                <a:cubicBezTo>
                  <a:pt x="7939253" y="3028125"/>
                  <a:pt x="7943513" y="3021826"/>
                  <a:pt x="7945953" y="3017519"/>
                </a:cubicBezTo>
                <a:cubicBezTo>
                  <a:pt x="7947173" y="3015366"/>
                  <a:pt x="7947938" y="3013711"/>
                  <a:pt x="7948088" y="3013751"/>
                </a:cubicBezTo>
                <a:close/>
                <a:moveTo>
                  <a:pt x="4324100" y="3011512"/>
                </a:moveTo>
                <a:cubicBezTo>
                  <a:pt x="4347450" y="3026904"/>
                  <a:pt x="4345166" y="3035429"/>
                  <a:pt x="4364540" y="3031483"/>
                </a:cubicBezTo>
                <a:cubicBezTo>
                  <a:pt x="4370802" y="3042299"/>
                  <a:pt x="4353713" y="3037719"/>
                  <a:pt x="4342882" y="3043952"/>
                </a:cubicBezTo>
                <a:cubicBezTo>
                  <a:pt x="4345166" y="3035429"/>
                  <a:pt x="4317248" y="3037084"/>
                  <a:pt x="4317248" y="3037084"/>
                </a:cubicBezTo>
                <a:cubicBezTo>
                  <a:pt x="4321817" y="3020035"/>
                  <a:pt x="4319532" y="3028561"/>
                  <a:pt x="4328076" y="3030850"/>
                </a:cubicBezTo>
                <a:cubicBezTo>
                  <a:pt x="4330360" y="3022325"/>
                  <a:pt x="4310986" y="3026271"/>
                  <a:pt x="4324100" y="3011512"/>
                </a:cubicBezTo>
                <a:close/>
                <a:moveTo>
                  <a:pt x="4251199" y="3011023"/>
                </a:moveTo>
                <a:cubicBezTo>
                  <a:pt x="4260236" y="3026670"/>
                  <a:pt x="4272081" y="3013311"/>
                  <a:pt x="4278120" y="3016995"/>
                </a:cubicBezTo>
                <a:cubicBezTo>
                  <a:pt x="4280136" y="3018224"/>
                  <a:pt x="4281504" y="3021349"/>
                  <a:pt x="4281905" y="3028069"/>
                </a:cubicBezTo>
                <a:cubicBezTo>
                  <a:pt x="4265450" y="3023660"/>
                  <a:pt x="4257222" y="3021455"/>
                  <a:pt x="4255018" y="3029683"/>
                </a:cubicBezTo>
                <a:cubicBezTo>
                  <a:pt x="4252813" y="3037910"/>
                  <a:pt x="4271473" y="3034092"/>
                  <a:pt x="4277496" y="3044524"/>
                </a:cubicBezTo>
                <a:cubicBezTo>
                  <a:pt x="4258836" y="3048343"/>
                  <a:pt x="4283519" y="3054956"/>
                  <a:pt x="4273087" y="3060979"/>
                </a:cubicBezTo>
                <a:cubicBezTo>
                  <a:pt x="4258836" y="3048343"/>
                  <a:pt x="4244586" y="3035706"/>
                  <a:pt x="4236358" y="3033501"/>
                </a:cubicBezTo>
                <a:cubicBezTo>
                  <a:pt x="4238564" y="3025274"/>
                  <a:pt x="4246790" y="3027478"/>
                  <a:pt x="4251199" y="3011023"/>
                </a:cubicBezTo>
                <a:close/>
                <a:moveTo>
                  <a:pt x="5777136" y="3010865"/>
                </a:moveTo>
                <a:lnTo>
                  <a:pt x="5778632" y="3015542"/>
                </a:lnTo>
                <a:lnTo>
                  <a:pt x="5776265" y="3016966"/>
                </a:lnTo>
                <a:close/>
                <a:moveTo>
                  <a:pt x="8132551" y="3006069"/>
                </a:moveTo>
                <a:cubicBezTo>
                  <a:pt x="8140779" y="3008273"/>
                  <a:pt x="8130346" y="3014296"/>
                  <a:pt x="8138574" y="3016501"/>
                </a:cubicBezTo>
                <a:cubicBezTo>
                  <a:pt x="8137472" y="3020614"/>
                  <a:pt x="8135415" y="3020063"/>
                  <a:pt x="8132605" y="3018208"/>
                </a:cubicBezTo>
                <a:lnTo>
                  <a:pt x="8128921" y="3016059"/>
                </a:lnTo>
                <a:lnTo>
                  <a:pt x="8129042" y="3015049"/>
                </a:lnTo>
                <a:cubicBezTo>
                  <a:pt x="8128289" y="3013745"/>
                  <a:pt x="8126232" y="3013194"/>
                  <a:pt x="8122119" y="3012092"/>
                </a:cubicBezTo>
                <a:lnTo>
                  <a:pt x="8128921" y="3016059"/>
                </a:lnTo>
                <a:lnTo>
                  <a:pt x="8128142" y="3022524"/>
                </a:lnTo>
                <a:cubicBezTo>
                  <a:pt x="8119915" y="3020319"/>
                  <a:pt x="8111687" y="3018114"/>
                  <a:pt x="8111687" y="3018114"/>
                </a:cubicBezTo>
                <a:cubicBezTo>
                  <a:pt x="8107869" y="2999455"/>
                  <a:pt x="8130346" y="3014296"/>
                  <a:pt x="8132551" y="3006069"/>
                </a:cubicBezTo>
                <a:close/>
                <a:moveTo>
                  <a:pt x="6660452" y="3004031"/>
                </a:moveTo>
                <a:cubicBezTo>
                  <a:pt x="6660452" y="3004031"/>
                  <a:pt x="6658247" y="3012258"/>
                  <a:pt x="6656042" y="3020486"/>
                </a:cubicBezTo>
                <a:cubicBezTo>
                  <a:pt x="6656042" y="3020486"/>
                  <a:pt x="6647815" y="3018281"/>
                  <a:pt x="6639587" y="3016077"/>
                </a:cubicBezTo>
                <a:cubicBezTo>
                  <a:pt x="6643996" y="2999622"/>
                  <a:pt x="6658247" y="3012258"/>
                  <a:pt x="6660452" y="3004031"/>
                </a:cubicBezTo>
                <a:close/>
                <a:moveTo>
                  <a:pt x="5799922" y="3002727"/>
                </a:moveTo>
                <a:cubicBezTo>
                  <a:pt x="5797350" y="3012325"/>
                  <a:pt x="5806606" y="3014805"/>
                  <a:pt x="5804034" y="3024406"/>
                </a:cubicBezTo>
                <a:cubicBezTo>
                  <a:pt x="5794777" y="3021926"/>
                  <a:pt x="5785521" y="3019446"/>
                  <a:pt x="5782949" y="3029044"/>
                </a:cubicBezTo>
                <a:lnTo>
                  <a:pt x="5778632" y="3015542"/>
                </a:lnTo>
                <a:lnTo>
                  <a:pt x="5788094" y="3009845"/>
                </a:lnTo>
                <a:cubicBezTo>
                  <a:pt x="5791694" y="3005666"/>
                  <a:pt x="5795293" y="3001487"/>
                  <a:pt x="5799922" y="3002727"/>
                </a:cubicBezTo>
                <a:close/>
                <a:moveTo>
                  <a:pt x="5772153" y="2995286"/>
                </a:moveTo>
                <a:cubicBezTo>
                  <a:pt x="5775495" y="3001325"/>
                  <a:pt x="5777166" y="3004345"/>
                  <a:pt x="5777680" y="3007055"/>
                </a:cubicBezTo>
                <a:lnTo>
                  <a:pt x="5777136" y="3010865"/>
                </a:lnTo>
                <a:close/>
                <a:moveTo>
                  <a:pt x="8006711" y="2994394"/>
                </a:moveTo>
                <a:cubicBezTo>
                  <a:pt x="8012406" y="2993717"/>
                  <a:pt x="8015967" y="2996874"/>
                  <a:pt x="8012660" y="3009217"/>
                </a:cubicBezTo>
                <a:cubicBezTo>
                  <a:pt x="8006637" y="2998785"/>
                  <a:pt x="7996205" y="3004808"/>
                  <a:pt x="7987977" y="3002603"/>
                </a:cubicBezTo>
                <a:cubicBezTo>
                  <a:pt x="7993195" y="2999591"/>
                  <a:pt x="8001018" y="2995074"/>
                  <a:pt x="8006711" y="2994394"/>
                </a:cubicBezTo>
                <a:close/>
                <a:moveTo>
                  <a:pt x="6588312" y="2993519"/>
                </a:moveTo>
                <a:cubicBezTo>
                  <a:pt x="6596539" y="2995724"/>
                  <a:pt x="6593967" y="3005322"/>
                  <a:pt x="6593967" y="3005322"/>
                </a:cubicBezTo>
                <a:cubicBezTo>
                  <a:pt x="6588823" y="3024522"/>
                  <a:pt x="6585740" y="3003118"/>
                  <a:pt x="6577512" y="3000913"/>
                </a:cubicBezTo>
                <a:cubicBezTo>
                  <a:pt x="6577512" y="3000913"/>
                  <a:pt x="6585740" y="3003118"/>
                  <a:pt x="6588312" y="2993519"/>
                </a:cubicBezTo>
                <a:close/>
                <a:moveTo>
                  <a:pt x="3394188" y="2991053"/>
                </a:moveTo>
                <a:lnTo>
                  <a:pt x="3391896" y="2999608"/>
                </a:lnTo>
                <a:cubicBezTo>
                  <a:pt x="3400408" y="3001889"/>
                  <a:pt x="3408918" y="3004169"/>
                  <a:pt x="3408918" y="3004169"/>
                </a:cubicBezTo>
                <a:cubicBezTo>
                  <a:pt x="3411210" y="2995615"/>
                  <a:pt x="3402700" y="2993334"/>
                  <a:pt x="3394188" y="2991053"/>
                </a:cubicBezTo>
                <a:close/>
                <a:moveTo>
                  <a:pt x="3578078" y="2985670"/>
                </a:moveTo>
                <a:lnTo>
                  <a:pt x="3573579" y="3002457"/>
                </a:lnTo>
                <a:cubicBezTo>
                  <a:pt x="3578980" y="2999321"/>
                  <a:pt x="3583235" y="3000462"/>
                  <a:pt x="3587493" y="3001602"/>
                </a:cubicBezTo>
                <a:lnTo>
                  <a:pt x="3600249" y="3000818"/>
                </a:lnTo>
                <a:lnTo>
                  <a:pt x="3585838" y="2995879"/>
                </a:lnTo>
                <a:cubicBezTo>
                  <a:pt x="3581548" y="2994729"/>
                  <a:pt x="3582649" y="2990614"/>
                  <a:pt x="3582403" y="2987243"/>
                </a:cubicBezTo>
                <a:close/>
                <a:moveTo>
                  <a:pt x="3332195" y="2985233"/>
                </a:moveTo>
                <a:cubicBezTo>
                  <a:pt x="3340423" y="2987438"/>
                  <a:pt x="3340423" y="2987438"/>
                  <a:pt x="3340423" y="2987438"/>
                </a:cubicBezTo>
                <a:cubicBezTo>
                  <a:pt x="3338218" y="2995665"/>
                  <a:pt x="3348650" y="2989642"/>
                  <a:pt x="3356877" y="2991847"/>
                </a:cubicBezTo>
                <a:cubicBezTo>
                  <a:pt x="3352469" y="3008302"/>
                  <a:pt x="3338218" y="2995665"/>
                  <a:pt x="3336013" y="3003893"/>
                </a:cubicBezTo>
                <a:cubicBezTo>
                  <a:pt x="3338218" y="2995665"/>
                  <a:pt x="3329991" y="2993460"/>
                  <a:pt x="3332195" y="2985233"/>
                </a:cubicBezTo>
                <a:close/>
                <a:moveTo>
                  <a:pt x="5766130" y="2984854"/>
                </a:moveTo>
                <a:cubicBezTo>
                  <a:pt x="5771348" y="2981842"/>
                  <a:pt x="5775460" y="2982943"/>
                  <a:pt x="5779300" y="2985075"/>
                </a:cubicBezTo>
                <a:cubicBezTo>
                  <a:pt x="5783136" y="2987206"/>
                  <a:pt x="5786700" y="2990366"/>
                  <a:pt x="5790812" y="2991468"/>
                </a:cubicBezTo>
                <a:cubicBezTo>
                  <a:pt x="5778176" y="3005718"/>
                  <a:pt x="5774357" y="2987059"/>
                  <a:pt x="5766130" y="2984854"/>
                </a:cubicBezTo>
                <a:close/>
                <a:moveTo>
                  <a:pt x="8175308" y="2982252"/>
                </a:moveTo>
                <a:cubicBezTo>
                  <a:pt x="8193821" y="2987213"/>
                  <a:pt x="8182360" y="2992960"/>
                  <a:pt x="8203077" y="2989693"/>
                </a:cubicBezTo>
                <a:cubicBezTo>
                  <a:pt x="8191616" y="2995440"/>
                  <a:pt x="8191616" y="2995440"/>
                  <a:pt x="8200872" y="2997921"/>
                </a:cubicBezTo>
                <a:cubicBezTo>
                  <a:pt x="8198668" y="3006148"/>
                  <a:pt x="8173104" y="2990480"/>
                  <a:pt x="8170899" y="2998707"/>
                </a:cubicBezTo>
                <a:cubicBezTo>
                  <a:pt x="8161643" y="2996227"/>
                  <a:pt x="8182360" y="2992960"/>
                  <a:pt x="8175308" y="2982252"/>
                </a:cubicBezTo>
                <a:close/>
                <a:moveTo>
                  <a:pt x="7023427" y="2982245"/>
                </a:moveTo>
                <a:cubicBezTo>
                  <a:pt x="7023427" y="2982245"/>
                  <a:pt x="7018466" y="3000757"/>
                  <a:pt x="7010239" y="2998553"/>
                </a:cubicBezTo>
                <a:cubicBezTo>
                  <a:pt x="7007758" y="3007809"/>
                  <a:pt x="7007758" y="3007809"/>
                  <a:pt x="7015986" y="3010014"/>
                </a:cubicBezTo>
                <a:cubicBezTo>
                  <a:pt x="7005278" y="3017065"/>
                  <a:pt x="7007758" y="3007809"/>
                  <a:pt x="6999531" y="3005605"/>
                </a:cubicBezTo>
                <a:cubicBezTo>
                  <a:pt x="7002011" y="2996348"/>
                  <a:pt x="7004491" y="2987092"/>
                  <a:pt x="7023427" y="2982245"/>
                </a:cubicBezTo>
                <a:close/>
                <a:moveTo>
                  <a:pt x="4425778" y="2982220"/>
                </a:moveTo>
                <a:lnTo>
                  <a:pt x="4429169" y="2982737"/>
                </a:lnTo>
                <a:lnTo>
                  <a:pt x="4429290" y="2984733"/>
                </a:lnTo>
                <a:close/>
                <a:moveTo>
                  <a:pt x="3835702" y="2981997"/>
                </a:moveTo>
                <a:cubicBezTo>
                  <a:pt x="3835702" y="2981997"/>
                  <a:pt x="3833130" y="2991595"/>
                  <a:pt x="3841357" y="2993800"/>
                </a:cubicBezTo>
                <a:lnTo>
                  <a:pt x="3832103" y="2984460"/>
                </a:lnTo>
                <a:close/>
                <a:moveTo>
                  <a:pt x="5504660" y="2980657"/>
                </a:moveTo>
                <a:cubicBezTo>
                  <a:pt x="5502376" y="2989182"/>
                  <a:pt x="5510922" y="2991472"/>
                  <a:pt x="5508638" y="2999995"/>
                </a:cubicBezTo>
                <a:cubicBezTo>
                  <a:pt x="5510922" y="2991472"/>
                  <a:pt x="5491549" y="2995416"/>
                  <a:pt x="5504660" y="2980657"/>
                </a:cubicBezTo>
                <a:close/>
                <a:moveTo>
                  <a:pt x="6500723" y="2980338"/>
                </a:moveTo>
                <a:cubicBezTo>
                  <a:pt x="6500723" y="2980338"/>
                  <a:pt x="6510322" y="2982909"/>
                  <a:pt x="6510322" y="2982909"/>
                </a:cubicBezTo>
                <a:cubicBezTo>
                  <a:pt x="6517347" y="2995082"/>
                  <a:pt x="6512893" y="2973311"/>
                  <a:pt x="6519920" y="2985481"/>
                </a:cubicBezTo>
                <a:cubicBezTo>
                  <a:pt x="6507749" y="2992510"/>
                  <a:pt x="6510322" y="2982909"/>
                  <a:pt x="6485978" y="2996964"/>
                </a:cubicBezTo>
                <a:cubicBezTo>
                  <a:pt x="6488550" y="2987366"/>
                  <a:pt x="6491122" y="2977765"/>
                  <a:pt x="6500723" y="2980338"/>
                </a:cubicBezTo>
                <a:close/>
                <a:moveTo>
                  <a:pt x="6012172" y="2979866"/>
                </a:moveTo>
                <a:lnTo>
                  <a:pt x="6016198" y="2979997"/>
                </a:lnTo>
                <a:lnTo>
                  <a:pt x="6018021" y="2982719"/>
                </a:lnTo>
                <a:cubicBezTo>
                  <a:pt x="6020400" y="2982070"/>
                  <a:pt x="6023098" y="2980221"/>
                  <a:pt x="6023098" y="2980221"/>
                </a:cubicBezTo>
                <a:cubicBezTo>
                  <a:pt x="6020525" y="2989822"/>
                  <a:pt x="6017953" y="2999421"/>
                  <a:pt x="6009725" y="2997216"/>
                </a:cubicBezTo>
                <a:cubicBezTo>
                  <a:pt x="6006899" y="2991315"/>
                  <a:pt x="6008828" y="2984116"/>
                  <a:pt x="6012172" y="2979866"/>
                </a:cubicBezTo>
                <a:close/>
                <a:moveTo>
                  <a:pt x="6416799" y="2979530"/>
                </a:moveTo>
                <a:cubicBezTo>
                  <a:pt x="6422217" y="2979880"/>
                  <a:pt x="6428388" y="2981533"/>
                  <a:pt x="6436615" y="2983738"/>
                </a:cubicBezTo>
                <a:cubicBezTo>
                  <a:pt x="6432206" y="3000193"/>
                  <a:pt x="6411932" y="2977124"/>
                  <a:pt x="6417956" y="2987556"/>
                </a:cubicBezTo>
                <a:cubicBezTo>
                  <a:pt x="6405319" y="3001806"/>
                  <a:pt x="6411932" y="2977124"/>
                  <a:pt x="6401501" y="2983147"/>
                </a:cubicBezTo>
                <a:cubicBezTo>
                  <a:pt x="6406717" y="2980135"/>
                  <a:pt x="6411381" y="2979181"/>
                  <a:pt x="6416799" y="2979530"/>
                </a:cubicBezTo>
                <a:close/>
                <a:moveTo>
                  <a:pt x="4421606" y="2979236"/>
                </a:moveTo>
                <a:lnTo>
                  <a:pt x="4425778" y="2982220"/>
                </a:lnTo>
                <a:lnTo>
                  <a:pt x="4412206" y="2980155"/>
                </a:lnTo>
                <a:cubicBezTo>
                  <a:pt x="4416476" y="2981300"/>
                  <a:pt x="4419184" y="2979734"/>
                  <a:pt x="4421606" y="2979236"/>
                </a:cubicBezTo>
                <a:close/>
                <a:moveTo>
                  <a:pt x="4732909" y="2978063"/>
                </a:moveTo>
                <a:cubicBezTo>
                  <a:pt x="4736270" y="2977862"/>
                  <a:pt x="4740385" y="2978964"/>
                  <a:pt x="4744497" y="2980066"/>
                </a:cubicBezTo>
                <a:cubicBezTo>
                  <a:pt x="4742293" y="2988294"/>
                  <a:pt x="4742293" y="2988294"/>
                  <a:pt x="4734066" y="2986089"/>
                </a:cubicBezTo>
                <a:cubicBezTo>
                  <a:pt x="4734066" y="2986089"/>
                  <a:pt x="4742293" y="2988294"/>
                  <a:pt x="4742293" y="2988294"/>
                </a:cubicBezTo>
                <a:cubicBezTo>
                  <a:pt x="4737884" y="3004749"/>
                  <a:pt x="4734066" y="2986089"/>
                  <a:pt x="4725838" y="2983885"/>
                </a:cubicBezTo>
                <a:cubicBezTo>
                  <a:pt x="4726941" y="2979771"/>
                  <a:pt x="4729548" y="2978265"/>
                  <a:pt x="4732909" y="2978063"/>
                </a:cubicBezTo>
                <a:close/>
                <a:moveTo>
                  <a:pt x="6014870" y="2978017"/>
                </a:moveTo>
                <a:cubicBezTo>
                  <a:pt x="6014870" y="2978017"/>
                  <a:pt x="6023098" y="2980221"/>
                  <a:pt x="6023098" y="2980221"/>
                </a:cubicBezTo>
                <a:lnTo>
                  <a:pt x="6016198" y="2979997"/>
                </a:lnTo>
                <a:close/>
                <a:moveTo>
                  <a:pt x="6557606" y="2976474"/>
                </a:moveTo>
                <a:cubicBezTo>
                  <a:pt x="6563354" y="2987934"/>
                  <a:pt x="6560873" y="2997191"/>
                  <a:pt x="6560873" y="2997191"/>
                </a:cubicBezTo>
                <a:cubicBezTo>
                  <a:pt x="6552646" y="2994986"/>
                  <a:pt x="6550166" y="3004243"/>
                  <a:pt x="6550166" y="3004243"/>
                </a:cubicBezTo>
                <a:cubicBezTo>
                  <a:pt x="6539458" y="3011294"/>
                  <a:pt x="6541938" y="3002038"/>
                  <a:pt x="6533711" y="2999833"/>
                </a:cubicBezTo>
                <a:cubicBezTo>
                  <a:pt x="6536191" y="2990577"/>
                  <a:pt x="6541151" y="2972065"/>
                  <a:pt x="6544418" y="2992782"/>
                </a:cubicBezTo>
                <a:cubicBezTo>
                  <a:pt x="6552646" y="2994986"/>
                  <a:pt x="6546899" y="2983525"/>
                  <a:pt x="6557606" y="2976474"/>
                </a:cubicBezTo>
                <a:close/>
                <a:moveTo>
                  <a:pt x="6384535" y="2976396"/>
                </a:moveTo>
                <a:cubicBezTo>
                  <a:pt x="6389425" y="2979360"/>
                  <a:pt x="6396174" y="2992742"/>
                  <a:pt x="6386806" y="2996846"/>
                </a:cubicBezTo>
                <a:cubicBezTo>
                  <a:pt x="6378726" y="2985863"/>
                  <a:pt x="6378726" y="2985863"/>
                  <a:pt x="6378726" y="2985863"/>
                </a:cubicBezTo>
                <a:cubicBezTo>
                  <a:pt x="6378726" y="2985863"/>
                  <a:pt x="6380930" y="2977635"/>
                  <a:pt x="6380930" y="2977635"/>
                </a:cubicBezTo>
                <a:cubicBezTo>
                  <a:pt x="6381481" y="2975578"/>
                  <a:pt x="6382905" y="2975409"/>
                  <a:pt x="6384535" y="2976396"/>
                </a:cubicBezTo>
                <a:close/>
                <a:moveTo>
                  <a:pt x="5755718" y="2974348"/>
                </a:moveTo>
                <a:cubicBezTo>
                  <a:pt x="5760107" y="2974422"/>
                  <a:pt x="5764221" y="2975524"/>
                  <a:pt x="5768335" y="2976627"/>
                </a:cubicBezTo>
                <a:cubicBezTo>
                  <a:pt x="5757902" y="2982649"/>
                  <a:pt x="5755698" y="2990877"/>
                  <a:pt x="5753493" y="2999104"/>
                </a:cubicBezTo>
                <a:cubicBezTo>
                  <a:pt x="5745266" y="2996900"/>
                  <a:pt x="5747471" y="2988672"/>
                  <a:pt x="5739243" y="2986468"/>
                </a:cubicBezTo>
                <a:cubicBezTo>
                  <a:pt x="5739243" y="2986468"/>
                  <a:pt x="5741447" y="2978240"/>
                  <a:pt x="5741447" y="2978240"/>
                </a:cubicBezTo>
                <a:cubicBezTo>
                  <a:pt x="5746663" y="2975229"/>
                  <a:pt x="5751328" y="2974274"/>
                  <a:pt x="5755718" y="2974348"/>
                </a:cubicBezTo>
                <a:close/>
                <a:moveTo>
                  <a:pt x="4076217" y="2972955"/>
                </a:moveTo>
                <a:cubicBezTo>
                  <a:pt x="4076217" y="2972955"/>
                  <a:pt x="4084446" y="2975160"/>
                  <a:pt x="4084446" y="2975160"/>
                </a:cubicBezTo>
                <a:cubicBezTo>
                  <a:pt x="4074012" y="2981183"/>
                  <a:pt x="4096491" y="2996024"/>
                  <a:pt x="4069603" y="2997638"/>
                </a:cubicBezTo>
                <a:cubicBezTo>
                  <a:pt x="4082240" y="2983387"/>
                  <a:pt x="4074012" y="2981183"/>
                  <a:pt x="4076217" y="2972955"/>
                </a:cubicBezTo>
                <a:close/>
                <a:moveTo>
                  <a:pt x="4279045" y="2972927"/>
                </a:moveTo>
                <a:cubicBezTo>
                  <a:pt x="4279045" y="2972927"/>
                  <a:pt x="4287272" y="2975131"/>
                  <a:pt x="4287272" y="2975131"/>
                </a:cubicBezTo>
                <a:cubicBezTo>
                  <a:pt x="4284699" y="2984730"/>
                  <a:pt x="4279045" y="2972927"/>
                  <a:pt x="4279045" y="2972927"/>
                </a:cubicBezTo>
                <a:close/>
                <a:moveTo>
                  <a:pt x="3820534" y="2972786"/>
                </a:moveTo>
                <a:lnTo>
                  <a:pt x="3832103" y="2984460"/>
                </a:lnTo>
                <a:lnTo>
                  <a:pt x="3824902" y="2989390"/>
                </a:lnTo>
                <a:cubicBezTo>
                  <a:pt x="3819247" y="2977587"/>
                  <a:pt x="3808447" y="2984981"/>
                  <a:pt x="3791992" y="2980572"/>
                </a:cubicBezTo>
                <a:cubicBezTo>
                  <a:pt x="3797393" y="2976876"/>
                  <a:pt x="3809608" y="2972430"/>
                  <a:pt x="3820534" y="2972786"/>
                </a:cubicBezTo>
                <a:close/>
                <a:moveTo>
                  <a:pt x="7930682" y="2969614"/>
                </a:moveTo>
                <a:cubicBezTo>
                  <a:pt x="7940698" y="2967888"/>
                  <a:pt x="7952392" y="2968819"/>
                  <a:pt x="7962143" y="2972531"/>
                </a:cubicBezTo>
                <a:cubicBezTo>
                  <a:pt x="7971896" y="2976247"/>
                  <a:pt x="7979705" y="2982750"/>
                  <a:pt x="7981957" y="2992172"/>
                </a:cubicBezTo>
                <a:cubicBezTo>
                  <a:pt x="7961927" y="2995623"/>
                  <a:pt x="7957421" y="2976779"/>
                  <a:pt x="7930682" y="2969614"/>
                </a:cubicBezTo>
                <a:close/>
                <a:moveTo>
                  <a:pt x="4042385" y="2969124"/>
                </a:moveTo>
                <a:cubicBezTo>
                  <a:pt x="4044382" y="2969384"/>
                  <a:pt x="4047586" y="2970794"/>
                  <a:pt x="4050910" y="2972787"/>
                </a:cubicBezTo>
                <a:cubicBezTo>
                  <a:pt x="4057558" y="2976774"/>
                  <a:pt x="4064683" y="2983090"/>
                  <a:pt x="4063580" y="2987206"/>
                </a:cubicBezTo>
                <a:cubicBezTo>
                  <a:pt x="4047125" y="2982796"/>
                  <a:pt x="4038898" y="2980592"/>
                  <a:pt x="4030670" y="2978387"/>
                </a:cubicBezTo>
                <a:cubicBezTo>
                  <a:pt x="4014215" y="2973978"/>
                  <a:pt x="4038898" y="2980592"/>
                  <a:pt x="4041103" y="2972364"/>
                </a:cubicBezTo>
                <a:cubicBezTo>
                  <a:pt x="4039597" y="2969756"/>
                  <a:pt x="4040387" y="2968865"/>
                  <a:pt x="4042385" y="2969124"/>
                </a:cubicBezTo>
                <a:close/>
                <a:moveTo>
                  <a:pt x="5806066" y="2969100"/>
                </a:moveTo>
                <a:cubicBezTo>
                  <a:pt x="5818936" y="2990185"/>
                  <a:pt x="5842826" y="2970132"/>
                  <a:pt x="5855696" y="2991217"/>
                </a:cubicBezTo>
                <a:cubicBezTo>
                  <a:pt x="5857901" y="2982989"/>
                  <a:pt x="5868745" y="2977077"/>
                  <a:pt x="5886021" y="2981706"/>
                </a:cubicBezTo>
                <a:cubicBezTo>
                  <a:pt x="5866540" y="2985304"/>
                  <a:pt x="5836212" y="2994814"/>
                  <a:pt x="5840443" y="3013584"/>
                </a:cubicBezTo>
                <a:cubicBezTo>
                  <a:pt x="5834008" y="3003042"/>
                  <a:pt x="5825368" y="3000727"/>
                  <a:pt x="5818936" y="2990185"/>
                </a:cubicBezTo>
                <a:lnTo>
                  <a:pt x="5820641" y="2988633"/>
                </a:lnTo>
                <a:lnTo>
                  <a:pt x="5821455" y="2988693"/>
                </a:lnTo>
                <a:lnTo>
                  <a:pt x="5824334" y="2991632"/>
                </a:lnTo>
                <a:cubicBezTo>
                  <a:pt x="5827022" y="2994556"/>
                  <a:pt x="5830790" y="2997771"/>
                  <a:pt x="5836212" y="2994814"/>
                </a:cubicBezTo>
                <a:cubicBezTo>
                  <a:pt x="5837314" y="2990701"/>
                  <a:pt x="5832995" y="2989543"/>
                  <a:pt x="5827321" y="2989125"/>
                </a:cubicBezTo>
                <a:lnTo>
                  <a:pt x="5821455" y="2988693"/>
                </a:lnTo>
                <a:lnTo>
                  <a:pt x="5821040" y="2988269"/>
                </a:lnTo>
                <a:lnTo>
                  <a:pt x="5820641" y="2988633"/>
                </a:lnTo>
                <a:lnTo>
                  <a:pt x="5810296" y="2987870"/>
                </a:lnTo>
                <a:cubicBezTo>
                  <a:pt x="5812501" y="2979643"/>
                  <a:pt x="5793017" y="2983240"/>
                  <a:pt x="5806066" y="2969100"/>
                </a:cubicBezTo>
                <a:close/>
                <a:moveTo>
                  <a:pt x="7839334" y="2968972"/>
                </a:moveTo>
                <a:cubicBezTo>
                  <a:pt x="7851628" y="2967719"/>
                  <a:pt x="7863611" y="2982504"/>
                  <a:pt x="7866918" y="2970163"/>
                </a:cubicBezTo>
                <a:cubicBezTo>
                  <a:pt x="7864714" y="2978390"/>
                  <a:pt x="7884547" y="2974886"/>
                  <a:pt x="7893363" y="2977249"/>
                </a:cubicBezTo>
                <a:cubicBezTo>
                  <a:pt x="7869120" y="2997207"/>
                  <a:pt x="7847082" y="2973666"/>
                  <a:pt x="7827246" y="2977169"/>
                </a:cubicBezTo>
                <a:cubicBezTo>
                  <a:pt x="7831103" y="2971589"/>
                  <a:pt x="7835236" y="2969389"/>
                  <a:pt x="7839334" y="2968972"/>
                </a:cubicBezTo>
                <a:close/>
                <a:moveTo>
                  <a:pt x="4774693" y="2966110"/>
                </a:moveTo>
                <a:cubicBezTo>
                  <a:pt x="4782919" y="2968314"/>
                  <a:pt x="4766975" y="2994907"/>
                  <a:pt x="4761320" y="2983104"/>
                </a:cubicBezTo>
                <a:cubicBezTo>
                  <a:pt x="4761320" y="2983104"/>
                  <a:pt x="4763892" y="2973504"/>
                  <a:pt x="4774693" y="2966110"/>
                </a:cubicBezTo>
                <a:close/>
                <a:moveTo>
                  <a:pt x="6304679" y="2966019"/>
                </a:moveTo>
                <a:cubicBezTo>
                  <a:pt x="6321134" y="2970428"/>
                  <a:pt x="6298065" y="2990701"/>
                  <a:pt x="6324952" y="2989088"/>
                </a:cubicBezTo>
                <a:cubicBezTo>
                  <a:pt x="6318339" y="3013770"/>
                  <a:pt x="6302474" y="2974246"/>
                  <a:pt x="6298065" y="2990701"/>
                </a:cubicBezTo>
                <a:cubicBezTo>
                  <a:pt x="6292042" y="2980269"/>
                  <a:pt x="6300269" y="2982474"/>
                  <a:pt x="6304679" y="2966019"/>
                </a:cubicBezTo>
                <a:close/>
                <a:moveTo>
                  <a:pt x="3510225" y="2966002"/>
                </a:moveTo>
                <a:cubicBezTo>
                  <a:pt x="3512240" y="2965396"/>
                  <a:pt x="3514900" y="2966109"/>
                  <a:pt x="3518583" y="2969387"/>
                </a:cubicBezTo>
                <a:cubicBezTo>
                  <a:pt x="3516291" y="2977941"/>
                  <a:pt x="3516291" y="2977941"/>
                  <a:pt x="3513999" y="2986493"/>
                </a:cubicBezTo>
                <a:cubicBezTo>
                  <a:pt x="3518583" y="2969387"/>
                  <a:pt x="3526438" y="3008159"/>
                  <a:pt x="3556557" y="2997896"/>
                </a:cubicBezTo>
                <a:cubicBezTo>
                  <a:pt x="3548044" y="2995615"/>
                  <a:pt x="3548044" y="2995615"/>
                  <a:pt x="3550336" y="2987064"/>
                </a:cubicBezTo>
                <a:cubicBezTo>
                  <a:pt x="3551482" y="2982785"/>
                  <a:pt x="3555739" y="2983926"/>
                  <a:pt x="3561057" y="2985351"/>
                </a:cubicBezTo>
                <a:lnTo>
                  <a:pt x="3577202" y="2985352"/>
                </a:lnTo>
                <a:lnTo>
                  <a:pt x="3570872" y="2983051"/>
                </a:lnTo>
                <a:cubicBezTo>
                  <a:pt x="3601037" y="2973497"/>
                  <a:pt x="3648141" y="3003755"/>
                  <a:pt x="3674130" y="2975446"/>
                </a:cubicBezTo>
                <a:cubicBezTo>
                  <a:pt x="3699885" y="2982347"/>
                  <a:pt x="3710675" y="2976420"/>
                  <a:pt x="3717055" y="2986947"/>
                </a:cubicBezTo>
                <a:cubicBezTo>
                  <a:pt x="3727845" y="2981020"/>
                  <a:pt x="3738635" y="2975093"/>
                  <a:pt x="3740839" y="2966866"/>
                </a:cubicBezTo>
                <a:cubicBezTo>
                  <a:pt x="3755805" y="2979694"/>
                  <a:pt x="3766595" y="2973767"/>
                  <a:pt x="3783765" y="2978368"/>
                </a:cubicBezTo>
                <a:cubicBezTo>
                  <a:pt x="3772975" y="2984295"/>
                  <a:pt x="3753600" y="2987921"/>
                  <a:pt x="3738635" y="2975093"/>
                </a:cubicBezTo>
                <a:cubicBezTo>
                  <a:pt x="3727845" y="2981020"/>
                  <a:pt x="3714851" y="2995175"/>
                  <a:pt x="3695476" y="2998802"/>
                </a:cubicBezTo>
                <a:cubicBezTo>
                  <a:pt x="3693271" y="3007029"/>
                  <a:pt x="3704061" y="3001102"/>
                  <a:pt x="3701856" y="3009330"/>
                </a:cubicBezTo>
                <a:cubicBezTo>
                  <a:pt x="3693271" y="3007029"/>
                  <a:pt x="3695476" y="2998802"/>
                  <a:pt x="3678305" y="2994201"/>
                </a:cubicBezTo>
                <a:cubicBezTo>
                  <a:pt x="3669720" y="2991901"/>
                  <a:pt x="3667516" y="3000128"/>
                  <a:pt x="3665311" y="3008356"/>
                </a:cubicBezTo>
                <a:cubicBezTo>
                  <a:pt x="3658931" y="2997828"/>
                  <a:pt x="3650346" y="2995527"/>
                  <a:pt x="3641760" y="2993227"/>
                </a:cubicBezTo>
                <a:cubicBezTo>
                  <a:pt x="3639556" y="3001455"/>
                  <a:pt x="3639556" y="3001455"/>
                  <a:pt x="3648141" y="3003755"/>
                </a:cubicBezTo>
                <a:cubicBezTo>
                  <a:pt x="3637351" y="3009682"/>
                  <a:pt x="3626068" y="3008863"/>
                  <a:pt x="3615336" y="3005988"/>
                </a:cubicBezTo>
                <a:lnTo>
                  <a:pt x="3600800" y="3001008"/>
                </a:lnTo>
                <a:lnTo>
                  <a:pt x="3576424" y="3011526"/>
                </a:lnTo>
                <a:cubicBezTo>
                  <a:pt x="3547329" y="3013182"/>
                  <a:pt x="3509581" y="2994474"/>
                  <a:pt x="3496323" y="3018421"/>
                </a:cubicBezTo>
                <a:cubicBezTo>
                  <a:pt x="3487811" y="3016140"/>
                  <a:pt x="3479301" y="3013859"/>
                  <a:pt x="3479301" y="3013859"/>
                </a:cubicBezTo>
                <a:cubicBezTo>
                  <a:pt x="3462278" y="3009298"/>
                  <a:pt x="3457695" y="3026404"/>
                  <a:pt x="3432162" y="3019562"/>
                </a:cubicBezTo>
                <a:cubicBezTo>
                  <a:pt x="3429871" y="3028114"/>
                  <a:pt x="3438381" y="3030394"/>
                  <a:pt x="3427579" y="3036668"/>
                </a:cubicBezTo>
                <a:lnTo>
                  <a:pt x="3385021" y="3025265"/>
                </a:lnTo>
                <a:lnTo>
                  <a:pt x="3382730" y="3033816"/>
                </a:lnTo>
                <a:cubicBezTo>
                  <a:pt x="3363416" y="3037806"/>
                  <a:pt x="3361781" y="3009869"/>
                  <a:pt x="3340175" y="3022413"/>
                </a:cubicBezTo>
                <a:cubicBezTo>
                  <a:pt x="3344101" y="3041799"/>
                  <a:pt x="3359489" y="3018423"/>
                  <a:pt x="3354906" y="3035526"/>
                </a:cubicBezTo>
                <a:cubicBezTo>
                  <a:pt x="3329371" y="3028684"/>
                  <a:pt x="3313986" y="3052061"/>
                  <a:pt x="3293034" y="3028116"/>
                </a:cubicBezTo>
                <a:cubicBezTo>
                  <a:pt x="3290742" y="3036667"/>
                  <a:pt x="3290742" y="3036667"/>
                  <a:pt x="3288451" y="3045219"/>
                </a:cubicBezTo>
                <a:cubicBezTo>
                  <a:pt x="3260626" y="3046931"/>
                  <a:pt x="3262918" y="3038377"/>
                  <a:pt x="3243604" y="3042370"/>
                </a:cubicBezTo>
                <a:cubicBezTo>
                  <a:pt x="3243604" y="3042370"/>
                  <a:pt x="3243604" y="3042370"/>
                  <a:pt x="3241312" y="3050921"/>
                </a:cubicBezTo>
                <a:cubicBezTo>
                  <a:pt x="3241312" y="3050921"/>
                  <a:pt x="3230508" y="3057192"/>
                  <a:pt x="3230508" y="3057192"/>
                </a:cubicBezTo>
                <a:cubicBezTo>
                  <a:pt x="3235091" y="3040089"/>
                  <a:pt x="3219706" y="3063466"/>
                  <a:pt x="3215777" y="3044079"/>
                </a:cubicBezTo>
                <a:cubicBezTo>
                  <a:pt x="3207267" y="3041799"/>
                  <a:pt x="3211194" y="3061185"/>
                  <a:pt x="3202684" y="3058904"/>
                </a:cubicBezTo>
                <a:cubicBezTo>
                  <a:pt x="3194171" y="3056624"/>
                  <a:pt x="3204976" y="3050350"/>
                  <a:pt x="3196463" y="3048070"/>
                </a:cubicBezTo>
                <a:cubicBezTo>
                  <a:pt x="3187953" y="3045789"/>
                  <a:pt x="3164056" y="3066885"/>
                  <a:pt x="3183370" y="3062895"/>
                </a:cubicBezTo>
                <a:cubicBezTo>
                  <a:pt x="3189588" y="3073727"/>
                  <a:pt x="3157837" y="3056053"/>
                  <a:pt x="3149325" y="3053772"/>
                </a:cubicBezTo>
                <a:cubicBezTo>
                  <a:pt x="3136231" y="3068598"/>
                  <a:pt x="3082872" y="3063465"/>
                  <a:pt x="3068141" y="3050353"/>
                </a:cubicBezTo>
                <a:cubicBezTo>
                  <a:pt x="3070433" y="3041799"/>
                  <a:pt x="3059628" y="3048072"/>
                  <a:pt x="3053408" y="3037237"/>
                </a:cubicBezTo>
                <a:cubicBezTo>
                  <a:pt x="3072725" y="3033247"/>
                  <a:pt x="3098257" y="3040089"/>
                  <a:pt x="3123792" y="3046931"/>
                </a:cubicBezTo>
                <a:cubicBezTo>
                  <a:pt x="3128376" y="3029826"/>
                  <a:pt x="3109061" y="3033818"/>
                  <a:pt x="3111353" y="3025264"/>
                </a:cubicBezTo>
                <a:cubicBezTo>
                  <a:pt x="3119863" y="3027545"/>
                  <a:pt x="3128376" y="3029826"/>
                  <a:pt x="3147690" y="3025835"/>
                </a:cubicBezTo>
                <a:cubicBezTo>
                  <a:pt x="3147690" y="3025835"/>
                  <a:pt x="3139177" y="3023554"/>
                  <a:pt x="3139177" y="3023554"/>
                </a:cubicBezTo>
                <a:cubicBezTo>
                  <a:pt x="3132958" y="3012723"/>
                  <a:pt x="3164712" y="3030396"/>
                  <a:pt x="3175513" y="3024125"/>
                </a:cubicBezTo>
                <a:cubicBezTo>
                  <a:pt x="3175513" y="3024125"/>
                  <a:pt x="3188609" y="3009301"/>
                  <a:pt x="3182388" y="2998468"/>
                </a:cubicBezTo>
                <a:cubicBezTo>
                  <a:pt x="3182388" y="2998468"/>
                  <a:pt x="3186318" y="3017852"/>
                  <a:pt x="3207921" y="3005310"/>
                </a:cubicBezTo>
                <a:cubicBezTo>
                  <a:pt x="3205629" y="3013861"/>
                  <a:pt x="3203338" y="3022413"/>
                  <a:pt x="3209558" y="3033248"/>
                </a:cubicBezTo>
                <a:cubicBezTo>
                  <a:pt x="3211851" y="3024694"/>
                  <a:pt x="3224943" y="3009871"/>
                  <a:pt x="3220361" y="3026974"/>
                </a:cubicBezTo>
                <a:cubicBezTo>
                  <a:pt x="3231165" y="3020703"/>
                  <a:pt x="3231165" y="3020703"/>
                  <a:pt x="3235748" y="3003598"/>
                </a:cubicBezTo>
                <a:cubicBezTo>
                  <a:pt x="3241966" y="3014432"/>
                  <a:pt x="3269793" y="3012720"/>
                  <a:pt x="3295326" y="3019562"/>
                </a:cubicBezTo>
                <a:cubicBezTo>
                  <a:pt x="3289107" y="3008730"/>
                  <a:pt x="3282886" y="2997898"/>
                  <a:pt x="3293690" y="2991624"/>
                </a:cubicBezTo>
                <a:cubicBezTo>
                  <a:pt x="3310713" y="2996185"/>
                  <a:pt x="3336245" y="3003027"/>
                  <a:pt x="3333953" y="3011581"/>
                </a:cubicBezTo>
                <a:cubicBezTo>
                  <a:pt x="3370291" y="3012149"/>
                  <a:pt x="3370291" y="3012149"/>
                  <a:pt x="3379457" y="2977941"/>
                </a:cubicBezTo>
                <a:cubicBezTo>
                  <a:pt x="3413502" y="2987063"/>
                  <a:pt x="3441328" y="2985354"/>
                  <a:pt x="3475371" y="2994476"/>
                </a:cubicBezTo>
                <a:cubicBezTo>
                  <a:pt x="3471444" y="2975090"/>
                  <a:pt x="3486176" y="2988202"/>
                  <a:pt x="3494686" y="2990483"/>
                </a:cubicBezTo>
                <a:lnTo>
                  <a:pt x="3499268" y="2973380"/>
                </a:lnTo>
                <a:cubicBezTo>
                  <a:pt x="3503934" y="2981504"/>
                  <a:pt x="3504179" y="2967820"/>
                  <a:pt x="3510225" y="2966002"/>
                </a:cubicBezTo>
                <a:close/>
                <a:moveTo>
                  <a:pt x="4902808" y="2965165"/>
                </a:moveTo>
                <a:cubicBezTo>
                  <a:pt x="4908025" y="2962153"/>
                  <a:pt x="4914197" y="2963806"/>
                  <a:pt x="4921119" y="2966764"/>
                </a:cubicBezTo>
                <a:cubicBezTo>
                  <a:pt x="4928042" y="2969721"/>
                  <a:pt x="4935718" y="2973984"/>
                  <a:pt x="4943945" y="2976188"/>
                </a:cubicBezTo>
                <a:cubicBezTo>
                  <a:pt x="4933513" y="2982211"/>
                  <a:pt x="4908831" y="2975597"/>
                  <a:pt x="4902808" y="2965165"/>
                </a:cubicBezTo>
                <a:close/>
                <a:moveTo>
                  <a:pt x="832819" y="2964496"/>
                </a:moveTo>
                <a:cubicBezTo>
                  <a:pt x="833444" y="2963231"/>
                  <a:pt x="834512" y="2963517"/>
                  <a:pt x="836074" y="2966227"/>
                </a:cubicBezTo>
                <a:lnTo>
                  <a:pt x="832572" y="2973482"/>
                </a:lnTo>
                <a:lnTo>
                  <a:pt x="832220" y="2972071"/>
                </a:lnTo>
                <a:cubicBezTo>
                  <a:pt x="832012" y="2968577"/>
                  <a:pt x="832194" y="2965761"/>
                  <a:pt x="832819" y="2964496"/>
                </a:cubicBezTo>
                <a:close/>
                <a:moveTo>
                  <a:pt x="5545692" y="2964244"/>
                </a:moveTo>
                <a:cubicBezTo>
                  <a:pt x="5565066" y="2960297"/>
                  <a:pt x="5547386" y="2992105"/>
                  <a:pt x="5553646" y="3002920"/>
                </a:cubicBezTo>
                <a:cubicBezTo>
                  <a:pt x="5555930" y="2994394"/>
                  <a:pt x="5559908" y="3013733"/>
                  <a:pt x="5570738" y="3007500"/>
                </a:cubicBezTo>
                <a:cubicBezTo>
                  <a:pt x="5579282" y="3009789"/>
                  <a:pt x="5559908" y="3013733"/>
                  <a:pt x="5551362" y="3011443"/>
                </a:cubicBezTo>
                <a:cubicBezTo>
                  <a:pt x="5546793" y="3028494"/>
                  <a:pt x="5546793" y="3028494"/>
                  <a:pt x="5542225" y="3045542"/>
                </a:cubicBezTo>
                <a:cubicBezTo>
                  <a:pt x="5544509" y="3037017"/>
                  <a:pt x="5561602" y="3041597"/>
                  <a:pt x="5567861" y="3052411"/>
                </a:cubicBezTo>
                <a:cubicBezTo>
                  <a:pt x="5572429" y="3035363"/>
                  <a:pt x="5561602" y="3041597"/>
                  <a:pt x="5553055" y="3039307"/>
                </a:cubicBezTo>
                <a:cubicBezTo>
                  <a:pt x="5555339" y="3030784"/>
                  <a:pt x="5555339" y="3030784"/>
                  <a:pt x="5557623" y="3022258"/>
                </a:cubicBezTo>
                <a:cubicBezTo>
                  <a:pt x="5574714" y="3026838"/>
                  <a:pt x="5589519" y="3039942"/>
                  <a:pt x="5595782" y="3050755"/>
                </a:cubicBezTo>
                <a:cubicBezTo>
                  <a:pt x="5604325" y="3053044"/>
                  <a:pt x="5606609" y="3044522"/>
                  <a:pt x="5615155" y="3046812"/>
                </a:cubicBezTo>
                <a:cubicBezTo>
                  <a:pt x="5617440" y="3038286"/>
                  <a:pt x="5606609" y="3044522"/>
                  <a:pt x="5608893" y="3035996"/>
                </a:cubicBezTo>
                <a:cubicBezTo>
                  <a:pt x="5600350" y="3033707"/>
                  <a:pt x="5600350" y="3033707"/>
                  <a:pt x="5598065" y="3042232"/>
                </a:cubicBezTo>
                <a:cubicBezTo>
                  <a:pt x="5591803" y="3031417"/>
                  <a:pt x="5583260" y="3029128"/>
                  <a:pt x="5576998" y="3018312"/>
                </a:cubicBezTo>
                <a:cubicBezTo>
                  <a:pt x="5585544" y="3020602"/>
                  <a:pt x="5585544" y="3020602"/>
                  <a:pt x="5585544" y="3020602"/>
                </a:cubicBezTo>
                <a:cubicBezTo>
                  <a:pt x="5587828" y="3012079"/>
                  <a:pt x="5607202" y="3008133"/>
                  <a:pt x="5590112" y="3003553"/>
                </a:cubicBezTo>
                <a:cubicBezTo>
                  <a:pt x="5592396" y="2995031"/>
                  <a:pt x="5607202" y="3008133"/>
                  <a:pt x="5603224" y="2988794"/>
                </a:cubicBezTo>
                <a:cubicBezTo>
                  <a:pt x="5611770" y="2991084"/>
                  <a:pt x="5620314" y="2993374"/>
                  <a:pt x="5628861" y="2995664"/>
                </a:cubicBezTo>
                <a:cubicBezTo>
                  <a:pt x="5622598" y="2984851"/>
                  <a:pt x="5628861" y="2995664"/>
                  <a:pt x="5631144" y="2987141"/>
                </a:cubicBezTo>
                <a:cubicBezTo>
                  <a:pt x="5639688" y="2989430"/>
                  <a:pt x="5645950" y="3000243"/>
                  <a:pt x="5641382" y="3017291"/>
                </a:cubicBezTo>
                <a:cubicBezTo>
                  <a:pt x="5652209" y="3011058"/>
                  <a:pt x="5671584" y="3007111"/>
                  <a:pt x="5649926" y="3019580"/>
                </a:cubicBezTo>
                <a:cubicBezTo>
                  <a:pt x="5649926" y="3019580"/>
                  <a:pt x="5658472" y="3021870"/>
                  <a:pt x="5658472" y="3021870"/>
                </a:cubicBezTo>
                <a:cubicBezTo>
                  <a:pt x="5675562" y="3026450"/>
                  <a:pt x="5654494" y="3002532"/>
                  <a:pt x="5680130" y="3009401"/>
                </a:cubicBezTo>
                <a:cubicBezTo>
                  <a:pt x="5682414" y="3000878"/>
                  <a:pt x="5663040" y="3004822"/>
                  <a:pt x="5663040" y="3004822"/>
                </a:cubicBezTo>
                <a:cubicBezTo>
                  <a:pt x="5656778" y="2994009"/>
                  <a:pt x="5667608" y="2987774"/>
                  <a:pt x="5648234" y="2991720"/>
                </a:cubicBezTo>
                <a:cubicBezTo>
                  <a:pt x="5648234" y="2991720"/>
                  <a:pt x="5650518" y="2983194"/>
                  <a:pt x="5652803" y="2974669"/>
                </a:cubicBezTo>
                <a:cubicBezTo>
                  <a:pt x="5667608" y="2987774"/>
                  <a:pt x="5661346" y="2976958"/>
                  <a:pt x="5667608" y="2987774"/>
                </a:cubicBezTo>
                <a:cubicBezTo>
                  <a:pt x="5676152" y="2990063"/>
                  <a:pt x="5676152" y="2990063"/>
                  <a:pt x="5678436" y="2981537"/>
                </a:cubicBezTo>
                <a:cubicBezTo>
                  <a:pt x="5684698" y="2992353"/>
                  <a:pt x="5706356" y="2979884"/>
                  <a:pt x="5693242" y="2994642"/>
                </a:cubicBezTo>
                <a:cubicBezTo>
                  <a:pt x="5704073" y="2988406"/>
                  <a:pt x="5714900" y="2982173"/>
                  <a:pt x="5712616" y="2990696"/>
                </a:cubicBezTo>
                <a:cubicBezTo>
                  <a:pt x="5729706" y="2995275"/>
                  <a:pt x="5708641" y="2971358"/>
                  <a:pt x="5734275" y="2978226"/>
                </a:cubicBezTo>
                <a:cubicBezTo>
                  <a:pt x="5721163" y="2992986"/>
                  <a:pt x="5723446" y="2984463"/>
                  <a:pt x="5740536" y="2989042"/>
                </a:cubicBezTo>
                <a:cubicBezTo>
                  <a:pt x="5725138" y="3012326"/>
                  <a:pt x="5723446" y="2984463"/>
                  <a:pt x="5708047" y="3007747"/>
                </a:cubicBezTo>
                <a:cubicBezTo>
                  <a:pt x="5714310" y="3018560"/>
                  <a:pt x="5725138" y="3012326"/>
                  <a:pt x="5722854" y="3020849"/>
                </a:cubicBezTo>
                <a:cubicBezTo>
                  <a:pt x="5720569" y="3029375"/>
                  <a:pt x="5712026" y="3027085"/>
                  <a:pt x="5718286" y="3037897"/>
                </a:cubicBezTo>
                <a:cubicBezTo>
                  <a:pt x="5709742" y="3035608"/>
                  <a:pt x="5712026" y="3027085"/>
                  <a:pt x="5714310" y="3018560"/>
                </a:cubicBezTo>
                <a:cubicBezTo>
                  <a:pt x="5703479" y="3024795"/>
                  <a:pt x="5703479" y="3024795"/>
                  <a:pt x="5703479" y="3024795"/>
                </a:cubicBezTo>
                <a:cubicBezTo>
                  <a:pt x="5701196" y="3033318"/>
                  <a:pt x="5709742" y="3035608"/>
                  <a:pt x="5716001" y="3046423"/>
                </a:cubicBezTo>
                <a:cubicBezTo>
                  <a:pt x="5731400" y="3023139"/>
                  <a:pt x="5750183" y="3055582"/>
                  <a:pt x="5769558" y="3051636"/>
                </a:cubicBezTo>
                <a:cubicBezTo>
                  <a:pt x="5752468" y="3047057"/>
                  <a:pt x="5739946" y="3025429"/>
                  <a:pt x="5725138" y="3012326"/>
                </a:cubicBezTo>
                <a:cubicBezTo>
                  <a:pt x="5725138" y="3012326"/>
                  <a:pt x="5742230" y="3016906"/>
                  <a:pt x="5742230" y="3016906"/>
                </a:cubicBezTo>
                <a:cubicBezTo>
                  <a:pt x="5748490" y="3027718"/>
                  <a:pt x="5746206" y="3036244"/>
                  <a:pt x="5763295" y="3040823"/>
                </a:cubicBezTo>
                <a:cubicBezTo>
                  <a:pt x="5763295" y="3040823"/>
                  <a:pt x="5765580" y="3032297"/>
                  <a:pt x="5767863" y="3023774"/>
                </a:cubicBezTo>
                <a:cubicBezTo>
                  <a:pt x="5761604" y="3012960"/>
                  <a:pt x="5757036" y="3030008"/>
                  <a:pt x="5742230" y="3016906"/>
                </a:cubicBezTo>
                <a:cubicBezTo>
                  <a:pt x="5746799" y="2999855"/>
                  <a:pt x="5761604" y="3012960"/>
                  <a:pt x="5770148" y="3015249"/>
                </a:cubicBezTo>
                <a:cubicBezTo>
                  <a:pt x="5776410" y="3026064"/>
                  <a:pt x="5782670" y="3036877"/>
                  <a:pt x="5774126" y="3034587"/>
                </a:cubicBezTo>
                <a:cubicBezTo>
                  <a:pt x="5771842" y="3043113"/>
                  <a:pt x="5788931" y="3047692"/>
                  <a:pt x="5786648" y="3056215"/>
                </a:cubicBezTo>
                <a:cubicBezTo>
                  <a:pt x="5788931" y="3047692"/>
                  <a:pt x="5791216" y="3039167"/>
                  <a:pt x="5802044" y="3032933"/>
                </a:cubicBezTo>
                <a:cubicBezTo>
                  <a:pt x="5808306" y="3043746"/>
                  <a:pt x="5812874" y="3026697"/>
                  <a:pt x="5827680" y="3039802"/>
                </a:cubicBezTo>
                <a:cubicBezTo>
                  <a:pt x="5832249" y="3022751"/>
                  <a:pt x="5812874" y="3026697"/>
                  <a:pt x="5817442" y="3009649"/>
                </a:cubicBezTo>
                <a:cubicBezTo>
                  <a:pt x="5825986" y="3011938"/>
                  <a:pt x="5849338" y="3027330"/>
                  <a:pt x="5853906" y="3010282"/>
                </a:cubicBezTo>
                <a:cubicBezTo>
                  <a:pt x="5862450" y="3012571"/>
                  <a:pt x="5860165" y="3021097"/>
                  <a:pt x="5868712" y="3023387"/>
                </a:cubicBezTo>
                <a:cubicBezTo>
                  <a:pt x="5868712" y="3023387"/>
                  <a:pt x="5860165" y="3021097"/>
                  <a:pt x="5860165" y="3021097"/>
                </a:cubicBezTo>
                <a:cubicBezTo>
                  <a:pt x="5857882" y="3029619"/>
                  <a:pt x="5857882" y="3029619"/>
                  <a:pt x="5857882" y="3029619"/>
                </a:cubicBezTo>
                <a:cubicBezTo>
                  <a:pt x="5864144" y="3040435"/>
                  <a:pt x="5866428" y="3031910"/>
                  <a:pt x="5872688" y="3042724"/>
                </a:cubicBezTo>
                <a:cubicBezTo>
                  <a:pt x="5877256" y="3025676"/>
                  <a:pt x="5872688" y="3042724"/>
                  <a:pt x="5866428" y="3031910"/>
                </a:cubicBezTo>
                <a:cubicBezTo>
                  <a:pt x="5868712" y="3023387"/>
                  <a:pt x="5877256" y="3025676"/>
                  <a:pt x="5868712" y="3023387"/>
                </a:cubicBezTo>
                <a:cubicBezTo>
                  <a:pt x="5879540" y="3017150"/>
                  <a:pt x="5883518" y="3036489"/>
                  <a:pt x="5892062" y="3038778"/>
                </a:cubicBezTo>
                <a:cubicBezTo>
                  <a:pt x="5892062" y="3038778"/>
                  <a:pt x="5885802" y="3027966"/>
                  <a:pt x="5894346" y="3030255"/>
                </a:cubicBezTo>
                <a:cubicBezTo>
                  <a:pt x="5894346" y="3030255"/>
                  <a:pt x="5892062" y="3038778"/>
                  <a:pt x="5900608" y="3041068"/>
                </a:cubicBezTo>
                <a:cubicBezTo>
                  <a:pt x="5911438" y="3034835"/>
                  <a:pt x="5898914" y="3013207"/>
                  <a:pt x="5898914" y="3013207"/>
                </a:cubicBezTo>
                <a:cubicBezTo>
                  <a:pt x="5901198" y="3004681"/>
                  <a:pt x="5905176" y="3024019"/>
                  <a:pt x="5909744" y="3006971"/>
                </a:cubicBezTo>
                <a:cubicBezTo>
                  <a:pt x="5898914" y="3013207"/>
                  <a:pt x="5930812" y="3030889"/>
                  <a:pt x="5935380" y="3013840"/>
                </a:cubicBezTo>
                <a:cubicBezTo>
                  <a:pt x="5950186" y="3026945"/>
                  <a:pt x="5933096" y="3022366"/>
                  <a:pt x="5928528" y="3039414"/>
                </a:cubicBezTo>
                <a:cubicBezTo>
                  <a:pt x="5934788" y="3050226"/>
                  <a:pt x="5956446" y="3037757"/>
                  <a:pt x="5964992" y="3040047"/>
                </a:cubicBezTo>
                <a:cubicBezTo>
                  <a:pt x="5967276" y="3031524"/>
                  <a:pt x="5956446" y="3037757"/>
                  <a:pt x="5947903" y="3035468"/>
                </a:cubicBezTo>
                <a:cubicBezTo>
                  <a:pt x="5943924" y="3016129"/>
                  <a:pt x="5964992" y="3040047"/>
                  <a:pt x="5969560" y="3022999"/>
                </a:cubicBezTo>
                <a:cubicBezTo>
                  <a:pt x="5964992" y="3040047"/>
                  <a:pt x="5975820" y="3033814"/>
                  <a:pt x="5982082" y="3044626"/>
                </a:cubicBezTo>
                <a:cubicBezTo>
                  <a:pt x="5979798" y="3053152"/>
                  <a:pt x="5971252" y="3050862"/>
                  <a:pt x="5979798" y="3053152"/>
                </a:cubicBezTo>
                <a:cubicBezTo>
                  <a:pt x="5975230" y="3070200"/>
                  <a:pt x="5979798" y="3053152"/>
                  <a:pt x="5988341" y="3055441"/>
                </a:cubicBezTo>
                <a:cubicBezTo>
                  <a:pt x="5982082" y="3044626"/>
                  <a:pt x="5984366" y="3036103"/>
                  <a:pt x="5988934" y="3019055"/>
                </a:cubicBezTo>
                <a:cubicBezTo>
                  <a:pt x="6014568" y="3025924"/>
                  <a:pt x="6007716" y="3051495"/>
                  <a:pt x="6027089" y="3047551"/>
                </a:cubicBezTo>
                <a:cubicBezTo>
                  <a:pt x="6029374" y="3039026"/>
                  <a:pt x="6010000" y="3042972"/>
                  <a:pt x="6014568" y="3025924"/>
                </a:cubicBezTo>
                <a:cubicBezTo>
                  <a:pt x="6020830" y="3036736"/>
                  <a:pt x="6027089" y="3047551"/>
                  <a:pt x="6033942" y="3021977"/>
                </a:cubicBezTo>
                <a:cubicBezTo>
                  <a:pt x="6042488" y="3024267"/>
                  <a:pt x="6040204" y="3032793"/>
                  <a:pt x="6048748" y="3035082"/>
                </a:cubicBezTo>
                <a:cubicBezTo>
                  <a:pt x="6057294" y="3037372"/>
                  <a:pt x="6057294" y="3037372"/>
                  <a:pt x="6059578" y="3028846"/>
                </a:cubicBezTo>
                <a:cubicBezTo>
                  <a:pt x="6059578" y="3028846"/>
                  <a:pt x="6051032" y="3026556"/>
                  <a:pt x="6051032" y="3026556"/>
                </a:cubicBezTo>
                <a:cubicBezTo>
                  <a:pt x="6053316" y="3018031"/>
                  <a:pt x="6054883" y="3020736"/>
                  <a:pt x="6058300" y="3025076"/>
                </a:cubicBezTo>
                <a:cubicBezTo>
                  <a:pt x="6061714" y="3029418"/>
                  <a:pt x="6066982" y="3035399"/>
                  <a:pt x="6076668" y="3033426"/>
                </a:cubicBezTo>
                <a:cubicBezTo>
                  <a:pt x="6074384" y="3041951"/>
                  <a:pt x="6074384" y="3041951"/>
                  <a:pt x="6072100" y="3050474"/>
                </a:cubicBezTo>
                <a:cubicBezTo>
                  <a:pt x="6074384" y="3041951"/>
                  <a:pt x="6072100" y="3050474"/>
                  <a:pt x="6063554" y="3048184"/>
                </a:cubicBezTo>
                <a:cubicBezTo>
                  <a:pt x="6069816" y="3059000"/>
                  <a:pt x="6078362" y="3061290"/>
                  <a:pt x="6086906" y="3063579"/>
                </a:cubicBezTo>
                <a:cubicBezTo>
                  <a:pt x="6082338" y="3080627"/>
                  <a:pt x="6056701" y="3073758"/>
                  <a:pt x="6062964" y="3084571"/>
                </a:cubicBezTo>
                <a:cubicBezTo>
                  <a:pt x="6069226" y="3095387"/>
                  <a:pt x="6052133" y="3090807"/>
                  <a:pt x="6056701" y="3073758"/>
                </a:cubicBezTo>
                <a:cubicBezTo>
                  <a:pt x="6031068" y="3066890"/>
                  <a:pt x="6026500" y="3083938"/>
                  <a:pt x="6000863" y="3077069"/>
                </a:cubicBezTo>
                <a:cubicBezTo>
                  <a:pt x="6003148" y="3068543"/>
                  <a:pt x="6011694" y="3070833"/>
                  <a:pt x="6011694" y="3070833"/>
                </a:cubicBezTo>
                <a:cubicBezTo>
                  <a:pt x="6013978" y="3062310"/>
                  <a:pt x="6003148" y="3068543"/>
                  <a:pt x="5994604" y="3066254"/>
                </a:cubicBezTo>
                <a:cubicBezTo>
                  <a:pt x="5994604" y="3066254"/>
                  <a:pt x="5992320" y="3074780"/>
                  <a:pt x="6000863" y="3077069"/>
                </a:cubicBezTo>
                <a:cubicBezTo>
                  <a:pt x="5981489" y="3081015"/>
                  <a:pt x="5968377" y="3095774"/>
                  <a:pt x="5953571" y="3082670"/>
                </a:cubicBezTo>
                <a:cubicBezTo>
                  <a:pt x="5955855" y="3074147"/>
                  <a:pt x="5964399" y="3076436"/>
                  <a:pt x="5966684" y="3067910"/>
                </a:cubicBezTo>
                <a:cubicBezTo>
                  <a:pt x="5947309" y="3071857"/>
                  <a:pt x="5945025" y="3080380"/>
                  <a:pt x="5941050" y="3061042"/>
                </a:cubicBezTo>
                <a:cubicBezTo>
                  <a:pt x="5923960" y="3056463"/>
                  <a:pt x="5936482" y="3078091"/>
                  <a:pt x="5925651" y="3084326"/>
                </a:cubicBezTo>
                <a:cubicBezTo>
                  <a:pt x="5923367" y="3092849"/>
                  <a:pt x="5931914" y="3095139"/>
                  <a:pt x="5931914" y="3095139"/>
                </a:cubicBezTo>
                <a:lnTo>
                  <a:pt x="5923367" y="3092849"/>
                </a:lnTo>
                <a:cubicBezTo>
                  <a:pt x="5919392" y="3073511"/>
                  <a:pt x="5906278" y="3088270"/>
                  <a:pt x="5882925" y="3072878"/>
                </a:cubicBezTo>
                <a:cubicBezTo>
                  <a:pt x="5880641" y="3081401"/>
                  <a:pt x="5889187" y="3083690"/>
                  <a:pt x="5880641" y="3081401"/>
                </a:cubicBezTo>
                <a:cubicBezTo>
                  <a:pt x="5876073" y="3098449"/>
                  <a:pt x="5889187" y="3083690"/>
                  <a:pt x="5897734" y="3085980"/>
                </a:cubicBezTo>
                <a:cubicBezTo>
                  <a:pt x="5895450" y="3094506"/>
                  <a:pt x="5886903" y="3092216"/>
                  <a:pt x="5886903" y="3092216"/>
                </a:cubicBezTo>
                <a:cubicBezTo>
                  <a:pt x="5899425" y="3113844"/>
                  <a:pt x="5914824" y="3090560"/>
                  <a:pt x="5938173" y="3105954"/>
                </a:cubicBezTo>
                <a:cubicBezTo>
                  <a:pt x="5938173" y="3105954"/>
                  <a:pt x="5935889" y="3114477"/>
                  <a:pt x="5933605" y="3123002"/>
                </a:cubicBezTo>
                <a:cubicBezTo>
                  <a:pt x="5944435" y="3116767"/>
                  <a:pt x="5950695" y="3127582"/>
                  <a:pt x="5956957" y="3138397"/>
                </a:cubicBezTo>
                <a:cubicBezTo>
                  <a:pt x="5967785" y="3132161"/>
                  <a:pt x="5950695" y="3127582"/>
                  <a:pt x="5961525" y="3121346"/>
                </a:cubicBezTo>
                <a:cubicBezTo>
                  <a:pt x="5944435" y="3116767"/>
                  <a:pt x="5935889" y="3114477"/>
                  <a:pt x="5940457" y="3097428"/>
                </a:cubicBezTo>
                <a:cubicBezTo>
                  <a:pt x="5952979" y="3119056"/>
                  <a:pt x="5949003" y="3099718"/>
                  <a:pt x="5966093" y="3104297"/>
                </a:cubicBezTo>
                <a:cubicBezTo>
                  <a:pt x="5976921" y="3098064"/>
                  <a:pt x="5968377" y="3095774"/>
                  <a:pt x="5979205" y="3089538"/>
                </a:cubicBezTo>
                <a:cubicBezTo>
                  <a:pt x="5985467" y="3100354"/>
                  <a:pt x="5979205" y="3089538"/>
                  <a:pt x="5987752" y="3091828"/>
                </a:cubicBezTo>
                <a:cubicBezTo>
                  <a:pt x="5985467" y="3100354"/>
                  <a:pt x="5985467" y="3100354"/>
                  <a:pt x="5976921" y="3098064"/>
                </a:cubicBezTo>
                <a:cubicBezTo>
                  <a:pt x="5974637" y="3106587"/>
                  <a:pt x="5994011" y="3102643"/>
                  <a:pt x="6002557" y="3104933"/>
                </a:cubicBezTo>
                <a:cubicBezTo>
                  <a:pt x="6000273" y="3113456"/>
                  <a:pt x="5989443" y="3119691"/>
                  <a:pt x="5983184" y="3108877"/>
                </a:cubicBezTo>
                <a:lnTo>
                  <a:pt x="5980899" y="3117402"/>
                </a:lnTo>
                <a:cubicBezTo>
                  <a:pt x="5959241" y="3129871"/>
                  <a:pt x="5974047" y="3142976"/>
                  <a:pt x="5971763" y="3151499"/>
                </a:cubicBezTo>
                <a:cubicBezTo>
                  <a:pt x="5969479" y="3160025"/>
                  <a:pt x="5969479" y="3160025"/>
                  <a:pt x="5960932" y="3157735"/>
                </a:cubicBezTo>
                <a:cubicBezTo>
                  <a:pt x="5974047" y="3142976"/>
                  <a:pt x="5933605" y="3123002"/>
                  <a:pt x="5922777" y="3129238"/>
                </a:cubicBezTo>
                <a:cubicBezTo>
                  <a:pt x="5929037" y="3140051"/>
                  <a:pt x="5933605" y="3123002"/>
                  <a:pt x="5939866" y="3133818"/>
                </a:cubicBezTo>
                <a:cubicBezTo>
                  <a:pt x="5937583" y="3142340"/>
                  <a:pt x="5936440" y="3146603"/>
                  <a:pt x="5935013" y="3151931"/>
                </a:cubicBezTo>
                <a:lnTo>
                  <a:pt x="5931802" y="3163916"/>
                </a:lnTo>
                <a:lnTo>
                  <a:pt x="5950284" y="3153246"/>
                </a:lnTo>
                <a:cubicBezTo>
                  <a:pt x="5950284" y="3153246"/>
                  <a:pt x="5939852" y="3159269"/>
                  <a:pt x="5942056" y="3151041"/>
                </a:cubicBezTo>
                <a:cubicBezTo>
                  <a:pt x="5944261" y="3142814"/>
                  <a:pt x="5942056" y="3151041"/>
                  <a:pt x="5952488" y="3145018"/>
                </a:cubicBezTo>
                <a:cubicBezTo>
                  <a:pt x="5948079" y="3161473"/>
                  <a:pt x="5948079" y="3161473"/>
                  <a:pt x="5954102" y="3171905"/>
                </a:cubicBezTo>
                <a:lnTo>
                  <a:pt x="5931298" y="3165795"/>
                </a:lnTo>
                <a:lnTo>
                  <a:pt x="5928446" y="3176437"/>
                </a:lnTo>
                <a:cubicBezTo>
                  <a:pt x="5924469" y="3157099"/>
                  <a:pt x="5911357" y="3171858"/>
                  <a:pt x="5902810" y="3169568"/>
                </a:cubicBezTo>
                <a:cubicBezTo>
                  <a:pt x="5894267" y="3167279"/>
                  <a:pt x="5909662" y="3143997"/>
                  <a:pt x="5915925" y="3154810"/>
                </a:cubicBezTo>
                <a:cubicBezTo>
                  <a:pt x="5918209" y="3146287"/>
                  <a:pt x="5898835" y="3150231"/>
                  <a:pt x="5892573" y="3139418"/>
                </a:cubicBezTo>
                <a:cubicBezTo>
                  <a:pt x="5890289" y="3147941"/>
                  <a:pt x="5890289" y="3147941"/>
                  <a:pt x="5890289" y="3147941"/>
                </a:cubicBezTo>
                <a:cubicBezTo>
                  <a:pt x="5888004" y="3156466"/>
                  <a:pt x="5896550" y="3158756"/>
                  <a:pt x="5896550" y="3158756"/>
                </a:cubicBezTo>
                <a:cubicBezTo>
                  <a:pt x="5896550" y="3158756"/>
                  <a:pt x="5885721" y="3164989"/>
                  <a:pt x="5885721" y="3164989"/>
                </a:cubicBezTo>
                <a:cubicBezTo>
                  <a:pt x="5879461" y="3154177"/>
                  <a:pt x="5866346" y="3168936"/>
                  <a:pt x="5862368" y="3149597"/>
                </a:cubicBezTo>
                <a:cubicBezTo>
                  <a:pt x="5873199" y="3143361"/>
                  <a:pt x="5870914" y="3151887"/>
                  <a:pt x="5879461" y="3154177"/>
                </a:cubicBezTo>
                <a:cubicBezTo>
                  <a:pt x="5881745" y="3145651"/>
                  <a:pt x="5856109" y="3138782"/>
                  <a:pt x="5853825" y="3147308"/>
                </a:cubicBezTo>
                <a:lnTo>
                  <a:pt x="5855242" y="3159108"/>
                </a:lnTo>
                <a:lnTo>
                  <a:pt x="5850399" y="3160094"/>
                </a:lnTo>
                <a:cubicBezTo>
                  <a:pt x="5845132" y="3154114"/>
                  <a:pt x="5841008" y="3143874"/>
                  <a:pt x="5847562" y="3136492"/>
                </a:cubicBezTo>
                <a:cubicBezTo>
                  <a:pt x="5832756" y="3123390"/>
                  <a:pt x="5842994" y="3153541"/>
                  <a:pt x="5834451" y="3151251"/>
                </a:cubicBezTo>
                <a:cubicBezTo>
                  <a:pt x="5840710" y="3162066"/>
                  <a:pt x="5834451" y="3151251"/>
                  <a:pt x="5840710" y="3162066"/>
                </a:cubicBezTo>
                <a:cubicBezTo>
                  <a:pt x="5846973" y="3172879"/>
                  <a:pt x="5823620" y="3157487"/>
                  <a:pt x="5827598" y="3176825"/>
                </a:cubicBezTo>
                <a:cubicBezTo>
                  <a:pt x="5821336" y="3166010"/>
                  <a:pt x="5836734" y="3142729"/>
                  <a:pt x="5808815" y="3144382"/>
                </a:cubicBezTo>
                <a:cubicBezTo>
                  <a:pt x="5812792" y="3163721"/>
                  <a:pt x="5811098" y="3135859"/>
                  <a:pt x="5791724" y="3139803"/>
                </a:cubicBezTo>
                <a:cubicBezTo>
                  <a:pt x="5789440" y="3148329"/>
                  <a:pt x="5787156" y="3156851"/>
                  <a:pt x="5787156" y="3156851"/>
                </a:cubicBezTo>
                <a:lnTo>
                  <a:pt x="5777984" y="3162134"/>
                </a:lnTo>
                <a:lnTo>
                  <a:pt x="5783747" y="3165939"/>
                </a:lnTo>
                <a:cubicBezTo>
                  <a:pt x="5782645" y="3170053"/>
                  <a:pt x="5775151" y="3170250"/>
                  <a:pt x="5767052" y="3168079"/>
                </a:cubicBezTo>
                <a:lnTo>
                  <a:pt x="5748113" y="3156843"/>
                </a:lnTo>
                <a:lnTo>
                  <a:pt x="5748059" y="3155405"/>
                </a:lnTo>
                <a:lnTo>
                  <a:pt x="5756970" y="3151324"/>
                </a:lnTo>
                <a:cubicBezTo>
                  <a:pt x="5760358" y="3151405"/>
                  <a:pt x="5763692" y="3152850"/>
                  <a:pt x="5766887" y="3154809"/>
                </a:cubicBezTo>
                <a:lnTo>
                  <a:pt x="5776794" y="3161349"/>
                </a:lnTo>
                <a:lnTo>
                  <a:pt x="5780896" y="3146039"/>
                </a:lnTo>
                <a:cubicBezTo>
                  <a:pt x="5761523" y="3149983"/>
                  <a:pt x="5752977" y="3147693"/>
                  <a:pt x="5735886" y="3143114"/>
                </a:cubicBezTo>
                <a:cubicBezTo>
                  <a:pt x="5734173" y="3149508"/>
                  <a:pt x="5744643" y="3148887"/>
                  <a:pt x="5748058" y="3155370"/>
                </a:cubicBezTo>
                <a:lnTo>
                  <a:pt x="5748059" y="3155405"/>
                </a:lnTo>
                <a:lnTo>
                  <a:pt x="5746721" y="3156018"/>
                </a:lnTo>
                <a:lnTo>
                  <a:pt x="5748113" y="3156843"/>
                </a:lnTo>
                <a:lnTo>
                  <a:pt x="5748408" y="3164744"/>
                </a:lnTo>
                <a:cubicBezTo>
                  <a:pt x="5739864" y="3162455"/>
                  <a:pt x="5739864" y="3162455"/>
                  <a:pt x="5742149" y="3153929"/>
                </a:cubicBezTo>
                <a:cubicBezTo>
                  <a:pt x="5739864" y="3162455"/>
                  <a:pt x="5731318" y="3160165"/>
                  <a:pt x="5729034" y="3168688"/>
                </a:cubicBezTo>
                <a:cubicBezTo>
                  <a:pt x="5720490" y="3166399"/>
                  <a:pt x="5725058" y="3149350"/>
                  <a:pt x="5727343" y="3140824"/>
                </a:cubicBezTo>
                <a:cubicBezTo>
                  <a:pt x="5716512" y="3147060"/>
                  <a:pt x="5688592" y="3148716"/>
                  <a:pt x="5684024" y="3165765"/>
                </a:cubicBezTo>
                <a:cubicBezTo>
                  <a:pt x="5690286" y="3176578"/>
                  <a:pt x="5677764" y="3154950"/>
                  <a:pt x="5675480" y="3163476"/>
                </a:cubicBezTo>
                <a:cubicBezTo>
                  <a:pt x="5675480" y="3163476"/>
                  <a:pt x="5677764" y="3154950"/>
                  <a:pt x="5666934" y="3161186"/>
                </a:cubicBezTo>
                <a:cubicBezTo>
                  <a:pt x="5669218" y="3152660"/>
                  <a:pt x="5677764" y="3154950"/>
                  <a:pt x="5688592" y="3148716"/>
                </a:cubicBezTo>
                <a:cubicBezTo>
                  <a:pt x="5690876" y="3140191"/>
                  <a:pt x="5680048" y="3146427"/>
                  <a:pt x="5671502" y="3144137"/>
                </a:cubicBezTo>
                <a:cubicBezTo>
                  <a:pt x="5671502" y="3144137"/>
                  <a:pt x="5671502" y="3144137"/>
                  <a:pt x="5669218" y="3152660"/>
                </a:cubicBezTo>
                <a:cubicBezTo>
                  <a:pt x="5660674" y="3150371"/>
                  <a:pt x="5662958" y="3141848"/>
                  <a:pt x="5662958" y="3141848"/>
                </a:cubicBezTo>
                <a:cubicBezTo>
                  <a:pt x="5652128" y="3148081"/>
                  <a:pt x="5660674" y="3150371"/>
                  <a:pt x="5647560" y="3165129"/>
                </a:cubicBezTo>
                <a:cubicBezTo>
                  <a:pt x="5615664" y="3147448"/>
                  <a:pt x="5585462" y="3157628"/>
                  <a:pt x="5557542" y="3159282"/>
                </a:cubicBezTo>
                <a:cubicBezTo>
                  <a:pt x="5557542" y="3159282"/>
                  <a:pt x="5557542" y="3159282"/>
                  <a:pt x="5559826" y="3150759"/>
                </a:cubicBezTo>
                <a:cubicBezTo>
                  <a:pt x="5557542" y="3159282"/>
                  <a:pt x="5551283" y="3148469"/>
                  <a:pt x="5546714" y="3165518"/>
                </a:cubicBezTo>
                <a:cubicBezTo>
                  <a:pt x="5523362" y="3150123"/>
                  <a:pt x="5521078" y="3158649"/>
                  <a:pt x="5501704" y="3162595"/>
                </a:cubicBezTo>
                <a:cubicBezTo>
                  <a:pt x="5510247" y="3164884"/>
                  <a:pt x="5503989" y="3154070"/>
                  <a:pt x="5503989" y="3154070"/>
                </a:cubicBezTo>
                <a:cubicBezTo>
                  <a:pt x="5503989" y="3154070"/>
                  <a:pt x="5503989" y="3154070"/>
                  <a:pt x="5495442" y="3151780"/>
                </a:cubicBezTo>
                <a:cubicBezTo>
                  <a:pt x="5499421" y="3171118"/>
                  <a:pt x="5490874" y="3168828"/>
                  <a:pt x="5473784" y="3164249"/>
                </a:cubicBezTo>
                <a:cubicBezTo>
                  <a:pt x="5473784" y="3164249"/>
                  <a:pt x="5476068" y="3155726"/>
                  <a:pt x="5476068" y="3155726"/>
                </a:cubicBezTo>
                <a:cubicBezTo>
                  <a:pt x="5465240" y="3161959"/>
                  <a:pt x="5454409" y="3168195"/>
                  <a:pt x="5443582" y="3174429"/>
                </a:cubicBezTo>
                <a:cubicBezTo>
                  <a:pt x="5428776" y="3161326"/>
                  <a:pt x="5445866" y="3165906"/>
                  <a:pt x="5450434" y="3148857"/>
                </a:cubicBezTo>
                <a:cubicBezTo>
                  <a:pt x="5437319" y="3163616"/>
                  <a:pt x="5420230" y="3159037"/>
                  <a:pt x="5409402" y="3165270"/>
                </a:cubicBezTo>
                <a:cubicBezTo>
                  <a:pt x="5400856" y="3162980"/>
                  <a:pt x="5411686" y="3156747"/>
                  <a:pt x="5411686" y="3156747"/>
                </a:cubicBezTo>
                <a:cubicBezTo>
                  <a:pt x="5411686" y="3156747"/>
                  <a:pt x="5403139" y="3154457"/>
                  <a:pt x="5394596" y="3152168"/>
                </a:cubicBezTo>
                <a:lnTo>
                  <a:pt x="5392312" y="3160691"/>
                </a:lnTo>
                <a:cubicBezTo>
                  <a:pt x="5392312" y="3160691"/>
                  <a:pt x="5383766" y="3158401"/>
                  <a:pt x="5375222" y="3156112"/>
                </a:cubicBezTo>
                <a:cubicBezTo>
                  <a:pt x="5372938" y="3164637"/>
                  <a:pt x="5379198" y="3175450"/>
                  <a:pt x="5362108" y="3170870"/>
                </a:cubicBezTo>
                <a:cubicBezTo>
                  <a:pt x="5364392" y="3162347"/>
                  <a:pt x="5364392" y="3162347"/>
                  <a:pt x="5372938" y="3164637"/>
                </a:cubicBezTo>
                <a:cubicBezTo>
                  <a:pt x="5366676" y="3153822"/>
                  <a:pt x="5349586" y="3149243"/>
                  <a:pt x="5349586" y="3149243"/>
                </a:cubicBezTo>
                <a:cubicBezTo>
                  <a:pt x="5347301" y="3157768"/>
                  <a:pt x="5349586" y="3149243"/>
                  <a:pt x="5355845" y="3160057"/>
                </a:cubicBezTo>
                <a:cubicBezTo>
                  <a:pt x="5355845" y="3160057"/>
                  <a:pt x="5353561" y="3168580"/>
                  <a:pt x="5351277" y="3177106"/>
                </a:cubicBezTo>
                <a:cubicBezTo>
                  <a:pt x="5345018" y="3166291"/>
                  <a:pt x="5345018" y="3166291"/>
                  <a:pt x="5347301" y="3157768"/>
                </a:cubicBezTo>
                <a:cubicBezTo>
                  <a:pt x="5347301" y="3157768"/>
                  <a:pt x="5336472" y="3164001"/>
                  <a:pt x="5336472" y="3164001"/>
                </a:cubicBezTo>
                <a:cubicBezTo>
                  <a:pt x="5334187" y="3172527"/>
                  <a:pt x="5347301" y="3157768"/>
                  <a:pt x="5342733" y="3174816"/>
                </a:cubicBezTo>
                <a:cubicBezTo>
                  <a:pt x="5310838" y="3157133"/>
                  <a:pt x="5302292" y="3154843"/>
                  <a:pt x="5280633" y="3167315"/>
                </a:cubicBezTo>
                <a:lnTo>
                  <a:pt x="5282060" y="3161987"/>
                </a:lnTo>
                <a:cubicBezTo>
                  <a:pt x="5282347" y="3160919"/>
                  <a:pt x="5282917" y="3158789"/>
                  <a:pt x="5282917" y="3158789"/>
                </a:cubicBezTo>
                <a:cubicBezTo>
                  <a:pt x="5280633" y="3167315"/>
                  <a:pt x="5272089" y="3165025"/>
                  <a:pt x="5252715" y="3168969"/>
                </a:cubicBezTo>
                <a:cubicBezTo>
                  <a:pt x="5252715" y="3168969"/>
                  <a:pt x="5263543" y="3162735"/>
                  <a:pt x="5263543" y="3162735"/>
                </a:cubicBezTo>
                <a:cubicBezTo>
                  <a:pt x="5257284" y="3151920"/>
                  <a:pt x="5237910" y="3155867"/>
                  <a:pt x="5241885" y="3175204"/>
                </a:cubicBezTo>
                <a:cubicBezTo>
                  <a:pt x="5235626" y="3164390"/>
                  <a:pt x="5246453" y="3158156"/>
                  <a:pt x="5248738" y="3149630"/>
                </a:cubicBezTo>
                <a:cubicBezTo>
                  <a:pt x="5237910" y="3155867"/>
                  <a:pt x="5235626" y="3164390"/>
                  <a:pt x="5233342" y="3172915"/>
                </a:cubicBezTo>
                <a:cubicBezTo>
                  <a:pt x="5227079" y="3162100"/>
                  <a:pt x="5216251" y="3168336"/>
                  <a:pt x="5209990" y="3157521"/>
                </a:cubicBezTo>
                <a:cubicBezTo>
                  <a:pt x="5209990" y="3157521"/>
                  <a:pt x="5207705" y="3166046"/>
                  <a:pt x="5199162" y="3163757"/>
                </a:cubicBezTo>
                <a:cubicBezTo>
                  <a:pt x="5199162" y="3163757"/>
                  <a:pt x="5207705" y="3166046"/>
                  <a:pt x="5207705" y="3166046"/>
                </a:cubicBezTo>
                <a:cubicBezTo>
                  <a:pt x="5196878" y="3172280"/>
                  <a:pt x="5190616" y="3161467"/>
                  <a:pt x="5182069" y="3159177"/>
                </a:cubicBezTo>
                <a:cubicBezTo>
                  <a:pt x="5179785" y="3167700"/>
                  <a:pt x="5168957" y="3173936"/>
                  <a:pt x="5164979" y="3154598"/>
                </a:cubicBezTo>
                <a:cubicBezTo>
                  <a:pt x="5164979" y="3154598"/>
                  <a:pt x="5162695" y="3163120"/>
                  <a:pt x="5154152" y="3160831"/>
                </a:cubicBezTo>
                <a:cubicBezTo>
                  <a:pt x="5151867" y="3169357"/>
                  <a:pt x="5160411" y="3171646"/>
                  <a:pt x="5168957" y="3173936"/>
                </a:cubicBezTo>
                <a:cubicBezTo>
                  <a:pt x="5166673" y="3182459"/>
                  <a:pt x="5117687" y="3160198"/>
                  <a:pt x="5113119" y="3177247"/>
                </a:cubicBezTo>
                <a:cubicBezTo>
                  <a:pt x="5107704" y="3180365"/>
                  <a:pt x="5108846" y="3176103"/>
                  <a:pt x="5112410" y="3171347"/>
                </a:cubicBezTo>
                <a:lnTo>
                  <a:pt x="5118751" y="3165009"/>
                </a:lnTo>
                <a:lnTo>
                  <a:pt x="5126231" y="3162488"/>
                </a:lnTo>
                <a:cubicBezTo>
                  <a:pt x="5124095" y="3161915"/>
                  <a:pt x="5121531" y="3162941"/>
                  <a:pt x="5119055" y="3164705"/>
                </a:cubicBezTo>
                <a:lnTo>
                  <a:pt x="5118751" y="3165009"/>
                </a:lnTo>
                <a:lnTo>
                  <a:pt x="5099804" y="3171395"/>
                </a:lnTo>
                <a:cubicBezTo>
                  <a:pt x="5091756" y="3171523"/>
                  <a:pt x="5083211" y="3169233"/>
                  <a:pt x="5070393" y="3165798"/>
                </a:cubicBezTo>
                <a:cubicBezTo>
                  <a:pt x="5061850" y="3163509"/>
                  <a:pt x="5068109" y="3174324"/>
                  <a:pt x="5059566" y="3172035"/>
                </a:cubicBezTo>
                <a:cubicBezTo>
                  <a:pt x="5061850" y="3163509"/>
                  <a:pt x="5051019" y="3169745"/>
                  <a:pt x="5040191" y="3175978"/>
                </a:cubicBezTo>
                <a:cubicBezTo>
                  <a:pt x="5033929" y="3165165"/>
                  <a:pt x="5023102" y="3171399"/>
                  <a:pt x="5014555" y="3169109"/>
                </a:cubicBezTo>
                <a:cubicBezTo>
                  <a:pt x="5012271" y="3177635"/>
                  <a:pt x="5012271" y="3177635"/>
                  <a:pt x="5009987" y="3186158"/>
                </a:cubicBezTo>
                <a:cubicBezTo>
                  <a:pt x="4995181" y="3173055"/>
                  <a:pt x="4995181" y="3173055"/>
                  <a:pt x="4986635" y="3170766"/>
                </a:cubicBezTo>
                <a:cubicBezTo>
                  <a:pt x="4978091" y="3168476"/>
                  <a:pt x="4984351" y="3179288"/>
                  <a:pt x="4973524" y="3185525"/>
                </a:cubicBezTo>
                <a:cubicBezTo>
                  <a:pt x="4973524" y="3185525"/>
                  <a:pt x="4969544" y="3166186"/>
                  <a:pt x="4975808" y="3176999"/>
                </a:cubicBezTo>
                <a:cubicBezTo>
                  <a:pt x="4980375" y="3159951"/>
                  <a:pt x="4967261" y="3174709"/>
                  <a:pt x="4958719" y="3172420"/>
                </a:cubicBezTo>
                <a:cubicBezTo>
                  <a:pt x="4958719" y="3172420"/>
                  <a:pt x="4964976" y="3183235"/>
                  <a:pt x="4964976" y="3183235"/>
                </a:cubicBezTo>
                <a:cubicBezTo>
                  <a:pt x="4954149" y="3189468"/>
                  <a:pt x="4950171" y="3170130"/>
                  <a:pt x="4941628" y="3167841"/>
                </a:cubicBezTo>
                <a:cubicBezTo>
                  <a:pt x="4947887" y="3178655"/>
                  <a:pt x="4939343" y="3176366"/>
                  <a:pt x="4930797" y="3174076"/>
                </a:cubicBezTo>
                <a:cubicBezTo>
                  <a:pt x="4919969" y="3180310"/>
                  <a:pt x="4911424" y="3178020"/>
                  <a:pt x="4898311" y="3192779"/>
                </a:cubicBezTo>
                <a:cubicBezTo>
                  <a:pt x="4889765" y="3190489"/>
                  <a:pt x="4902879" y="3175731"/>
                  <a:pt x="4905163" y="3167208"/>
                </a:cubicBezTo>
                <a:cubicBezTo>
                  <a:pt x="4896617" y="3164918"/>
                  <a:pt x="4860153" y="3164282"/>
                  <a:pt x="4861847" y="3192146"/>
                </a:cubicBezTo>
                <a:cubicBezTo>
                  <a:pt x="4861847" y="3192146"/>
                  <a:pt x="4853301" y="3189856"/>
                  <a:pt x="4853301" y="3189856"/>
                </a:cubicBezTo>
                <a:cubicBezTo>
                  <a:pt x="4855585" y="3181331"/>
                  <a:pt x="4855585" y="3181331"/>
                  <a:pt x="4857869" y="3172808"/>
                </a:cubicBezTo>
                <a:cubicBezTo>
                  <a:pt x="4840779" y="3168229"/>
                  <a:pt x="4847042" y="3179041"/>
                  <a:pt x="4821405" y="3172172"/>
                </a:cubicBezTo>
                <a:cubicBezTo>
                  <a:pt x="4819122" y="3180698"/>
                  <a:pt x="4838495" y="3176751"/>
                  <a:pt x="4827665" y="3182987"/>
                </a:cubicBezTo>
                <a:cubicBezTo>
                  <a:pt x="4821405" y="3172172"/>
                  <a:pt x="4810574" y="3178408"/>
                  <a:pt x="4802031" y="3176118"/>
                </a:cubicBezTo>
                <a:cubicBezTo>
                  <a:pt x="4804315" y="3167593"/>
                  <a:pt x="4795769" y="3165303"/>
                  <a:pt x="4798053" y="3156780"/>
                </a:cubicBezTo>
                <a:cubicBezTo>
                  <a:pt x="4795769" y="3165303"/>
                  <a:pt x="4784942" y="3171539"/>
                  <a:pt x="4774110" y="3177775"/>
                </a:cubicBezTo>
                <a:cubicBezTo>
                  <a:pt x="4767851" y="3166960"/>
                  <a:pt x="4757020" y="3173196"/>
                  <a:pt x="4750761" y="3162381"/>
                </a:cubicBezTo>
                <a:cubicBezTo>
                  <a:pt x="4742215" y="3160091"/>
                  <a:pt x="4748477" y="3170906"/>
                  <a:pt x="4737647" y="3177139"/>
                </a:cubicBezTo>
                <a:cubicBezTo>
                  <a:pt x="4729104" y="3174850"/>
                  <a:pt x="4731387" y="3166327"/>
                  <a:pt x="4731387" y="3166327"/>
                </a:cubicBezTo>
                <a:cubicBezTo>
                  <a:pt x="4722840" y="3164037"/>
                  <a:pt x="4729104" y="3174850"/>
                  <a:pt x="4729104" y="3174850"/>
                </a:cubicBezTo>
                <a:cubicBezTo>
                  <a:pt x="4709729" y="3178796"/>
                  <a:pt x="4722840" y="3164037"/>
                  <a:pt x="4705751" y="3159458"/>
                </a:cubicBezTo>
                <a:lnTo>
                  <a:pt x="4702236" y="3172573"/>
                </a:lnTo>
                <a:lnTo>
                  <a:pt x="4692638" y="3174217"/>
                </a:lnTo>
                <a:lnTo>
                  <a:pt x="4695621" y="3188720"/>
                </a:lnTo>
                <a:cubicBezTo>
                  <a:pt x="4691920" y="3185445"/>
                  <a:pt x="4686082" y="3181595"/>
                  <a:pt x="4681809" y="3180450"/>
                </a:cubicBezTo>
                <a:cubicBezTo>
                  <a:pt x="4684092" y="3171927"/>
                  <a:pt x="4692638" y="3174217"/>
                  <a:pt x="4694923" y="3165692"/>
                </a:cubicBezTo>
                <a:cubicBezTo>
                  <a:pt x="4684092" y="3171927"/>
                  <a:pt x="4667002" y="3167348"/>
                  <a:pt x="4673265" y="3178161"/>
                </a:cubicBezTo>
                <a:cubicBezTo>
                  <a:pt x="4662434" y="3184397"/>
                  <a:pt x="4658456" y="3165058"/>
                  <a:pt x="4647629" y="3171292"/>
                </a:cubicBezTo>
                <a:cubicBezTo>
                  <a:pt x="4639083" y="3169002"/>
                  <a:pt x="4636798" y="3177527"/>
                  <a:pt x="4632230" y="3194576"/>
                </a:cubicBezTo>
                <a:cubicBezTo>
                  <a:pt x="4637645" y="3191458"/>
                  <a:pt x="4640206" y="3198996"/>
                  <a:pt x="4639274" y="3206742"/>
                </a:cubicBezTo>
                <a:lnTo>
                  <a:pt x="4634393" y="3211453"/>
                </a:lnTo>
                <a:lnTo>
                  <a:pt x="4632009" y="3208220"/>
                </a:lnTo>
                <a:cubicBezTo>
                  <a:pt x="4628804" y="3207361"/>
                  <a:pt x="4624534" y="3206217"/>
                  <a:pt x="4621402" y="3200812"/>
                </a:cubicBezTo>
                <a:lnTo>
                  <a:pt x="4623686" y="3192286"/>
                </a:lnTo>
                <a:cubicBezTo>
                  <a:pt x="4615140" y="3189997"/>
                  <a:pt x="4619708" y="3172948"/>
                  <a:pt x="4606596" y="3187707"/>
                </a:cubicBezTo>
                <a:cubicBezTo>
                  <a:pt x="4598052" y="3185417"/>
                  <a:pt x="4611165" y="3170659"/>
                  <a:pt x="4600335" y="3176892"/>
                </a:cubicBezTo>
                <a:cubicBezTo>
                  <a:pt x="4600335" y="3176892"/>
                  <a:pt x="4589507" y="3183128"/>
                  <a:pt x="4583244" y="3172312"/>
                </a:cubicBezTo>
                <a:cubicBezTo>
                  <a:pt x="4572417" y="3178549"/>
                  <a:pt x="4580961" y="3180838"/>
                  <a:pt x="4589507" y="3183128"/>
                </a:cubicBezTo>
                <a:cubicBezTo>
                  <a:pt x="4587222" y="3191653"/>
                  <a:pt x="4584938" y="3200177"/>
                  <a:pt x="4576392" y="3197887"/>
                </a:cubicBezTo>
                <a:cubicBezTo>
                  <a:pt x="4578677" y="3189363"/>
                  <a:pt x="4578677" y="3189363"/>
                  <a:pt x="4578677" y="3189363"/>
                </a:cubicBezTo>
                <a:cubicBezTo>
                  <a:pt x="4570132" y="3187074"/>
                  <a:pt x="4572417" y="3178549"/>
                  <a:pt x="4555327" y="3173970"/>
                </a:cubicBezTo>
                <a:cubicBezTo>
                  <a:pt x="4559302" y="3193307"/>
                  <a:pt x="4518863" y="3173336"/>
                  <a:pt x="4542212" y="3188728"/>
                </a:cubicBezTo>
                <a:cubicBezTo>
                  <a:pt x="4548474" y="3199544"/>
                  <a:pt x="4522838" y="3192674"/>
                  <a:pt x="4527406" y="3175626"/>
                </a:cubicBezTo>
                <a:cubicBezTo>
                  <a:pt x="4518863" y="3173336"/>
                  <a:pt x="4522838" y="3192674"/>
                  <a:pt x="4516579" y="3181860"/>
                </a:cubicBezTo>
                <a:cubicBezTo>
                  <a:pt x="4499489" y="3177280"/>
                  <a:pt x="4514294" y="3190385"/>
                  <a:pt x="4494921" y="3194329"/>
                </a:cubicBezTo>
                <a:cubicBezTo>
                  <a:pt x="4480112" y="3181226"/>
                  <a:pt x="4480112" y="3181226"/>
                  <a:pt x="4463022" y="3176647"/>
                </a:cubicBezTo>
                <a:cubicBezTo>
                  <a:pt x="4471570" y="3178937"/>
                  <a:pt x="4460738" y="3185170"/>
                  <a:pt x="4477828" y="3189749"/>
                </a:cubicBezTo>
                <a:cubicBezTo>
                  <a:pt x="4477828" y="3189749"/>
                  <a:pt x="4449910" y="3191406"/>
                  <a:pt x="4447626" y="3199929"/>
                </a:cubicBezTo>
                <a:cubicBezTo>
                  <a:pt x="4441364" y="3189116"/>
                  <a:pt x="4441364" y="3189116"/>
                  <a:pt x="4452194" y="3182880"/>
                </a:cubicBezTo>
                <a:cubicBezTo>
                  <a:pt x="4413446" y="3190770"/>
                  <a:pt x="4383242" y="3200952"/>
                  <a:pt x="4351346" y="3183268"/>
                </a:cubicBezTo>
                <a:cubicBezTo>
                  <a:pt x="4349062" y="3191794"/>
                  <a:pt x="4357608" y="3194084"/>
                  <a:pt x="4357608" y="3194084"/>
                </a:cubicBezTo>
                <a:cubicBezTo>
                  <a:pt x="4338234" y="3198027"/>
                  <a:pt x="4318857" y="3201973"/>
                  <a:pt x="4278418" y="3182000"/>
                </a:cubicBezTo>
                <a:cubicBezTo>
                  <a:pt x="4273850" y="3199048"/>
                  <a:pt x="4304052" y="3188868"/>
                  <a:pt x="4290940" y="3203628"/>
                </a:cubicBezTo>
                <a:cubicBezTo>
                  <a:pt x="4282394" y="3201338"/>
                  <a:pt x="4273850" y="3199048"/>
                  <a:pt x="4271565" y="3207574"/>
                </a:cubicBezTo>
                <a:cubicBezTo>
                  <a:pt x="4263019" y="3205284"/>
                  <a:pt x="4265305" y="3196758"/>
                  <a:pt x="4265305" y="3196758"/>
                </a:cubicBezTo>
                <a:cubicBezTo>
                  <a:pt x="4256760" y="3194469"/>
                  <a:pt x="4256760" y="3194469"/>
                  <a:pt x="4248214" y="3192179"/>
                </a:cubicBezTo>
                <a:cubicBezTo>
                  <a:pt x="4245929" y="3200705"/>
                  <a:pt x="4265305" y="3196758"/>
                  <a:pt x="4254476" y="3202995"/>
                </a:cubicBezTo>
                <a:cubicBezTo>
                  <a:pt x="4241659" y="3199560"/>
                  <a:pt x="4231970" y="3201533"/>
                  <a:pt x="4222857" y="3201374"/>
                </a:cubicBezTo>
                <a:lnTo>
                  <a:pt x="4200926" y="3190168"/>
                </a:lnTo>
                <a:lnTo>
                  <a:pt x="4198650" y="3183467"/>
                </a:lnTo>
                <a:lnTo>
                  <a:pt x="4218602" y="3165972"/>
                </a:lnTo>
                <a:cubicBezTo>
                  <a:pt x="4220886" y="3157449"/>
                  <a:pt x="4201513" y="3161393"/>
                  <a:pt x="4201513" y="3161393"/>
                </a:cubicBezTo>
                <a:cubicBezTo>
                  <a:pt x="4201513" y="3161393"/>
                  <a:pt x="4214034" y="3183021"/>
                  <a:pt x="4196944" y="3178441"/>
                </a:cubicBezTo>
                <a:lnTo>
                  <a:pt x="4198650" y="3183467"/>
                </a:lnTo>
                <a:lnTo>
                  <a:pt x="4194659" y="3186967"/>
                </a:lnTo>
                <a:lnTo>
                  <a:pt x="4200926" y="3190168"/>
                </a:lnTo>
                <a:lnTo>
                  <a:pt x="4207181" y="3208594"/>
                </a:lnTo>
                <a:cubicBezTo>
                  <a:pt x="4198638" y="3206305"/>
                  <a:pt x="4181548" y="3201726"/>
                  <a:pt x="4192376" y="3195490"/>
                </a:cubicBezTo>
                <a:cubicBezTo>
                  <a:pt x="4183832" y="3193200"/>
                  <a:pt x="4190091" y="3204015"/>
                  <a:pt x="4187808" y="3212541"/>
                </a:cubicBezTo>
                <a:cubicBezTo>
                  <a:pt x="4170717" y="3207962"/>
                  <a:pt x="4159890" y="3214195"/>
                  <a:pt x="4145081" y="3201093"/>
                </a:cubicBezTo>
                <a:cubicBezTo>
                  <a:pt x="4142797" y="3209615"/>
                  <a:pt x="4108619" y="3200457"/>
                  <a:pt x="4125707" y="3205036"/>
                </a:cubicBezTo>
                <a:cubicBezTo>
                  <a:pt x="4112595" y="3219795"/>
                  <a:pt x="4108619" y="3200457"/>
                  <a:pt x="4100073" y="3198168"/>
                </a:cubicBezTo>
                <a:cubicBezTo>
                  <a:pt x="4112595" y="3219795"/>
                  <a:pt x="4089243" y="3204403"/>
                  <a:pt x="4069869" y="3208347"/>
                </a:cubicBezTo>
                <a:cubicBezTo>
                  <a:pt x="4069869" y="3208347"/>
                  <a:pt x="4078416" y="3210637"/>
                  <a:pt x="4078416" y="3210637"/>
                </a:cubicBezTo>
                <a:cubicBezTo>
                  <a:pt x="4076131" y="3219163"/>
                  <a:pt x="4067585" y="3216873"/>
                  <a:pt x="4067585" y="3216873"/>
                </a:cubicBezTo>
                <a:cubicBezTo>
                  <a:pt x="4037973" y="3190665"/>
                  <a:pt x="3983830" y="3221838"/>
                  <a:pt x="3960477" y="3206446"/>
                </a:cubicBezTo>
                <a:cubicBezTo>
                  <a:pt x="3958194" y="3214969"/>
                  <a:pt x="3958194" y="3214969"/>
                  <a:pt x="3949647" y="3212679"/>
                </a:cubicBezTo>
                <a:cubicBezTo>
                  <a:pt x="3990089" y="3232653"/>
                  <a:pt x="3981545" y="3230363"/>
                  <a:pt x="3930273" y="3216625"/>
                </a:cubicBezTo>
                <a:cubicBezTo>
                  <a:pt x="3919445" y="3222861"/>
                  <a:pt x="3914877" y="3239909"/>
                  <a:pt x="3908615" y="3229094"/>
                </a:cubicBezTo>
                <a:cubicBezTo>
                  <a:pt x="3913183" y="3212046"/>
                  <a:pt x="3891525" y="3224515"/>
                  <a:pt x="3882981" y="3222225"/>
                </a:cubicBezTo>
                <a:cubicBezTo>
                  <a:pt x="3882981" y="3222225"/>
                  <a:pt x="3880697" y="3230751"/>
                  <a:pt x="3880697" y="3230751"/>
                </a:cubicBezTo>
                <a:cubicBezTo>
                  <a:pt x="3874436" y="3219936"/>
                  <a:pt x="3852777" y="3232405"/>
                  <a:pt x="3846518" y="3221593"/>
                </a:cubicBezTo>
                <a:cubicBezTo>
                  <a:pt x="3844234" y="3230116"/>
                  <a:pt x="3844234" y="3230116"/>
                  <a:pt x="3833403" y="3236351"/>
                </a:cubicBezTo>
                <a:cubicBezTo>
                  <a:pt x="3822575" y="3242585"/>
                  <a:pt x="3816313" y="3231772"/>
                  <a:pt x="3818597" y="3223246"/>
                </a:cubicBezTo>
                <a:cubicBezTo>
                  <a:pt x="3816313" y="3231772"/>
                  <a:pt x="3816313" y="3231772"/>
                  <a:pt x="3796939" y="3235715"/>
                </a:cubicBezTo>
                <a:cubicBezTo>
                  <a:pt x="3786108" y="3241951"/>
                  <a:pt x="3807769" y="3229483"/>
                  <a:pt x="3803201" y="3246531"/>
                </a:cubicBezTo>
                <a:cubicBezTo>
                  <a:pt x="3779849" y="3231136"/>
                  <a:pt x="3771303" y="3228846"/>
                  <a:pt x="3743385" y="3230503"/>
                </a:cubicBezTo>
                <a:cubicBezTo>
                  <a:pt x="3743385" y="3230503"/>
                  <a:pt x="3745669" y="3221978"/>
                  <a:pt x="3747954" y="3213455"/>
                </a:cubicBezTo>
                <a:cubicBezTo>
                  <a:pt x="3769018" y="3237372"/>
                  <a:pt x="3780439" y="3194749"/>
                  <a:pt x="3803791" y="3210144"/>
                </a:cubicBezTo>
                <a:cubicBezTo>
                  <a:pt x="3806075" y="3201619"/>
                  <a:pt x="3797529" y="3199329"/>
                  <a:pt x="3799813" y="3190806"/>
                </a:cubicBezTo>
                <a:cubicBezTo>
                  <a:pt x="3802097" y="3182280"/>
                  <a:pt x="3814622" y="3203909"/>
                  <a:pt x="3825449" y="3197675"/>
                </a:cubicBezTo>
                <a:cubicBezTo>
                  <a:pt x="3823165" y="3206198"/>
                  <a:pt x="3806075" y="3201619"/>
                  <a:pt x="3812338" y="3212434"/>
                </a:cubicBezTo>
                <a:cubicBezTo>
                  <a:pt x="3842540" y="3202254"/>
                  <a:pt x="3848801" y="3213067"/>
                  <a:pt x="3865891" y="3217646"/>
                </a:cubicBezTo>
                <a:cubicBezTo>
                  <a:pt x="3868175" y="3209123"/>
                  <a:pt x="3851086" y="3204544"/>
                  <a:pt x="3853370" y="3196019"/>
                </a:cubicBezTo>
                <a:cubicBezTo>
                  <a:pt x="3864197" y="3189782"/>
                  <a:pt x="3868175" y="3209123"/>
                  <a:pt x="3875028" y="3183549"/>
                </a:cubicBezTo>
                <a:cubicBezTo>
                  <a:pt x="3879003" y="3202887"/>
                  <a:pt x="3881288" y="3194362"/>
                  <a:pt x="3898377" y="3198941"/>
                </a:cubicBezTo>
                <a:cubicBezTo>
                  <a:pt x="3892117" y="3188129"/>
                  <a:pt x="3875028" y="3183549"/>
                  <a:pt x="3868766" y="3172734"/>
                </a:cubicBezTo>
                <a:cubicBezTo>
                  <a:pt x="3843133" y="3165865"/>
                  <a:pt x="3840848" y="3174391"/>
                  <a:pt x="3823758" y="3169812"/>
                </a:cubicBezTo>
                <a:cubicBezTo>
                  <a:pt x="3836870" y="3155053"/>
                  <a:pt x="3804381" y="3173755"/>
                  <a:pt x="3789575" y="3160652"/>
                </a:cubicBezTo>
                <a:cubicBezTo>
                  <a:pt x="3787292" y="3169176"/>
                  <a:pt x="3795839" y="3171465"/>
                  <a:pt x="3785007" y="3177701"/>
                </a:cubicBezTo>
                <a:cubicBezTo>
                  <a:pt x="3785007" y="3177701"/>
                  <a:pt x="3776464" y="3175412"/>
                  <a:pt x="3767917" y="3173122"/>
                </a:cubicBezTo>
                <a:cubicBezTo>
                  <a:pt x="3770202" y="3164596"/>
                  <a:pt x="3770202" y="3164596"/>
                  <a:pt x="3772486" y="3156073"/>
                </a:cubicBezTo>
                <a:cubicBezTo>
                  <a:pt x="3770202" y="3164596"/>
                  <a:pt x="3753111" y="3160017"/>
                  <a:pt x="3755395" y="3151494"/>
                </a:cubicBezTo>
                <a:cubicBezTo>
                  <a:pt x="3742284" y="3166253"/>
                  <a:pt x="3738306" y="3146915"/>
                  <a:pt x="3727478" y="3153149"/>
                </a:cubicBezTo>
                <a:cubicBezTo>
                  <a:pt x="3721215" y="3142335"/>
                  <a:pt x="3727478" y="3153149"/>
                  <a:pt x="3729763" y="3144625"/>
                </a:cubicBezTo>
                <a:cubicBezTo>
                  <a:pt x="3738306" y="3146915"/>
                  <a:pt x="3755395" y="3151494"/>
                  <a:pt x="3757680" y="3142968"/>
                </a:cubicBezTo>
                <a:cubicBezTo>
                  <a:pt x="3742874" y="3129866"/>
                  <a:pt x="3770794" y="3128210"/>
                  <a:pt x="3774770" y="3147548"/>
                </a:cubicBezTo>
                <a:cubicBezTo>
                  <a:pt x="3774770" y="3147548"/>
                  <a:pt x="3768510" y="3136736"/>
                  <a:pt x="3779338" y="3130499"/>
                </a:cubicBezTo>
                <a:cubicBezTo>
                  <a:pt x="3770794" y="3128210"/>
                  <a:pt x="3759965" y="3134446"/>
                  <a:pt x="3762248" y="3125920"/>
                </a:cubicBezTo>
                <a:cubicBezTo>
                  <a:pt x="3751420" y="3132156"/>
                  <a:pt x="3719524" y="3114472"/>
                  <a:pt x="3702434" y="3109893"/>
                </a:cubicBezTo>
                <a:cubicBezTo>
                  <a:pt x="3689913" y="3088265"/>
                  <a:pt x="3738898" y="3110529"/>
                  <a:pt x="3758273" y="3106582"/>
                </a:cubicBezTo>
                <a:cubicBezTo>
                  <a:pt x="3765125" y="3081008"/>
                  <a:pt x="3814110" y="3103271"/>
                  <a:pt x="3833485" y="3099325"/>
                </a:cubicBezTo>
                <a:cubicBezTo>
                  <a:pt x="3835768" y="3090802"/>
                  <a:pt x="3835768" y="3090802"/>
                  <a:pt x="3838054" y="3082277"/>
                </a:cubicBezTo>
                <a:cubicBezTo>
                  <a:pt x="3861405" y="3097671"/>
                  <a:pt x="3883063" y="3085202"/>
                  <a:pt x="3895584" y="3106830"/>
                </a:cubicBezTo>
                <a:cubicBezTo>
                  <a:pt x="3899856" y="3107975"/>
                  <a:pt x="3900427" y="3105843"/>
                  <a:pt x="3901781" y="3105064"/>
                </a:cubicBezTo>
                <a:lnTo>
                  <a:pt x="3903691" y="3105318"/>
                </a:lnTo>
                <a:lnTo>
                  <a:pt x="3912675" y="3111409"/>
                </a:lnTo>
                <a:cubicBezTo>
                  <a:pt x="3910391" y="3119932"/>
                  <a:pt x="3918934" y="3122221"/>
                  <a:pt x="3925196" y="3133037"/>
                </a:cubicBezTo>
                <a:cubicBezTo>
                  <a:pt x="3929764" y="3115988"/>
                  <a:pt x="3918934" y="3122221"/>
                  <a:pt x="3921218" y="3113698"/>
                </a:cubicBezTo>
                <a:cubicBezTo>
                  <a:pt x="3927480" y="3124511"/>
                  <a:pt x="3929764" y="3115988"/>
                  <a:pt x="3938308" y="3118278"/>
                </a:cubicBezTo>
                <a:cubicBezTo>
                  <a:pt x="3940593" y="3109752"/>
                  <a:pt x="3940593" y="3109752"/>
                  <a:pt x="3940593" y="3109752"/>
                </a:cubicBezTo>
                <a:cubicBezTo>
                  <a:pt x="3934332" y="3098940"/>
                  <a:pt x="3955398" y="3122857"/>
                  <a:pt x="3968512" y="3108098"/>
                </a:cubicBezTo>
                <a:cubicBezTo>
                  <a:pt x="3974772" y="3118911"/>
                  <a:pt x="3966230" y="3116621"/>
                  <a:pt x="3966230" y="3116621"/>
                </a:cubicBezTo>
                <a:cubicBezTo>
                  <a:pt x="3974772" y="3118911"/>
                  <a:pt x="3974772" y="3118911"/>
                  <a:pt x="3983319" y="3121201"/>
                </a:cubicBezTo>
                <a:cubicBezTo>
                  <a:pt x="3987887" y="3104152"/>
                  <a:pt x="3959966" y="3105808"/>
                  <a:pt x="3942877" y="3101229"/>
                </a:cubicBezTo>
                <a:cubicBezTo>
                  <a:pt x="3945161" y="3092704"/>
                  <a:pt x="3945161" y="3092704"/>
                  <a:pt x="3945161" y="3092704"/>
                </a:cubicBezTo>
                <a:cubicBezTo>
                  <a:pt x="3962250" y="3097283"/>
                  <a:pt x="3975365" y="3082524"/>
                  <a:pt x="3979340" y="3101862"/>
                </a:cubicBezTo>
                <a:lnTo>
                  <a:pt x="3996431" y="3106441"/>
                </a:lnTo>
                <a:cubicBezTo>
                  <a:pt x="3998715" y="3097918"/>
                  <a:pt x="4007261" y="3100208"/>
                  <a:pt x="4015807" y="3102498"/>
                </a:cubicBezTo>
                <a:cubicBezTo>
                  <a:pt x="4018091" y="3093973"/>
                  <a:pt x="4007261" y="3100208"/>
                  <a:pt x="4009545" y="3091683"/>
                </a:cubicBezTo>
                <a:cubicBezTo>
                  <a:pt x="4018091" y="3093973"/>
                  <a:pt x="4020375" y="3085447"/>
                  <a:pt x="4020375" y="3085447"/>
                </a:cubicBezTo>
                <a:cubicBezTo>
                  <a:pt x="4039749" y="3081503"/>
                  <a:pt x="4046009" y="3092316"/>
                  <a:pt x="4063099" y="3096895"/>
                </a:cubicBezTo>
                <a:cubicBezTo>
                  <a:pt x="4065383" y="3088372"/>
                  <a:pt x="4067667" y="3079847"/>
                  <a:pt x="4067667" y="3079847"/>
                </a:cubicBezTo>
                <a:cubicBezTo>
                  <a:pt x="4056840" y="3086083"/>
                  <a:pt x="4063099" y="3096895"/>
                  <a:pt x="4048293" y="3083793"/>
                </a:cubicBezTo>
                <a:cubicBezTo>
                  <a:pt x="4061407" y="3069034"/>
                  <a:pt x="4067667" y="3079847"/>
                  <a:pt x="4080781" y="3065088"/>
                </a:cubicBezTo>
                <a:cubicBezTo>
                  <a:pt x="4087042" y="3075903"/>
                  <a:pt x="4073929" y="3090662"/>
                  <a:pt x="4073929" y="3090662"/>
                </a:cubicBezTo>
                <a:cubicBezTo>
                  <a:pt x="4082473" y="3092951"/>
                  <a:pt x="4084758" y="3084426"/>
                  <a:pt x="4091020" y="3095241"/>
                </a:cubicBezTo>
                <a:cubicBezTo>
                  <a:pt x="4093303" y="3086716"/>
                  <a:pt x="4117246" y="3065724"/>
                  <a:pt x="4100155" y="3061144"/>
                </a:cubicBezTo>
                <a:cubicBezTo>
                  <a:pt x="4110983" y="3054908"/>
                  <a:pt x="4121814" y="3048673"/>
                  <a:pt x="4138904" y="3053252"/>
                </a:cubicBezTo>
                <a:cubicBezTo>
                  <a:pt x="4128073" y="3059487"/>
                  <a:pt x="4119530" y="3057198"/>
                  <a:pt x="4125789" y="3068013"/>
                </a:cubicBezTo>
                <a:cubicBezTo>
                  <a:pt x="4164537" y="3060120"/>
                  <a:pt x="4149141" y="3083405"/>
                  <a:pt x="4136027" y="3098163"/>
                </a:cubicBezTo>
                <a:cubicBezTo>
                  <a:pt x="4144573" y="3100453"/>
                  <a:pt x="4144573" y="3100453"/>
                  <a:pt x="4144573" y="3100453"/>
                </a:cubicBezTo>
                <a:cubicBezTo>
                  <a:pt x="4144573" y="3100453"/>
                  <a:pt x="4146857" y="3091931"/>
                  <a:pt x="4159969" y="3077171"/>
                </a:cubicBezTo>
                <a:cubicBezTo>
                  <a:pt x="4166231" y="3087984"/>
                  <a:pt x="4166231" y="3087984"/>
                  <a:pt x="4177059" y="3081751"/>
                </a:cubicBezTo>
                <a:cubicBezTo>
                  <a:pt x="4185605" y="3084040"/>
                  <a:pt x="4185605" y="3084040"/>
                  <a:pt x="4183322" y="3092564"/>
                </a:cubicBezTo>
                <a:cubicBezTo>
                  <a:pt x="4194151" y="3086330"/>
                  <a:pt x="4196436" y="3077805"/>
                  <a:pt x="4202695" y="3088620"/>
                </a:cubicBezTo>
                <a:cubicBezTo>
                  <a:pt x="4204979" y="3080094"/>
                  <a:pt x="4196436" y="3077805"/>
                  <a:pt x="4207264" y="3071569"/>
                </a:cubicBezTo>
                <a:cubicBezTo>
                  <a:pt x="4207264" y="3071569"/>
                  <a:pt x="4215810" y="3073859"/>
                  <a:pt x="4218093" y="3065336"/>
                </a:cubicBezTo>
                <a:cubicBezTo>
                  <a:pt x="4235184" y="3069915"/>
                  <a:pt x="4254558" y="3065968"/>
                  <a:pt x="4260817" y="3076783"/>
                </a:cubicBezTo>
                <a:cubicBezTo>
                  <a:pt x="4271648" y="3070548"/>
                  <a:pt x="4273932" y="3062025"/>
                  <a:pt x="4291021" y="3066604"/>
                </a:cubicBezTo>
                <a:cubicBezTo>
                  <a:pt x="4284759" y="3055789"/>
                  <a:pt x="4291021" y="3066604"/>
                  <a:pt x="4293307" y="3058079"/>
                </a:cubicBezTo>
                <a:cubicBezTo>
                  <a:pt x="4295590" y="3049556"/>
                  <a:pt x="4293307" y="3058079"/>
                  <a:pt x="4284759" y="3055789"/>
                </a:cubicBezTo>
                <a:cubicBezTo>
                  <a:pt x="4287043" y="3047266"/>
                  <a:pt x="4314964" y="3045609"/>
                  <a:pt x="4301850" y="3060368"/>
                </a:cubicBezTo>
                <a:lnTo>
                  <a:pt x="4313628" y="3054389"/>
                </a:lnTo>
                <a:lnTo>
                  <a:pt x="4321223" y="3056424"/>
                </a:lnTo>
                <a:cubicBezTo>
                  <a:pt x="4323933" y="3054864"/>
                  <a:pt x="4326638" y="3053306"/>
                  <a:pt x="4329769" y="3058714"/>
                </a:cubicBezTo>
                <a:cubicBezTo>
                  <a:pt x="4338313" y="3061003"/>
                  <a:pt x="4334338" y="3041663"/>
                  <a:pt x="4342882" y="3043952"/>
                </a:cubicBezTo>
                <a:cubicBezTo>
                  <a:pt x="4357688" y="3057057"/>
                  <a:pt x="4370802" y="3042299"/>
                  <a:pt x="4387892" y="3046878"/>
                </a:cubicBezTo>
                <a:cubicBezTo>
                  <a:pt x="4392460" y="3029829"/>
                  <a:pt x="4383916" y="3027540"/>
                  <a:pt x="4386201" y="3019014"/>
                </a:cubicBezTo>
                <a:cubicBezTo>
                  <a:pt x="4407266" y="3042932"/>
                  <a:pt x="4411835" y="3025883"/>
                  <a:pt x="4431208" y="3021939"/>
                </a:cubicBezTo>
                <a:cubicBezTo>
                  <a:pt x="4428924" y="3030462"/>
                  <a:pt x="4420381" y="3028173"/>
                  <a:pt x="4409550" y="3034408"/>
                </a:cubicBezTo>
                <a:cubicBezTo>
                  <a:pt x="4415812" y="3045222"/>
                  <a:pt x="4424356" y="3047511"/>
                  <a:pt x="4424356" y="3047511"/>
                </a:cubicBezTo>
                <a:cubicBezTo>
                  <a:pt x="4443729" y="3043567"/>
                  <a:pt x="4454561" y="3037331"/>
                  <a:pt x="4476219" y="3024862"/>
                </a:cubicBezTo>
                <a:cubicBezTo>
                  <a:pt x="4471650" y="3041911"/>
                  <a:pt x="4463104" y="3039621"/>
                  <a:pt x="4452276" y="3045857"/>
                </a:cubicBezTo>
                <a:cubicBezTo>
                  <a:pt x="4447708" y="3062906"/>
                  <a:pt x="4475626" y="3061249"/>
                  <a:pt x="4471650" y="3041911"/>
                </a:cubicBezTo>
                <a:cubicBezTo>
                  <a:pt x="4499568" y="3040256"/>
                  <a:pt x="4508114" y="3042546"/>
                  <a:pt x="4523510" y="3019261"/>
                </a:cubicBezTo>
                <a:cubicBezTo>
                  <a:pt x="4534340" y="3013026"/>
                  <a:pt x="4540603" y="3023841"/>
                  <a:pt x="4542887" y="3015316"/>
                </a:cubicBezTo>
                <a:cubicBezTo>
                  <a:pt x="4551431" y="3017605"/>
                  <a:pt x="4549146" y="3026131"/>
                  <a:pt x="4546862" y="3034656"/>
                </a:cubicBezTo>
                <a:cubicBezTo>
                  <a:pt x="4572498" y="3041525"/>
                  <a:pt x="4577067" y="3024474"/>
                  <a:pt x="4585611" y="3026764"/>
                </a:cubicBezTo>
                <a:lnTo>
                  <a:pt x="4589402" y="3034651"/>
                </a:lnTo>
                <a:lnTo>
                  <a:pt x="4583326" y="3035289"/>
                </a:lnTo>
                <a:cubicBezTo>
                  <a:pt x="4591872" y="3037579"/>
                  <a:pt x="4591872" y="3037579"/>
                  <a:pt x="4590020" y="3035941"/>
                </a:cubicBezTo>
                <a:lnTo>
                  <a:pt x="4589402" y="3034651"/>
                </a:lnTo>
                <a:lnTo>
                  <a:pt x="4613952" y="3032075"/>
                </a:lnTo>
                <a:cubicBezTo>
                  <a:pt x="4624213" y="3027972"/>
                  <a:pt x="4632905" y="3021163"/>
                  <a:pt x="4635189" y="3012641"/>
                </a:cubicBezTo>
                <a:cubicBezTo>
                  <a:pt x="4649994" y="3025743"/>
                  <a:pt x="4665390" y="3002461"/>
                  <a:pt x="4669368" y="3021799"/>
                </a:cubicBezTo>
                <a:cubicBezTo>
                  <a:pt x="4669368" y="3021799"/>
                  <a:pt x="4677912" y="3024088"/>
                  <a:pt x="4677912" y="3024088"/>
                </a:cubicBezTo>
                <a:cubicBezTo>
                  <a:pt x="4680196" y="3015563"/>
                  <a:pt x="4680196" y="3015563"/>
                  <a:pt x="4682480" y="3007040"/>
                </a:cubicBezTo>
                <a:cubicBezTo>
                  <a:pt x="4691027" y="3009330"/>
                  <a:pt x="4695003" y="3028668"/>
                  <a:pt x="4686460" y="3026378"/>
                </a:cubicBezTo>
                <a:cubicBezTo>
                  <a:pt x="4701264" y="3039480"/>
                  <a:pt x="4720638" y="3035537"/>
                  <a:pt x="4722923" y="3027011"/>
                </a:cubicBezTo>
                <a:cubicBezTo>
                  <a:pt x="4740012" y="3031590"/>
                  <a:pt x="4744580" y="3014542"/>
                  <a:pt x="4757102" y="3036170"/>
                </a:cubicBezTo>
                <a:cubicBezTo>
                  <a:pt x="4770217" y="3021411"/>
                  <a:pt x="4750842" y="3025358"/>
                  <a:pt x="4761670" y="3019121"/>
                </a:cubicBezTo>
                <a:cubicBezTo>
                  <a:pt x="4763955" y="3010596"/>
                  <a:pt x="4763955" y="3010596"/>
                  <a:pt x="4763955" y="3010596"/>
                </a:cubicBezTo>
                <a:cubicBezTo>
                  <a:pt x="4781045" y="3015175"/>
                  <a:pt x="4770217" y="3021411"/>
                  <a:pt x="4778762" y="3023700"/>
                </a:cubicBezTo>
                <a:cubicBezTo>
                  <a:pt x="4787307" y="3025990"/>
                  <a:pt x="4789591" y="3017465"/>
                  <a:pt x="4791875" y="3008942"/>
                </a:cubicBezTo>
                <a:cubicBezTo>
                  <a:pt x="4783329" y="3006652"/>
                  <a:pt x="4772502" y="3012886"/>
                  <a:pt x="4785613" y="2998127"/>
                </a:cubicBezTo>
                <a:cubicBezTo>
                  <a:pt x="4800418" y="3011231"/>
                  <a:pt x="4808966" y="3013521"/>
                  <a:pt x="4823771" y="3026623"/>
                </a:cubicBezTo>
                <a:cubicBezTo>
                  <a:pt x="4834598" y="3020390"/>
                  <a:pt x="4819793" y="3007285"/>
                  <a:pt x="4828339" y="3009575"/>
                </a:cubicBezTo>
                <a:cubicBezTo>
                  <a:pt x="4841451" y="2994816"/>
                  <a:pt x="4836884" y="3011864"/>
                  <a:pt x="4847713" y="3005631"/>
                </a:cubicBezTo>
                <a:cubicBezTo>
                  <a:pt x="4847713" y="3005631"/>
                  <a:pt x="4839166" y="3003341"/>
                  <a:pt x="4852281" y="2988583"/>
                </a:cubicBezTo>
                <a:cubicBezTo>
                  <a:pt x="4858541" y="2999395"/>
                  <a:pt x="4869372" y="2993162"/>
                  <a:pt x="4877915" y="2995451"/>
                </a:cubicBezTo>
                <a:cubicBezTo>
                  <a:pt x="4873347" y="3012500"/>
                  <a:pt x="4881893" y="3014790"/>
                  <a:pt x="4888155" y="3025603"/>
                </a:cubicBezTo>
                <a:cubicBezTo>
                  <a:pt x="4890439" y="3017080"/>
                  <a:pt x="4890439" y="3017080"/>
                  <a:pt x="4892723" y="3008554"/>
                </a:cubicBezTo>
                <a:cubicBezTo>
                  <a:pt x="4895007" y="3000031"/>
                  <a:pt x="4895007" y="3000031"/>
                  <a:pt x="4903552" y="3002321"/>
                </a:cubicBezTo>
                <a:cubicBezTo>
                  <a:pt x="4909813" y="3013133"/>
                  <a:pt x="4909813" y="3013133"/>
                  <a:pt x="4898983" y="3019369"/>
                </a:cubicBezTo>
                <a:cubicBezTo>
                  <a:pt x="4916073" y="3023948"/>
                  <a:pt x="4925209" y="2989849"/>
                  <a:pt x="4946277" y="3013769"/>
                </a:cubicBezTo>
                <a:cubicBezTo>
                  <a:pt x="4940015" y="3002953"/>
                  <a:pt x="4957105" y="3007533"/>
                  <a:pt x="4976479" y="3003586"/>
                </a:cubicBezTo>
                <a:cubicBezTo>
                  <a:pt x="4970219" y="2992774"/>
                  <a:pt x="4981047" y="2986538"/>
                  <a:pt x="4998137" y="2991117"/>
                </a:cubicBezTo>
                <a:cubicBezTo>
                  <a:pt x="4995854" y="2999643"/>
                  <a:pt x="4987309" y="2997353"/>
                  <a:pt x="4985027" y="3005876"/>
                </a:cubicBezTo>
                <a:cubicBezTo>
                  <a:pt x="5002116" y="3010456"/>
                  <a:pt x="4998137" y="2991117"/>
                  <a:pt x="5004400" y="3001932"/>
                </a:cubicBezTo>
                <a:cubicBezTo>
                  <a:pt x="5006684" y="2993407"/>
                  <a:pt x="5000421" y="2982594"/>
                  <a:pt x="4998137" y="2991117"/>
                </a:cubicBezTo>
                <a:cubicBezTo>
                  <a:pt x="4998137" y="2991117"/>
                  <a:pt x="5000421" y="2982594"/>
                  <a:pt x="5000421" y="2982594"/>
                </a:cubicBezTo>
                <a:cubicBezTo>
                  <a:pt x="5002705" y="2974069"/>
                  <a:pt x="5019205" y="3015035"/>
                  <a:pt x="5026057" y="2989463"/>
                </a:cubicBezTo>
                <a:cubicBezTo>
                  <a:pt x="5043147" y="2994043"/>
                  <a:pt x="5040863" y="3002565"/>
                  <a:pt x="5036295" y="3019614"/>
                </a:cubicBezTo>
                <a:cubicBezTo>
                  <a:pt x="5060237" y="2998622"/>
                  <a:pt x="5085873" y="3005491"/>
                  <a:pt x="5111507" y="3012360"/>
                </a:cubicBezTo>
                <a:cubicBezTo>
                  <a:pt x="5107531" y="2993022"/>
                  <a:pt x="5114384" y="2967448"/>
                  <a:pt x="5137734" y="2982839"/>
                </a:cubicBezTo>
                <a:cubicBezTo>
                  <a:pt x="5135450" y="2991365"/>
                  <a:pt x="5126905" y="2989075"/>
                  <a:pt x="5116075" y="2995311"/>
                </a:cubicBezTo>
                <a:cubicBezTo>
                  <a:pt x="5124621" y="2997601"/>
                  <a:pt x="5124621" y="2997601"/>
                  <a:pt x="5122337" y="3006124"/>
                </a:cubicBezTo>
                <a:cubicBezTo>
                  <a:pt x="5133166" y="2999890"/>
                  <a:pt x="5133166" y="2999890"/>
                  <a:pt x="5135450" y="2991365"/>
                </a:cubicBezTo>
                <a:cubicBezTo>
                  <a:pt x="5154824" y="2987418"/>
                  <a:pt x="5133166" y="2999890"/>
                  <a:pt x="5150255" y="3004469"/>
                </a:cubicBezTo>
                <a:cubicBezTo>
                  <a:pt x="5152539" y="2995944"/>
                  <a:pt x="5161086" y="2998234"/>
                  <a:pt x="5178176" y="3002813"/>
                </a:cubicBezTo>
                <a:cubicBezTo>
                  <a:pt x="5191287" y="2988054"/>
                  <a:pt x="5171914" y="2991998"/>
                  <a:pt x="5176482" y="2974949"/>
                </a:cubicBezTo>
                <a:cubicBezTo>
                  <a:pt x="5193572" y="2979528"/>
                  <a:pt x="5195265" y="3007392"/>
                  <a:pt x="5214640" y="3003446"/>
                </a:cubicBezTo>
                <a:cubicBezTo>
                  <a:pt x="5210662" y="2984108"/>
                  <a:pt x="5219208" y="2986397"/>
                  <a:pt x="5223776" y="2969349"/>
                </a:cubicBezTo>
                <a:cubicBezTo>
                  <a:pt x="5236298" y="2990977"/>
                  <a:pt x="5234013" y="2999502"/>
                  <a:pt x="5261934" y="2997846"/>
                </a:cubicBezTo>
                <a:cubicBezTo>
                  <a:pt x="5261934" y="2997846"/>
                  <a:pt x="5264218" y="2989323"/>
                  <a:pt x="5255672" y="2987033"/>
                </a:cubicBezTo>
                <a:cubicBezTo>
                  <a:pt x="5266503" y="2980798"/>
                  <a:pt x="5261934" y="2997846"/>
                  <a:pt x="5279024" y="3002425"/>
                </a:cubicBezTo>
                <a:cubicBezTo>
                  <a:pt x="5266503" y="2980798"/>
                  <a:pt x="5287568" y="3004714"/>
                  <a:pt x="5296114" y="3007004"/>
                </a:cubicBezTo>
                <a:cubicBezTo>
                  <a:pt x="5300682" y="2989956"/>
                  <a:pt x="5287568" y="3004714"/>
                  <a:pt x="5292136" y="2987666"/>
                </a:cubicBezTo>
                <a:cubicBezTo>
                  <a:pt x="5289851" y="2996192"/>
                  <a:pt x="5298397" y="2998482"/>
                  <a:pt x="5300682" y="2989956"/>
                </a:cubicBezTo>
                <a:cubicBezTo>
                  <a:pt x="5309226" y="2992245"/>
                  <a:pt x="5306942" y="3000771"/>
                  <a:pt x="5313204" y="3011584"/>
                </a:cubicBezTo>
                <a:cubicBezTo>
                  <a:pt x="5315488" y="3003061"/>
                  <a:pt x="5317772" y="2994535"/>
                  <a:pt x="5317772" y="2994535"/>
                </a:cubicBezTo>
                <a:cubicBezTo>
                  <a:pt x="5332578" y="3007640"/>
                  <a:pt x="5337146" y="2990592"/>
                  <a:pt x="5360495" y="3005983"/>
                </a:cubicBezTo>
                <a:cubicBezTo>
                  <a:pt x="5362779" y="2997460"/>
                  <a:pt x="5347974" y="2984355"/>
                  <a:pt x="5345689" y="2992881"/>
                </a:cubicBezTo>
                <a:cubicBezTo>
                  <a:pt x="5337146" y="2990592"/>
                  <a:pt x="5350258" y="2975832"/>
                  <a:pt x="5365064" y="2988934"/>
                </a:cubicBezTo>
                <a:cubicBezTo>
                  <a:pt x="5362779" y="2997460"/>
                  <a:pt x="5354235" y="2995171"/>
                  <a:pt x="5362779" y="2997460"/>
                </a:cubicBezTo>
                <a:cubicBezTo>
                  <a:pt x="5373610" y="2991224"/>
                  <a:pt x="5373610" y="2991224"/>
                  <a:pt x="5379869" y="3002039"/>
                </a:cubicBezTo>
                <a:cubicBezTo>
                  <a:pt x="5379869" y="3002039"/>
                  <a:pt x="5379869" y="3002039"/>
                  <a:pt x="5388415" y="3004329"/>
                </a:cubicBezTo>
                <a:cubicBezTo>
                  <a:pt x="5396959" y="3006618"/>
                  <a:pt x="5410074" y="2991860"/>
                  <a:pt x="5401527" y="2989570"/>
                </a:cubicBezTo>
                <a:cubicBezTo>
                  <a:pt x="5429448" y="2987914"/>
                  <a:pt x="5431142" y="3015778"/>
                  <a:pt x="5455084" y="2994783"/>
                </a:cubicBezTo>
                <a:cubicBezTo>
                  <a:pt x="5457369" y="2986258"/>
                  <a:pt x="5472174" y="2999362"/>
                  <a:pt x="5480717" y="3001651"/>
                </a:cubicBezTo>
                <a:cubicBezTo>
                  <a:pt x="5483002" y="2993126"/>
                  <a:pt x="5491549" y="2995416"/>
                  <a:pt x="5497808" y="3006231"/>
                </a:cubicBezTo>
                <a:cubicBezTo>
                  <a:pt x="5500092" y="2997705"/>
                  <a:pt x="5500092" y="2997705"/>
                  <a:pt x="5508638" y="2999995"/>
                </a:cubicBezTo>
                <a:cubicBezTo>
                  <a:pt x="5517183" y="3002284"/>
                  <a:pt x="5519466" y="2993761"/>
                  <a:pt x="5528012" y="2996051"/>
                </a:cubicBezTo>
                <a:cubicBezTo>
                  <a:pt x="5530296" y="2987526"/>
                  <a:pt x="5521751" y="2985236"/>
                  <a:pt x="5524034" y="2976713"/>
                </a:cubicBezTo>
                <a:cubicBezTo>
                  <a:pt x="5543408" y="2972767"/>
                  <a:pt x="5530296" y="2987526"/>
                  <a:pt x="5530296" y="2987526"/>
                </a:cubicBezTo>
                <a:cubicBezTo>
                  <a:pt x="5528012" y="2996051"/>
                  <a:pt x="5536556" y="2998341"/>
                  <a:pt x="5536556" y="2998341"/>
                </a:cubicBezTo>
                <a:cubicBezTo>
                  <a:pt x="5538840" y="2989815"/>
                  <a:pt x="5543408" y="2972767"/>
                  <a:pt x="5545692" y="2964244"/>
                </a:cubicBezTo>
                <a:close/>
                <a:moveTo>
                  <a:pt x="3878053" y="2963810"/>
                </a:moveTo>
                <a:cubicBezTo>
                  <a:pt x="3889505" y="2965640"/>
                  <a:pt x="3900029" y="2970940"/>
                  <a:pt x="3904484" y="2972133"/>
                </a:cubicBezTo>
                <a:cubicBezTo>
                  <a:pt x="3902003" y="2981389"/>
                  <a:pt x="3884177" y="2976613"/>
                  <a:pt x="3875263" y="2974224"/>
                </a:cubicBezTo>
                <a:cubicBezTo>
                  <a:pt x="3879216" y="2995125"/>
                  <a:pt x="3859917" y="2960192"/>
                  <a:pt x="3846043" y="2976316"/>
                </a:cubicBezTo>
                <a:cubicBezTo>
                  <a:pt x="3854220" y="2963625"/>
                  <a:pt x="3866602" y="2961983"/>
                  <a:pt x="3878053" y="2963810"/>
                </a:cubicBezTo>
                <a:close/>
                <a:moveTo>
                  <a:pt x="6442124" y="2963167"/>
                </a:moveTo>
                <a:cubicBezTo>
                  <a:pt x="6442124" y="2963167"/>
                  <a:pt x="6450352" y="2965371"/>
                  <a:pt x="6450352" y="2965371"/>
                </a:cubicBezTo>
                <a:cubicBezTo>
                  <a:pt x="6450352" y="2965371"/>
                  <a:pt x="6439368" y="2973452"/>
                  <a:pt x="6447596" y="2975656"/>
                </a:cubicBezTo>
                <a:cubicBezTo>
                  <a:pt x="6444840" y="2985941"/>
                  <a:pt x="6431141" y="2971247"/>
                  <a:pt x="6442124" y="2963167"/>
                </a:cubicBezTo>
                <a:close/>
                <a:moveTo>
                  <a:pt x="3985218" y="2962901"/>
                </a:moveTo>
                <a:cubicBezTo>
                  <a:pt x="3990293" y="2963158"/>
                  <a:pt x="3997492" y="2965087"/>
                  <a:pt x="4005987" y="2971774"/>
                </a:cubicBezTo>
                <a:cubicBezTo>
                  <a:pt x="4005987" y="2971774"/>
                  <a:pt x="4005987" y="2971774"/>
                  <a:pt x="3996390" y="2969202"/>
                </a:cubicBezTo>
                <a:cubicBezTo>
                  <a:pt x="4003783" y="2980001"/>
                  <a:pt x="4003783" y="2980001"/>
                  <a:pt x="4003783" y="2980001"/>
                </a:cubicBezTo>
                <a:cubicBezTo>
                  <a:pt x="4003783" y="2980001"/>
                  <a:pt x="3994185" y="2977429"/>
                  <a:pt x="3994185" y="2977429"/>
                </a:cubicBezTo>
                <a:cubicBezTo>
                  <a:pt x="3998594" y="2960974"/>
                  <a:pt x="3974985" y="2972285"/>
                  <a:pt x="3977190" y="2964057"/>
                </a:cubicBezTo>
                <a:cubicBezTo>
                  <a:pt x="3977190" y="2964057"/>
                  <a:pt x="3980141" y="2962643"/>
                  <a:pt x="3985218" y="2962901"/>
                </a:cubicBezTo>
                <a:close/>
                <a:moveTo>
                  <a:pt x="4134940" y="2962235"/>
                </a:moveTo>
                <a:cubicBezTo>
                  <a:pt x="4142335" y="2973035"/>
                  <a:pt x="4142335" y="2973035"/>
                  <a:pt x="4140130" y="2981262"/>
                </a:cubicBezTo>
                <a:cubicBezTo>
                  <a:pt x="4120932" y="2976118"/>
                  <a:pt x="4130531" y="2978690"/>
                  <a:pt x="4111331" y="2973546"/>
                </a:cubicBezTo>
                <a:cubicBezTo>
                  <a:pt x="4113536" y="2965318"/>
                  <a:pt x="4130531" y="2978690"/>
                  <a:pt x="4134940" y="2962235"/>
                </a:cubicBezTo>
                <a:close/>
                <a:moveTo>
                  <a:pt x="7093305" y="2962112"/>
                </a:moveTo>
                <a:cubicBezTo>
                  <a:pt x="7094917" y="2962269"/>
                  <a:pt x="7096836" y="2963334"/>
                  <a:pt x="7098616" y="2964914"/>
                </a:cubicBezTo>
                <a:cubicBezTo>
                  <a:pt x="7102180" y="2968074"/>
                  <a:pt x="7105190" y="2973288"/>
                  <a:pt x="7104088" y="2977403"/>
                </a:cubicBezTo>
                <a:cubicBezTo>
                  <a:pt x="7085428" y="2981222"/>
                  <a:pt x="7098065" y="2966971"/>
                  <a:pt x="7089837" y="2964767"/>
                </a:cubicBezTo>
                <a:cubicBezTo>
                  <a:pt x="7090389" y="2962709"/>
                  <a:pt x="7091693" y="2961956"/>
                  <a:pt x="7093305" y="2962112"/>
                </a:cubicBezTo>
                <a:close/>
                <a:moveTo>
                  <a:pt x="6120877" y="2960863"/>
                </a:moveTo>
                <a:cubicBezTo>
                  <a:pt x="6126900" y="2971295"/>
                  <a:pt x="6124696" y="2979523"/>
                  <a:pt x="6122491" y="2987751"/>
                </a:cubicBezTo>
                <a:cubicBezTo>
                  <a:pt x="6114263" y="2985546"/>
                  <a:pt x="6116468" y="2977318"/>
                  <a:pt x="6108241" y="2975114"/>
                </a:cubicBezTo>
                <a:cubicBezTo>
                  <a:pt x="6110445" y="2966886"/>
                  <a:pt x="6116468" y="2977318"/>
                  <a:pt x="6120877" y="2960863"/>
                </a:cubicBezTo>
                <a:close/>
                <a:moveTo>
                  <a:pt x="4335286" y="2960489"/>
                </a:moveTo>
                <a:lnTo>
                  <a:pt x="4343514" y="2962694"/>
                </a:lnTo>
                <a:cubicBezTo>
                  <a:pt x="4341151" y="2971510"/>
                  <a:pt x="4335286" y="2960489"/>
                  <a:pt x="4335286" y="2960489"/>
                </a:cubicBezTo>
                <a:close/>
                <a:moveTo>
                  <a:pt x="7889544" y="2958591"/>
                </a:moveTo>
                <a:cubicBezTo>
                  <a:pt x="7897772" y="2960796"/>
                  <a:pt x="7905999" y="2963000"/>
                  <a:pt x="7914227" y="2965205"/>
                </a:cubicBezTo>
                <a:cubicBezTo>
                  <a:pt x="7901590" y="2979456"/>
                  <a:pt x="7885135" y="2975046"/>
                  <a:pt x="7889544" y="2958591"/>
                </a:cubicBezTo>
                <a:close/>
                <a:moveTo>
                  <a:pt x="3770348" y="2957136"/>
                </a:moveTo>
                <a:cubicBezTo>
                  <a:pt x="3777742" y="2967935"/>
                  <a:pt x="3768144" y="2965363"/>
                  <a:pt x="3765940" y="2973591"/>
                </a:cubicBezTo>
                <a:cubicBezTo>
                  <a:pt x="3756340" y="2971019"/>
                  <a:pt x="3756340" y="2971019"/>
                  <a:pt x="3756340" y="2971019"/>
                </a:cubicBezTo>
                <a:cubicBezTo>
                  <a:pt x="3748944" y="2960219"/>
                  <a:pt x="3760750" y="2954564"/>
                  <a:pt x="3770348" y="2957136"/>
                </a:cubicBezTo>
                <a:close/>
                <a:moveTo>
                  <a:pt x="8206478" y="2956432"/>
                </a:moveTo>
                <a:cubicBezTo>
                  <a:pt x="8212104" y="2954633"/>
                  <a:pt x="8219855" y="2954505"/>
                  <a:pt x="8229453" y="2957077"/>
                </a:cubicBezTo>
                <a:cubicBezTo>
                  <a:pt x="8217650" y="2962733"/>
                  <a:pt x="8227248" y="2965304"/>
                  <a:pt x="8225044" y="2973532"/>
                </a:cubicBezTo>
                <a:cubicBezTo>
                  <a:pt x="8215446" y="2970960"/>
                  <a:pt x="8205847" y="2968388"/>
                  <a:pt x="8196246" y="2965816"/>
                </a:cubicBezTo>
                <a:cubicBezTo>
                  <a:pt x="8197348" y="2961702"/>
                  <a:pt x="8200851" y="2958231"/>
                  <a:pt x="8206478" y="2956432"/>
                </a:cubicBezTo>
                <a:close/>
                <a:moveTo>
                  <a:pt x="3503851" y="2956274"/>
                </a:moveTo>
                <a:cubicBezTo>
                  <a:pt x="3518583" y="2969387"/>
                  <a:pt x="3493050" y="2962546"/>
                  <a:pt x="3499268" y="2973380"/>
                </a:cubicBezTo>
                <a:close/>
                <a:moveTo>
                  <a:pt x="6055909" y="2955991"/>
                </a:moveTo>
                <a:cubicBezTo>
                  <a:pt x="6058352" y="2956645"/>
                  <a:pt x="6061248" y="2959212"/>
                  <a:pt x="6064250" y="2962405"/>
                </a:cubicBezTo>
                <a:cubicBezTo>
                  <a:pt x="6070254" y="2968791"/>
                  <a:pt x="6076690" y="2977681"/>
                  <a:pt x="6080803" y="2978783"/>
                </a:cubicBezTo>
                <a:cubicBezTo>
                  <a:pt x="6078414" y="2987697"/>
                  <a:pt x="6061959" y="2983288"/>
                  <a:pt x="6067799" y="2994404"/>
                </a:cubicBezTo>
                <a:cubicBezTo>
                  <a:pt x="6057183" y="3001114"/>
                  <a:pt x="6059571" y="2992199"/>
                  <a:pt x="6051344" y="2989995"/>
                </a:cubicBezTo>
                <a:cubicBezTo>
                  <a:pt x="6076026" y="2996609"/>
                  <a:pt x="6060897" y="2954343"/>
                  <a:pt x="6050281" y="2961050"/>
                </a:cubicBezTo>
                <a:cubicBezTo>
                  <a:pt x="6051475" y="2956594"/>
                  <a:pt x="6053466" y="2955336"/>
                  <a:pt x="6055909" y="2955991"/>
                </a:cubicBezTo>
                <a:close/>
                <a:moveTo>
                  <a:pt x="3728100" y="2955736"/>
                </a:moveTo>
                <a:cubicBezTo>
                  <a:pt x="3732489" y="2955810"/>
                  <a:pt x="3736603" y="2956912"/>
                  <a:pt x="3740717" y="2958014"/>
                </a:cubicBezTo>
                <a:cubicBezTo>
                  <a:pt x="3738512" y="2966242"/>
                  <a:pt x="3728080" y="2972265"/>
                  <a:pt x="3719853" y="2970061"/>
                </a:cubicBezTo>
                <a:cubicBezTo>
                  <a:pt x="3722057" y="2961833"/>
                  <a:pt x="3722057" y="2961833"/>
                  <a:pt x="3713830" y="2959629"/>
                </a:cubicBezTo>
                <a:cubicBezTo>
                  <a:pt x="3719046" y="2956617"/>
                  <a:pt x="3723711" y="2955662"/>
                  <a:pt x="3728100" y="2955736"/>
                </a:cubicBezTo>
                <a:close/>
                <a:moveTo>
                  <a:pt x="4222451" y="2954883"/>
                </a:moveTo>
                <a:lnTo>
                  <a:pt x="4232442" y="2955145"/>
                </a:lnTo>
                <a:lnTo>
                  <a:pt x="4236786" y="2961970"/>
                </a:lnTo>
                <a:close/>
                <a:moveTo>
                  <a:pt x="4271914" y="2954296"/>
                </a:moveTo>
                <a:cubicBezTo>
                  <a:pt x="4277376" y="2954474"/>
                  <a:pt x="4282902" y="2958526"/>
                  <a:pt x="4289844" y="2965530"/>
                </a:cubicBezTo>
                <a:cubicBezTo>
                  <a:pt x="4289844" y="2965530"/>
                  <a:pt x="4289844" y="2965530"/>
                  <a:pt x="4279045" y="2972927"/>
                </a:cubicBezTo>
                <a:cubicBezTo>
                  <a:pt x="4284188" y="2953727"/>
                  <a:pt x="4270816" y="2970722"/>
                  <a:pt x="4254361" y="2966313"/>
                </a:cubicBezTo>
                <a:cubicBezTo>
                  <a:pt x="4261050" y="2957815"/>
                  <a:pt x="4266447" y="2954117"/>
                  <a:pt x="4271914" y="2954296"/>
                </a:cubicBezTo>
                <a:close/>
                <a:moveTo>
                  <a:pt x="3623032" y="2952936"/>
                </a:moveTo>
                <a:cubicBezTo>
                  <a:pt x="3623032" y="2952936"/>
                  <a:pt x="3623032" y="2952936"/>
                  <a:pt x="3612601" y="2958959"/>
                </a:cubicBezTo>
                <a:cubicBezTo>
                  <a:pt x="3610396" y="2967186"/>
                  <a:pt x="3626851" y="2971596"/>
                  <a:pt x="3610396" y="2967186"/>
                </a:cubicBezTo>
                <a:cubicBezTo>
                  <a:pt x="3620829" y="2961164"/>
                  <a:pt x="3604373" y="2956754"/>
                  <a:pt x="3604373" y="2956754"/>
                </a:cubicBezTo>
                <a:cubicBezTo>
                  <a:pt x="3604373" y="2956754"/>
                  <a:pt x="3614805" y="2950731"/>
                  <a:pt x="3623032" y="2952936"/>
                </a:cubicBezTo>
                <a:close/>
                <a:moveTo>
                  <a:pt x="6281899" y="2952863"/>
                </a:moveTo>
                <a:lnTo>
                  <a:pt x="6282003" y="2957524"/>
                </a:lnTo>
                <a:lnTo>
                  <a:pt x="6277256" y="2958674"/>
                </a:lnTo>
                <a:close/>
                <a:moveTo>
                  <a:pt x="6294894" y="2952239"/>
                </a:moveTo>
                <a:cubicBezTo>
                  <a:pt x="6295748" y="2952054"/>
                  <a:pt x="6296810" y="2952890"/>
                  <a:pt x="6298658" y="2955590"/>
                </a:cubicBezTo>
                <a:cubicBezTo>
                  <a:pt x="6296453" y="2963818"/>
                  <a:pt x="6291103" y="2964589"/>
                  <a:pt x="6286953" y="2965680"/>
                </a:cubicBezTo>
                <a:lnTo>
                  <a:pt x="6282750" y="2976885"/>
                </a:lnTo>
                <a:lnTo>
                  <a:pt x="6289839" y="2988500"/>
                </a:lnTo>
                <a:cubicBezTo>
                  <a:pt x="6280241" y="2985928"/>
                  <a:pt x="6270643" y="2983356"/>
                  <a:pt x="6268438" y="2991584"/>
                </a:cubicBezTo>
                <a:cubicBezTo>
                  <a:pt x="6261042" y="2980784"/>
                  <a:pt x="6263246" y="2972556"/>
                  <a:pt x="6263246" y="2972556"/>
                </a:cubicBezTo>
                <a:cubicBezTo>
                  <a:pt x="6266946" y="2977956"/>
                  <a:pt x="6275247" y="2975772"/>
                  <a:pt x="6281797" y="2975322"/>
                </a:cubicBezTo>
                <a:lnTo>
                  <a:pt x="6282415" y="2976335"/>
                </a:lnTo>
                <a:lnTo>
                  <a:pt x="6282003" y="2957524"/>
                </a:lnTo>
                <a:lnTo>
                  <a:pt x="6292383" y="2955011"/>
                </a:lnTo>
                <a:cubicBezTo>
                  <a:pt x="6293397" y="2953629"/>
                  <a:pt x="6294041" y="2952424"/>
                  <a:pt x="6294894" y="2952239"/>
                </a:cubicBezTo>
                <a:close/>
                <a:moveTo>
                  <a:pt x="6251200" y="2951692"/>
                </a:moveTo>
                <a:cubicBezTo>
                  <a:pt x="6259428" y="2953897"/>
                  <a:pt x="6267655" y="2956101"/>
                  <a:pt x="6275883" y="2958306"/>
                </a:cubicBezTo>
                <a:cubicBezTo>
                  <a:pt x="6273679" y="2966534"/>
                  <a:pt x="6248996" y="2959920"/>
                  <a:pt x="6263246" y="2972556"/>
                </a:cubicBezTo>
                <a:cubicBezTo>
                  <a:pt x="6252814" y="2978579"/>
                  <a:pt x="6248996" y="2959920"/>
                  <a:pt x="6238564" y="2965943"/>
                </a:cubicBezTo>
                <a:cubicBezTo>
                  <a:pt x="6242973" y="2949488"/>
                  <a:pt x="6246791" y="2968147"/>
                  <a:pt x="6251200" y="2951692"/>
                </a:cubicBezTo>
                <a:close/>
                <a:moveTo>
                  <a:pt x="4213102" y="2951438"/>
                </a:moveTo>
                <a:cubicBezTo>
                  <a:pt x="4215097" y="2951508"/>
                  <a:pt x="4217624" y="2952495"/>
                  <a:pt x="4220362" y="2953848"/>
                </a:cubicBezTo>
                <a:lnTo>
                  <a:pt x="4222451" y="2954883"/>
                </a:lnTo>
                <a:lnTo>
                  <a:pt x="4209017" y="2954529"/>
                </a:lnTo>
                <a:cubicBezTo>
                  <a:pt x="4209637" y="2952215"/>
                  <a:pt x="4211105" y="2951368"/>
                  <a:pt x="4213102" y="2951438"/>
                </a:cubicBezTo>
                <a:close/>
                <a:moveTo>
                  <a:pt x="5867950" y="2950409"/>
                </a:moveTo>
                <a:cubicBezTo>
                  <a:pt x="5871768" y="2969069"/>
                  <a:pt x="5857518" y="2956432"/>
                  <a:pt x="5855313" y="2964659"/>
                </a:cubicBezTo>
                <a:cubicBezTo>
                  <a:pt x="5844881" y="2970682"/>
                  <a:pt x="5859722" y="2948204"/>
                  <a:pt x="5867950" y="2950409"/>
                </a:cubicBezTo>
                <a:close/>
                <a:moveTo>
                  <a:pt x="8937807" y="2946266"/>
                </a:moveTo>
                <a:cubicBezTo>
                  <a:pt x="8941921" y="2947368"/>
                  <a:pt x="8948780" y="2946451"/>
                  <a:pt x="8953921" y="2947828"/>
                </a:cubicBezTo>
                <a:cubicBezTo>
                  <a:pt x="8959065" y="2949207"/>
                  <a:pt x="8962489" y="2952879"/>
                  <a:pt x="8959733" y="2963164"/>
                </a:cubicBezTo>
                <a:cubicBezTo>
                  <a:pt x="8954261" y="2950675"/>
                  <a:pt x="8935051" y="2956550"/>
                  <a:pt x="8937807" y="2946266"/>
                </a:cubicBezTo>
                <a:close/>
                <a:moveTo>
                  <a:pt x="6225570" y="2944822"/>
                </a:moveTo>
                <a:cubicBezTo>
                  <a:pt x="6231909" y="2955339"/>
                  <a:pt x="6238248" y="2965855"/>
                  <a:pt x="6244587" y="2976372"/>
                </a:cubicBezTo>
                <a:cubicBezTo>
                  <a:pt x="6238248" y="2965855"/>
                  <a:pt x="6208208" y="2975443"/>
                  <a:pt x="6212618" y="2958988"/>
                </a:cubicBezTo>
                <a:cubicBezTo>
                  <a:pt x="6204071" y="2956698"/>
                  <a:pt x="6210413" y="2967215"/>
                  <a:pt x="6204071" y="2956698"/>
                </a:cubicBezTo>
                <a:cubicBezTo>
                  <a:pt x="6195527" y="2954408"/>
                  <a:pt x="6188914" y="2979091"/>
                  <a:pt x="6199662" y="2973153"/>
                </a:cubicBezTo>
                <a:cubicBezTo>
                  <a:pt x="6197457" y="2981380"/>
                  <a:pt x="6188914" y="2979091"/>
                  <a:pt x="6180370" y="2976802"/>
                </a:cubicBezTo>
                <a:cubicBezTo>
                  <a:pt x="6180370" y="2976802"/>
                  <a:pt x="6182575" y="2968574"/>
                  <a:pt x="6182575" y="2968574"/>
                </a:cubicBezTo>
                <a:lnTo>
                  <a:pt x="6174031" y="2966285"/>
                </a:lnTo>
                <a:lnTo>
                  <a:pt x="6176236" y="2958057"/>
                </a:lnTo>
                <a:cubicBezTo>
                  <a:pt x="6184779" y="2960347"/>
                  <a:pt x="6184779" y="2960347"/>
                  <a:pt x="6193323" y="2962636"/>
                </a:cubicBezTo>
                <a:cubicBezTo>
                  <a:pt x="6186984" y="2952119"/>
                  <a:pt x="6214822" y="2950760"/>
                  <a:pt x="6206276" y="2948470"/>
                </a:cubicBezTo>
                <a:cubicBezTo>
                  <a:pt x="6214822" y="2950760"/>
                  <a:pt x="6221161" y="2961277"/>
                  <a:pt x="6225570" y="2944822"/>
                </a:cubicBezTo>
                <a:close/>
                <a:moveTo>
                  <a:pt x="6152809" y="2942962"/>
                </a:moveTo>
                <a:cubicBezTo>
                  <a:pt x="6159148" y="2953479"/>
                  <a:pt x="6156944" y="2961707"/>
                  <a:pt x="6174031" y="2966285"/>
                </a:cubicBezTo>
                <a:lnTo>
                  <a:pt x="6165487" y="2963996"/>
                </a:lnTo>
                <a:cubicBezTo>
                  <a:pt x="6154739" y="2969934"/>
                  <a:pt x="6171826" y="2974513"/>
                  <a:pt x="6171826" y="2974513"/>
                </a:cubicBezTo>
                <a:cubicBezTo>
                  <a:pt x="6169622" y="2982740"/>
                  <a:pt x="6154739" y="2969934"/>
                  <a:pt x="6158874" y="2988678"/>
                </a:cubicBezTo>
                <a:cubicBezTo>
                  <a:pt x="6152535" y="2978162"/>
                  <a:pt x="6141786" y="2984100"/>
                  <a:pt x="6143991" y="2975872"/>
                </a:cubicBezTo>
                <a:cubicBezTo>
                  <a:pt x="6143991" y="2975872"/>
                  <a:pt x="6143991" y="2975872"/>
                  <a:pt x="6154739" y="2969934"/>
                </a:cubicBezTo>
                <a:cubicBezTo>
                  <a:pt x="6156944" y="2961707"/>
                  <a:pt x="6137649" y="2965355"/>
                  <a:pt x="6137649" y="2965355"/>
                </a:cubicBezTo>
                <a:cubicBezTo>
                  <a:pt x="6135445" y="2973582"/>
                  <a:pt x="6133240" y="2981810"/>
                  <a:pt x="6141786" y="2984100"/>
                </a:cubicBezTo>
                <a:cubicBezTo>
                  <a:pt x="6131035" y="2990037"/>
                  <a:pt x="6137649" y="2965355"/>
                  <a:pt x="6129105" y="2963066"/>
                </a:cubicBezTo>
                <a:cubicBezTo>
                  <a:pt x="6148400" y="2959417"/>
                  <a:pt x="6142058" y="2948900"/>
                  <a:pt x="6152809" y="2942962"/>
                </a:cubicBezTo>
                <a:close/>
                <a:moveTo>
                  <a:pt x="8965245" y="2942594"/>
                </a:moveTo>
                <a:cubicBezTo>
                  <a:pt x="8998155" y="2951412"/>
                  <a:pt x="9020081" y="2968311"/>
                  <a:pt x="8987171" y="2959493"/>
                </a:cubicBezTo>
                <a:cubicBezTo>
                  <a:pt x="8978943" y="2957288"/>
                  <a:pt x="8973473" y="2944799"/>
                  <a:pt x="8959733" y="2963164"/>
                </a:cubicBezTo>
                <a:cubicBezTo>
                  <a:pt x="8962489" y="2952879"/>
                  <a:pt x="8962489" y="2952879"/>
                  <a:pt x="8965245" y="2942594"/>
                </a:cubicBezTo>
                <a:close/>
                <a:moveTo>
                  <a:pt x="5953829" y="2942555"/>
                </a:moveTo>
                <a:cubicBezTo>
                  <a:pt x="5939796" y="2957901"/>
                  <a:pt x="5939796" y="2957901"/>
                  <a:pt x="5925763" y="2973249"/>
                </a:cubicBezTo>
                <a:cubicBezTo>
                  <a:pt x="5932631" y="2984641"/>
                  <a:pt x="5935019" y="2975729"/>
                  <a:pt x="5920986" y="2991075"/>
                </a:cubicBezTo>
                <a:cubicBezTo>
                  <a:pt x="5911730" y="2988594"/>
                  <a:pt x="5914118" y="2979680"/>
                  <a:pt x="5904862" y="2977200"/>
                </a:cubicBezTo>
                <a:cubicBezTo>
                  <a:pt x="5916506" y="2970769"/>
                  <a:pt x="5939796" y="2957901"/>
                  <a:pt x="5921283" y="2952940"/>
                </a:cubicBezTo>
                <a:cubicBezTo>
                  <a:pt x="5923671" y="2944029"/>
                  <a:pt x="5942184" y="2948989"/>
                  <a:pt x="5953829" y="2942555"/>
                </a:cubicBezTo>
                <a:close/>
                <a:moveTo>
                  <a:pt x="3927905" y="2942309"/>
                </a:moveTo>
                <a:cubicBezTo>
                  <a:pt x="3929240" y="2943494"/>
                  <a:pt x="3934252" y="2967983"/>
                  <a:pt x="3942075" y="2963467"/>
                </a:cubicBezTo>
                <a:cubicBezTo>
                  <a:pt x="3948098" y="2973899"/>
                  <a:pt x="3929440" y="2977717"/>
                  <a:pt x="3915188" y="2965080"/>
                </a:cubicBezTo>
                <a:cubicBezTo>
                  <a:pt x="3917393" y="2956853"/>
                  <a:pt x="3925620" y="2959058"/>
                  <a:pt x="3925620" y="2959058"/>
                </a:cubicBezTo>
                <a:cubicBezTo>
                  <a:pt x="3917393" y="2956853"/>
                  <a:pt x="3906961" y="2962876"/>
                  <a:pt x="3892711" y="2950239"/>
                </a:cubicBezTo>
                <a:cubicBezTo>
                  <a:pt x="3903142" y="2944216"/>
                  <a:pt x="3919597" y="2948625"/>
                  <a:pt x="3927825" y="2950830"/>
                </a:cubicBezTo>
                <a:cubicBezTo>
                  <a:pt x="3927423" y="2944110"/>
                  <a:pt x="3927459" y="2941914"/>
                  <a:pt x="3927905" y="2942309"/>
                </a:cubicBezTo>
                <a:close/>
                <a:moveTo>
                  <a:pt x="6281665" y="2942219"/>
                </a:moveTo>
                <a:cubicBezTo>
                  <a:pt x="6286465" y="2943505"/>
                  <a:pt x="6285363" y="2947617"/>
                  <a:pt x="6283060" y="2951411"/>
                </a:cubicBezTo>
                <a:lnTo>
                  <a:pt x="6281899" y="2952863"/>
                </a:lnTo>
                <a:close/>
                <a:moveTo>
                  <a:pt x="5980714" y="2940941"/>
                </a:moveTo>
                <a:cubicBezTo>
                  <a:pt x="5994597" y="2954948"/>
                  <a:pt x="5997169" y="2945350"/>
                  <a:pt x="6011052" y="2959357"/>
                </a:cubicBezTo>
                <a:cubicBezTo>
                  <a:pt x="6011052" y="2959357"/>
                  <a:pt x="6008479" y="2968958"/>
                  <a:pt x="6005907" y="2978556"/>
                </a:cubicBezTo>
                <a:cubicBezTo>
                  <a:pt x="5997680" y="2976352"/>
                  <a:pt x="6002824" y="2957152"/>
                  <a:pt x="6002824" y="2957152"/>
                </a:cubicBezTo>
                <a:cubicBezTo>
                  <a:pt x="5989452" y="2974147"/>
                  <a:pt x="5989452" y="2974147"/>
                  <a:pt x="5975569" y="2960140"/>
                </a:cubicBezTo>
                <a:cubicBezTo>
                  <a:pt x="5972997" y="2969738"/>
                  <a:pt x="5972997" y="2969738"/>
                  <a:pt x="5972997" y="2969738"/>
                </a:cubicBezTo>
                <a:cubicBezTo>
                  <a:pt x="5956542" y="2965329"/>
                  <a:pt x="5978142" y="2950539"/>
                  <a:pt x="5980714" y="2940941"/>
                </a:cubicBezTo>
                <a:close/>
                <a:moveTo>
                  <a:pt x="4743275" y="2940513"/>
                </a:moveTo>
                <a:cubicBezTo>
                  <a:pt x="4738691" y="2957622"/>
                  <a:pt x="4758068" y="2953645"/>
                  <a:pt x="4747232" y="2959910"/>
                </a:cubicBezTo>
                <a:cubicBezTo>
                  <a:pt x="4738691" y="2957622"/>
                  <a:pt x="4740984" y="2949068"/>
                  <a:pt x="4743275" y="2940513"/>
                </a:cubicBezTo>
                <a:close/>
                <a:moveTo>
                  <a:pt x="531249" y="2940181"/>
                </a:moveTo>
                <a:cubicBezTo>
                  <a:pt x="543592" y="2943488"/>
                  <a:pt x="526840" y="2956636"/>
                  <a:pt x="532569" y="2984626"/>
                </a:cubicBezTo>
                <a:cubicBezTo>
                  <a:pt x="522431" y="2973091"/>
                  <a:pt x="526840" y="2956636"/>
                  <a:pt x="531249" y="2940181"/>
                </a:cubicBezTo>
                <a:close/>
                <a:moveTo>
                  <a:pt x="4865528" y="2939745"/>
                </a:moveTo>
                <a:cubicBezTo>
                  <a:pt x="4869642" y="2940847"/>
                  <a:pt x="4873205" y="2944006"/>
                  <a:pt x="4872102" y="2948120"/>
                </a:cubicBezTo>
                <a:cubicBezTo>
                  <a:pt x="4861670" y="2954143"/>
                  <a:pt x="4863875" y="2945915"/>
                  <a:pt x="4855647" y="2943711"/>
                </a:cubicBezTo>
                <a:cubicBezTo>
                  <a:pt x="4856750" y="2939597"/>
                  <a:pt x="4861416" y="2938642"/>
                  <a:pt x="4865528" y="2939745"/>
                </a:cubicBezTo>
                <a:close/>
                <a:moveTo>
                  <a:pt x="4111922" y="2938431"/>
                </a:moveTo>
                <a:cubicBezTo>
                  <a:pt x="4122207" y="2941187"/>
                  <a:pt x="4122207" y="2941187"/>
                  <a:pt x="4132492" y="2943943"/>
                </a:cubicBezTo>
                <a:cubicBezTo>
                  <a:pt x="4130288" y="2952170"/>
                  <a:pt x="4130288" y="2952170"/>
                  <a:pt x="4128084" y="2960398"/>
                </a:cubicBezTo>
                <a:cubicBezTo>
                  <a:pt x="4117798" y="2957642"/>
                  <a:pt x="4109717" y="2946659"/>
                  <a:pt x="4111922" y="2938431"/>
                </a:cubicBezTo>
                <a:close/>
                <a:moveTo>
                  <a:pt x="8917000" y="2937935"/>
                </a:moveTo>
                <a:cubicBezTo>
                  <a:pt x="8927871" y="2938090"/>
                  <a:pt x="8939185" y="2941122"/>
                  <a:pt x="8937807" y="2946266"/>
                </a:cubicBezTo>
                <a:cubicBezTo>
                  <a:pt x="8926001" y="2954126"/>
                  <a:pt x="8919706" y="2941416"/>
                  <a:pt x="8898849" y="2946850"/>
                </a:cubicBezTo>
                <a:cubicBezTo>
                  <a:pt x="8895703" y="2940494"/>
                  <a:pt x="8906130" y="2937778"/>
                  <a:pt x="8917000" y="2937935"/>
                </a:cubicBezTo>
                <a:close/>
                <a:moveTo>
                  <a:pt x="7956237" y="2937323"/>
                </a:moveTo>
                <a:lnTo>
                  <a:pt x="7973466" y="2938826"/>
                </a:lnTo>
                <a:lnTo>
                  <a:pt x="7973895" y="2945037"/>
                </a:lnTo>
                <a:cubicBezTo>
                  <a:pt x="7965352" y="2942748"/>
                  <a:pt x="7965352" y="2942748"/>
                  <a:pt x="7956808" y="2940458"/>
                </a:cubicBezTo>
                <a:close/>
                <a:moveTo>
                  <a:pt x="5320115" y="2936645"/>
                </a:moveTo>
                <a:cubicBezTo>
                  <a:pt x="5328309" y="2939700"/>
                  <a:pt x="5335770" y="2950294"/>
                  <a:pt x="5337489" y="2943879"/>
                </a:cubicBezTo>
                <a:lnTo>
                  <a:pt x="5335197" y="2952433"/>
                </a:lnTo>
                <a:cubicBezTo>
                  <a:pt x="5326656" y="2950144"/>
                  <a:pt x="5320405" y="2939301"/>
                  <a:pt x="5311863" y="2937012"/>
                </a:cubicBezTo>
                <a:cubicBezTo>
                  <a:pt x="5314572" y="2935446"/>
                  <a:pt x="5317384" y="2935627"/>
                  <a:pt x="5320115" y="2936645"/>
                </a:cubicBezTo>
                <a:close/>
                <a:moveTo>
                  <a:pt x="7947040" y="2936519"/>
                </a:moveTo>
                <a:lnTo>
                  <a:pt x="7948666" y="2936660"/>
                </a:lnTo>
                <a:lnTo>
                  <a:pt x="7948262" y="2938168"/>
                </a:lnTo>
                <a:close/>
                <a:moveTo>
                  <a:pt x="7778570" y="2936294"/>
                </a:moveTo>
                <a:cubicBezTo>
                  <a:pt x="7803412" y="2935510"/>
                  <a:pt x="7837281" y="2944585"/>
                  <a:pt x="7856635" y="2949770"/>
                </a:cubicBezTo>
                <a:cubicBezTo>
                  <a:pt x="7852225" y="2966226"/>
                  <a:pt x="7828625" y="2951084"/>
                  <a:pt x="7826421" y="2959311"/>
                </a:cubicBezTo>
                <a:cubicBezTo>
                  <a:pt x="7832820" y="2969844"/>
                  <a:pt x="7819807" y="2983994"/>
                  <a:pt x="7811206" y="2981689"/>
                </a:cubicBezTo>
                <a:cubicBezTo>
                  <a:pt x="7802603" y="2979384"/>
                  <a:pt x="7804807" y="2971157"/>
                  <a:pt x="7796207" y="2968852"/>
                </a:cubicBezTo>
                <a:cubicBezTo>
                  <a:pt x="7785402" y="2974775"/>
                  <a:pt x="7779003" y="2964242"/>
                  <a:pt x="7768198" y="2970165"/>
                </a:cubicBezTo>
                <a:cubicBezTo>
                  <a:pt x="7761802" y="2959633"/>
                  <a:pt x="7781208" y="2956015"/>
                  <a:pt x="7781208" y="2956015"/>
                </a:cubicBezTo>
                <a:cubicBezTo>
                  <a:pt x="7787606" y="2966548"/>
                  <a:pt x="7789811" y="2958320"/>
                  <a:pt x="7807012" y="2962929"/>
                </a:cubicBezTo>
                <a:cubicBezTo>
                  <a:pt x="7792015" y="2950093"/>
                  <a:pt x="7777016" y="2937255"/>
                  <a:pt x="7757608" y="2940873"/>
                </a:cubicBezTo>
                <a:cubicBezTo>
                  <a:pt x="7763011" y="2937912"/>
                  <a:pt x="7770289" y="2936555"/>
                  <a:pt x="7778570" y="2936294"/>
                </a:cubicBezTo>
                <a:close/>
                <a:moveTo>
                  <a:pt x="5616124" y="2935842"/>
                </a:moveTo>
                <a:cubicBezTo>
                  <a:pt x="5624351" y="2938046"/>
                  <a:pt x="5632579" y="2940251"/>
                  <a:pt x="5640806" y="2942455"/>
                </a:cubicBezTo>
                <a:cubicBezTo>
                  <a:pt x="5632579" y="2940251"/>
                  <a:pt x="5628170" y="2956706"/>
                  <a:pt x="5611715" y="2952297"/>
                </a:cubicBezTo>
                <a:cubicBezTo>
                  <a:pt x="5613919" y="2944069"/>
                  <a:pt x="5616124" y="2935842"/>
                  <a:pt x="5616124" y="2935842"/>
                </a:cubicBezTo>
                <a:close/>
                <a:moveTo>
                  <a:pt x="4230259" y="2935419"/>
                </a:moveTo>
                <a:cubicBezTo>
                  <a:pt x="4236664" y="2934655"/>
                  <a:pt x="4244227" y="2934201"/>
                  <a:pt x="4253483" y="2936681"/>
                </a:cubicBezTo>
                <a:cubicBezTo>
                  <a:pt x="4252243" y="2941310"/>
                  <a:pt x="4247448" y="2949946"/>
                  <a:pt x="4239806" y="2955338"/>
                </a:cubicBezTo>
                <a:lnTo>
                  <a:pt x="4232442" y="2955145"/>
                </a:lnTo>
                <a:lnTo>
                  <a:pt x="4226313" y="2945521"/>
                </a:lnTo>
                <a:cubicBezTo>
                  <a:pt x="4219679" y="2942505"/>
                  <a:pt x="4212737" y="2940645"/>
                  <a:pt x="4213977" y="2936017"/>
                </a:cubicBezTo>
                <a:cubicBezTo>
                  <a:pt x="4218606" y="2937257"/>
                  <a:pt x="4223854" y="2936183"/>
                  <a:pt x="4230259" y="2935419"/>
                </a:cubicBezTo>
                <a:close/>
                <a:moveTo>
                  <a:pt x="6056676" y="2934843"/>
                </a:moveTo>
                <a:cubicBezTo>
                  <a:pt x="6065492" y="2937205"/>
                  <a:pt x="6063287" y="2945432"/>
                  <a:pt x="6063287" y="2945432"/>
                </a:cubicBezTo>
                <a:cubicBezTo>
                  <a:pt x="6045658" y="2940708"/>
                  <a:pt x="6014802" y="2950077"/>
                  <a:pt x="5997170" y="2945353"/>
                </a:cubicBezTo>
                <a:cubicBezTo>
                  <a:pt x="6019211" y="2933622"/>
                  <a:pt x="6043453" y="2948936"/>
                  <a:pt x="6056676" y="2934843"/>
                </a:cubicBezTo>
                <a:close/>
                <a:moveTo>
                  <a:pt x="7942077" y="2932420"/>
                </a:moveTo>
                <a:cubicBezTo>
                  <a:pt x="7942992" y="2932211"/>
                  <a:pt x="7943984" y="2932780"/>
                  <a:pt x="7944900" y="2933632"/>
                </a:cubicBezTo>
                <a:lnTo>
                  <a:pt x="7947040" y="2936519"/>
                </a:lnTo>
                <a:lnTo>
                  <a:pt x="7939718" y="2935879"/>
                </a:lnTo>
                <a:cubicBezTo>
                  <a:pt x="7940324" y="2933617"/>
                  <a:pt x="7941162" y="2932629"/>
                  <a:pt x="7942077" y="2932420"/>
                </a:cubicBezTo>
                <a:close/>
                <a:moveTo>
                  <a:pt x="7721160" y="2931551"/>
                </a:moveTo>
                <a:cubicBezTo>
                  <a:pt x="7732390" y="2925300"/>
                  <a:pt x="7725446" y="2951216"/>
                  <a:pt x="7745586" y="2947353"/>
                </a:cubicBezTo>
                <a:cubicBezTo>
                  <a:pt x="7747901" y="2938716"/>
                  <a:pt x="7727761" y="2942577"/>
                  <a:pt x="7730075" y="2933940"/>
                </a:cubicBezTo>
                <a:cubicBezTo>
                  <a:pt x="7738987" y="2936328"/>
                  <a:pt x="7738987" y="2936328"/>
                  <a:pt x="7747901" y="2938716"/>
                </a:cubicBezTo>
                <a:cubicBezTo>
                  <a:pt x="7745586" y="2947353"/>
                  <a:pt x="7756815" y="2941105"/>
                  <a:pt x="7763413" y="2952130"/>
                </a:cubicBezTo>
                <a:cubicBezTo>
                  <a:pt x="7763413" y="2952130"/>
                  <a:pt x="7752186" y="2958381"/>
                  <a:pt x="7749871" y="2967021"/>
                </a:cubicBezTo>
                <a:cubicBezTo>
                  <a:pt x="7752186" y="2958381"/>
                  <a:pt x="7754501" y="2949742"/>
                  <a:pt x="7743271" y="2955993"/>
                </a:cubicBezTo>
                <a:cubicBezTo>
                  <a:pt x="7734357" y="2953604"/>
                  <a:pt x="7740956" y="2964632"/>
                  <a:pt x="7723131" y="2959856"/>
                </a:cubicBezTo>
                <a:cubicBezTo>
                  <a:pt x="7736327" y="2981911"/>
                  <a:pt x="7713872" y="2994412"/>
                  <a:pt x="7709242" y="3011691"/>
                </a:cubicBezTo>
                <a:cubicBezTo>
                  <a:pt x="7711557" y="3003051"/>
                  <a:pt x="7713872" y="2994412"/>
                  <a:pt x="7702642" y="3000662"/>
                </a:cubicBezTo>
                <a:cubicBezTo>
                  <a:pt x="7707272" y="2983383"/>
                  <a:pt x="7702987" y="2963718"/>
                  <a:pt x="7718501" y="2977135"/>
                </a:cubicBezTo>
                <a:cubicBezTo>
                  <a:pt x="7714216" y="2957467"/>
                  <a:pt x="7734357" y="2953604"/>
                  <a:pt x="7716531" y="2948828"/>
                </a:cubicBezTo>
                <a:cubicBezTo>
                  <a:pt x="7718846" y="2940188"/>
                  <a:pt x="7727761" y="2942577"/>
                  <a:pt x="7721160" y="2931551"/>
                </a:cubicBezTo>
                <a:close/>
                <a:moveTo>
                  <a:pt x="4162316" y="2931359"/>
                </a:moveTo>
                <a:cubicBezTo>
                  <a:pt x="4176198" y="2945369"/>
                  <a:pt x="4189572" y="2928375"/>
                  <a:pt x="4203454" y="2942382"/>
                </a:cubicBezTo>
                <a:cubicBezTo>
                  <a:pt x="4200881" y="2951983"/>
                  <a:pt x="4200881" y="2951983"/>
                  <a:pt x="4198311" y="2961581"/>
                </a:cubicBezTo>
                <a:cubicBezTo>
                  <a:pt x="4190082" y="2959377"/>
                  <a:pt x="4190082" y="2959377"/>
                  <a:pt x="4190082" y="2959377"/>
                </a:cubicBezTo>
                <a:cubicBezTo>
                  <a:pt x="4184426" y="2947574"/>
                  <a:pt x="4176198" y="2945369"/>
                  <a:pt x="4165399" y="2952763"/>
                </a:cubicBezTo>
                <a:cubicBezTo>
                  <a:pt x="4157171" y="2950559"/>
                  <a:pt x="4167971" y="2943165"/>
                  <a:pt x="4162316" y="2931359"/>
                </a:cubicBezTo>
                <a:close/>
                <a:moveTo>
                  <a:pt x="3879021" y="2928935"/>
                </a:moveTo>
                <a:cubicBezTo>
                  <a:pt x="3876817" y="2937162"/>
                  <a:pt x="3897122" y="2933785"/>
                  <a:pt x="3894917" y="2942012"/>
                </a:cubicBezTo>
                <a:cubicBezTo>
                  <a:pt x="3876817" y="2937162"/>
                  <a:pt x="3865562" y="2942965"/>
                  <a:pt x="3872407" y="2953617"/>
                </a:cubicBezTo>
                <a:cubicBezTo>
                  <a:pt x="3863356" y="2951192"/>
                  <a:pt x="3863356" y="2951192"/>
                  <a:pt x="3854307" y="2948767"/>
                </a:cubicBezTo>
                <a:cubicBezTo>
                  <a:pt x="3874613" y="2945390"/>
                  <a:pt x="3858716" y="2932312"/>
                  <a:pt x="3849664" y="2929887"/>
                </a:cubicBezTo>
                <a:cubicBezTo>
                  <a:pt x="3860922" y="2924085"/>
                  <a:pt x="3874613" y="2945390"/>
                  <a:pt x="3879021" y="2928935"/>
                </a:cubicBezTo>
                <a:close/>
                <a:moveTo>
                  <a:pt x="4020512" y="2927853"/>
                </a:moveTo>
                <a:cubicBezTo>
                  <a:pt x="4022158" y="2927881"/>
                  <a:pt x="4024147" y="2928689"/>
                  <a:pt x="4026065" y="2929754"/>
                </a:cubicBezTo>
                <a:cubicBezTo>
                  <a:pt x="4029904" y="2931886"/>
                  <a:pt x="4033465" y="2935045"/>
                  <a:pt x="4033465" y="2935045"/>
                </a:cubicBezTo>
                <a:cubicBezTo>
                  <a:pt x="4033465" y="2935045"/>
                  <a:pt x="4031261" y="2943273"/>
                  <a:pt x="4014807" y="2938864"/>
                </a:cubicBezTo>
                <a:cubicBezTo>
                  <a:pt x="4017010" y="2930636"/>
                  <a:pt x="4017010" y="2930636"/>
                  <a:pt x="4017010" y="2930636"/>
                </a:cubicBezTo>
                <a:cubicBezTo>
                  <a:pt x="4017562" y="2928579"/>
                  <a:pt x="4018866" y="2927825"/>
                  <a:pt x="4020512" y="2927853"/>
                </a:cubicBezTo>
                <a:close/>
                <a:moveTo>
                  <a:pt x="3586039" y="2925384"/>
                </a:moveTo>
                <a:cubicBezTo>
                  <a:pt x="3596594" y="2923252"/>
                  <a:pt x="3608312" y="2931352"/>
                  <a:pt x="3621270" y="2934824"/>
                </a:cubicBezTo>
                <a:cubicBezTo>
                  <a:pt x="3629909" y="2937139"/>
                  <a:pt x="3629909" y="2937139"/>
                  <a:pt x="3629909" y="2937139"/>
                </a:cubicBezTo>
                <a:cubicBezTo>
                  <a:pt x="3636434" y="2930069"/>
                  <a:pt x="3638592" y="2930648"/>
                  <a:pt x="3642362" y="2933863"/>
                </a:cubicBezTo>
                <a:cubicBezTo>
                  <a:pt x="3646130" y="2937075"/>
                  <a:pt x="3651508" y="2942927"/>
                  <a:pt x="3664465" y="2946398"/>
                </a:cubicBezTo>
                <a:cubicBezTo>
                  <a:pt x="3655825" y="2944084"/>
                  <a:pt x="3662261" y="2954626"/>
                  <a:pt x="3660056" y="2962854"/>
                </a:cubicBezTo>
                <a:cubicBezTo>
                  <a:pt x="3651416" y="2960539"/>
                  <a:pt x="3653621" y="2952311"/>
                  <a:pt x="3642779" y="2958224"/>
                </a:cubicBezTo>
                <a:cubicBezTo>
                  <a:pt x="3644984" y="2949997"/>
                  <a:pt x="3644984" y="2949997"/>
                  <a:pt x="3647188" y="2941769"/>
                </a:cubicBezTo>
                <a:cubicBezTo>
                  <a:pt x="3619065" y="2943052"/>
                  <a:pt x="3599584" y="2946650"/>
                  <a:pt x="3575870" y="2931478"/>
                </a:cubicBezTo>
                <a:cubicBezTo>
                  <a:pt x="3579132" y="2927943"/>
                  <a:pt x="3582521" y="2926095"/>
                  <a:pt x="3586039" y="2925384"/>
                </a:cubicBezTo>
                <a:close/>
                <a:moveTo>
                  <a:pt x="5728289" y="2925332"/>
                </a:moveTo>
                <a:lnTo>
                  <a:pt x="5712946" y="2952967"/>
                </a:lnTo>
                <a:cubicBezTo>
                  <a:pt x="5719266" y="2945842"/>
                  <a:pt x="5722022" y="2935557"/>
                  <a:pt x="5725255" y="2927605"/>
                </a:cubicBezTo>
                <a:close/>
                <a:moveTo>
                  <a:pt x="7970202" y="2924647"/>
                </a:moveTo>
                <a:cubicBezTo>
                  <a:pt x="7987605" y="2936587"/>
                  <a:pt x="8020079" y="2930738"/>
                  <a:pt x="8039367" y="2940453"/>
                </a:cubicBezTo>
                <a:cubicBezTo>
                  <a:pt x="8045799" y="2943692"/>
                  <a:pt x="8050764" y="2948659"/>
                  <a:pt x="8053216" y="2956592"/>
                </a:cubicBezTo>
                <a:cubicBezTo>
                  <a:pt x="8053216" y="2956592"/>
                  <a:pt x="8044671" y="2954303"/>
                  <a:pt x="8033703" y="2961063"/>
                </a:cubicBezTo>
                <a:cubicBezTo>
                  <a:pt x="8036128" y="2952014"/>
                  <a:pt x="8019041" y="2947435"/>
                  <a:pt x="8010495" y="2945145"/>
                </a:cubicBezTo>
                <a:cubicBezTo>
                  <a:pt x="8001951" y="2942856"/>
                  <a:pt x="7990983" y="2949616"/>
                  <a:pt x="8008070" y="2954194"/>
                </a:cubicBezTo>
                <a:cubicBezTo>
                  <a:pt x="8005645" y="2963246"/>
                  <a:pt x="7990983" y="2949616"/>
                  <a:pt x="7990983" y="2949616"/>
                </a:cubicBezTo>
                <a:cubicBezTo>
                  <a:pt x="7982439" y="2947326"/>
                  <a:pt x="7990983" y="2949616"/>
                  <a:pt x="7993407" y="2940567"/>
                </a:cubicBezTo>
                <a:lnTo>
                  <a:pt x="7973466" y="2938826"/>
                </a:lnTo>
                <a:lnTo>
                  <a:pt x="7972956" y="2931448"/>
                </a:lnTo>
                <a:cubicBezTo>
                  <a:pt x="7971124" y="2929744"/>
                  <a:pt x="7968989" y="2929172"/>
                  <a:pt x="7970202" y="2924647"/>
                </a:cubicBezTo>
                <a:close/>
                <a:moveTo>
                  <a:pt x="775729" y="2924561"/>
                </a:moveTo>
                <a:lnTo>
                  <a:pt x="774283" y="2929959"/>
                </a:lnTo>
                <a:cubicBezTo>
                  <a:pt x="777293" y="2936553"/>
                  <a:pt x="780014" y="2944226"/>
                  <a:pt x="768785" y="2950477"/>
                </a:cubicBezTo>
                <a:cubicBezTo>
                  <a:pt x="759871" y="2948089"/>
                  <a:pt x="773415" y="2933198"/>
                  <a:pt x="775729" y="2924561"/>
                </a:cubicBezTo>
                <a:close/>
                <a:moveTo>
                  <a:pt x="3961325" y="2924534"/>
                </a:moveTo>
                <a:cubicBezTo>
                  <a:pt x="3969553" y="2926738"/>
                  <a:pt x="3975576" y="2937170"/>
                  <a:pt x="3983803" y="2939375"/>
                </a:cubicBezTo>
                <a:cubicBezTo>
                  <a:pt x="3975576" y="2937170"/>
                  <a:pt x="3973371" y="2945398"/>
                  <a:pt x="3962940" y="2951421"/>
                </a:cubicBezTo>
                <a:cubicBezTo>
                  <a:pt x="3954712" y="2949216"/>
                  <a:pt x="3956917" y="2940989"/>
                  <a:pt x="3948689" y="2938784"/>
                </a:cubicBezTo>
                <a:cubicBezTo>
                  <a:pt x="3950894" y="2930557"/>
                  <a:pt x="3959121" y="2932761"/>
                  <a:pt x="3961325" y="2924534"/>
                </a:cubicBezTo>
                <a:close/>
                <a:moveTo>
                  <a:pt x="5703105" y="2923875"/>
                </a:moveTo>
                <a:cubicBezTo>
                  <a:pt x="5696491" y="2948558"/>
                  <a:pt x="5681704" y="2926959"/>
                  <a:pt x="5672103" y="2924387"/>
                </a:cubicBezTo>
                <a:cubicBezTo>
                  <a:pt x="5683908" y="2918732"/>
                  <a:pt x="5691302" y="2929531"/>
                  <a:pt x="5703105" y="2923875"/>
                </a:cubicBezTo>
                <a:close/>
                <a:moveTo>
                  <a:pt x="4138003" y="2923376"/>
                </a:moveTo>
                <a:cubicBezTo>
                  <a:pt x="4138003" y="2923376"/>
                  <a:pt x="4134696" y="2935718"/>
                  <a:pt x="4134696" y="2935718"/>
                </a:cubicBezTo>
                <a:cubicBezTo>
                  <a:pt x="4134696" y="2935718"/>
                  <a:pt x="4115499" y="2930574"/>
                  <a:pt x="4105899" y="2928002"/>
                </a:cubicBezTo>
                <a:cubicBezTo>
                  <a:pt x="4109206" y="2915659"/>
                  <a:pt x="4125098" y="2933146"/>
                  <a:pt x="4138003" y="2923376"/>
                </a:cubicBezTo>
                <a:close/>
                <a:moveTo>
                  <a:pt x="5765107" y="2922852"/>
                </a:moveTo>
                <a:cubicBezTo>
                  <a:pt x="5773334" y="2925057"/>
                  <a:pt x="5771130" y="2933284"/>
                  <a:pt x="5777153" y="2943716"/>
                </a:cubicBezTo>
                <a:cubicBezTo>
                  <a:pt x="5766721" y="2949739"/>
                  <a:pt x="5762902" y="2931080"/>
                  <a:pt x="5765107" y="2922852"/>
                </a:cubicBezTo>
                <a:close/>
                <a:moveTo>
                  <a:pt x="5600047" y="2922716"/>
                </a:moveTo>
                <a:lnTo>
                  <a:pt x="5605055" y="2926166"/>
                </a:lnTo>
                <a:lnTo>
                  <a:pt x="5604924" y="2926228"/>
                </a:lnTo>
                <a:lnTo>
                  <a:pt x="5597941" y="2923857"/>
                </a:lnTo>
                <a:close/>
                <a:moveTo>
                  <a:pt x="5729992" y="2922262"/>
                </a:moveTo>
                <a:lnTo>
                  <a:pt x="5732055" y="2922510"/>
                </a:lnTo>
                <a:lnTo>
                  <a:pt x="5728289" y="2925332"/>
                </a:lnTo>
                <a:close/>
                <a:moveTo>
                  <a:pt x="3979985" y="2920715"/>
                </a:moveTo>
                <a:lnTo>
                  <a:pt x="3984174" y="2923040"/>
                </a:lnTo>
                <a:lnTo>
                  <a:pt x="3983549" y="2923875"/>
                </a:lnTo>
                <a:cubicBezTo>
                  <a:pt x="3979434" y="2922773"/>
                  <a:pt x="3975873" y="2919613"/>
                  <a:pt x="3979985" y="2920715"/>
                </a:cubicBezTo>
                <a:close/>
                <a:moveTo>
                  <a:pt x="7953112" y="2920068"/>
                </a:moveTo>
                <a:lnTo>
                  <a:pt x="7956237" y="2937323"/>
                </a:lnTo>
                <a:lnTo>
                  <a:pt x="7948666" y="2936660"/>
                </a:lnTo>
                <a:close/>
                <a:moveTo>
                  <a:pt x="6198017" y="2919805"/>
                </a:moveTo>
                <a:cubicBezTo>
                  <a:pt x="6206244" y="2922010"/>
                  <a:pt x="6212268" y="2932442"/>
                  <a:pt x="6214472" y="2924215"/>
                </a:cubicBezTo>
                <a:cubicBezTo>
                  <a:pt x="6220495" y="2934647"/>
                  <a:pt x="6201835" y="2938465"/>
                  <a:pt x="6199631" y="2946692"/>
                </a:cubicBezTo>
                <a:cubicBezTo>
                  <a:pt x="6201835" y="2938465"/>
                  <a:pt x="6193608" y="2936260"/>
                  <a:pt x="6198017" y="2919805"/>
                </a:cubicBezTo>
                <a:close/>
                <a:moveTo>
                  <a:pt x="3625403" y="2919398"/>
                </a:moveTo>
                <a:cubicBezTo>
                  <a:pt x="3629999" y="2919527"/>
                  <a:pt x="3634319" y="2920684"/>
                  <a:pt x="3634319" y="2920684"/>
                </a:cubicBezTo>
                <a:cubicBezTo>
                  <a:pt x="3632114" y="2928912"/>
                  <a:pt x="3623475" y="2926597"/>
                  <a:pt x="3621270" y="2934824"/>
                </a:cubicBezTo>
                <a:cubicBezTo>
                  <a:pt x="3632114" y="2928912"/>
                  <a:pt x="3623475" y="2926597"/>
                  <a:pt x="3614835" y="2924282"/>
                </a:cubicBezTo>
                <a:cubicBezTo>
                  <a:pt x="3615937" y="2920168"/>
                  <a:pt x="3620808" y="2919269"/>
                  <a:pt x="3625403" y="2919398"/>
                </a:cubicBezTo>
                <a:close/>
                <a:moveTo>
                  <a:pt x="5783767" y="2919034"/>
                </a:moveTo>
                <a:cubicBezTo>
                  <a:pt x="5798017" y="2931671"/>
                  <a:pt x="5779357" y="2935489"/>
                  <a:pt x="5785380" y="2945921"/>
                </a:cubicBezTo>
                <a:cubicBezTo>
                  <a:pt x="5774948" y="2951944"/>
                  <a:pt x="5781562" y="2927261"/>
                  <a:pt x="5783767" y="2919034"/>
                </a:cubicBezTo>
                <a:close/>
                <a:moveTo>
                  <a:pt x="5626585" y="2918666"/>
                </a:moveTo>
                <a:cubicBezTo>
                  <a:pt x="5632382" y="2921459"/>
                  <a:pt x="5634786" y="2932024"/>
                  <a:pt x="5634786" y="2932024"/>
                </a:cubicBezTo>
                <a:cubicBezTo>
                  <a:pt x="5630443" y="2930860"/>
                  <a:pt x="5622829" y="2933228"/>
                  <a:pt x="5615763" y="2933540"/>
                </a:cubicBezTo>
                <a:lnTo>
                  <a:pt x="5605055" y="2926166"/>
                </a:lnTo>
                <a:lnTo>
                  <a:pt x="5619621" y="2919142"/>
                </a:lnTo>
                <a:cubicBezTo>
                  <a:pt x="5622343" y="2917667"/>
                  <a:pt x="5624653" y="2917735"/>
                  <a:pt x="5626585" y="2918666"/>
                </a:cubicBezTo>
                <a:close/>
                <a:moveTo>
                  <a:pt x="5859211" y="2917202"/>
                </a:moveTo>
                <a:cubicBezTo>
                  <a:pt x="5867439" y="2919407"/>
                  <a:pt x="5856639" y="2926801"/>
                  <a:pt x="5854066" y="2936401"/>
                </a:cubicBezTo>
                <a:cubicBezTo>
                  <a:pt x="5845839" y="2934197"/>
                  <a:pt x="5843267" y="2943795"/>
                  <a:pt x="5837611" y="2931992"/>
                </a:cubicBezTo>
                <a:cubicBezTo>
                  <a:pt x="5840184" y="2922391"/>
                  <a:pt x="5845839" y="2934197"/>
                  <a:pt x="5845839" y="2934197"/>
                </a:cubicBezTo>
                <a:cubicBezTo>
                  <a:pt x="5842756" y="2912793"/>
                  <a:pt x="5848412" y="2924596"/>
                  <a:pt x="5859211" y="2917202"/>
                </a:cubicBezTo>
                <a:close/>
                <a:moveTo>
                  <a:pt x="7523900" y="2916283"/>
                </a:moveTo>
                <a:cubicBezTo>
                  <a:pt x="7528702" y="2914814"/>
                  <a:pt x="7534873" y="2916467"/>
                  <a:pt x="7543101" y="2918672"/>
                </a:cubicBezTo>
                <a:cubicBezTo>
                  <a:pt x="7537589" y="2939242"/>
                  <a:pt x="7523889" y="2924547"/>
                  <a:pt x="7512906" y="2932628"/>
                </a:cubicBezTo>
                <a:cubicBezTo>
                  <a:pt x="7515662" y="2922343"/>
                  <a:pt x="7519097" y="2917752"/>
                  <a:pt x="7523900" y="2916283"/>
                </a:cubicBezTo>
                <a:close/>
                <a:moveTo>
                  <a:pt x="5740424" y="2916239"/>
                </a:moveTo>
                <a:cubicBezTo>
                  <a:pt x="5739322" y="2920352"/>
                  <a:pt x="5738771" y="2922409"/>
                  <a:pt x="5737467" y="2923162"/>
                </a:cubicBezTo>
                <a:lnTo>
                  <a:pt x="5732055" y="2922510"/>
                </a:lnTo>
                <a:close/>
                <a:moveTo>
                  <a:pt x="5573993" y="2915735"/>
                </a:moveTo>
                <a:lnTo>
                  <a:pt x="5597941" y="2923857"/>
                </a:lnTo>
                <a:lnTo>
                  <a:pt x="5589158" y="2928616"/>
                </a:lnTo>
                <a:cubicBezTo>
                  <a:pt x="5586954" y="2936844"/>
                  <a:pt x="5606528" y="2933271"/>
                  <a:pt x="5593433" y="2947398"/>
                </a:cubicBezTo>
                <a:cubicBezTo>
                  <a:pt x="5586954" y="2936844"/>
                  <a:pt x="5552214" y="2927535"/>
                  <a:pt x="5586954" y="2936844"/>
                </a:cubicBezTo>
                <a:cubicBezTo>
                  <a:pt x="5589158" y="2928616"/>
                  <a:pt x="5560900" y="2929863"/>
                  <a:pt x="5573993" y="2915735"/>
                </a:cubicBezTo>
                <a:close/>
                <a:moveTo>
                  <a:pt x="3990417" y="2914692"/>
                </a:moveTo>
                <a:cubicBezTo>
                  <a:pt x="3998645" y="2916897"/>
                  <a:pt x="3998645" y="2916897"/>
                  <a:pt x="4004668" y="2927329"/>
                </a:cubicBezTo>
                <a:cubicBezTo>
                  <a:pt x="3999453" y="2930339"/>
                  <a:pt x="3995339" y="2929237"/>
                  <a:pt x="3991501" y="2927109"/>
                </a:cubicBezTo>
                <a:lnTo>
                  <a:pt x="3984174" y="2923040"/>
                </a:lnTo>
                <a:close/>
                <a:moveTo>
                  <a:pt x="6067010" y="2914048"/>
                </a:moveTo>
                <a:cubicBezTo>
                  <a:pt x="6070643" y="2914883"/>
                  <a:pt x="6074429" y="2917551"/>
                  <a:pt x="6078126" y="2922951"/>
                </a:cubicBezTo>
                <a:cubicBezTo>
                  <a:pt x="6068528" y="2920379"/>
                  <a:pt x="6068528" y="2920379"/>
                  <a:pt x="6068528" y="2920379"/>
                </a:cubicBezTo>
                <a:cubicBezTo>
                  <a:pt x="6068528" y="2920379"/>
                  <a:pt x="6056725" y="2926035"/>
                  <a:pt x="6044920" y="2931690"/>
                </a:cubicBezTo>
                <a:cubicBezTo>
                  <a:pt x="6046022" y="2927575"/>
                  <a:pt x="6050627" y="2919990"/>
                  <a:pt x="6056806" y="2916135"/>
                </a:cubicBezTo>
                <a:cubicBezTo>
                  <a:pt x="6059894" y="2914208"/>
                  <a:pt x="6063376" y="2913212"/>
                  <a:pt x="6067010" y="2914048"/>
                </a:cubicBezTo>
                <a:close/>
                <a:moveTo>
                  <a:pt x="8011253" y="2908545"/>
                </a:moveTo>
                <a:cubicBezTo>
                  <a:pt x="8017502" y="2919388"/>
                  <a:pt x="8030630" y="2904569"/>
                  <a:pt x="8034586" y="2923966"/>
                </a:cubicBezTo>
                <a:cubicBezTo>
                  <a:pt x="8026046" y="2921677"/>
                  <a:pt x="8017502" y="2919388"/>
                  <a:pt x="8000417" y="2914810"/>
                </a:cubicBezTo>
                <a:cubicBezTo>
                  <a:pt x="8000417" y="2914810"/>
                  <a:pt x="8011253" y="2908545"/>
                  <a:pt x="8011253" y="2908545"/>
                </a:cubicBezTo>
                <a:close/>
                <a:moveTo>
                  <a:pt x="6117650" y="2907087"/>
                </a:moveTo>
                <a:cubicBezTo>
                  <a:pt x="6107218" y="2913110"/>
                  <a:pt x="6119264" y="2933974"/>
                  <a:pt x="6100605" y="2937792"/>
                </a:cubicBezTo>
                <a:cubicBezTo>
                  <a:pt x="6100605" y="2937792"/>
                  <a:pt x="6096195" y="2954247"/>
                  <a:pt x="6106627" y="2948224"/>
                </a:cubicBezTo>
                <a:cubicBezTo>
                  <a:pt x="6104423" y="2956452"/>
                  <a:pt x="6096195" y="2954247"/>
                  <a:pt x="6104423" y="2956452"/>
                </a:cubicBezTo>
                <a:cubicBezTo>
                  <a:pt x="6093991" y="2962475"/>
                  <a:pt x="6085763" y="2960270"/>
                  <a:pt x="6069308" y="2955861"/>
                </a:cubicBezTo>
                <a:cubicBezTo>
                  <a:pt x="6069308" y="2955861"/>
                  <a:pt x="6071513" y="2947634"/>
                  <a:pt x="6073717" y="2939406"/>
                </a:cubicBezTo>
                <a:cubicBezTo>
                  <a:pt x="6079740" y="2949838"/>
                  <a:pt x="6090172" y="2943815"/>
                  <a:pt x="6090172" y="2943815"/>
                </a:cubicBezTo>
                <a:cubicBezTo>
                  <a:pt x="6094581" y="2927360"/>
                  <a:pt x="6084150" y="2933383"/>
                  <a:pt x="6078126" y="2922951"/>
                </a:cubicBezTo>
                <a:cubicBezTo>
                  <a:pt x="6086354" y="2925155"/>
                  <a:pt x="6082535" y="2906496"/>
                  <a:pt x="6090763" y="2908700"/>
                </a:cubicBezTo>
                <a:cubicBezTo>
                  <a:pt x="6086354" y="2925155"/>
                  <a:pt x="6094581" y="2927360"/>
                  <a:pt x="6102809" y="2929565"/>
                </a:cubicBezTo>
                <a:cubicBezTo>
                  <a:pt x="6096786" y="2919132"/>
                  <a:pt x="6098990" y="2910905"/>
                  <a:pt x="6117650" y="2907087"/>
                </a:cubicBezTo>
                <a:close/>
                <a:moveTo>
                  <a:pt x="3876848" y="2906858"/>
                </a:moveTo>
                <a:cubicBezTo>
                  <a:pt x="3883112" y="2906883"/>
                  <a:pt x="3894885" y="2913344"/>
                  <a:pt x="3903736" y="2909102"/>
                </a:cubicBezTo>
                <a:cubicBezTo>
                  <a:pt x="3901531" y="2917330"/>
                  <a:pt x="3901531" y="2917330"/>
                  <a:pt x="3899327" y="2925557"/>
                </a:cubicBezTo>
                <a:cubicBezTo>
                  <a:pt x="3889728" y="2922986"/>
                  <a:pt x="3882334" y="2912186"/>
                  <a:pt x="3872733" y="2909614"/>
                </a:cubicBezTo>
                <a:cubicBezTo>
                  <a:pt x="3873284" y="2907557"/>
                  <a:pt x="3874760" y="2906850"/>
                  <a:pt x="3876848" y="2906858"/>
                </a:cubicBezTo>
                <a:close/>
                <a:moveTo>
                  <a:pt x="5581836" y="2906813"/>
                </a:moveTo>
                <a:cubicBezTo>
                  <a:pt x="5585435" y="2907777"/>
                  <a:pt x="5589683" y="2911121"/>
                  <a:pt x="5594482" y="2912406"/>
                </a:cubicBezTo>
                <a:cubicBezTo>
                  <a:pt x="5601876" y="2923206"/>
                  <a:pt x="5573078" y="2915490"/>
                  <a:pt x="5573078" y="2915490"/>
                </a:cubicBezTo>
                <a:cubicBezTo>
                  <a:pt x="5575283" y="2907262"/>
                  <a:pt x="5578234" y="2905848"/>
                  <a:pt x="5581836" y="2906813"/>
                </a:cubicBezTo>
                <a:close/>
                <a:moveTo>
                  <a:pt x="4140356" y="2906369"/>
                </a:moveTo>
                <a:cubicBezTo>
                  <a:pt x="4140356" y="2906369"/>
                  <a:pt x="4150640" y="2909125"/>
                  <a:pt x="4150640" y="2909125"/>
                </a:cubicBezTo>
                <a:cubicBezTo>
                  <a:pt x="4150640" y="2909125"/>
                  <a:pt x="4148436" y="2917352"/>
                  <a:pt x="4148436" y="2917352"/>
                </a:cubicBezTo>
                <a:cubicBezTo>
                  <a:pt x="4138150" y="2914597"/>
                  <a:pt x="4127865" y="2911841"/>
                  <a:pt x="4140356" y="2906369"/>
                </a:cubicBezTo>
                <a:close/>
                <a:moveTo>
                  <a:pt x="5815333" y="2905448"/>
                </a:moveTo>
                <a:cubicBezTo>
                  <a:pt x="5834530" y="2910592"/>
                  <a:pt x="5815011" y="2945045"/>
                  <a:pt x="5800772" y="2921388"/>
                </a:cubicBezTo>
                <a:cubicBezTo>
                  <a:pt x="5819971" y="2926532"/>
                  <a:pt x="5812853" y="2914704"/>
                  <a:pt x="5815333" y="2905448"/>
                </a:cubicBezTo>
                <a:close/>
                <a:moveTo>
                  <a:pt x="5840367" y="2903197"/>
                </a:moveTo>
                <a:cubicBezTo>
                  <a:pt x="5840979" y="2907082"/>
                  <a:pt x="5834174" y="2920139"/>
                  <a:pt x="5842205" y="2914851"/>
                </a:cubicBezTo>
                <a:lnTo>
                  <a:pt x="5837611" y="2931992"/>
                </a:lnTo>
                <a:lnTo>
                  <a:pt x="5837244" y="2933363"/>
                </a:lnTo>
                <a:cubicBezTo>
                  <a:pt x="5839724" y="2924107"/>
                  <a:pt x="5836457" y="2903390"/>
                  <a:pt x="5836457" y="2903390"/>
                </a:cubicBezTo>
                <a:cubicBezTo>
                  <a:pt x="5839134" y="2901627"/>
                  <a:pt x="5840162" y="2901902"/>
                  <a:pt x="5840367" y="2903197"/>
                </a:cubicBezTo>
                <a:close/>
                <a:moveTo>
                  <a:pt x="6631457" y="2902949"/>
                </a:moveTo>
                <a:cubicBezTo>
                  <a:pt x="6634028" y="2903121"/>
                  <a:pt x="6636427" y="2904453"/>
                  <a:pt x="6637795" y="2907575"/>
                </a:cubicBezTo>
                <a:cubicBezTo>
                  <a:pt x="6635039" y="2917860"/>
                  <a:pt x="6629568" y="2905371"/>
                  <a:pt x="6626812" y="2915656"/>
                </a:cubicBezTo>
                <a:cubicBezTo>
                  <a:pt x="6614470" y="2912349"/>
                  <a:pt x="6623742" y="2902432"/>
                  <a:pt x="6631457" y="2902949"/>
                </a:cubicBezTo>
                <a:close/>
                <a:moveTo>
                  <a:pt x="5667726" y="2902794"/>
                </a:moveTo>
                <a:lnTo>
                  <a:pt x="5668733" y="2902986"/>
                </a:lnTo>
                <a:lnTo>
                  <a:pt x="5668558" y="2904239"/>
                </a:lnTo>
                <a:close/>
                <a:moveTo>
                  <a:pt x="4187957" y="2901487"/>
                </a:moveTo>
                <a:cubicBezTo>
                  <a:pt x="4175320" y="2915738"/>
                  <a:pt x="4202207" y="2914124"/>
                  <a:pt x="4208230" y="2924556"/>
                </a:cubicBezTo>
                <a:cubicBezTo>
                  <a:pt x="4195593" y="2938807"/>
                  <a:pt x="4185752" y="2909715"/>
                  <a:pt x="4173116" y="2923966"/>
                </a:cubicBezTo>
                <a:cubicBezTo>
                  <a:pt x="4164888" y="2921761"/>
                  <a:pt x="4164888" y="2921761"/>
                  <a:pt x="4169297" y="2905306"/>
                </a:cubicBezTo>
                <a:cubicBezTo>
                  <a:pt x="4177525" y="2907510"/>
                  <a:pt x="4177525" y="2907510"/>
                  <a:pt x="4187957" y="2901487"/>
                </a:cubicBezTo>
                <a:close/>
                <a:moveTo>
                  <a:pt x="7089255" y="2901119"/>
                </a:moveTo>
                <a:cubicBezTo>
                  <a:pt x="7086830" y="2910168"/>
                  <a:pt x="7095058" y="2912373"/>
                  <a:pt x="7103285" y="2914577"/>
                </a:cubicBezTo>
                <a:cubicBezTo>
                  <a:pt x="7100860" y="2923629"/>
                  <a:pt x="7092633" y="2921424"/>
                  <a:pt x="7084405" y="2919220"/>
                </a:cubicBezTo>
                <a:close/>
                <a:moveTo>
                  <a:pt x="5762390" y="2900080"/>
                </a:moveTo>
                <a:cubicBezTo>
                  <a:pt x="5762390" y="2900080"/>
                  <a:pt x="5770618" y="2902285"/>
                  <a:pt x="5770618" y="2902285"/>
                </a:cubicBezTo>
                <a:cubicBezTo>
                  <a:pt x="5770618" y="2902285"/>
                  <a:pt x="5767862" y="2912570"/>
                  <a:pt x="5767862" y="2912570"/>
                </a:cubicBezTo>
                <a:cubicBezTo>
                  <a:pt x="5763750" y="2911468"/>
                  <a:pt x="5756891" y="2912385"/>
                  <a:pt x="5752776" y="2911283"/>
                </a:cubicBezTo>
                <a:lnTo>
                  <a:pt x="5753237" y="2906812"/>
                </a:lnTo>
                <a:close/>
                <a:moveTo>
                  <a:pt x="7921089" y="2898459"/>
                </a:moveTo>
                <a:cubicBezTo>
                  <a:pt x="7921732" y="2898115"/>
                  <a:pt x="7923188" y="2898851"/>
                  <a:pt x="7925073" y="2900046"/>
                </a:cubicBezTo>
                <a:cubicBezTo>
                  <a:pt x="7928844" y="2902434"/>
                  <a:pt x="7934325" y="2906657"/>
                  <a:pt x="7938437" y="2907759"/>
                </a:cubicBezTo>
                <a:cubicBezTo>
                  <a:pt x="7935681" y="2918045"/>
                  <a:pt x="7930210" y="2905555"/>
                  <a:pt x="7921982" y="2903350"/>
                </a:cubicBezTo>
                <a:cubicBezTo>
                  <a:pt x="7920615" y="2900227"/>
                  <a:pt x="7920445" y="2898804"/>
                  <a:pt x="7921089" y="2898459"/>
                </a:cubicBezTo>
                <a:close/>
                <a:moveTo>
                  <a:pt x="8735746" y="2898187"/>
                </a:moveTo>
                <a:cubicBezTo>
                  <a:pt x="8743359" y="2898571"/>
                  <a:pt x="8751586" y="2900776"/>
                  <a:pt x="8754045" y="2908050"/>
                </a:cubicBezTo>
                <a:cubicBezTo>
                  <a:pt x="8745817" y="2905845"/>
                  <a:pt x="8729363" y="2901436"/>
                  <a:pt x="8721135" y="2899232"/>
                </a:cubicBezTo>
                <a:cubicBezTo>
                  <a:pt x="8721135" y="2899232"/>
                  <a:pt x="8728131" y="2897799"/>
                  <a:pt x="8735746" y="2898187"/>
                </a:cubicBezTo>
                <a:close/>
                <a:moveTo>
                  <a:pt x="5754163" y="2897876"/>
                </a:moveTo>
                <a:lnTo>
                  <a:pt x="5753237" y="2906812"/>
                </a:lnTo>
                <a:lnTo>
                  <a:pt x="5751407" y="2908161"/>
                </a:lnTo>
                <a:cubicBezTo>
                  <a:pt x="5751407" y="2908161"/>
                  <a:pt x="5754163" y="2897876"/>
                  <a:pt x="5754163" y="2897876"/>
                </a:cubicBezTo>
                <a:close/>
                <a:moveTo>
                  <a:pt x="3694078" y="2897016"/>
                </a:moveTo>
                <a:cubicBezTo>
                  <a:pt x="3698115" y="2917203"/>
                  <a:pt x="3700503" y="2908292"/>
                  <a:pt x="3709318" y="2910654"/>
                </a:cubicBezTo>
                <a:cubicBezTo>
                  <a:pt x="3695726" y="2926118"/>
                  <a:pt x="3670932" y="2948134"/>
                  <a:pt x="3640446" y="2920860"/>
                </a:cubicBezTo>
                <a:cubicBezTo>
                  <a:pt x="3645223" y="2903031"/>
                  <a:pt x="3669282" y="2919032"/>
                  <a:pt x="3674058" y="2901206"/>
                </a:cubicBezTo>
                <a:cubicBezTo>
                  <a:pt x="3682874" y="2903568"/>
                  <a:pt x="3691690" y="2905930"/>
                  <a:pt x="3694078" y="2897016"/>
                </a:cubicBezTo>
                <a:close/>
                <a:moveTo>
                  <a:pt x="6315190" y="2893882"/>
                </a:moveTo>
                <a:cubicBezTo>
                  <a:pt x="6321212" y="2904314"/>
                  <a:pt x="6323417" y="2896086"/>
                  <a:pt x="6339872" y="2900495"/>
                </a:cubicBezTo>
                <a:cubicBezTo>
                  <a:pt x="6345895" y="2910928"/>
                  <a:pt x="6312985" y="2902109"/>
                  <a:pt x="6315190" y="2893882"/>
                </a:cubicBezTo>
                <a:close/>
                <a:moveTo>
                  <a:pt x="7914992" y="2891921"/>
                </a:moveTo>
                <a:lnTo>
                  <a:pt x="7921534" y="2893674"/>
                </a:lnTo>
                <a:cubicBezTo>
                  <a:pt x="7923002" y="2894067"/>
                  <a:pt x="7921400" y="2893638"/>
                  <a:pt x="7914993" y="2891921"/>
                </a:cubicBezTo>
                <a:close/>
                <a:moveTo>
                  <a:pt x="5690227" y="2891709"/>
                </a:moveTo>
                <a:lnTo>
                  <a:pt x="5707312" y="2896287"/>
                </a:lnTo>
                <a:cubicBezTo>
                  <a:pt x="5713563" y="2907130"/>
                  <a:pt x="5690227" y="2891709"/>
                  <a:pt x="5690227" y="2891709"/>
                </a:cubicBezTo>
                <a:close/>
                <a:moveTo>
                  <a:pt x="888855" y="2890982"/>
                </a:moveTo>
                <a:lnTo>
                  <a:pt x="882331" y="2896111"/>
                </a:lnTo>
                <a:cubicBezTo>
                  <a:pt x="882331" y="2896111"/>
                  <a:pt x="882904" y="2893972"/>
                  <a:pt x="884544" y="2892120"/>
                </a:cubicBezTo>
                <a:close/>
                <a:moveTo>
                  <a:pt x="5849369" y="2888111"/>
                </a:moveTo>
                <a:cubicBezTo>
                  <a:pt x="5865824" y="2892520"/>
                  <a:pt x="5844960" y="2904566"/>
                  <a:pt x="5861415" y="2908975"/>
                </a:cubicBezTo>
                <a:cubicBezTo>
                  <a:pt x="5861415" y="2908975"/>
                  <a:pt x="5850984" y="2914998"/>
                  <a:pt x="5850984" y="2914998"/>
                </a:cubicBezTo>
                <a:cubicBezTo>
                  <a:pt x="5853188" y="2906770"/>
                  <a:pt x="5853188" y="2906770"/>
                  <a:pt x="5838937" y="2894133"/>
                </a:cubicBezTo>
                <a:cubicBezTo>
                  <a:pt x="5841142" y="2885906"/>
                  <a:pt x="5847165" y="2896338"/>
                  <a:pt x="5849369" y="2888111"/>
                </a:cubicBezTo>
                <a:close/>
                <a:moveTo>
                  <a:pt x="5876257" y="2886497"/>
                </a:moveTo>
                <a:cubicBezTo>
                  <a:pt x="5884484" y="2888701"/>
                  <a:pt x="5880075" y="2905156"/>
                  <a:pt x="5886098" y="2915588"/>
                </a:cubicBezTo>
                <a:cubicBezTo>
                  <a:pt x="5886098" y="2915588"/>
                  <a:pt x="5877870" y="2913384"/>
                  <a:pt x="5875666" y="2921611"/>
                </a:cubicBezTo>
                <a:cubicBezTo>
                  <a:pt x="5861415" y="2908975"/>
                  <a:pt x="5898735" y="2901338"/>
                  <a:pt x="5863620" y="2900747"/>
                </a:cubicBezTo>
                <a:cubicBezTo>
                  <a:pt x="5865824" y="2892520"/>
                  <a:pt x="5874052" y="2894724"/>
                  <a:pt x="5876257" y="2886497"/>
                </a:cubicBezTo>
                <a:close/>
                <a:moveTo>
                  <a:pt x="3780331" y="2884855"/>
                </a:moveTo>
                <a:cubicBezTo>
                  <a:pt x="3786533" y="2895884"/>
                  <a:pt x="3767103" y="2900049"/>
                  <a:pt x="3775646" y="2902338"/>
                </a:cubicBezTo>
                <a:cubicBezTo>
                  <a:pt x="3775646" y="2902338"/>
                  <a:pt x="3756217" y="2906500"/>
                  <a:pt x="3773304" y="2911079"/>
                </a:cubicBezTo>
                <a:cubicBezTo>
                  <a:pt x="3762419" y="2917533"/>
                  <a:pt x="3747673" y="2904211"/>
                  <a:pt x="3747673" y="2904211"/>
                </a:cubicBezTo>
                <a:cubicBezTo>
                  <a:pt x="3739129" y="2901922"/>
                  <a:pt x="3742988" y="2921695"/>
                  <a:pt x="3742988" y="2921695"/>
                </a:cubicBezTo>
                <a:cubicBezTo>
                  <a:pt x="3770962" y="2919822"/>
                  <a:pt x="3788051" y="2924401"/>
                  <a:pt x="3802797" y="2937721"/>
                </a:cubicBezTo>
                <a:cubicBezTo>
                  <a:pt x="3811340" y="2940010"/>
                  <a:pt x="3805139" y="2928980"/>
                  <a:pt x="3805139" y="2928980"/>
                </a:cubicBezTo>
                <a:cubicBezTo>
                  <a:pt x="3813682" y="2931269"/>
                  <a:pt x="3816025" y="2922526"/>
                  <a:pt x="3824569" y="2924815"/>
                </a:cubicBezTo>
                <a:cubicBezTo>
                  <a:pt x="3808998" y="2948753"/>
                  <a:pt x="3808998" y="2948753"/>
                  <a:pt x="3789568" y="2952915"/>
                </a:cubicBezTo>
                <a:cubicBezTo>
                  <a:pt x="3805139" y="2928980"/>
                  <a:pt x="3742988" y="2921695"/>
                  <a:pt x="3735962" y="2947922"/>
                </a:cubicBezTo>
                <a:cubicBezTo>
                  <a:pt x="3735962" y="2947922"/>
                  <a:pt x="3738304" y="2939179"/>
                  <a:pt x="3729760" y="2936890"/>
                </a:cubicBezTo>
                <a:cubicBezTo>
                  <a:pt x="3749189" y="2932727"/>
                  <a:pt x="3708811" y="2912537"/>
                  <a:pt x="3711153" y="2903797"/>
                </a:cubicBezTo>
                <a:cubicBezTo>
                  <a:pt x="3739129" y="2901922"/>
                  <a:pt x="3758559" y="2897760"/>
                  <a:pt x="3780331" y="2884855"/>
                </a:cubicBezTo>
                <a:close/>
                <a:moveTo>
                  <a:pt x="5664601" y="2884843"/>
                </a:moveTo>
                <a:lnTo>
                  <a:pt x="5690227" y="2891709"/>
                </a:lnTo>
                <a:cubicBezTo>
                  <a:pt x="5697625" y="2898274"/>
                  <a:pt x="5691632" y="2903545"/>
                  <a:pt x="5681945" y="2905535"/>
                </a:cubicBezTo>
                <a:lnTo>
                  <a:pt x="5668733" y="2902986"/>
                </a:lnTo>
                <a:lnTo>
                  <a:pt x="5669782" y="2895399"/>
                </a:lnTo>
                <a:cubicBezTo>
                  <a:pt x="5669861" y="2890835"/>
                  <a:pt x="5668872" y="2885987"/>
                  <a:pt x="5664601" y="2884843"/>
                </a:cubicBezTo>
                <a:close/>
                <a:moveTo>
                  <a:pt x="5831546" y="2883337"/>
                </a:moveTo>
                <a:cubicBezTo>
                  <a:pt x="5831546" y="2883337"/>
                  <a:pt x="5829341" y="2891565"/>
                  <a:pt x="5838939" y="2894137"/>
                </a:cubicBezTo>
                <a:cubicBezTo>
                  <a:pt x="5838939" y="2894137"/>
                  <a:pt x="5838939" y="2894137"/>
                  <a:pt x="5836735" y="2902364"/>
                </a:cubicBezTo>
                <a:cubicBezTo>
                  <a:pt x="5827136" y="2899792"/>
                  <a:pt x="5827136" y="2899792"/>
                  <a:pt x="5807937" y="2894648"/>
                </a:cubicBezTo>
                <a:cubicBezTo>
                  <a:pt x="5817538" y="2897220"/>
                  <a:pt x="5829341" y="2891565"/>
                  <a:pt x="5831546" y="2883337"/>
                </a:cubicBezTo>
                <a:close/>
                <a:moveTo>
                  <a:pt x="5958563" y="2882098"/>
                </a:moveTo>
                <a:cubicBezTo>
                  <a:pt x="5967614" y="2884524"/>
                  <a:pt x="5965410" y="2892751"/>
                  <a:pt x="5983510" y="2897601"/>
                </a:cubicBezTo>
                <a:cubicBezTo>
                  <a:pt x="5983510" y="2897601"/>
                  <a:pt x="5981306" y="2905829"/>
                  <a:pt x="5981306" y="2905829"/>
                </a:cubicBezTo>
                <a:cubicBezTo>
                  <a:pt x="5972257" y="2903404"/>
                  <a:pt x="5972257" y="2903404"/>
                  <a:pt x="5972257" y="2903404"/>
                </a:cubicBezTo>
                <a:lnTo>
                  <a:pt x="5968110" y="2901218"/>
                </a:lnTo>
                <a:lnTo>
                  <a:pt x="5965410" y="2892751"/>
                </a:lnTo>
                <a:cubicBezTo>
                  <a:pt x="5969937" y="2893964"/>
                  <a:pt x="5968835" y="2898077"/>
                  <a:pt x="5968008" y="2901163"/>
                </a:cubicBezTo>
                <a:lnTo>
                  <a:pt x="5968110" y="2901218"/>
                </a:lnTo>
                <a:lnTo>
                  <a:pt x="5970022" y="2907213"/>
                </a:lnTo>
                <a:cubicBezTo>
                  <a:pt x="5972866" y="2910181"/>
                  <a:pt x="5974577" y="2912844"/>
                  <a:pt x="5967848" y="2919859"/>
                </a:cubicBezTo>
                <a:cubicBezTo>
                  <a:pt x="5961001" y="2909206"/>
                  <a:pt x="5954154" y="2898553"/>
                  <a:pt x="5938258" y="2885476"/>
                </a:cubicBezTo>
                <a:cubicBezTo>
                  <a:pt x="5947309" y="2887901"/>
                  <a:pt x="5963205" y="2900979"/>
                  <a:pt x="5958563" y="2882098"/>
                </a:cubicBezTo>
                <a:close/>
                <a:moveTo>
                  <a:pt x="7350561" y="2880307"/>
                </a:moveTo>
                <a:cubicBezTo>
                  <a:pt x="7348356" y="2888534"/>
                  <a:pt x="7329696" y="2892353"/>
                  <a:pt x="7337924" y="2894557"/>
                </a:cubicBezTo>
                <a:cubicBezTo>
                  <a:pt x="7327492" y="2900580"/>
                  <a:pt x="7329696" y="2892353"/>
                  <a:pt x="7321469" y="2890148"/>
                </a:cubicBezTo>
                <a:cubicBezTo>
                  <a:pt x="7323674" y="2881921"/>
                  <a:pt x="7334106" y="2875898"/>
                  <a:pt x="7350561" y="2880307"/>
                </a:cubicBezTo>
                <a:close/>
                <a:moveTo>
                  <a:pt x="8616087" y="2879903"/>
                </a:moveTo>
                <a:cubicBezTo>
                  <a:pt x="8621305" y="2876890"/>
                  <a:pt x="8627475" y="2878543"/>
                  <a:pt x="8634398" y="2881501"/>
                </a:cubicBezTo>
                <a:cubicBezTo>
                  <a:pt x="8641321" y="2884459"/>
                  <a:pt x="8648997" y="2888721"/>
                  <a:pt x="8657225" y="2890926"/>
                </a:cubicBezTo>
                <a:cubicBezTo>
                  <a:pt x="8648997" y="2888721"/>
                  <a:pt x="8632543" y="2884312"/>
                  <a:pt x="8616087" y="2879903"/>
                </a:cubicBezTo>
                <a:close/>
                <a:moveTo>
                  <a:pt x="7112986" y="2878376"/>
                </a:moveTo>
                <a:cubicBezTo>
                  <a:pt x="7121213" y="2880581"/>
                  <a:pt x="7099908" y="2894272"/>
                  <a:pt x="7108136" y="2896477"/>
                </a:cubicBezTo>
                <a:cubicBezTo>
                  <a:pt x="7105710" y="2905528"/>
                  <a:pt x="7099908" y="2894272"/>
                  <a:pt x="7089255" y="2901119"/>
                </a:cubicBezTo>
                <a:lnTo>
                  <a:pt x="7094106" y="2883016"/>
                </a:lnTo>
                <a:cubicBezTo>
                  <a:pt x="7099908" y="2894272"/>
                  <a:pt x="7102334" y="2885221"/>
                  <a:pt x="7112986" y="2878376"/>
                </a:cubicBezTo>
                <a:close/>
                <a:moveTo>
                  <a:pt x="6972667" y="2875501"/>
                </a:moveTo>
                <a:cubicBezTo>
                  <a:pt x="6977469" y="2874030"/>
                  <a:pt x="6981584" y="2875133"/>
                  <a:pt x="6984318" y="2881378"/>
                </a:cubicBezTo>
                <a:cubicBezTo>
                  <a:pt x="6981563" y="2891663"/>
                  <a:pt x="6965107" y="2887254"/>
                  <a:pt x="6956880" y="2885049"/>
                </a:cubicBezTo>
                <a:cubicBezTo>
                  <a:pt x="6962373" y="2881008"/>
                  <a:pt x="6967863" y="2876969"/>
                  <a:pt x="6972667" y="2875501"/>
                </a:cubicBezTo>
                <a:close/>
                <a:moveTo>
                  <a:pt x="5732107" y="2874876"/>
                </a:moveTo>
                <a:cubicBezTo>
                  <a:pt x="5743501" y="2868561"/>
                  <a:pt x="5727422" y="2892360"/>
                  <a:pt x="5736474" y="2894786"/>
                </a:cubicBezTo>
                <a:cubicBezTo>
                  <a:pt x="5722738" y="2909844"/>
                  <a:pt x="5722738" y="2909844"/>
                  <a:pt x="5715710" y="2936071"/>
                </a:cubicBezTo>
                <a:cubicBezTo>
                  <a:pt x="5709001" y="2924902"/>
                  <a:pt x="5706658" y="2933646"/>
                  <a:pt x="5706658" y="2933646"/>
                </a:cubicBezTo>
                <a:cubicBezTo>
                  <a:pt x="5688558" y="2928796"/>
                  <a:pt x="5747865" y="2888470"/>
                  <a:pt x="5709322" y="2887510"/>
                </a:cubicBezTo>
                <a:cubicBezTo>
                  <a:pt x="5714007" y="2870026"/>
                  <a:pt x="5725080" y="2901103"/>
                  <a:pt x="5732107" y="2874876"/>
                </a:cubicBezTo>
                <a:close/>
                <a:moveTo>
                  <a:pt x="5649808" y="2871711"/>
                </a:moveTo>
                <a:cubicBezTo>
                  <a:pt x="5658352" y="2874000"/>
                  <a:pt x="5658768" y="2880989"/>
                  <a:pt x="5659185" y="2887974"/>
                </a:cubicBezTo>
                <a:lnTo>
                  <a:pt x="5667726" y="2902794"/>
                </a:lnTo>
                <a:lnTo>
                  <a:pt x="5651473" y="2899662"/>
                </a:lnTo>
                <a:cubicBezTo>
                  <a:pt x="5656057" y="2882554"/>
                  <a:pt x="5647516" y="2880265"/>
                  <a:pt x="5649808" y="2871711"/>
                </a:cubicBezTo>
                <a:close/>
                <a:moveTo>
                  <a:pt x="490201" y="2868312"/>
                </a:moveTo>
                <a:lnTo>
                  <a:pt x="495371" y="2879521"/>
                </a:lnTo>
                <a:cubicBezTo>
                  <a:pt x="494225" y="2883797"/>
                  <a:pt x="490944" y="2887501"/>
                  <a:pt x="489798" y="2891779"/>
                </a:cubicBezTo>
                <a:close/>
                <a:moveTo>
                  <a:pt x="771790" y="2867949"/>
                </a:moveTo>
                <a:cubicBezTo>
                  <a:pt x="781689" y="2884490"/>
                  <a:pt x="781754" y="2877563"/>
                  <a:pt x="788688" y="2875081"/>
                </a:cubicBezTo>
                <a:lnTo>
                  <a:pt x="795881" y="2875105"/>
                </a:lnTo>
                <a:lnTo>
                  <a:pt x="799073" y="2877290"/>
                </a:lnTo>
                <a:lnTo>
                  <a:pt x="799012" y="2876850"/>
                </a:lnTo>
                <a:lnTo>
                  <a:pt x="800961" y="2883868"/>
                </a:lnTo>
                <a:cubicBezTo>
                  <a:pt x="802901" y="2885545"/>
                  <a:pt x="805129" y="2886142"/>
                  <a:pt x="805129" y="2886142"/>
                </a:cubicBezTo>
                <a:cubicBezTo>
                  <a:pt x="800500" y="2903419"/>
                  <a:pt x="807099" y="2914447"/>
                  <a:pt x="786956" y="2918310"/>
                </a:cubicBezTo>
                <a:cubicBezTo>
                  <a:pt x="784641" y="2926949"/>
                  <a:pt x="793555" y="2929338"/>
                  <a:pt x="791241" y="2937974"/>
                </a:cubicBezTo>
                <a:cubicBezTo>
                  <a:pt x="773415" y="2933198"/>
                  <a:pt x="786956" y="2918310"/>
                  <a:pt x="778044" y="2915922"/>
                </a:cubicBezTo>
                <a:lnTo>
                  <a:pt x="775729" y="2924561"/>
                </a:lnTo>
                <a:cubicBezTo>
                  <a:pt x="766815" y="2922173"/>
                  <a:pt x="764501" y="2930809"/>
                  <a:pt x="759871" y="2948089"/>
                </a:cubicBezTo>
                <a:cubicBezTo>
                  <a:pt x="748642" y="2954339"/>
                  <a:pt x="769130" y="2913533"/>
                  <a:pt x="748989" y="2917396"/>
                </a:cubicBezTo>
                <a:cubicBezTo>
                  <a:pt x="751304" y="2908757"/>
                  <a:pt x="753619" y="2900117"/>
                  <a:pt x="762531" y="2902505"/>
                </a:cubicBezTo>
                <a:cubicBezTo>
                  <a:pt x="776075" y="2887615"/>
                  <a:pt x="755934" y="2891477"/>
                  <a:pt x="758249" y="2882838"/>
                </a:cubicBezTo>
                <a:cubicBezTo>
                  <a:pt x="773760" y="2896254"/>
                  <a:pt x="769475" y="2876589"/>
                  <a:pt x="771790" y="2867949"/>
                </a:cubicBezTo>
                <a:close/>
                <a:moveTo>
                  <a:pt x="488133" y="2863828"/>
                </a:moveTo>
                <a:lnTo>
                  <a:pt x="490246" y="2865706"/>
                </a:lnTo>
                <a:lnTo>
                  <a:pt x="490201" y="2868312"/>
                </a:lnTo>
                <a:close/>
                <a:moveTo>
                  <a:pt x="7094383" y="2863471"/>
                </a:moveTo>
                <a:cubicBezTo>
                  <a:pt x="7095099" y="2866970"/>
                  <a:pt x="7088707" y="2878484"/>
                  <a:pt x="7096531" y="2873967"/>
                </a:cubicBezTo>
                <a:cubicBezTo>
                  <a:pt x="7094326" y="2882195"/>
                  <a:pt x="7080075" y="2869558"/>
                  <a:pt x="7090508" y="2863535"/>
                </a:cubicBezTo>
                <a:cubicBezTo>
                  <a:pt x="7093116" y="2862029"/>
                  <a:pt x="7094144" y="2862305"/>
                  <a:pt x="7094383" y="2863471"/>
                </a:cubicBezTo>
                <a:close/>
                <a:moveTo>
                  <a:pt x="6055433" y="2859553"/>
                </a:moveTo>
                <a:cubicBezTo>
                  <a:pt x="6063661" y="2861758"/>
                  <a:pt x="6052861" y="2869152"/>
                  <a:pt x="6061089" y="2871356"/>
                </a:cubicBezTo>
                <a:cubicBezTo>
                  <a:pt x="6055945" y="2890555"/>
                  <a:pt x="6052861" y="2869152"/>
                  <a:pt x="6055433" y="2859553"/>
                </a:cubicBezTo>
                <a:close/>
                <a:moveTo>
                  <a:pt x="6047206" y="2857349"/>
                </a:moveTo>
                <a:cubicBezTo>
                  <a:pt x="6047206" y="2857349"/>
                  <a:pt x="6055433" y="2859553"/>
                  <a:pt x="6055433" y="2859553"/>
                </a:cubicBezTo>
                <a:cubicBezTo>
                  <a:pt x="6036406" y="2864742"/>
                  <a:pt x="6050289" y="2878752"/>
                  <a:pt x="6042061" y="2876548"/>
                </a:cubicBezTo>
                <a:cubicBezTo>
                  <a:pt x="6042061" y="2876548"/>
                  <a:pt x="6044634" y="2866947"/>
                  <a:pt x="6047206" y="2857349"/>
                </a:cubicBezTo>
                <a:close/>
                <a:moveTo>
                  <a:pt x="5765184" y="2856735"/>
                </a:moveTo>
                <a:cubicBezTo>
                  <a:pt x="5762979" y="2864962"/>
                  <a:pt x="5762979" y="2864962"/>
                  <a:pt x="5762979" y="2864962"/>
                </a:cubicBezTo>
                <a:cubicBezTo>
                  <a:pt x="5766798" y="2883622"/>
                  <a:pt x="5758570" y="2881417"/>
                  <a:pt x="5758570" y="2881417"/>
                </a:cubicBezTo>
                <a:cubicBezTo>
                  <a:pt x="5760774" y="2873190"/>
                  <a:pt x="5754752" y="2862758"/>
                  <a:pt x="5744319" y="2868781"/>
                </a:cubicBezTo>
                <a:lnTo>
                  <a:pt x="5746524" y="2860553"/>
                </a:lnTo>
                <a:cubicBezTo>
                  <a:pt x="5754752" y="2862758"/>
                  <a:pt x="5756956" y="2854530"/>
                  <a:pt x="5765184" y="2856735"/>
                </a:cubicBezTo>
                <a:close/>
                <a:moveTo>
                  <a:pt x="8262620" y="2855737"/>
                </a:moveTo>
                <a:cubicBezTo>
                  <a:pt x="8288425" y="2862652"/>
                  <a:pt x="8305628" y="2867262"/>
                  <a:pt x="8322830" y="2871871"/>
                </a:cubicBezTo>
                <a:cubicBezTo>
                  <a:pt x="8312025" y="2877794"/>
                  <a:pt x="8286220" y="2870879"/>
                  <a:pt x="8269016" y="2866270"/>
                </a:cubicBezTo>
                <a:cubicBezTo>
                  <a:pt x="8260415" y="2863965"/>
                  <a:pt x="8223803" y="2862973"/>
                  <a:pt x="8234611" y="2857051"/>
                </a:cubicBezTo>
                <a:cubicBezTo>
                  <a:pt x="8245416" y="2851128"/>
                  <a:pt x="8251812" y="2861660"/>
                  <a:pt x="8262620" y="2855737"/>
                </a:cubicBezTo>
                <a:close/>
                <a:moveTo>
                  <a:pt x="6004518" y="2852110"/>
                </a:moveTo>
                <a:cubicBezTo>
                  <a:pt x="6006265" y="2853819"/>
                  <a:pt x="6007703" y="2856685"/>
                  <a:pt x="6011815" y="2857787"/>
                </a:cubicBezTo>
                <a:cubicBezTo>
                  <a:pt x="6009335" y="2867043"/>
                  <a:pt x="6017563" y="2869247"/>
                  <a:pt x="6006855" y="2876299"/>
                </a:cubicBezTo>
                <a:cubicBezTo>
                  <a:pt x="5996147" y="2883351"/>
                  <a:pt x="5987919" y="2881146"/>
                  <a:pt x="5979692" y="2878942"/>
                </a:cubicBezTo>
                <a:cubicBezTo>
                  <a:pt x="5976425" y="2858225"/>
                  <a:pt x="5992880" y="2862634"/>
                  <a:pt x="5990400" y="2871890"/>
                </a:cubicBezTo>
                <a:cubicBezTo>
                  <a:pt x="5998627" y="2874095"/>
                  <a:pt x="6001108" y="2864838"/>
                  <a:pt x="6001108" y="2864838"/>
                </a:cubicBezTo>
                <a:cubicBezTo>
                  <a:pt x="6006068" y="2846326"/>
                  <a:pt x="5990400" y="2871890"/>
                  <a:pt x="5995360" y="2853377"/>
                </a:cubicBezTo>
                <a:cubicBezTo>
                  <a:pt x="6000715" y="2849852"/>
                  <a:pt x="6002773" y="2850403"/>
                  <a:pt x="6004518" y="2852110"/>
                </a:cubicBezTo>
                <a:close/>
                <a:moveTo>
                  <a:pt x="6635119" y="2851743"/>
                </a:moveTo>
                <a:cubicBezTo>
                  <a:pt x="6635119" y="2851743"/>
                  <a:pt x="6632914" y="2859971"/>
                  <a:pt x="6630710" y="2868199"/>
                </a:cubicBezTo>
                <a:cubicBezTo>
                  <a:pt x="6624687" y="2857767"/>
                  <a:pt x="6616459" y="2855562"/>
                  <a:pt x="6608232" y="2853357"/>
                </a:cubicBezTo>
                <a:cubicBezTo>
                  <a:pt x="6618664" y="2847334"/>
                  <a:pt x="6632914" y="2859971"/>
                  <a:pt x="6635119" y="2851743"/>
                </a:cubicBezTo>
                <a:close/>
                <a:moveTo>
                  <a:pt x="5609387" y="2851712"/>
                </a:moveTo>
                <a:cubicBezTo>
                  <a:pt x="5607095" y="2860266"/>
                  <a:pt x="5607095" y="2860266"/>
                  <a:pt x="5607095" y="2860266"/>
                </a:cubicBezTo>
                <a:lnTo>
                  <a:pt x="5603970" y="2854846"/>
                </a:lnTo>
                <a:close/>
                <a:moveTo>
                  <a:pt x="7424394" y="2851591"/>
                </a:moveTo>
                <a:cubicBezTo>
                  <a:pt x="7424394" y="2851591"/>
                  <a:pt x="7431115" y="2851187"/>
                  <a:pt x="7437563" y="2851812"/>
                </a:cubicBezTo>
                <a:cubicBezTo>
                  <a:pt x="7444009" y="2852436"/>
                  <a:pt x="7450178" y="2854090"/>
                  <a:pt x="7449076" y="2858205"/>
                </a:cubicBezTo>
                <a:cubicBezTo>
                  <a:pt x="7440849" y="2856000"/>
                  <a:pt x="7432621" y="2853796"/>
                  <a:pt x="7424394" y="2851591"/>
                </a:cubicBezTo>
                <a:close/>
                <a:moveTo>
                  <a:pt x="6187127" y="2850749"/>
                </a:moveTo>
                <a:cubicBezTo>
                  <a:pt x="6194521" y="2861549"/>
                  <a:pt x="6204119" y="2864121"/>
                  <a:pt x="6192316" y="2869776"/>
                </a:cubicBezTo>
                <a:cubicBezTo>
                  <a:pt x="6192316" y="2869776"/>
                  <a:pt x="6192316" y="2869776"/>
                  <a:pt x="6182718" y="2867204"/>
                </a:cubicBezTo>
                <a:cubicBezTo>
                  <a:pt x="6175322" y="2856404"/>
                  <a:pt x="6184923" y="2858977"/>
                  <a:pt x="6187127" y="2850749"/>
                </a:cubicBezTo>
                <a:close/>
                <a:moveTo>
                  <a:pt x="7103144" y="2849285"/>
                </a:moveTo>
                <a:cubicBezTo>
                  <a:pt x="7119599" y="2853694"/>
                  <a:pt x="7117395" y="2861921"/>
                  <a:pt x="7133850" y="2866330"/>
                </a:cubicBezTo>
                <a:cubicBezTo>
                  <a:pt x="7131645" y="2874558"/>
                  <a:pt x="7123418" y="2872353"/>
                  <a:pt x="7123418" y="2872353"/>
                </a:cubicBezTo>
                <a:cubicBezTo>
                  <a:pt x="7123418" y="2872353"/>
                  <a:pt x="7115190" y="2870149"/>
                  <a:pt x="7117395" y="2861921"/>
                </a:cubicBezTo>
                <a:cubicBezTo>
                  <a:pt x="7111372" y="2851489"/>
                  <a:pt x="7106963" y="2867944"/>
                  <a:pt x="7106963" y="2867944"/>
                </a:cubicBezTo>
                <a:cubicBezTo>
                  <a:pt x="7098735" y="2865740"/>
                  <a:pt x="7100940" y="2857512"/>
                  <a:pt x="7103144" y="2849285"/>
                </a:cubicBezTo>
                <a:close/>
                <a:moveTo>
                  <a:pt x="6115524" y="2849200"/>
                </a:moveTo>
                <a:cubicBezTo>
                  <a:pt x="6125957" y="2843177"/>
                  <a:pt x="6133593" y="2880496"/>
                  <a:pt x="6117138" y="2876087"/>
                </a:cubicBezTo>
                <a:cubicBezTo>
                  <a:pt x="6119343" y="2867860"/>
                  <a:pt x="6121547" y="2859632"/>
                  <a:pt x="6115524" y="2849200"/>
                </a:cubicBezTo>
                <a:close/>
                <a:moveTo>
                  <a:pt x="5895507" y="2847563"/>
                </a:moveTo>
                <a:lnTo>
                  <a:pt x="5896136" y="2855289"/>
                </a:lnTo>
                <a:lnTo>
                  <a:pt x="5893302" y="2855791"/>
                </a:lnTo>
                <a:lnTo>
                  <a:pt x="5894405" y="2849157"/>
                </a:lnTo>
                <a:close/>
                <a:moveTo>
                  <a:pt x="5657931" y="2845636"/>
                </a:moveTo>
                <a:lnTo>
                  <a:pt x="5658192" y="2850357"/>
                </a:lnTo>
                <a:lnTo>
                  <a:pt x="5657857" y="2850025"/>
                </a:lnTo>
                <a:cubicBezTo>
                  <a:pt x="5657380" y="2847692"/>
                  <a:pt x="5657931" y="2845636"/>
                  <a:pt x="5657931" y="2845636"/>
                </a:cubicBezTo>
                <a:close/>
                <a:moveTo>
                  <a:pt x="5691226" y="2845601"/>
                </a:moveTo>
                <a:cubicBezTo>
                  <a:pt x="5698355" y="2842137"/>
                  <a:pt x="5725628" y="2852752"/>
                  <a:pt x="5740503" y="2850124"/>
                </a:cubicBezTo>
                <a:cubicBezTo>
                  <a:pt x="5738298" y="2858352"/>
                  <a:pt x="5703038" y="2848904"/>
                  <a:pt x="5727278" y="2864217"/>
                </a:cubicBezTo>
                <a:cubicBezTo>
                  <a:pt x="5714056" y="2878311"/>
                  <a:pt x="5696427" y="2838314"/>
                  <a:pt x="5692018" y="2854769"/>
                </a:cubicBezTo>
                <a:cubicBezTo>
                  <a:pt x="5688712" y="2849474"/>
                  <a:pt x="5688850" y="2846755"/>
                  <a:pt x="5691226" y="2845601"/>
                </a:cubicBezTo>
                <a:close/>
                <a:moveTo>
                  <a:pt x="6068070" y="2845303"/>
                </a:moveTo>
                <a:cubicBezTo>
                  <a:pt x="6087269" y="2850447"/>
                  <a:pt x="6087269" y="2850447"/>
                  <a:pt x="6096868" y="2853019"/>
                </a:cubicBezTo>
                <a:cubicBezTo>
                  <a:pt x="6094296" y="2862617"/>
                  <a:pt x="6068070" y="2845303"/>
                  <a:pt x="6072526" y="2867075"/>
                </a:cubicBezTo>
                <a:cubicBezTo>
                  <a:pt x="6060354" y="2874100"/>
                  <a:pt x="6065498" y="2854901"/>
                  <a:pt x="6068070" y="2845303"/>
                </a:cubicBezTo>
                <a:close/>
                <a:moveTo>
                  <a:pt x="7151435" y="2844588"/>
                </a:moveTo>
                <a:cubicBezTo>
                  <a:pt x="7158829" y="2855387"/>
                  <a:pt x="7144822" y="2869270"/>
                  <a:pt x="7152215" y="2880070"/>
                </a:cubicBezTo>
                <a:cubicBezTo>
                  <a:pt x="7130814" y="2883153"/>
                  <a:pt x="7130032" y="2847671"/>
                  <a:pt x="7151435" y="2844588"/>
                </a:cubicBezTo>
                <a:close/>
                <a:moveTo>
                  <a:pt x="5943992" y="2842919"/>
                </a:moveTo>
                <a:cubicBezTo>
                  <a:pt x="5959417" y="2855870"/>
                  <a:pt x="5939583" y="2859374"/>
                  <a:pt x="5930768" y="2857011"/>
                </a:cubicBezTo>
                <a:cubicBezTo>
                  <a:pt x="5930768" y="2857011"/>
                  <a:pt x="5930768" y="2857011"/>
                  <a:pt x="5928563" y="2865239"/>
                </a:cubicBezTo>
                <a:lnTo>
                  <a:pt x="5934651" y="2866029"/>
                </a:lnTo>
                <a:lnTo>
                  <a:pt x="5936644" y="2858589"/>
                </a:lnTo>
                <a:cubicBezTo>
                  <a:pt x="5946929" y="2861345"/>
                  <a:pt x="5946929" y="2861345"/>
                  <a:pt x="5957214" y="2864101"/>
                </a:cubicBezTo>
                <a:cubicBezTo>
                  <a:pt x="5955009" y="2872328"/>
                  <a:pt x="5955009" y="2872328"/>
                  <a:pt x="5944725" y="2869572"/>
                </a:cubicBezTo>
                <a:cubicBezTo>
                  <a:pt x="5943623" y="2873685"/>
                  <a:pt x="5945642" y="2876431"/>
                  <a:pt x="5945090" y="2878489"/>
                </a:cubicBezTo>
                <a:lnTo>
                  <a:pt x="5933339" y="2882222"/>
                </a:lnTo>
                <a:lnTo>
                  <a:pt x="5932969" y="2884056"/>
                </a:lnTo>
                <a:lnTo>
                  <a:pt x="5931906" y="2882677"/>
                </a:lnTo>
                <a:lnTo>
                  <a:pt x="5930030" y="2883271"/>
                </a:lnTo>
                <a:lnTo>
                  <a:pt x="5930632" y="2881025"/>
                </a:lnTo>
                <a:lnTo>
                  <a:pt x="5923327" y="2871552"/>
                </a:lnTo>
                <a:cubicBezTo>
                  <a:pt x="5920850" y="2867580"/>
                  <a:pt x="5919747" y="2862877"/>
                  <a:pt x="5921952" y="2854649"/>
                </a:cubicBezTo>
                <a:cubicBezTo>
                  <a:pt x="5912037" y="2856400"/>
                  <a:pt x="5902118" y="2858153"/>
                  <a:pt x="5896331" y="2857705"/>
                </a:cubicBezTo>
                <a:lnTo>
                  <a:pt x="5896136" y="2855289"/>
                </a:lnTo>
                <a:lnTo>
                  <a:pt x="5913136" y="2852287"/>
                </a:lnTo>
                <a:cubicBezTo>
                  <a:pt x="5913136" y="2852287"/>
                  <a:pt x="5913136" y="2852287"/>
                  <a:pt x="5915341" y="2844060"/>
                </a:cubicBezTo>
                <a:cubicBezTo>
                  <a:pt x="5913136" y="2852287"/>
                  <a:pt x="5930768" y="2857011"/>
                  <a:pt x="5943992" y="2842919"/>
                </a:cubicBezTo>
                <a:close/>
                <a:moveTo>
                  <a:pt x="6024728" y="2842507"/>
                </a:moveTo>
                <a:cubicBezTo>
                  <a:pt x="6032955" y="2844712"/>
                  <a:pt x="6030530" y="2853761"/>
                  <a:pt x="6038758" y="2855966"/>
                </a:cubicBezTo>
                <a:cubicBezTo>
                  <a:pt x="6033907" y="2874069"/>
                  <a:pt x="6025679" y="2871864"/>
                  <a:pt x="6020829" y="2889965"/>
                </a:cubicBezTo>
                <a:cubicBezTo>
                  <a:pt x="6023255" y="2880913"/>
                  <a:pt x="6015028" y="2878708"/>
                  <a:pt x="6015028" y="2878708"/>
                </a:cubicBezTo>
                <a:cubicBezTo>
                  <a:pt x="6015028" y="2878708"/>
                  <a:pt x="6017452" y="2869660"/>
                  <a:pt x="6025679" y="2871864"/>
                </a:cubicBezTo>
                <a:cubicBezTo>
                  <a:pt x="6019878" y="2860608"/>
                  <a:pt x="6019878" y="2860608"/>
                  <a:pt x="6024728" y="2842507"/>
                </a:cubicBezTo>
                <a:close/>
                <a:moveTo>
                  <a:pt x="5668363" y="2839613"/>
                </a:moveTo>
                <a:cubicBezTo>
                  <a:pt x="5674386" y="2850045"/>
                  <a:pt x="5682614" y="2852249"/>
                  <a:pt x="5680409" y="2860477"/>
                </a:cubicBezTo>
                <a:cubicBezTo>
                  <a:pt x="5674239" y="2858823"/>
                  <a:pt x="5662200" y="2860558"/>
                  <a:pt x="5658426" y="2854586"/>
                </a:cubicBezTo>
                <a:lnTo>
                  <a:pt x="5658192" y="2850357"/>
                </a:lnTo>
                <a:lnTo>
                  <a:pt x="5663954" y="2856068"/>
                </a:lnTo>
                <a:cubicBezTo>
                  <a:pt x="5666158" y="2847840"/>
                  <a:pt x="5666158" y="2847840"/>
                  <a:pt x="5668363" y="2839613"/>
                </a:cubicBezTo>
                <a:close/>
                <a:moveTo>
                  <a:pt x="6517420" y="2837980"/>
                </a:moveTo>
                <a:cubicBezTo>
                  <a:pt x="6519727" y="2837083"/>
                  <a:pt x="6521596" y="2837308"/>
                  <a:pt x="6523001" y="2838236"/>
                </a:cubicBezTo>
                <a:cubicBezTo>
                  <a:pt x="6525812" y="2840091"/>
                  <a:pt x="6526765" y="2844754"/>
                  <a:pt x="6525662" y="2848869"/>
                </a:cubicBezTo>
                <a:cubicBezTo>
                  <a:pt x="6523458" y="2857097"/>
                  <a:pt x="6517435" y="2846665"/>
                  <a:pt x="6509207" y="2844460"/>
                </a:cubicBezTo>
                <a:cubicBezTo>
                  <a:pt x="6512367" y="2840898"/>
                  <a:pt x="6515113" y="2838878"/>
                  <a:pt x="6517420" y="2837980"/>
                </a:cubicBezTo>
                <a:close/>
                <a:moveTo>
                  <a:pt x="7601085" y="2837208"/>
                </a:moveTo>
                <a:cubicBezTo>
                  <a:pt x="7607929" y="2847860"/>
                  <a:pt x="7630442" y="2836256"/>
                  <a:pt x="7635081" y="2855135"/>
                </a:cubicBezTo>
                <a:cubicBezTo>
                  <a:pt x="7628237" y="2844483"/>
                  <a:pt x="7596676" y="2853663"/>
                  <a:pt x="7587624" y="2851237"/>
                </a:cubicBezTo>
                <a:cubicBezTo>
                  <a:pt x="7589829" y="2843010"/>
                  <a:pt x="7596676" y="2853663"/>
                  <a:pt x="7601085" y="2837208"/>
                </a:cubicBezTo>
                <a:close/>
                <a:moveTo>
                  <a:pt x="5888896" y="2836974"/>
                </a:moveTo>
                <a:cubicBezTo>
                  <a:pt x="5887794" y="2841086"/>
                  <a:pt x="5892202" y="2842267"/>
                  <a:pt x="5895233" y="2844182"/>
                </a:cubicBezTo>
                <a:lnTo>
                  <a:pt x="5894405" y="2849157"/>
                </a:lnTo>
                <a:lnTo>
                  <a:pt x="5880078" y="2869884"/>
                </a:lnTo>
                <a:cubicBezTo>
                  <a:pt x="5862446" y="2865160"/>
                  <a:pt x="5871262" y="2867522"/>
                  <a:pt x="5866853" y="2883977"/>
                </a:cubicBezTo>
                <a:cubicBezTo>
                  <a:pt x="5864649" y="2874568"/>
                  <a:pt x="5858590" y="2870739"/>
                  <a:pt x="5850876" y="2868672"/>
                </a:cubicBezTo>
                <a:lnTo>
                  <a:pt x="5835739" y="2865905"/>
                </a:lnTo>
                <a:lnTo>
                  <a:pt x="5837324" y="2867246"/>
                </a:lnTo>
                <a:cubicBezTo>
                  <a:pt x="5835119" y="2875474"/>
                  <a:pt x="5835119" y="2875474"/>
                  <a:pt x="5832914" y="2883701"/>
                </a:cubicBezTo>
                <a:cubicBezTo>
                  <a:pt x="5835119" y="2875474"/>
                  <a:pt x="5826378" y="2873132"/>
                  <a:pt x="5828583" y="2864904"/>
                </a:cubicBezTo>
                <a:cubicBezTo>
                  <a:pt x="5808895" y="2868447"/>
                  <a:pt x="5806690" y="2876675"/>
                  <a:pt x="5791411" y="2863762"/>
                </a:cubicBezTo>
                <a:cubicBezTo>
                  <a:pt x="5778258" y="2877875"/>
                  <a:pt x="5808895" y="2868447"/>
                  <a:pt x="5804485" y="2884902"/>
                </a:cubicBezTo>
                <a:cubicBezTo>
                  <a:pt x="5791371" y="2881388"/>
                  <a:pt x="5785917" y="2875516"/>
                  <a:pt x="5781557" y="2869940"/>
                </a:cubicBezTo>
                <a:lnTo>
                  <a:pt x="5765189" y="2856736"/>
                </a:lnTo>
                <a:lnTo>
                  <a:pt x="5765186" y="2856738"/>
                </a:lnTo>
                <a:lnTo>
                  <a:pt x="5765186" y="2856736"/>
                </a:lnTo>
                <a:lnTo>
                  <a:pt x="5769595" y="2840283"/>
                </a:lnTo>
                <a:cubicBezTo>
                  <a:pt x="5780027" y="2834260"/>
                  <a:pt x="5775618" y="2850715"/>
                  <a:pt x="5786050" y="2844692"/>
                </a:cubicBezTo>
                <a:lnTo>
                  <a:pt x="5765192" y="2856734"/>
                </a:lnTo>
                <a:lnTo>
                  <a:pt x="5782679" y="2857012"/>
                </a:lnTo>
                <a:cubicBezTo>
                  <a:pt x="5788142" y="2858476"/>
                  <a:pt x="5792513" y="2859647"/>
                  <a:pt x="5793615" y="2855535"/>
                </a:cubicBezTo>
                <a:cubicBezTo>
                  <a:pt x="5793615" y="2855535"/>
                  <a:pt x="5802356" y="2857877"/>
                  <a:pt x="5802356" y="2857877"/>
                </a:cubicBezTo>
                <a:cubicBezTo>
                  <a:pt x="5813304" y="2851992"/>
                  <a:pt x="5804561" y="2849649"/>
                  <a:pt x="5822044" y="2854334"/>
                </a:cubicBezTo>
                <a:lnTo>
                  <a:pt x="5827817" y="2859211"/>
                </a:lnTo>
                <a:lnTo>
                  <a:pt x="5833522" y="2849694"/>
                </a:lnTo>
                <a:cubicBezTo>
                  <a:pt x="5836555" y="2847199"/>
                  <a:pt x="5839308" y="2845731"/>
                  <a:pt x="5840410" y="2841619"/>
                </a:cubicBezTo>
                <a:cubicBezTo>
                  <a:pt x="5849226" y="2843981"/>
                  <a:pt x="5877873" y="2878111"/>
                  <a:pt x="5888896" y="2836974"/>
                </a:cubicBezTo>
                <a:close/>
                <a:moveTo>
                  <a:pt x="811031" y="2832662"/>
                </a:moveTo>
                <a:cubicBezTo>
                  <a:pt x="814993" y="2830476"/>
                  <a:pt x="818288" y="2830178"/>
                  <a:pt x="820098" y="2833025"/>
                </a:cubicBezTo>
                <a:cubicBezTo>
                  <a:pt x="817736" y="2841841"/>
                  <a:pt x="796175" y="2845510"/>
                  <a:pt x="815374" y="2850654"/>
                </a:cubicBezTo>
                <a:cubicBezTo>
                  <a:pt x="813012" y="2859470"/>
                  <a:pt x="805773" y="2848082"/>
                  <a:pt x="810650" y="2868286"/>
                </a:cubicBezTo>
                <a:cubicBezTo>
                  <a:pt x="801049" y="2865713"/>
                  <a:pt x="803411" y="2856897"/>
                  <a:pt x="805773" y="2848082"/>
                </a:cubicBezTo>
                <a:cubicBezTo>
                  <a:pt x="796175" y="2845510"/>
                  <a:pt x="798687" y="2874529"/>
                  <a:pt x="791451" y="2863141"/>
                </a:cubicBezTo>
                <a:cubicBezTo>
                  <a:pt x="791451" y="2863141"/>
                  <a:pt x="791451" y="2863141"/>
                  <a:pt x="798687" y="2874529"/>
                </a:cubicBezTo>
                <a:lnTo>
                  <a:pt x="799012" y="2876850"/>
                </a:lnTo>
                <a:lnTo>
                  <a:pt x="798530" y="2875114"/>
                </a:lnTo>
                <a:lnTo>
                  <a:pt x="795881" y="2875105"/>
                </a:lnTo>
                <a:lnTo>
                  <a:pt x="792689" y="2872922"/>
                </a:lnTo>
                <a:cubicBezTo>
                  <a:pt x="787280" y="2869110"/>
                  <a:pt x="780671" y="2864977"/>
                  <a:pt x="779490" y="2869385"/>
                </a:cubicBezTo>
                <a:cubicBezTo>
                  <a:pt x="781262" y="2862773"/>
                  <a:pt x="799146" y="2839221"/>
                  <a:pt x="811031" y="2832662"/>
                </a:cubicBezTo>
                <a:close/>
                <a:moveTo>
                  <a:pt x="6459842" y="2831233"/>
                </a:moveTo>
                <a:cubicBezTo>
                  <a:pt x="6468070" y="2833437"/>
                  <a:pt x="6457638" y="2839460"/>
                  <a:pt x="6465865" y="2841665"/>
                </a:cubicBezTo>
                <a:cubicBezTo>
                  <a:pt x="6465865" y="2841665"/>
                  <a:pt x="6465865" y="2841665"/>
                  <a:pt x="6474093" y="2843870"/>
                </a:cubicBezTo>
                <a:cubicBezTo>
                  <a:pt x="6471888" y="2852097"/>
                  <a:pt x="6463660" y="2849893"/>
                  <a:pt x="6455433" y="2847688"/>
                </a:cubicBezTo>
                <a:cubicBezTo>
                  <a:pt x="6457638" y="2839460"/>
                  <a:pt x="6457638" y="2839460"/>
                  <a:pt x="6459842" y="2831233"/>
                </a:cubicBezTo>
                <a:close/>
                <a:moveTo>
                  <a:pt x="6146821" y="2831131"/>
                </a:moveTo>
                <a:cubicBezTo>
                  <a:pt x="6155048" y="2833336"/>
                  <a:pt x="6150639" y="2849791"/>
                  <a:pt x="6148434" y="2858018"/>
                </a:cubicBezTo>
                <a:cubicBezTo>
                  <a:pt x="6140207" y="2855814"/>
                  <a:pt x="6144616" y="2839359"/>
                  <a:pt x="6146821" y="2831131"/>
                </a:cubicBezTo>
                <a:close/>
                <a:moveTo>
                  <a:pt x="6487056" y="2827361"/>
                </a:moveTo>
                <a:cubicBezTo>
                  <a:pt x="6488959" y="2827458"/>
                  <a:pt x="6491392" y="2828661"/>
                  <a:pt x="6494955" y="2831820"/>
                </a:cubicBezTo>
                <a:cubicBezTo>
                  <a:pt x="6492750" y="2840048"/>
                  <a:pt x="6500978" y="2842252"/>
                  <a:pt x="6498773" y="2850480"/>
                </a:cubicBezTo>
                <a:cubicBezTo>
                  <a:pt x="6488341" y="2856503"/>
                  <a:pt x="6490546" y="2848275"/>
                  <a:pt x="6474091" y="2843866"/>
                </a:cubicBezTo>
                <a:cubicBezTo>
                  <a:pt x="6484523" y="2837843"/>
                  <a:pt x="6465863" y="2841662"/>
                  <a:pt x="6468068" y="2833434"/>
                </a:cubicBezTo>
                <a:cubicBezTo>
                  <a:pt x="6480409" y="2836741"/>
                  <a:pt x="6481346" y="2827072"/>
                  <a:pt x="6487056" y="2827361"/>
                </a:cubicBezTo>
                <a:close/>
                <a:moveTo>
                  <a:pt x="7082871" y="2826216"/>
                </a:moveTo>
                <a:cubicBezTo>
                  <a:pt x="7091098" y="2828420"/>
                  <a:pt x="7088894" y="2836648"/>
                  <a:pt x="7105349" y="2841057"/>
                </a:cubicBezTo>
                <a:cubicBezTo>
                  <a:pt x="7103144" y="2849285"/>
                  <a:pt x="7086689" y="2844875"/>
                  <a:pt x="7078462" y="2842671"/>
                </a:cubicBezTo>
                <a:cubicBezTo>
                  <a:pt x="7088894" y="2836648"/>
                  <a:pt x="7064211" y="2830034"/>
                  <a:pt x="7082871" y="2826216"/>
                </a:cubicBezTo>
                <a:close/>
                <a:moveTo>
                  <a:pt x="5645885" y="2824771"/>
                </a:moveTo>
                <a:cubicBezTo>
                  <a:pt x="5654113" y="2826976"/>
                  <a:pt x="5651908" y="2835203"/>
                  <a:pt x="5649703" y="2843431"/>
                </a:cubicBezTo>
                <a:cubicBezTo>
                  <a:pt x="5633248" y="2839022"/>
                  <a:pt x="5651908" y="2835203"/>
                  <a:pt x="5645885" y="2824771"/>
                </a:cubicBezTo>
                <a:close/>
                <a:moveTo>
                  <a:pt x="6424191" y="2821677"/>
                </a:moveTo>
                <a:cubicBezTo>
                  <a:pt x="6430678" y="2833114"/>
                  <a:pt x="6428253" y="2842166"/>
                  <a:pt x="6419341" y="2839778"/>
                </a:cubicBezTo>
                <a:cubicBezTo>
                  <a:pt x="6428253" y="2842166"/>
                  <a:pt x="6428253" y="2842166"/>
                  <a:pt x="6430678" y="2833114"/>
                </a:cubicBezTo>
                <a:cubicBezTo>
                  <a:pt x="6448507" y="2837891"/>
                  <a:pt x="6448507" y="2837891"/>
                  <a:pt x="6454993" y="2849331"/>
                </a:cubicBezTo>
                <a:cubicBezTo>
                  <a:pt x="6443656" y="2855995"/>
                  <a:pt x="6421767" y="2830726"/>
                  <a:pt x="6423403" y="2860267"/>
                </a:cubicBezTo>
                <a:cubicBezTo>
                  <a:pt x="6408002" y="2846441"/>
                  <a:pt x="6394237" y="2862153"/>
                  <a:pt x="6399087" y="2844052"/>
                </a:cubicBezTo>
                <a:cubicBezTo>
                  <a:pt x="6399087" y="2844052"/>
                  <a:pt x="6416916" y="2848830"/>
                  <a:pt x="6416916" y="2848830"/>
                </a:cubicBezTo>
                <a:cubicBezTo>
                  <a:pt x="6419341" y="2839778"/>
                  <a:pt x="6410427" y="2837389"/>
                  <a:pt x="6412852" y="2828338"/>
                </a:cubicBezTo>
                <a:cubicBezTo>
                  <a:pt x="6421767" y="2830726"/>
                  <a:pt x="6421767" y="2830726"/>
                  <a:pt x="6424191" y="2821677"/>
                </a:cubicBezTo>
                <a:close/>
                <a:moveTo>
                  <a:pt x="6175912" y="2821289"/>
                </a:moveTo>
                <a:cubicBezTo>
                  <a:pt x="6184140" y="2823494"/>
                  <a:pt x="6192367" y="2825699"/>
                  <a:pt x="6187958" y="2842154"/>
                </a:cubicBezTo>
                <a:cubicBezTo>
                  <a:pt x="6179731" y="2839949"/>
                  <a:pt x="6187958" y="2842154"/>
                  <a:pt x="6179731" y="2839949"/>
                </a:cubicBezTo>
                <a:cubicBezTo>
                  <a:pt x="6179731" y="2839949"/>
                  <a:pt x="6179731" y="2839949"/>
                  <a:pt x="6181935" y="2831722"/>
                </a:cubicBezTo>
                <a:cubicBezTo>
                  <a:pt x="6173708" y="2829517"/>
                  <a:pt x="6173708" y="2829517"/>
                  <a:pt x="6171503" y="2837745"/>
                </a:cubicBezTo>
                <a:cubicBezTo>
                  <a:pt x="6165480" y="2827312"/>
                  <a:pt x="6175912" y="2821289"/>
                  <a:pt x="6175912" y="2821289"/>
                </a:cubicBezTo>
                <a:close/>
                <a:moveTo>
                  <a:pt x="6600595" y="2816038"/>
                </a:moveTo>
                <a:cubicBezTo>
                  <a:pt x="6606618" y="2826470"/>
                  <a:pt x="6606618" y="2826470"/>
                  <a:pt x="6614846" y="2828675"/>
                </a:cubicBezTo>
                <a:cubicBezTo>
                  <a:pt x="6602209" y="2842925"/>
                  <a:pt x="6596186" y="2832493"/>
                  <a:pt x="6600004" y="2851153"/>
                </a:cubicBezTo>
                <a:cubicBezTo>
                  <a:pt x="6585754" y="2838516"/>
                  <a:pt x="6589572" y="2857176"/>
                  <a:pt x="6587368" y="2865403"/>
                </a:cubicBezTo>
                <a:cubicBezTo>
                  <a:pt x="6579140" y="2863199"/>
                  <a:pt x="6581345" y="2854971"/>
                  <a:pt x="6573117" y="2852767"/>
                </a:cubicBezTo>
                <a:cubicBezTo>
                  <a:pt x="6573117" y="2852767"/>
                  <a:pt x="6575322" y="2844539"/>
                  <a:pt x="6585754" y="2838516"/>
                </a:cubicBezTo>
                <a:cubicBezTo>
                  <a:pt x="6585754" y="2838516"/>
                  <a:pt x="6593981" y="2840721"/>
                  <a:pt x="6593981" y="2840721"/>
                </a:cubicBezTo>
                <a:cubicBezTo>
                  <a:pt x="6604413" y="2834698"/>
                  <a:pt x="6596186" y="2832493"/>
                  <a:pt x="6596186" y="2832493"/>
                </a:cubicBezTo>
                <a:cubicBezTo>
                  <a:pt x="6590163" y="2822061"/>
                  <a:pt x="6598390" y="2824266"/>
                  <a:pt x="6600595" y="2816038"/>
                </a:cubicBezTo>
                <a:close/>
                <a:moveTo>
                  <a:pt x="6296906" y="2814029"/>
                </a:moveTo>
                <a:cubicBezTo>
                  <a:pt x="6305133" y="2816233"/>
                  <a:pt x="6305133" y="2816233"/>
                  <a:pt x="6313361" y="2818438"/>
                </a:cubicBezTo>
                <a:cubicBezTo>
                  <a:pt x="6310605" y="2828723"/>
                  <a:pt x="6310605" y="2828723"/>
                  <a:pt x="6307849" y="2839008"/>
                </a:cubicBezTo>
                <a:cubicBezTo>
                  <a:pt x="6310605" y="2828723"/>
                  <a:pt x="6283166" y="2832394"/>
                  <a:pt x="6296906" y="2814029"/>
                </a:cubicBezTo>
                <a:close/>
                <a:moveTo>
                  <a:pt x="807181" y="2811297"/>
                </a:moveTo>
                <a:cubicBezTo>
                  <a:pt x="816437" y="2813777"/>
                  <a:pt x="802221" y="2829809"/>
                  <a:pt x="799740" y="2839066"/>
                </a:cubicBezTo>
                <a:cubicBezTo>
                  <a:pt x="799740" y="2839066"/>
                  <a:pt x="790484" y="2836586"/>
                  <a:pt x="788004" y="2845842"/>
                </a:cubicBezTo>
                <a:cubicBezTo>
                  <a:pt x="788004" y="2845842"/>
                  <a:pt x="790484" y="2836586"/>
                  <a:pt x="790484" y="2836586"/>
                </a:cubicBezTo>
                <a:cubicBezTo>
                  <a:pt x="802221" y="2829809"/>
                  <a:pt x="804701" y="2820553"/>
                  <a:pt x="807181" y="2811297"/>
                </a:cubicBezTo>
                <a:close/>
                <a:moveTo>
                  <a:pt x="6381680" y="2810287"/>
                </a:moveTo>
                <a:cubicBezTo>
                  <a:pt x="6385183" y="2830123"/>
                  <a:pt x="6372232" y="2845547"/>
                  <a:pt x="6391050" y="2841140"/>
                </a:cubicBezTo>
                <a:cubicBezTo>
                  <a:pt x="6378097" y="2856567"/>
                  <a:pt x="6383963" y="2867588"/>
                  <a:pt x="6392190" y="2869792"/>
                </a:cubicBezTo>
                <a:cubicBezTo>
                  <a:pt x="6381601" y="2876403"/>
                  <a:pt x="6378097" y="2856567"/>
                  <a:pt x="6369870" y="2854363"/>
                </a:cubicBezTo>
                <a:cubicBezTo>
                  <a:pt x="6372232" y="2845547"/>
                  <a:pt x="6374594" y="2836731"/>
                  <a:pt x="6366367" y="2834527"/>
                </a:cubicBezTo>
                <a:cubicBezTo>
                  <a:pt x="6355777" y="2841138"/>
                  <a:pt x="6374594" y="2836731"/>
                  <a:pt x="6369870" y="2854363"/>
                </a:cubicBezTo>
                <a:cubicBezTo>
                  <a:pt x="6361642" y="2852158"/>
                  <a:pt x="6361642" y="2852158"/>
                  <a:pt x="6359280" y="2860974"/>
                </a:cubicBezTo>
                <a:cubicBezTo>
                  <a:pt x="6364005" y="2843342"/>
                  <a:pt x="6345187" y="2847749"/>
                  <a:pt x="6351052" y="2858769"/>
                </a:cubicBezTo>
                <a:cubicBezTo>
                  <a:pt x="6334597" y="2854360"/>
                  <a:pt x="6347550" y="2838933"/>
                  <a:pt x="6341684" y="2827913"/>
                </a:cubicBezTo>
                <a:cubicBezTo>
                  <a:pt x="6352273" y="2821304"/>
                  <a:pt x="6376956" y="2827918"/>
                  <a:pt x="6381680" y="2810287"/>
                </a:cubicBezTo>
                <a:close/>
                <a:moveTo>
                  <a:pt x="797925" y="2808817"/>
                </a:moveTo>
                <a:cubicBezTo>
                  <a:pt x="807181" y="2811297"/>
                  <a:pt x="792964" y="2827329"/>
                  <a:pt x="790484" y="2836586"/>
                </a:cubicBezTo>
                <a:cubicBezTo>
                  <a:pt x="792964" y="2827329"/>
                  <a:pt x="774452" y="2822369"/>
                  <a:pt x="774452" y="2822369"/>
                </a:cubicBezTo>
                <a:cubicBezTo>
                  <a:pt x="776932" y="2813113"/>
                  <a:pt x="786188" y="2815593"/>
                  <a:pt x="795444" y="2818073"/>
                </a:cubicBezTo>
                <a:cubicBezTo>
                  <a:pt x="795444" y="2818073"/>
                  <a:pt x="795444" y="2818073"/>
                  <a:pt x="797925" y="2808817"/>
                </a:cubicBezTo>
                <a:close/>
                <a:moveTo>
                  <a:pt x="6227776" y="2808732"/>
                </a:moveTo>
                <a:cubicBezTo>
                  <a:pt x="6236004" y="2810936"/>
                  <a:pt x="6236004" y="2810936"/>
                  <a:pt x="6236004" y="2810936"/>
                </a:cubicBezTo>
                <a:cubicBezTo>
                  <a:pt x="6233799" y="2819164"/>
                  <a:pt x="6233799" y="2819164"/>
                  <a:pt x="6233799" y="2819164"/>
                </a:cubicBezTo>
                <a:cubicBezTo>
                  <a:pt x="6225572" y="2816959"/>
                  <a:pt x="6225572" y="2816959"/>
                  <a:pt x="6223367" y="2825187"/>
                </a:cubicBezTo>
                <a:cubicBezTo>
                  <a:pt x="6215140" y="2822982"/>
                  <a:pt x="6227776" y="2808732"/>
                  <a:pt x="6227776" y="2808732"/>
                </a:cubicBezTo>
                <a:close/>
                <a:moveTo>
                  <a:pt x="5813528" y="2807964"/>
                </a:moveTo>
                <a:cubicBezTo>
                  <a:pt x="5811323" y="2816191"/>
                  <a:pt x="5819550" y="2818396"/>
                  <a:pt x="5827778" y="2820600"/>
                </a:cubicBezTo>
                <a:cubicBezTo>
                  <a:pt x="5817346" y="2826623"/>
                  <a:pt x="5825574" y="2828828"/>
                  <a:pt x="5815141" y="2834851"/>
                </a:cubicBezTo>
                <a:cubicBezTo>
                  <a:pt x="5806914" y="2832646"/>
                  <a:pt x="5817346" y="2826623"/>
                  <a:pt x="5817346" y="2826623"/>
                </a:cubicBezTo>
                <a:cubicBezTo>
                  <a:pt x="5811323" y="2816191"/>
                  <a:pt x="5811323" y="2816191"/>
                  <a:pt x="5813528" y="2807964"/>
                </a:cubicBezTo>
                <a:close/>
                <a:moveTo>
                  <a:pt x="6130861" y="2806876"/>
                </a:moveTo>
                <a:cubicBezTo>
                  <a:pt x="6132479" y="2808549"/>
                  <a:pt x="6128457" y="2817392"/>
                  <a:pt x="6140798" y="2820699"/>
                </a:cubicBezTo>
                <a:cubicBezTo>
                  <a:pt x="6132570" y="2818494"/>
                  <a:pt x="6136388" y="2837154"/>
                  <a:pt x="6122138" y="2824517"/>
                </a:cubicBezTo>
                <a:cubicBezTo>
                  <a:pt x="6132570" y="2818494"/>
                  <a:pt x="6124343" y="2816290"/>
                  <a:pt x="6126547" y="2808062"/>
                </a:cubicBezTo>
                <a:cubicBezTo>
                  <a:pt x="6129155" y="2806556"/>
                  <a:pt x="6130321" y="2806318"/>
                  <a:pt x="6130861" y="2806876"/>
                </a:cubicBezTo>
                <a:close/>
                <a:moveTo>
                  <a:pt x="6876592" y="2806217"/>
                </a:moveTo>
                <a:cubicBezTo>
                  <a:pt x="6874387" y="2814444"/>
                  <a:pt x="6872183" y="2822672"/>
                  <a:pt x="6872183" y="2822672"/>
                </a:cubicBezTo>
                <a:cubicBezTo>
                  <a:pt x="6855728" y="2818262"/>
                  <a:pt x="6860137" y="2801807"/>
                  <a:pt x="6876592" y="2806217"/>
                </a:cubicBezTo>
                <a:close/>
                <a:moveTo>
                  <a:pt x="8270235" y="2804866"/>
                </a:moveTo>
                <a:cubicBezTo>
                  <a:pt x="8276258" y="2815298"/>
                  <a:pt x="8294918" y="2811479"/>
                  <a:pt x="8300941" y="2821911"/>
                </a:cubicBezTo>
                <a:cubicBezTo>
                  <a:pt x="8292713" y="2819707"/>
                  <a:pt x="8265826" y="2821321"/>
                  <a:pt x="8270235" y="2804866"/>
                </a:cubicBezTo>
                <a:close/>
                <a:moveTo>
                  <a:pt x="5642618" y="2804054"/>
                </a:moveTo>
                <a:cubicBezTo>
                  <a:pt x="5649342" y="2803651"/>
                  <a:pt x="5655512" y="2805304"/>
                  <a:pt x="5658522" y="2810521"/>
                </a:cubicBezTo>
                <a:cubicBezTo>
                  <a:pt x="5645885" y="2824771"/>
                  <a:pt x="5639862" y="2814339"/>
                  <a:pt x="5623407" y="2809930"/>
                </a:cubicBezTo>
                <a:cubicBezTo>
                  <a:pt x="5628625" y="2806918"/>
                  <a:pt x="5635897" y="2804459"/>
                  <a:pt x="5642618" y="2804054"/>
                </a:cubicBezTo>
                <a:close/>
                <a:moveTo>
                  <a:pt x="5567725" y="2803828"/>
                </a:moveTo>
                <a:cubicBezTo>
                  <a:pt x="5563316" y="2820284"/>
                  <a:pt x="5557293" y="2809852"/>
                  <a:pt x="5563316" y="2820284"/>
                </a:cubicBezTo>
                <a:cubicBezTo>
                  <a:pt x="5573748" y="2814261"/>
                  <a:pt x="5579771" y="2824693"/>
                  <a:pt x="5596226" y="2829102"/>
                </a:cubicBezTo>
                <a:cubicBezTo>
                  <a:pt x="5596226" y="2829102"/>
                  <a:pt x="5587999" y="2826897"/>
                  <a:pt x="5585794" y="2835125"/>
                </a:cubicBezTo>
                <a:cubicBezTo>
                  <a:pt x="5579771" y="2824693"/>
                  <a:pt x="5561111" y="2828511"/>
                  <a:pt x="5558907" y="2836739"/>
                </a:cubicBezTo>
                <a:cubicBezTo>
                  <a:pt x="5542452" y="2832329"/>
                  <a:pt x="5561111" y="2828511"/>
                  <a:pt x="5546861" y="2815874"/>
                </a:cubicBezTo>
                <a:cubicBezTo>
                  <a:pt x="5549065" y="2807647"/>
                  <a:pt x="5557293" y="2809852"/>
                  <a:pt x="5567725" y="2803828"/>
                </a:cubicBezTo>
                <a:close/>
                <a:moveTo>
                  <a:pt x="6356997" y="2803676"/>
                </a:moveTo>
                <a:cubicBezTo>
                  <a:pt x="6365224" y="2805880"/>
                  <a:pt x="6360815" y="2822335"/>
                  <a:pt x="6365224" y="2805880"/>
                </a:cubicBezTo>
                <a:cubicBezTo>
                  <a:pt x="6373452" y="2808085"/>
                  <a:pt x="6373452" y="2808085"/>
                  <a:pt x="6373452" y="2808085"/>
                </a:cubicBezTo>
                <a:cubicBezTo>
                  <a:pt x="6371247" y="2816312"/>
                  <a:pt x="6371247" y="2816312"/>
                  <a:pt x="6371247" y="2816312"/>
                </a:cubicBezTo>
                <a:cubicBezTo>
                  <a:pt x="6363020" y="2814108"/>
                  <a:pt x="6354792" y="2811903"/>
                  <a:pt x="6352588" y="2820131"/>
                </a:cubicBezTo>
                <a:cubicBezTo>
                  <a:pt x="6344360" y="2817926"/>
                  <a:pt x="6346565" y="2809699"/>
                  <a:pt x="6346565" y="2809699"/>
                </a:cubicBezTo>
                <a:cubicBezTo>
                  <a:pt x="6348769" y="2801471"/>
                  <a:pt x="6354792" y="2811903"/>
                  <a:pt x="6356997" y="2803676"/>
                </a:cubicBezTo>
                <a:close/>
                <a:moveTo>
                  <a:pt x="5429999" y="2803645"/>
                </a:moveTo>
                <a:lnTo>
                  <a:pt x="5448751" y="2836174"/>
                </a:lnTo>
                <a:lnTo>
                  <a:pt x="5435937" y="2832741"/>
                </a:lnTo>
                <a:cubicBezTo>
                  <a:pt x="5431093" y="2833734"/>
                  <a:pt x="5426247" y="2834727"/>
                  <a:pt x="5423123" y="2829307"/>
                </a:cubicBezTo>
                <a:cubicBezTo>
                  <a:pt x="5423123" y="2829307"/>
                  <a:pt x="5423123" y="2829307"/>
                  <a:pt x="5425414" y="2820753"/>
                </a:cubicBezTo>
                <a:cubicBezTo>
                  <a:pt x="5433958" y="2823042"/>
                  <a:pt x="5425414" y="2820753"/>
                  <a:pt x="5429999" y="2803645"/>
                </a:cubicBezTo>
                <a:close/>
                <a:moveTo>
                  <a:pt x="5608413" y="2803199"/>
                </a:moveTo>
                <a:lnTo>
                  <a:pt x="5612306" y="2806656"/>
                </a:lnTo>
                <a:cubicBezTo>
                  <a:pt x="5603765" y="2804367"/>
                  <a:pt x="5595221" y="2802078"/>
                  <a:pt x="5603765" y="2804367"/>
                </a:cubicBezTo>
                <a:close/>
                <a:moveTo>
                  <a:pt x="6255768" y="2803006"/>
                </a:moveTo>
                <a:cubicBezTo>
                  <a:pt x="6272223" y="2807415"/>
                  <a:pt x="6277970" y="2818876"/>
                  <a:pt x="6288678" y="2811824"/>
                </a:cubicBezTo>
                <a:cubicBezTo>
                  <a:pt x="6294425" y="2823285"/>
                  <a:pt x="6273010" y="2837389"/>
                  <a:pt x="6278757" y="2848849"/>
                </a:cubicBezTo>
                <a:cubicBezTo>
                  <a:pt x="6264782" y="2835184"/>
                  <a:pt x="6267262" y="2825928"/>
                  <a:pt x="6250807" y="2821519"/>
                </a:cubicBezTo>
                <a:cubicBezTo>
                  <a:pt x="6253288" y="2812262"/>
                  <a:pt x="6273010" y="2837389"/>
                  <a:pt x="6277970" y="2818876"/>
                </a:cubicBezTo>
                <a:cubicBezTo>
                  <a:pt x="6277970" y="2818876"/>
                  <a:pt x="6250807" y="2821519"/>
                  <a:pt x="6255768" y="2803006"/>
                </a:cubicBezTo>
                <a:close/>
                <a:moveTo>
                  <a:pt x="6303380" y="2801734"/>
                </a:moveTo>
                <a:cubicBezTo>
                  <a:pt x="6309122" y="2802364"/>
                  <a:pt x="6317818" y="2817426"/>
                  <a:pt x="6328245" y="2805667"/>
                </a:cubicBezTo>
                <a:cubicBezTo>
                  <a:pt x="6328245" y="2805667"/>
                  <a:pt x="6325819" y="2814719"/>
                  <a:pt x="6323394" y="2823771"/>
                </a:cubicBezTo>
                <a:cubicBezTo>
                  <a:pt x="6332446" y="2826196"/>
                  <a:pt x="6337296" y="2808093"/>
                  <a:pt x="6343920" y="2819569"/>
                </a:cubicBezTo>
                <a:cubicBezTo>
                  <a:pt x="6341494" y="2828621"/>
                  <a:pt x="6330021" y="2835245"/>
                  <a:pt x="6327596" y="2844296"/>
                </a:cubicBezTo>
                <a:cubicBezTo>
                  <a:pt x="6320969" y="2832820"/>
                  <a:pt x="6320969" y="2832820"/>
                  <a:pt x="6311918" y="2830394"/>
                </a:cubicBezTo>
                <a:cubicBezTo>
                  <a:pt x="6325819" y="2814719"/>
                  <a:pt x="6316768" y="2812294"/>
                  <a:pt x="6298667" y="2807443"/>
                </a:cubicBezTo>
                <a:cubicBezTo>
                  <a:pt x="6299880" y="2802918"/>
                  <a:pt x="6301466" y="2801525"/>
                  <a:pt x="6303380" y="2801734"/>
                </a:cubicBezTo>
                <a:close/>
                <a:moveTo>
                  <a:pt x="6667594" y="2797773"/>
                </a:moveTo>
                <a:cubicBezTo>
                  <a:pt x="6676668" y="2796678"/>
                  <a:pt x="6684853" y="2795849"/>
                  <a:pt x="6687810" y="2798657"/>
                </a:cubicBezTo>
                <a:cubicBezTo>
                  <a:pt x="6689781" y="2800527"/>
                  <a:pt x="6689430" y="2804016"/>
                  <a:pt x="6685467" y="2810119"/>
                </a:cubicBezTo>
                <a:cubicBezTo>
                  <a:pt x="6676780" y="2807792"/>
                  <a:pt x="6676780" y="2807792"/>
                  <a:pt x="6679169" y="2798878"/>
                </a:cubicBezTo>
                <a:cubicBezTo>
                  <a:pt x="6670485" y="2796551"/>
                  <a:pt x="6668097" y="2805465"/>
                  <a:pt x="6659411" y="2803138"/>
                </a:cubicBezTo>
                <a:cubicBezTo>
                  <a:pt x="6657022" y="2812052"/>
                  <a:pt x="6676780" y="2807792"/>
                  <a:pt x="6676780" y="2807792"/>
                </a:cubicBezTo>
                <a:cubicBezTo>
                  <a:pt x="6674392" y="2816706"/>
                  <a:pt x="6663320" y="2823291"/>
                  <a:pt x="6654634" y="2820964"/>
                </a:cubicBezTo>
                <a:cubicBezTo>
                  <a:pt x="6657022" y="2812052"/>
                  <a:pt x="6648338" y="2809725"/>
                  <a:pt x="6650727" y="2800811"/>
                </a:cubicBezTo>
                <a:cubicBezTo>
                  <a:pt x="6630969" y="2805071"/>
                  <a:pt x="6654634" y="2820964"/>
                  <a:pt x="6637267" y="2816310"/>
                </a:cubicBezTo>
                <a:cubicBezTo>
                  <a:pt x="6637267" y="2816310"/>
                  <a:pt x="6637267" y="2816310"/>
                  <a:pt x="6628581" y="2813983"/>
                </a:cubicBezTo>
                <a:cubicBezTo>
                  <a:pt x="6630969" y="2805071"/>
                  <a:pt x="6639655" y="2807399"/>
                  <a:pt x="6642044" y="2798484"/>
                </a:cubicBezTo>
                <a:cubicBezTo>
                  <a:pt x="6648557" y="2800230"/>
                  <a:pt x="6658520" y="2798868"/>
                  <a:pt x="6667594" y="2797773"/>
                </a:cubicBezTo>
                <a:close/>
                <a:moveTo>
                  <a:pt x="6136654" y="2795889"/>
                </a:moveTo>
                <a:lnTo>
                  <a:pt x="6137392" y="2799628"/>
                </a:lnTo>
                <a:lnTo>
                  <a:pt x="6133373" y="2799154"/>
                </a:lnTo>
                <a:close/>
                <a:moveTo>
                  <a:pt x="5662931" y="2794066"/>
                </a:moveTo>
                <a:cubicBezTo>
                  <a:pt x="5671159" y="2796271"/>
                  <a:pt x="5677181" y="2806703"/>
                  <a:pt x="5679386" y="2798475"/>
                </a:cubicBezTo>
                <a:cubicBezTo>
                  <a:pt x="5677181" y="2806703"/>
                  <a:pt x="5677181" y="2806703"/>
                  <a:pt x="5685409" y="2808907"/>
                </a:cubicBezTo>
                <a:cubicBezTo>
                  <a:pt x="5683204" y="2817135"/>
                  <a:pt x="5674977" y="2814930"/>
                  <a:pt x="5683204" y="2817135"/>
                </a:cubicBezTo>
                <a:cubicBezTo>
                  <a:pt x="5670568" y="2831385"/>
                  <a:pt x="5677181" y="2806703"/>
                  <a:pt x="5658522" y="2810521"/>
                </a:cubicBezTo>
                <a:cubicBezTo>
                  <a:pt x="5660726" y="2802293"/>
                  <a:pt x="5660726" y="2802293"/>
                  <a:pt x="5662931" y="2794066"/>
                </a:cubicBezTo>
                <a:close/>
                <a:moveTo>
                  <a:pt x="7175364" y="2793679"/>
                </a:moveTo>
                <a:cubicBezTo>
                  <a:pt x="7172883" y="2802936"/>
                  <a:pt x="7163285" y="2800364"/>
                  <a:pt x="7151206" y="2807048"/>
                </a:cubicBezTo>
                <a:cubicBezTo>
                  <a:pt x="7148726" y="2816304"/>
                  <a:pt x="7160805" y="2809620"/>
                  <a:pt x="7155844" y="2828133"/>
                </a:cubicBezTo>
                <a:cubicBezTo>
                  <a:pt x="7148726" y="2816304"/>
                  <a:pt x="7151206" y="2807048"/>
                  <a:pt x="7144086" y="2795219"/>
                </a:cubicBezTo>
                <a:cubicBezTo>
                  <a:pt x="7160805" y="2809620"/>
                  <a:pt x="7165765" y="2791108"/>
                  <a:pt x="7175364" y="2793679"/>
                </a:cubicBezTo>
                <a:close/>
                <a:moveTo>
                  <a:pt x="6532867" y="2789072"/>
                </a:moveTo>
                <a:cubicBezTo>
                  <a:pt x="6532867" y="2789072"/>
                  <a:pt x="6532867" y="2789072"/>
                  <a:pt x="6541094" y="2791277"/>
                </a:cubicBezTo>
                <a:cubicBezTo>
                  <a:pt x="6536685" y="2807732"/>
                  <a:pt x="6526253" y="2813755"/>
                  <a:pt x="6512002" y="2801118"/>
                </a:cubicBezTo>
                <a:cubicBezTo>
                  <a:pt x="6522435" y="2795095"/>
                  <a:pt x="6530662" y="2797300"/>
                  <a:pt x="6532867" y="2789072"/>
                </a:cubicBezTo>
                <a:close/>
                <a:moveTo>
                  <a:pt x="5956412" y="2788929"/>
                </a:moveTo>
                <a:cubicBezTo>
                  <a:pt x="5962143" y="2786054"/>
                  <a:pt x="5969085" y="2787915"/>
                  <a:pt x="5974044" y="2792551"/>
                </a:cubicBezTo>
                <a:cubicBezTo>
                  <a:pt x="5979001" y="2797187"/>
                  <a:pt x="5981976" y="2804598"/>
                  <a:pt x="5979772" y="2812825"/>
                </a:cubicBezTo>
                <a:cubicBezTo>
                  <a:pt x="5972720" y="2802117"/>
                  <a:pt x="5972720" y="2802117"/>
                  <a:pt x="5963464" y="2799637"/>
                </a:cubicBezTo>
                <a:cubicBezTo>
                  <a:pt x="5961259" y="2807865"/>
                  <a:pt x="5959055" y="2816092"/>
                  <a:pt x="5977567" y="2821053"/>
                </a:cubicBezTo>
                <a:cubicBezTo>
                  <a:pt x="5968311" y="2818572"/>
                  <a:pt x="5963901" y="2835027"/>
                  <a:pt x="5954646" y="2832547"/>
                </a:cubicBezTo>
                <a:cubicBezTo>
                  <a:pt x="5949798" y="2813612"/>
                  <a:pt x="5961259" y="2807865"/>
                  <a:pt x="5952003" y="2805384"/>
                </a:cubicBezTo>
                <a:cubicBezTo>
                  <a:pt x="5947155" y="2786449"/>
                  <a:pt x="5961259" y="2807865"/>
                  <a:pt x="5956412" y="2788929"/>
                </a:cubicBezTo>
                <a:close/>
                <a:moveTo>
                  <a:pt x="6202288" y="2788673"/>
                </a:moveTo>
                <a:cubicBezTo>
                  <a:pt x="6199532" y="2798959"/>
                  <a:pt x="6222858" y="2794185"/>
                  <a:pt x="6217347" y="2814755"/>
                </a:cubicBezTo>
                <a:cubicBezTo>
                  <a:pt x="6207062" y="2811999"/>
                  <a:pt x="6207062" y="2811999"/>
                  <a:pt x="6207062" y="2811999"/>
                </a:cubicBezTo>
                <a:cubicBezTo>
                  <a:pt x="6209817" y="2801714"/>
                  <a:pt x="6199532" y="2798959"/>
                  <a:pt x="6202288" y="2788673"/>
                </a:cubicBezTo>
                <a:close/>
                <a:moveTo>
                  <a:pt x="7084563" y="2786989"/>
                </a:moveTo>
                <a:cubicBezTo>
                  <a:pt x="7092791" y="2789193"/>
                  <a:pt x="7092791" y="2789193"/>
                  <a:pt x="7101018" y="2791398"/>
                </a:cubicBezTo>
                <a:cubicBezTo>
                  <a:pt x="7090219" y="2798792"/>
                  <a:pt x="7101530" y="2822400"/>
                  <a:pt x="7093302" y="2820196"/>
                </a:cubicBezTo>
                <a:cubicBezTo>
                  <a:pt x="7085075" y="2817991"/>
                  <a:pt x="7079419" y="2806188"/>
                  <a:pt x="7084563" y="2786989"/>
                </a:cubicBezTo>
                <a:close/>
                <a:moveTo>
                  <a:pt x="6085431" y="2785705"/>
                </a:moveTo>
                <a:cubicBezTo>
                  <a:pt x="6097240" y="2793594"/>
                  <a:pt x="6105900" y="2795914"/>
                  <a:pt x="6113773" y="2796843"/>
                </a:cubicBezTo>
                <a:lnTo>
                  <a:pt x="6133373" y="2799154"/>
                </a:lnTo>
                <a:lnTo>
                  <a:pt x="6126370" y="2806125"/>
                </a:lnTo>
                <a:cubicBezTo>
                  <a:pt x="6119677" y="2813779"/>
                  <a:pt x="6112985" y="2821434"/>
                  <a:pt x="6104325" y="2819114"/>
                </a:cubicBezTo>
                <a:cubicBezTo>
                  <a:pt x="6115347" y="2812619"/>
                  <a:pt x="6117709" y="2803803"/>
                  <a:pt x="6100389" y="2799162"/>
                </a:cubicBezTo>
                <a:cubicBezTo>
                  <a:pt x="6106687" y="2810298"/>
                  <a:pt x="6095665" y="2816793"/>
                  <a:pt x="6084642" y="2823289"/>
                </a:cubicBezTo>
                <a:cubicBezTo>
                  <a:pt x="6098027" y="2807978"/>
                  <a:pt x="6074405" y="2792200"/>
                  <a:pt x="6069681" y="2809831"/>
                </a:cubicBezTo>
                <a:cubicBezTo>
                  <a:pt x="6054723" y="2796374"/>
                  <a:pt x="6089366" y="2805657"/>
                  <a:pt x="6085431" y="2785705"/>
                </a:cubicBezTo>
                <a:close/>
                <a:moveTo>
                  <a:pt x="6075274" y="2785505"/>
                </a:moveTo>
                <a:cubicBezTo>
                  <a:pt x="6054410" y="2797551"/>
                  <a:pt x="6062638" y="2799756"/>
                  <a:pt x="6056024" y="2824439"/>
                </a:cubicBezTo>
                <a:cubicBezTo>
                  <a:pt x="6039569" y="2820029"/>
                  <a:pt x="6058819" y="2781096"/>
                  <a:pt x="6075274" y="2785505"/>
                </a:cubicBezTo>
                <a:close/>
                <a:moveTo>
                  <a:pt x="5825800" y="2782729"/>
                </a:moveTo>
                <a:cubicBezTo>
                  <a:pt x="5829196" y="2782399"/>
                  <a:pt x="5833309" y="2783502"/>
                  <a:pt x="5837423" y="2784604"/>
                </a:cubicBezTo>
                <a:cubicBezTo>
                  <a:pt x="5834943" y="2793860"/>
                  <a:pt x="5843171" y="2796064"/>
                  <a:pt x="5840690" y="2805321"/>
                </a:cubicBezTo>
                <a:cubicBezTo>
                  <a:pt x="5832463" y="2803116"/>
                  <a:pt x="5838210" y="2814577"/>
                  <a:pt x="5821755" y="2810168"/>
                </a:cubicBezTo>
                <a:cubicBezTo>
                  <a:pt x="5818488" y="2789451"/>
                  <a:pt x="5832463" y="2803116"/>
                  <a:pt x="5834943" y="2793860"/>
                </a:cubicBezTo>
                <a:cubicBezTo>
                  <a:pt x="5831676" y="2773143"/>
                  <a:pt x="5824235" y="2800912"/>
                  <a:pt x="5818488" y="2789451"/>
                </a:cubicBezTo>
                <a:cubicBezTo>
                  <a:pt x="5819728" y="2784823"/>
                  <a:pt x="5822405" y="2783060"/>
                  <a:pt x="5825800" y="2782729"/>
                </a:cubicBezTo>
                <a:close/>
                <a:moveTo>
                  <a:pt x="7067080" y="2782301"/>
                </a:moveTo>
                <a:cubicBezTo>
                  <a:pt x="7076337" y="2784782"/>
                  <a:pt x="7064325" y="2792586"/>
                  <a:pt x="7061569" y="2802872"/>
                </a:cubicBezTo>
                <a:cubicBezTo>
                  <a:pt x="7061569" y="2802872"/>
                  <a:pt x="7064325" y="2792586"/>
                  <a:pt x="7055068" y="2790106"/>
                </a:cubicBezTo>
                <a:cubicBezTo>
                  <a:pt x="7055068" y="2790106"/>
                  <a:pt x="7055068" y="2790106"/>
                  <a:pt x="7045812" y="2787626"/>
                </a:cubicBezTo>
                <a:cubicBezTo>
                  <a:pt x="7039311" y="2774861"/>
                  <a:pt x="7064325" y="2792586"/>
                  <a:pt x="7067080" y="2782301"/>
                </a:cubicBezTo>
                <a:close/>
                <a:moveTo>
                  <a:pt x="6646820" y="2780658"/>
                </a:moveTo>
                <a:cubicBezTo>
                  <a:pt x="6642044" y="2798484"/>
                  <a:pt x="6635746" y="2787242"/>
                  <a:pt x="6642044" y="2798484"/>
                </a:cubicBezTo>
                <a:cubicBezTo>
                  <a:pt x="6624673" y="2793830"/>
                  <a:pt x="6617508" y="2820570"/>
                  <a:pt x="6608822" y="2818243"/>
                </a:cubicBezTo>
                <a:cubicBezTo>
                  <a:pt x="6615987" y="2791503"/>
                  <a:pt x="6627062" y="2784916"/>
                  <a:pt x="6646820" y="2780658"/>
                </a:cubicBezTo>
                <a:close/>
                <a:moveTo>
                  <a:pt x="6133456" y="2779678"/>
                </a:moveTo>
                <a:cubicBezTo>
                  <a:pt x="6150776" y="2784320"/>
                  <a:pt x="6154713" y="2804269"/>
                  <a:pt x="6183057" y="2802418"/>
                </a:cubicBezTo>
                <a:cubicBezTo>
                  <a:pt x="6185420" y="2793602"/>
                  <a:pt x="6176760" y="2791282"/>
                  <a:pt x="6187782" y="2784786"/>
                </a:cubicBezTo>
                <a:cubicBezTo>
                  <a:pt x="6205102" y="2789427"/>
                  <a:pt x="6189356" y="2813552"/>
                  <a:pt x="6206677" y="2818193"/>
                </a:cubicBezTo>
                <a:cubicBezTo>
                  <a:pt x="6206677" y="2818193"/>
                  <a:pt x="6198016" y="2815872"/>
                  <a:pt x="6204315" y="2827009"/>
                </a:cubicBezTo>
                <a:cubicBezTo>
                  <a:pt x="6212975" y="2829329"/>
                  <a:pt x="6212975" y="2829329"/>
                  <a:pt x="6215337" y="2820513"/>
                </a:cubicBezTo>
                <a:cubicBezTo>
                  <a:pt x="6221635" y="2831650"/>
                  <a:pt x="6201953" y="2835824"/>
                  <a:pt x="6201953" y="2835824"/>
                </a:cubicBezTo>
                <a:cubicBezTo>
                  <a:pt x="6193292" y="2833504"/>
                  <a:pt x="6198016" y="2815872"/>
                  <a:pt x="6191718" y="2804739"/>
                </a:cubicBezTo>
                <a:cubicBezTo>
                  <a:pt x="6189356" y="2813552"/>
                  <a:pt x="6180696" y="2811231"/>
                  <a:pt x="6161013" y="2815406"/>
                </a:cubicBezTo>
                <a:cubicBezTo>
                  <a:pt x="6161013" y="2815406"/>
                  <a:pt x="6167312" y="2826542"/>
                  <a:pt x="6158651" y="2824222"/>
                </a:cubicBezTo>
                <a:cubicBezTo>
                  <a:pt x="6156289" y="2833038"/>
                  <a:pt x="6154713" y="2804269"/>
                  <a:pt x="6148414" y="2793135"/>
                </a:cubicBezTo>
                <a:lnTo>
                  <a:pt x="6136654" y="2795889"/>
                </a:lnTo>
                <a:lnTo>
                  <a:pt x="6135424" y="2789654"/>
                </a:lnTo>
                <a:cubicBezTo>
                  <a:pt x="6133849" y="2786870"/>
                  <a:pt x="6132275" y="2784086"/>
                  <a:pt x="6133456" y="2779678"/>
                </a:cubicBezTo>
                <a:close/>
                <a:moveTo>
                  <a:pt x="5881212" y="2779557"/>
                </a:moveTo>
                <a:cubicBezTo>
                  <a:pt x="5886615" y="2777904"/>
                  <a:pt x="5893656" y="2788649"/>
                  <a:pt x="5895428" y="2782038"/>
                </a:cubicBezTo>
                <a:cubicBezTo>
                  <a:pt x="5899543" y="2783140"/>
                  <a:pt x="5898362" y="2787548"/>
                  <a:pt x="5898506" y="2791128"/>
                </a:cubicBezTo>
                <a:lnTo>
                  <a:pt x="5902177" y="2792506"/>
                </a:lnTo>
                <a:lnTo>
                  <a:pt x="5901294" y="2793058"/>
                </a:lnTo>
                <a:cubicBezTo>
                  <a:pt x="5901294" y="2793058"/>
                  <a:pt x="5909521" y="2795262"/>
                  <a:pt x="5909521" y="2795262"/>
                </a:cubicBezTo>
                <a:lnTo>
                  <a:pt x="5902177" y="2792506"/>
                </a:lnTo>
                <a:lnTo>
                  <a:pt x="5911883" y="2786447"/>
                </a:lnTo>
                <a:cubicBezTo>
                  <a:pt x="5917749" y="2797467"/>
                  <a:pt x="5904797" y="2812891"/>
                  <a:pt x="5923615" y="2808485"/>
                </a:cubicBezTo>
                <a:cubicBezTo>
                  <a:pt x="5929480" y="2819505"/>
                  <a:pt x="5910663" y="2823912"/>
                  <a:pt x="5905939" y="2841543"/>
                </a:cubicBezTo>
                <a:cubicBezTo>
                  <a:pt x="5905939" y="2841543"/>
                  <a:pt x="5904797" y="2812891"/>
                  <a:pt x="5883618" y="2826114"/>
                </a:cubicBezTo>
                <a:cubicBezTo>
                  <a:pt x="5896570" y="2810687"/>
                  <a:pt x="5885980" y="2817298"/>
                  <a:pt x="5877753" y="2815093"/>
                </a:cubicBezTo>
                <a:cubicBezTo>
                  <a:pt x="5871887" y="2804073"/>
                  <a:pt x="5888342" y="2808482"/>
                  <a:pt x="5888342" y="2808482"/>
                </a:cubicBezTo>
                <a:cubicBezTo>
                  <a:pt x="5893066" y="2790853"/>
                  <a:pt x="5893066" y="2790853"/>
                  <a:pt x="5876611" y="2786444"/>
                </a:cubicBezTo>
                <a:cubicBezTo>
                  <a:pt x="5877792" y="2782036"/>
                  <a:pt x="5879411" y="2780108"/>
                  <a:pt x="5881212" y="2779557"/>
                </a:cubicBezTo>
                <a:close/>
                <a:moveTo>
                  <a:pt x="6007247" y="2776096"/>
                </a:moveTo>
                <a:cubicBezTo>
                  <a:pt x="6011065" y="2794755"/>
                  <a:pt x="6025907" y="2772277"/>
                  <a:pt x="6019293" y="2796960"/>
                </a:cubicBezTo>
                <a:cubicBezTo>
                  <a:pt x="6011065" y="2794755"/>
                  <a:pt x="6008861" y="2802983"/>
                  <a:pt x="5998428" y="2809006"/>
                </a:cubicBezTo>
                <a:cubicBezTo>
                  <a:pt x="6002837" y="2792551"/>
                  <a:pt x="5992406" y="2798574"/>
                  <a:pt x="5994610" y="2790346"/>
                </a:cubicBezTo>
                <a:cubicBezTo>
                  <a:pt x="6002837" y="2792551"/>
                  <a:pt x="6007247" y="2776096"/>
                  <a:pt x="6007247" y="2776096"/>
                </a:cubicBezTo>
                <a:close/>
                <a:moveTo>
                  <a:pt x="7167430" y="2773920"/>
                </a:moveTo>
                <a:cubicBezTo>
                  <a:pt x="7165225" y="2782147"/>
                  <a:pt x="7156997" y="2779943"/>
                  <a:pt x="7154793" y="2788170"/>
                </a:cubicBezTo>
                <a:cubicBezTo>
                  <a:pt x="7138338" y="2783761"/>
                  <a:pt x="7138338" y="2783761"/>
                  <a:pt x="7121883" y="2779352"/>
                </a:cubicBezTo>
                <a:cubicBezTo>
                  <a:pt x="7142747" y="2767306"/>
                  <a:pt x="7146565" y="2785966"/>
                  <a:pt x="7167430" y="2773920"/>
                </a:cubicBezTo>
                <a:close/>
                <a:moveTo>
                  <a:pt x="7004217" y="2773176"/>
                </a:moveTo>
                <a:cubicBezTo>
                  <a:pt x="7007721" y="2773471"/>
                  <a:pt x="7010645" y="2774898"/>
                  <a:pt x="7012059" y="2777849"/>
                </a:cubicBezTo>
                <a:cubicBezTo>
                  <a:pt x="7009486" y="2787450"/>
                  <a:pt x="6993031" y="2783041"/>
                  <a:pt x="6982232" y="2790434"/>
                </a:cubicBezTo>
                <a:cubicBezTo>
                  <a:pt x="6977990" y="2781582"/>
                  <a:pt x="6993707" y="2772290"/>
                  <a:pt x="7004217" y="2773176"/>
                </a:cubicBezTo>
                <a:close/>
                <a:moveTo>
                  <a:pt x="832955" y="2772865"/>
                </a:moveTo>
                <a:cubicBezTo>
                  <a:pt x="830662" y="2781419"/>
                  <a:pt x="847747" y="2785997"/>
                  <a:pt x="836912" y="2792261"/>
                </a:cubicBezTo>
                <a:cubicBezTo>
                  <a:pt x="828370" y="2789973"/>
                  <a:pt x="830662" y="2781419"/>
                  <a:pt x="832955" y="2772865"/>
                </a:cubicBezTo>
                <a:close/>
                <a:moveTo>
                  <a:pt x="6025909" y="2772278"/>
                </a:moveTo>
                <a:cubicBezTo>
                  <a:pt x="6042364" y="2776687"/>
                  <a:pt x="6043978" y="2803574"/>
                  <a:pt x="6033546" y="2809597"/>
                </a:cubicBezTo>
                <a:cubicBezTo>
                  <a:pt x="6025318" y="2807393"/>
                  <a:pt x="6029727" y="2790937"/>
                  <a:pt x="6025909" y="2772278"/>
                </a:cubicBezTo>
                <a:close/>
                <a:moveTo>
                  <a:pt x="5715408" y="2770449"/>
                </a:moveTo>
                <a:cubicBezTo>
                  <a:pt x="5723910" y="2772727"/>
                  <a:pt x="5719301" y="2789928"/>
                  <a:pt x="5716996" y="2798532"/>
                </a:cubicBezTo>
                <a:cubicBezTo>
                  <a:pt x="5723194" y="2809411"/>
                  <a:pt x="5734001" y="2803088"/>
                  <a:pt x="5740198" y="2813967"/>
                </a:cubicBezTo>
                <a:cubicBezTo>
                  <a:pt x="5748700" y="2816245"/>
                  <a:pt x="5742503" y="2805366"/>
                  <a:pt x="5744808" y="2796763"/>
                </a:cubicBezTo>
                <a:cubicBezTo>
                  <a:pt x="5731696" y="2811689"/>
                  <a:pt x="5727803" y="2792207"/>
                  <a:pt x="5721606" y="2781328"/>
                </a:cubicBezTo>
                <a:cubicBezTo>
                  <a:pt x="5723910" y="2772727"/>
                  <a:pt x="5757919" y="2781840"/>
                  <a:pt x="5747113" y="2788162"/>
                </a:cubicBezTo>
                <a:cubicBezTo>
                  <a:pt x="5764117" y="2792719"/>
                  <a:pt x="5749417" y="2779562"/>
                  <a:pt x="5760224" y="2773237"/>
                </a:cubicBezTo>
                <a:cubicBezTo>
                  <a:pt x="5766422" y="2784118"/>
                  <a:pt x="5777226" y="2777792"/>
                  <a:pt x="5783424" y="2788674"/>
                </a:cubicBezTo>
                <a:cubicBezTo>
                  <a:pt x="5770312" y="2803597"/>
                  <a:pt x="5755615" y="2790440"/>
                  <a:pt x="5768007" y="2812200"/>
                </a:cubicBezTo>
                <a:lnTo>
                  <a:pt x="5738237" y="2829620"/>
                </a:lnTo>
                <a:lnTo>
                  <a:pt x="5753140" y="2835874"/>
                </a:lnTo>
                <a:cubicBezTo>
                  <a:pt x="5741886" y="2841677"/>
                  <a:pt x="5725988" y="2828598"/>
                  <a:pt x="5721579" y="2845053"/>
                </a:cubicBezTo>
                <a:cubicBezTo>
                  <a:pt x="5714734" y="2834401"/>
                  <a:pt x="5716938" y="2826174"/>
                  <a:pt x="5707887" y="2823748"/>
                </a:cubicBezTo>
                <a:lnTo>
                  <a:pt x="5726544" y="2826117"/>
                </a:lnTo>
                <a:lnTo>
                  <a:pt x="5703884" y="2813458"/>
                </a:lnTo>
                <a:cubicBezTo>
                  <a:pt x="5706189" y="2804854"/>
                  <a:pt x="5714692" y="2807133"/>
                  <a:pt x="5723194" y="2809411"/>
                </a:cubicBezTo>
                <a:cubicBezTo>
                  <a:pt x="5706189" y="2804854"/>
                  <a:pt x="5719301" y="2789928"/>
                  <a:pt x="5713104" y="2779050"/>
                </a:cubicBezTo>
                <a:cubicBezTo>
                  <a:pt x="5704602" y="2776772"/>
                  <a:pt x="5708494" y="2796254"/>
                  <a:pt x="5699992" y="2793975"/>
                </a:cubicBezTo>
                <a:cubicBezTo>
                  <a:pt x="5699992" y="2793975"/>
                  <a:pt x="5689188" y="2800299"/>
                  <a:pt x="5689188" y="2800299"/>
                </a:cubicBezTo>
                <a:cubicBezTo>
                  <a:pt x="5680685" y="2798021"/>
                  <a:pt x="5699992" y="2793975"/>
                  <a:pt x="5693798" y="2783095"/>
                </a:cubicBezTo>
                <a:cubicBezTo>
                  <a:pt x="5702297" y="2785372"/>
                  <a:pt x="5706906" y="2768171"/>
                  <a:pt x="5715408" y="2770449"/>
                </a:cubicBezTo>
                <a:close/>
                <a:moveTo>
                  <a:pt x="6629889" y="2767606"/>
                </a:moveTo>
                <a:cubicBezTo>
                  <a:pt x="6627597" y="2776160"/>
                  <a:pt x="6638433" y="2769896"/>
                  <a:pt x="6646974" y="2772184"/>
                </a:cubicBezTo>
                <a:cubicBezTo>
                  <a:pt x="6644682" y="2780738"/>
                  <a:pt x="6636141" y="2778450"/>
                  <a:pt x="6627597" y="2776160"/>
                </a:cubicBezTo>
                <a:close/>
                <a:moveTo>
                  <a:pt x="5812863" y="2765189"/>
                </a:moveTo>
                <a:cubicBezTo>
                  <a:pt x="5815652" y="2767116"/>
                  <a:pt x="5819176" y="2770424"/>
                  <a:pt x="5823288" y="2771526"/>
                </a:cubicBezTo>
                <a:cubicBezTo>
                  <a:pt x="5823288" y="2771526"/>
                  <a:pt x="5823288" y="2771526"/>
                  <a:pt x="5815061" y="2769321"/>
                </a:cubicBezTo>
                <a:cubicBezTo>
                  <a:pt x="5802109" y="2784746"/>
                  <a:pt x="5803251" y="2813398"/>
                  <a:pt x="5800888" y="2822213"/>
                </a:cubicBezTo>
                <a:cubicBezTo>
                  <a:pt x="5800888" y="2822213"/>
                  <a:pt x="5792661" y="2820009"/>
                  <a:pt x="5792661" y="2820009"/>
                </a:cubicBezTo>
                <a:cubicBezTo>
                  <a:pt x="5795023" y="2811193"/>
                  <a:pt x="5802109" y="2784746"/>
                  <a:pt x="5806833" y="2767117"/>
                </a:cubicBezTo>
                <a:cubicBezTo>
                  <a:pt x="5808014" y="2762709"/>
                  <a:pt x="5810072" y="2763260"/>
                  <a:pt x="5812863" y="2765189"/>
                </a:cubicBezTo>
                <a:close/>
                <a:moveTo>
                  <a:pt x="862056" y="2762851"/>
                </a:moveTo>
                <a:lnTo>
                  <a:pt x="862601" y="2763639"/>
                </a:lnTo>
                <a:lnTo>
                  <a:pt x="862032" y="2764661"/>
                </a:lnTo>
                <a:lnTo>
                  <a:pt x="860742" y="2763121"/>
                </a:lnTo>
                <a:close/>
                <a:moveTo>
                  <a:pt x="6101422" y="2760138"/>
                </a:moveTo>
                <a:lnTo>
                  <a:pt x="6102379" y="2760253"/>
                </a:lnTo>
                <a:lnTo>
                  <a:pt x="6100269" y="2761340"/>
                </a:lnTo>
                <a:close/>
                <a:moveTo>
                  <a:pt x="644395" y="2759013"/>
                </a:moveTo>
                <a:cubicBezTo>
                  <a:pt x="635854" y="2756724"/>
                  <a:pt x="646063" y="2786964"/>
                  <a:pt x="631270" y="2773833"/>
                </a:cubicBezTo>
                <a:cubicBezTo>
                  <a:pt x="642103" y="2767567"/>
                  <a:pt x="627310" y="2754435"/>
                  <a:pt x="644395" y="2759013"/>
                </a:cubicBezTo>
                <a:close/>
                <a:moveTo>
                  <a:pt x="644395" y="2759013"/>
                </a:moveTo>
                <a:cubicBezTo>
                  <a:pt x="650647" y="2769856"/>
                  <a:pt x="652312" y="2797807"/>
                  <a:pt x="635227" y="2793229"/>
                </a:cubicBezTo>
                <a:cubicBezTo>
                  <a:pt x="637519" y="2784675"/>
                  <a:pt x="648354" y="2778411"/>
                  <a:pt x="644395" y="2759013"/>
                </a:cubicBezTo>
                <a:close/>
                <a:moveTo>
                  <a:pt x="6276436" y="2758784"/>
                </a:moveTo>
                <a:lnTo>
                  <a:pt x="6282018" y="2762641"/>
                </a:lnTo>
                <a:cubicBezTo>
                  <a:pt x="6282694" y="2768335"/>
                  <a:pt x="6281041" y="2774505"/>
                  <a:pt x="6281041" y="2774505"/>
                </a:cubicBezTo>
                <a:cubicBezTo>
                  <a:pt x="6278837" y="2782733"/>
                  <a:pt x="6254154" y="2776119"/>
                  <a:pt x="6264586" y="2770096"/>
                </a:cubicBezTo>
                <a:cubicBezTo>
                  <a:pt x="6264586" y="2770096"/>
                  <a:pt x="6264586" y="2770096"/>
                  <a:pt x="6272814" y="2772301"/>
                </a:cubicBezTo>
                <a:close/>
                <a:moveTo>
                  <a:pt x="6854705" y="2756261"/>
                </a:moveTo>
                <a:cubicBezTo>
                  <a:pt x="6858523" y="2774920"/>
                  <a:pt x="6868955" y="2768897"/>
                  <a:pt x="6877182" y="2771102"/>
                </a:cubicBezTo>
                <a:cubicBezTo>
                  <a:pt x="6874978" y="2779329"/>
                  <a:pt x="6874978" y="2779329"/>
                  <a:pt x="6872773" y="2787557"/>
                </a:cubicBezTo>
                <a:cubicBezTo>
                  <a:pt x="6864546" y="2785352"/>
                  <a:pt x="6858523" y="2774920"/>
                  <a:pt x="6858523" y="2774920"/>
                </a:cubicBezTo>
                <a:cubicBezTo>
                  <a:pt x="6860727" y="2766693"/>
                  <a:pt x="6852500" y="2764488"/>
                  <a:pt x="6854705" y="2756261"/>
                </a:cubicBezTo>
                <a:close/>
                <a:moveTo>
                  <a:pt x="7988000" y="2755699"/>
                </a:moveTo>
                <a:cubicBezTo>
                  <a:pt x="7983591" y="2772154"/>
                  <a:pt x="7967136" y="2767745"/>
                  <a:pt x="7961113" y="2757312"/>
                </a:cubicBezTo>
                <a:cubicBezTo>
                  <a:pt x="7969341" y="2759517"/>
                  <a:pt x="7977568" y="2761721"/>
                  <a:pt x="7988000" y="2755699"/>
                </a:cubicBezTo>
                <a:close/>
                <a:moveTo>
                  <a:pt x="6268995" y="2753641"/>
                </a:moveTo>
                <a:cubicBezTo>
                  <a:pt x="6277223" y="2755846"/>
                  <a:pt x="6277223" y="2755846"/>
                  <a:pt x="6277223" y="2755846"/>
                </a:cubicBezTo>
                <a:lnTo>
                  <a:pt x="6276436" y="2758784"/>
                </a:lnTo>
                <a:close/>
                <a:moveTo>
                  <a:pt x="6518916" y="2753206"/>
                </a:moveTo>
                <a:cubicBezTo>
                  <a:pt x="6523568" y="2755900"/>
                  <a:pt x="6531473" y="2769593"/>
                  <a:pt x="6537643" y="2771246"/>
                </a:cubicBezTo>
                <a:cubicBezTo>
                  <a:pt x="6526844" y="2778640"/>
                  <a:pt x="6521188" y="2766837"/>
                  <a:pt x="6515533" y="2755032"/>
                </a:cubicBezTo>
                <a:cubicBezTo>
                  <a:pt x="6516176" y="2752632"/>
                  <a:pt x="6517365" y="2752308"/>
                  <a:pt x="6518916" y="2753206"/>
                </a:cubicBezTo>
                <a:close/>
                <a:moveTo>
                  <a:pt x="455086" y="2750602"/>
                </a:moveTo>
                <a:lnTo>
                  <a:pt x="455715" y="2752462"/>
                </a:lnTo>
                <a:lnTo>
                  <a:pt x="455651" y="2756113"/>
                </a:lnTo>
                <a:lnTo>
                  <a:pt x="454614" y="2754002"/>
                </a:lnTo>
                <a:close/>
                <a:moveTo>
                  <a:pt x="5775045" y="2750528"/>
                </a:moveTo>
                <a:cubicBezTo>
                  <a:pt x="5776408" y="2750067"/>
                  <a:pt x="5778584" y="2751201"/>
                  <a:pt x="5780880" y="2752919"/>
                </a:cubicBezTo>
                <a:cubicBezTo>
                  <a:pt x="5785471" y="2756352"/>
                  <a:pt x="5790539" y="2762120"/>
                  <a:pt x="5790539" y="2762120"/>
                </a:cubicBezTo>
                <a:cubicBezTo>
                  <a:pt x="5796561" y="2772552"/>
                  <a:pt x="5788334" y="2770348"/>
                  <a:pt x="5786129" y="2778575"/>
                </a:cubicBezTo>
                <a:cubicBezTo>
                  <a:pt x="5780106" y="2768143"/>
                  <a:pt x="5792743" y="2753893"/>
                  <a:pt x="5774084" y="2757711"/>
                </a:cubicBezTo>
                <a:cubicBezTo>
                  <a:pt x="5773130" y="2753046"/>
                  <a:pt x="5773681" y="2750990"/>
                  <a:pt x="5775045" y="2750528"/>
                </a:cubicBezTo>
                <a:close/>
                <a:moveTo>
                  <a:pt x="5868468" y="2747728"/>
                </a:moveTo>
                <a:cubicBezTo>
                  <a:pt x="5868468" y="2747728"/>
                  <a:pt x="5875312" y="2758381"/>
                  <a:pt x="5875312" y="2758381"/>
                </a:cubicBezTo>
                <a:cubicBezTo>
                  <a:pt x="5864059" y="2764183"/>
                  <a:pt x="5859416" y="2745303"/>
                  <a:pt x="5839111" y="2748681"/>
                </a:cubicBezTo>
                <a:cubicBezTo>
                  <a:pt x="5848160" y="2751105"/>
                  <a:pt x="5859416" y="2745303"/>
                  <a:pt x="5868468" y="2747728"/>
                </a:cubicBezTo>
                <a:close/>
                <a:moveTo>
                  <a:pt x="6102574" y="2747077"/>
                </a:moveTo>
                <a:cubicBezTo>
                  <a:pt x="6105533" y="2746216"/>
                  <a:pt x="6109202" y="2746097"/>
                  <a:pt x="6113727" y="2747310"/>
                </a:cubicBezTo>
                <a:lnTo>
                  <a:pt x="6101422" y="2760138"/>
                </a:lnTo>
                <a:lnTo>
                  <a:pt x="6091218" y="2758915"/>
                </a:lnTo>
                <a:cubicBezTo>
                  <a:pt x="6091218" y="2758915"/>
                  <a:pt x="6093698" y="2749659"/>
                  <a:pt x="6102574" y="2747077"/>
                </a:cubicBezTo>
                <a:close/>
                <a:moveTo>
                  <a:pt x="6134035" y="2743933"/>
                </a:moveTo>
                <a:cubicBezTo>
                  <a:pt x="6143084" y="2746358"/>
                  <a:pt x="6129625" y="2760388"/>
                  <a:pt x="6127421" y="2768616"/>
                </a:cubicBezTo>
                <a:cubicBezTo>
                  <a:pt x="6123999" y="2763288"/>
                  <a:pt x="6119472" y="2762075"/>
                  <a:pt x="6113540" y="2761588"/>
                </a:cubicBezTo>
                <a:lnTo>
                  <a:pt x="6102379" y="2760253"/>
                </a:lnTo>
                <a:close/>
                <a:moveTo>
                  <a:pt x="8723794" y="2741216"/>
                </a:moveTo>
                <a:cubicBezTo>
                  <a:pt x="8732022" y="2743421"/>
                  <a:pt x="8729817" y="2751648"/>
                  <a:pt x="8729817" y="2751648"/>
                </a:cubicBezTo>
                <a:cubicBezTo>
                  <a:pt x="8729817" y="2751648"/>
                  <a:pt x="8719385" y="2757671"/>
                  <a:pt x="8713362" y="2747239"/>
                </a:cubicBezTo>
                <a:cubicBezTo>
                  <a:pt x="8715566" y="2739011"/>
                  <a:pt x="8729817" y="2751648"/>
                  <a:pt x="8723794" y="2741216"/>
                </a:cubicBezTo>
                <a:close/>
                <a:moveTo>
                  <a:pt x="5912045" y="2739564"/>
                </a:moveTo>
                <a:cubicBezTo>
                  <a:pt x="5915488" y="2742140"/>
                  <a:pt x="5914137" y="2753352"/>
                  <a:pt x="5918654" y="2761176"/>
                </a:cubicBezTo>
                <a:cubicBezTo>
                  <a:pt x="5910427" y="2758971"/>
                  <a:pt x="5902199" y="2756767"/>
                  <a:pt x="5902199" y="2756767"/>
                </a:cubicBezTo>
                <a:cubicBezTo>
                  <a:pt x="5898381" y="2738107"/>
                  <a:pt x="5912632" y="2750744"/>
                  <a:pt x="5906609" y="2740311"/>
                </a:cubicBezTo>
                <a:cubicBezTo>
                  <a:pt x="5909217" y="2738806"/>
                  <a:pt x="5910897" y="2738705"/>
                  <a:pt x="5912045" y="2739564"/>
                </a:cubicBezTo>
                <a:close/>
                <a:moveTo>
                  <a:pt x="8707145" y="2737460"/>
                </a:moveTo>
                <a:cubicBezTo>
                  <a:pt x="8704853" y="2746014"/>
                  <a:pt x="8721937" y="2750592"/>
                  <a:pt x="8711104" y="2756858"/>
                </a:cubicBezTo>
                <a:cubicBezTo>
                  <a:pt x="8702561" y="2754568"/>
                  <a:pt x="8702561" y="2754568"/>
                  <a:pt x="8694019" y="2752280"/>
                </a:cubicBezTo>
                <a:cubicBezTo>
                  <a:pt x="8694019" y="2752280"/>
                  <a:pt x="8704853" y="2746014"/>
                  <a:pt x="8707145" y="2737460"/>
                </a:cubicBezTo>
                <a:close/>
                <a:moveTo>
                  <a:pt x="6447339" y="2735290"/>
                </a:moveTo>
                <a:cubicBezTo>
                  <a:pt x="6444583" y="2745575"/>
                  <a:pt x="6456937" y="2737862"/>
                  <a:pt x="6461024" y="2761004"/>
                </a:cubicBezTo>
                <a:cubicBezTo>
                  <a:pt x="6441827" y="2755860"/>
                  <a:pt x="6441827" y="2755860"/>
                  <a:pt x="6432226" y="2753287"/>
                </a:cubicBezTo>
                <a:cubicBezTo>
                  <a:pt x="6432226" y="2753287"/>
                  <a:pt x="6444583" y="2745575"/>
                  <a:pt x="6447339" y="2735290"/>
                </a:cubicBezTo>
                <a:close/>
                <a:moveTo>
                  <a:pt x="8152627" y="2733672"/>
                </a:moveTo>
                <a:cubicBezTo>
                  <a:pt x="8160855" y="2735877"/>
                  <a:pt x="8169082" y="2738081"/>
                  <a:pt x="8169082" y="2738081"/>
                </a:cubicBezTo>
                <a:cubicBezTo>
                  <a:pt x="8163571" y="2758651"/>
                  <a:pt x="8182782" y="2752775"/>
                  <a:pt x="8171798" y="2760856"/>
                </a:cubicBezTo>
                <a:cubicBezTo>
                  <a:pt x="8163571" y="2758651"/>
                  <a:pt x="8158099" y="2746162"/>
                  <a:pt x="8155343" y="2756447"/>
                </a:cubicBezTo>
                <a:cubicBezTo>
                  <a:pt x="8147116" y="2754242"/>
                  <a:pt x="8149872" y="2743957"/>
                  <a:pt x="8152627" y="2733672"/>
                </a:cubicBezTo>
                <a:close/>
                <a:moveTo>
                  <a:pt x="8084802" y="2732288"/>
                </a:moveTo>
                <a:cubicBezTo>
                  <a:pt x="8086156" y="2731506"/>
                  <a:pt x="8086156" y="2731506"/>
                  <a:pt x="8085010" y="2735782"/>
                </a:cubicBezTo>
                <a:lnTo>
                  <a:pt x="8080696" y="2732882"/>
                </a:lnTo>
                <a:close/>
                <a:moveTo>
                  <a:pt x="5671312" y="2730976"/>
                </a:moveTo>
                <a:cubicBezTo>
                  <a:pt x="5666703" y="2748178"/>
                  <a:pt x="5675205" y="2750456"/>
                  <a:pt x="5681402" y="2761337"/>
                </a:cubicBezTo>
                <a:cubicBezTo>
                  <a:pt x="5683707" y="2752734"/>
                  <a:pt x="5683707" y="2752734"/>
                  <a:pt x="5692209" y="2755012"/>
                </a:cubicBezTo>
                <a:lnTo>
                  <a:pt x="5694514" y="2746411"/>
                </a:lnTo>
                <a:cubicBezTo>
                  <a:pt x="5694514" y="2746411"/>
                  <a:pt x="5703016" y="2748689"/>
                  <a:pt x="5711516" y="2750967"/>
                </a:cubicBezTo>
                <a:cubicBezTo>
                  <a:pt x="5706906" y="2768171"/>
                  <a:pt x="5702297" y="2785372"/>
                  <a:pt x="5687600" y="2772216"/>
                </a:cubicBezTo>
                <a:cubicBezTo>
                  <a:pt x="5687600" y="2772216"/>
                  <a:pt x="5696102" y="2774494"/>
                  <a:pt x="5693798" y="2783095"/>
                </a:cubicBezTo>
                <a:cubicBezTo>
                  <a:pt x="5685295" y="2780816"/>
                  <a:pt x="5682990" y="2789420"/>
                  <a:pt x="5680685" y="2798021"/>
                </a:cubicBezTo>
                <a:cubicBezTo>
                  <a:pt x="5676793" y="2778538"/>
                  <a:pt x="5670595" y="2767660"/>
                  <a:pt x="5655895" y="2754503"/>
                </a:cubicBezTo>
                <a:cubicBezTo>
                  <a:pt x="5664398" y="2756781"/>
                  <a:pt x="5675205" y="2750456"/>
                  <a:pt x="5660505" y="2737299"/>
                </a:cubicBezTo>
                <a:cubicBezTo>
                  <a:pt x="5662810" y="2728698"/>
                  <a:pt x="5669008" y="2739577"/>
                  <a:pt x="5671312" y="2730976"/>
                </a:cubicBezTo>
                <a:close/>
                <a:moveTo>
                  <a:pt x="8142345" y="2730917"/>
                </a:moveTo>
                <a:cubicBezTo>
                  <a:pt x="8152630" y="2733673"/>
                  <a:pt x="8149874" y="2743958"/>
                  <a:pt x="8147118" y="2754243"/>
                </a:cubicBezTo>
                <a:cubicBezTo>
                  <a:pt x="8126548" y="2748731"/>
                  <a:pt x="8149874" y="2743958"/>
                  <a:pt x="8142345" y="2730917"/>
                </a:cubicBezTo>
                <a:close/>
                <a:moveTo>
                  <a:pt x="8136858" y="2730825"/>
                </a:moveTo>
                <a:cubicBezTo>
                  <a:pt x="8139774" y="2730228"/>
                  <a:pt x="8142345" y="2730917"/>
                  <a:pt x="8142345" y="2730917"/>
                </a:cubicBezTo>
                <a:cubicBezTo>
                  <a:pt x="8132060" y="2728161"/>
                  <a:pt x="8149874" y="2743958"/>
                  <a:pt x="8129304" y="2738446"/>
                </a:cubicBezTo>
                <a:cubicBezTo>
                  <a:pt x="8130682" y="2733304"/>
                  <a:pt x="8133942" y="2731421"/>
                  <a:pt x="8136858" y="2730825"/>
                </a:cubicBezTo>
                <a:close/>
                <a:moveTo>
                  <a:pt x="8076905" y="2730333"/>
                </a:moveTo>
                <a:lnTo>
                  <a:pt x="8080696" y="2732882"/>
                </a:lnTo>
                <a:lnTo>
                  <a:pt x="8076469" y="2733493"/>
                </a:lnTo>
                <a:close/>
                <a:moveTo>
                  <a:pt x="6722338" y="2727857"/>
                </a:moveTo>
                <a:lnTo>
                  <a:pt x="6722816" y="2728331"/>
                </a:lnTo>
                <a:lnTo>
                  <a:pt x="6722246" y="2728126"/>
                </a:lnTo>
                <a:close/>
                <a:moveTo>
                  <a:pt x="5826244" y="2727596"/>
                </a:moveTo>
                <a:cubicBezTo>
                  <a:pt x="5830062" y="2746256"/>
                  <a:pt x="5834471" y="2729801"/>
                  <a:pt x="5842699" y="2732005"/>
                </a:cubicBezTo>
                <a:cubicBezTo>
                  <a:pt x="5840494" y="2740233"/>
                  <a:pt x="5840494" y="2740233"/>
                  <a:pt x="5838290" y="2748460"/>
                </a:cubicBezTo>
                <a:cubicBezTo>
                  <a:pt x="5832267" y="2738028"/>
                  <a:pt x="5813607" y="2741847"/>
                  <a:pt x="5826244" y="2727596"/>
                </a:cubicBezTo>
                <a:close/>
                <a:moveTo>
                  <a:pt x="5677981" y="2726280"/>
                </a:moveTo>
                <a:cubicBezTo>
                  <a:pt x="5679345" y="2726501"/>
                  <a:pt x="5680049" y="2728130"/>
                  <a:pt x="5680679" y="2730028"/>
                </a:cubicBezTo>
                <a:cubicBezTo>
                  <a:pt x="5681939" y="2733824"/>
                  <a:pt x="5682912" y="2738692"/>
                  <a:pt x="5688316" y="2735532"/>
                </a:cubicBezTo>
                <a:cubicBezTo>
                  <a:pt x="5694514" y="2746411"/>
                  <a:pt x="5677510" y="2741855"/>
                  <a:pt x="5671312" y="2730976"/>
                </a:cubicBezTo>
                <a:cubicBezTo>
                  <a:pt x="5674589" y="2727244"/>
                  <a:pt x="5676616" y="2726058"/>
                  <a:pt x="5677981" y="2726280"/>
                </a:cubicBezTo>
                <a:close/>
                <a:moveTo>
                  <a:pt x="6091806" y="2723797"/>
                </a:moveTo>
                <a:cubicBezTo>
                  <a:pt x="6091806" y="2723797"/>
                  <a:pt x="6089602" y="2732024"/>
                  <a:pt x="6089602" y="2732024"/>
                </a:cubicBezTo>
                <a:lnTo>
                  <a:pt x="6090858" y="2724754"/>
                </a:lnTo>
                <a:close/>
                <a:moveTo>
                  <a:pt x="5846703" y="2723549"/>
                </a:moveTo>
                <a:lnTo>
                  <a:pt x="5846935" y="2723595"/>
                </a:lnTo>
                <a:lnTo>
                  <a:pt x="5846077" y="2724092"/>
                </a:lnTo>
                <a:close/>
                <a:moveTo>
                  <a:pt x="8093816" y="2722278"/>
                </a:moveTo>
                <a:cubicBezTo>
                  <a:pt x="8101385" y="2723341"/>
                  <a:pt x="8113436" y="2740073"/>
                  <a:pt x="8123465" y="2727327"/>
                </a:cubicBezTo>
                <a:cubicBezTo>
                  <a:pt x="8126548" y="2748731"/>
                  <a:pt x="8104437" y="2732519"/>
                  <a:pt x="8087982" y="2728110"/>
                </a:cubicBezTo>
                <a:cubicBezTo>
                  <a:pt x="8089268" y="2723310"/>
                  <a:pt x="8091293" y="2721924"/>
                  <a:pt x="8093816" y="2722278"/>
                </a:cubicBezTo>
                <a:close/>
                <a:moveTo>
                  <a:pt x="5624037" y="2720698"/>
                </a:moveTo>
                <a:cubicBezTo>
                  <a:pt x="5631059" y="2721720"/>
                  <a:pt x="5636059" y="2735091"/>
                  <a:pt x="5652310" y="2725696"/>
                </a:cubicBezTo>
                <a:cubicBezTo>
                  <a:pt x="5650018" y="2734250"/>
                  <a:pt x="5650018" y="2734250"/>
                  <a:pt x="5650018" y="2734250"/>
                </a:cubicBezTo>
                <a:cubicBezTo>
                  <a:pt x="5653976" y="2753644"/>
                  <a:pt x="5639183" y="2740512"/>
                  <a:pt x="5636891" y="2749066"/>
                </a:cubicBezTo>
                <a:cubicBezTo>
                  <a:pt x="5630642" y="2738223"/>
                  <a:pt x="5622101" y="2735935"/>
                  <a:pt x="5615849" y="2725094"/>
                </a:cubicBezTo>
                <a:cubicBezTo>
                  <a:pt x="5619131" y="2721389"/>
                  <a:pt x="5621696" y="2720358"/>
                  <a:pt x="5624037" y="2720698"/>
                </a:cubicBezTo>
                <a:close/>
                <a:moveTo>
                  <a:pt x="5894563" y="2719447"/>
                </a:moveTo>
                <a:cubicBezTo>
                  <a:pt x="5900586" y="2729879"/>
                  <a:pt x="5893972" y="2754562"/>
                  <a:pt x="5885744" y="2752357"/>
                </a:cubicBezTo>
                <a:cubicBezTo>
                  <a:pt x="5890154" y="2735902"/>
                  <a:pt x="5892358" y="2727675"/>
                  <a:pt x="5892358" y="2727675"/>
                </a:cubicBezTo>
                <a:cubicBezTo>
                  <a:pt x="5894563" y="2719447"/>
                  <a:pt x="5894563" y="2719447"/>
                  <a:pt x="5894563" y="2719447"/>
                </a:cubicBezTo>
                <a:close/>
                <a:moveTo>
                  <a:pt x="5857255" y="2717639"/>
                </a:moveTo>
                <a:cubicBezTo>
                  <a:pt x="5860482" y="2723228"/>
                  <a:pt x="5857687" y="2724839"/>
                  <a:pt x="5852983" y="2724762"/>
                </a:cubicBezTo>
                <a:lnTo>
                  <a:pt x="5846935" y="2723595"/>
                </a:lnTo>
                <a:close/>
                <a:moveTo>
                  <a:pt x="6716564" y="2717488"/>
                </a:moveTo>
                <a:cubicBezTo>
                  <a:pt x="6716564" y="2717488"/>
                  <a:pt x="6725108" y="2719777"/>
                  <a:pt x="6725108" y="2719777"/>
                </a:cubicBezTo>
                <a:lnTo>
                  <a:pt x="6722338" y="2727857"/>
                </a:lnTo>
                <a:lnTo>
                  <a:pt x="6716487" y="2722051"/>
                </a:lnTo>
                <a:cubicBezTo>
                  <a:pt x="6713284" y="2721193"/>
                  <a:pt x="6711148" y="2720621"/>
                  <a:pt x="6716564" y="2717488"/>
                </a:cubicBezTo>
                <a:close/>
                <a:moveTo>
                  <a:pt x="6371550" y="2716451"/>
                </a:moveTo>
                <a:lnTo>
                  <a:pt x="6370470" y="2720484"/>
                </a:lnTo>
                <a:cubicBezTo>
                  <a:pt x="6369701" y="2723352"/>
                  <a:pt x="6368977" y="2726052"/>
                  <a:pt x="6368977" y="2726052"/>
                </a:cubicBezTo>
                <a:cubicBezTo>
                  <a:pt x="6366406" y="2735651"/>
                  <a:pt x="6358178" y="2733446"/>
                  <a:pt x="6352522" y="2721643"/>
                </a:cubicBezTo>
                <a:cubicBezTo>
                  <a:pt x="6353809" y="2716843"/>
                  <a:pt x="6355866" y="2717394"/>
                  <a:pt x="6358951" y="2718221"/>
                </a:cubicBezTo>
                <a:close/>
                <a:moveTo>
                  <a:pt x="6372233" y="2713902"/>
                </a:moveTo>
                <a:cubicBezTo>
                  <a:pt x="6372354" y="2713452"/>
                  <a:pt x="6372193" y="2714052"/>
                  <a:pt x="6371550" y="2716451"/>
                </a:cubicBezTo>
                <a:lnTo>
                  <a:pt x="6371550" y="2716451"/>
                </a:lnTo>
                <a:close/>
                <a:moveTo>
                  <a:pt x="6047863" y="2708856"/>
                </a:moveTo>
                <a:cubicBezTo>
                  <a:pt x="6049606" y="2714697"/>
                  <a:pt x="6041451" y="2738967"/>
                  <a:pt x="6033625" y="2743483"/>
                </a:cubicBezTo>
                <a:cubicBezTo>
                  <a:pt x="6038034" y="2727028"/>
                  <a:pt x="6042443" y="2710573"/>
                  <a:pt x="6042443" y="2710573"/>
                </a:cubicBezTo>
                <a:cubicBezTo>
                  <a:pt x="6045603" y="2707009"/>
                  <a:pt x="6047283" y="2706909"/>
                  <a:pt x="6047863" y="2708856"/>
                </a:cubicBezTo>
                <a:close/>
                <a:moveTo>
                  <a:pt x="421516" y="2707958"/>
                </a:moveTo>
                <a:cubicBezTo>
                  <a:pt x="429743" y="2710163"/>
                  <a:pt x="425334" y="2726618"/>
                  <a:pt x="414902" y="2732641"/>
                </a:cubicBezTo>
                <a:cubicBezTo>
                  <a:pt x="406675" y="2730437"/>
                  <a:pt x="419311" y="2716186"/>
                  <a:pt x="421516" y="2707958"/>
                </a:cubicBezTo>
                <a:close/>
                <a:moveTo>
                  <a:pt x="5943515" y="2702042"/>
                </a:moveTo>
                <a:lnTo>
                  <a:pt x="5942887" y="2702763"/>
                </a:lnTo>
                <a:lnTo>
                  <a:pt x="5942335" y="2702560"/>
                </a:lnTo>
                <a:close/>
                <a:moveTo>
                  <a:pt x="5908301" y="2701084"/>
                </a:moveTo>
                <a:cubicBezTo>
                  <a:pt x="5908301" y="2701084"/>
                  <a:pt x="5916529" y="2703289"/>
                  <a:pt x="5916529" y="2703289"/>
                </a:cubicBezTo>
                <a:cubicBezTo>
                  <a:pt x="5908301" y="2701084"/>
                  <a:pt x="5911017" y="2723859"/>
                  <a:pt x="5897318" y="2709165"/>
                </a:cubicBezTo>
                <a:cubicBezTo>
                  <a:pt x="5897318" y="2709165"/>
                  <a:pt x="5908301" y="2701084"/>
                  <a:pt x="5908301" y="2701084"/>
                </a:cubicBezTo>
                <a:close/>
                <a:moveTo>
                  <a:pt x="6096840" y="2700896"/>
                </a:moveTo>
                <a:cubicBezTo>
                  <a:pt x="6102535" y="2700217"/>
                  <a:pt x="6106647" y="2701319"/>
                  <a:pt x="6104443" y="2709546"/>
                </a:cubicBezTo>
                <a:cubicBezTo>
                  <a:pt x="6096215" y="2707342"/>
                  <a:pt x="6096215" y="2707342"/>
                  <a:pt x="6085783" y="2713365"/>
                </a:cubicBezTo>
                <a:cubicBezTo>
                  <a:pt x="6084681" y="2717477"/>
                  <a:pt x="6088796" y="2718580"/>
                  <a:pt x="6091605" y="2720435"/>
                </a:cubicBezTo>
                <a:lnTo>
                  <a:pt x="6090858" y="2724754"/>
                </a:lnTo>
                <a:lnTo>
                  <a:pt x="6085765" y="2729894"/>
                </a:lnTo>
                <a:cubicBezTo>
                  <a:pt x="6084938" y="2732980"/>
                  <a:pt x="6084387" y="2735035"/>
                  <a:pt x="6081374" y="2729820"/>
                </a:cubicBezTo>
                <a:cubicBezTo>
                  <a:pt x="6083579" y="2721592"/>
                  <a:pt x="6075351" y="2719388"/>
                  <a:pt x="6079760" y="2702933"/>
                </a:cubicBezTo>
                <a:cubicBezTo>
                  <a:pt x="6083875" y="2704035"/>
                  <a:pt x="6091148" y="2701574"/>
                  <a:pt x="6096840" y="2700896"/>
                </a:cubicBezTo>
                <a:close/>
                <a:moveTo>
                  <a:pt x="6411442" y="2699216"/>
                </a:moveTo>
                <a:cubicBezTo>
                  <a:pt x="6411442" y="2699216"/>
                  <a:pt x="6419669" y="2701421"/>
                  <a:pt x="6419669" y="2701421"/>
                </a:cubicBezTo>
                <a:cubicBezTo>
                  <a:pt x="6417464" y="2709648"/>
                  <a:pt x="6417464" y="2709648"/>
                  <a:pt x="6415260" y="2717876"/>
                </a:cubicBezTo>
                <a:cubicBezTo>
                  <a:pt x="6407032" y="2715671"/>
                  <a:pt x="6409237" y="2707444"/>
                  <a:pt x="6411442" y="2699216"/>
                </a:cubicBezTo>
                <a:close/>
                <a:moveTo>
                  <a:pt x="407265" y="2695321"/>
                </a:moveTo>
                <a:cubicBezTo>
                  <a:pt x="402415" y="2713422"/>
                  <a:pt x="416445" y="2726883"/>
                  <a:pt x="403368" y="2742779"/>
                </a:cubicBezTo>
                <a:cubicBezTo>
                  <a:pt x="386912" y="2738370"/>
                  <a:pt x="399990" y="2722474"/>
                  <a:pt x="407265" y="2695321"/>
                </a:cubicBezTo>
                <a:close/>
                <a:moveTo>
                  <a:pt x="5955462" y="2687741"/>
                </a:moveTo>
                <a:cubicBezTo>
                  <a:pt x="5959733" y="2688886"/>
                  <a:pt x="5958587" y="2693163"/>
                  <a:pt x="5955305" y="2696867"/>
                </a:cubicBezTo>
                <a:lnTo>
                  <a:pt x="5943515" y="2702042"/>
                </a:lnTo>
                <a:lnTo>
                  <a:pt x="5946971" y="2698072"/>
                </a:lnTo>
                <a:cubicBezTo>
                  <a:pt x="5949471" y="2693012"/>
                  <a:pt x="5951190" y="2686597"/>
                  <a:pt x="5955462" y="2687741"/>
                </a:cubicBezTo>
                <a:close/>
                <a:moveTo>
                  <a:pt x="7778634" y="2686920"/>
                </a:moveTo>
                <a:cubicBezTo>
                  <a:pt x="7791164" y="2688624"/>
                  <a:pt x="7808721" y="2696635"/>
                  <a:pt x="7823744" y="2694047"/>
                </a:cubicBezTo>
                <a:cubicBezTo>
                  <a:pt x="7814833" y="2691659"/>
                  <a:pt x="7812628" y="2699887"/>
                  <a:pt x="7821540" y="2702275"/>
                </a:cubicBezTo>
                <a:cubicBezTo>
                  <a:pt x="7810424" y="2708114"/>
                  <a:pt x="7776974" y="2690333"/>
                  <a:pt x="7776974" y="2690333"/>
                </a:cubicBezTo>
                <a:cubicBezTo>
                  <a:pt x="7774769" y="2698561"/>
                  <a:pt x="7776974" y="2690333"/>
                  <a:pt x="7768060" y="2687945"/>
                </a:cubicBezTo>
                <a:cubicBezTo>
                  <a:pt x="7770839" y="2686485"/>
                  <a:pt x="7774458" y="2686352"/>
                  <a:pt x="7778634" y="2686920"/>
                </a:cubicBezTo>
                <a:close/>
                <a:moveTo>
                  <a:pt x="9163909" y="2678369"/>
                </a:moveTo>
                <a:cubicBezTo>
                  <a:pt x="9169933" y="2688802"/>
                  <a:pt x="9215479" y="2683369"/>
                  <a:pt x="9217093" y="2710256"/>
                </a:cubicBezTo>
                <a:cubicBezTo>
                  <a:pt x="9207252" y="2681165"/>
                  <a:pt x="9167728" y="2697029"/>
                  <a:pt x="9163909" y="2678369"/>
                </a:cubicBezTo>
                <a:close/>
                <a:moveTo>
                  <a:pt x="5886323" y="2675824"/>
                </a:moveTo>
                <a:cubicBezTo>
                  <a:pt x="5894557" y="2679802"/>
                  <a:pt x="5901373" y="2694029"/>
                  <a:pt x="5899602" y="2700639"/>
                </a:cubicBezTo>
                <a:cubicBezTo>
                  <a:pt x="5890787" y="2698277"/>
                  <a:pt x="5881382" y="2698121"/>
                  <a:pt x="5872192" y="2701563"/>
                </a:cubicBezTo>
                <a:lnTo>
                  <a:pt x="5846703" y="2723549"/>
                </a:lnTo>
                <a:lnTo>
                  <a:pt x="5837261" y="2721730"/>
                </a:lnTo>
                <a:cubicBezTo>
                  <a:pt x="5839624" y="2712914"/>
                  <a:pt x="5850802" y="2706461"/>
                  <a:pt x="5850802" y="2706461"/>
                </a:cubicBezTo>
                <a:cubicBezTo>
                  <a:pt x="5850802" y="2706461"/>
                  <a:pt x="5853164" y="2697645"/>
                  <a:pt x="5853164" y="2697645"/>
                </a:cubicBezTo>
                <a:cubicBezTo>
                  <a:pt x="5853164" y="2697645"/>
                  <a:pt x="5850802" y="2706461"/>
                  <a:pt x="5841986" y="2704098"/>
                </a:cubicBezTo>
                <a:cubicBezTo>
                  <a:pt x="5837895" y="2684105"/>
                  <a:pt x="5866703" y="2682378"/>
                  <a:pt x="5861979" y="2700007"/>
                </a:cubicBezTo>
                <a:cubicBezTo>
                  <a:pt x="5870795" y="2702369"/>
                  <a:pt x="5855526" y="2688829"/>
                  <a:pt x="5866703" y="2682378"/>
                </a:cubicBezTo>
                <a:cubicBezTo>
                  <a:pt x="5873158" y="2693553"/>
                  <a:pt x="5893148" y="2689464"/>
                  <a:pt x="5877881" y="2675925"/>
                </a:cubicBezTo>
                <a:cubicBezTo>
                  <a:pt x="5880676" y="2674311"/>
                  <a:pt x="5883578" y="2674498"/>
                  <a:pt x="5886323" y="2675824"/>
                </a:cubicBezTo>
                <a:close/>
                <a:moveTo>
                  <a:pt x="8171021" y="2669605"/>
                </a:moveTo>
                <a:cubicBezTo>
                  <a:pt x="8177127" y="2669898"/>
                  <a:pt x="8189237" y="2670869"/>
                  <a:pt x="8192985" y="2671460"/>
                </a:cubicBezTo>
                <a:cubicBezTo>
                  <a:pt x="8195485" y="2671855"/>
                  <a:pt x="8194267" y="2672078"/>
                  <a:pt x="8185076" y="2671821"/>
                </a:cubicBezTo>
                <a:cubicBezTo>
                  <a:pt x="8164811" y="2669698"/>
                  <a:pt x="8164915" y="2669312"/>
                  <a:pt x="8171021" y="2669605"/>
                </a:cubicBezTo>
                <a:close/>
                <a:moveTo>
                  <a:pt x="9398766" y="2657525"/>
                </a:moveTo>
                <a:cubicBezTo>
                  <a:pt x="9418035" y="2653869"/>
                  <a:pt x="9447900" y="2661872"/>
                  <a:pt x="9480409" y="2672787"/>
                </a:cubicBezTo>
                <a:cubicBezTo>
                  <a:pt x="9512922" y="2683702"/>
                  <a:pt x="9548082" y="2697534"/>
                  <a:pt x="9577944" y="2705535"/>
                </a:cubicBezTo>
                <a:cubicBezTo>
                  <a:pt x="9586475" y="2707821"/>
                  <a:pt x="9586475" y="2707821"/>
                  <a:pt x="9595008" y="2710107"/>
                </a:cubicBezTo>
                <a:cubicBezTo>
                  <a:pt x="9626932" y="2727480"/>
                  <a:pt x="9567207" y="2711476"/>
                  <a:pt x="9558676" y="2709190"/>
                </a:cubicBezTo>
                <a:cubicBezTo>
                  <a:pt x="9498948" y="2693186"/>
                  <a:pt x="9426568" y="2656156"/>
                  <a:pt x="9398766" y="2657525"/>
                </a:cubicBezTo>
                <a:close/>
                <a:moveTo>
                  <a:pt x="7996253" y="2656993"/>
                </a:moveTo>
                <a:cubicBezTo>
                  <a:pt x="8002505" y="2667836"/>
                  <a:pt x="8038966" y="2668438"/>
                  <a:pt x="8045216" y="2679281"/>
                </a:cubicBezTo>
                <a:cubicBezTo>
                  <a:pt x="8045216" y="2679281"/>
                  <a:pt x="8008755" y="2678677"/>
                  <a:pt x="7983129" y="2671810"/>
                </a:cubicBezTo>
                <a:cubicBezTo>
                  <a:pt x="7993961" y="2665547"/>
                  <a:pt x="7985420" y="2663258"/>
                  <a:pt x="7996253" y="2656993"/>
                </a:cubicBezTo>
                <a:close/>
                <a:moveTo>
                  <a:pt x="391401" y="2655798"/>
                </a:moveTo>
                <a:cubicBezTo>
                  <a:pt x="397424" y="2666230"/>
                  <a:pt x="389196" y="2664026"/>
                  <a:pt x="395219" y="2674457"/>
                </a:cubicBezTo>
                <a:lnTo>
                  <a:pt x="393015" y="2682685"/>
                </a:lnTo>
                <a:cubicBezTo>
                  <a:pt x="384787" y="2680481"/>
                  <a:pt x="380969" y="2661821"/>
                  <a:pt x="391401" y="2655798"/>
                </a:cubicBezTo>
                <a:close/>
                <a:moveTo>
                  <a:pt x="8127218" y="2647500"/>
                </a:moveTo>
                <a:cubicBezTo>
                  <a:pt x="8143673" y="2651909"/>
                  <a:pt x="8139264" y="2668364"/>
                  <a:pt x="8157924" y="2664545"/>
                </a:cubicBezTo>
                <a:cubicBezTo>
                  <a:pt x="8147492" y="2670568"/>
                  <a:pt x="8122809" y="2663955"/>
                  <a:pt x="8104150" y="2667773"/>
                </a:cubicBezTo>
                <a:cubicBezTo>
                  <a:pt x="8110763" y="2643091"/>
                  <a:pt x="8125014" y="2655727"/>
                  <a:pt x="8127218" y="2647500"/>
                </a:cubicBezTo>
                <a:close/>
                <a:moveTo>
                  <a:pt x="7525511" y="2640590"/>
                </a:moveTo>
                <a:lnTo>
                  <a:pt x="7532509" y="2641485"/>
                </a:lnTo>
                <a:lnTo>
                  <a:pt x="7534194" y="2642917"/>
                </a:lnTo>
                <a:cubicBezTo>
                  <a:pt x="7534194" y="2642917"/>
                  <a:pt x="7525511" y="2640590"/>
                  <a:pt x="7525511" y="2640590"/>
                </a:cubicBezTo>
                <a:close/>
                <a:moveTo>
                  <a:pt x="7618056" y="2638936"/>
                </a:moveTo>
                <a:cubicBezTo>
                  <a:pt x="7632306" y="2651572"/>
                  <a:pt x="7644943" y="2637322"/>
                  <a:pt x="7667421" y="2652163"/>
                </a:cubicBezTo>
                <a:cubicBezTo>
                  <a:pt x="7659193" y="2649959"/>
                  <a:pt x="7621874" y="2657595"/>
                  <a:pt x="7618056" y="2638936"/>
                </a:cubicBezTo>
                <a:close/>
                <a:moveTo>
                  <a:pt x="433129" y="2631706"/>
                </a:moveTo>
                <a:cubicBezTo>
                  <a:pt x="433129" y="2631706"/>
                  <a:pt x="430925" y="2639933"/>
                  <a:pt x="439152" y="2642138"/>
                </a:cubicBezTo>
                <a:cubicBezTo>
                  <a:pt x="436948" y="2650366"/>
                  <a:pt x="430925" y="2639933"/>
                  <a:pt x="422697" y="2637729"/>
                </a:cubicBezTo>
                <a:cubicBezTo>
                  <a:pt x="424902" y="2629501"/>
                  <a:pt x="430925" y="2639933"/>
                  <a:pt x="433129" y="2631706"/>
                </a:cubicBezTo>
                <a:close/>
                <a:moveTo>
                  <a:pt x="9357925" y="2628945"/>
                </a:moveTo>
                <a:cubicBezTo>
                  <a:pt x="9365321" y="2639745"/>
                  <a:pt x="9377124" y="2634089"/>
                  <a:pt x="9384518" y="2644889"/>
                </a:cubicBezTo>
                <a:cubicBezTo>
                  <a:pt x="9382313" y="2653116"/>
                  <a:pt x="9357925" y="2628945"/>
                  <a:pt x="9355721" y="2637172"/>
                </a:cubicBezTo>
                <a:cubicBezTo>
                  <a:pt x="9357925" y="2628945"/>
                  <a:pt x="9357925" y="2628945"/>
                  <a:pt x="9357925" y="2628945"/>
                </a:cubicBezTo>
                <a:close/>
                <a:moveTo>
                  <a:pt x="8940057" y="2628309"/>
                </a:moveTo>
                <a:cubicBezTo>
                  <a:pt x="8957082" y="2629564"/>
                  <a:pt x="8987824" y="2644415"/>
                  <a:pt x="8991131" y="2632074"/>
                </a:cubicBezTo>
                <a:cubicBezTo>
                  <a:pt x="8999359" y="2634278"/>
                  <a:pt x="8988927" y="2640301"/>
                  <a:pt x="8986722" y="2648529"/>
                </a:cubicBezTo>
                <a:cubicBezTo>
                  <a:pt x="8964244" y="2633687"/>
                  <a:pt x="8945584" y="2637506"/>
                  <a:pt x="8929129" y="2633097"/>
                </a:cubicBezTo>
                <a:cubicBezTo>
                  <a:pt x="8930231" y="2628983"/>
                  <a:pt x="8934382" y="2627891"/>
                  <a:pt x="8940057" y="2628309"/>
                </a:cubicBezTo>
                <a:close/>
                <a:moveTo>
                  <a:pt x="7537920" y="2627381"/>
                </a:moveTo>
                <a:cubicBezTo>
                  <a:pt x="7558695" y="2629641"/>
                  <a:pt x="7583096" y="2642793"/>
                  <a:pt x="7592918" y="2632197"/>
                </a:cubicBezTo>
                <a:cubicBezTo>
                  <a:pt x="7599396" y="2642751"/>
                  <a:pt x="7588509" y="2648652"/>
                  <a:pt x="7588509" y="2648652"/>
                </a:cubicBezTo>
                <a:lnTo>
                  <a:pt x="7532509" y="2641485"/>
                </a:lnTo>
                <a:lnTo>
                  <a:pt x="7519029" y="2630035"/>
                </a:lnTo>
                <a:cubicBezTo>
                  <a:pt x="7524474" y="2627085"/>
                  <a:pt x="7530996" y="2626628"/>
                  <a:pt x="7537920" y="2627381"/>
                </a:cubicBezTo>
                <a:close/>
                <a:moveTo>
                  <a:pt x="8952747" y="2610765"/>
                </a:moveTo>
                <a:cubicBezTo>
                  <a:pt x="8972232" y="2606065"/>
                  <a:pt x="8986756" y="2619878"/>
                  <a:pt x="9006237" y="2615177"/>
                </a:cubicBezTo>
                <a:cubicBezTo>
                  <a:pt x="8984276" y="2629134"/>
                  <a:pt x="9059731" y="2619590"/>
                  <a:pt x="9071773" y="2642658"/>
                </a:cubicBezTo>
                <a:cubicBezTo>
                  <a:pt x="9063273" y="2640380"/>
                  <a:pt x="9063273" y="2640380"/>
                  <a:pt x="9060792" y="2649637"/>
                </a:cubicBezTo>
                <a:cubicBezTo>
                  <a:pt x="9065753" y="2631124"/>
                  <a:pt x="9043788" y="2645080"/>
                  <a:pt x="9037766" y="2633546"/>
                </a:cubicBezTo>
                <a:cubicBezTo>
                  <a:pt x="9029264" y="2631268"/>
                  <a:pt x="9046268" y="2635824"/>
                  <a:pt x="9035286" y="2642802"/>
                </a:cubicBezTo>
                <a:cubicBezTo>
                  <a:pt x="9034046" y="2647430"/>
                  <a:pt x="9035286" y="2642802"/>
                  <a:pt x="9034401" y="2637605"/>
                </a:cubicBezTo>
                <a:lnTo>
                  <a:pt x="9028555" y="2633914"/>
                </a:lnTo>
                <a:lnTo>
                  <a:pt x="9029264" y="2631268"/>
                </a:lnTo>
                <a:cubicBezTo>
                  <a:pt x="9029264" y="2631268"/>
                  <a:pt x="9020762" y="2628990"/>
                  <a:pt x="9020762" y="2628990"/>
                </a:cubicBezTo>
                <a:lnTo>
                  <a:pt x="9028555" y="2633914"/>
                </a:lnTo>
                <a:lnTo>
                  <a:pt x="9024304" y="2649781"/>
                </a:lnTo>
                <a:cubicBezTo>
                  <a:pt x="9026784" y="2640524"/>
                  <a:pt x="9012260" y="2626712"/>
                  <a:pt x="9018282" y="2638246"/>
                </a:cubicBezTo>
                <a:cubicBezTo>
                  <a:pt x="9012260" y="2626712"/>
                  <a:pt x="8967271" y="2624578"/>
                  <a:pt x="8961249" y="2613043"/>
                </a:cubicBezTo>
                <a:cubicBezTo>
                  <a:pt x="8961249" y="2613043"/>
                  <a:pt x="8958768" y="2622299"/>
                  <a:pt x="8952747" y="2610765"/>
                </a:cubicBezTo>
                <a:close/>
                <a:moveTo>
                  <a:pt x="8904728" y="2603689"/>
                </a:moveTo>
                <a:lnTo>
                  <a:pt x="8907369" y="2608530"/>
                </a:lnTo>
                <a:lnTo>
                  <a:pt x="8903247" y="2603906"/>
                </a:lnTo>
                <a:close/>
                <a:moveTo>
                  <a:pt x="8912041" y="2591645"/>
                </a:moveTo>
                <a:cubicBezTo>
                  <a:pt x="8915678" y="2591844"/>
                  <a:pt x="8919027" y="2593671"/>
                  <a:pt x="8921317" y="2596144"/>
                </a:cubicBezTo>
                <a:cubicBezTo>
                  <a:pt x="8925895" y="2601093"/>
                  <a:pt x="8926240" y="2608626"/>
                  <a:pt x="8916185" y="2610892"/>
                </a:cubicBezTo>
                <a:cubicBezTo>
                  <a:pt x="8916185" y="2610892"/>
                  <a:pt x="8916185" y="2610892"/>
                  <a:pt x="8918665" y="2601636"/>
                </a:cubicBezTo>
                <a:lnTo>
                  <a:pt x="8904728" y="2603689"/>
                </a:lnTo>
                <a:lnTo>
                  <a:pt x="8901033" y="2596911"/>
                </a:lnTo>
                <a:cubicBezTo>
                  <a:pt x="8904477" y="2592874"/>
                  <a:pt x="8908403" y="2591445"/>
                  <a:pt x="8912041" y="2591645"/>
                </a:cubicBezTo>
                <a:close/>
                <a:moveTo>
                  <a:pt x="605996" y="2591565"/>
                </a:moveTo>
                <a:lnTo>
                  <a:pt x="604186" y="2601554"/>
                </a:lnTo>
                <a:lnTo>
                  <a:pt x="613750" y="2595246"/>
                </a:lnTo>
                <a:close/>
                <a:moveTo>
                  <a:pt x="8874586" y="2589825"/>
                </a:moveTo>
                <a:cubicBezTo>
                  <a:pt x="8884642" y="2587559"/>
                  <a:pt x="8889050" y="2588740"/>
                  <a:pt x="8892837" y="2592235"/>
                </a:cubicBezTo>
                <a:lnTo>
                  <a:pt x="8903247" y="2603906"/>
                </a:lnTo>
                <a:lnTo>
                  <a:pt x="8897762" y="2604714"/>
                </a:lnTo>
                <a:cubicBezTo>
                  <a:pt x="8890357" y="2601491"/>
                  <a:pt x="8882162" y="2596815"/>
                  <a:pt x="8872106" y="2599081"/>
                </a:cubicBezTo>
                <a:cubicBezTo>
                  <a:pt x="8880922" y="2601443"/>
                  <a:pt x="8883402" y="2592187"/>
                  <a:pt x="8874586" y="2589825"/>
                </a:cubicBezTo>
                <a:close/>
                <a:moveTo>
                  <a:pt x="7035186" y="2574812"/>
                </a:moveTo>
                <a:cubicBezTo>
                  <a:pt x="7038676" y="2574601"/>
                  <a:pt x="7042947" y="2575746"/>
                  <a:pt x="7047219" y="2576890"/>
                </a:cubicBezTo>
                <a:cubicBezTo>
                  <a:pt x="7047219" y="2576890"/>
                  <a:pt x="7044927" y="2585444"/>
                  <a:pt x="7044927" y="2585444"/>
                </a:cubicBezTo>
                <a:cubicBezTo>
                  <a:pt x="7041229" y="2582161"/>
                  <a:pt x="7038169" y="2580768"/>
                  <a:pt x="7035259" y="2580418"/>
                </a:cubicBezTo>
                <a:lnTo>
                  <a:pt x="7029293" y="2581255"/>
                </a:lnTo>
                <a:lnTo>
                  <a:pt x="7027843" y="2580866"/>
                </a:lnTo>
                <a:cubicBezTo>
                  <a:pt x="7028989" y="2576589"/>
                  <a:pt x="7031697" y="2575023"/>
                  <a:pt x="7035186" y="2574812"/>
                </a:cubicBezTo>
                <a:close/>
                <a:moveTo>
                  <a:pt x="624114" y="2560225"/>
                </a:moveTo>
                <a:lnTo>
                  <a:pt x="624703" y="2560325"/>
                </a:lnTo>
                <a:lnTo>
                  <a:pt x="624188" y="2561072"/>
                </a:lnTo>
                <a:close/>
                <a:moveTo>
                  <a:pt x="344539" y="2557742"/>
                </a:moveTo>
                <a:lnTo>
                  <a:pt x="344742" y="2558419"/>
                </a:lnTo>
                <a:cubicBezTo>
                  <a:pt x="345421" y="2564112"/>
                  <a:pt x="344319" y="2568226"/>
                  <a:pt x="342409" y="2558896"/>
                </a:cubicBezTo>
                <a:close/>
                <a:moveTo>
                  <a:pt x="620231" y="2541676"/>
                </a:moveTo>
                <a:cubicBezTo>
                  <a:pt x="624501" y="2542820"/>
                  <a:pt x="623928" y="2544958"/>
                  <a:pt x="623069" y="2548166"/>
                </a:cubicBezTo>
                <a:lnTo>
                  <a:pt x="624114" y="2560225"/>
                </a:lnTo>
                <a:lnTo>
                  <a:pt x="615646" y="2558784"/>
                </a:lnTo>
                <a:cubicBezTo>
                  <a:pt x="617938" y="2550230"/>
                  <a:pt x="609395" y="2547940"/>
                  <a:pt x="620231" y="2541676"/>
                </a:cubicBezTo>
                <a:close/>
                <a:moveTo>
                  <a:pt x="338591" y="2540236"/>
                </a:moveTo>
                <a:cubicBezTo>
                  <a:pt x="344614" y="2550668"/>
                  <a:pt x="352841" y="2552873"/>
                  <a:pt x="350637" y="2561100"/>
                </a:cubicBezTo>
                <a:cubicBezTo>
                  <a:pt x="355154" y="2568925"/>
                  <a:pt x="349508" y="2559144"/>
                  <a:pt x="345472" y="2557236"/>
                </a:cubicBezTo>
                <a:lnTo>
                  <a:pt x="344539" y="2557742"/>
                </a:lnTo>
                <a:lnTo>
                  <a:pt x="342266" y="2550177"/>
                </a:lnTo>
                <a:cubicBezTo>
                  <a:pt x="340914" y="2548023"/>
                  <a:pt x="338994" y="2546958"/>
                  <a:pt x="336386" y="2548464"/>
                </a:cubicBezTo>
                <a:cubicBezTo>
                  <a:pt x="338591" y="2540236"/>
                  <a:pt x="338591" y="2540236"/>
                  <a:pt x="338591" y="2540236"/>
                </a:cubicBezTo>
                <a:close/>
                <a:moveTo>
                  <a:pt x="9818951" y="2528165"/>
                </a:moveTo>
                <a:cubicBezTo>
                  <a:pt x="9827849" y="2528896"/>
                  <a:pt x="9851705" y="2538595"/>
                  <a:pt x="9859530" y="2534078"/>
                </a:cubicBezTo>
                <a:cubicBezTo>
                  <a:pt x="9855120" y="2550533"/>
                  <a:pt x="9834846" y="2527464"/>
                  <a:pt x="9816187" y="2531282"/>
                </a:cubicBezTo>
                <a:cubicBezTo>
                  <a:pt x="9814681" y="2528674"/>
                  <a:pt x="9815985" y="2527922"/>
                  <a:pt x="9818951" y="2528165"/>
                </a:cubicBezTo>
                <a:close/>
                <a:moveTo>
                  <a:pt x="370252" y="2522632"/>
                </a:moveTo>
                <a:cubicBezTo>
                  <a:pt x="387622" y="2527286"/>
                  <a:pt x="376641" y="2533531"/>
                  <a:pt x="385324" y="2535858"/>
                </a:cubicBezTo>
                <a:cubicBezTo>
                  <a:pt x="383028" y="2544428"/>
                  <a:pt x="383028" y="2544428"/>
                  <a:pt x="383028" y="2544428"/>
                </a:cubicBezTo>
                <a:cubicBezTo>
                  <a:pt x="380732" y="2552997"/>
                  <a:pt x="391715" y="2546755"/>
                  <a:pt x="400398" y="2549082"/>
                </a:cubicBezTo>
                <a:cubicBezTo>
                  <a:pt x="394011" y="2538186"/>
                  <a:pt x="389918" y="2518716"/>
                  <a:pt x="407288" y="2523371"/>
                </a:cubicBezTo>
                <a:cubicBezTo>
                  <a:pt x="394011" y="2538186"/>
                  <a:pt x="420064" y="2545167"/>
                  <a:pt x="409082" y="2551409"/>
                </a:cubicBezTo>
                <a:cubicBezTo>
                  <a:pt x="409082" y="2551409"/>
                  <a:pt x="415472" y="2562306"/>
                  <a:pt x="432841" y="2566960"/>
                </a:cubicBezTo>
                <a:cubicBezTo>
                  <a:pt x="428248" y="2584102"/>
                  <a:pt x="410879" y="2579448"/>
                  <a:pt x="412673" y="2607486"/>
                </a:cubicBezTo>
                <a:cubicBezTo>
                  <a:pt x="403989" y="2605159"/>
                  <a:pt x="391213" y="2583363"/>
                  <a:pt x="386619" y="2600505"/>
                </a:cubicBezTo>
                <a:cubicBezTo>
                  <a:pt x="386619" y="2600505"/>
                  <a:pt x="388916" y="2591935"/>
                  <a:pt x="391213" y="2583363"/>
                </a:cubicBezTo>
                <a:cubicBezTo>
                  <a:pt x="382529" y="2581036"/>
                  <a:pt x="377936" y="2598178"/>
                  <a:pt x="373843" y="2578709"/>
                </a:cubicBezTo>
                <a:cubicBezTo>
                  <a:pt x="369502" y="2577546"/>
                  <a:pt x="365608" y="2583393"/>
                  <a:pt x="363599" y="2590892"/>
                </a:cubicBezTo>
                <a:lnTo>
                  <a:pt x="364501" y="2609718"/>
                </a:lnTo>
                <a:lnTo>
                  <a:pt x="376245" y="2615175"/>
                </a:lnTo>
                <a:cubicBezTo>
                  <a:pt x="378523" y="2620563"/>
                  <a:pt x="379046" y="2627869"/>
                  <a:pt x="377851" y="2632326"/>
                </a:cubicBezTo>
                <a:lnTo>
                  <a:pt x="379712" y="2625383"/>
                </a:lnTo>
                <a:lnTo>
                  <a:pt x="378752" y="2624851"/>
                </a:lnTo>
                <a:cubicBezTo>
                  <a:pt x="371976" y="2613115"/>
                  <a:pt x="395448" y="2599562"/>
                  <a:pt x="411481" y="2613779"/>
                </a:cubicBezTo>
                <a:cubicBezTo>
                  <a:pt x="409001" y="2623036"/>
                  <a:pt x="409001" y="2623036"/>
                  <a:pt x="406520" y="2632292"/>
                </a:cubicBezTo>
                <a:cubicBezTo>
                  <a:pt x="400652" y="2635680"/>
                  <a:pt x="396024" y="2634440"/>
                  <a:pt x="391706" y="2632041"/>
                </a:cubicBezTo>
                <a:lnTo>
                  <a:pt x="380222" y="2625667"/>
                </a:lnTo>
                <a:lnTo>
                  <a:pt x="380127" y="2637712"/>
                </a:lnTo>
                <a:cubicBezTo>
                  <a:pt x="375463" y="2641240"/>
                  <a:pt x="369641" y="2644454"/>
                  <a:pt x="373075" y="2650151"/>
                </a:cubicBezTo>
                <a:cubicBezTo>
                  <a:pt x="370686" y="2659066"/>
                  <a:pt x="375463" y="2641240"/>
                  <a:pt x="366207" y="2638760"/>
                </a:cubicBezTo>
                <a:cubicBezTo>
                  <a:pt x="374417" y="2626628"/>
                  <a:pt x="375612" y="2622171"/>
                  <a:pt x="373895" y="2619322"/>
                </a:cubicBezTo>
                <a:lnTo>
                  <a:pt x="364512" y="2609934"/>
                </a:lnTo>
                <a:lnTo>
                  <a:pt x="364656" y="2612992"/>
                </a:lnTo>
                <a:cubicBezTo>
                  <a:pt x="344991" y="2616907"/>
                  <a:pt x="373843" y="2578709"/>
                  <a:pt x="356473" y="2574054"/>
                </a:cubicBezTo>
                <a:cubicBezTo>
                  <a:pt x="367455" y="2567812"/>
                  <a:pt x="367455" y="2567812"/>
                  <a:pt x="378435" y="2561569"/>
                </a:cubicBezTo>
                <a:cubicBezTo>
                  <a:pt x="372049" y="2550671"/>
                  <a:pt x="361065" y="2556915"/>
                  <a:pt x="354679" y="2546016"/>
                </a:cubicBezTo>
                <a:cubicBezTo>
                  <a:pt x="356975" y="2537447"/>
                  <a:pt x="363362" y="2548343"/>
                  <a:pt x="372049" y="2550671"/>
                </a:cubicBezTo>
                <a:cubicBezTo>
                  <a:pt x="365658" y="2539773"/>
                  <a:pt x="383028" y="2544428"/>
                  <a:pt x="370252" y="2522632"/>
                </a:cubicBezTo>
                <a:close/>
                <a:moveTo>
                  <a:pt x="573450" y="2519395"/>
                </a:moveTo>
                <a:lnTo>
                  <a:pt x="581677" y="2521599"/>
                </a:lnTo>
                <a:cubicBezTo>
                  <a:pt x="579252" y="2530648"/>
                  <a:pt x="566174" y="2546547"/>
                  <a:pt x="585055" y="2541904"/>
                </a:cubicBezTo>
                <a:cubicBezTo>
                  <a:pt x="586007" y="2571261"/>
                  <a:pt x="563750" y="2555596"/>
                  <a:pt x="553097" y="2562443"/>
                </a:cubicBezTo>
                <a:cubicBezTo>
                  <a:pt x="547294" y="2551187"/>
                  <a:pt x="549719" y="2542138"/>
                  <a:pt x="560372" y="2535291"/>
                </a:cubicBezTo>
                <a:cubicBezTo>
                  <a:pt x="568600" y="2537495"/>
                  <a:pt x="555522" y="2553391"/>
                  <a:pt x="563750" y="2555596"/>
                </a:cubicBezTo>
                <a:cubicBezTo>
                  <a:pt x="585055" y="2541904"/>
                  <a:pt x="560372" y="2535291"/>
                  <a:pt x="573450" y="2519395"/>
                </a:cubicBezTo>
                <a:close/>
                <a:moveTo>
                  <a:pt x="9715478" y="2510056"/>
                </a:moveTo>
                <a:lnTo>
                  <a:pt x="9715716" y="2511357"/>
                </a:lnTo>
                <a:lnTo>
                  <a:pt x="9712167" y="2512226"/>
                </a:lnTo>
                <a:close/>
                <a:moveTo>
                  <a:pt x="9729369" y="2508017"/>
                </a:moveTo>
                <a:cubicBezTo>
                  <a:pt x="9730962" y="2510649"/>
                  <a:pt x="9729308" y="2516819"/>
                  <a:pt x="9727104" y="2525046"/>
                </a:cubicBezTo>
                <a:cubicBezTo>
                  <a:pt x="9728206" y="2520931"/>
                  <a:pt x="9721777" y="2519209"/>
                  <a:pt x="9716696" y="2516747"/>
                </a:cubicBezTo>
                <a:lnTo>
                  <a:pt x="9715716" y="2511357"/>
                </a:lnTo>
                <a:close/>
                <a:moveTo>
                  <a:pt x="9698559" y="2506237"/>
                </a:moveTo>
                <a:cubicBezTo>
                  <a:pt x="9703873" y="2508901"/>
                  <a:pt x="9714248" y="2521602"/>
                  <a:pt x="9727104" y="2525046"/>
                </a:cubicBezTo>
                <a:cubicBezTo>
                  <a:pt x="9752815" y="2531936"/>
                  <a:pt x="9772162" y="2528301"/>
                  <a:pt x="9787096" y="2541121"/>
                </a:cubicBezTo>
                <a:cubicBezTo>
                  <a:pt x="9759180" y="2542459"/>
                  <a:pt x="9718534" y="2522750"/>
                  <a:pt x="9684250" y="2513564"/>
                </a:cubicBezTo>
                <a:cubicBezTo>
                  <a:pt x="9686455" y="2505336"/>
                  <a:pt x="9709962" y="2520453"/>
                  <a:pt x="9695028" y="2507633"/>
                </a:cubicBezTo>
                <a:cubicBezTo>
                  <a:pt x="9695579" y="2505576"/>
                  <a:pt x="9696788" y="2505349"/>
                  <a:pt x="9698559" y="2506237"/>
                </a:cubicBezTo>
                <a:close/>
                <a:moveTo>
                  <a:pt x="9748457" y="2504313"/>
                </a:moveTo>
                <a:cubicBezTo>
                  <a:pt x="9754480" y="2514745"/>
                  <a:pt x="9735821" y="2518564"/>
                  <a:pt x="9744048" y="2520768"/>
                </a:cubicBezTo>
                <a:cubicBezTo>
                  <a:pt x="9741844" y="2528996"/>
                  <a:pt x="9738025" y="2510336"/>
                  <a:pt x="9748457" y="2504313"/>
                </a:cubicBezTo>
                <a:close/>
                <a:moveTo>
                  <a:pt x="9714372" y="2503998"/>
                </a:moveTo>
                <a:cubicBezTo>
                  <a:pt x="9718657" y="2505147"/>
                  <a:pt x="9720800" y="2505721"/>
                  <a:pt x="9720525" y="2506749"/>
                </a:cubicBezTo>
                <a:lnTo>
                  <a:pt x="9715478" y="2510056"/>
                </a:lnTo>
                <a:close/>
                <a:moveTo>
                  <a:pt x="9740230" y="2502109"/>
                </a:moveTo>
                <a:cubicBezTo>
                  <a:pt x="9740230" y="2502109"/>
                  <a:pt x="9740230" y="2502109"/>
                  <a:pt x="9748457" y="2504313"/>
                </a:cubicBezTo>
                <a:cubicBezTo>
                  <a:pt x="9740230" y="2502109"/>
                  <a:pt x="9738025" y="2510336"/>
                  <a:pt x="9738025" y="2510336"/>
                </a:cubicBezTo>
                <a:cubicBezTo>
                  <a:pt x="9729797" y="2508132"/>
                  <a:pt x="9738025" y="2510336"/>
                  <a:pt x="9740230" y="2502109"/>
                </a:cubicBezTo>
                <a:close/>
                <a:moveTo>
                  <a:pt x="588293" y="2496917"/>
                </a:moveTo>
                <a:cubicBezTo>
                  <a:pt x="596521" y="2499122"/>
                  <a:pt x="569634" y="2500736"/>
                  <a:pt x="586089" y="2505145"/>
                </a:cubicBezTo>
                <a:cubicBezTo>
                  <a:pt x="577861" y="2502940"/>
                  <a:pt x="577861" y="2502940"/>
                  <a:pt x="569634" y="2500736"/>
                </a:cubicBezTo>
                <a:cubicBezTo>
                  <a:pt x="571838" y="2492508"/>
                  <a:pt x="577861" y="2502940"/>
                  <a:pt x="588293" y="2496917"/>
                </a:cubicBezTo>
                <a:close/>
                <a:moveTo>
                  <a:pt x="9368147" y="2492064"/>
                </a:moveTo>
                <a:cubicBezTo>
                  <a:pt x="9385517" y="2496718"/>
                  <a:pt x="9382945" y="2506319"/>
                  <a:pt x="9400314" y="2510973"/>
                </a:cubicBezTo>
                <a:cubicBezTo>
                  <a:pt x="9402887" y="2501372"/>
                  <a:pt x="9385517" y="2496718"/>
                  <a:pt x="9385517" y="2496718"/>
                </a:cubicBezTo>
                <a:cubicBezTo>
                  <a:pt x="9396775" y="2489447"/>
                  <a:pt x="9411570" y="2503699"/>
                  <a:pt x="9408998" y="2513300"/>
                </a:cubicBezTo>
                <a:cubicBezTo>
                  <a:pt x="9417684" y="2515628"/>
                  <a:pt x="9420257" y="2506027"/>
                  <a:pt x="9422829" y="2496428"/>
                </a:cubicBezTo>
                <a:cubicBezTo>
                  <a:pt x="9428941" y="2508353"/>
                  <a:pt x="9448882" y="2503409"/>
                  <a:pt x="9435054" y="2520282"/>
                </a:cubicBezTo>
                <a:cubicBezTo>
                  <a:pt x="9426368" y="2517954"/>
                  <a:pt x="9371689" y="2513591"/>
                  <a:pt x="9368147" y="2492064"/>
                </a:cubicBezTo>
                <a:close/>
                <a:moveTo>
                  <a:pt x="9335237" y="2483246"/>
                </a:moveTo>
                <a:cubicBezTo>
                  <a:pt x="9354264" y="2478057"/>
                  <a:pt x="9346548" y="2506854"/>
                  <a:pt x="9359920" y="2489859"/>
                </a:cubicBezTo>
                <a:cubicBezTo>
                  <a:pt x="9363003" y="2511263"/>
                  <a:pt x="9330093" y="2502445"/>
                  <a:pt x="9335237" y="2483246"/>
                </a:cubicBezTo>
                <a:close/>
                <a:moveTo>
                  <a:pt x="598229" y="2446463"/>
                </a:moveTo>
                <a:cubicBezTo>
                  <a:pt x="599515" y="2446807"/>
                  <a:pt x="600079" y="2448818"/>
                  <a:pt x="600488" y="2451408"/>
                </a:cubicBezTo>
                <a:cubicBezTo>
                  <a:pt x="601305" y="2456587"/>
                  <a:pt x="601500" y="2464080"/>
                  <a:pt x="605615" y="2465183"/>
                </a:cubicBezTo>
                <a:cubicBezTo>
                  <a:pt x="603135" y="2474439"/>
                  <a:pt x="589160" y="2460774"/>
                  <a:pt x="578452" y="2467826"/>
                </a:cubicBezTo>
                <a:cubicBezTo>
                  <a:pt x="580932" y="2458569"/>
                  <a:pt x="599868" y="2453722"/>
                  <a:pt x="591640" y="2451517"/>
                </a:cubicBezTo>
                <a:cubicBezTo>
                  <a:pt x="594936" y="2447440"/>
                  <a:pt x="596944" y="2446118"/>
                  <a:pt x="598229" y="2446463"/>
                </a:cubicBezTo>
                <a:close/>
                <a:moveTo>
                  <a:pt x="9225082" y="2444628"/>
                </a:moveTo>
                <a:lnTo>
                  <a:pt x="9301781" y="2465902"/>
                </a:lnTo>
                <a:cubicBezTo>
                  <a:pt x="9290945" y="2472167"/>
                  <a:pt x="9252819" y="2443614"/>
                  <a:pt x="9265320" y="2465300"/>
                </a:cubicBezTo>
                <a:cubicBezTo>
                  <a:pt x="9250527" y="2452168"/>
                  <a:pt x="9239694" y="2458434"/>
                  <a:pt x="9224901" y="2445302"/>
                </a:cubicBezTo>
                <a:close/>
                <a:moveTo>
                  <a:pt x="9950999" y="2439539"/>
                </a:moveTo>
                <a:cubicBezTo>
                  <a:pt x="9955114" y="2440642"/>
                  <a:pt x="9965948" y="2441340"/>
                  <a:pt x="9975480" y="2442791"/>
                </a:cubicBezTo>
                <a:cubicBezTo>
                  <a:pt x="9985011" y="2444242"/>
                  <a:pt x="9993239" y="2446447"/>
                  <a:pt x="9992136" y="2450562"/>
                </a:cubicBezTo>
                <a:close/>
                <a:moveTo>
                  <a:pt x="675652" y="2437345"/>
                </a:moveTo>
                <a:cubicBezTo>
                  <a:pt x="664819" y="2443610"/>
                  <a:pt x="653983" y="2449875"/>
                  <a:pt x="643150" y="2456138"/>
                </a:cubicBezTo>
                <a:cubicBezTo>
                  <a:pt x="645442" y="2447586"/>
                  <a:pt x="634607" y="2453849"/>
                  <a:pt x="634607" y="2453849"/>
                </a:cubicBezTo>
                <a:cubicBezTo>
                  <a:pt x="636898" y="2445297"/>
                  <a:pt x="656275" y="2441321"/>
                  <a:pt x="675652" y="2437345"/>
                </a:cubicBezTo>
                <a:close/>
                <a:moveTo>
                  <a:pt x="9944628" y="2434524"/>
                </a:moveTo>
                <a:cubicBezTo>
                  <a:pt x="9945932" y="2433771"/>
                  <a:pt x="9947989" y="2434322"/>
                  <a:pt x="9950999" y="2439539"/>
                </a:cubicBezTo>
                <a:lnTo>
                  <a:pt x="9942772" y="2437335"/>
                </a:lnTo>
                <a:cubicBezTo>
                  <a:pt x="9942772" y="2437335"/>
                  <a:pt x="9943323" y="2435277"/>
                  <a:pt x="9944628" y="2434524"/>
                </a:cubicBezTo>
                <a:close/>
                <a:moveTo>
                  <a:pt x="10274450" y="2433618"/>
                </a:moveTo>
                <a:cubicBezTo>
                  <a:pt x="10290905" y="2438027"/>
                  <a:pt x="10290905" y="2438027"/>
                  <a:pt x="10299133" y="2440231"/>
                </a:cubicBezTo>
                <a:cubicBezTo>
                  <a:pt x="10296928" y="2448459"/>
                  <a:pt x="10280473" y="2444050"/>
                  <a:pt x="10272245" y="2441845"/>
                </a:cubicBezTo>
                <a:cubicBezTo>
                  <a:pt x="10274450" y="2433618"/>
                  <a:pt x="10274450" y="2433618"/>
                  <a:pt x="10274450" y="2433618"/>
                </a:cubicBezTo>
                <a:close/>
                <a:moveTo>
                  <a:pt x="8728008" y="2429297"/>
                </a:moveTo>
                <a:cubicBezTo>
                  <a:pt x="8725252" y="2439582"/>
                  <a:pt x="8715654" y="2437010"/>
                  <a:pt x="8712898" y="2447295"/>
                </a:cubicBezTo>
                <a:cubicBezTo>
                  <a:pt x="8703300" y="2444723"/>
                  <a:pt x="8706056" y="2434438"/>
                  <a:pt x="8696455" y="2431865"/>
                </a:cubicBezTo>
                <a:cubicBezTo>
                  <a:pt x="8706056" y="2434438"/>
                  <a:pt x="8718410" y="2426725"/>
                  <a:pt x="8728008" y="2429297"/>
                </a:cubicBezTo>
                <a:close/>
                <a:moveTo>
                  <a:pt x="9310050" y="2428455"/>
                </a:moveTo>
                <a:cubicBezTo>
                  <a:pt x="9318295" y="2429286"/>
                  <a:pt x="9325924" y="2431882"/>
                  <a:pt x="9333683" y="2435063"/>
                </a:cubicBezTo>
                <a:cubicBezTo>
                  <a:pt x="9349200" y="2441427"/>
                  <a:pt x="9365241" y="2450132"/>
                  <a:pt x="9387768" y="2451761"/>
                </a:cubicBezTo>
                <a:cubicBezTo>
                  <a:pt x="9355442" y="2469554"/>
                  <a:pt x="9310634" y="2431093"/>
                  <a:pt x="9282717" y="2432431"/>
                </a:cubicBezTo>
                <a:cubicBezTo>
                  <a:pt x="9292942" y="2428556"/>
                  <a:pt x="9301804" y="2427624"/>
                  <a:pt x="9310050" y="2428455"/>
                </a:cubicBezTo>
                <a:close/>
                <a:moveTo>
                  <a:pt x="9688929" y="2420667"/>
                </a:moveTo>
                <a:lnTo>
                  <a:pt x="9693253" y="2420739"/>
                </a:lnTo>
                <a:lnTo>
                  <a:pt x="9691221" y="2421739"/>
                </a:lnTo>
                <a:close/>
                <a:moveTo>
                  <a:pt x="9683631" y="2418189"/>
                </a:moveTo>
                <a:lnTo>
                  <a:pt x="9688929" y="2420667"/>
                </a:lnTo>
                <a:lnTo>
                  <a:pt x="9682719" y="2420563"/>
                </a:lnTo>
                <a:cubicBezTo>
                  <a:pt x="9681214" y="2417955"/>
                  <a:pt x="9681866" y="2417578"/>
                  <a:pt x="9683631" y="2418189"/>
                </a:cubicBezTo>
                <a:close/>
                <a:moveTo>
                  <a:pt x="9701378" y="2416745"/>
                </a:moveTo>
                <a:cubicBezTo>
                  <a:pt x="9709605" y="2418949"/>
                  <a:pt x="9709605" y="2418949"/>
                  <a:pt x="9717833" y="2421154"/>
                </a:cubicBezTo>
                <a:lnTo>
                  <a:pt x="9693253" y="2420739"/>
                </a:lnTo>
                <a:close/>
                <a:moveTo>
                  <a:pt x="8777961" y="2407408"/>
                </a:moveTo>
                <a:cubicBezTo>
                  <a:pt x="8784143" y="2418433"/>
                  <a:pt x="8803526" y="2414258"/>
                  <a:pt x="8801184" y="2422999"/>
                </a:cubicBezTo>
                <a:cubicBezTo>
                  <a:pt x="8922826" y="2446225"/>
                  <a:pt x="9073019" y="2533315"/>
                  <a:pt x="9177618" y="2551974"/>
                </a:cubicBezTo>
                <a:cubicBezTo>
                  <a:pt x="9181878" y="2553116"/>
                  <a:pt x="9180707" y="2557487"/>
                  <a:pt x="9177698" y="2560194"/>
                </a:cubicBezTo>
                <a:lnTo>
                  <a:pt x="9173189" y="2562019"/>
                </a:lnTo>
                <a:lnTo>
                  <a:pt x="9166756" y="2558432"/>
                </a:lnTo>
                <a:cubicBezTo>
                  <a:pt x="9168300" y="2561188"/>
                  <a:pt x="9170284" y="2562306"/>
                  <a:pt x="9172257" y="2562396"/>
                </a:cubicBezTo>
                <a:lnTo>
                  <a:pt x="9173189" y="2562019"/>
                </a:lnTo>
                <a:lnTo>
                  <a:pt x="9180910" y="2566324"/>
                </a:lnTo>
                <a:cubicBezTo>
                  <a:pt x="9192453" y="2571174"/>
                  <a:pt x="9198125" y="2569180"/>
                  <a:pt x="9215540" y="2580875"/>
                </a:cubicBezTo>
                <a:lnTo>
                  <a:pt x="9224061" y="2583158"/>
                </a:lnTo>
                <a:cubicBezTo>
                  <a:pt x="9189977" y="2574025"/>
                  <a:pt x="9145028" y="2571349"/>
                  <a:pt x="9130326" y="2558042"/>
                </a:cubicBezTo>
                <a:cubicBezTo>
                  <a:pt x="9121806" y="2555759"/>
                  <a:pt x="9119464" y="2564499"/>
                  <a:pt x="9121806" y="2555759"/>
                </a:cubicBezTo>
                <a:cubicBezTo>
                  <a:pt x="9121806" y="2555759"/>
                  <a:pt x="9121806" y="2555759"/>
                  <a:pt x="9124149" y="2547015"/>
                </a:cubicBezTo>
                <a:cubicBezTo>
                  <a:pt x="9115626" y="2544732"/>
                  <a:pt x="9100078" y="2568676"/>
                  <a:pt x="9107106" y="2542449"/>
                </a:cubicBezTo>
                <a:cubicBezTo>
                  <a:pt x="9085377" y="2555366"/>
                  <a:pt x="9058320" y="2520009"/>
                  <a:pt x="9036593" y="2532926"/>
                </a:cubicBezTo>
                <a:cubicBezTo>
                  <a:pt x="9013371" y="2517333"/>
                  <a:pt x="8958406" y="2483866"/>
                  <a:pt x="8907279" y="2470166"/>
                </a:cubicBezTo>
                <a:cubicBezTo>
                  <a:pt x="8881713" y="2463316"/>
                  <a:pt x="8858491" y="2447725"/>
                  <a:pt x="8832927" y="2440876"/>
                </a:cubicBezTo>
                <a:cubicBezTo>
                  <a:pt x="8815884" y="2436309"/>
                  <a:pt x="8805021" y="2442766"/>
                  <a:pt x="8773277" y="2424892"/>
                </a:cubicBezTo>
                <a:cubicBezTo>
                  <a:pt x="8775619" y="2416149"/>
                  <a:pt x="8775619" y="2416149"/>
                  <a:pt x="8777961" y="2407408"/>
                </a:cubicBezTo>
                <a:close/>
                <a:moveTo>
                  <a:pt x="9622642" y="2396022"/>
                </a:moveTo>
                <a:lnTo>
                  <a:pt x="9631183" y="2398311"/>
                </a:lnTo>
                <a:cubicBezTo>
                  <a:pt x="9635456" y="2399456"/>
                  <a:pt x="9642436" y="2399032"/>
                  <a:pt x="9650198" y="2399968"/>
                </a:cubicBezTo>
                <a:cubicBezTo>
                  <a:pt x="9657958" y="2400900"/>
                  <a:pt x="9666502" y="2403189"/>
                  <a:pt x="9673896" y="2409756"/>
                </a:cubicBezTo>
                <a:cubicBezTo>
                  <a:pt x="9663060" y="2416021"/>
                  <a:pt x="9626599" y="2415416"/>
                  <a:pt x="9622642" y="2396022"/>
                </a:cubicBezTo>
                <a:close/>
                <a:moveTo>
                  <a:pt x="8427335" y="2350201"/>
                </a:moveTo>
                <a:cubicBezTo>
                  <a:pt x="8435563" y="2352405"/>
                  <a:pt x="8435563" y="2352405"/>
                  <a:pt x="8435563" y="2352405"/>
                </a:cubicBezTo>
                <a:cubicBezTo>
                  <a:pt x="8432990" y="2362006"/>
                  <a:pt x="8476700" y="2363428"/>
                  <a:pt x="8465900" y="2370824"/>
                </a:cubicBezTo>
                <a:cubicBezTo>
                  <a:pt x="8438646" y="2373809"/>
                  <a:pt x="8424763" y="2359802"/>
                  <a:pt x="8405736" y="2364991"/>
                </a:cubicBezTo>
                <a:cubicBezTo>
                  <a:pt x="8413452" y="2336193"/>
                  <a:pt x="8422191" y="2369400"/>
                  <a:pt x="8427335" y="2350201"/>
                </a:cubicBezTo>
                <a:close/>
                <a:moveTo>
                  <a:pt x="857546" y="2339395"/>
                </a:moveTo>
                <a:cubicBezTo>
                  <a:pt x="866087" y="2341683"/>
                  <a:pt x="874630" y="2343972"/>
                  <a:pt x="883171" y="2346261"/>
                </a:cubicBezTo>
                <a:cubicBezTo>
                  <a:pt x="883171" y="2346261"/>
                  <a:pt x="878587" y="2363369"/>
                  <a:pt x="870046" y="2361080"/>
                </a:cubicBezTo>
                <a:cubicBezTo>
                  <a:pt x="876922" y="2335421"/>
                  <a:pt x="852961" y="2356503"/>
                  <a:pt x="857546" y="2339395"/>
                </a:cubicBezTo>
                <a:close/>
                <a:moveTo>
                  <a:pt x="8367366" y="2335419"/>
                </a:moveTo>
                <a:cubicBezTo>
                  <a:pt x="8372508" y="2336797"/>
                  <a:pt x="8376962" y="2340746"/>
                  <a:pt x="8375584" y="2345888"/>
                </a:cubicBezTo>
                <a:cubicBezTo>
                  <a:pt x="8372828" y="2356173"/>
                  <a:pt x="8355014" y="2340377"/>
                  <a:pt x="8355014" y="2340377"/>
                </a:cubicBezTo>
                <a:cubicBezTo>
                  <a:pt x="8356392" y="2335234"/>
                  <a:pt x="8362223" y="2334041"/>
                  <a:pt x="8367366" y="2335419"/>
                </a:cubicBezTo>
                <a:close/>
                <a:moveTo>
                  <a:pt x="609100" y="2324900"/>
                </a:moveTo>
                <a:lnTo>
                  <a:pt x="619399" y="2339761"/>
                </a:lnTo>
                <a:cubicBezTo>
                  <a:pt x="614815" y="2356869"/>
                  <a:pt x="610858" y="2337472"/>
                  <a:pt x="602315" y="2335183"/>
                </a:cubicBezTo>
                <a:close/>
                <a:moveTo>
                  <a:pt x="611665" y="2315772"/>
                </a:moveTo>
                <a:lnTo>
                  <a:pt x="613582" y="2318102"/>
                </a:lnTo>
                <a:lnTo>
                  <a:pt x="609100" y="2324900"/>
                </a:lnTo>
                <a:lnTo>
                  <a:pt x="608669" y="2324279"/>
                </a:lnTo>
                <a:cubicBezTo>
                  <a:pt x="609138" y="2320394"/>
                  <a:pt x="610336" y="2316991"/>
                  <a:pt x="611665" y="2315772"/>
                </a:cubicBezTo>
                <a:close/>
                <a:moveTo>
                  <a:pt x="615233" y="2315601"/>
                </a:moveTo>
                <a:lnTo>
                  <a:pt x="615442" y="2320365"/>
                </a:lnTo>
                <a:lnTo>
                  <a:pt x="613582" y="2318102"/>
                </a:lnTo>
                <a:close/>
                <a:moveTo>
                  <a:pt x="8282548" y="2309936"/>
                </a:moveTo>
                <a:cubicBezTo>
                  <a:pt x="8292461" y="2343457"/>
                  <a:pt x="8239569" y="2329285"/>
                  <a:pt x="8233325" y="2317324"/>
                </a:cubicBezTo>
                <a:cubicBezTo>
                  <a:pt x="8256101" y="2302849"/>
                  <a:pt x="8271161" y="2317172"/>
                  <a:pt x="8282548" y="2309936"/>
                </a:cubicBezTo>
                <a:close/>
                <a:moveTo>
                  <a:pt x="614848" y="2306807"/>
                </a:moveTo>
                <a:lnTo>
                  <a:pt x="617734" y="2311810"/>
                </a:lnTo>
                <a:lnTo>
                  <a:pt x="615233" y="2315601"/>
                </a:lnTo>
                <a:close/>
                <a:moveTo>
                  <a:pt x="475904" y="2293257"/>
                </a:moveTo>
                <a:lnTo>
                  <a:pt x="485013" y="2294584"/>
                </a:lnTo>
                <a:cubicBezTo>
                  <a:pt x="482721" y="2303138"/>
                  <a:pt x="480429" y="2311692"/>
                  <a:pt x="471888" y="2309404"/>
                </a:cubicBezTo>
                <a:cubicBezTo>
                  <a:pt x="480429" y="2311692"/>
                  <a:pt x="480429" y="2311692"/>
                  <a:pt x="488973" y="2313981"/>
                </a:cubicBezTo>
                <a:cubicBezTo>
                  <a:pt x="488973" y="2313981"/>
                  <a:pt x="495222" y="2324824"/>
                  <a:pt x="495222" y="2324824"/>
                </a:cubicBezTo>
                <a:cubicBezTo>
                  <a:pt x="486681" y="2322535"/>
                  <a:pt x="469596" y="2317958"/>
                  <a:pt x="456469" y="2332774"/>
                </a:cubicBezTo>
                <a:cubicBezTo>
                  <a:pt x="447928" y="2330485"/>
                  <a:pt x="461053" y="2315668"/>
                  <a:pt x="452512" y="2313380"/>
                </a:cubicBezTo>
                <a:cubicBezTo>
                  <a:pt x="453658" y="2309101"/>
                  <a:pt x="460064" y="2310818"/>
                  <a:pt x="465977" y="2310111"/>
                </a:cubicBezTo>
                <a:close/>
                <a:moveTo>
                  <a:pt x="476472" y="2292296"/>
                </a:moveTo>
                <a:lnTo>
                  <a:pt x="475904" y="2293257"/>
                </a:lnTo>
                <a:lnTo>
                  <a:pt x="475652" y="2293220"/>
                </a:lnTo>
                <a:close/>
                <a:moveTo>
                  <a:pt x="466288" y="2291858"/>
                </a:moveTo>
                <a:lnTo>
                  <a:pt x="475652" y="2293220"/>
                </a:lnTo>
                <a:lnTo>
                  <a:pt x="463344" y="2307115"/>
                </a:lnTo>
                <a:cubicBezTo>
                  <a:pt x="460220" y="2301692"/>
                  <a:pt x="461939" y="2295278"/>
                  <a:pt x="466288" y="2291858"/>
                </a:cubicBezTo>
                <a:close/>
                <a:moveTo>
                  <a:pt x="10104547" y="2277863"/>
                </a:moveTo>
                <a:cubicBezTo>
                  <a:pt x="10109764" y="2274850"/>
                  <a:pt x="10115934" y="2276504"/>
                  <a:pt x="10121829" y="2279186"/>
                </a:cubicBezTo>
                <a:cubicBezTo>
                  <a:pt x="10127726" y="2281868"/>
                  <a:pt x="10133345" y="2285579"/>
                  <a:pt x="10137457" y="2286681"/>
                </a:cubicBezTo>
                <a:cubicBezTo>
                  <a:pt x="10127024" y="2292704"/>
                  <a:pt x="10112774" y="2280067"/>
                  <a:pt x="10104547" y="2277863"/>
                </a:cubicBezTo>
                <a:close/>
                <a:moveTo>
                  <a:pt x="9612430" y="2238593"/>
                </a:moveTo>
                <a:cubicBezTo>
                  <a:pt x="9618452" y="2249025"/>
                  <a:pt x="9628884" y="2243003"/>
                  <a:pt x="9634908" y="2253435"/>
                </a:cubicBezTo>
                <a:cubicBezTo>
                  <a:pt x="9632703" y="2261662"/>
                  <a:pt x="9599793" y="2252844"/>
                  <a:pt x="9612430" y="2238593"/>
                </a:cubicBezTo>
                <a:close/>
                <a:moveTo>
                  <a:pt x="9635565" y="2225709"/>
                </a:moveTo>
                <a:lnTo>
                  <a:pt x="9640561" y="2226634"/>
                </a:lnTo>
                <a:lnTo>
                  <a:pt x="9631519" y="2226216"/>
                </a:lnTo>
                <a:close/>
                <a:moveTo>
                  <a:pt x="9617953" y="2225589"/>
                </a:moveTo>
                <a:lnTo>
                  <a:pt x="9631519" y="2226216"/>
                </a:lnTo>
                <a:lnTo>
                  <a:pt x="9622044" y="2227402"/>
                </a:lnTo>
                <a:cubicBezTo>
                  <a:pt x="9617631" y="2226791"/>
                  <a:pt x="9615566" y="2225952"/>
                  <a:pt x="9617953" y="2225589"/>
                </a:cubicBezTo>
                <a:close/>
                <a:moveTo>
                  <a:pt x="10089830" y="2212603"/>
                </a:moveTo>
                <a:cubicBezTo>
                  <a:pt x="10092055" y="2211822"/>
                  <a:pt x="10101366" y="2213628"/>
                  <a:pt x="10113193" y="2216797"/>
                </a:cubicBezTo>
                <a:cubicBezTo>
                  <a:pt x="10136848" y="2223135"/>
                  <a:pt x="10170564" y="2234924"/>
                  <a:pt x="10177787" y="2242373"/>
                </a:cubicBezTo>
                <a:cubicBezTo>
                  <a:pt x="10183633" y="2254963"/>
                  <a:pt x="10229396" y="2256201"/>
                  <a:pt x="10218039" y="2264182"/>
                </a:cubicBezTo>
                <a:cubicBezTo>
                  <a:pt x="10183633" y="2254963"/>
                  <a:pt x="10140626" y="2243439"/>
                  <a:pt x="10108976" y="2223935"/>
                </a:cubicBezTo>
                <a:cubicBezTo>
                  <a:pt x="10092462" y="2216754"/>
                  <a:pt x="10087603" y="2213385"/>
                  <a:pt x="10089830" y="2212603"/>
                </a:cubicBezTo>
                <a:close/>
                <a:moveTo>
                  <a:pt x="10419355" y="2146856"/>
                </a:moveTo>
                <a:cubicBezTo>
                  <a:pt x="10422190" y="2147203"/>
                  <a:pt x="10425946" y="2148485"/>
                  <a:pt x="10430178" y="2150170"/>
                </a:cubicBezTo>
                <a:cubicBezTo>
                  <a:pt x="10438646" y="2153541"/>
                  <a:pt x="10449022" y="2158527"/>
                  <a:pt x="10457762" y="2160869"/>
                </a:cubicBezTo>
                <a:cubicBezTo>
                  <a:pt x="10446817" y="2166755"/>
                  <a:pt x="10449022" y="2158527"/>
                  <a:pt x="10440278" y="2156184"/>
                </a:cubicBezTo>
                <a:lnTo>
                  <a:pt x="10414054" y="2149157"/>
                </a:lnTo>
                <a:cubicBezTo>
                  <a:pt x="10414606" y="2147100"/>
                  <a:pt x="10416520" y="2146510"/>
                  <a:pt x="10419355" y="2146856"/>
                </a:cubicBezTo>
                <a:close/>
                <a:moveTo>
                  <a:pt x="8172002" y="2134816"/>
                </a:moveTo>
                <a:cubicBezTo>
                  <a:pt x="8172002" y="2134816"/>
                  <a:pt x="8179751" y="2134687"/>
                  <a:pt x="8186953" y="2136616"/>
                </a:cubicBezTo>
                <a:cubicBezTo>
                  <a:pt x="8194151" y="2138545"/>
                  <a:pt x="8200799" y="2142532"/>
                  <a:pt x="8198595" y="2150759"/>
                </a:cubicBezTo>
                <a:cubicBezTo>
                  <a:pt x="8188996" y="2148187"/>
                  <a:pt x="8181602" y="2137388"/>
                  <a:pt x="8172002" y="2134816"/>
                </a:cubicBezTo>
                <a:close/>
                <a:moveTo>
                  <a:pt x="10344118" y="2130418"/>
                </a:moveTo>
                <a:cubicBezTo>
                  <a:pt x="10333171" y="2136303"/>
                  <a:pt x="10385622" y="2150357"/>
                  <a:pt x="10379086" y="2139788"/>
                </a:cubicBezTo>
                <a:cubicBezTo>
                  <a:pt x="10381213" y="2166812"/>
                  <a:pt x="10333171" y="2136303"/>
                  <a:pt x="10313482" y="2139846"/>
                </a:cubicBezTo>
                <a:cubicBezTo>
                  <a:pt x="10315687" y="2131618"/>
                  <a:pt x="10324431" y="2133961"/>
                  <a:pt x="10333171" y="2136303"/>
                </a:cubicBezTo>
                <a:cubicBezTo>
                  <a:pt x="10333171" y="2136303"/>
                  <a:pt x="10324431" y="2133961"/>
                  <a:pt x="10324431" y="2133961"/>
                </a:cubicBezTo>
                <a:cubicBezTo>
                  <a:pt x="10326635" y="2125733"/>
                  <a:pt x="10330967" y="2144531"/>
                  <a:pt x="10344118" y="2130418"/>
                </a:cubicBezTo>
                <a:close/>
                <a:moveTo>
                  <a:pt x="8069977" y="2109683"/>
                </a:moveTo>
                <a:cubicBezTo>
                  <a:pt x="8074777" y="2110969"/>
                  <a:pt x="8079026" y="2114312"/>
                  <a:pt x="8077923" y="2118426"/>
                </a:cubicBezTo>
                <a:cubicBezTo>
                  <a:pt x="8085317" y="2129225"/>
                  <a:pt x="8056519" y="2121509"/>
                  <a:pt x="8058724" y="2113281"/>
                </a:cubicBezTo>
                <a:cubicBezTo>
                  <a:pt x="8059826" y="2109167"/>
                  <a:pt x="8065177" y="2108397"/>
                  <a:pt x="8069977" y="2109683"/>
                </a:cubicBezTo>
                <a:close/>
                <a:moveTo>
                  <a:pt x="7837031" y="2072187"/>
                </a:moveTo>
                <a:lnTo>
                  <a:pt x="7841042" y="2074498"/>
                </a:lnTo>
                <a:cubicBezTo>
                  <a:pt x="7841042" y="2074498"/>
                  <a:pt x="7838906" y="2073926"/>
                  <a:pt x="7837057" y="2072284"/>
                </a:cubicBezTo>
                <a:close/>
                <a:moveTo>
                  <a:pt x="7736158" y="2066531"/>
                </a:moveTo>
                <a:cubicBezTo>
                  <a:pt x="7744386" y="2068735"/>
                  <a:pt x="7739976" y="2085190"/>
                  <a:pt x="7742181" y="2076963"/>
                </a:cubicBezTo>
                <a:cubicBezTo>
                  <a:pt x="7752613" y="2070939"/>
                  <a:pt x="7737772" y="2093418"/>
                  <a:pt x="7731749" y="2082985"/>
                </a:cubicBezTo>
                <a:cubicBezTo>
                  <a:pt x="7733953" y="2074758"/>
                  <a:pt x="7736158" y="2066531"/>
                  <a:pt x="7736158" y="2066531"/>
                </a:cubicBezTo>
                <a:close/>
                <a:moveTo>
                  <a:pt x="10575178" y="1955616"/>
                </a:moveTo>
                <a:cubicBezTo>
                  <a:pt x="10579112" y="1955844"/>
                  <a:pt x="10583346" y="1957529"/>
                  <a:pt x="10587698" y="1959798"/>
                </a:cubicBezTo>
                <a:cubicBezTo>
                  <a:pt x="10596404" y="1964333"/>
                  <a:pt x="10605583" y="1971203"/>
                  <a:pt x="10613811" y="1973408"/>
                </a:cubicBezTo>
                <a:cubicBezTo>
                  <a:pt x="10586924" y="1975022"/>
                  <a:pt x="10580901" y="1964590"/>
                  <a:pt x="10564446" y="1960181"/>
                </a:cubicBezTo>
                <a:cubicBezTo>
                  <a:pt x="10567606" y="1956618"/>
                  <a:pt x="10571243" y="1955388"/>
                  <a:pt x="10575178" y="1955616"/>
                </a:cubicBezTo>
                <a:close/>
                <a:moveTo>
                  <a:pt x="10466588" y="1948288"/>
                </a:moveTo>
                <a:cubicBezTo>
                  <a:pt x="10471150" y="1948408"/>
                  <a:pt x="10475435" y="1949556"/>
                  <a:pt x="10474333" y="1953671"/>
                </a:cubicBezTo>
                <a:lnTo>
                  <a:pt x="10457191" y="1949078"/>
                </a:lnTo>
                <a:cubicBezTo>
                  <a:pt x="10457191" y="1949078"/>
                  <a:pt x="10462029" y="1948169"/>
                  <a:pt x="10466588" y="1948288"/>
                </a:cubicBezTo>
                <a:close/>
                <a:moveTo>
                  <a:pt x="10301689" y="1894872"/>
                </a:moveTo>
                <a:cubicBezTo>
                  <a:pt x="10304621" y="1895244"/>
                  <a:pt x="10309180" y="1896741"/>
                  <a:pt x="10314185" y="1898634"/>
                </a:cubicBezTo>
                <a:cubicBezTo>
                  <a:pt x="10324192" y="1902418"/>
                  <a:pt x="10335983" y="1907782"/>
                  <a:pt x="10340095" y="1908884"/>
                </a:cubicBezTo>
                <a:lnTo>
                  <a:pt x="10298958" y="1897861"/>
                </a:lnTo>
                <a:cubicBezTo>
                  <a:pt x="10297453" y="1895253"/>
                  <a:pt x="10298757" y="1894500"/>
                  <a:pt x="10301689" y="1894872"/>
                </a:cubicBezTo>
                <a:close/>
                <a:moveTo>
                  <a:pt x="10349372" y="1894836"/>
                </a:moveTo>
                <a:cubicBezTo>
                  <a:pt x="10350125" y="1896141"/>
                  <a:pt x="10350528" y="1902861"/>
                  <a:pt x="10356551" y="1913293"/>
                </a:cubicBezTo>
                <a:lnTo>
                  <a:pt x="10340095" y="1908884"/>
                </a:lnTo>
                <a:cubicBezTo>
                  <a:pt x="10347517" y="1897644"/>
                  <a:pt x="10348619" y="1893532"/>
                  <a:pt x="10349372" y="1894836"/>
                </a:cubicBezTo>
                <a:close/>
                <a:moveTo>
                  <a:pt x="10658392" y="1885185"/>
                </a:moveTo>
                <a:cubicBezTo>
                  <a:pt x="10662200" y="1883312"/>
                  <a:pt x="10672475" y="1894332"/>
                  <a:pt x="10667958" y="1886508"/>
                </a:cubicBezTo>
                <a:cubicBezTo>
                  <a:pt x="10673981" y="1896940"/>
                  <a:pt x="10682208" y="1899145"/>
                  <a:pt x="10690436" y="1901350"/>
                </a:cubicBezTo>
                <a:cubicBezTo>
                  <a:pt x="10680004" y="1907372"/>
                  <a:pt x="10667958" y="1886508"/>
                  <a:pt x="10657526" y="1892531"/>
                </a:cubicBezTo>
                <a:cubicBezTo>
                  <a:pt x="10656571" y="1887866"/>
                  <a:pt x="10657122" y="1885809"/>
                  <a:pt x="10658392" y="1885185"/>
                </a:cubicBezTo>
                <a:close/>
                <a:moveTo>
                  <a:pt x="10549539" y="1884174"/>
                </a:moveTo>
                <a:cubicBezTo>
                  <a:pt x="10561155" y="1892430"/>
                  <a:pt x="10575343" y="1891088"/>
                  <a:pt x="10591361" y="1891520"/>
                </a:cubicBezTo>
                <a:cubicBezTo>
                  <a:pt x="10607379" y="1891954"/>
                  <a:pt x="10625226" y="1894164"/>
                  <a:pt x="10644157" y="1909527"/>
                </a:cubicBezTo>
                <a:cubicBezTo>
                  <a:pt x="10612324" y="1890707"/>
                  <a:pt x="10581375" y="1902992"/>
                  <a:pt x="10549539" y="1884174"/>
                </a:cubicBezTo>
                <a:close/>
                <a:moveTo>
                  <a:pt x="10294260" y="1870148"/>
                </a:moveTo>
                <a:cubicBezTo>
                  <a:pt x="10303517" y="1872628"/>
                  <a:pt x="10303517" y="1872628"/>
                  <a:pt x="10303517" y="1872628"/>
                </a:cubicBezTo>
                <a:cubicBezTo>
                  <a:pt x="10319824" y="1885816"/>
                  <a:pt x="10292056" y="1878376"/>
                  <a:pt x="10292056" y="1878376"/>
                </a:cubicBezTo>
                <a:cubicBezTo>
                  <a:pt x="10282799" y="1875895"/>
                  <a:pt x="10303517" y="1872628"/>
                  <a:pt x="10294260" y="1870148"/>
                </a:cubicBezTo>
                <a:close/>
                <a:moveTo>
                  <a:pt x="10280354" y="1857604"/>
                </a:moveTo>
                <a:cubicBezTo>
                  <a:pt x="10289953" y="1860175"/>
                  <a:pt x="10287748" y="1868403"/>
                  <a:pt x="10287748" y="1868403"/>
                </a:cubicBezTo>
                <a:cubicBezTo>
                  <a:pt x="10292937" y="1887430"/>
                  <a:pt x="10275945" y="1874059"/>
                  <a:pt x="10266345" y="1871487"/>
                </a:cubicBezTo>
                <a:cubicBezTo>
                  <a:pt x="10266345" y="1871487"/>
                  <a:pt x="10266345" y="1871487"/>
                  <a:pt x="10268549" y="1863259"/>
                </a:cubicBezTo>
                <a:cubicBezTo>
                  <a:pt x="10266345" y="1871487"/>
                  <a:pt x="10285543" y="1876631"/>
                  <a:pt x="10280354" y="1857604"/>
                </a:cubicBezTo>
                <a:close/>
                <a:moveTo>
                  <a:pt x="10633729" y="1833243"/>
                </a:moveTo>
                <a:cubicBezTo>
                  <a:pt x="10665611" y="1850604"/>
                  <a:pt x="10706014" y="1870248"/>
                  <a:pt x="10748621" y="1881664"/>
                </a:cubicBezTo>
                <a:cubicBezTo>
                  <a:pt x="10701605" y="1886703"/>
                  <a:pt x="10678245" y="1871625"/>
                  <a:pt x="10633729" y="1833243"/>
                </a:cubicBezTo>
                <a:close/>
                <a:moveTo>
                  <a:pt x="10382851" y="1820187"/>
                </a:moveTo>
                <a:lnTo>
                  <a:pt x="10395512" y="1821522"/>
                </a:lnTo>
                <a:lnTo>
                  <a:pt x="10389795" y="1822309"/>
                </a:lnTo>
                <a:close/>
                <a:moveTo>
                  <a:pt x="10405689" y="1820121"/>
                </a:moveTo>
                <a:cubicBezTo>
                  <a:pt x="10407193" y="1820381"/>
                  <a:pt x="10405500" y="1821360"/>
                  <a:pt x="10402401" y="1822249"/>
                </a:cubicBezTo>
                <a:lnTo>
                  <a:pt x="10395512" y="1821522"/>
                </a:lnTo>
                <a:close/>
                <a:moveTo>
                  <a:pt x="10564915" y="1796068"/>
                </a:moveTo>
                <a:cubicBezTo>
                  <a:pt x="10569943" y="1798517"/>
                  <a:pt x="10575203" y="1804335"/>
                  <a:pt x="10578343" y="1809586"/>
                </a:cubicBezTo>
                <a:lnTo>
                  <a:pt x="10562865" y="1797210"/>
                </a:lnTo>
                <a:close/>
                <a:moveTo>
                  <a:pt x="10582752" y="1793131"/>
                </a:moveTo>
                <a:cubicBezTo>
                  <a:pt x="10607434" y="1799745"/>
                  <a:pt x="10621685" y="1812382"/>
                  <a:pt x="10638140" y="1816791"/>
                </a:cubicBezTo>
                <a:cubicBezTo>
                  <a:pt x="10627708" y="1822814"/>
                  <a:pt x="10594798" y="1813996"/>
                  <a:pt x="10582752" y="1793131"/>
                </a:cubicBezTo>
                <a:close/>
                <a:moveTo>
                  <a:pt x="10549321" y="1786379"/>
                </a:moveTo>
                <a:lnTo>
                  <a:pt x="10549324" y="1786380"/>
                </a:lnTo>
                <a:lnTo>
                  <a:pt x="10562865" y="1797210"/>
                </a:lnTo>
                <a:lnTo>
                  <a:pt x="10552888" y="1802766"/>
                </a:lnTo>
                <a:close/>
                <a:moveTo>
                  <a:pt x="10535413" y="1782055"/>
                </a:moveTo>
                <a:lnTo>
                  <a:pt x="10548813" y="1784037"/>
                </a:lnTo>
                <a:lnTo>
                  <a:pt x="10549321" y="1786379"/>
                </a:lnTo>
                <a:close/>
                <a:moveTo>
                  <a:pt x="10470950" y="1760160"/>
                </a:moveTo>
                <a:lnTo>
                  <a:pt x="10473278" y="1760490"/>
                </a:lnTo>
                <a:cubicBezTo>
                  <a:pt x="10481487" y="1763792"/>
                  <a:pt x="10489419" y="1768123"/>
                  <a:pt x="10497906" y="1770397"/>
                </a:cubicBezTo>
                <a:lnTo>
                  <a:pt x="10535413" y="1782055"/>
                </a:lnTo>
                <a:lnTo>
                  <a:pt x="10502893" y="1777243"/>
                </a:lnTo>
                <a:close/>
                <a:moveTo>
                  <a:pt x="10737244" y="1759571"/>
                </a:moveTo>
                <a:cubicBezTo>
                  <a:pt x="10741063" y="1778231"/>
                  <a:pt x="10753699" y="1763980"/>
                  <a:pt x="10776177" y="1778821"/>
                </a:cubicBezTo>
                <a:cubicBezTo>
                  <a:pt x="10757517" y="1782640"/>
                  <a:pt x="10735039" y="1767798"/>
                  <a:pt x="10730630" y="1784254"/>
                </a:cubicBezTo>
                <a:cubicBezTo>
                  <a:pt x="10726812" y="1765594"/>
                  <a:pt x="10724607" y="1773821"/>
                  <a:pt x="10737244" y="1759571"/>
                </a:cubicBezTo>
                <a:close/>
                <a:moveTo>
                  <a:pt x="10449201" y="1748528"/>
                </a:moveTo>
                <a:lnTo>
                  <a:pt x="10470950" y="1760160"/>
                </a:lnTo>
                <a:lnTo>
                  <a:pt x="10446997" y="1756756"/>
                </a:lnTo>
                <a:cubicBezTo>
                  <a:pt x="10449201" y="1748528"/>
                  <a:pt x="10449201" y="1748528"/>
                  <a:pt x="10449201" y="1748528"/>
                </a:cubicBezTo>
                <a:close/>
                <a:moveTo>
                  <a:pt x="10378026" y="1722600"/>
                </a:moveTo>
                <a:cubicBezTo>
                  <a:pt x="10382912" y="1723393"/>
                  <a:pt x="10387711" y="1725024"/>
                  <a:pt x="10392167" y="1726908"/>
                </a:cubicBezTo>
                <a:cubicBezTo>
                  <a:pt x="10401079" y="1730673"/>
                  <a:pt x="10408617" y="1735449"/>
                  <a:pt x="10412730" y="1736550"/>
                </a:cubicBezTo>
                <a:cubicBezTo>
                  <a:pt x="10401746" y="1744631"/>
                  <a:pt x="10379820" y="1727733"/>
                  <a:pt x="10363364" y="1723323"/>
                </a:cubicBezTo>
                <a:cubicBezTo>
                  <a:pt x="10368167" y="1721854"/>
                  <a:pt x="10373140" y="1721808"/>
                  <a:pt x="10378026" y="1722600"/>
                </a:cubicBezTo>
                <a:close/>
                <a:moveTo>
                  <a:pt x="10744861" y="1698233"/>
                </a:moveTo>
                <a:cubicBezTo>
                  <a:pt x="10751032" y="1699886"/>
                  <a:pt x="10756514" y="1704111"/>
                  <a:pt x="10759250" y="1710355"/>
                </a:cubicBezTo>
                <a:cubicBezTo>
                  <a:pt x="10767477" y="1712560"/>
                  <a:pt x="10767477" y="1712560"/>
                  <a:pt x="10767477" y="1712560"/>
                </a:cubicBezTo>
                <a:cubicBezTo>
                  <a:pt x="10775704" y="1714764"/>
                  <a:pt x="10775704" y="1714764"/>
                  <a:pt x="10775704" y="1714764"/>
                </a:cubicBezTo>
                <a:cubicBezTo>
                  <a:pt x="10759250" y="1710355"/>
                  <a:pt x="10731811" y="1714027"/>
                  <a:pt x="10726339" y="1701537"/>
                </a:cubicBezTo>
                <a:cubicBezTo>
                  <a:pt x="10731831" y="1697497"/>
                  <a:pt x="10738690" y="1696579"/>
                  <a:pt x="10744861" y="1698233"/>
                </a:cubicBezTo>
                <a:close/>
                <a:moveTo>
                  <a:pt x="10289084" y="1689950"/>
                </a:moveTo>
                <a:cubicBezTo>
                  <a:pt x="10291270" y="1690019"/>
                  <a:pt x="10294783" y="1691306"/>
                  <a:pt x="10298724" y="1693052"/>
                </a:cubicBezTo>
                <a:cubicBezTo>
                  <a:pt x="10306608" y="1696542"/>
                  <a:pt x="10316204" y="1701869"/>
                  <a:pt x="10320316" y="1702970"/>
                </a:cubicBezTo>
                <a:cubicBezTo>
                  <a:pt x="10309333" y="1711051"/>
                  <a:pt x="10303861" y="1698561"/>
                  <a:pt x="10287406" y="1694152"/>
                </a:cubicBezTo>
                <a:cubicBezTo>
                  <a:pt x="10286039" y="1691029"/>
                  <a:pt x="10286898" y="1689881"/>
                  <a:pt x="10289084" y="1689950"/>
                </a:cubicBezTo>
                <a:close/>
                <a:moveTo>
                  <a:pt x="10407846" y="1688946"/>
                </a:moveTo>
                <a:cubicBezTo>
                  <a:pt x="10467654" y="1704971"/>
                  <a:pt x="10602154" y="1749828"/>
                  <a:pt x="10679049" y="1770432"/>
                </a:cubicBezTo>
                <a:cubicBezTo>
                  <a:pt x="10679049" y="1770432"/>
                  <a:pt x="10679049" y="1770432"/>
                  <a:pt x="10672710" y="1759916"/>
                </a:cubicBezTo>
                <a:cubicBezTo>
                  <a:pt x="10687593" y="1772722"/>
                  <a:pt x="10713226" y="1779590"/>
                  <a:pt x="10736654" y="1794686"/>
                </a:cubicBezTo>
                <a:cubicBezTo>
                  <a:pt x="10657553" y="1782309"/>
                  <a:pt x="10602154" y="1749828"/>
                  <a:pt x="10533802" y="1731514"/>
                </a:cubicBezTo>
                <a:cubicBezTo>
                  <a:pt x="10491084" y="1720067"/>
                  <a:pt x="10446158" y="1716848"/>
                  <a:pt x="10407846" y="1688946"/>
                </a:cubicBezTo>
                <a:close/>
                <a:moveTo>
                  <a:pt x="10555765" y="1647014"/>
                </a:moveTo>
                <a:cubicBezTo>
                  <a:pt x="10576005" y="1641414"/>
                  <a:pt x="10605461" y="1671353"/>
                  <a:pt x="10625701" y="1665753"/>
                </a:cubicBezTo>
                <a:cubicBezTo>
                  <a:pt x="10605461" y="1671353"/>
                  <a:pt x="10581993" y="1654041"/>
                  <a:pt x="10555765" y="1647014"/>
                </a:cubicBezTo>
                <a:close/>
                <a:moveTo>
                  <a:pt x="10410644" y="1645604"/>
                </a:moveTo>
                <a:cubicBezTo>
                  <a:pt x="10549651" y="1674033"/>
                  <a:pt x="10688391" y="1737662"/>
                  <a:pt x="10844498" y="1770673"/>
                </a:cubicBezTo>
                <a:cubicBezTo>
                  <a:pt x="10820785" y="1790774"/>
                  <a:pt x="10790993" y="1765155"/>
                  <a:pt x="10773893" y="1760573"/>
                </a:cubicBezTo>
                <a:cubicBezTo>
                  <a:pt x="10654190" y="1728498"/>
                  <a:pt x="10519593" y="1683615"/>
                  <a:pt x="10410644" y="1645604"/>
                </a:cubicBezTo>
                <a:close/>
                <a:moveTo>
                  <a:pt x="10318231" y="1612024"/>
                </a:moveTo>
                <a:cubicBezTo>
                  <a:pt x="10336613" y="1612539"/>
                  <a:pt x="10352281" y="1614534"/>
                  <a:pt x="10366042" y="1619324"/>
                </a:cubicBezTo>
                <a:cubicBezTo>
                  <a:pt x="10379808" y="1624113"/>
                  <a:pt x="10391664" y="1631700"/>
                  <a:pt x="10402416" y="1643399"/>
                </a:cubicBezTo>
                <a:cubicBezTo>
                  <a:pt x="10387344" y="1630543"/>
                  <a:pt x="10341945" y="1627196"/>
                  <a:pt x="10318231" y="1612024"/>
                </a:cubicBezTo>
                <a:close/>
                <a:moveTo>
                  <a:pt x="10685027" y="1608898"/>
                </a:moveTo>
                <a:cubicBezTo>
                  <a:pt x="10711885" y="1611684"/>
                  <a:pt x="10741934" y="1619736"/>
                  <a:pt x="10774374" y="1631736"/>
                </a:cubicBezTo>
                <a:cubicBezTo>
                  <a:pt x="10806815" y="1643736"/>
                  <a:pt x="10841650" y="1659683"/>
                  <a:pt x="10878078" y="1678262"/>
                </a:cubicBezTo>
                <a:cubicBezTo>
                  <a:pt x="10807192" y="1668087"/>
                  <a:pt x="10730157" y="1612173"/>
                  <a:pt x="10682822" y="1617126"/>
                </a:cubicBezTo>
                <a:cubicBezTo>
                  <a:pt x="10682822" y="1617126"/>
                  <a:pt x="10682822" y="1617126"/>
                  <a:pt x="10685027" y="1608898"/>
                </a:cubicBezTo>
                <a:close/>
                <a:moveTo>
                  <a:pt x="10513566" y="1607046"/>
                </a:moveTo>
                <a:cubicBezTo>
                  <a:pt x="10527353" y="1606330"/>
                  <a:pt x="10546929" y="1609373"/>
                  <a:pt x="10565955" y="1614471"/>
                </a:cubicBezTo>
                <a:cubicBezTo>
                  <a:pt x="10584983" y="1619570"/>
                  <a:pt x="10603458" y="1626722"/>
                  <a:pt x="10615040" y="1634236"/>
                </a:cubicBezTo>
                <a:cubicBezTo>
                  <a:pt x="10623496" y="1636502"/>
                  <a:pt x="10631951" y="1638768"/>
                  <a:pt x="10640409" y="1641034"/>
                </a:cubicBezTo>
                <a:lnTo>
                  <a:pt x="10648865" y="1643300"/>
                </a:lnTo>
                <a:cubicBezTo>
                  <a:pt x="10587466" y="1635666"/>
                  <a:pt x="10555846" y="1618375"/>
                  <a:pt x="10513566" y="1607046"/>
                </a:cubicBezTo>
                <a:close/>
                <a:moveTo>
                  <a:pt x="10289080" y="1600491"/>
                </a:moveTo>
                <a:cubicBezTo>
                  <a:pt x="10290983" y="1600588"/>
                  <a:pt x="10293485" y="1601534"/>
                  <a:pt x="10296433" y="1602875"/>
                </a:cubicBezTo>
                <a:cubicBezTo>
                  <a:pt x="10302327" y="1605557"/>
                  <a:pt x="10310003" y="1609819"/>
                  <a:pt x="10318231" y="1612024"/>
                </a:cubicBezTo>
                <a:cubicBezTo>
                  <a:pt x="10299571" y="1615842"/>
                  <a:pt x="10301776" y="1607615"/>
                  <a:pt x="10285320" y="1603206"/>
                </a:cubicBezTo>
                <a:cubicBezTo>
                  <a:pt x="10285872" y="1601148"/>
                  <a:pt x="10287176" y="1600395"/>
                  <a:pt x="10289080" y="1600491"/>
                </a:cubicBezTo>
                <a:close/>
                <a:moveTo>
                  <a:pt x="10706549" y="1594382"/>
                </a:moveTo>
                <a:cubicBezTo>
                  <a:pt x="10739081" y="1593400"/>
                  <a:pt x="10770729" y="1604305"/>
                  <a:pt x="10801470" y="1618605"/>
                </a:cubicBezTo>
                <a:cubicBezTo>
                  <a:pt x="10832209" y="1632902"/>
                  <a:pt x="10862041" y="1650596"/>
                  <a:pt x="10890933" y="1663187"/>
                </a:cubicBezTo>
                <a:cubicBezTo>
                  <a:pt x="10854102" y="1663020"/>
                  <a:pt x="10815943" y="1633395"/>
                  <a:pt x="10772937" y="1621872"/>
                </a:cubicBezTo>
                <a:cubicBezTo>
                  <a:pt x="10783963" y="1615125"/>
                  <a:pt x="10775363" y="1612820"/>
                  <a:pt x="10764334" y="1619566"/>
                </a:cubicBezTo>
                <a:cubicBezTo>
                  <a:pt x="10758159" y="1608210"/>
                  <a:pt x="10749558" y="1605906"/>
                  <a:pt x="10706549" y="1594382"/>
                </a:cubicBezTo>
                <a:close/>
                <a:moveTo>
                  <a:pt x="10085064" y="1593638"/>
                </a:moveTo>
                <a:cubicBezTo>
                  <a:pt x="10127917" y="1605121"/>
                  <a:pt x="10196480" y="1623492"/>
                  <a:pt x="10239333" y="1634975"/>
                </a:cubicBezTo>
                <a:cubicBezTo>
                  <a:pt x="10290755" y="1648753"/>
                  <a:pt x="10359318" y="1667124"/>
                  <a:pt x="10391394" y="1684537"/>
                </a:cubicBezTo>
                <a:cubicBezTo>
                  <a:pt x="10290755" y="1648753"/>
                  <a:pt x="10183501" y="1637651"/>
                  <a:pt x="10085064" y="1593638"/>
                </a:cubicBezTo>
                <a:close/>
                <a:moveTo>
                  <a:pt x="10456267" y="1574054"/>
                </a:moveTo>
                <a:cubicBezTo>
                  <a:pt x="10472163" y="1587132"/>
                  <a:pt x="10490267" y="1591982"/>
                  <a:pt x="10497111" y="1602635"/>
                </a:cubicBezTo>
                <a:cubicBezTo>
                  <a:pt x="10497111" y="1602635"/>
                  <a:pt x="10458705" y="1601162"/>
                  <a:pt x="10456267" y="1574054"/>
                </a:cubicBezTo>
                <a:close/>
                <a:moveTo>
                  <a:pt x="10423357" y="1565236"/>
                </a:moveTo>
                <a:lnTo>
                  <a:pt x="10439813" y="1569645"/>
                </a:lnTo>
                <a:cubicBezTo>
                  <a:pt x="10439813" y="1569645"/>
                  <a:pt x="10443928" y="1570748"/>
                  <a:pt x="10448041" y="1571850"/>
                </a:cubicBezTo>
                <a:lnTo>
                  <a:pt x="10456267" y="1574054"/>
                </a:lnTo>
                <a:cubicBezTo>
                  <a:pt x="10454063" y="1582282"/>
                  <a:pt x="10421153" y="1573463"/>
                  <a:pt x="10423357" y="1565236"/>
                </a:cubicBezTo>
                <a:close/>
                <a:moveTo>
                  <a:pt x="10547551" y="1560762"/>
                </a:moveTo>
                <a:cubicBezTo>
                  <a:pt x="10553454" y="1560966"/>
                  <a:pt x="10560199" y="1563324"/>
                  <a:pt x="10567334" y="1566339"/>
                </a:cubicBezTo>
                <a:cubicBezTo>
                  <a:pt x="10581603" y="1572367"/>
                  <a:pt x="10597440" y="1581019"/>
                  <a:pt x="10611248" y="1580311"/>
                </a:cubicBezTo>
                <a:cubicBezTo>
                  <a:pt x="10623778" y="1601305"/>
                  <a:pt x="10655799" y="1583430"/>
                  <a:pt x="10676799" y="1606694"/>
                </a:cubicBezTo>
                <a:cubicBezTo>
                  <a:pt x="10646981" y="1616341"/>
                  <a:pt x="10568900" y="1568964"/>
                  <a:pt x="10532816" y="1568114"/>
                </a:cubicBezTo>
                <a:cubicBezTo>
                  <a:pt x="10536587" y="1562509"/>
                  <a:pt x="10541648" y="1560558"/>
                  <a:pt x="10547551" y="1560762"/>
                </a:cubicBezTo>
                <a:close/>
                <a:moveTo>
                  <a:pt x="10153976" y="1550375"/>
                </a:moveTo>
                <a:cubicBezTo>
                  <a:pt x="10177406" y="1565471"/>
                  <a:pt x="10222328" y="1568690"/>
                  <a:pt x="10262845" y="1588365"/>
                </a:cubicBezTo>
                <a:cubicBezTo>
                  <a:pt x="10243553" y="1592014"/>
                  <a:pt x="10177406" y="1565471"/>
                  <a:pt x="10153976" y="1550375"/>
                </a:cubicBezTo>
                <a:close/>
                <a:moveTo>
                  <a:pt x="10125949" y="1542596"/>
                </a:moveTo>
                <a:lnTo>
                  <a:pt x="10145088" y="1547994"/>
                </a:lnTo>
                <a:lnTo>
                  <a:pt x="10127975" y="1543408"/>
                </a:lnTo>
                <a:close/>
                <a:moveTo>
                  <a:pt x="10550964" y="1533293"/>
                </a:moveTo>
                <a:cubicBezTo>
                  <a:pt x="10561396" y="1527270"/>
                  <a:pt x="10575647" y="1539907"/>
                  <a:pt x="10594306" y="1536088"/>
                </a:cubicBezTo>
                <a:cubicBezTo>
                  <a:pt x="10583874" y="1542111"/>
                  <a:pt x="10569624" y="1529474"/>
                  <a:pt x="10550964" y="1533293"/>
                </a:cubicBezTo>
                <a:close/>
                <a:moveTo>
                  <a:pt x="10409698" y="1517485"/>
                </a:moveTo>
                <a:cubicBezTo>
                  <a:pt x="10450100" y="1537129"/>
                  <a:pt x="10494915" y="1540318"/>
                  <a:pt x="10524589" y="1565906"/>
                </a:cubicBezTo>
                <a:cubicBezTo>
                  <a:pt x="10488301" y="1565001"/>
                  <a:pt x="10433059" y="1532563"/>
                  <a:pt x="10405289" y="1533940"/>
                </a:cubicBezTo>
                <a:cubicBezTo>
                  <a:pt x="10407493" y="1525712"/>
                  <a:pt x="10407493" y="1525712"/>
                  <a:pt x="10409698" y="1517485"/>
                </a:cubicBezTo>
                <a:close/>
                <a:moveTo>
                  <a:pt x="10528370" y="1515112"/>
                </a:moveTo>
                <a:cubicBezTo>
                  <a:pt x="10536446" y="1516174"/>
                  <a:pt x="10549817" y="1519757"/>
                  <a:pt x="10553168" y="1525065"/>
                </a:cubicBezTo>
                <a:cubicBezTo>
                  <a:pt x="10542052" y="1530905"/>
                  <a:pt x="10542052" y="1530905"/>
                  <a:pt x="10535343" y="1520289"/>
                </a:cubicBezTo>
                <a:cubicBezTo>
                  <a:pt x="10517514" y="1515512"/>
                  <a:pt x="10520294" y="1514051"/>
                  <a:pt x="10528370" y="1515112"/>
                </a:cubicBezTo>
                <a:close/>
                <a:moveTo>
                  <a:pt x="9951594" y="1482919"/>
                </a:moveTo>
                <a:cubicBezTo>
                  <a:pt x="9977263" y="1489796"/>
                  <a:pt x="10009352" y="1498395"/>
                  <a:pt x="10041025" y="1508534"/>
                </a:cubicBezTo>
                <a:lnTo>
                  <a:pt x="10125949" y="1542596"/>
                </a:lnTo>
                <a:lnTo>
                  <a:pt x="10027849" y="1514927"/>
                </a:lnTo>
                <a:cubicBezTo>
                  <a:pt x="9994037" y="1504212"/>
                  <a:pt x="9967053" y="1493674"/>
                  <a:pt x="9951594" y="1482919"/>
                </a:cubicBezTo>
                <a:close/>
                <a:moveTo>
                  <a:pt x="10419621" y="1480463"/>
                </a:moveTo>
                <a:cubicBezTo>
                  <a:pt x="10428223" y="1482768"/>
                  <a:pt x="10462629" y="1491987"/>
                  <a:pt x="10479833" y="1496597"/>
                </a:cubicBezTo>
                <a:cubicBezTo>
                  <a:pt x="10512034" y="1514043"/>
                  <a:pt x="10454028" y="1489682"/>
                  <a:pt x="10451823" y="1497910"/>
                </a:cubicBezTo>
                <a:cubicBezTo>
                  <a:pt x="10443221" y="1495605"/>
                  <a:pt x="10428223" y="1482768"/>
                  <a:pt x="10419621" y="1480463"/>
                </a:cubicBezTo>
                <a:close/>
                <a:moveTo>
                  <a:pt x="10360117" y="1455701"/>
                </a:moveTo>
                <a:cubicBezTo>
                  <a:pt x="10366964" y="1466354"/>
                  <a:pt x="10407574" y="1459598"/>
                  <a:pt x="10403165" y="1476054"/>
                </a:cubicBezTo>
                <a:cubicBezTo>
                  <a:pt x="10396321" y="1465401"/>
                  <a:pt x="10373809" y="1477006"/>
                  <a:pt x="10360117" y="1455701"/>
                </a:cubicBezTo>
                <a:close/>
                <a:moveTo>
                  <a:pt x="10280094" y="1429436"/>
                </a:moveTo>
                <a:cubicBezTo>
                  <a:pt x="10286619" y="1430220"/>
                  <a:pt x="10294337" y="1432013"/>
                  <a:pt x="10301847" y="1434577"/>
                </a:cubicBezTo>
                <a:cubicBezTo>
                  <a:pt x="10316871" y="1439703"/>
                  <a:pt x="10331066" y="1447916"/>
                  <a:pt x="10333232" y="1457315"/>
                </a:cubicBezTo>
                <a:cubicBezTo>
                  <a:pt x="10300469" y="1439718"/>
                  <a:pt x="10291729" y="1437376"/>
                  <a:pt x="10265502" y="1430349"/>
                </a:cubicBezTo>
                <a:cubicBezTo>
                  <a:pt x="10268239" y="1428877"/>
                  <a:pt x="10273570" y="1428652"/>
                  <a:pt x="10280094" y="1429436"/>
                </a:cubicBezTo>
                <a:close/>
                <a:moveTo>
                  <a:pt x="10239549" y="1410993"/>
                </a:moveTo>
                <a:cubicBezTo>
                  <a:pt x="10241933" y="1411356"/>
                  <a:pt x="10244881" y="1412697"/>
                  <a:pt x="10247690" y="1414552"/>
                </a:cubicBezTo>
                <a:cubicBezTo>
                  <a:pt x="10253309" y="1418264"/>
                  <a:pt x="10258377" y="1424029"/>
                  <a:pt x="10257274" y="1428144"/>
                </a:cubicBezTo>
                <a:cubicBezTo>
                  <a:pt x="10251252" y="1417712"/>
                  <a:pt x="10240820" y="1423735"/>
                  <a:pt x="10234796" y="1413303"/>
                </a:cubicBezTo>
                <a:cubicBezTo>
                  <a:pt x="10235348" y="1411245"/>
                  <a:pt x="10237166" y="1410630"/>
                  <a:pt x="10239549" y="1410993"/>
                </a:cubicBezTo>
                <a:close/>
                <a:moveTo>
                  <a:pt x="10199578" y="1404624"/>
                </a:moveTo>
                <a:cubicBezTo>
                  <a:pt x="10213538" y="1403779"/>
                  <a:pt x="10222081" y="1406069"/>
                  <a:pt x="10223929" y="1407711"/>
                </a:cubicBezTo>
                <a:cubicBezTo>
                  <a:pt x="10225779" y="1409351"/>
                  <a:pt x="10220935" y="1410347"/>
                  <a:pt x="10208121" y="1406913"/>
                </a:cubicBezTo>
                <a:close/>
                <a:moveTo>
                  <a:pt x="10708799" y="1329914"/>
                </a:moveTo>
                <a:cubicBezTo>
                  <a:pt x="10722635" y="1330728"/>
                  <a:pt x="10740623" y="1343815"/>
                  <a:pt x="10748448" y="1339298"/>
                </a:cubicBezTo>
                <a:cubicBezTo>
                  <a:pt x="10735811" y="1353548"/>
                  <a:pt x="10715538" y="1330479"/>
                  <a:pt x="10696877" y="1334298"/>
                </a:cubicBezTo>
                <a:cubicBezTo>
                  <a:pt x="10700036" y="1330735"/>
                  <a:pt x="10704187" y="1329643"/>
                  <a:pt x="10708799" y="1329914"/>
                </a:cubicBezTo>
                <a:close/>
                <a:moveTo>
                  <a:pt x="10479144" y="1258320"/>
                </a:moveTo>
                <a:cubicBezTo>
                  <a:pt x="10488473" y="1256409"/>
                  <a:pt x="10498759" y="1259165"/>
                  <a:pt x="10508492" y="1263978"/>
                </a:cubicBezTo>
                <a:cubicBezTo>
                  <a:pt x="10518226" y="1268792"/>
                  <a:pt x="10527407" y="1275659"/>
                  <a:pt x="10534532" y="1281979"/>
                </a:cubicBezTo>
                <a:cubicBezTo>
                  <a:pt x="10512054" y="1267138"/>
                  <a:pt x="10495598" y="1262729"/>
                  <a:pt x="10479144" y="1258320"/>
                </a:cubicBezTo>
                <a:close/>
                <a:moveTo>
                  <a:pt x="9528411" y="1153481"/>
                </a:moveTo>
                <a:cubicBezTo>
                  <a:pt x="9571132" y="1164928"/>
                  <a:pt x="9639483" y="1183243"/>
                  <a:pt x="9697087" y="1207496"/>
                </a:cubicBezTo>
                <a:lnTo>
                  <a:pt x="9637279" y="1191471"/>
                </a:lnTo>
                <a:cubicBezTo>
                  <a:pt x="9612196" y="1182545"/>
                  <a:pt x="9591390" y="1174764"/>
                  <a:pt x="9577471" y="1175445"/>
                </a:cubicBezTo>
                <a:cubicBezTo>
                  <a:pt x="9571132" y="1164928"/>
                  <a:pt x="9541089" y="1174515"/>
                  <a:pt x="9528411" y="1153481"/>
                </a:cubicBezTo>
                <a:close/>
                <a:moveTo>
                  <a:pt x="10121968" y="1137262"/>
                </a:moveTo>
                <a:cubicBezTo>
                  <a:pt x="10128652" y="1137951"/>
                  <a:pt x="10137196" y="1140240"/>
                  <a:pt x="10141468" y="1141385"/>
                </a:cubicBezTo>
                <a:cubicBezTo>
                  <a:pt x="10150012" y="1143674"/>
                  <a:pt x="10147808" y="1151902"/>
                  <a:pt x="10156351" y="1154191"/>
                </a:cubicBezTo>
                <a:lnTo>
                  <a:pt x="10113630" y="1142744"/>
                </a:lnTo>
                <a:cubicBezTo>
                  <a:pt x="10110461" y="1137486"/>
                  <a:pt x="10115284" y="1136574"/>
                  <a:pt x="10121968" y="1137262"/>
                </a:cubicBezTo>
                <a:close/>
                <a:moveTo>
                  <a:pt x="10085143" y="1128498"/>
                </a:moveTo>
                <a:cubicBezTo>
                  <a:pt x="10092342" y="1130427"/>
                  <a:pt x="10097962" y="1134135"/>
                  <a:pt x="10096859" y="1138250"/>
                </a:cubicBezTo>
                <a:cubicBezTo>
                  <a:pt x="10082608" y="1125613"/>
                  <a:pt x="10072177" y="1131637"/>
                  <a:pt x="10063949" y="1129432"/>
                </a:cubicBezTo>
                <a:cubicBezTo>
                  <a:pt x="10069167" y="1126419"/>
                  <a:pt x="10077945" y="1126569"/>
                  <a:pt x="10085143" y="1128498"/>
                </a:cubicBezTo>
                <a:close/>
                <a:moveTo>
                  <a:pt x="9726314" y="1110787"/>
                </a:moveTo>
                <a:lnTo>
                  <a:pt x="9728450" y="1114489"/>
                </a:lnTo>
                <a:cubicBezTo>
                  <a:pt x="9728450" y="1114489"/>
                  <a:pt x="9720222" y="1112284"/>
                  <a:pt x="9720222" y="1112284"/>
                </a:cubicBezTo>
                <a:lnTo>
                  <a:pt x="9719400" y="1112064"/>
                </a:lnTo>
                <a:close/>
                <a:moveTo>
                  <a:pt x="9722427" y="1104057"/>
                </a:moveTo>
                <a:cubicBezTo>
                  <a:pt x="9714199" y="1101852"/>
                  <a:pt x="9730654" y="1106261"/>
                  <a:pt x="9738881" y="1108466"/>
                </a:cubicBezTo>
                <a:lnTo>
                  <a:pt x="9726314" y="1110787"/>
                </a:lnTo>
                <a:lnTo>
                  <a:pt x="9725439" y="1109272"/>
                </a:lnTo>
                <a:cubicBezTo>
                  <a:pt x="9723382" y="1108720"/>
                  <a:pt x="9721325" y="1108169"/>
                  <a:pt x="9722427" y="1104057"/>
                </a:cubicBezTo>
                <a:close/>
                <a:moveTo>
                  <a:pt x="9687312" y="1103466"/>
                </a:moveTo>
                <a:lnTo>
                  <a:pt x="9694510" y="1105395"/>
                </a:lnTo>
                <a:lnTo>
                  <a:pt x="9719400" y="1112064"/>
                </a:lnTo>
                <a:lnTo>
                  <a:pt x="9714529" y="1112964"/>
                </a:lnTo>
                <a:close/>
                <a:moveTo>
                  <a:pt x="9921382" y="1086133"/>
                </a:moveTo>
                <a:cubicBezTo>
                  <a:pt x="9937854" y="1086827"/>
                  <a:pt x="9971330" y="1095797"/>
                  <a:pt x="9990460" y="1100922"/>
                </a:cubicBezTo>
                <a:cubicBezTo>
                  <a:pt x="9998962" y="1103200"/>
                  <a:pt x="10041470" y="1114591"/>
                  <a:pt x="10022265" y="1118263"/>
                </a:cubicBezTo>
                <a:cubicBezTo>
                  <a:pt x="9979753" y="1106872"/>
                  <a:pt x="9947951" y="1089532"/>
                  <a:pt x="9911738" y="1088647"/>
                </a:cubicBezTo>
                <a:cubicBezTo>
                  <a:pt x="9912289" y="1086590"/>
                  <a:pt x="9915891" y="1085902"/>
                  <a:pt x="9921382" y="1086133"/>
                </a:cubicBezTo>
                <a:close/>
                <a:moveTo>
                  <a:pt x="9671904" y="1082806"/>
                </a:moveTo>
                <a:cubicBezTo>
                  <a:pt x="9675265" y="1082604"/>
                  <a:pt x="9679379" y="1083707"/>
                  <a:pt x="9683493" y="1084809"/>
                </a:cubicBezTo>
                <a:cubicBezTo>
                  <a:pt x="9681288" y="1093036"/>
                  <a:pt x="9689516" y="1095241"/>
                  <a:pt x="9689516" y="1095241"/>
                </a:cubicBezTo>
                <a:cubicBezTo>
                  <a:pt x="9676879" y="1109492"/>
                  <a:pt x="9675265" y="1082604"/>
                  <a:pt x="9664833" y="1088627"/>
                </a:cubicBezTo>
                <a:cubicBezTo>
                  <a:pt x="9665935" y="1084513"/>
                  <a:pt x="9668543" y="1083008"/>
                  <a:pt x="9671904" y="1082806"/>
                </a:cubicBezTo>
                <a:close/>
                <a:moveTo>
                  <a:pt x="9844010" y="1061681"/>
                </a:moveTo>
                <a:cubicBezTo>
                  <a:pt x="9849227" y="1058669"/>
                  <a:pt x="9855398" y="1060322"/>
                  <a:pt x="9862321" y="1063280"/>
                </a:cubicBezTo>
                <a:cubicBezTo>
                  <a:pt x="9869244" y="1066237"/>
                  <a:pt x="9876920" y="1070499"/>
                  <a:pt x="9885148" y="1072704"/>
                </a:cubicBezTo>
                <a:close/>
                <a:moveTo>
                  <a:pt x="9747046" y="1028122"/>
                </a:moveTo>
                <a:cubicBezTo>
                  <a:pt x="9759981" y="1028694"/>
                  <a:pt x="9792112" y="1045570"/>
                  <a:pt x="9813305" y="1044635"/>
                </a:cubicBezTo>
                <a:cubicBezTo>
                  <a:pt x="9782842" y="1054110"/>
                  <a:pt x="9752512" y="1028346"/>
                  <a:pt x="9741624" y="1034247"/>
                </a:cubicBezTo>
                <a:cubicBezTo>
                  <a:pt x="9740555" y="1029551"/>
                  <a:pt x="9742734" y="1027931"/>
                  <a:pt x="9747046" y="1028122"/>
                </a:cubicBezTo>
                <a:close/>
                <a:moveTo>
                  <a:pt x="9626473" y="990853"/>
                </a:moveTo>
                <a:cubicBezTo>
                  <a:pt x="9632450" y="992041"/>
                  <a:pt x="9640303" y="994421"/>
                  <a:pt x="9648360" y="997131"/>
                </a:cubicBezTo>
                <a:cubicBezTo>
                  <a:pt x="9664475" y="1002552"/>
                  <a:pt x="9681407" y="1009294"/>
                  <a:pt x="9685779" y="1010465"/>
                </a:cubicBezTo>
                <a:cubicBezTo>
                  <a:pt x="9666091" y="1014008"/>
                  <a:pt x="9633327" y="996411"/>
                  <a:pt x="9615844" y="991726"/>
                </a:cubicBezTo>
                <a:cubicBezTo>
                  <a:pt x="9616395" y="989669"/>
                  <a:pt x="9620496" y="989665"/>
                  <a:pt x="9626473" y="990853"/>
                </a:cubicBezTo>
                <a:close/>
                <a:moveTo>
                  <a:pt x="9426585" y="987472"/>
                </a:moveTo>
                <a:lnTo>
                  <a:pt x="9449314" y="992729"/>
                </a:lnTo>
                <a:cubicBezTo>
                  <a:pt x="9443898" y="995863"/>
                  <a:pt x="9439627" y="994719"/>
                  <a:pt x="9435641" y="992504"/>
                </a:cubicBezTo>
                <a:close/>
                <a:moveTo>
                  <a:pt x="9423686" y="985862"/>
                </a:moveTo>
                <a:lnTo>
                  <a:pt x="9426585" y="987472"/>
                </a:lnTo>
                <a:lnTo>
                  <a:pt x="9423449" y="986748"/>
                </a:lnTo>
                <a:close/>
                <a:moveTo>
                  <a:pt x="9564568" y="969169"/>
                </a:moveTo>
                <a:cubicBezTo>
                  <a:pt x="9571415" y="979822"/>
                  <a:pt x="9589516" y="984671"/>
                  <a:pt x="9607616" y="989522"/>
                </a:cubicBezTo>
                <a:cubicBezTo>
                  <a:pt x="9598568" y="987097"/>
                  <a:pt x="9560159" y="985624"/>
                  <a:pt x="9564568" y="969169"/>
                </a:cubicBezTo>
                <a:close/>
                <a:moveTo>
                  <a:pt x="9284242" y="929328"/>
                </a:moveTo>
                <a:cubicBezTo>
                  <a:pt x="9318328" y="938462"/>
                  <a:pt x="9375774" y="962672"/>
                  <a:pt x="9401338" y="969522"/>
                </a:cubicBezTo>
                <a:cubicBezTo>
                  <a:pt x="9373569" y="970900"/>
                  <a:pt x="9303194" y="960861"/>
                  <a:pt x="9284242" y="929328"/>
                </a:cubicBezTo>
                <a:close/>
                <a:moveTo>
                  <a:pt x="9309859" y="900920"/>
                </a:moveTo>
                <a:cubicBezTo>
                  <a:pt x="9340957" y="904841"/>
                  <a:pt x="9366668" y="911731"/>
                  <a:pt x="9394247" y="920223"/>
                </a:cubicBezTo>
                <a:cubicBezTo>
                  <a:pt x="9421824" y="928715"/>
                  <a:pt x="9451269" y="938810"/>
                  <a:pt x="9489837" y="949144"/>
                </a:cubicBezTo>
                <a:lnTo>
                  <a:pt x="9498406" y="951441"/>
                </a:lnTo>
                <a:cubicBezTo>
                  <a:pt x="9498406" y="951441"/>
                  <a:pt x="9489837" y="949144"/>
                  <a:pt x="9487632" y="957372"/>
                </a:cubicBezTo>
                <a:cubicBezTo>
                  <a:pt x="9464126" y="942255"/>
                  <a:pt x="9427639" y="941297"/>
                  <a:pt x="9384786" y="929814"/>
                </a:cubicBezTo>
                <a:cubicBezTo>
                  <a:pt x="9376217" y="927518"/>
                  <a:pt x="9376217" y="927518"/>
                  <a:pt x="9376217" y="927518"/>
                </a:cubicBezTo>
                <a:cubicBezTo>
                  <a:pt x="9378422" y="919291"/>
                  <a:pt x="9367648" y="925222"/>
                  <a:pt x="9361280" y="914698"/>
                </a:cubicBezTo>
                <a:cubicBezTo>
                  <a:pt x="9367648" y="925222"/>
                  <a:pt x="9359075" y="922925"/>
                  <a:pt x="9359075" y="922925"/>
                </a:cubicBezTo>
                <a:cubicBezTo>
                  <a:pt x="9361280" y="914698"/>
                  <a:pt x="9339731" y="926560"/>
                  <a:pt x="9335569" y="907808"/>
                </a:cubicBezTo>
                <a:cubicBezTo>
                  <a:pt x="9322590" y="921967"/>
                  <a:pt x="9305450" y="917375"/>
                  <a:pt x="9299083" y="906850"/>
                </a:cubicBezTo>
                <a:cubicBezTo>
                  <a:pt x="9299083" y="906850"/>
                  <a:pt x="9316225" y="911443"/>
                  <a:pt x="9309859" y="900920"/>
                </a:cubicBezTo>
                <a:close/>
                <a:moveTo>
                  <a:pt x="9221986" y="864972"/>
                </a:moveTo>
                <a:cubicBezTo>
                  <a:pt x="9227754" y="866242"/>
                  <a:pt x="9234673" y="868647"/>
                  <a:pt x="9241996" y="871712"/>
                </a:cubicBezTo>
                <a:cubicBezTo>
                  <a:pt x="9256643" y="877842"/>
                  <a:pt x="9272910" y="886609"/>
                  <a:pt x="9284835" y="894214"/>
                </a:cubicBezTo>
                <a:cubicBezTo>
                  <a:pt x="9267465" y="889560"/>
                  <a:pt x="9224042" y="877925"/>
                  <a:pt x="9208877" y="865043"/>
                </a:cubicBezTo>
                <a:cubicBezTo>
                  <a:pt x="9211600" y="863567"/>
                  <a:pt x="9216218" y="863702"/>
                  <a:pt x="9221986" y="864972"/>
                </a:cubicBezTo>
                <a:close/>
                <a:moveTo>
                  <a:pt x="8740156" y="697323"/>
                </a:moveTo>
                <a:cubicBezTo>
                  <a:pt x="8742341" y="697392"/>
                  <a:pt x="8744312" y="698265"/>
                  <a:pt x="8746197" y="699460"/>
                </a:cubicBezTo>
                <a:cubicBezTo>
                  <a:pt x="8749965" y="701847"/>
                  <a:pt x="8753392" y="705521"/>
                  <a:pt x="8757504" y="706623"/>
                </a:cubicBezTo>
                <a:cubicBezTo>
                  <a:pt x="8754748" y="716908"/>
                  <a:pt x="8738293" y="712499"/>
                  <a:pt x="8732821" y="700009"/>
                </a:cubicBezTo>
                <a:cubicBezTo>
                  <a:pt x="8735568" y="697988"/>
                  <a:pt x="8737969" y="697254"/>
                  <a:pt x="8740156" y="697323"/>
                </a:cubicBezTo>
                <a:close/>
                <a:moveTo>
                  <a:pt x="8638388" y="673970"/>
                </a:moveTo>
                <a:cubicBezTo>
                  <a:pt x="8666878" y="671316"/>
                  <a:pt x="8690223" y="687859"/>
                  <a:pt x="8727350" y="687519"/>
                </a:cubicBezTo>
                <a:cubicBezTo>
                  <a:pt x="8719634" y="716317"/>
                  <a:pt x="8707502" y="692489"/>
                  <a:pt x="8698862" y="690173"/>
                </a:cubicBezTo>
                <a:cubicBezTo>
                  <a:pt x="8679010" y="695145"/>
                  <a:pt x="8664306" y="680914"/>
                  <a:pt x="8638388" y="673970"/>
                </a:cubicBezTo>
                <a:close/>
                <a:moveTo>
                  <a:pt x="8579776" y="586249"/>
                </a:moveTo>
                <a:cubicBezTo>
                  <a:pt x="8588516" y="588591"/>
                  <a:pt x="8595055" y="599162"/>
                  <a:pt x="8597259" y="590934"/>
                </a:cubicBezTo>
                <a:cubicBezTo>
                  <a:pt x="8621279" y="606188"/>
                  <a:pt x="8551344" y="587449"/>
                  <a:pt x="8579776" y="586249"/>
                </a:cubicBezTo>
                <a:close/>
                <a:moveTo>
                  <a:pt x="8445486" y="581681"/>
                </a:moveTo>
                <a:cubicBezTo>
                  <a:pt x="8455091" y="582602"/>
                  <a:pt x="8481005" y="592852"/>
                  <a:pt x="8489342" y="588473"/>
                </a:cubicBezTo>
                <a:cubicBezTo>
                  <a:pt x="8476021" y="602540"/>
                  <a:pt x="8460397" y="589535"/>
                  <a:pt x="8442572" y="584759"/>
                </a:cubicBezTo>
                <a:cubicBezTo>
                  <a:pt x="8440895" y="582105"/>
                  <a:pt x="8442284" y="581375"/>
                  <a:pt x="8445486" y="581681"/>
                </a:cubicBezTo>
                <a:close/>
                <a:moveTo>
                  <a:pt x="1778938" y="540838"/>
                </a:moveTo>
                <a:cubicBezTo>
                  <a:pt x="1779260" y="539635"/>
                  <a:pt x="1779260" y="539635"/>
                  <a:pt x="1778687" y="541774"/>
                </a:cubicBezTo>
                <a:lnTo>
                  <a:pt x="1778686" y="541776"/>
                </a:lnTo>
                <a:close/>
                <a:moveTo>
                  <a:pt x="8295640" y="532849"/>
                </a:moveTo>
                <a:cubicBezTo>
                  <a:pt x="8297544" y="532945"/>
                  <a:pt x="8300047" y="533892"/>
                  <a:pt x="8302994" y="535233"/>
                </a:cubicBezTo>
                <a:cubicBezTo>
                  <a:pt x="8308888" y="537915"/>
                  <a:pt x="8316564" y="542177"/>
                  <a:pt x="8324791" y="544381"/>
                </a:cubicBezTo>
                <a:cubicBezTo>
                  <a:pt x="8314360" y="550404"/>
                  <a:pt x="8300109" y="537768"/>
                  <a:pt x="8291881" y="535563"/>
                </a:cubicBezTo>
                <a:cubicBezTo>
                  <a:pt x="8292433" y="533505"/>
                  <a:pt x="8293737" y="532752"/>
                  <a:pt x="8295640" y="532849"/>
                </a:cubicBezTo>
                <a:close/>
                <a:moveTo>
                  <a:pt x="8401010" y="527326"/>
                </a:moveTo>
                <a:cubicBezTo>
                  <a:pt x="8406151" y="528703"/>
                  <a:pt x="8411770" y="532414"/>
                  <a:pt x="8419998" y="534619"/>
                </a:cubicBezTo>
                <a:cubicBezTo>
                  <a:pt x="8419998" y="534619"/>
                  <a:pt x="8417793" y="542846"/>
                  <a:pt x="8417793" y="542846"/>
                </a:cubicBezTo>
                <a:cubicBezTo>
                  <a:pt x="8409565" y="540642"/>
                  <a:pt x="8393110" y="536233"/>
                  <a:pt x="8384883" y="534028"/>
                </a:cubicBezTo>
                <a:cubicBezTo>
                  <a:pt x="8391203" y="526903"/>
                  <a:pt x="8395866" y="525948"/>
                  <a:pt x="8401010" y="527326"/>
                </a:cubicBezTo>
                <a:close/>
                <a:moveTo>
                  <a:pt x="8278861" y="526564"/>
                </a:moveTo>
                <a:cubicBezTo>
                  <a:pt x="8284757" y="529243"/>
                  <a:pt x="8287769" y="534461"/>
                  <a:pt x="8281450" y="541586"/>
                </a:cubicBezTo>
                <a:cubicBezTo>
                  <a:pt x="8283654" y="533359"/>
                  <a:pt x="8267199" y="528949"/>
                  <a:pt x="8258971" y="526745"/>
                </a:cubicBezTo>
                <a:cubicBezTo>
                  <a:pt x="8264189" y="523732"/>
                  <a:pt x="8272967" y="523882"/>
                  <a:pt x="8278861" y="526564"/>
                </a:cubicBezTo>
                <a:close/>
                <a:moveTo>
                  <a:pt x="8370011" y="520122"/>
                </a:moveTo>
                <a:cubicBezTo>
                  <a:pt x="8376071" y="520643"/>
                  <a:pt x="8382462" y="524561"/>
                  <a:pt x="8375629" y="531548"/>
                </a:cubicBezTo>
                <a:cubicBezTo>
                  <a:pt x="8375629" y="531548"/>
                  <a:pt x="8368578" y="520841"/>
                  <a:pt x="8366373" y="529068"/>
                </a:cubicBezTo>
                <a:cubicBezTo>
                  <a:pt x="8358219" y="522473"/>
                  <a:pt x="8363949" y="519601"/>
                  <a:pt x="8370011" y="520122"/>
                </a:cubicBezTo>
                <a:close/>
                <a:moveTo>
                  <a:pt x="8188477" y="502895"/>
                </a:moveTo>
                <a:cubicBezTo>
                  <a:pt x="8192609" y="502901"/>
                  <a:pt x="8197889" y="503765"/>
                  <a:pt x="8203032" y="505143"/>
                </a:cubicBezTo>
                <a:cubicBezTo>
                  <a:pt x="8213317" y="507899"/>
                  <a:pt x="8223049" y="512709"/>
                  <a:pt x="8221946" y="516824"/>
                </a:cubicBezTo>
                <a:cubicBezTo>
                  <a:pt x="8205491" y="512415"/>
                  <a:pt x="8197264" y="510210"/>
                  <a:pt x="8180809" y="505801"/>
                </a:cubicBezTo>
                <a:cubicBezTo>
                  <a:pt x="8181360" y="503744"/>
                  <a:pt x="8184344" y="502890"/>
                  <a:pt x="8188477" y="502895"/>
                </a:cubicBezTo>
                <a:close/>
                <a:moveTo>
                  <a:pt x="8298803" y="498422"/>
                </a:moveTo>
                <a:cubicBezTo>
                  <a:pt x="8302662" y="497389"/>
                  <a:pt x="8307359" y="498373"/>
                  <a:pt x="8312363" y="500265"/>
                </a:cubicBezTo>
                <a:cubicBezTo>
                  <a:pt x="8322373" y="504047"/>
                  <a:pt x="8333610" y="511469"/>
                  <a:pt x="8341838" y="513673"/>
                </a:cubicBezTo>
                <a:cubicBezTo>
                  <a:pt x="8331406" y="519696"/>
                  <a:pt x="8341838" y="513673"/>
                  <a:pt x="8339634" y="521901"/>
                </a:cubicBezTo>
                <a:cubicBezTo>
                  <a:pt x="8331406" y="519696"/>
                  <a:pt x="8300700" y="502650"/>
                  <a:pt x="8290269" y="508673"/>
                </a:cubicBezTo>
                <a:cubicBezTo>
                  <a:pt x="8291922" y="502502"/>
                  <a:pt x="8294944" y="499454"/>
                  <a:pt x="8298803" y="498422"/>
                </a:cubicBezTo>
                <a:close/>
                <a:moveTo>
                  <a:pt x="8123183" y="486639"/>
                </a:moveTo>
                <a:cubicBezTo>
                  <a:pt x="8125237" y="486776"/>
                  <a:pt x="8127868" y="487757"/>
                  <a:pt x="8130731" y="489075"/>
                </a:cubicBezTo>
                <a:cubicBezTo>
                  <a:pt x="8136455" y="491711"/>
                  <a:pt x="8143102" y="495698"/>
                  <a:pt x="8147901" y="496984"/>
                </a:cubicBezTo>
                <a:cubicBezTo>
                  <a:pt x="8145696" y="505211"/>
                  <a:pt x="8130909" y="483612"/>
                  <a:pt x="8119103" y="489267"/>
                </a:cubicBezTo>
                <a:cubicBezTo>
                  <a:pt x="8119654" y="487210"/>
                  <a:pt x="8121130" y="486502"/>
                  <a:pt x="8123183" y="486639"/>
                </a:cubicBezTo>
                <a:close/>
                <a:moveTo>
                  <a:pt x="8193775" y="473865"/>
                </a:moveTo>
                <a:cubicBezTo>
                  <a:pt x="8207460" y="472158"/>
                  <a:pt x="8218975" y="478550"/>
                  <a:pt x="8232969" y="475686"/>
                </a:cubicBezTo>
                <a:cubicBezTo>
                  <a:pt x="8234583" y="502573"/>
                  <a:pt x="8206082" y="477300"/>
                  <a:pt x="8179195" y="478914"/>
                </a:cubicBezTo>
                <a:cubicBezTo>
                  <a:pt x="8184411" y="475902"/>
                  <a:pt x="8189214" y="474434"/>
                  <a:pt x="8193775" y="473865"/>
                </a:cubicBezTo>
                <a:close/>
                <a:moveTo>
                  <a:pt x="8071943" y="467812"/>
                </a:moveTo>
                <a:cubicBezTo>
                  <a:pt x="8080171" y="470017"/>
                  <a:pt x="8077966" y="478244"/>
                  <a:pt x="8094421" y="482654"/>
                </a:cubicBezTo>
                <a:cubicBezTo>
                  <a:pt x="8083989" y="488677"/>
                  <a:pt x="8077966" y="478244"/>
                  <a:pt x="8061511" y="473835"/>
                </a:cubicBezTo>
                <a:cubicBezTo>
                  <a:pt x="8063716" y="465608"/>
                  <a:pt x="8063716" y="465608"/>
                  <a:pt x="8069738" y="476040"/>
                </a:cubicBezTo>
                <a:cubicBezTo>
                  <a:pt x="8069738" y="476040"/>
                  <a:pt x="8071943" y="467812"/>
                  <a:pt x="8071943" y="467812"/>
                </a:cubicBezTo>
                <a:close/>
                <a:moveTo>
                  <a:pt x="8056079" y="428289"/>
                </a:moveTo>
                <a:cubicBezTo>
                  <a:pt x="8056079" y="428289"/>
                  <a:pt x="8064306" y="430493"/>
                  <a:pt x="8064306" y="430493"/>
                </a:cubicBezTo>
                <a:cubicBezTo>
                  <a:pt x="8068125" y="449153"/>
                  <a:pt x="8043442" y="442539"/>
                  <a:pt x="8056079" y="428289"/>
                </a:cubicBezTo>
                <a:close/>
                <a:moveTo>
                  <a:pt x="7892292" y="419813"/>
                </a:moveTo>
                <a:cubicBezTo>
                  <a:pt x="7896631" y="419459"/>
                  <a:pt x="7901225" y="420415"/>
                  <a:pt x="7905613" y="422142"/>
                </a:cubicBezTo>
                <a:cubicBezTo>
                  <a:pt x="7914387" y="425595"/>
                  <a:pt x="7922336" y="432133"/>
                  <a:pt x="7925758" y="437461"/>
                </a:cubicBezTo>
                <a:cubicBezTo>
                  <a:pt x="7921349" y="453916"/>
                  <a:pt x="7900810" y="421958"/>
                  <a:pt x="7905453" y="440838"/>
                </a:cubicBezTo>
                <a:cubicBezTo>
                  <a:pt x="7887353" y="435988"/>
                  <a:pt x="7889557" y="427761"/>
                  <a:pt x="7880505" y="425335"/>
                </a:cubicBezTo>
                <a:cubicBezTo>
                  <a:pt x="7883870" y="421827"/>
                  <a:pt x="7887953" y="420166"/>
                  <a:pt x="7892292" y="419813"/>
                </a:cubicBezTo>
                <a:close/>
                <a:moveTo>
                  <a:pt x="8010827" y="416161"/>
                </a:moveTo>
                <a:cubicBezTo>
                  <a:pt x="8029340" y="421121"/>
                  <a:pt x="8024930" y="437576"/>
                  <a:pt x="8038595" y="423601"/>
                </a:cubicBezTo>
                <a:cubicBezTo>
                  <a:pt x="8043443" y="442536"/>
                  <a:pt x="8006417" y="432616"/>
                  <a:pt x="8010827" y="416161"/>
                </a:cubicBezTo>
                <a:close/>
                <a:moveTo>
                  <a:pt x="7969689" y="405140"/>
                </a:moveTo>
                <a:cubicBezTo>
                  <a:pt x="7975711" y="415572"/>
                  <a:pt x="7977916" y="407345"/>
                  <a:pt x="7986144" y="409550"/>
                </a:cubicBezTo>
                <a:cubicBezTo>
                  <a:pt x="7983939" y="417777"/>
                  <a:pt x="7957052" y="419391"/>
                  <a:pt x="7969689" y="405140"/>
                </a:cubicBezTo>
                <a:close/>
                <a:moveTo>
                  <a:pt x="7822648" y="401014"/>
                </a:moveTo>
                <a:cubicBezTo>
                  <a:pt x="7837722" y="413871"/>
                  <a:pt x="7857206" y="410274"/>
                  <a:pt x="7872278" y="423130"/>
                </a:cubicBezTo>
                <a:cubicBezTo>
                  <a:pt x="7858219" y="423771"/>
                  <a:pt x="7845811" y="418244"/>
                  <a:pt x="7832322" y="412424"/>
                </a:cubicBezTo>
                <a:lnTo>
                  <a:pt x="7820443" y="409241"/>
                </a:lnTo>
                <a:cubicBezTo>
                  <a:pt x="7820443" y="409241"/>
                  <a:pt x="7822648" y="401014"/>
                  <a:pt x="7822648" y="401014"/>
                </a:cubicBezTo>
                <a:close/>
                <a:moveTo>
                  <a:pt x="7953234" y="400731"/>
                </a:moveTo>
                <a:cubicBezTo>
                  <a:pt x="7957052" y="419391"/>
                  <a:pt x="7945006" y="398527"/>
                  <a:pt x="7940597" y="414982"/>
                </a:cubicBezTo>
                <a:cubicBezTo>
                  <a:pt x="7934574" y="404550"/>
                  <a:pt x="7945006" y="398527"/>
                  <a:pt x="7953234" y="400731"/>
                </a:cubicBezTo>
                <a:close/>
                <a:moveTo>
                  <a:pt x="7791003" y="397632"/>
                </a:moveTo>
                <a:cubicBezTo>
                  <a:pt x="7793672" y="397933"/>
                  <a:pt x="7797113" y="399131"/>
                  <a:pt x="7800754" y="400658"/>
                </a:cubicBezTo>
                <a:cubicBezTo>
                  <a:pt x="7808038" y="403712"/>
                  <a:pt x="7816126" y="408085"/>
                  <a:pt x="7820443" y="409241"/>
                </a:cubicBezTo>
                <a:lnTo>
                  <a:pt x="7785888" y="399982"/>
                </a:lnTo>
                <a:cubicBezTo>
                  <a:pt x="7786439" y="397925"/>
                  <a:pt x="7788335" y="397330"/>
                  <a:pt x="7791003" y="397632"/>
                </a:cubicBezTo>
                <a:close/>
                <a:moveTo>
                  <a:pt x="7883778" y="384325"/>
                </a:moveTo>
                <a:cubicBezTo>
                  <a:pt x="7890977" y="386254"/>
                  <a:pt x="7898653" y="390516"/>
                  <a:pt x="7905779" y="396834"/>
                </a:cubicBezTo>
                <a:cubicBezTo>
                  <a:pt x="7895347" y="402857"/>
                  <a:pt x="7881096" y="390220"/>
                  <a:pt x="7864641" y="385811"/>
                </a:cubicBezTo>
                <a:cubicBezTo>
                  <a:pt x="7869857" y="382800"/>
                  <a:pt x="7876579" y="382396"/>
                  <a:pt x="7883778" y="384325"/>
                </a:cubicBezTo>
                <a:close/>
                <a:moveTo>
                  <a:pt x="7720068" y="382346"/>
                </a:moveTo>
                <a:cubicBezTo>
                  <a:pt x="7738727" y="378528"/>
                  <a:pt x="7763409" y="385141"/>
                  <a:pt x="7777660" y="397778"/>
                </a:cubicBezTo>
                <a:cubicBezTo>
                  <a:pt x="7767228" y="403801"/>
                  <a:pt x="7726090" y="392778"/>
                  <a:pt x="7720068" y="382346"/>
                </a:cubicBezTo>
                <a:close/>
                <a:moveTo>
                  <a:pt x="7838453" y="376586"/>
                </a:moveTo>
                <a:cubicBezTo>
                  <a:pt x="7842568" y="377689"/>
                  <a:pt x="7848187" y="381400"/>
                  <a:pt x="7856414" y="383604"/>
                </a:cubicBezTo>
                <a:cubicBezTo>
                  <a:pt x="7845982" y="389627"/>
                  <a:pt x="7839959" y="379195"/>
                  <a:pt x="7829527" y="385218"/>
                </a:cubicBezTo>
                <a:cubicBezTo>
                  <a:pt x="7831732" y="376990"/>
                  <a:pt x="7834341" y="375484"/>
                  <a:pt x="7838453" y="376586"/>
                </a:cubicBezTo>
                <a:close/>
                <a:moveTo>
                  <a:pt x="7731091" y="341206"/>
                </a:moveTo>
                <a:cubicBezTo>
                  <a:pt x="7755773" y="347819"/>
                  <a:pt x="7753569" y="356047"/>
                  <a:pt x="7770024" y="360456"/>
                </a:cubicBezTo>
                <a:cubicBezTo>
                  <a:pt x="7751364" y="364274"/>
                  <a:pt x="7737114" y="351638"/>
                  <a:pt x="7726682" y="357661"/>
                </a:cubicBezTo>
                <a:cubicBezTo>
                  <a:pt x="7720659" y="347229"/>
                  <a:pt x="7737114" y="351638"/>
                  <a:pt x="7731091" y="341206"/>
                </a:cubicBezTo>
                <a:close/>
                <a:moveTo>
                  <a:pt x="7695588" y="341019"/>
                </a:moveTo>
                <a:lnTo>
                  <a:pt x="7712040" y="344919"/>
                </a:lnTo>
                <a:cubicBezTo>
                  <a:pt x="7715247" y="350186"/>
                  <a:pt x="7710387" y="351089"/>
                  <a:pt x="7704999" y="349645"/>
                </a:cubicBezTo>
                <a:close/>
                <a:moveTo>
                  <a:pt x="7687319" y="339059"/>
                </a:moveTo>
                <a:lnTo>
                  <a:pt x="7694802" y="340300"/>
                </a:lnTo>
                <a:lnTo>
                  <a:pt x="7695588" y="341019"/>
                </a:lnTo>
                <a:close/>
                <a:moveTo>
                  <a:pt x="2445737" y="336189"/>
                </a:moveTo>
                <a:lnTo>
                  <a:pt x="2445377" y="336640"/>
                </a:lnTo>
                <a:lnTo>
                  <a:pt x="2441691" y="338124"/>
                </a:lnTo>
                <a:lnTo>
                  <a:pt x="2442445" y="336866"/>
                </a:lnTo>
                <a:close/>
                <a:moveTo>
                  <a:pt x="7854289" y="325717"/>
                </a:moveTo>
                <a:cubicBezTo>
                  <a:pt x="7862516" y="327922"/>
                  <a:pt x="7870744" y="330126"/>
                  <a:pt x="7870744" y="330126"/>
                </a:cubicBezTo>
                <a:cubicBezTo>
                  <a:pt x="7868539" y="338354"/>
                  <a:pt x="7868539" y="338354"/>
                  <a:pt x="7868539" y="338354"/>
                </a:cubicBezTo>
                <a:cubicBezTo>
                  <a:pt x="7864130" y="354809"/>
                  <a:pt x="7870744" y="330126"/>
                  <a:pt x="7852084" y="333945"/>
                </a:cubicBezTo>
                <a:cubicBezTo>
                  <a:pt x="7852084" y="333945"/>
                  <a:pt x="7854289" y="325717"/>
                  <a:pt x="7854289" y="325717"/>
                </a:cubicBezTo>
                <a:close/>
                <a:moveTo>
                  <a:pt x="7680178" y="304969"/>
                </a:moveTo>
                <a:cubicBezTo>
                  <a:pt x="7687377" y="306898"/>
                  <a:pt x="7694915" y="311673"/>
                  <a:pt x="7699028" y="312775"/>
                </a:cubicBezTo>
                <a:cubicBezTo>
                  <a:pt x="7696272" y="323060"/>
                  <a:pt x="7674346" y="306162"/>
                  <a:pt x="7663362" y="314242"/>
                </a:cubicBezTo>
                <a:cubicBezTo>
                  <a:pt x="7666118" y="303957"/>
                  <a:pt x="7672977" y="303040"/>
                  <a:pt x="7680178" y="304969"/>
                </a:cubicBezTo>
                <a:close/>
                <a:moveTo>
                  <a:pt x="7654623" y="281035"/>
                </a:moveTo>
                <a:cubicBezTo>
                  <a:pt x="7663954" y="279125"/>
                  <a:pt x="7668068" y="280228"/>
                  <a:pt x="7670876" y="282083"/>
                </a:cubicBezTo>
                <a:cubicBezTo>
                  <a:pt x="7673687" y="283938"/>
                  <a:pt x="7675194" y="286547"/>
                  <a:pt x="7679306" y="287649"/>
                </a:cubicBezTo>
                <a:cubicBezTo>
                  <a:pt x="7666669" y="301900"/>
                  <a:pt x="7660646" y="291468"/>
                  <a:pt x="7644191" y="287059"/>
                </a:cubicBezTo>
                <a:cubicBezTo>
                  <a:pt x="7646396" y="278831"/>
                  <a:pt x="7652419" y="289263"/>
                  <a:pt x="7654623" y="281035"/>
                </a:cubicBezTo>
                <a:close/>
                <a:moveTo>
                  <a:pt x="7354239" y="266683"/>
                </a:moveTo>
                <a:cubicBezTo>
                  <a:pt x="7423194" y="285160"/>
                  <a:pt x="7478719" y="293424"/>
                  <a:pt x="7533966" y="302715"/>
                </a:cubicBezTo>
                <a:lnTo>
                  <a:pt x="7687319" y="339059"/>
                </a:lnTo>
                <a:lnTo>
                  <a:pt x="7522316" y="311719"/>
                </a:lnTo>
                <a:cubicBezTo>
                  <a:pt x="7465739" y="298765"/>
                  <a:pt x="7409164" y="285808"/>
                  <a:pt x="7349829" y="283138"/>
                </a:cubicBezTo>
                <a:cubicBezTo>
                  <a:pt x="7352034" y="274911"/>
                  <a:pt x="7354239" y="266683"/>
                  <a:pt x="7354239" y="266683"/>
                </a:cubicBezTo>
                <a:close/>
                <a:moveTo>
                  <a:pt x="7543550" y="251274"/>
                </a:moveTo>
                <a:cubicBezTo>
                  <a:pt x="7522686" y="263320"/>
                  <a:pt x="7560005" y="255683"/>
                  <a:pt x="7557801" y="263910"/>
                </a:cubicBezTo>
                <a:cubicBezTo>
                  <a:pt x="7555596" y="272138"/>
                  <a:pt x="7522686" y="263320"/>
                  <a:pt x="7516663" y="252887"/>
                </a:cubicBezTo>
                <a:cubicBezTo>
                  <a:pt x="7524891" y="255092"/>
                  <a:pt x="7535323" y="249069"/>
                  <a:pt x="7543550" y="251274"/>
                </a:cubicBezTo>
                <a:close/>
                <a:moveTo>
                  <a:pt x="7152074" y="247789"/>
                </a:moveTo>
                <a:cubicBezTo>
                  <a:pt x="7198556" y="242607"/>
                  <a:pt x="7276493" y="254672"/>
                  <a:pt x="7337599" y="262227"/>
                </a:cubicBezTo>
                <a:cubicBezTo>
                  <a:pt x="7337599" y="262227"/>
                  <a:pt x="7337599" y="262227"/>
                  <a:pt x="7343808" y="272709"/>
                </a:cubicBezTo>
                <a:cubicBezTo>
                  <a:pt x="7280498" y="273382"/>
                  <a:pt x="7221596" y="257599"/>
                  <a:pt x="7152074" y="247789"/>
                </a:cubicBezTo>
                <a:close/>
                <a:moveTo>
                  <a:pt x="7313383" y="234382"/>
                </a:moveTo>
                <a:cubicBezTo>
                  <a:pt x="7320414" y="234199"/>
                  <a:pt x="7328624" y="236124"/>
                  <a:pt x="7335000" y="238384"/>
                </a:cubicBezTo>
                <a:cubicBezTo>
                  <a:pt x="7347752" y="242901"/>
                  <a:pt x="7353163" y="248761"/>
                  <a:pt x="7327110" y="241780"/>
                </a:cubicBezTo>
                <a:cubicBezTo>
                  <a:pt x="7309740" y="237126"/>
                  <a:pt x="7307536" y="245354"/>
                  <a:pt x="7298850" y="243026"/>
                </a:cubicBezTo>
                <a:cubicBezTo>
                  <a:pt x="7300503" y="236855"/>
                  <a:pt x="7306353" y="234564"/>
                  <a:pt x="7313383" y="234382"/>
                </a:cubicBezTo>
                <a:close/>
                <a:moveTo>
                  <a:pt x="7422048" y="227535"/>
                </a:moveTo>
                <a:cubicBezTo>
                  <a:pt x="7419476" y="237134"/>
                  <a:pt x="7408676" y="244530"/>
                  <a:pt x="7425131" y="248939"/>
                </a:cubicBezTo>
                <a:cubicBezTo>
                  <a:pt x="7414331" y="256333"/>
                  <a:pt x="7400448" y="242325"/>
                  <a:pt x="7392221" y="240121"/>
                </a:cubicBezTo>
                <a:cubicBezTo>
                  <a:pt x="7397365" y="220922"/>
                  <a:pt x="7411249" y="234929"/>
                  <a:pt x="7422048" y="227535"/>
                </a:cubicBezTo>
                <a:close/>
                <a:moveTo>
                  <a:pt x="7330627" y="214935"/>
                </a:moveTo>
                <a:cubicBezTo>
                  <a:pt x="7332926" y="214586"/>
                  <a:pt x="7334822" y="215737"/>
                  <a:pt x="7336558" y="217488"/>
                </a:cubicBezTo>
                <a:cubicBezTo>
                  <a:pt x="7340027" y="220989"/>
                  <a:pt x="7342856" y="226894"/>
                  <a:pt x="7346968" y="227996"/>
                </a:cubicBezTo>
                <a:cubicBezTo>
                  <a:pt x="7336169" y="235389"/>
                  <a:pt x="7333086" y="213985"/>
                  <a:pt x="7322286" y="221382"/>
                </a:cubicBezTo>
                <a:cubicBezTo>
                  <a:pt x="7325629" y="217133"/>
                  <a:pt x="7328329" y="215284"/>
                  <a:pt x="7330627" y="214935"/>
                </a:cubicBezTo>
                <a:close/>
                <a:moveTo>
                  <a:pt x="7148423" y="211537"/>
                </a:moveTo>
                <a:cubicBezTo>
                  <a:pt x="7151278" y="210649"/>
                  <a:pt x="7154759" y="211030"/>
                  <a:pt x="7158360" y="211995"/>
                </a:cubicBezTo>
                <a:cubicBezTo>
                  <a:pt x="7165558" y="213924"/>
                  <a:pt x="7173235" y="218186"/>
                  <a:pt x="7177347" y="219288"/>
                </a:cubicBezTo>
                <a:cubicBezTo>
                  <a:pt x="7166915" y="225311"/>
                  <a:pt x="7152665" y="212674"/>
                  <a:pt x="7142233" y="218697"/>
                </a:cubicBezTo>
                <a:cubicBezTo>
                  <a:pt x="7143335" y="214583"/>
                  <a:pt x="7145566" y="212426"/>
                  <a:pt x="7148423" y="211537"/>
                </a:cubicBezTo>
                <a:close/>
                <a:moveTo>
                  <a:pt x="7290058" y="206934"/>
                </a:moveTo>
                <a:cubicBezTo>
                  <a:pt x="7293006" y="207242"/>
                  <a:pt x="7296011" y="208369"/>
                  <a:pt x="7298936" y="209795"/>
                </a:cubicBezTo>
                <a:cubicBezTo>
                  <a:pt x="7304784" y="212648"/>
                  <a:pt x="7310314" y="216702"/>
                  <a:pt x="7314426" y="217804"/>
                </a:cubicBezTo>
                <a:cubicBezTo>
                  <a:pt x="7301054" y="234799"/>
                  <a:pt x="7297971" y="213395"/>
                  <a:pt x="7281516" y="208986"/>
                </a:cubicBezTo>
                <a:cubicBezTo>
                  <a:pt x="7284217" y="207137"/>
                  <a:pt x="7287109" y="206627"/>
                  <a:pt x="7290058" y="206934"/>
                </a:cubicBezTo>
                <a:close/>
                <a:moveTo>
                  <a:pt x="7261978" y="206692"/>
                </a:moveTo>
                <a:cubicBezTo>
                  <a:pt x="7268589" y="217281"/>
                  <a:pt x="7277405" y="219643"/>
                  <a:pt x="7295034" y="224367"/>
                </a:cubicBezTo>
                <a:cubicBezTo>
                  <a:pt x="7295034" y="224367"/>
                  <a:pt x="7257569" y="223147"/>
                  <a:pt x="7239937" y="218422"/>
                </a:cubicBezTo>
                <a:cubicBezTo>
                  <a:pt x="7233326" y="207833"/>
                  <a:pt x="7266385" y="225509"/>
                  <a:pt x="7261978" y="206692"/>
                </a:cubicBezTo>
                <a:close/>
                <a:moveTo>
                  <a:pt x="7192188" y="196810"/>
                </a:moveTo>
                <a:cubicBezTo>
                  <a:pt x="7192188" y="196810"/>
                  <a:pt x="7200416" y="199014"/>
                  <a:pt x="7208643" y="201219"/>
                </a:cubicBezTo>
                <a:cubicBezTo>
                  <a:pt x="7206439" y="209447"/>
                  <a:pt x="7198211" y="207242"/>
                  <a:pt x="7196007" y="215470"/>
                </a:cubicBezTo>
                <a:cubicBezTo>
                  <a:pt x="7189984" y="205037"/>
                  <a:pt x="7200416" y="199014"/>
                  <a:pt x="7192188" y="196810"/>
                </a:cubicBezTo>
                <a:close/>
                <a:moveTo>
                  <a:pt x="6809213" y="194498"/>
                </a:moveTo>
                <a:cubicBezTo>
                  <a:pt x="6897081" y="208671"/>
                  <a:pt x="7017629" y="203494"/>
                  <a:pt x="7128811" y="233285"/>
                </a:cubicBezTo>
                <a:cubicBezTo>
                  <a:pt x="7128811" y="233285"/>
                  <a:pt x="7133672" y="232246"/>
                  <a:pt x="7137948" y="233391"/>
                </a:cubicBezTo>
                <a:cubicBezTo>
                  <a:pt x="7142224" y="234537"/>
                  <a:pt x="7145914" y="237867"/>
                  <a:pt x="7143571" y="246610"/>
                </a:cubicBezTo>
                <a:cubicBezTo>
                  <a:pt x="7089915" y="241602"/>
                  <a:pt x="7021496" y="223269"/>
                  <a:pt x="6950737" y="213680"/>
                </a:cubicBezTo>
                <a:cubicBezTo>
                  <a:pt x="6905632" y="210962"/>
                  <a:pt x="6847291" y="223440"/>
                  <a:pt x="6809213" y="194498"/>
                </a:cubicBezTo>
                <a:close/>
                <a:moveTo>
                  <a:pt x="7152557" y="188395"/>
                </a:moveTo>
                <a:cubicBezTo>
                  <a:pt x="7157908" y="187624"/>
                  <a:pt x="7162707" y="188910"/>
                  <a:pt x="7167506" y="190196"/>
                </a:cubicBezTo>
                <a:cubicBezTo>
                  <a:pt x="7165301" y="198424"/>
                  <a:pt x="7155703" y="195852"/>
                  <a:pt x="7155703" y="195852"/>
                </a:cubicBezTo>
                <a:cubicBezTo>
                  <a:pt x="7155703" y="195852"/>
                  <a:pt x="7153498" y="204079"/>
                  <a:pt x="7163097" y="206651"/>
                </a:cubicBezTo>
                <a:cubicBezTo>
                  <a:pt x="7163097" y="206651"/>
                  <a:pt x="7143900" y="201507"/>
                  <a:pt x="7134299" y="198935"/>
                </a:cubicBezTo>
                <a:cubicBezTo>
                  <a:pt x="7141304" y="191994"/>
                  <a:pt x="7147206" y="189166"/>
                  <a:pt x="7152557" y="188395"/>
                </a:cubicBezTo>
                <a:close/>
                <a:moveTo>
                  <a:pt x="7093161" y="187912"/>
                </a:moveTo>
                <a:cubicBezTo>
                  <a:pt x="7111821" y="184094"/>
                  <a:pt x="7115640" y="202753"/>
                  <a:pt x="7132095" y="207162"/>
                </a:cubicBezTo>
                <a:cubicBezTo>
                  <a:pt x="7121662" y="213185"/>
                  <a:pt x="7110829" y="212488"/>
                  <a:pt x="7097182" y="209934"/>
                </a:cubicBezTo>
                <a:lnTo>
                  <a:pt x="7045413" y="201573"/>
                </a:lnTo>
                <a:cubicBezTo>
                  <a:pt x="7025382" y="205024"/>
                  <a:pt x="7007556" y="200247"/>
                  <a:pt x="6989728" y="195470"/>
                </a:cubicBezTo>
                <a:cubicBezTo>
                  <a:pt x="6996390" y="188437"/>
                  <a:pt x="7003627" y="188171"/>
                  <a:pt x="7012538" y="190559"/>
                </a:cubicBezTo>
                <a:lnTo>
                  <a:pt x="7045410" y="201572"/>
                </a:lnTo>
                <a:lnTo>
                  <a:pt x="7076412" y="201061"/>
                </a:lnTo>
                <a:cubicBezTo>
                  <a:pt x="7088752" y="204367"/>
                  <a:pt x="7101095" y="207674"/>
                  <a:pt x="7107412" y="200549"/>
                </a:cubicBezTo>
                <a:cubicBezTo>
                  <a:pt x="7109616" y="192321"/>
                  <a:pt x="7082730" y="193935"/>
                  <a:pt x="7093161" y="187912"/>
                </a:cubicBezTo>
                <a:close/>
                <a:moveTo>
                  <a:pt x="7366954" y="186318"/>
                </a:moveTo>
                <a:cubicBezTo>
                  <a:pt x="7374350" y="197118"/>
                  <a:pt x="7386153" y="191463"/>
                  <a:pt x="7395751" y="194034"/>
                </a:cubicBezTo>
                <a:cubicBezTo>
                  <a:pt x="7393547" y="202262"/>
                  <a:pt x="7362545" y="202773"/>
                  <a:pt x="7366954" y="186318"/>
                </a:cubicBezTo>
                <a:close/>
                <a:moveTo>
                  <a:pt x="6958396" y="184867"/>
                </a:moveTo>
                <a:cubicBezTo>
                  <a:pt x="6968203" y="185289"/>
                  <a:pt x="6978489" y="188045"/>
                  <a:pt x="6981498" y="193262"/>
                </a:cubicBezTo>
                <a:cubicBezTo>
                  <a:pt x="6971067" y="199285"/>
                  <a:pt x="6956816" y="186649"/>
                  <a:pt x="6938156" y="190467"/>
                </a:cubicBezTo>
                <a:cubicBezTo>
                  <a:pt x="6939259" y="186352"/>
                  <a:pt x="6948588" y="184444"/>
                  <a:pt x="6958396" y="184867"/>
                </a:cubicBezTo>
                <a:close/>
                <a:moveTo>
                  <a:pt x="6904019" y="178013"/>
                </a:moveTo>
                <a:cubicBezTo>
                  <a:pt x="6913759" y="177316"/>
                  <a:pt x="6923223" y="177648"/>
                  <a:pt x="6932136" y="180036"/>
                </a:cubicBezTo>
                <a:cubicBezTo>
                  <a:pt x="6921020" y="185875"/>
                  <a:pt x="6883161" y="184549"/>
                  <a:pt x="6874247" y="182161"/>
                </a:cubicBezTo>
                <a:cubicBezTo>
                  <a:pt x="6884263" y="180436"/>
                  <a:pt x="6894279" y="178710"/>
                  <a:pt x="6904019" y="178013"/>
                </a:cubicBezTo>
                <a:close/>
                <a:moveTo>
                  <a:pt x="6996342" y="170788"/>
                </a:moveTo>
                <a:cubicBezTo>
                  <a:pt x="7004569" y="172992"/>
                  <a:pt x="7002365" y="181220"/>
                  <a:pt x="7018820" y="185629"/>
                </a:cubicBezTo>
                <a:cubicBezTo>
                  <a:pt x="7010592" y="183424"/>
                  <a:pt x="6994137" y="179015"/>
                  <a:pt x="6975477" y="182834"/>
                </a:cubicBezTo>
                <a:cubicBezTo>
                  <a:pt x="6988114" y="168583"/>
                  <a:pt x="6991932" y="187243"/>
                  <a:pt x="6996342" y="170788"/>
                </a:cubicBezTo>
                <a:close/>
                <a:moveTo>
                  <a:pt x="6787858" y="159016"/>
                </a:moveTo>
                <a:cubicBezTo>
                  <a:pt x="6774486" y="176011"/>
                  <a:pt x="6735921" y="155387"/>
                  <a:pt x="6730776" y="174586"/>
                </a:cubicBezTo>
                <a:cubicBezTo>
                  <a:pt x="6725121" y="162783"/>
                  <a:pt x="6714321" y="170177"/>
                  <a:pt x="6706094" y="167972"/>
                </a:cubicBezTo>
                <a:cubicBezTo>
                  <a:pt x="6727694" y="153182"/>
                  <a:pt x="6760604" y="162001"/>
                  <a:pt x="6787858" y="159016"/>
                </a:cubicBezTo>
                <a:close/>
                <a:moveTo>
                  <a:pt x="6900750" y="157300"/>
                </a:moveTo>
                <a:cubicBezTo>
                  <a:pt x="6907967" y="158131"/>
                  <a:pt x="6914359" y="162047"/>
                  <a:pt x="6917885" y="167402"/>
                </a:cubicBezTo>
                <a:cubicBezTo>
                  <a:pt x="6915680" y="175629"/>
                  <a:pt x="6899372" y="162441"/>
                  <a:pt x="6878655" y="165708"/>
                </a:cubicBezTo>
                <a:cubicBezTo>
                  <a:pt x="6885488" y="158721"/>
                  <a:pt x="6893533" y="156466"/>
                  <a:pt x="6900750" y="157300"/>
                </a:cubicBezTo>
                <a:close/>
                <a:moveTo>
                  <a:pt x="6862505" y="156559"/>
                </a:moveTo>
                <a:cubicBezTo>
                  <a:pt x="6865460" y="159417"/>
                  <a:pt x="6856285" y="175146"/>
                  <a:pt x="6876451" y="173936"/>
                </a:cubicBezTo>
                <a:cubicBezTo>
                  <a:pt x="6866018" y="179959"/>
                  <a:pt x="6841336" y="173345"/>
                  <a:pt x="6824881" y="168936"/>
                </a:cubicBezTo>
                <a:cubicBezTo>
                  <a:pt x="6833108" y="171141"/>
                  <a:pt x="6843540" y="165118"/>
                  <a:pt x="6851768" y="167322"/>
                </a:cubicBezTo>
                <a:cubicBezTo>
                  <a:pt x="6845745" y="156890"/>
                  <a:pt x="6870427" y="163504"/>
                  <a:pt x="6853972" y="159095"/>
                </a:cubicBezTo>
                <a:cubicBezTo>
                  <a:pt x="6859188" y="156083"/>
                  <a:pt x="6861521" y="155606"/>
                  <a:pt x="6862505" y="156559"/>
                </a:cubicBezTo>
                <a:close/>
                <a:moveTo>
                  <a:pt x="6582971" y="153643"/>
                </a:moveTo>
                <a:lnTo>
                  <a:pt x="6583183" y="154105"/>
                </a:lnTo>
                <a:lnTo>
                  <a:pt x="6569505" y="156912"/>
                </a:lnTo>
                <a:cubicBezTo>
                  <a:pt x="6573778" y="158057"/>
                  <a:pt x="6579195" y="154923"/>
                  <a:pt x="6582971" y="153643"/>
                </a:cubicBezTo>
                <a:close/>
                <a:moveTo>
                  <a:pt x="3362969" y="151869"/>
                </a:moveTo>
                <a:cubicBezTo>
                  <a:pt x="3365404" y="151350"/>
                  <a:pt x="3367546" y="151924"/>
                  <a:pt x="3367546" y="151924"/>
                </a:cubicBezTo>
                <a:lnTo>
                  <a:pt x="3360858" y="154035"/>
                </a:lnTo>
                <a:close/>
                <a:moveTo>
                  <a:pt x="6601045" y="148640"/>
                </a:moveTo>
                <a:cubicBezTo>
                  <a:pt x="6619704" y="144822"/>
                  <a:pt x="6644387" y="151435"/>
                  <a:pt x="6660842" y="155844"/>
                </a:cubicBezTo>
                <a:cubicBezTo>
                  <a:pt x="6656433" y="172299"/>
                  <a:pt x="6625728" y="155254"/>
                  <a:pt x="6601045" y="148640"/>
                </a:cubicBezTo>
                <a:close/>
                <a:moveTo>
                  <a:pt x="3305212" y="144590"/>
                </a:moveTo>
                <a:cubicBezTo>
                  <a:pt x="3302869" y="153333"/>
                  <a:pt x="3311439" y="155630"/>
                  <a:pt x="3313782" y="146886"/>
                </a:cubicBezTo>
                <a:cubicBezTo>
                  <a:pt x="3320009" y="157926"/>
                  <a:pt x="3311439" y="155630"/>
                  <a:pt x="3309097" y="164370"/>
                </a:cubicBezTo>
                <a:cubicBezTo>
                  <a:pt x="3317666" y="166666"/>
                  <a:pt x="3320009" y="157926"/>
                  <a:pt x="3330923" y="151479"/>
                </a:cubicBezTo>
                <a:cubicBezTo>
                  <a:pt x="3338322" y="158147"/>
                  <a:pt x="3342606" y="159295"/>
                  <a:pt x="3347477" y="158258"/>
                </a:cubicBezTo>
                <a:lnTo>
                  <a:pt x="3360858" y="154035"/>
                </a:lnTo>
                <a:lnTo>
                  <a:pt x="3356635" y="158369"/>
                </a:lnTo>
                <a:cubicBezTo>
                  <a:pt x="3362862" y="169408"/>
                  <a:pt x="3367546" y="151924"/>
                  <a:pt x="3373774" y="162961"/>
                </a:cubicBezTo>
                <a:cubicBezTo>
                  <a:pt x="3376116" y="154221"/>
                  <a:pt x="3376116" y="154221"/>
                  <a:pt x="3367546" y="151924"/>
                </a:cubicBezTo>
                <a:cubicBezTo>
                  <a:pt x="3369889" y="143181"/>
                  <a:pt x="3374175" y="144330"/>
                  <a:pt x="3377583" y="148756"/>
                </a:cubicBezTo>
                <a:cubicBezTo>
                  <a:pt x="3380987" y="153185"/>
                  <a:pt x="3383517" y="160889"/>
                  <a:pt x="3382346" y="165258"/>
                </a:cubicBezTo>
                <a:cubicBezTo>
                  <a:pt x="3362862" y="169408"/>
                  <a:pt x="3360520" y="178149"/>
                  <a:pt x="3334808" y="171260"/>
                </a:cubicBezTo>
                <a:cubicBezTo>
                  <a:pt x="3345720" y="164815"/>
                  <a:pt x="3334808" y="171260"/>
                  <a:pt x="3328581" y="160223"/>
                </a:cubicBezTo>
                <a:cubicBezTo>
                  <a:pt x="3320009" y="157926"/>
                  <a:pt x="3309097" y="164370"/>
                  <a:pt x="3306754" y="173113"/>
                </a:cubicBezTo>
                <a:cubicBezTo>
                  <a:pt x="3302069" y="190597"/>
                  <a:pt x="3311439" y="155630"/>
                  <a:pt x="3302869" y="153333"/>
                </a:cubicBezTo>
                <a:cubicBezTo>
                  <a:pt x="3302869" y="153333"/>
                  <a:pt x="3298184" y="170817"/>
                  <a:pt x="3298184" y="170817"/>
                </a:cubicBezTo>
                <a:cubicBezTo>
                  <a:pt x="3292727" y="174040"/>
                  <a:pt x="3293899" y="169669"/>
                  <a:pt x="3294000" y="165010"/>
                </a:cubicBezTo>
                <a:lnTo>
                  <a:pt x="3289689" y="161953"/>
                </a:lnTo>
                <a:lnTo>
                  <a:pt x="3284051" y="174196"/>
                </a:lnTo>
                <a:cubicBezTo>
                  <a:pt x="3284115" y="178071"/>
                  <a:pt x="3285530" y="181022"/>
                  <a:pt x="3284244" y="185821"/>
                </a:cubicBezTo>
                <a:cubicBezTo>
                  <a:pt x="3284244" y="185821"/>
                  <a:pt x="3276016" y="183616"/>
                  <a:pt x="3276016" y="183616"/>
                </a:cubicBezTo>
                <a:cubicBezTo>
                  <a:pt x="3276016" y="183616"/>
                  <a:pt x="3286815" y="176223"/>
                  <a:pt x="3281160" y="164417"/>
                </a:cubicBezTo>
                <a:cubicBezTo>
                  <a:pt x="3278588" y="174018"/>
                  <a:pt x="3278588" y="174018"/>
                  <a:pt x="3270360" y="171813"/>
                </a:cubicBezTo>
                <a:cubicBezTo>
                  <a:pt x="3272933" y="162212"/>
                  <a:pt x="3278588" y="174018"/>
                  <a:pt x="3283732" y="154819"/>
                </a:cubicBezTo>
                <a:lnTo>
                  <a:pt x="3288109" y="155991"/>
                </a:lnTo>
                <a:lnTo>
                  <a:pt x="3293421" y="154315"/>
                </a:lnTo>
                <a:cubicBezTo>
                  <a:pt x="3300141" y="154944"/>
                  <a:pt x="3307155" y="154482"/>
                  <a:pt x="3305212" y="144590"/>
                </a:cubicBezTo>
                <a:close/>
                <a:moveTo>
                  <a:pt x="6713811" y="139175"/>
                </a:moveTo>
                <a:cubicBezTo>
                  <a:pt x="6758622" y="142364"/>
                  <a:pt x="6792709" y="151497"/>
                  <a:pt x="6835316" y="162914"/>
                </a:cubicBezTo>
                <a:cubicBezTo>
                  <a:pt x="6801231" y="153781"/>
                  <a:pt x="6745692" y="156536"/>
                  <a:pt x="6713811" y="139175"/>
                </a:cubicBezTo>
                <a:close/>
                <a:moveTo>
                  <a:pt x="6541063" y="139044"/>
                </a:moveTo>
                <a:cubicBezTo>
                  <a:pt x="6542452" y="139003"/>
                  <a:pt x="6543857" y="139930"/>
                  <a:pt x="6545363" y="142538"/>
                </a:cubicBezTo>
                <a:cubicBezTo>
                  <a:pt x="6543158" y="150766"/>
                  <a:pt x="6534930" y="148561"/>
                  <a:pt x="6534930" y="148561"/>
                </a:cubicBezTo>
                <a:lnTo>
                  <a:pt x="6526703" y="146357"/>
                </a:lnTo>
                <a:cubicBezTo>
                  <a:pt x="6532874" y="148010"/>
                  <a:pt x="6536896" y="139167"/>
                  <a:pt x="6541063" y="139044"/>
                </a:cubicBezTo>
                <a:close/>
                <a:moveTo>
                  <a:pt x="6264445" y="137813"/>
                </a:moveTo>
                <a:cubicBezTo>
                  <a:pt x="6263343" y="141926"/>
                  <a:pt x="6264849" y="144534"/>
                  <a:pt x="6267659" y="146390"/>
                </a:cubicBezTo>
                <a:lnTo>
                  <a:pt x="6278683" y="150444"/>
                </a:lnTo>
                <a:lnTo>
                  <a:pt x="6278679" y="150451"/>
                </a:lnTo>
                <a:lnTo>
                  <a:pt x="6269642" y="151330"/>
                </a:lnTo>
                <a:cubicBezTo>
                  <a:pt x="6267309" y="151807"/>
                  <a:pt x="6265252" y="151256"/>
                  <a:pt x="6262241" y="146040"/>
                </a:cubicBezTo>
                <a:cubicBezTo>
                  <a:pt x="6262241" y="146040"/>
                  <a:pt x="6264445" y="137813"/>
                  <a:pt x="6264445" y="137813"/>
                </a:cubicBezTo>
                <a:close/>
                <a:moveTo>
                  <a:pt x="6520680" y="135925"/>
                </a:moveTo>
                <a:cubicBezTo>
                  <a:pt x="6528908" y="138129"/>
                  <a:pt x="6528908" y="138129"/>
                  <a:pt x="6526703" y="146357"/>
                </a:cubicBezTo>
                <a:lnTo>
                  <a:pt x="6518475" y="144152"/>
                </a:lnTo>
                <a:cubicBezTo>
                  <a:pt x="6518475" y="144152"/>
                  <a:pt x="6520680" y="135925"/>
                  <a:pt x="6520680" y="135925"/>
                </a:cubicBezTo>
                <a:close/>
                <a:moveTo>
                  <a:pt x="6318220" y="134585"/>
                </a:moveTo>
                <a:cubicBezTo>
                  <a:pt x="6327820" y="137157"/>
                  <a:pt x="6325616" y="145385"/>
                  <a:pt x="6325616" y="145385"/>
                </a:cubicBezTo>
                <a:cubicBezTo>
                  <a:pt x="6325616" y="145385"/>
                  <a:pt x="6335214" y="147957"/>
                  <a:pt x="6347017" y="142301"/>
                </a:cubicBezTo>
                <a:cubicBezTo>
                  <a:pt x="6347017" y="142301"/>
                  <a:pt x="6344813" y="150529"/>
                  <a:pt x="6344813" y="150529"/>
                </a:cubicBezTo>
                <a:cubicBezTo>
                  <a:pt x="6342608" y="158756"/>
                  <a:pt x="6313810" y="151040"/>
                  <a:pt x="6318220" y="134585"/>
                </a:cubicBezTo>
                <a:close/>
                <a:moveTo>
                  <a:pt x="6613892" y="129488"/>
                </a:moveTo>
                <a:cubicBezTo>
                  <a:pt x="6619036" y="130867"/>
                  <a:pt x="6626575" y="135642"/>
                  <a:pt x="6630687" y="136744"/>
                </a:cubicBezTo>
                <a:cubicBezTo>
                  <a:pt x="6644387" y="151438"/>
                  <a:pt x="6611476" y="142620"/>
                  <a:pt x="6611476" y="142620"/>
                </a:cubicBezTo>
                <a:cubicBezTo>
                  <a:pt x="6606005" y="130130"/>
                  <a:pt x="6608751" y="128111"/>
                  <a:pt x="6613892" y="129488"/>
                </a:cubicBezTo>
                <a:close/>
                <a:moveTo>
                  <a:pt x="6221662" y="126349"/>
                </a:moveTo>
                <a:cubicBezTo>
                  <a:pt x="6239763" y="131199"/>
                  <a:pt x="6216518" y="145548"/>
                  <a:pt x="6237191" y="140797"/>
                </a:cubicBezTo>
                <a:cubicBezTo>
                  <a:pt x="6222997" y="157572"/>
                  <a:pt x="6216518" y="145548"/>
                  <a:pt x="6198417" y="140698"/>
                </a:cubicBezTo>
                <a:cubicBezTo>
                  <a:pt x="6189365" y="138273"/>
                  <a:pt x="6200990" y="131097"/>
                  <a:pt x="6191938" y="128672"/>
                </a:cubicBezTo>
                <a:cubicBezTo>
                  <a:pt x="6203562" y="121499"/>
                  <a:pt x="6216518" y="145548"/>
                  <a:pt x="6221662" y="126349"/>
                </a:cubicBezTo>
                <a:close/>
                <a:moveTo>
                  <a:pt x="6184078" y="125097"/>
                </a:moveTo>
                <a:cubicBezTo>
                  <a:pt x="6184589" y="156099"/>
                  <a:pt x="6156823" y="128081"/>
                  <a:pt x="6154251" y="137682"/>
                </a:cubicBezTo>
                <a:cubicBezTo>
                  <a:pt x="6148596" y="125877"/>
                  <a:pt x="6173278" y="132490"/>
                  <a:pt x="6184078" y="125097"/>
                </a:cubicBezTo>
                <a:close/>
                <a:moveTo>
                  <a:pt x="6581873" y="121459"/>
                </a:moveTo>
                <a:cubicBezTo>
                  <a:pt x="6590101" y="123663"/>
                  <a:pt x="6587345" y="133948"/>
                  <a:pt x="6584589" y="144234"/>
                </a:cubicBezTo>
                <a:cubicBezTo>
                  <a:pt x="6576361" y="142029"/>
                  <a:pt x="6576361" y="142029"/>
                  <a:pt x="6568134" y="139824"/>
                </a:cubicBezTo>
                <a:cubicBezTo>
                  <a:pt x="6570890" y="129539"/>
                  <a:pt x="6579117" y="131744"/>
                  <a:pt x="6581873" y="121459"/>
                </a:cubicBezTo>
                <a:close/>
                <a:moveTo>
                  <a:pt x="3660717" y="119150"/>
                </a:moveTo>
                <a:lnTo>
                  <a:pt x="3662490" y="119850"/>
                </a:lnTo>
                <a:lnTo>
                  <a:pt x="3662394" y="121805"/>
                </a:lnTo>
                <a:lnTo>
                  <a:pt x="3660276" y="120796"/>
                </a:lnTo>
                <a:close/>
                <a:moveTo>
                  <a:pt x="6251811" y="116791"/>
                </a:moveTo>
                <a:lnTo>
                  <a:pt x="6260627" y="119153"/>
                </a:lnTo>
                <a:cubicBezTo>
                  <a:pt x="6249607" y="125018"/>
                  <a:pt x="6256218" y="135608"/>
                  <a:pt x="6251808" y="152063"/>
                </a:cubicBezTo>
                <a:cubicBezTo>
                  <a:pt x="6242993" y="149701"/>
                  <a:pt x="6242993" y="149701"/>
                  <a:pt x="6234180" y="147339"/>
                </a:cubicBezTo>
                <a:cubicBezTo>
                  <a:pt x="6245197" y="141473"/>
                  <a:pt x="6247402" y="133246"/>
                  <a:pt x="6236384" y="139112"/>
                </a:cubicBezTo>
                <a:cubicBezTo>
                  <a:pt x="6238589" y="130884"/>
                  <a:pt x="6247402" y="133246"/>
                  <a:pt x="6251811" y="116791"/>
                </a:cubicBezTo>
                <a:close/>
                <a:moveTo>
                  <a:pt x="6444575" y="115532"/>
                </a:moveTo>
                <a:cubicBezTo>
                  <a:pt x="6454860" y="118288"/>
                  <a:pt x="6450451" y="134743"/>
                  <a:pt x="6448246" y="142971"/>
                </a:cubicBezTo>
                <a:cubicBezTo>
                  <a:pt x="6437961" y="140215"/>
                  <a:pt x="6437961" y="140215"/>
                  <a:pt x="6427676" y="137459"/>
                </a:cubicBezTo>
                <a:cubicBezTo>
                  <a:pt x="6429881" y="129232"/>
                  <a:pt x="6440166" y="131987"/>
                  <a:pt x="6444575" y="115532"/>
                </a:cubicBezTo>
                <a:close/>
                <a:moveTo>
                  <a:pt x="3432469" y="115308"/>
                </a:moveTo>
                <a:lnTo>
                  <a:pt x="3433292" y="116509"/>
                </a:lnTo>
                <a:lnTo>
                  <a:pt x="3431918" y="117366"/>
                </a:lnTo>
                <a:lnTo>
                  <a:pt x="3430627" y="116703"/>
                </a:lnTo>
                <a:close/>
                <a:moveTo>
                  <a:pt x="3422871" y="112737"/>
                </a:moveTo>
                <a:lnTo>
                  <a:pt x="3430627" y="116703"/>
                </a:lnTo>
                <a:lnTo>
                  <a:pt x="3426017" y="120193"/>
                </a:lnTo>
                <a:cubicBezTo>
                  <a:pt x="3423066" y="121607"/>
                  <a:pt x="3420666" y="120964"/>
                  <a:pt x="3422871" y="112737"/>
                </a:cubicBezTo>
                <a:close/>
                <a:moveTo>
                  <a:pt x="6390948" y="109981"/>
                </a:moveTo>
                <a:lnTo>
                  <a:pt x="6399175" y="112186"/>
                </a:lnTo>
                <a:cubicBezTo>
                  <a:pt x="6390948" y="109981"/>
                  <a:pt x="6394766" y="128641"/>
                  <a:pt x="6394766" y="128641"/>
                </a:cubicBezTo>
                <a:cubicBezTo>
                  <a:pt x="6376106" y="132459"/>
                  <a:pt x="6361856" y="119822"/>
                  <a:pt x="6378311" y="124232"/>
                </a:cubicBezTo>
                <a:cubicBezTo>
                  <a:pt x="6386538" y="126436"/>
                  <a:pt x="6388743" y="118209"/>
                  <a:pt x="6390948" y="109981"/>
                </a:cubicBezTo>
                <a:close/>
                <a:moveTo>
                  <a:pt x="6180685" y="108509"/>
                </a:moveTo>
                <a:lnTo>
                  <a:pt x="6188487" y="108641"/>
                </a:lnTo>
                <a:cubicBezTo>
                  <a:pt x="6186283" y="116869"/>
                  <a:pt x="6194510" y="119073"/>
                  <a:pt x="6184078" y="125097"/>
                </a:cubicBezTo>
                <a:cubicBezTo>
                  <a:pt x="6179966" y="123995"/>
                  <a:pt x="6181068" y="119880"/>
                  <a:pt x="6182170" y="115767"/>
                </a:cubicBezTo>
                <a:close/>
                <a:moveTo>
                  <a:pt x="3472532" y="108410"/>
                </a:moveTo>
                <a:cubicBezTo>
                  <a:pt x="3470328" y="116637"/>
                  <a:pt x="3462100" y="114433"/>
                  <a:pt x="3451668" y="120456"/>
                </a:cubicBezTo>
                <a:cubicBezTo>
                  <a:pt x="3451668" y="120456"/>
                  <a:pt x="3453873" y="112228"/>
                  <a:pt x="3453873" y="112228"/>
                </a:cubicBezTo>
                <a:cubicBezTo>
                  <a:pt x="3462100" y="114433"/>
                  <a:pt x="3464305" y="106205"/>
                  <a:pt x="3472532" y="108410"/>
                </a:cubicBezTo>
                <a:close/>
                <a:moveTo>
                  <a:pt x="6153373" y="108051"/>
                </a:moveTo>
                <a:lnTo>
                  <a:pt x="6179708" y="108494"/>
                </a:lnTo>
                <a:lnTo>
                  <a:pt x="6175850" y="122892"/>
                </a:lnTo>
                <a:cubicBezTo>
                  <a:pt x="6161600" y="110255"/>
                  <a:pt x="6161600" y="110255"/>
                  <a:pt x="6153373" y="108051"/>
                </a:cubicBezTo>
                <a:close/>
                <a:moveTo>
                  <a:pt x="6180259" y="106437"/>
                </a:moveTo>
                <a:lnTo>
                  <a:pt x="6180685" y="108509"/>
                </a:lnTo>
                <a:lnTo>
                  <a:pt x="6179708" y="108494"/>
                </a:lnTo>
                <a:close/>
                <a:moveTo>
                  <a:pt x="3573849" y="105092"/>
                </a:moveTo>
                <a:cubicBezTo>
                  <a:pt x="3569239" y="122296"/>
                  <a:pt x="3573849" y="105092"/>
                  <a:pt x="3580227" y="116022"/>
                </a:cubicBezTo>
                <a:cubicBezTo>
                  <a:pt x="3580227" y="116022"/>
                  <a:pt x="3582532" y="107419"/>
                  <a:pt x="3582532" y="107419"/>
                </a:cubicBezTo>
                <a:cubicBezTo>
                  <a:pt x="3591219" y="109746"/>
                  <a:pt x="3588914" y="118350"/>
                  <a:pt x="3586609" y="126950"/>
                </a:cubicBezTo>
                <a:cubicBezTo>
                  <a:pt x="3571544" y="113695"/>
                  <a:pt x="3566935" y="130897"/>
                  <a:pt x="3560556" y="119969"/>
                </a:cubicBezTo>
                <a:cubicBezTo>
                  <a:pt x="3569239" y="122296"/>
                  <a:pt x="3571544" y="113695"/>
                  <a:pt x="3573849" y="105092"/>
                </a:cubicBezTo>
                <a:close/>
                <a:moveTo>
                  <a:pt x="3791474" y="104917"/>
                </a:moveTo>
                <a:lnTo>
                  <a:pt x="3792039" y="109419"/>
                </a:lnTo>
                <a:cubicBezTo>
                  <a:pt x="3793013" y="114226"/>
                  <a:pt x="3793987" y="119034"/>
                  <a:pt x="3789764" y="117903"/>
                </a:cubicBezTo>
                <a:cubicBezTo>
                  <a:pt x="3785543" y="116771"/>
                  <a:pt x="3786680" y="112529"/>
                  <a:pt x="3788872" y="108570"/>
                </a:cubicBezTo>
                <a:close/>
                <a:moveTo>
                  <a:pt x="6198919" y="102618"/>
                </a:moveTo>
                <a:cubicBezTo>
                  <a:pt x="6207735" y="104981"/>
                  <a:pt x="6225367" y="109705"/>
                  <a:pt x="6231977" y="120295"/>
                </a:cubicBezTo>
                <a:cubicBezTo>
                  <a:pt x="6231977" y="120295"/>
                  <a:pt x="6234182" y="112067"/>
                  <a:pt x="6234182" y="112067"/>
                </a:cubicBezTo>
                <a:lnTo>
                  <a:pt x="6251811" y="116791"/>
                </a:lnTo>
                <a:cubicBezTo>
                  <a:pt x="6236384" y="139112"/>
                  <a:pt x="6218755" y="99115"/>
                  <a:pt x="6212141" y="123798"/>
                </a:cubicBezTo>
                <a:cubicBezTo>
                  <a:pt x="6203326" y="121436"/>
                  <a:pt x="6194510" y="119073"/>
                  <a:pt x="6198919" y="102618"/>
                </a:cubicBezTo>
                <a:close/>
                <a:moveTo>
                  <a:pt x="3794311" y="100934"/>
                </a:moveTo>
                <a:lnTo>
                  <a:pt x="3791474" y="104917"/>
                </a:lnTo>
                <a:lnTo>
                  <a:pt x="3791227" y="102949"/>
                </a:lnTo>
                <a:cubicBezTo>
                  <a:pt x="3791389" y="101288"/>
                  <a:pt x="3792200" y="100369"/>
                  <a:pt x="3794311" y="100934"/>
                </a:cubicBezTo>
                <a:close/>
                <a:moveTo>
                  <a:pt x="6311609" y="97541"/>
                </a:moveTo>
                <a:lnTo>
                  <a:pt x="6320352" y="99883"/>
                </a:lnTo>
                <a:cubicBezTo>
                  <a:pt x="6318148" y="108111"/>
                  <a:pt x="6326888" y="110453"/>
                  <a:pt x="6326888" y="110453"/>
                </a:cubicBezTo>
                <a:cubicBezTo>
                  <a:pt x="6324684" y="118680"/>
                  <a:pt x="6320352" y="99883"/>
                  <a:pt x="6311609" y="97541"/>
                </a:cubicBezTo>
                <a:close/>
                <a:moveTo>
                  <a:pt x="6081233" y="97539"/>
                </a:moveTo>
                <a:cubicBezTo>
                  <a:pt x="6081233" y="97539"/>
                  <a:pt x="6089313" y="108523"/>
                  <a:pt x="6101803" y="103051"/>
                </a:cubicBezTo>
                <a:cubicBezTo>
                  <a:pt x="6099598" y="111278"/>
                  <a:pt x="6079028" y="105767"/>
                  <a:pt x="6081233" y="97539"/>
                </a:cubicBezTo>
                <a:close/>
                <a:moveTo>
                  <a:pt x="3640716" y="96154"/>
                </a:moveTo>
                <a:cubicBezTo>
                  <a:pt x="3649355" y="98469"/>
                  <a:pt x="3655790" y="109012"/>
                  <a:pt x="3666633" y="103098"/>
                </a:cubicBezTo>
                <a:cubicBezTo>
                  <a:pt x="3655790" y="109012"/>
                  <a:pt x="3675271" y="105413"/>
                  <a:pt x="3686116" y="99501"/>
                </a:cubicBezTo>
                <a:lnTo>
                  <a:pt x="3682272" y="113849"/>
                </a:lnTo>
                <a:lnTo>
                  <a:pt x="3691866" y="109860"/>
                </a:lnTo>
                <a:cubicBezTo>
                  <a:pt x="3691866" y="109860"/>
                  <a:pt x="3689662" y="118088"/>
                  <a:pt x="3698576" y="120476"/>
                </a:cubicBezTo>
                <a:cubicBezTo>
                  <a:pt x="3693017" y="123394"/>
                  <a:pt x="3685229" y="125718"/>
                  <a:pt x="3677994" y="125985"/>
                </a:cubicBezTo>
                <a:lnTo>
                  <a:pt x="3662490" y="119850"/>
                </a:lnTo>
                <a:lnTo>
                  <a:pt x="3662923" y="110923"/>
                </a:lnTo>
                <a:cubicBezTo>
                  <a:pt x="3667379" y="112117"/>
                  <a:pt x="3671285" y="115369"/>
                  <a:pt x="3675742" y="116563"/>
                </a:cubicBezTo>
                <a:lnTo>
                  <a:pt x="3679142" y="115149"/>
                </a:lnTo>
                <a:lnTo>
                  <a:pt x="3658225" y="108561"/>
                </a:lnTo>
                <a:lnTo>
                  <a:pt x="3646648" y="119469"/>
                </a:lnTo>
                <a:lnTo>
                  <a:pt x="3651803" y="116761"/>
                </a:lnTo>
                <a:lnTo>
                  <a:pt x="3660276" y="120796"/>
                </a:lnTo>
                <a:lnTo>
                  <a:pt x="3658512" y="127378"/>
                </a:lnTo>
                <a:cubicBezTo>
                  <a:pt x="3657411" y="131490"/>
                  <a:pt x="3652402" y="132353"/>
                  <a:pt x="3648223" y="130131"/>
                </a:cubicBezTo>
                <a:lnTo>
                  <a:pt x="3645107" y="120922"/>
                </a:lnTo>
                <a:lnTo>
                  <a:pt x="3642742" y="123152"/>
                </a:lnTo>
                <a:lnTo>
                  <a:pt x="3640813" y="122535"/>
                </a:lnTo>
                <a:lnTo>
                  <a:pt x="3640687" y="122601"/>
                </a:lnTo>
                <a:lnTo>
                  <a:pt x="3640713" y="122503"/>
                </a:lnTo>
                <a:lnTo>
                  <a:pt x="3621418" y="116336"/>
                </a:lnTo>
                <a:cubicBezTo>
                  <a:pt x="3616823" y="116207"/>
                  <a:pt x="3612505" y="115050"/>
                  <a:pt x="3601751" y="103350"/>
                </a:cubicBezTo>
                <a:cubicBezTo>
                  <a:pt x="3619027" y="107979"/>
                  <a:pt x="3621232" y="99752"/>
                  <a:pt x="3636307" y="112609"/>
                </a:cubicBezTo>
                <a:cubicBezTo>
                  <a:pt x="3636307" y="112609"/>
                  <a:pt x="3638512" y="104382"/>
                  <a:pt x="3647151" y="106697"/>
                </a:cubicBezTo>
                <a:cubicBezTo>
                  <a:pt x="3647151" y="106697"/>
                  <a:pt x="3640716" y="96154"/>
                  <a:pt x="3640716" y="96154"/>
                </a:cubicBezTo>
                <a:close/>
                <a:moveTo>
                  <a:pt x="6174237" y="96005"/>
                </a:moveTo>
                <a:cubicBezTo>
                  <a:pt x="6173686" y="98062"/>
                  <a:pt x="6173034" y="98438"/>
                  <a:pt x="6172237" y="97811"/>
                </a:cubicBezTo>
                <a:lnTo>
                  <a:pt x="6172216" y="97780"/>
                </a:lnTo>
                <a:close/>
                <a:moveTo>
                  <a:pt x="6302868" y="95199"/>
                </a:moveTo>
                <a:lnTo>
                  <a:pt x="6311609" y="97541"/>
                </a:lnTo>
                <a:cubicBezTo>
                  <a:pt x="6309404" y="105768"/>
                  <a:pt x="6318148" y="108111"/>
                  <a:pt x="6300664" y="103426"/>
                </a:cubicBezTo>
                <a:cubicBezTo>
                  <a:pt x="6300664" y="103426"/>
                  <a:pt x="6307200" y="113996"/>
                  <a:pt x="6307200" y="113996"/>
                </a:cubicBezTo>
                <a:cubicBezTo>
                  <a:pt x="6322479" y="126908"/>
                  <a:pt x="6353115" y="117480"/>
                  <a:pt x="6361856" y="119822"/>
                </a:cubicBezTo>
                <a:cubicBezTo>
                  <a:pt x="6355242" y="144505"/>
                  <a:pt x="6333427" y="121023"/>
                  <a:pt x="6311534" y="132793"/>
                </a:cubicBezTo>
                <a:cubicBezTo>
                  <a:pt x="6313738" y="124566"/>
                  <a:pt x="6307200" y="113996"/>
                  <a:pt x="6302791" y="130451"/>
                </a:cubicBezTo>
                <a:cubicBezTo>
                  <a:pt x="6287512" y="117539"/>
                  <a:pt x="6298459" y="111654"/>
                  <a:pt x="6302868" y="95199"/>
                </a:cubicBezTo>
                <a:close/>
                <a:moveTo>
                  <a:pt x="3558785" y="91837"/>
                </a:moveTo>
                <a:cubicBezTo>
                  <a:pt x="3557631" y="96139"/>
                  <a:pt x="3557631" y="96139"/>
                  <a:pt x="3556834" y="94772"/>
                </a:cubicBezTo>
                <a:lnTo>
                  <a:pt x="3555488" y="93720"/>
                </a:lnTo>
                <a:close/>
                <a:moveTo>
                  <a:pt x="3724487" y="91318"/>
                </a:moveTo>
                <a:cubicBezTo>
                  <a:pt x="3730656" y="102064"/>
                  <a:pt x="3743647" y="87359"/>
                  <a:pt x="3749819" y="98106"/>
                </a:cubicBezTo>
                <a:cubicBezTo>
                  <a:pt x="3753715" y="117339"/>
                  <a:pt x="3764434" y="111115"/>
                  <a:pt x="3775150" y="104893"/>
                </a:cubicBezTo>
                <a:cubicBezTo>
                  <a:pt x="3783595" y="107156"/>
                  <a:pt x="3770603" y="121864"/>
                  <a:pt x="3770603" y="121864"/>
                </a:cubicBezTo>
                <a:cubicBezTo>
                  <a:pt x="3753715" y="117339"/>
                  <a:pt x="3747546" y="106590"/>
                  <a:pt x="3742999" y="123561"/>
                </a:cubicBezTo>
                <a:cubicBezTo>
                  <a:pt x="3734554" y="121298"/>
                  <a:pt x="3719939" y="108289"/>
                  <a:pt x="3717666" y="116773"/>
                </a:cubicBezTo>
                <a:cubicBezTo>
                  <a:pt x="3703051" y="103764"/>
                  <a:pt x="3736827" y="112814"/>
                  <a:pt x="3745272" y="115077"/>
                </a:cubicBezTo>
                <a:cubicBezTo>
                  <a:pt x="3739101" y="104327"/>
                  <a:pt x="3719939" y="108289"/>
                  <a:pt x="3724487" y="91318"/>
                </a:cubicBezTo>
                <a:close/>
                <a:moveTo>
                  <a:pt x="4463915" y="87786"/>
                </a:moveTo>
                <a:cubicBezTo>
                  <a:pt x="4493500" y="114050"/>
                  <a:pt x="4562467" y="95856"/>
                  <a:pt x="4618304" y="92485"/>
                </a:cubicBezTo>
                <a:cubicBezTo>
                  <a:pt x="4643930" y="99351"/>
                  <a:pt x="4650182" y="110192"/>
                  <a:pt x="4663307" y="95375"/>
                </a:cubicBezTo>
                <a:cubicBezTo>
                  <a:pt x="4761856" y="103445"/>
                  <a:pt x="4847907" y="89829"/>
                  <a:pt x="4955000" y="100191"/>
                </a:cubicBezTo>
                <a:cubicBezTo>
                  <a:pt x="5058131" y="91152"/>
                  <a:pt x="5165224" y="101511"/>
                  <a:pt x="5255232" y="107292"/>
                </a:cubicBezTo>
                <a:cubicBezTo>
                  <a:pt x="5302526" y="101631"/>
                  <a:pt x="5328155" y="108498"/>
                  <a:pt x="5392534" y="107412"/>
                </a:cubicBezTo>
                <a:cubicBezTo>
                  <a:pt x="5422744" y="97171"/>
                  <a:pt x="5452329" y="123434"/>
                  <a:pt x="5467749" y="100062"/>
                </a:cubicBezTo>
                <a:cubicBezTo>
                  <a:pt x="5476290" y="102350"/>
                  <a:pt x="5473998" y="110904"/>
                  <a:pt x="5482541" y="113194"/>
                </a:cubicBezTo>
                <a:cubicBezTo>
                  <a:pt x="5491083" y="115482"/>
                  <a:pt x="5493375" y="106928"/>
                  <a:pt x="5493375" y="106928"/>
                </a:cubicBezTo>
                <a:cubicBezTo>
                  <a:pt x="5501918" y="109217"/>
                  <a:pt x="5493375" y="106928"/>
                  <a:pt x="5491083" y="115482"/>
                </a:cubicBezTo>
                <a:cubicBezTo>
                  <a:pt x="5566298" y="108131"/>
                  <a:pt x="5609011" y="119576"/>
                  <a:pt x="5681933" y="120782"/>
                </a:cubicBezTo>
                <a:cubicBezTo>
                  <a:pt x="5681933" y="120782"/>
                  <a:pt x="5692767" y="114517"/>
                  <a:pt x="5692767" y="114517"/>
                </a:cubicBezTo>
                <a:cubicBezTo>
                  <a:pt x="5726936" y="123672"/>
                  <a:pt x="5771939" y="126563"/>
                  <a:pt x="5799859" y="124876"/>
                </a:cubicBezTo>
                <a:cubicBezTo>
                  <a:pt x="5819236" y="120900"/>
                  <a:pt x="5896116" y="141499"/>
                  <a:pt x="5941121" y="144390"/>
                </a:cubicBezTo>
                <a:cubicBezTo>
                  <a:pt x="5958206" y="148968"/>
                  <a:pt x="5979875" y="136438"/>
                  <a:pt x="5986124" y="147281"/>
                </a:cubicBezTo>
                <a:cubicBezTo>
                  <a:pt x="5994667" y="149570"/>
                  <a:pt x="5994667" y="149570"/>
                  <a:pt x="5996959" y="141016"/>
                </a:cubicBezTo>
                <a:cubicBezTo>
                  <a:pt x="6005501" y="143304"/>
                  <a:pt x="6003209" y="151859"/>
                  <a:pt x="6011752" y="154148"/>
                </a:cubicBezTo>
                <a:cubicBezTo>
                  <a:pt x="6024877" y="139328"/>
                  <a:pt x="6059047" y="148484"/>
                  <a:pt x="6078424" y="144508"/>
                </a:cubicBezTo>
                <a:cubicBezTo>
                  <a:pt x="6076132" y="153062"/>
                  <a:pt x="6076132" y="153062"/>
                  <a:pt x="6076132" y="153062"/>
                </a:cubicBezTo>
                <a:cubicBezTo>
                  <a:pt x="6082381" y="163904"/>
                  <a:pt x="6100092" y="131980"/>
                  <a:pt x="6101757" y="159928"/>
                </a:cubicBezTo>
                <a:cubicBezTo>
                  <a:pt x="6117176" y="136558"/>
                  <a:pt x="6163848" y="167397"/>
                  <a:pt x="6196349" y="148604"/>
                </a:cubicBezTo>
                <a:cubicBezTo>
                  <a:pt x="6202601" y="159447"/>
                  <a:pt x="6211142" y="161736"/>
                  <a:pt x="6219685" y="164025"/>
                </a:cubicBezTo>
                <a:cubicBezTo>
                  <a:pt x="6228226" y="166314"/>
                  <a:pt x="6228226" y="166314"/>
                  <a:pt x="6230518" y="157759"/>
                </a:cubicBezTo>
                <a:cubicBezTo>
                  <a:pt x="6239062" y="160049"/>
                  <a:pt x="6236770" y="168603"/>
                  <a:pt x="6239062" y="160049"/>
                </a:cubicBezTo>
                <a:cubicBezTo>
                  <a:pt x="6247603" y="162337"/>
                  <a:pt x="6245311" y="170891"/>
                  <a:pt x="6245311" y="170891"/>
                </a:cubicBezTo>
                <a:cubicBezTo>
                  <a:pt x="6253855" y="173181"/>
                  <a:pt x="6256147" y="164627"/>
                  <a:pt x="6264688" y="166915"/>
                </a:cubicBezTo>
                <a:cubicBezTo>
                  <a:pt x="6266980" y="158361"/>
                  <a:pt x="6253855" y="173181"/>
                  <a:pt x="6258439" y="156073"/>
                </a:cubicBezTo>
                <a:cubicBezTo>
                  <a:pt x="6266980" y="158361"/>
                  <a:pt x="6286357" y="154385"/>
                  <a:pt x="6281773" y="171493"/>
                </a:cubicBezTo>
                <a:cubicBezTo>
                  <a:pt x="6290316" y="173782"/>
                  <a:pt x="6290316" y="173782"/>
                  <a:pt x="6298857" y="176071"/>
                </a:cubicBezTo>
                <a:cubicBezTo>
                  <a:pt x="6301149" y="167517"/>
                  <a:pt x="6303441" y="158963"/>
                  <a:pt x="6303441" y="158963"/>
                </a:cubicBezTo>
                <a:cubicBezTo>
                  <a:pt x="6305734" y="150409"/>
                  <a:pt x="6288649" y="145831"/>
                  <a:pt x="6277815" y="152096"/>
                </a:cubicBezTo>
                <a:lnTo>
                  <a:pt x="6278679" y="150451"/>
                </a:lnTo>
                <a:lnTo>
                  <a:pt x="6278696" y="150449"/>
                </a:lnTo>
                <a:lnTo>
                  <a:pt x="6278683" y="150444"/>
                </a:lnTo>
                <a:lnTo>
                  <a:pt x="6283949" y="140417"/>
                </a:lnTo>
                <a:cubicBezTo>
                  <a:pt x="6290981" y="134996"/>
                  <a:pt x="6300474" y="144415"/>
                  <a:pt x="6310318" y="133301"/>
                </a:cubicBezTo>
                <a:cubicBezTo>
                  <a:pt x="6316569" y="144144"/>
                  <a:pt x="6311985" y="161252"/>
                  <a:pt x="6307401" y="178360"/>
                </a:cubicBezTo>
                <a:cubicBezTo>
                  <a:pt x="6318234" y="172095"/>
                  <a:pt x="6326775" y="174383"/>
                  <a:pt x="6337611" y="168119"/>
                </a:cubicBezTo>
                <a:cubicBezTo>
                  <a:pt x="6337611" y="168119"/>
                  <a:pt x="6329067" y="165829"/>
                  <a:pt x="6329067" y="165829"/>
                </a:cubicBezTo>
                <a:cubicBezTo>
                  <a:pt x="6339903" y="159565"/>
                  <a:pt x="6337611" y="168119"/>
                  <a:pt x="6348444" y="161853"/>
                </a:cubicBezTo>
                <a:cubicBezTo>
                  <a:pt x="6337611" y="168119"/>
                  <a:pt x="6346152" y="170407"/>
                  <a:pt x="6343860" y="178961"/>
                </a:cubicBezTo>
                <a:lnTo>
                  <a:pt x="6354696" y="172696"/>
                </a:lnTo>
                <a:lnTo>
                  <a:pt x="6365529" y="166431"/>
                </a:lnTo>
                <a:cubicBezTo>
                  <a:pt x="6356988" y="164142"/>
                  <a:pt x="6354696" y="172696"/>
                  <a:pt x="6354696" y="172696"/>
                </a:cubicBezTo>
                <a:lnTo>
                  <a:pt x="6350736" y="153299"/>
                </a:lnTo>
                <a:cubicBezTo>
                  <a:pt x="6353028" y="144745"/>
                  <a:pt x="6363864" y="138480"/>
                  <a:pt x="6380948" y="143058"/>
                </a:cubicBezTo>
                <a:cubicBezTo>
                  <a:pt x="6365529" y="166431"/>
                  <a:pt x="6367196" y="194382"/>
                  <a:pt x="6397406" y="184141"/>
                </a:cubicBezTo>
                <a:cubicBezTo>
                  <a:pt x="6397406" y="184141"/>
                  <a:pt x="6399698" y="175587"/>
                  <a:pt x="6408242" y="177876"/>
                </a:cubicBezTo>
                <a:cubicBezTo>
                  <a:pt x="6404282" y="158479"/>
                  <a:pt x="6380321" y="179563"/>
                  <a:pt x="6393449" y="164744"/>
                </a:cubicBezTo>
                <a:cubicBezTo>
                  <a:pt x="6384906" y="162455"/>
                  <a:pt x="6384906" y="162455"/>
                  <a:pt x="6382613" y="171009"/>
                </a:cubicBezTo>
                <a:cubicBezTo>
                  <a:pt x="6374072" y="168720"/>
                  <a:pt x="6387198" y="153901"/>
                  <a:pt x="6389490" y="145347"/>
                </a:cubicBezTo>
                <a:cubicBezTo>
                  <a:pt x="6398033" y="147636"/>
                  <a:pt x="6395741" y="156190"/>
                  <a:pt x="6401990" y="167033"/>
                </a:cubicBezTo>
                <a:cubicBezTo>
                  <a:pt x="6401990" y="167033"/>
                  <a:pt x="6406574" y="149925"/>
                  <a:pt x="6406574" y="149925"/>
                </a:cubicBezTo>
                <a:cubicBezTo>
                  <a:pt x="6412826" y="160768"/>
                  <a:pt x="6432203" y="156792"/>
                  <a:pt x="6451579" y="152818"/>
                </a:cubicBezTo>
                <a:cubicBezTo>
                  <a:pt x="6429911" y="165346"/>
                  <a:pt x="6449288" y="161370"/>
                  <a:pt x="6466373" y="165947"/>
                </a:cubicBezTo>
                <a:cubicBezTo>
                  <a:pt x="6455537" y="172212"/>
                  <a:pt x="6453245" y="180766"/>
                  <a:pt x="6448661" y="197874"/>
                </a:cubicBezTo>
                <a:cubicBezTo>
                  <a:pt x="6450953" y="189320"/>
                  <a:pt x="6461788" y="183055"/>
                  <a:pt x="6464080" y="174501"/>
                </a:cubicBezTo>
                <a:cubicBezTo>
                  <a:pt x="6499915" y="211608"/>
                  <a:pt x="6534711" y="184259"/>
                  <a:pt x="6558045" y="199679"/>
                </a:cubicBezTo>
                <a:cubicBezTo>
                  <a:pt x="6566589" y="201968"/>
                  <a:pt x="6558045" y="199679"/>
                  <a:pt x="6568881" y="193414"/>
                </a:cubicBezTo>
                <a:cubicBezTo>
                  <a:pt x="6566589" y="201968"/>
                  <a:pt x="6575130" y="204257"/>
                  <a:pt x="6579713" y="187152"/>
                </a:cubicBezTo>
                <a:cubicBezTo>
                  <a:pt x="6572838" y="212811"/>
                  <a:pt x="6603051" y="202570"/>
                  <a:pt x="6620135" y="207148"/>
                </a:cubicBezTo>
                <a:cubicBezTo>
                  <a:pt x="6618467" y="179199"/>
                  <a:pt x="6609926" y="176911"/>
                  <a:pt x="6571172" y="184863"/>
                </a:cubicBezTo>
                <a:cubicBezTo>
                  <a:pt x="6554087" y="180285"/>
                  <a:pt x="6485749" y="161974"/>
                  <a:pt x="6498250" y="183657"/>
                </a:cubicBezTo>
                <a:cubicBezTo>
                  <a:pt x="6485122" y="198476"/>
                  <a:pt x="6483457" y="170525"/>
                  <a:pt x="6491998" y="172814"/>
                </a:cubicBezTo>
                <a:cubicBezTo>
                  <a:pt x="6483457" y="170525"/>
                  <a:pt x="6483457" y="170525"/>
                  <a:pt x="6466373" y="165947"/>
                </a:cubicBezTo>
                <a:cubicBezTo>
                  <a:pt x="6477205" y="159685"/>
                  <a:pt x="6479497" y="151131"/>
                  <a:pt x="6496581" y="155708"/>
                </a:cubicBezTo>
                <a:cubicBezTo>
                  <a:pt x="6483457" y="170525"/>
                  <a:pt x="6515958" y="151732"/>
                  <a:pt x="6533043" y="156310"/>
                </a:cubicBezTo>
                <a:cubicBezTo>
                  <a:pt x="6539295" y="167153"/>
                  <a:pt x="6530751" y="164864"/>
                  <a:pt x="6537003" y="175707"/>
                </a:cubicBezTo>
                <a:cubicBezTo>
                  <a:pt x="6550128" y="160888"/>
                  <a:pt x="6556379" y="171731"/>
                  <a:pt x="6573464" y="176309"/>
                </a:cubicBezTo>
                <a:cubicBezTo>
                  <a:pt x="6560964" y="154623"/>
                  <a:pt x="6584298" y="170044"/>
                  <a:pt x="6586590" y="161489"/>
                </a:cubicBezTo>
                <a:lnTo>
                  <a:pt x="6583183" y="154105"/>
                </a:lnTo>
                <a:lnTo>
                  <a:pt x="6588882" y="152935"/>
                </a:lnTo>
                <a:cubicBezTo>
                  <a:pt x="6586590" y="161489"/>
                  <a:pt x="6603674" y="166067"/>
                  <a:pt x="6584298" y="170044"/>
                </a:cubicBezTo>
                <a:cubicBezTo>
                  <a:pt x="6584298" y="170044"/>
                  <a:pt x="6584298" y="170044"/>
                  <a:pt x="6582005" y="178598"/>
                </a:cubicBezTo>
                <a:cubicBezTo>
                  <a:pt x="6592841" y="172333"/>
                  <a:pt x="6601382" y="174621"/>
                  <a:pt x="6612218" y="168357"/>
                </a:cubicBezTo>
                <a:cubicBezTo>
                  <a:pt x="6620759" y="170645"/>
                  <a:pt x="6631595" y="164380"/>
                  <a:pt x="6648677" y="168957"/>
                </a:cubicBezTo>
                <a:cubicBezTo>
                  <a:pt x="6646385" y="177512"/>
                  <a:pt x="6654928" y="179801"/>
                  <a:pt x="6654928" y="179801"/>
                </a:cubicBezTo>
                <a:cubicBezTo>
                  <a:pt x="6680554" y="186667"/>
                  <a:pt x="6713059" y="167872"/>
                  <a:pt x="6717016" y="187269"/>
                </a:cubicBezTo>
                <a:cubicBezTo>
                  <a:pt x="6727852" y="181004"/>
                  <a:pt x="6730144" y="172450"/>
                  <a:pt x="6747229" y="177028"/>
                </a:cubicBezTo>
                <a:cubicBezTo>
                  <a:pt x="6736393" y="183293"/>
                  <a:pt x="6736393" y="183293"/>
                  <a:pt x="6734101" y="191847"/>
                </a:cubicBezTo>
                <a:cubicBezTo>
                  <a:pt x="6751185" y="196425"/>
                  <a:pt x="6753477" y="187870"/>
                  <a:pt x="6768270" y="201002"/>
                </a:cubicBezTo>
                <a:cubicBezTo>
                  <a:pt x="6740352" y="202690"/>
                  <a:pt x="6693682" y="171848"/>
                  <a:pt x="6693055" y="208353"/>
                </a:cubicBezTo>
                <a:cubicBezTo>
                  <a:pt x="6684514" y="206065"/>
                  <a:pt x="6686806" y="197511"/>
                  <a:pt x="6689098" y="188956"/>
                </a:cubicBezTo>
                <a:cubicBezTo>
                  <a:pt x="6680554" y="186667"/>
                  <a:pt x="6644093" y="186066"/>
                  <a:pt x="6641801" y="194620"/>
                </a:cubicBezTo>
                <a:cubicBezTo>
                  <a:pt x="6633259" y="192331"/>
                  <a:pt x="6646385" y="177512"/>
                  <a:pt x="6637844" y="175223"/>
                </a:cubicBezTo>
                <a:cubicBezTo>
                  <a:pt x="6629303" y="172934"/>
                  <a:pt x="6627011" y="181488"/>
                  <a:pt x="6624719" y="190043"/>
                </a:cubicBezTo>
                <a:cubicBezTo>
                  <a:pt x="6622427" y="198597"/>
                  <a:pt x="6630967" y="200885"/>
                  <a:pt x="6639509" y="203174"/>
                </a:cubicBezTo>
                <a:cubicBezTo>
                  <a:pt x="6639509" y="203174"/>
                  <a:pt x="6658885" y="199198"/>
                  <a:pt x="6650344" y="196909"/>
                </a:cubicBezTo>
                <a:cubicBezTo>
                  <a:pt x="6661178" y="190643"/>
                  <a:pt x="6656593" y="207752"/>
                  <a:pt x="6665137" y="210041"/>
                </a:cubicBezTo>
                <a:cubicBezTo>
                  <a:pt x="6661178" y="190643"/>
                  <a:pt x="6705557" y="230037"/>
                  <a:pt x="6723268" y="198112"/>
                </a:cubicBezTo>
                <a:cubicBezTo>
                  <a:pt x="6731809" y="200401"/>
                  <a:pt x="6729517" y="208955"/>
                  <a:pt x="6735768" y="219798"/>
                </a:cubicBezTo>
                <a:cubicBezTo>
                  <a:pt x="6746601" y="213533"/>
                  <a:pt x="6768270" y="201002"/>
                  <a:pt x="6755145" y="215822"/>
                </a:cubicBezTo>
                <a:cubicBezTo>
                  <a:pt x="6769937" y="228954"/>
                  <a:pt x="6759729" y="198714"/>
                  <a:pt x="6774522" y="211846"/>
                </a:cubicBezTo>
                <a:cubicBezTo>
                  <a:pt x="6785355" y="205580"/>
                  <a:pt x="6783063" y="214134"/>
                  <a:pt x="6780771" y="222688"/>
                </a:cubicBezTo>
                <a:cubicBezTo>
                  <a:pt x="6800148" y="218712"/>
                  <a:pt x="6806399" y="229555"/>
                  <a:pt x="6808691" y="221001"/>
                </a:cubicBezTo>
                <a:cubicBezTo>
                  <a:pt x="6823484" y="234133"/>
                  <a:pt x="6836609" y="219314"/>
                  <a:pt x="6851402" y="232446"/>
                </a:cubicBezTo>
                <a:cubicBezTo>
                  <a:pt x="6853694" y="223892"/>
                  <a:pt x="6853694" y="223892"/>
                  <a:pt x="6853694" y="223892"/>
                </a:cubicBezTo>
                <a:cubicBezTo>
                  <a:pt x="6859946" y="234735"/>
                  <a:pt x="6913492" y="239914"/>
                  <a:pt x="6915784" y="231360"/>
                </a:cubicBezTo>
                <a:cubicBezTo>
                  <a:pt x="7001205" y="254249"/>
                  <a:pt x="7067879" y="244610"/>
                  <a:pt x="7178929" y="274365"/>
                </a:cubicBezTo>
                <a:cubicBezTo>
                  <a:pt x="7178929" y="274365"/>
                  <a:pt x="7170387" y="272077"/>
                  <a:pt x="7168095" y="280631"/>
                </a:cubicBezTo>
                <a:cubicBezTo>
                  <a:pt x="7174345" y="291473"/>
                  <a:pt x="7176637" y="282919"/>
                  <a:pt x="7182888" y="293763"/>
                </a:cubicBezTo>
                <a:cubicBezTo>
                  <a:pt x="7193721" y="287497"/>
                  <a:pt x="7178929" y="274365"/>
                  <a:pt x="7189764" y="268101"/>
                </a:cubicBezTo>
                <a:cubicBezTo>
                  <a:pt x="7258101" y="286411"/>
                  <a:pt x="7331023" y="287617"/>
                  <a:pt x="7394779" y="323034"/>
                </a:cubicBezTo>
                <a:cubicBezTo>
                  <a:pt x="7382277" y="301351"/>
                  <a:pt x="7405614" y="316772"/>
                  <a:pt x="7424991" y="312796"/>
                </a:cubicBezTo>
                <a:cubicBezTo>
                  <a:pt x="7415823" y="347009"/>
                  <a:pt x="7465409" y="332794"/>
                  <a:pt x="7465409" y="332794"/>
                </a:cubicBezTo>
                <a:cubicBezTo>
                  <a:pt x="7538332" y="333997"/>
                  <a:pt x="7640841" y="361464"/>
                  <a:pt x="7709180" y="379776"/>
                </a:cubicBezTo>
                <a:cubicBezTo>
                  <a:pt x="7706888" y="388330"/>
                  <a:pt x="7696052" y="394595"/>
                  <a:pt x="7702304" y="405435"/>
                </a:cubicBezTo>
                <a:cubicBezTo>
                  <a:pt x="7723973" y="392908"/>
                  <a:pt x="7760434" y="393509"/>
                  <a:pt x="7755850" y="410617"/>
                </a:cubicBezTo>
                <a:cubicBezTo>
                  <a:pt x="7777519" y="398087"/>
                  <a:pt x="7802521" y="441456"/>
                  <a:pt x="7817937" y="418085"/>
                </a:cubicBezTo>
                <a:cubicBezTo>
                  <a:pt x="7826481" y="420375"/>
                  <a:pt x="7824189" y="428929"/>
                  <a:pt x="7821898" y="437480"/>
                </a:cubicBezTo>
                <a:cubicBezTo>
                  <a:pt x="7858356" y="438084"/>
                  <a:pt x="7877733" y="434107"/>
                  <a:pt x="7898778" y="458080"/>
                </a:cubicBezTo>
                <a:cubicBezTo>
                  <a:pt x="7907319" y="460369"/>
                  <a:pt x="7901069" y="449529"/>
                  <a:pt x="7911902" y="443263"/>
                </a:cubicBezTo>
                <a:cubicBezTo>
                  <a:pt x="7920446" y="445552"/>
                  <a:pt x="7918154" y="454106"/>
                  <a:pt x="7915862" y="462658"/>
                </a:cubicBezTo>
                <a:cubicBezTo>
                  <a:pt x="7926695" y="456395"/>
                  <a:pt x="7928987" y="447841"/>
                  <a:pt x="7937531" y="450130"/>
                </a:cubicBezTo>
                <a:cubicBezTo>
                  <a:pt x="7939823" y="441576"/>
                  <a:pt x="7931279" y="439287"/>
                  <a:pt x="7942115" y="433022"/>
                </a:cubicBezTo>
                <a:cubicBezTo>
                  <a:pt x="7950656" y="435311"/>
                  <a:pt x="7973992" y="450732"/>
                  <a:pt x="8001910" y="449044"/>
                </a:cubicBezTo>
                <a:cubicBezTo>
                  <a:pt x="8008162" y="459888"/>
                  <a:pt x="7988785" y="463864"/>
                  <a:pt x="7980241" y="461575"/>
                </a:cubicBezTo>
                <a:cubicBezTo>
                  <a:pt x="7973366" y="487234"/>
                  <a:pt x="8018371" y="490125"/>
                  <a:pt x="8022955" y="473020"/>
                </a:cubicBezTo>
                <a:cubicBezTo>
                  <a:pt x="8025247" y="464466"/>
                  <a:pt x="8016703" y="462176"/>
                  <a:pt x="8008162" y="459888"/>
                </a:cubicBezTo>
                <a:cubicBezTo>
                  <a:pt x="8010454" y="451334"/>
                  <a:pt x="8025247" y="464466"/>
                  <a:pt x="8033787" y="466754"/>
                </a:cubicBezTo>
                <a:cubicBezTo>
                  <a:pt x="8020663" y="481574"/>
                  <a:pt x="8063373" y="493018"/>
                  <a:pt x="8063373" y="493018"/>
                </a:cubicBezTo>
                <a:cubicBezTo>
                  <a:pt x="8071916" y="495307"/>
                  <a:pt x="8097542" y="502174"/>
                  <a:pt x="8102126" y="485066"/>
                </a:cubicBezTo>
                <a:cubicBezTo>
                  <a:pt x="8110670" y="487355"/>
                  <a:pt x="8108378" y="495909"/>
                  <a:pt x="8106086" y="504463"/>
                </a:cubicBezTo>
                <a:cubicBezTo>
                  <a:pt x="8114627" y="506751"/>
                  <a:pt x="8116919" y="498197"/>
                  <a:pt x="8134004" y="502775"/>
                </a:cubicBezTo>
                <a:cubicBezTo>
                  <a:pt x="8131712" y="511329"/>
                  <a:pt x="8123171" y="509041"/>
                  <a:pt x="8129421" y="519881"/>
                </a:cubicBezTo>
                <a:cubicBezTo>
                  <a:pt x="8137964" y="522170"/>
                  <a:pt x="8140256" y="513619"/>
                  <a:pt x="8148796" y="515907"/>
                </a:cubicBezTo>
                <a:cubicBezTo>
                  <a:pt x="8157337" y="518196"/>
                  <a:pt x="8155046" y="526747"/>
                  <a:pt x="8155046" y="526747"/>
                </a:cubicBezTo>
                <a:cubicBezTo>
                  <a:pt x="8172131" y="531325"/>
                  <a:pt x="8193799" y="518797"/>
                  <a:pt x="8197759" y="538192"/>
                </a:cubicBezTo>
                <a:cubicBezTo>
                  <a:pt x="8217136" y="534218"/>
                  <a:pt x="8234220" y="538796"/>
                  <a:pt x="8240470" y="549636"/>
                </a:cubicBezTo>
                <a:cubicBezTo>
                  <a:pt x="8259846" y="545663"/>
                  <a:pt x="8263807" y="565058"/>
                  <a:pt x="8274639" y="558792"/>
                </a:cubicBezTo>
                <a:cubicBezTo>
                  <a:pt x="8276931" y="550240"/>
                  <a:pt x="8276931" y="550240"/>
                  <a:pt x="8276931" y="550240"/>
                </a:cubicBezTo>
                <a:cubicBezTo>
                  <a:pt x="8294015" y="554818"/>
                  <a:pt x="8332145" y="583369"/>
                  <a:pt x="8360063" y="581681"/>
                </a:cubicBezTo>
                <a:cubicBezTo>
                  <a:pt x="8391940" y="599391"/>
                  <a:pt x="8443195" y="613124"/>
                  <a:pt x="8462572" y="609148"/>
                </a:cubicBezTo>
                <a:cubicBezTo>
                  <a:pt x="8462572" y="609148"/>
                  <a:pt x="8471113" y="611437"/>
                  <a:pt x="8468821" y="619991"/>
                </a:cubicBezTo>
                <a:cubicBezTo>
                  <a:pt x="8488198" y="616015"/>
                  <a:pt x="8528618" y="636014"/>
                  <a:pt x="8551952" y="651434"/>
                </a:cubicBezTo>
                <a:cubicBezTo>
                  <a:pt x="8579873" y="649747"/>
                  <a:pt x="8616335" y="650349"/>
                  <a:pt x="8628835" y="672035"/>
                </a:cubicBezTo>
                <a:cubicBezTo>
                  <a:pt x="8605499" y="656614"/>
                  <a:pt x="8592374" y="671433"/>
                  <a:pt x="8569037" y="656012"/>
                </a:cubicBezTo>
                <a:cubicBezTo>
                  <a:pt x="8560496" y="653723"/>
                  <a:pt x="8566745" y="664566"/>
                  <a:pt x="8549660" y="659988"/>
                </a:cubicBezTo>
                <a:cubicBezTo>
                  <a:pt x="8547368" y="668542"/>
                  <a:pt x="8575289" y="666855"/>
                  <a:pt x="8572997" y="675409"/>
                </a:cubicBezTo>
                <a:cubicBezTo>
                  <a:pt x="8581538" y="677698"/>
                  <a:pt x="8572997" y="675409"/>
                  <a:pt x="8575289" y="666855"/>
                </a:cubicBezTo>
                <a:cubicBezTo>
                  <a:pt x="8600915" y="673722"/>
                  <a:pt x="8600915" y="673722"/>
                  <a:pt x="8609458" y="676011"/>
                </a:cubicBezTo>
                <a:cubicBezTo>
                  <a:pt x="8607166" y="684565"/>
                  <a:pt x="8583830" y="669144"/>
                  <a:pt x="8579246" y="686252"/>
                </a:cubicBezTo>
                <a:cubicBezTo>
                  <a:pt x="8594039" y="699384"/>
                  <a:pt x="8622584" y="661192"/>
                  <a:pt x="8643628" y="685167"/>
                </a:cubicBezTo>
                <a:cubicBezTo>
                  <a:pt x="8632792" y="691431"/>
                  <a:pt x="8632792" y="691431"/>
                  <a:pt x="8615708" y="686854"/>
                </a:cubicBezTo>
                <a:cubicBezTo>
                  <a:pt x="8619667" y="706251"/>
                  <a:pt x="8632792" y="691431"/>
                  <a:pt x="8641336" y="693721"/>
                </a:cubicBezTo>
                <a:lnTo>
                  <a:pt x="8643628" y="685167"/>
                </a:lnTo>
                <a:cubicBezTo>
                  <a:pt x="8641336" y="693721"/>
                  <a:pt x="8658420" y="698299"/>
                  <a:pt x="8660712" y="689745"/>
                </a:cubicBezTo>
                <a:cubicBezTo>
                  <a:pt x="8718216" y="714321"/>
                  <a:pt x="8795096" y="734921"/>
                  <a:pt x="8869687" y="764075"/>
                </a:cubicBezTo>
                <a:cubicBezTo>
                  <a:pt x="8985320" y="776723"/>
                  <a:pt x="9080952" y="829852"/>
                  <a:pt x="9200545" y="861897"/>
                </a:cubicBezTo>
                <a:cubicBezTo>
                  <a:pt x="9138456" y="854428"/>
                  <a:pt x="9104286" y="845273"/>
                  <a:pt x="9063868" y="825274"/>
                </a:cubicBezTo>
                <a:cubicBezTo>
                  <a:pt x="9055324" y="822985"/>
                  <a:pt x="9055324" y="822985"/>
                  <a:pt x="9053032" y="831539"/>
                </a:cubicBezTo>
                <a:cubicBezTo>
                  <a:pt x="8997821" y="798409"/>
                  <a:pt x="8941983" y="801783"/>
                  <a:pt x="8895312" y="770942"/>
                </a:cubicBezTo>
                <a:cubicBezTo>
                  <a:pt x="8886771" y="768653"/>
                  <a:pt x="8895312" y="770942"/>
                  <a:pt x="8878228" y="766364"/>
                </a:cubicBezTo>
                <a:cubicBezTo>
                  <a:pt x="8875935" y="774918"/>
                  <a:pt x="8884479" y="777207"/>
                  <a:pt x="8893020" y="779496"/>
                </a:cubicBezTo>
                <a:cubicBezTo>
                  <a:pt x="8893020" y="779496"/>
                  <a:pt x="8865103" y="781184"/>
                  <a:pt x="8867395" y="772629"/>
                </a:cubicBezTo>
                <a:lnTo>
                  <a:pt x="8862851" y="789587"/>
                </a:lnTo>
                <a:lnTo>
                  <a:pt x="8862917" y="789752"/>
                </a:lnTo>
                <a:lnTo>
                  <a:pt x="8933441" y="799495"/>
                </a:lnTo>
                <a:cubicBezTo>
                  <a:pt x="8952818" y="795519"/>
                  <a:pt x="8948234" y="812627"/>
                  <a:pt x="8948234" y="812627"/>
                </a:cubicBezTo>
                <a:cubicBezTo>
                  <a:pt x="8954483" y="823469"/>
                  <a:pt x="8956775" y="814915"/>
                  <a:pt x="8965319" y="817204"/>
                </a:cubicBezTo>
                <a:cubicBezTo>
                  <a:pt x="9001780" y="817806"/>
                  <a:pt x="9063241" y="861776"/>
                  <a:pt x="9076368" y="846960"/>
                </a:cubicBezTo>
                <a:cubicBezTo>
                  <a:pt x="9084910" y="849249"/>
                  <a:pt x="9082618" y="857803"/>
                  <a:pt x="9093453" y="851538"/>
                </a:cubicBezTo>
                <a:cubicBezTo>
                  <a:pt x="9091161" y="860092"/>
                  <a:pt x="9074076" y="855514"/>
                  <a:pt x="9074076" y="855514"/>
                </a:cubicBezTo>
                <a:cubicBezTo>
                  <a:pt x="9088870" y="868644"/>
                  <a:pt x="9116787" y="866959"/>
                  <a:pt x="9120748" y="886353"/>
                </a:cubicBezTo>
                <a:cubicBezTo>
                  <a:pt x="9137832" y="890931"/>
                  <a:pt x="9114496" y="875510"/>
                  <a:pt x="9131580" y="880088"/>
                </a:cubicBezTo>
                <a:cubicBezTo>
                  <a:pt x="9123040" y="877799"/>
                  <a:pt x="9125331" y="869248"/>
                  <a:pt x="9116787" y="866959"/>
                </a:cubicBezTo>
                <a:cubicBezTo>
                  <a:pt x="9121372" y="849851"/>
                  <a:pt x="9136164" y="862982"/>
                  <a:pt x="9136164" y="862982"/>
                </a:cubicBezTo>
                <a:cubicBezTo>
                  <a:pt x="9133872" y="871536"/>
                  <a:pt x="9140124" y="882377"/>
                  <a:pt x="9146374" y="893220"/>
                </a:cubicBezTo>
                <a:cubicBezTo>
                  <a:pt x="9168041" y="880692"/>
                  <a:pt x="9197628" y="906953"/>
                  <a:pt x="9214712" y="911531"/>
                </a:cubicBezTo>
                <a:cubicBezTo>
                  <a:pt x="9206171" y="909243"/>
                  <a:pt x="9201587" y="926351"/>
                  <a:pt x="9195336" y="915507"/>
                </a:cubicBezTo>
                <a:cubicBezTo>
                  <a:pt x="9193043" y="924061"/>
                  <a:pt x="9212420" y="920085"/>
                  <a:pt x="9199295" y="934905"/>
                </a:cubicBezTo>
                <a:cubicBezTo>
                  <a:pt x="9246279" y="947494"/>
                  <a:pt x="9285291" y="955656"/>
                  <a:pt x="9324304" y="963818"/>
                </a:cubicBezTo>
                <a:lnTo>
                  <a:pt x="9423449" y="986748"/>
                </a:lnTo>
                <a:lnTo>
                  <a:pt x="9421394" y="994416"/>
                </a:lnTo>
                <a:cubicBezTo>
                  <a:pt x="9504526" y="1025859"/>
                  <a:pt x="9598493" y="1051038"/>
                  <a:pt x="9662245" y="1086456"/>
                </a:cubicBezTo>
                <a:cubicBezTo>
                  <a:pt x="9649121" y="1101273"/>
                  <a:pt x="9625785" y="1085855"/>
                  <a:pt x="9606411" y="1089829"/>
                </a:cubicBezTo>
                <a:cubicBezTo>
                  <a:pt x="9610367" y="1109226"/>
                  <a:pt x="9638285" y="1107538"/>
                  <a:pt x="9646829" y="1109827"/>
                </a:cubicBezTo>
                <a:cubicBezTo>
                  <a:pt x="9622869" y="1130912"/>
                  <a:pt x="9589325" y="1085251"/>
                  <a:pt x="9559113" y="1095492"/>
                </a:cubicBezTo>
                <a:cubicBezTo>
                  <a:pt x="9563073" y="1114890"/>
                  <a:pt x="9590991" y="1113202"/>
                  <a:pt x="9599535" y="1115491"/>
                </a:cubicBezTo>
                <a:cubicBezTo>
                  <a:pt x="9605783" y="1126334"/>
                  <a:pt x="9597243" y="1124045"/>
                  <a:pt x="9603491" y="1134888"/>
                </a:cubicBezTo>
                <a:cubicBezTo>
                  <a:pt x="9486190" y="1094289"/>
                  <a:pt x="9334719" y="1044534"/>
                  <a:pt x="9247007" y="1030200"/>
                </a:cubicBezTo>
                <a:cubicBezTo>
                  <a:pt x="9266383" y="1026224"/>
                  <a:pt x="9249299" y="1021646"/>
                  <a:pt x="9240755" y="1019357"/>
                </a:cubicBezTo>
                <a:cubicBezTo>
                  <a:pt x="9238463" y="1027911"/>
                  <a:pt x="9240755" y="1019357"/>
                  <a:pt x="9247007" y="1030200"/>
                </a:cubicBezTo>
                <a:cubicBezTo>
                  <a:pt x="9206585" y="1010201"/>
                  <a:pt x="9135954" y="1000443"/>
                  <a:pt x="9101784" y="991288"/>
                </a:cubicBezTo>
                <a:cubicBezTo>
                  <a:pt x="9099492" y="999842"/>
                  <a:pt x="9099492" y="999842"/>
                  <a:pt x="9097200" y="1008396"/>
                </a:cubicBezTo>
                <a:cubicBezTo>
                  <a:pt x="9167832" y="1018153"/>
                  <a:pt x="9205961" y="1046706"/>
                  <a:pt x="9265755" y="1062728"/>
                </a:cubicBezTo>
                <a:cubicBezTo>
                  <a:pt x="9274300" y="1065018"/>
                  <a:pt x="9285133" y="1058752"/>
                  <a:pt x="9302217" y="1063330"/>
                </a:cubicBezTo>
                <a:cubicBezTo>
                  <a:pt x="9291384" y="1069595"/>
                  <a:pt x="9308467" y="1074173"/>
                  <a:pt x="9308467" y="1074173"/>
                </a:cubicBezTo>
                <a:cubicBezTo>
                  <a:pt x="9319302" y="1067908"/>
                  <a:pt x="9406391" y="1118748"/>
                  <a:pt x="9451396" y="1121639"/>
                </a:cubicBezTo>
                <a:cubicBezTo>
                  <a:pt x="9459938" y="1123927"/>
                  <a:pt x="9477022" y="1128505"/>
                  <a:pt x="9494107" y="1133083"/>
                </a:cubicBezTo>
                <a:cubicBezTo>
                  <a:pt x="9483273" y="1139348"/>
                  <a:pt x="9483273" y="1139348"/>
                  <a:pt x="9500359" y="1143926"/>
                </a:cubicBezTo>
                <a:lnTo>
                  <a:pt x="9473401" y="1145555"/>
                </a:lnTo>
                <a:lnTo>
                  <a:pt x="9472293" y="1145211"/>
                </a:lnTo>
                <a:lnTo>
                  <a:pt x="9467830" y="1132916"/>
                </a:lnTo>
                <a:cubicBezTo>
                  <a:pt x="9460354" y="1130913"/>
                  <a:pt x="9449104" y="1130193"/>
                  <a:pt x="9440560" y="1127903"/>
                </a:cubicBezTo>
                <a:cubicBezTo>
                  <a:pt x="9442541" y="1137602"/>
                  <a:pt x="9446812" y="1138747"/>
                  <a:pt x="9453505" y="1139393"/>
                </a:cubicBezTo>
                <a:lnTo>
                  <a:pt x="9472293" y="1145211"/>
                </a:lnTo>
                <a:lnTo>
                  <a:pt x="9472439" y="1145611"/>
                </a:lnTo>
                <a:lnTo>
                  <a:pt x="9473401" y="1145555"/>
                </a:lnTo>
                <a:lnTo>
                  <a:pt x="9480982" y="1147900"/>
                </a:lnTo>
                <a:cubicBezTo>
                  <a:pt x="9487232" y="1158743"/>
                  <a:pt x="9478690" y="1156454"/>
                  <a:pt x="9476398" y="1165008"/>
                </a:cubicBezTo>
                <a:cubicBezTo>
                  <a:pt x="9702457" y="1243917"/>
                  <a:pt x="9982062" y="1328005"/>
                  <a:pt x="10201870" y="1396070"/>
                </a:cubicBezTo>
                <a:cubicBezTo>
                  <a:pt x="10199578" y="1404624"/>
                  <a:pt x="10199578" y="1404624"/>
                  <a:pt x="10199578" y="1404624"/>
                </a:cubicBezTo>
                <a:lnTo>
                  <a:pt x="10113089" y="1381450"/>
                </a:lnTo>
                <a:cubicBezTo>
                  <a:pt x="10082122" y="1373152"/>
                  <a:pt x="10054358" y="1365713"/>
                  <a:pt x="10037273" y="1361135"/>
                </a:cubicBezTo>
                <a:cubicBezTo>
                  <a:pt x="10031024" y="1350292"/>
                  <a:pt x="10017897" y="1365111"/>
                  <a:pt x="10022481" y="1348003"/>
                </a:cubicBezTo>
                <a:cubicBezTo>
                  <a:pt x="9992271" y="1358245"/>
                  <a:pt x="9932473" y="1342222"/>
                  <a:pt x="9896012" y="1341618"/>
                </a:cubicBezTo>
                <a:cubicBezTo>
                  <a:pt x="9970603" y="1370772"/>
                  <a:pt x="10024149" y="1375952"/>
                  <a:pt x="10096445" y="1413660"/>
                </a:cubicBezTo>
                <a:cubicBezTo>
                  <a:pt x="10113529" y="1418237"/>
                  <a:pt x="10164784" y="1431971"/>
                  <a:pt x="10194370" y="1458235"/>
                </a:cubicBezTo>
                <a:cubicBezTo>
                  <a:pt x="10192077" y="1466789"/>
                  <a:pt x="10177284" y="1453657"/>
                  <a:pt x="10168741" y="1451368"/>
                </a:cubicBezTo>
                <a:cubicBezTo>
                  <a:pt x="10187493" y="1483897"/>
                  <a:pt x="10233122" y="1450282"/>
                  <a:pt x="10245623" y="1471968"/>
                </a:cubicBezTo>
                <a:cubicBezTo>
                  <a:pt x="10254164" y="1474257"/>
                  <a:pt x="10247916" y="1463414"/>
                  <a:pt x="10256456" y="1465703"/>
                </a:cubicBezTo>
                <a:cubicBezTo>
                  <a:pt x="10265000" y="1467992"/>
                  <a:pt x="10275834" y="1461727"/>
                  <a:pt x="10271249" y="1478835"/>
                </a:cubicBezTo>
                <a:cubicBezTo>
                  <a:pt x="10273542" y="1470281"/>
                  <a:pt x="10282085" y="1472570"/>
                  <a:pt x="10282085" y="1472570"/>
                </a:cubicBezTo>
                <a:cubicBezTo>
                  <a:pt x="10305419" y="1487991"/>
                  <a:pt x="10305419" y="1487991"/>
                  <a:pt x="10337296" y="1505700"/>
                </a:cubicBezTo>
                <a:cubicBezTo>
                  <a:pt x="10339588" y="1497146"/>
                  <a:pt x="10339588" y="1497146"/>
                  <a:pt x="10341880" y="1488592"/>
                </a:cubicBezTo>
                <a:cubicBezTo>
                  <a:pt x="10358965" y="1493170"/>
                  <a:pt x="10384593" y="1500037"/>
                  <a:pt x="10399386" y="1513169"/>
                </a:cubicBezTo>
                <a:cubicBezTo>
                  <a:pt x="10397094" y="1521723"/>
                  <a:pt x="10382301" y="1508591"/>
                  <a:pt x="10380009" y="1517145"/>
                </a:cubicBezTo>
                <a:cubicBezTo>
                  <a:pt x="10377717" y="1525699"/>
                  <a:pt x="10390843" y="1510880"/>
                  <a:pt x="10405635" y="1524012"/>
                </a:cubicBezTo>
                <a:cubicBezTo>
                  <a:pt x="10399072" y="1531421"/>
                  <a:pt x="10382978" y="1531693"/>
                  <a:pt x="10365607" y="1528184"/>
                </a:cubicBezTo>
                <a:lnTo>
                  <a:pt x="10317919" y="1509677"/>
                </a:lnTo>
                <a:lnTo>
                  <a:pt x="10316773" y="1513954"/>
                </a:lnTo>
                <a:cubicBezTo>
                  <a:pt x="10315627" y="1518231"/>
                  <a:pt x="10314481" y="1522508"/>
                  <a:pt x="10315627" y="1518231"/>
                </a:cubicBezTo>
                <a:cubicBezTo>
                  <a:pt x="10304795" y="1524496"/>
                  <a:pt x="10309379" y="1507388"/>
                  <a:pt x="10309379" y="1507388"/>
                </a:cubicBezTo>
                <a:cubicBezTo>
                  <a:pt x="10281458" y="1509075"/>
                  <a:pt x="10253540" y="1510762"/>
                  <a:pt x="10232496" y="1486787"/>
                </a:cubicBezTo>
                <a:cubicBezTo>
                  <a:pt x="10243331" y="1480523"/>
                  <a:pt x="10249580" y="1491365"/>
                  <a:pt x="10258124" y="1493654"/>
                </a:cubicBezTo>
                <a:cubicBezTo>
                  <a:pt x="10251872" y="1482811"/>
                  <a:pt x="10243331" y="1480523"/>
                  <a:pt x="10234788" y="1478233"/>
                </a:cubicBezTo>
                <a:cubicBezTo>
                  <a:pt x="10226246" y="1475945"/>
                  <a:pt x="10230204" y="1495341"/>
                  <a:pt x="10219370" y="1501607"/>
                </a:cubicBezTo>
                <a:cubicBezTo>
                  <a:pt x="10218224" y="1505882"/>
                  <a:pt x="10219370" y="1501607"/>
                  <a:pt x="10220802" y="1496261"/>
                </a:cubicBezTo>
                <a:lnTo>
                  <a:pt x="10223887" y="1484750"/>
                </a:lnTo>
                <a:lnTo>
                  <a:pt x="10223830" y="1484651"/>
                </a:lnTo>
                <a:lnTo>
                  <a:pt x="10215465" y="1494830"/>
                </a:lnTo>
                <a:cubicBezTo>
                  <a:pt x="10212965" y="1499890"/>
                  <a:pt x="10209684" y="1503594"/>
                  <a:pt x="10202286" y="1497029"/>
                </a:cubicBezTo>
                <a:cubicBezTo>
                  <a:pt x="10213118" y="1490763"/>
                  <a:pt x="10202286" y="1497029"/>
                  <a:pt x="10206870" y="1479921"/>
                </a:cubicBezTo>
                <a:cubicBezTo>
                  <a:pt x="10202286" y="1497029"/>
                  <a:pt x="10196034" y="1486186"/>
                  <a:pt x="10176658" y="1490162"/>
                </a:cubicBezTo>
                <a:cubicBezTo>
                  <a:pt x="10178950" y="1481608"/>
                  <a:pt x="10181242" y="1473054"/>
                  <a:pt x="10181242" y="1473054"/>
                </a:cubicBezTo>
                <a:cubicBezTo>
                  <a:pt x="10172700" y="1470765"/>
                  <a:pt x="10140823" y="1453056"/>
                  <a:pt x="10121446" y="1457032"/>
                </a:cubicBezTo>
                <a:lnTo>
                  <a:pt x="10116862" y="1474140"/>
                </a:lnTo>
                <a:lnTo>
                  <a:pt x="10114570" y="1482694"/>
                </a:lnTo>
                <a:cubicBezTo>
                  <a:pt x="10123114" y="1484983"/>
                  <a:pt x="10116862" y="1474140"/>
                  <a:pt x="10123114" y="1484983"/>
                </a:cubicBezTo>
                <a:cubicBezTo>
                  <a:pt x="10133946" y="1478717"/>
                  <a:pt x="10125406" y="1476429"/>
                  <a:pt x="10116862" y="1474140"/>
                </a:cubicBezTo>
                <a:cubicBezTo>
                  <a:pt x="10127698" y="1467875"/>
                  <a:pt x="10153324" y="1474742"/>
                  <a:pt x="10161864" y="1477030"/>
                </a:cubicBezTo>
                <a:cubicBezTo>
                  <a:pt x="10168116" y="1487873"/>
                  <a:pt x="10154989" y="1502690"/>
                  <a:pt x="10172074" y="1507267"/>
                </a:cubicBezTo>
                <a:cubicBezTo>
                  <a:pt x="10180618" y="1509557"/>
                  <a:pt x="10203951" y="1524977"/>
                  <a:pt x="10217078" y="1510161"/>
                </a:cubicBezTo>
                <a:cubicBezTo>
                  <a:pt x="10214787" y="1518712"/>
                  <a:pt x="10214787" y="1518712"/>
                  <a:pt x="10212495" y="1527266"/>
                </a:cubicBezTo>
                <a:cubicBezTo>
                  <a:pt x="10221036" y="1529555"/>
                  <a:pt x="10214787" y="1518712"/>
                  <a:pt x="10221036" y="1529555"/>
                </a:cubicBezTo>
                <a:cubicBezTo>
                  <a:pt x="10223328" y="1521001"/>
                  <a:pt x="10214787" y="1518712"/>
                  <a:pt x="10217078" y="1510161"/>
                </a:cubicBezTo>
                <a:cubicBezTo>
                  <a:pt x="10225620" y="1512450"/>
                  <a:pt x="10225620" y="1512450"/>
                  <a:pt x="10225620" y="1512450"/>
                </a:cubicBezTo>
                <a:cubicBezTo>
                  <a:pt x="10229580" y="1531844"/>
                  <a:pt x="10248956" y="1527868"/>
                  <a:pt x="10246664" y="1536422"/>
                </a:cubicBezTo>
                <a:cubicBezTo>
                  <a:pt x="10334381" y="1550757"/>
                  <a:pt x="10415220" y="1590755"/>
                  <a:pt x="10500641" y="1613643"/>
                </a:cubicBezTo>
                <a:cubicBezTo>
                  <a:pt x="10487516" y="1628463"/>
                  <a:pt x="10475015" y="1606777"/>
                  <a:pt x="10466471" y="1604487"/>
                </a:cubicBezTo>
                <a:cubicBezTo>
                  <a:pt x="10412928" y="1599309"/>
                  <a:pt x="10353130" y="1583286"/>
                  <a:pt x="10295627" y="1558710"/>
                </a:cubicBezTo>
                <a:cubicBezTo>
                  <a:pt x="10016021" y="1474621"/>
                  <a:pt x="9762043" y="1397400"/>
                  <a:pt x="9482436" y="1313314"/>
                </a:cubicBezTo>
                <a:cubicBezTo>
                  <a:pt x="9494938" y="1334998"/>
                  <a:pt x="9520566" y="1341865"/>
                  <a:pt x="9546192" y="1348731"/>
                </a:cubicBezTo>
                <a:cubicBezTo>
                  <a:pt x="9657242" y="1378487"/>
                  <a:pt x="9766002" y="1416797"/>
                  <a:pt x="9900386" y="1461973"/>
                </a:cubicBezTo>
                <a:cubicBezTo>
                  <a:pt x="9917470" y="1466551"/>
                  <a:pt x="9945391" y="1464864"/>
                  <a:pt x="9949348" y="1484261"/>
                </a:cubicBezTo>
                <a:lnTo>
                  <a:pt x="9940807" y="1481972"/>
                </a:lnTo>
                <a:cubicBezTo>
                  <a:pt x="9940807" y="1481972"/>
                  <a:pt x="9938671" y="1481400"/>
                  <a:pt x="9938671" y="1481400"/>
                </a:cubicBezTo>
                <a:lnTo>
                  <a:pt x="9932263" y="1479683"/>
                </a:lnTo>
                <a:cubicBezTo>
                  <a:pt x="9929971" y="1488237"/>
                  <a:pt x="9929971" y="1488237"/>
                  <a:pt x="9921430" y="1485949"/>
                </a:cubicBezTo>
                <a:cubicBezTo>
                  <a:pt x="9927679" y="1496791"/>
                  <a:pt x="10000602" y="1497994"/>
                  <a:pt x="9991433" y="1532210"/>
                </a:cubicBezTo>
                <a:cubicBezTo>
                  <a:pt x="9965807" y="1525344"/>
                  <a:pt x="9935596" y="1535583"/>
                  <a:pt x="9931639" y="1516189"/>
                </a:cubicBezTo>
                <a:cubicBezTo>
                  <a:pt x="9884342" y="1521849"/>
                  <a:pt x="9871840" y="1500165"/>
                  <a:pt x="9818298" y="1494984"/>
                </a:cubicBezTo>
                <a:cubicBezTo>
                  <a:pt x="9813714" y="1512092"/>
                  <a:pt x="9884342" y="1521849"/>
                  <a:pt x="9884342" y="1521849"/>
                </a:cubicBezTo>
                <a:cubicBezTo>
                  <a:pt x="9976017" y="1555582"/>
                  <a:pt x="9986850" y="1549316"/>
                  <a:pt x="10076234" y="1591603"/>
                </a:cubicBezTo>
                <a:cubicBezTo>
                  <a:pt x="9988517" y="1577267"/>
                  <a:pt x="9875800" y="1519560"/>
                  <a:pt x="9822254" y="1514381"/>
                </a:cubicBezTo>
                <a:cubicBezTo>
                  <a:pt x="9822254" y="1514381"/>
                  <a:pt x="9819962" y="1522935"/>
                  <a:pt x="9819962" y="1522935"/>
                </a:cubicBezTo>
                <a:cubicBezTo>
                  <a:pt x="9949764" y="1585220"/>
                  <a:pt x="10105819" y="1617866"/>
                  <a:pt x="10220826" y="1667019"/>
                </a:cubicBezTo>
                <a:cubicBezTo>
                  <a:pt x="10167279" y="1661839"/>
                  <a:pt x="10120609" y="1630997"/>
                  <a:pt x="10058521" y="1623529"/>
                </a:cubicBezTo>
                <a:cubicBezTo>
                  <a:pt x="10064774" y="1634373"/>
                  <a:pt x="10107484" y="1645817"/>
                  <a:pt x="10109776" y="1637263"/>
                </a:cubicBezTo>
                <a:cubicBezTo>
                  <a:pt x="10107484" y="1645817"/>
                  <a:pt x="10107484" y="1645817"/>
                  <a:pt x="10105192" y="1654371"/>
                </a:cubicBezTo>
                <a:cubicBezTo>
                  <a:pt x="10113733" y="1656660"/>
                  <a:pt x="10116025" y="1648105"/>
                  <a:pt x="10118317" y="1639551"/>
                </a:cubicBezTo>
                <a:cubicBezTo>
                  <a:pt x="10116025" y="1648105"/>
                  <a:pt x="10116025" y="1648105"/>
                  <a:pt x="10113733" y="1656660"/>
                </a:cubicBezTo>
                <a:cubicBezTo>
                  <a:pt x="10122276" y="1658949"/>
                  <a:pt x="10124569" y="1650395"/>
                  <a:pt x="10126861" y="1641841"/>
                </a:cubicBezTo>
                <a:cubicBezTo>
                  <a:pt x="10124569" y="1650395"/>
                  <a:pt x="10133110" y="1652684"/>
                  <a:pt x="10141654" y="1654973"/>
                </a:cubicBezTo>
                <a:cubicBezTo>
                  <a:pt x="10141654" y="1654973"/>
                  <a:pt x="10141654" y="1654973"/>
                  <a:pt x="10139362" y="1663527"/>
                </a:cubicBezTo>
                <a:cubicBezTo>
                  <a:pt x="10167279" y="1661839"/>
                  <a:pt x="10164987" y="1670393"/>
                  <a:pt x="10199156" y="1679549"/>
                </a:cubicBezTo>
                <a:cubicBezTo>
                  <a:pt x="10199156" y="1679549"/>
                  <a:pt x="10196865" y="1688100"/>
                  <a:pt x="10205409" y="1690390"/>
                </a:cubicBezTo>
                <a:cubicBezTo>
                  <a:pt x="10205409" y="1690390"/>
                  <a:pt x="10205409" y="1690390"/>
                  <a:pt x="10207700" y="1681838"/>
                </a:cubicBezTo>
                <a:cubicBezTo>
                  <a:pt x="10222494" y="1694967"/>
                  <a:pt x="10224785" y="1686416"/>
                  <a:pt x="10241870" y="1690994"/>
                </a:cubicBezTo>
                <a:cubicBezTo>
                  <a:pt x="10239578" y="1699545"/>
                  <a:pt x="10224785" y="1686416"/>
                  <a:pt x="10231035" y="1697256"/>
                </a:cubicBezTo>
                <a:cubicBezTo>
                  <a:pt x="10228743" y="1705810"/>
                  <a:pt x="10226451" y="1714364"/>
                  <a:pt x="10243536" y="1718942"/>
                </a:cubicBezTo>
                <a:cubicBezTo>
                  <a:pt x="10224159" y="1722918"/>
                  <a:pt x="10230410" y="1733761"/>
                  <a:pt x="10204782" y="1726894"/>
                </a:cubicBezTo>
                <a:cubicBezTo>
                  <a:pt x="10226451" y="1714364"/>
                  <a:pt x="10162071" y="1715450"/>
                  <a:pt x="10151235" y="1721715"/>
                </a:cubicBezTo>
                <a:cubicBezTo>
                  <a:pt x="10187072" y="1758822"/>
                  <a:pt x="10232076" y="1761712"/>
                  <a:pt x="10283330" y="1775446"/>
                </a:cubicBezTo>
                <a:cubicBezTo>
                  <a:pt x="10288436" y="1790565"/>
                  <a:pt x="10307083" y="1797853"/>
                  <a:pt x="10328438" y="1803575"/>
                </a:cubicBezTo>
                <a:lnTo>
                  <a:pt x="10382851" y="1820187"/>
                </a:lnTo>
                <a:lnTo>
                  <a:pt x="10381254" y="1820021"/>
                </a:lnTo>
                <a:cubicBezTo>
                  <a:pt x="10387504" y="1830861"/>
                  <a:pt x="10426257" y="1822911"/>
                  <a:pt x="10430217" y="1842306"/>
                </a:cubicBezTo>
                <a:cubicBezTo>
                  <a:pt x="10410840" y="1846282"/>
                  <a:pt x="10427925" y="1850860"/>
                  <a:pt x="10445009" y="1855437"/>
                </a:cubicBezTo>
                <a:cubicBezTo>
                  <a:pt x="10423341" y="1867968"/>
                  <a:pt x="10491680" y="1886279"/>
                  <a:pt x="10525849" y="1895435"/>
                </a:cubicBezTo>
                <a:cubicBezTo>
                  <a:pt x="10525222" y="1931940"/>
                  <a:pt x="10583352" y="1920011"/>
                  <a:pt x="10585020" y="1947963"/>
                </a:cubicBezTo>
                <a:lnTo>
                  <a:pt x="10569003" y="1943671"/>
                </a:lnTo>
                <a:cubicBezTo>
                  <a:pt x="10562673" y="1937389"/>
                  <a:pt x="10557414" y="1931397"/>
                  <a:pt x="10550850" y="1938807"/>
                </a:cubicBezTo>
                <a:cubicBezTo>
                  <a:pt x="10542307" y="1936517"/>
                  <a:pt x="10542307" y="1936517"/>
                  <a:pt x="10544599" y="1927964"/>
                </a:cubicBezTo>
                <a:cubicBezTo>
                  <a:pt x="10536058" y="1925675"/>
                  <a:pt x="10548558" y="1947361"/>
                  <a:pt x="10531474" y="1942783"/>
                </a:cubicBezTo>
                <a:cubicBezTo>
                  <a:pt x="10544599" y="1927964"/>
                  <a:pt x="10533766" y="1934229"/>
                  <a:pt x="10525222" y="1931940"/>
                </a:cubicBezTo>
                <a:lnTo>
                  <a:pt x="10526082" y="1931072"/>
                </a:lnTo>
                <a:lnTo>
                  <a:pt x="10526443" y="1931121"/>
                </a:lnTo>
                <a:cubicBezTo>
                  <a:pt x="10529533" y="1930803"/>
                  <a:pt x="10532776" y="1929380"/>
                  <a:pt x="10536058" y="1925675"/>
                </a:cubicBezTo>
                <a:cubicBezTo>
                  <a:pt x="10536058" y="1925675"/>
                  <a:pt x="10533922" y="1925103"/>
                  <a:pt x="10531500" y="1925600"/>
                </a:cubicBezTo>
                <a:lnTo>
                  <a:pt x="10526082" y="1931072"/>
                </a:lnTo>
                <a:lnTo>
                  <a:pt x="10517747" y="1929937"/>
                </a:lnTo>
                <a:cubicBezTo>
                  <a:pt x="10512408" y="1928506"/>
                  <a:pt x="10508137" y="1927362"/>
                  <a:pt x="10505845" y="1935916"/>
                </a:cubicBezTo>
                <a:cubicBezTo>
                  <a:pt x="10508137" y="1927362"/>
                  <a:pt x="10493345" y="1914230"/>
                  <a:pt x="10480220" y="1929049"/>
                </a:cubicBezTo>
                <a:cubicBezTo>
                  <a:pt x="10480220" y="1929049"/>
                  <a:pt x="10473968" y="1918206"/>
                  <a:pt x="10484804" y="1911942"/>
                </a:cubicBezTo>
                <a:cubicBezTo>
                  <a:pt x="10476260" y="1909652"/>
                  <a:pt x="10473968" y="1918206"/>
                  <a:pt x="10471676" y="1926760"/>
                </a:cubicBezTo>
                <a:cubicBezTo>
                  <a:pt x="10467719" y="1907363"/>
                  <a:pt x="10446050" y="1919894"/>
                  <a:pt x="10428965" y="1915316"/>
                </a:cubicBezTo>
                <a:cubicBezTo>
                  <a:pt x="10431257" y="1906762"/>
                  <a:pt x="10399379" y="1889052"/>
                  <a:pt x="10373751" y="1882185"/>
                </a:cubicBezTo>
                <a:cubicBezTo>
                  <a:pt x="10365211" y="1879897"/>
                  <a:pt x="10362919" y="1888451"/>
                  <a:pt x="10354377" y="1886162"/>
                </a:cubicBezTo>
                <a:cubicBezTo>
                  <a:pt x="10345833" y="1883873"/>
                  <a:pt x="10350418" y="1866764"/>
                  <a:pt x="10341877" y="1864476"/>
                </a:cubicBezTo>
                <a:cubicBezTo>
                  <a:pt x="10316248" y="1857609"/>
                  <a:pt x="10279786" y="1857007"/>
                  <a:pt x="10256453" y="1841587"/>
                </a:cubicBezTo>
                <a:cubicBezTo>
                  <a:pt x="10256453" y="1841587"/>
                  <a:pt x="10254161" y="1850141"/>
                  <a:pt x="10245617" y="1847852"/>
                </a:cubicBezTo>
                <a:cubicBezTo>
                  <a:pt x="10243325" y="1856405"/>
                  <a:pt x="10271246" y="1854719"/>
                  <a:pt x="10258118" y="1869538"/>
                </a:cubicBezTo>
                <a:cubicBezTo>
                  <a:pt x="10241033" y="1864959"/>
                  <a:pt x="10241033" y="1864959"/>
                  <a:pt x="10230200" y="1871222"/>
                </a:cubicBezTo>
                <a:cubicBezTo>
                  <a:pt x="10232492" y="1862671"/>
                  <a:pt x="10213116" y="1866645"/>
                  <a:pt x="10215407" y="1858093"/>
                </a:cubicBezTo>
                <a:cubicBezTo>
                  <a:pt x="10187487" y="1859778"/>
                  <a:pt x="10178946" y="1857489"/>
                  <a:pt x="10164153" y="1844359"/>
                </a:cubicBezTo>
                <a:cubicBezTo>
                  <a:pt x="10159569" y="1861465"/>
                  <a:pt x="10206864" y="1855804"/>
                  <a:pt x="10227908" y="1879777"/>
                </a:cubicBezTo>
                <a:cubicBezTo>
                  <a:pt x="10165819" y="1872308"/>
                  <a:pt x="10076438" y="1830022"/>
                  <a:pt x="10016643" y="1814000"/>
                </a:cubicBezTo>
                <a:cubicBezTo>
                  <a:pt x="9990389" y="1843638"/>
                  <a:pt x="10047893" y="1868214"/>
                  <a:pt x="10063310" y="1844841"/>
                </a:cubicBezTo>
                <a:cubicBezTo>
                  <a:pt x="10101439" y="1873394"/>
                  <a:pt x="10154985" y="1878573"/>
                  <a:pt x="10201656" y="1909415"/>
                </a:cubicBezTo>
                <a:cubicBezTo>
                  <a:pt x="10278536" y="1930015"/>
                  <a:pt x="10336041" y="1954592"/>
                  <a:pt x="10419171" y="1986034"/>
                </a:cubicBezTo>
                <a:cubicBezTo>
                  <a:pt x="10419171" y="1986034"/>
                  <a:pt x="10455633" y="1986636"/>
                  <a:pt x="10427715" y="1988323"/>
                </a:cubicBezTo>
                <a:cubicBezTo>
                  <a:pt x="10416879" y="1994588"/>
                  <a:pt x="10408337" y="1992300"/>
                  <a:pt x="10406045" y="2000854"/>
                </a:cubicBezTo>
                <a:cubicBezTo>
                  <a:pt x="10388961" y="1996276"/>
                  <a:pt x="10365624" y="1980855"/>
                  <a:pt x="10352500" y="1995672"/>
                </a:cubicBezTo>
                <a:cubicBezTo>
                  <a:pt x="10369584" y="2000249"/>
                  <a:pt x="10375834" y="2011092"/>
                  <a:pt x="10371250" y="2028200"/>
                </a:cubicBezTo>
                <a:cubicBezTo>
                  <a:pt x="10401462" y="2017959"/>
                  <a:pt x="10430421" y="2080728"/>
                  <a:pt x="10492510" y="2088197"/>
                </a:cubicBezTo>
                <a:cubicBezTo>
                  <a:pt x="10481675" y="2094461"/>
                  <a:pt x="10445213" y="2093860"/>
                  <a:pt x="10460006" y="2106989"/>
                </a:cubicBezTo>
                <a:cubicBezTo>
                  <a:pt x="10440630" y="2110965"/>
                  <a:pt x="10397919" y="2099521"/>
                  <a:pt x="10374582" y="2084100"/>
                </a:cubicBezTo>
                <a:cubicBezTo>
                  <a:pt x="10366042" y="2081811"/>
                  <a:pt x="10380834" y="2094943"/>
                  <a:pt x="10369998" y="2101208"/>
                </a:cubicBezTo>
                <a:cubicBezTo>
                  <a:pt x="10380834" y="2094943"/>
                  <a:pt x="10387084" y="2105786"/>
                  <a:pt x="10404168" y="2110363"/>
                </a:cubicBezTo>
                <a:cubicBezTo>
                  <a:pt x="10376250" y="2112051"/>
                  <a:pt x="10318744" y="2087474"/>
                  <a:pt x="10290826" y="2089162"/>
                </a:cubicBezTo>
                <a:cubicBezTo>
                  <a:pt x="10303328" y="2110848"/>
                  <a:pt x="10359166" y="2107473"/>
                  <a:pt x="10371666" y="2129159"/>
                </a:cubicBezTo>
                <a:cubicBezTo>
                  <a:pt x="10337496" y="2120003"/>
                  <a:pt x="10328953" y="2117714"/>
                  <a:pt x="10292494" y="2117113"/>
                </a:cubicBezTo>
                <a:cubicBezTo>
                  <a:pt x="10283950" y="2114824"/>
                  <a:pt x="10287910" y="2134221"/>
                  <a:pt x="10273117" y="2121090"/>
                </a:cubicBezTo>
                <a:cubicBezTo>
                  <a:pt x="10268533" y="2138197"/>
                  <a:pt x="10290202" y="2125667"/>
                  <a:pt x="10277074" y="2140486"/>
                </a:cubicBezTo>
                <a:cubicBezTo>
                  <a:pt x="10294159" y="2145064"/>
                  <a:pt x="10313536" y="2141088"/>
                  <a:pt x="10306660" y="2166747"/>
                </a:cubicBezTo>
                <a:cubicBezTo>
                  <a:pt x="10306660" y="2166747"/>
                  <a:pt x="10308952" y="2158193"/>
                  <a:pt x="10311244" y="2149642"/>
                </a:cubicBezTo>
                <a:cubicBezTo>
                  <a:pt x="10319784" y="2151930"/>
                  <a:pt x="10317493" y="2160482"/>
                  <a:pt x="10315201" y="2169036"/>
                </a:cubicBezTo>
                <a:cubicBezTo>
                  <a:pt x="10334578" y="2165060"/>
                  <a:pt x="10338538" y="2184457"/>
                  <a:pt x="10372708" y="2193613"/>
                </a:cubicBezTo>
                <a:cubicBezTo>
                  <a:pt x="10370415" y="2202167"/>
                  <a:pt x="10378956" y="2204455"/>
                  <a:pt x="10387500" y="2206745"/>
                </a:cubicBezTo>
                <a:cubicBezTo>
                  <a:pt x="10365831" y="2219275"/>
                  <a:pt x="10302076" y="2183855"/>
                  <a:pt x="10274158" y="2185543"/>
                </a:cubicBezTo>
                <a:cubicBezTo>
                  <a:pt x="10261030" y="2200362"/>
                  <a:pt x="10288949" y="2198674"/>
                  <a:pt x="10278116" y="2204940"/>
                </a:cubicBezTo>
                <a:cubicBezTo>
                  <a:pt x="10269574" y="2202651"/>
                  <a:pt x="10263166" y="2200934"/>
                  <a:pt x="10259390" y="2202214"/>
                </a:cubicBezTo>
                <a:lnTo>
                  <a:pt x="10257036" y="2214420"/>
                </a:lnTo>
                <a:lnTo>
                  <a:pt x="10252490" y="2198073"/>
                </a:lnTo>
                <a:cubicBezTo>
                  <a:pt x="10250198" y="2206627"/>
                  <a:pt x="10239362" y="2212892"/>
                  <a:pt x="10256446" y="2217470"/>
                </a:cubicBezTo>
                <a:lnTo>
                  <a:pt x="10257036" y="2214420"/>
                </a:lnTo>
                <a:lnTo>
                  <a:pt x="10260067" y="2225314"/>
                </a:lnTo>
                <a:cubicBezTo>
                  <a:pt x="10272801" y="2233312"/>
                  <a:pt x="10291449" y="2240599"/>
                  <a:pt x="10303117" y="2248309"/>
                </a:cubicBezTo>
                <a:cubicBezTo>
                  <a:pt x="10317910" y="2261441"/>
                  <a:pt x="10268948" y="2239153"/>
                  <a:pt x="10275197" y="2249996"/>
                </a:cubicBezTo>
                <a:cubicBezTo>
                  <a:pt x="10206861" y="2231685"/>
                  <a:pt x="10132270" y="2202530"/>
                  <a:pt x="10053098" y="2190485"/>
                </a:cubicBezTo>
                <a:cubicBezTo>
                  <a:pt x="10027469" y="2183617"/>
                  <a:pt x="10004136" y="2168197"/>
                  <a:pt x="9978507" y="2161330"/>
                </a:cubicBezTo>
                <a:cubicBezTo>
                  <a:pt x="9969966" y="2159041"/>
                  <a:pt x="9914127" y="2162415"/>
                  <a:pt x="9901627" y="2140730"/>
                </a:cubicBezTo>
                <a:cubicBezTo>
                  <a:pt x="9879959" y="2153260"/>
                  <a:pt x="9854956" y="2109891"/>
                  <a:pt x="9813911" y="2126395"/>
                </a:cubicBezTo>
                <a:cubicBezTo>
                  <a:pt x="9816203" y="2117841"/>
                  <a:pt x="9824747" y="2120130"/>
                  <a:pt x="9816203" y="2117841"/>
                </a:cubicBezTo>
                <a:cubicBezTo>
                  <a:pt x="9799118" y="2113263"/>
                  <a:pt x="9758700" y="2093264"/>
                  <a:pt x="9724530" y="2084109"/>
                </a:cubicBezTo>
                <a:cubicBezTo>
                  <a:pt x="9707446" y="2079531"/>
                  <a:pt x="9681817" y="2072664"/>
                  <a:pt x="9677233" y="2089772"/>
                </a:cubicBezTo>
                <a:cubicBezTo>
                  <a:pt x="9690361" y="2074953"/>
                  <a:pt x="9694318" y="2094350"/>
                  <a:pt x="9700570" y="2105193"/>
                </a:cubicBezTo>
                <a:cubicBezTo>
                  <a:pt x="9719946" y="2101217"/>
                  <a:pt x="9749532" y="2127480"/>
                  <a:pt x="9775158" y="2134347"/>
                </a:cubicBezTo>
                <a:cubicBezTo>
                  <a:pt x="9758073" y="2129769"/>
                  <a:pt x="9747240" y="2136034"/>
                  <a:pt x="9732447" y="2122903"/>
                </a:cubicBezTo>
                <a:cubicBezTo>
                  <a:pt x="9730155" y="2131457"/>
                  <a:pt x="9702234" y="2133144"/>
                  <a:pt x="9715362" y="2118325"/>
                </a:cubicBezTo>
                <a:cubicBezTo>
                  <a:pt x="9654940" y="2138808"/>
                  <a:pt x="9610562" y="2099412"/>
                  <a:pt x="9531390" y="2087366"/>
                </a:cubicBezTo>
                <a:cubicBezTo>
                  <a:pt x="9554723" y="2102786"/>
                  <a:pt x="9612229" y="2127363"/>
                  <a:pt x="9640148" y="2125676"/>
                </a:cubicBezTo>
                <a:cubicBezTo>
                  <a:pt x="9706194" y="2152541"/>
                  <a:pt x="9757449" y="2166275"/>
                  <a:pt x="9832037" y="2195429"/>
                </a:cubicBezTo>
                <a:cubicBezTo>
                  <a:pt x="9832037" y="2195429"/>
                  <a:pt x="9821204" y="2201691"/>
                  <a:pt x="9821204" y="2201691"/>
                </a:cubicBezTo>
                <a:cubicBezTo>
                  <a:pt x="9878707" y="2226268"/>
                  <a:pt x="9955587" y="2246868"/>
                  <a:pt x="10030178" y="2276022"/>
                </a:cubicBezTo>
                <a:cubicBezTo>
                  <a:pt x="10019342" y="2282287"/>
                  <a:pt x="10023302" y="2301684"/>
                  <a:pt x="10021010" y="2310239"/>
                </a:cubicBezTo>
                <a:cubicBezTo>
                  <a:pt x="9991424" y="2283975"/>
                  <a:pt x="9901417" y="2278193"/>
                  <a:pt x="9880375" y="2254219"/>
                </a:cubicBezTo>
                <a:cubicBezTo>
                  <a:pt x="9843913" y="2253617"/>
                  <a:pt x="9788699" y="2220486"/>
                  <a:pt x="9735153" y="2215307"/>
                </a:cubicBezTo>
                <a:cubicBezTo>
                  <a:pt x="9726612" y="2213018"/>
                  <a:pt x="9741405" y="2226150"/>
                  <a:pt x="9730569" y="2232415"/>
                </a:cubicBezTo>
                <a:cubicBezTo>
                  <a:pt x="9732861" y="2223861"/>
                  <a:pt x="9698692" y="2214705"/>
                  <a:pt x="9696400" y="2223259"/>
                </a:cubicBezTo>
                <a:cubicBezTo>
                  <a:pt x="9681607" y="2210128"/>
                  <a:pt x="9666814" y="2196996"/>
                  <a:pt x="9645145" y="2209526"/>
                </a:cubicBezTo>
                <a:cubicBezTo>
                  <a:pt x="9642853" y="2218080"/>
                  <a:pt x="9673066" y="2207839"/>
                  <a:pt x="9659938" y="2222658"/>
                </a:cubicBezTo>
                <a:lnTo>
                  <a:pt x="9635565" y="2225709"/>
                </a:lnTo>
                <a:lnTo>
                  <a:pt x="9599126" y="2218970"/>
                </a:lnTo>
                <a:cubicBezTo>
                  <a:pt x="9587591" y="2219315"/>
                  <a:pt x="9581599" y="2224586"/>
                  <a:pt x="9590975" y="2240849"/>
                </a:cubicBezTo>
                <a:cubicBezTo>
                  <a:pt x="9590975" y="2240849"/>
                  <a:pt x="9593267" y="2232295"/>
                  <a:pt x="9601811" y="2234584"/>
                </a:cubicBezTo>
                <a:cubicBezTo>
                  <a:pt x="9601811" y="2234584"/>
                  <a:pt x="9599519" y="2243139"/>
                  <a:pt x="9597227" y="2251692"/>
                </a:cubicBezTo>
                <a:cubicBezTo>
                  <a:pt x="9588683" y="2249403"/>
                  <a:pt x="9588683" y="2249403"/>
                  <a:pt x="9580142" y="2247115"/>
                </a:cubicBezTo>
                <a:cubicBezTo>
                  <a:pt x="9589310" y="2212901"/>
                  <a:pt x="9548265" y="2229405"/>
                  <a:pt x="9544304" y="2210010"/>
                </a:cubicBezTo>
                <a:cubicBezTo>
                  <a:pt x="9533471" y="2216273"/>
                  <a:pt x="9539721" y="2227116"/>
                  <a:pt x="9531179" y="2224827"/>
                </a:cubicBezTo>
                <a:cubicBezTo>
                  <a:pt x="9522636" y="2222538"/>
                  <a:pt x="9533471" y="2216273"/>
                  <a:pt x="9527219" y="2205432"/>
                </a:cubicBezTo>
                <a:cubicBezTo>
                  <a:pt x="9516387" y="2211695"/>
                  <a:pt x="9524928" y="2213984"/>
                  <a:pt x="9522636" y="2222538"/>
                </a:cubicBezTo>
                <a:cubicBezTo>
                  <a:pt x="9490758" y="2204828"/>
                  <a:pt x="9471382" y="2208804"/>
                  <a:pt x="9443464" y="2210492"/>
                </a:cubicBezTo>
                <a:cubicBezTo>
                  <a:pt x="9441172" y="2219046"/>
                  <a:pt x="9441172" y="2219046"/>
                  <a:pt x="9449713" y="2221334"/>
                </a:cubicBezTo>
                <a:cubicBezTo>
                  <a:pt x="9447421" y="2229889"/>
                  <a:pt x="9436588" y="2236154"/>
                  <a:pt x="9428044" y="2233865"/>
                </a:cubicBezTo>
                <a:cubicBezTo>
                  <a:pt x="9429711" y="2261816"/>
                  <a:pt x="9485550" y="2258442"/>
                  <a:pt x="9519719" y="2267597"/>
                </a:cubicBezTo>
                <a:cubicBezTo>
                  <a:pt x="9498051" y="2280127"/>
                  <a:pt x="9536804" y="2272175"/>
                  <a:pt x="9536804" y="2272175"/>
                </a:cubicBezTo>
                <a:cubicBezTo>
                  <a:pt x="9577223" y="2292173"/>
                  <a:pt x="9677439" y="2328194"/>
                  <a:pt x="9685980" y="2330483"/>
                </a:cubicBezTo>
                <a:cubicBezTo>
                  <a:pt x="9683689" y="2339034"/>
                  <a:pt x="9655771" y="2340722"/>
                  <a:pt x="9649519" y="2329879"/>
                </a:cubicBezTo>
                <a:cubicBezTo>
                  <a:pt x="9655771" y="2340722"/>
                  <a:pt x="9672856" y="2345300"/>
                  <a:pt x="9679105" y="2356142"/>
                </a:cubicBezTo>
                <a:cubicBezTo>
                  <a:pt x="9668272" y="2362408"/>
                  <a:pt x="9642643" y="2355541"/>
                  <a:pt x="9644935" y="2346987"/>
                </a:cubicBezTo>
                <a:cubicBezTo>
                  <a:pt x="9599933" y="2344097"/>
                  <a:pt x="9552949" y="2331507"/>
                  <a:pt x="9507816" y="2320561"/>
                </a:cubicBezTo>
                <a:lnTo>
                  <a:pt x="9437760" y="2311344"/>
                </a:lnTo>
                <a:lnTo>
                  <a:pt x="9435337" y="2309161"/>
                </a:lnTo>
                <a:lnTo>
                  <a:pt x="9434855" y="2310962"/>
                </a:lnTo>
                <a:lnTo>
                  <a:pt x="9381790" y="2303982"/>
                </a:lnTo>
                <a:cubicBezTo>
                  <a:pt x="9390332" y="2306271"/>
                  <a:pt x="9418252" y="2304584"/>
                  <a:pt x="9430753" y="2326270"/>
                </a:cubicBezTo>
                <a:lnTo>
                  <a:pt x="9434855" y="2310962"/>
                </a:lnTo>
                <a:lnTo>
                  <a:pt x="9437760" y="2311344"/>
                </a:lnTo>
                <a:lnTo>
                  <a:pt x="9460691" y="2332000"/>
                </a:lnTo>
                <a:cubicBezTo>
                  <a:pt x="9500928" y="2354813"/>
                  <a:pt x="9577378" y="2377017"/>
                  <a:pt x="9614099" y="2393733"/>
                </a:cubicBezTo>
                <a:lnTo>
                  <a:pt x="9622642" y="2396022"/>
                </a:lnTo>
                <a:cubicBezTo>
                  <a:pt x="9618059" y="2413128"/>
                  <a:pt x="9611806" y="2402287"/>
                  <a:pt x="9594721" y="2397709"/>
                </a:cubicBezTo>
                <a:cubicBezTo>
                  <a:pt x="9592430" y="2406261"/>
                  <a:pt x="9600973" y="2408550"/>
                  <a:pt x="9609515" y="2410839"/>
                </a:cubicBezTo>
                <a:cubicBezTo>
                  <a:pt x="9596389" y="2425658"/>
                  <a:pt x="9573056" y="2410238"/>
                  <a:pt x="9559929" y="2425057"/>
                </a:cubicBezTo>
                <a:cubicBezTo>
                  <a:pt x="9557637" y="2433611"/>
                  <a:pt x="9579305" y="2421080"/>
                  <a:pt x="9585554" y="2431923"/>
                </a:cubicBezTo>
                <a:cubicBezTo>
                  <a:pt x="9557637" y="2433611"/>
                  <a:pt x="9608891" y="2447344"/>
                  <a:pt x="9625975" y="2451922"/>
                </a:cubicBezTo>
                <a:cubicBezTo>
                  <a:pt x="9621391" y="2469030"/>
                  <a:pt x="9606599" y="2455898"/>
                  <a:pt x="9604306" y="2464452"/>
                </a:cubicBezTo>
                <a:cubicBezTo>
                  <a:pt x="9610555" y="2475295"/>
                  <a:pt x="9636184" y="2482162"/>
                  <a:pt x="9632225" y="2462765"/>
                </a:cubicBezTo>
                <a:cubicBezTo>
                  <a:pt x="9640768" y="2465054"/>
                  <a:pt x="9638476" y="2473608"/>
                  <a:pt x="9647017" y="2475896"/>
                </a:cubicBezTo>
                <a:cubicBezTo>
                  <a:pt x="9655560" y="2478186"/>
                  <a:pt x="9638476" y="2473608"/>
                  <a:pt x="9649309" y="2467342"/>
                </a:cubicBezTo>
                <a:cubicBezTo>
                  <a:pt x="9657852" y="2469632"/>
                  <a:pt x="9653268" y="2486740"/>
                  <a:pt x="9664102" y="2480474"/>
                </a:cubicBezTo>
                <a:cubicBezTo>
                  <a:pt x="9672646" y="2482764"/>
                  <a:pt x="9653268" y="2486740"/>
                  <a:pt x="9644725" y="2484450"/>
                </a:cubicBezTo>
                <a:cubicBezTo>
                  <a:pt x="9642433" y="2493004"/>
                  <a:pt x="9661810" y="2489028"/>
                  <a:pt x="9659518" y="2497582"/>
                </a:cubicBezTo>
                <a:cubicBezTo>
                  <a:pt x="9661810" y="2489028"/>
                  <a:pt x="9674938" y="2474210"/>
                  <a:pt x="9681186" y="2485052"/>
                </a:cubicBezTo>
                <a:cubicBezTo>
                  <a:pt x="9676602" y="2502160"/>
                  <a:pt x="9650976" y="2495294"/>
                  <a:pt x="9676602" y="2502160"/>
                </a:cubicBezTo>
                <a:cubicBezTo>
                  <a:pt x="9668062" y="2499872"/>
                  <a:pt x="9665770" y="2508423"/>
                  <a:pt x="9657227" y="2506134"/>
                </a:cubicBezTo>
                <a:cubicBezTo>
                  <a:pt x="9642433" y="2493004"/>
                  <a:pt x="9535343" y="2482644"/>
                  <a:pt x="9531383" y="2463249"/>
                </a:cubicBezTo>
                <a:lnTo>
                  <a:pt x="9521868" y="2461174"/>
                </a:lnTo>
                <a:lnTo>
                  <a:pt x="9521908" y="2461246"/>
                </a:lnTo>
                <a:lnTo>
                  <a:pt x="9520676" y="2460916"/>
                </a:lnTo>
                <a:lnTo>
                  <a:pt x="9371345" y="2428388"/>
                </a:lnTo>
                <a:cubicBezTo>
                  <a:pt x="9316106" y="2412440"/>
                  <a:pt x="9261155" y="2395424"/>
                  <a:pt x="9213025" y="2387111"/>
                </a:cubicBezTo>
                <a:cubicBezTo>
                  <a:pt x="9226152" y="2372294"/>
                  <a:pt x="9238653" y="2393978"/>
                  <a:pt x="9260322" y="2381450"/>
                </a:cubicBezTo>
                <a:cubicBezTo>
                  <a:pt x="9226152" y="2372294"/>
                  <a:pt x="9202816" y="2356873"/>
                  <a:pt x="9172606" y="2367115"/>
                </a:cubicBezTo>
                <a:cubicBezTo>
                  <a:pt x="9170315" y="2375666"/>
                  <a:pt x="9170315" y="2375666"/>
                  <a:pt x="9178856" y="2377955"/>
                </a:cubicBezTo>
                <a:cubicBezTo>
                  <a:pt x="9159479" y="2381931"/>
                  <a:pt x="9142394" y="2377353"/>
                  <a:pt x="9125310" y="2372775"/>
                </a:cubicBezTo>
                <a:cubicBezTo>
                  <a:pt x="9163439" y="2401328"/>
                  <a:pt x="9193648" y="2391087"/>
                  <a:pt x="9225526" y="2408796"/>
                </a:cubicBezTo>
                <a:cubicBezTo>
                  <a:pt x="9212401" y="2423616"/>
                  <a:pt x="9242611" y="2413374"/>
                  <a:pt x="9238027" y="2430482"/>
                </a:cubicBezTo>
                <a:cubicBezTo>
                  <a:pt x="9257403" y="2426506"/>
                  <a:pt x="9248862" y="2424218"/>
                  <a:pt x="9251154" y="2415664"/>
                </a:cubicBezTo>
                <a:cubicBezTo>
                  <a:pt x="9257403" y="2426506"/>
                  <a:pt x="9244278" y="2441326"/>
                  <a:pt x="9263653" y="2437349"/>
                </a:cubicBezTo>
                <a:cubicBezTo>
                  <a:pt x="9261361" y="2445903"/>
                  <a:pt x="9238027" y="2430482"/>
                  <a:pt x="9227193" y="2436748"/>
                </a:cubicBezTo>
                <a:lnTo>
                  <a:pt x="9225082" y="2444628"/>
                </a:lnTo>
                <a:lnTo>
                  <a:pt x="9057830" y="2398244"/>
                </a:lnTo>
                <a:cubicBezTo>
                  <a:pt x="8974620" y="2371362"/>
                  <a:pt x="8890915" y="2342060"/>
                  <a:pt x="8810910" y="2316037"/>
                </a:cubicBezTo>
                <a:cubicBezTo>
                  <a:pt x="8759656" y="2302304"/>
                  <a:pt x="8708402" y="2288570"/>
                  <a:pt x="8659440" y="2266283"/>
                </a:cubicBezTo>
                <a:cubicBezTo>
                  <a:pt x="8659440" y="2266283"/>
                  <a:pt x="8633814" y="2259416"/>
                  <a:pt x="8644647" y="2253150"/>
                </a:cubicBezTo>
                <a:cubicBezTo>
                  <a:pt x="8642355" y="2261704"/>
                  <a:pt x="8616729" y="2254838"/>
                  <a:pt x="8608185" y="2252549"/>
                </a:cubicBezTo>
                <a:cubicBezTo>
                  <a:pt x="8561515" y="2221707"/>
                  <a:pt x="8516512" y="2218817"/>
                  <a:pt x="8462966" y="2213637"/>
                </a:cubicBezTo>
                <a:cubicBezTo>
                  <a:pt x="8382126" y="2173640"/>
                  <a:pt x="8279618" y="2146173"/>
                  <a:pt x="8183361" y="2129550"/>
                </a:cubicBezTo>
                <a:cubicBezTo>
                  <a:pt x="8134399" y="2107262"/>
                  <a:pt x="8016473" y="2103168"/>
                  <a:pt x="7958968" y="2078592"/>
                </a:cubicBezTo>
                <a:cubicBezTo>
                  <a:pt x="7956676" y="2087145"/>
                  <a:pt x="7954384" y="2095699"/>
                  <a:pt x="7945842" y="2093411"/>
                </a:cubicBezTo>
                <a:cubicBezTo>
                  <a:pt x="7948135" y="2084857"/>
                  <a:pt x="7948135" y="2084857"/>
                  <a:pt x="7950427" y="2076303"/>
                </a:cubicBezTo>
                <a:cubicBezTo>
                  <a:pt x="7931050" y="2080279"/>
                  <a:pt x="7922506" y="2077990"/>
                  <a:pt x="7899172" y="2062569"/>
                </a:cubicBezTo>
                <a:cubicBezTo>
                  <a:pt x="7896880" y="2071123"/>
                  <a:pt x="7905421" y="2073412"/>
                  <a:pt x="7905421" y="2073412"/>
                </a:cubicBezTo>
                <a:cubicBezTo>
                  <a:pt x="7911673" y="2084255"/>
                  <a:pt x="7894588" y="2079677"/>
                  <a:pt x="7894588" y="2079677"/>
                </a:cubicBezTo>
                <a:cubicBezTo>
                  <a:pt x="7892296" y="2088231"/>
                  <a:pt x="7903129" y="2081966"/>
                  <a:pt x="7900837" y="2090520"/>
                </a:cubicBezTo>
                <a:cubicBezTo>
                  <a:pt x="7890004" y="2096785"/>
                  <a:pt x="7886044" y="2077388"/>
                  <a:pt x="7877503" y="2075099"/>
                </a:cubicBezTo>
                <a:cubicBezTo>
                  <a:pt x="7872919" y="2092208"/>
                  <a:pt x="7868960" y="2072810"/>
                  <a:pt x="7854167" y="2059678"/>
                </a:cubicBezTo>
                <a:cubicBezTo>
                  <a:pt x="7845626" y="2057390"/>
                  <a:pt x="7843334" y="2065944"/>
                  <a:pt x="7834790" y="2063655"/>
                </a:cubicBezTo>
                <a:lnTo>
                  <a:pt x="7837031" y="2072187"/>
                </a:lnTo>
                <a:lnTo>
                  <a:pt x="7826171" y="2065929"/>
                </a:lnTo>
                <a:cubicBezTo>
                  <a:pt x="7823540" y="2062932"/>
                  <a:pt x="7821977" y="2060221"/>
                  <a:pt x="7817706" y="2059077"/>
                </a:cubicBezTo>
                <a:cubicBezTo>
                  <a:pt x="7809164" y="2056788"/>
                  <a:pt x="7823957" y="2069920"/>
                  <a:pt x="7821665" y="2078474"/>
                </a:cubicBezTo>
                <a:cubicBezTo>
                  <a:pt x="7802288" y="2082450"/>
                  <a:pt x="7798329" y="2063053"/>
                  <a:pt x="7785203" y="2077873"/>
                </a:cubicBezTo>
                <a:cubicBezTo>
                  <a:pt x="7799996" y="2091004"/>
                  <a:pt x="7770411" y="2064740"/>
                  <a:pt x="7774368" y="2084137"/>
                </a:cubicBezTo>
                <a:cubicBezTo>
                  <a:pt x="7765827" y="2081848"/>
                  <a:pt x="7776660" y="2075583"/>
                  <a:pt x="7770411" y="2064740"/>
                </a:cubicBezTo>
                <a:cubicBezTo>
                  <a:pt x="7778952" y="2067029"/>
                  <a:pt x="7778952" y="2067029"/>
                  <a:pt x="7787496" y="2069318"/>
                </a:cubicBezTo>
                <a:cubicBezTo>
                  <a:pt x="7774995" y="2047632"/>
                  <a:pt x="7744782" y="2057874"/>
                  <a:pt x="7719157" y="2051007"/>
                </a:cubicBezTo>
                <a:cubicBezTo>
                  <a:pt x="7721449" y="2042453"/>
                  <a:pt x="7729992" y="2044742"/>
                  <a:pt x="7729992" y="2044742"/>
                </a:cubicBezTo>
                <a:cubicBezTo>
                  <a:pt x="7712908" y="2040164"/>
                  <a:pt x="7689571" y="2024743"/>
                  <a:pt x="7661653" y="2026431"/>
                </a:cubicBezTo>
                <a:cubicBezTo>
                  <a:pt x="7682695" y="2050406"/>
                  <a:pt x="7715200" y="2031610"/>
                  <a:pt x="7714573" y="2068115"/>
                </a:cubicBezTo>
                <a:cubicBezTo>
                  <a:pt x="7697488" y="2063537"/>
                  <a:pt x="7680403" y="2058959"/>
                  <a:pt x="7654777" y="2052093"/>
                </a:cubicBezTo>
                <a:cubicBezTo>
                  <a:pt x="7652486" y="2060645"/>
                  <a:pt x="7671862" y="2056671"/>
                  <a:pt x="7669571" y="2065222"/>
                </a:cubicBezTo>
                <a:cubicBezTo>
                  <a:pt x="7667278" y="2073776"/>
                  <a:pt x="7658735" y="2071487"/>
                  <a:pt x="7650194" y="2069198"/>
                </a:cubicBezTo>
                <a:cubicBezTo>
                  <a:pt x="7664986" y="2082330"/>
                  <a:pt x="7694572" y="2108594"/>
                  <a:pt x="7716241" y="2096064"/>
                </a:cubicBezTo>
                <a:cubicBezTo>
                  <a:pt x="7739574" y="2111484"/>
                  <a:pt x="7782911" y="2086427"/>
                  <a:pt x="7795413" y="2108110"/>
                </a:cubicBezTo>
                <a:cubicBezTo>
                  <a:pt x="7797705" y="2099556"/>
                  <a:pt x="7818747" y="2123530"/>
                  <a:pt x="7825622" y="2097871"/>
                </a:cubicBezTo>
                <a:cubicBezTo>
                  <a:pt x="7829582" y="2117265"/>
                  <a:pt x="7831875" y="2108711"/>
                  <a:pt x="7838123" y="2119554"/>
                </a:cubicBezTo>
                <a:cubicBezTo>
                  <a:pt x="7829582" y="2117265"/>
                  <a:pt x="7827290" y="2125820"/>
                  <a:pt x="7810206" y="2121242"/>
                </a:cubicBezTo>
                <a:cubicBezTo>
                  <a:pt x="7861460" y="2134975"/>
                  <a:pt x="7927507" y="2161841"/>
                  <a:pt x="7966260" y="2153888"/>
                </a:cubicBezTo>
                <a:cubicBezTo>
                  <a:pt x="7974801" y="2156177"/>
                  <a:pt x="7970217" y="2173285"/>
                  <a:pt x="7981053" y="2167020"/>
                </a:cubicBezTo>
                <a:cubicBezTo>
                  <a:pt x="8060225" y="2179066"/>
                  <a:pt x="8162733" y="2206533"/>
                  <a:pt x="8245865" y="2237976"/>
                </a:cubicBezTo>
                <a:cubicBezTo>
                  <a:pt x="8245865" y="2237976"/>
                  <a:pt x="8243573" y="2246530"/>
                  <a:pt x="8243573" y="2246530"/>
                </a:cubicBezTo>
                <a:cubicBezTo>
                  <a:pt x="8252114" y="2248819"/>
                  <a:pt x="8252114" y="2248819"/>
                  <a:pt x="8254406" y="2240265"/>
                </a:cubicBezTo>
                <a:cubicBezTo>
                  <a:pt x="8303369" y="2262553"/>
                  <a:pt x="8373999" y="2272310"/>
                  <a:pt x="8416710" y="2283754"/>
                </a:cubicBezTo>
                <a:cubicBezTo>
                  <a:pt x="8416710" y="2283754"/>
                  <a:pt x="8416710" y="2283754"/>
                  <a:pt x="8414418" y="2292308"/>
                </a:cubicBezTo>
                <a:cubicBezTo>
                  <a:pt x="8444631" y="2282067"/>
                  <a:pt x="8437755" y="2307730"/>
                  <a:pt x="8450879" y="2292910"/>
                </a:cubicBezTo>
                <a:cubicBezTo>
                  <a:pt x="8446295" y="2310018"/>
                  <a:pt x="8459423" y="2295199"/>
                  <a:pt x="8454839" y="2312307"/>
                </a:cubicBezTo>
                <a:cubicBezTo>
                  <a:pt x="8463380" y="2314596"/>
                  <a:pt x="8465672" y="2306042"/>
                  <a:pt x="8467964" y="2297488"/>
                </a:cubicBezTo>
                <a:cubicBezTo>
                  <a:pt x="8508385" y="2317487"/>
                  <a:pt x="8572141" y="2352906"/>
                  <a:pt x="8636520" y="2351820"/>
                </a:cubicBezTo>
                <a:cubicBezTo>
                  <a:pt x="8657561" y="2375794"/>
                  <a:pt x="8704859" y="2370131"/>
                  <a:pt x="8717360" y="2391817"/>
                </a:cubicBezTo>
                <a:cubicBezTo>
                  <a:pt x="8719652" y="2383263"/>
                  <a:pt x="8742986" y="2398684"/>
                  <a:pt x="8742986" y="2398684"/>
                </a:cubicBezTo>
                <a:cubicBezTo>
                  <a:pt x="8751529" y="2400973"/>
                  <a:pt x="8742986" y="2398684"/>
                  <a:pt x="8751529" y="2400973"/>
                </a:cubicBezTo>
                <a:cubicBezTo>
                  <a:pt x="8762362" y="2394708"/>
                  <a:pt x="8760070" y="2403262"/>
                  <a:pt x="8757778" y="2411816"/>
                </a:cubicBezTo>
                <a:cubicBezTo>
                  <a:pt x="8770906" y="2396997"/>
                  <a:pt x="8768614" y="2405551"/>
                  <a:pt x="8772570" y="2424948"/>
                </a:cubicBezTo>
                <a:cubicBezTo>
                  <a:pt x="8757778" y="2411816"/>
                  <a:pt x="8712776" y="2408926"/>
                  <a:pt x="8689439" y="2393504"/>
                </a:cubicBezTo>
                <a:cubicBezTo>
                  <a:pt x="8614851" y="2364350"/>
                  <a:pt x="8482132" y="2347125"/>
                  <a:pt x="8426919" y="2313994"/>
                </a:cubicBezTo>
                <a:cubicBezTo>
                  <a:pt x="8424627" y="2322548"/>
                  <a:pt x="8390457" y="2313392"/>
                  <a:pt x="8392749" y="2304838"/>
                </a:cubicBezTo>
                <a:cubicBezTo>
                  <a:pt x="8384208" y="2302550"/>
                  <a:pt x="8381916" y="2311104"/>
                  <a:pt x="8384208" y="2302550"/>
                </a:cubicBezTo>
                <a:cubicBezTo>
                  <a:pt x="8384208" y="2302550"/>
                  <a:pt x="8381916" y="2311104"/>
                  <a:pt x="8375664" y="2300261"/>
                </a:cubicBezTo>
                <a:cubicBezTo>
                  <a:pt x="8249822" y="2257373"/>
                  <a:pt x="8119396" y="2231593"/>
                  <a:pt x="8068142" y="2217860"/>
                </a:cubicBezTo>
                <a:cubicBezTo>
                  <a:pt x="8059598" y="2215571"/>
                  <a:pt x="8057306" y="2224125"/>
                  <a:pt x="8059598" y="2215571"/>
                </a:cubicBezTo>
                <a:cubicBezTo>
                  <a:pt x="8048765" y="2221836"/>
                  <a:pt x="8042513" y="2210993"/>
                  <a:pt x="8033972" y="2208704"/>
                </a:cubicBezTo>
                <a:cubicBezTo>
                  <a:pt x="8044805" y="2202439"/>
                  <a:pt x="8053349" y="2204728"/>
                  <a:pt x="8055641" y="2196174"/>
                </a:cubicBezTo>
                <a:cubicBezTo>
                  <a:pt x="8049389" y="2185331"/>
                  <a:pt x="8031680" y="2217258"/>
                  <a:pt x="8014595" y="2212681"/>
                </a:cubicBezTo>
                <a:cubicBezTo>
                  <a:pt x="8014595" y="2212681"/>
                  <a:pt x="8016887" y="2204126"/>
                  <a:pt x="8016887" y="2204126"/>
                </a:cubicBezTo>
                <a:cubicBezTo>
                  <a:pt x="7920631" y="2187503"/>
                  <a:pt x="7846040" y="2158348"/>
                  <a:pt x="7753740" y="2161121"/>
                </a:cubicBezTo>
                <a:cubicBezTo>
                  <a:pt x="7783326" y="2187382"/>
                  <a:pt x="7877917" y="2176058"/>
                  <a:pt x="7894378" y="2217139"/>
                </a:cubicBezTo>
                <a:cubicBezTo>
                  <a:pt x="7902920" y="2219427"/>
                  <a:pt x="7911463" y="2221716"/>
                  <a:pt x="7920004" y="2224005"/>
                </a:cubicBezTo>
                <a:cubicBezTo>
                  <a:pt x="7924588" y="2206900"/>
                  <a:pt x="7913755" y="2213162"/>
                  <a:pt x="7907503" y="2202321"/>
                </a:cubicBezTo>
                <a:cubicBezTo>
                  <a:pt x="7971885" y="2201236"/>
                  <a:pt x="8039597" y="2256050"/>
                  <a:pt x="8069806" y="2245811"/>
                </a:cubicBezTo>
                <a:cubicBezTo>
                  <a:pt x="8048139" y="2258338"/>
                  <a:pt x="8073767" y="2265205"/>
                  <a:pt x="8082308" y="2267494"/>
                </a:cubicBezTo>
                <a:cubicBezTo>
                  <a:pt x="8080016" y="2276048"/>
                  <a:pt x="8071475" y="2273759"/>
                  <a:pt x="8062931" y="2271470"/>
                </a:cubicBezTo>
                <a:cubicBezTo>
                  <a:pt x="8077724" y="2284602"/>
                  <a:pt x="8062931" y="2271470"/>
                  <a:pt x="8052098" y="2277736"/>
                </a:cubicBezTo>
                <a:cubicBezTo>
                  <a:pt x="8073139" y="2301710"/>
                  <a:pt x="8080016" y="2276048"/>
                  <a:pt x="8086267" y="2286891"/>
                </a:cubicBezTo>
                <a:cubicBezTo>
                  <a:pt x="8086267" y="2286891"/>
                  <a:pt x="8088559" y="2278337"/>
                  <a:pt x="8097100" y="2280626"/>
                </a:cubicBezTo>
                <a:cubicBezTo>
                  <a:pt x="8088559" y="2278337"/>
                  <a:pt x="8088559" y="2278337"/>
                  <a:pt x="8090851" y="2269783"/>
                </a:cubicBezTo>
                <a:cubicBezTo>
                  <a:pt x="8110228" y="2265807"/>
                  <a:pt x="8131270" y="2289782"/>
                  <a:pt x="8146689" y="2266411"/>
                </a:cubicBezTo>
                <a:cubicBezTo>
                  <a:pt x="8152939" y="2277252"/>
                  <a:pt x="8159191" y="2288095"/>
                  <a:pt x="8163774" y="2270989"/>
                </a:cubicBezTo>
                <a:cubicBezTo>
                  <a:pt x="8178567" y="2284118"/>
                  <a:pt x="8184817" y="2294961"/>
                  <a:pt x="8204193" y="2290985"/>
                </a:cubicBezTo>
                <a:cubicBezTo>
                  <a:pt x="8208153" y="2310382"/>
                  <a:pt x="8167732" y="2290383"/>
                  <a:pt x="8173983" y="2301226"/>
                </a:cubicBezTo>
                <a:cubicBezTo>
                  <a:pt x="8163148" y="2307491"/>
                  <a:pt x="8165440" y="2298937"/>
                  <a:pt x="8165440" y="2298937"/>
                </a:cubicBezTo>
                <a:cubicBezTo>
                  <a:pt x="8148355" y="2294359"/>
                  <a:pt x="8154606" y="2305203"/>
                  <a:pt x="8128978" y="2298336"/>
                </a:cubicBezTo>
                <a:cubicBezTo>
                  <a:pt x="8220653" y="2332068"/>
                  <a:pt x="8357329" y="2368690"/>
                  <a:pt x="8419419" y="2376159"/>
                </a:cubicBezTo>
                <a:cubicBezTo>
                  <a:pt x="8427960" y="2378447"/>
                  <a:pt x="8417127" y="2384713"/>
                  <a:pt x="8417127" y="2384713"/>
                </a:cubicBezTo>
                <a:cubicBezTo>
                  <a:pt x="8513384" y="2401337"/>
                  <a:pt x="8602767" y="2443623"/>
                  <a:pt x="8688188" y="2466512"/>
                </a:cubicBezTo>
                <a:cubicBezTo>
                  <a:pt x="8739442" y="2480245"/>
                  <a:pt x="8792988" y="2485425"/>
                  <a:pt x="8814033" y="2509400"/>
                </a:cubicBezTo>
                <a:cubicBezTo>
                  <a:pt x="8841951" y="2507713"/>
                  <a:pt x="8867579" y="2514579"/>
                  <a:pt x="8899457" y="2532289"/>
                </a:cubicBezTo>
                <a:cubicBezTo>
                  <a:pt x="8914247" y="2545421"/>
                  <a:pt x="8876120" y="2516868"/>
                  <a:pt x="8880080" y="2536266"/>
                </a:cubicBezTo>
                <a:cubicBezTo>
                  <a:pt x="8877788" y="2544820"/>
                  <a:pt x="8890913" y="2530000"/>
                  <a:pt x="8888621" y="2538554"/>
                </a:cubicBezTo>
                <a:cubicBezTo>
                  <a:pt x="8892581" y="2557951"/>
                  <a:pt x="8880080" y="2536266"/>
                  <a:pt x="8877788" y="2544820"/>
                </a:cubicBezTo>
                <a:cubicBezTo>
                  <a:pt x="8869244" y="2542530"/>
                  <a:pt x="8871536" y="2533976"/>
                  <a:pt x="8871536" y="2533976"/>
                </a:cubicBezTo>
                <a:cubicBezTo>
                  <a:pt x="8862995" y="2531688"/>
                  <a:pt x="8869244" y="2542530"/>
                  <a:pt x="8869244" y="2542530"/>
                </a:cubicBezTo>
                <a:cubicBezTo>
                  <a:pt x="8860703" y="2540242"/>
                  <a:pt x="8845911" y="2527110"/>
                  <a:pt x="8841327" y="2544218"/>
                </a:cubicBezTo>
                <a:cubicBezTo>
                  <a:pt x="8835075" y="2533375"/>
                  <a:pt x="8832783" y="2541929"/>
                  <a:pt x="8832783" y="2541929"/>
                </a:cubicBezTo>
                <a:cubicBezTo>
                  <a:pt x="8796322" y="2541324"/>
                  <a:pt x="8717774" y="2492776"/>
                  <a:pt x="8693813" y="2513857"/>
                </a:cubicBezTo>
                <a:cubicBezTo>
                  <a:pt x="8710898" y="2518435"/>
                  <a:pt x="8725691" y="2531567"/>
                  <a:pt x="8751319" y="2538434"/>
                </a:cubicBezTo>
                <a:cubicBezTo>
                  <a:pt x="8757568" y="2549277"/>
                  <a:pt x="8751319" y="2538434"/>
                  <a:pt x="8746735" y="2555542"/>
                </a:cubicBezTo>
                <a:cubicBezTo>
                  <a:pt x="8763820" y="2560120"/>
                  <a:pt x="8751319" y="2538434"/>
                  <a:pt x="8759860" y="2540723"/>
                </a:cubicBezTo>
                <a:cubicBezTo>
                  <a:pt x="8804866" y="2543614"/>
                  <a:pt x="8828200" y="2559034"/>
                  <a:pt x="8853828" y="2565901"/>
                </a:cubicBezTo>
                <a:cubicBezTo>
                  <a:pt x="8849243" y="2583009"/>
                  <a:pt x="8817366" y="2565299"/>
                  <a:pt x="8832159" y="2578432"/>
                </a:cubicBezTo>
                <a:cubicBezTo>
                  <a:pt x="8827575" y="2595540"/>
                  <a:pt x="8819658" y="2556745"/>
                  <a:pt x="8812782" y="2582408"/>
                </a:cubicBezTo>
                <a:cubicBezTo>
                  <a:pt x="8815074" y="2573854"/>
                  <a:pt x="8815074" y="2573854"/>
                  <a:pt x="8815074" y="2573854"/>
                </a:cubicBezTo>
                <a:cubicBezTo>
                  <a:pt x="8815074" y="2573854"/>
                  <a:pt x="8804238" y="2580118"/>
                  <a:pt x="8806530" y="2571564"/>
                </a:cubicBezTo>
                <a:cubicBezTo>
                  <a:pt x="8731315" y="2578915"/>
                  <a:pt x="8648811" y="2510967"/>
                  <a:pt x="8582139" y="2520607"/>
                </a:cubicBezTo>
                <a:cubicBezTo>
                  <a:pt x="8590053" y="2559400"/>
                  <a:pt x="8622557" y="2540605"/>
                  <a:pt x="8645891" y="2556026"/>
                </a:cubicBezTo>
                <a:cubicBezTo>
                  <a:pt x="8648183" y="2547472"/>
                  <a:pt x="8637351" y="2553737"/>
                  <a:pt x="8631099" y="2542894"/>
                </a:cubicBezTo>
                <a:cubicBezTo>
                  <a:pt x="8684645" y="2548073"/>
                  <a:pt x="8699438" y="2561205"/>
                  <a:pt x="8759236" y="2577228"/>
                </a:cubicBezTo>
                <a:cubicBezTo>
                  <a:pt x="8756944" y="2585782"/>
                  <a:pt x="8750692" y="2574939"/>
                  <a:pt x="8739858" y="2581204"/>
                </a:cubicBezTo>
                <a:cubicBezTo>
                  <a:pt x="8748400" y="2583493"/>
                  <a:pt x="8748400" y="2583493"/>
                  <a:pt x="8756944" y="2585782"/>
                </a:cubicBezTo>
                <a:cubicBezTo>
                  <a:pt x="8763820" y="2560120"/>
                  <a:pt x="8805906" y="2608070"/>
                  <a:pt x="8810490" y="2590962"/>
                </a:cubicBezTo>
                <a:cubicBezTo>
                  <a:pt x="8808198" y="2599516"/>
                  <a:pt x="8799654" y="2597226"/>
                  <a:pt x="8805906" y="2608070"/>
                </a:cubicBezTo>
                <a:lnTo>
                  <a:pt x="8704761" y="2581732"/>
                </a:lnTo>
                <a:lnTo>
                  <a:pt x="8704782" y="2581801"/>
                </a:lnTo>
                <a:lnTo>
                  <a:pt x="8704634" y="2581698"/>
                </a:lnTo>
                <a:lnTo>
                  <a:pt x="8653992" y="2568509"/>
                </a:lnTo>
                <a:cubicBezTo>
                  <a:pt x="8598180" y="2554701"/>
                  <a:pt x="8544218" y="2542533"/>
                  <a:pt x="8513173" y="2538800"/>
                </a:cubicBezTo>
                <a:cubicBezTo>
                  <a:pt x="8500048" y="2553617"/>
                  <a:pt x="8519426" y="2549641"/>
                  <a:pt x="8517133" y="2558195"/>
                </a:cubicBezTo>
                <a:cubicBezTo>
                  <a:pt x="8553595" y="2558797"/>
                  <a:pt x="8705063" y="2608551"/>
                  <a:pt x="8758609" y="2613730"/>
                </a:cubicBezTo>
                <a:cubicBezTo>
                  <a:pt x="8758609" y="2613730"/>
                  <a:pt x="8790487" y="2631440"/>
                  <a:pt x="8799030" y="2633729"/>
                </a:cubicBezTo>
                <a:cubicBezTo>
                  <a:pt x="8816115" y="2638307"/>
                  <a:pt x="8792779" y="2622886"/>
                  <a:pt x="8809864" y="2627464"/>
                </a:cubicBezTo>
                <a:cubicBezTo>
                  <a:pt x="8807572" y="2636018"/>
                  <a:pt x="8892995" y="2658907"/>
                  <a:pt x="8895288" y="2650353"/>
                </a:cubicBezTo>
                <a:cubicBezTo>
                  <a:pt x="8895288" y="2650353"/>
                  <a:pt x="8907788" y="2672039"/>
                  <a:pt x="8912372" y="2654931"/>
                </a:cubicBezTo>
                <a:cubicBezTo>
                  <a:pt x="8920914" y="2657220"/>
                  <a:pt x="8918621" y="2665774"/>
                  <a:pt x="8918621" y="2665774"/>
                </a:cubicBezTo>
                <a:cubicBezTo>
                  <a:pt x="8822364" y="2649150"/>
                  <a:pt x="8762569" y="2633128"/>
                  <a:pt x="8674853" y="2618792"/>
                </a:cubicBezTo>
                <a:cubicBezTo>
                  <a:pt x="8677145" y="2610238"/>
                  <a:pt x="8677145" y="2610238"/>
                  <a:pt x="8679437" y="2601684"/>
                </a:cubicBezTo>
                <a:cubicBezTo>
                  <a:pt x="8674853" y="2618792"/>
                  <a:pt x="8640683" y="2609637"/>
                  <a:pt x="8642975" y="2601083"/>
                </a:cubicBezTo>
                <a:lnTo>
                  <a:pt x="8632140" y="2607347"/>
                </a:lnTo>
                <a:lnTo>
                  <a:pt x="8633002" y="2604140"/>
                </a:lnTo>
                <a:cubicBezTo>
                  <a:pt x="8631723" y="2600362"/>
                  <a:pt x="8630161" y="2597649"/>
                  <a:pt x="8634432" y="2598793"/>
                </a:cubicBezTo>
                <a:lnTo>
                  <a:pt x="8632140" y="2607347"/>
                </a:lnTo>
                <a:lnTo>
                  <a:pt x="8629848" y="2615902"/>
                </a:lnTo>
                <a:cubicBezTo>
                  <a:pt x="8678810" y="2638189"/>
                  <a:pt x="8749441" y="2647946"/>
                  <a:pt x="8772778" y="2663368"/>
                </a:cubicBezTo>
                <a:cubicBezTo>
                  <a:pt x="8854242" y="2666859"/>
                  <a:pt x="8960707" y="2713723"/>
                  <a:pt x="9056966" y="2730348"/>
                </a:cubicBezTo>
                <a:cubicBezTo>
                  <a:pt x="9099677" y="2741792"/>
                  <a:pt x="9153224" y="2746971"/>
                  <a:pt x="9174266" y="2770946"/>
                </a:cubicBezTo>
                <a:cubicBezTo>
                  <a:pt x="9165724" y="2768657"/>
                  <a:pt x="9142390" y="2753237"/>
                  <a:pt x="9129262" y="2768056"/>
                </a:cubicBezTo>
                <a:cubicBezTo>
                  <a:pt x="9126970" y="2776610"/>
                  <a:pt x="9137806" y="2770345"/>
                  <a:pt x="9146348" y="2772634"/>
                </a:cubicBezTo>
                <a:cubicBezTo>
                  <a:pt x="9144056" y="2781188"/>
                  <a:pt x="9126970" y="2776610"/>
                  <a:pt x="9144056" y="2781188"/>
                </a:cubicBezTo>
                <a:cubicBezTo>
                  <a:pt x="9126970" y="2776610"/>
                  <a:pt x="9079676" y="2782273"/>
                  <a:pt x="9064884" y="2769142"/>
                </a:cubicBezTo>
                <a:cubicBezTo>
                  <a:pt x="9075092" y="2799379"/>
                  <a:pt x="9141764" y="2789742"/>
                  <a:pt x="9151972" y="2819979"/>
                </a:cubicBezTo>
                <a:cubicBezTo>
                  <a:pt x="9154265" y="2811425"/>
                  <a:pt x="9214060" y="2827447"/>
                  <a:pt x="9203226" y="2833712"/>
                </a:cubicBezTo>
                <a:cubicBezTo>
                  <a:pt x="9250521" y="2828051"/>
                  <a:pt x="9294900" y="2867444"/>
                  <a:pt x="9325113" y="2857203"/>
                </a:cubicBezTo>
                <a:cubicBezTo>
                  <a:pt x="9333653" y="2859492"/>
                  <a:pt x="9322821" y="2865758"/>
                  <a:pt x="9322821" y="2865758"/>
                </a:cubicBezTo>
                <a:cubicBezTo>
                  <a:pt x="9356989" y="2874913"/>
                  <a:pt x="9365531" y="2877202"/>
                  <a:pt x="9399701" y="2886358"/>
                </a:cubicBezTo>
                <a:cubicBezTo>
                  <a:pt x="9397408" y="2894912"/>
                  <a:pt x="9388867" y="2892623"/>
                  <a:pt x="9386575" y="2901177"/>
                </a:cubicBezTo>
                <a:cubicBezTo>
                  <a:pt x="9386575" y="2901177"/>
                  <a:pt x="9388867" y="2892623"/>
                  <a:pt x="9388867" y="2892623"/>
                </a:cubicBezTo>
                <a:cubicBezTo>
                  <a:pt x="9380323" y="2890334"/>
                  <a:pt x="9369490" y="2896599"/>
                  <a:pt x="9371782" y="2888045"/>
                </a:cubicBezTo>
                <a:cubicBezTo>
                  <a:pt x="9371782" y="2888045"/>
                  <a:pt x="9371782" y="2888045"/>
                  <a:pt x="9369490" y="2896599"/>
                </a:cubicBezTo>
                <a:cubicBezTo>
                  <a:pt x="9354697" y="2883467"/>
                  <a:pt x="9343862" y="2889732"/>
                  <a:pt x="9326777" y="2885154"/>
                </a:cubicBezTo>
                <a:cubicBezTo>
                  <a:pt x="9326777" y="2885154"/>
                  <a:pt x="9324485" y="2893708"/>
                  <a:pt x="9324485" y="2893708"/>
                </a:cubicBezTo>
                <a:cubicBezTo>
                  <a:pt x="9307400" y="2889130"/>
                  <a:pt x="9270939" y="2888529"/>
                  <a:pt x="9258438" y="2866843"/>
                </a:cubicBezTo>
                <a:cubicBezTo>
                  <a:pt x="9249897" y="2864554"/>
                  <a:pt x="9256146" y="2875397"/>
                  <a:pt x="9253854" y="2883951"/>
                </a:cubicBezTo>
                <a:cubicBezTo>
                  <a:pt x="9245313" y="2881662"/>
                  <a:pt x="9247605" y="2873108"/>
                  <a:pt x="9241354" y="2862265"/>
                </a:cubicBezTo>
                <a:cubicBezTo>
                  <a:pt x="9232812" y="2859976"/>
                  <a:pt x="9204892" y="2861663"/>
                  <a:pt x="9192391" y="2839977"/>
                </a:cubicBezTo>
                <a:cubicBezTo>
                  <a:pt x="9170722" y="2852508"/>
                  <a:pt x="9170722" y="2852508"/>
                  <a:pt x="9145096" y="2845641"/>
                </a:cubicBezTo>
                <a:cubicBezTo>
                  <a:pt x="9149054" y="2865038"/>
                  <a:pt x="9179266" y="2854797"/>
                  <a:pt x="9196350" y="2859375"/>
                </a:cubicBezTo>
                <a:cubicBezTo>
                  <a:pt x="9176974" y="2863351"/>
                  <a:pt x="9239062" y="2870819"/>
                  <a:pt x="9230520" y="2868530"/>
                </a:cubicBezTo>
                <a:cubicBezTo>
                  <a:pt x="9239062" y="2870819"/>
                  <a:pt x="9239062" y="2870819"/>
                  <a:pt x="9245313" y="2881662"/>
                </a:cubicBezTo>
                <a:cubicBezTo>
                  <a:pt x="9200308" y="2878771"/>
                  <a:pt x="9168430" y="2861062"/>
                  <a:pt x="9117178" y="2847329"/>
                </a:cubicBezTo>
                <a:cubicBezTo>
                  <a:pt x="9117178" y="2847329"/>
                  <a:pt x="9119470" y="2838775"/>
                  <a:pt x="9119470" y="2838775"/>
                </a:cubicBezTo>
                <a:cubicBezTo>
                  <a:pt x="9117178" y="2847329"/>
                  <a:pt x="9089258" y="2849016"/>
                  <a:pt x="9093842" y="2831908"/>
                </a:cubicBezTo>
                <a:cubicBezTo>
                  <a:pt x="9080717" y="2846727"/>
                  <a:pt x="9051132" y="2820463"/>
                  <a:pt x="9046548" y="2837571"/>
                </a:cubicBezTo>
                <a:cubicBezTo>
                  <a:pt x="9046548" y="2837571"/>
                  <a:pt x="9048840" y="2829017"/>
                  <a:pt x="9048840" y="2829017"/>
                </a:cubicBezTo>
                <a:cubicBezTo>
                  <a:pt x="8993001" y="2832392"/>
                  <a:pt x="8991333" y="2804440"/>
                  <a:pt x="8944039" y="2810104"/>
                </a:cubicBezTo>
                <a:cubicBezTo>
                  <a:pt x="8946331" y="2801550"/>
                  <a:pt x="8954872" y="2803839"/>
                  <a:pt x="8948623" y="2792996"/>
                </a:cubicBezTo>
                <a:cubicBezTo>
                  <a:pt x="8935495" y="2807815"/>
                  <a:pt x="8914453" y="2783841"/>
                  <a:pt x="8899034" y="2807213"/>
                </a:cubicBezTo>
                <a:cubicBezTo>
                  <a:pt x="8895077" y="2787817"/>
                  <a:pt x="8864864" y="2798058"/>
                  <a:pt x="8860907" y="2778661"/>
                </a:cubicBezTo>
                <a:cubicBezTo>
                  <a:pt x="8850072" y="2784926"/>
                  <a:pt x="8850072" y="2784926"/>
                  <a:pt x="8847780" y="2793480"/>
                </a:cubicBezTo>
                <a:cubicBezTo>
                  <a:pt x="8819862" y="2795167"/>
                  <a:pt x="8785692" y="2786012"/>
                  <a:pt x="8747566" y="2757459"/>
                </a:cubicBezTo>
                <a:cubicBezTo>
                  <a:pt x="8766942" y="2753483"/>
                  <a:pt x="8781735" y="2766615"/>
                  <a:pt x="8801112" y="2762639"/>
                </a:cubicBezTo>
                <a:cubicBezTo>
                  <a:pt x="8798820" y="2771193"/>
                  <a:pt x="8798820" y="2771193"/>
                  <a:pt x="8790276" y="2768904"/>
                </a:cubicBezTo>
                <a:cubicBezTo>
                  <a:pt x="8796528" y="2779747"/>
                  <a:pt x="8798820" y="2771193"/>
                  <a:pt x="8807361" y="2773481"/>
                </a:cubicBezTo>
                <a:cubicBezTo>
                  <a:pt x="8818197" y="2767217"/>
                  <a:pt x="8801112" y="2762639"/>
                  <a:pt x="8803404" y="2754085"/>
                </a:cubicBezTo>
                <a:cubicBezTo>
                  <a:pt x="8781735" y="2766615"/>
                  <a:pt x="8754442" y="2731797"/>
                  <a:pt x="8707145" y="2737460"/>
                </a:cubicBezTo>
                <a:cubicBezTo>
                  <a:pt x="8679227" y="2739148"/>
                  <a:pt x="8681519" y="2730594"/>
                  <a:pt x="8664434" y="2726016"/>
                </a:cubicBezTo>
                <a:cubicBezTo>
                  <a:pt x="8662142" y="2734570"/>
                  <a:pt x="8662142" y="2734570"/>
                  <a:pt x="8662142" y="2734570"/>
                </a:cubicBezTo>
                <a:cubicBezTo>
                  <a:pt x="8645057" y="2729992"/>
                  <a:pt x="8591511" y="2724813"/>
                  <a:pt x="8576718" y="2711681"/>
                </a:cubicBezTo>
                <a:cubicBezTo>
                  <a:pt x="8568174" y="2709392"/>
                  <a:pt x="8574426" y="2720235"/>
                  <a:pt x="8563590" y="2726500"/>
                </a:cubicBezTo>
                <a:cubicBezTo>
                  <a:pt x="8565882" y="2717946"/>
                  <a:pt x="8568174" y="2709392"/>
                  <a:pt x="8559633" y="2707103"/>
                </a:cubicBezTo>
                <a:cubicBezTo>
                  <a:pt x="8551090" y="2704814"/>
                  <a:pt x="8548798" y="2713368"/>
                  <a:pt x="8546506" y="2721922"/>
                </a:cubicBezTo>
                <a:cubicBezTo>
                  <a:pt x="8523172" y="2706501"/>
                  <a:pt x="8497546" y="2699635"/>
                  <a:pt x="8446292" y="2685901"/>
                </a:cubicBezTo>
                <a:cubicBezTo>
                  <a:pt x="8446292" y="2685901"/>
                  <a:pt x="8454832" y="2688190"/>
                  <a:pt x="8454832" y="2688190"/>
                </a:cubicBezTo>
                <a:cubicBezTo>
                  <a:pt x="8405871" y="2665902"/>
                  <a:pt x="8292529" y="2644701"/>
                  <a:pt x="8241274" y="2630967"/>
                </a:cubicBezTo>
                <a:cubicBezTo>
                  <a:pt x="8215649" y="2624101"/>
                  <a:pt x="8176895" y="2632053"/>
                  <a:pt x="8172936" y="2612656"/>
                </a:cubicBezTo>
                <a:cubicBezTo>
                  <a:pt x="8170644" y="2621210"/>
                  <a:pt x="8162102" y="2618921"/>
                  <a:pt x="8151267" y="2625186"/>
                </a:cubicBezTo>
                <a:cubicBezTo>
                  <a:pt x="8189397" y="2653737"/>
                  <a:pt x="8247524" y="2641810"/>
                  <a:pt x="8268569" y="2665783"/>
                </a:cubicBezTo>
                <a:cubicBezTo>
                  <a:pt x="8268569" y="2665783"/>
                  <a:pt x="8279401" y="2659520"/>
                  <a:pt x="8273152" y="2648677"/>
                </a:cubicBezTo>
                <a:cubicBezTo>
                  <a:pt x="8283361" y="2678914"/>
                  <a:pt x="8322114" y="2670965"/>
                  <a:pt x="8328364" y="2681805"/>
                </a:cubicBezTo>
                <a:cubicBezTo>
                  <a:pt x="8315239" y="2696624"/>
                  <a:pt x="8274818" y="2676625"/>
                  <a:pt x="8249192" y="2669759"/>
                </a:cubicBezTo>
                <a:cubicBezTo>
                  <a:pt x="8249192" y="2669759"/>
                  <a:pt x="8251484" y="2661205"/>
                  <a:pt x="8251484" y="2661205"/>
                </a:cubicBezTo>
                <a:cubicBezTo>
                  <a:pt x="8229815" y="2673735"/>
                  <a:pt x="8225858" y="2654338"/>
                  <a:pt x="8191689" y="2645183"/>
                </a:cubicBezTo>
                <a:cubicBezTo>
                  <a:pt x="8187105" y="2662291"/>
                  <a:pt x="8189397" y="2653737"/>
                  <a:pt x="8187105" y="2662291"/>
                </a:cubicBezTo>
                <a:cubicBezTo>
                  <a:pt x="8178561" y="2660001"/>
                  <a:pt x="8183145" y="2642893"/>
                  <a:pt x="8178561" y="2660001"/>
                </a:cubicBezTo>
                <a:cubicBezTo>
                  <a:pt x="8170020" y="2657713"/>
                  <a:pt x="8172312" y="2649159"/>
                  <a:pt x="8172312" y="2649159"/>
                </a:cubicBezTo>
                <a:cubicBezTo>
                  <a:pt x="8142099" y="2659400"/>
                  <a:pt x="8106265" y="2622293"/>
                  <a:pt x="8069803" y="2621692"/>
                </a:cubicBezTo>
                <a:cubicBezTo>
                  <a:pt x="8067511" y="2630246"/>
                  <a:pt x="8067511" y="2630246"/>
                  <a:pt x="8065219" y="2638800"/>
                </a:cubicBezTo>
                <a:cubicBezTo>
                  <a:pt x="8076053" y="2632534"/>
                  <a:pt x="8084596" y="2634824"/>
                  <a:pt x="8101681" y="2639401"/>
                </a:cubicBezTo>
                <a:cubicBezTo>
                  <a:pt x="8099389" y="2647956"/>
                  <a:pt x="8090845" y="2645666"/>
                  <a:pt x="8082304" y="2643378"/>
                </a:cubicBezTo>
                <a:cubicBezTo>
                  <a:pt x="8086261" y="2662774"/>
                  <a:pt x="8080012" y="2651932"/>
                  <a:pt x="8077720" y="2660486"/>
                </a:cubicBezTo>
                <a:cubicBezTo>
                  <a:pt x="8056051" y="2673016"/>
                  <a:pt x="8015630" y="2653017"/>
                  <a:pt x="7996253" y="2656993"/>
                </a:cubicBezTo>
                <a:cubicBezTo>
                  <a:pt x="7976877" y="2660969"/>
                  <a:pt x="7970628" y="2650127"/>
                  <a:pt x="7944999" y="2643260"/>
                </a:cubicBezTo>
                <a:cubicBezTo>
                  <a:pt x="7942707" y="2651814"/>
                  <a:pt x="7966044" y="2667232"/>
                  <a:pt x="7940416" y="2660365"/>
                </a:cubicBezTo>
                <a:cubicBezTo>
                  <a:pt x="7972293" y="2678075"/>
                  <a:pt x="8040632" y="2696386"/>
                  <a:pt x="8072510" y="2714096"/>
                </a:cubicBezTo>
                <a:cubicBezTo>
                  <a:pt x="8079907" y="2720664"/>
                  <a:pt x="8079334" y="2722801"/>
                  <a:pt x="8077693" y="2724653"/>
                </a:cubicBezTo>
                <a:lnTo>
                  <a:pt x="8076905" y="2730333"/>
                </a:lnTo>
                <a:lnTo>
                  <a:pt x="8048159" y="2711010"/>
                </a:lnTo>
                <a:cubicBezTo>
                  <a:pt x="8035634" y="2706509"/>
                  <a:pt x="8020112" y="2704641"/>
                  <a:pt x="7993337" y="2702050"/>
                </a:cubicBezTo>
                <a:cubicBezTo>
                  <a:pt x="7993337" y="2702050"/>
                  <a:pt x="7999587" y="2712893"/>
                  <a:pt x="8008130" y="2715182"/>
                </a:cubicBezTo>
                <a:cubicBezTo>
                  <a:pt x="7997294" y="2721447"/>
                  <a:pt x="7993337" y="2702050"/>
                  <a:pt x="7982502" y="2708315"/>
                </a:cubicBezTo>
                <a:cubicBezTo>
                  <a:pt x="7973961" y="2706026"/>
                  <a:pt x="7984794" y="2699761"/>
                  <a:pt x="7984794" y="2699761"/>
                </a:cubicBezTo>
                <a:cubicBezTo>
                  <a:pt x="7976253" y="2697472"/>
                  <a:pt x="7973961" y="2706026"/>
                  <a:pt x="7978545" y="2688918"/>
                </a:cubicBezTo>
                <a:cubicBezTo>
                  <a:pt x="7970001" y="2686629"/>
                  <a:pt x="7967709" y="2695183"/>
                  <a:pt x="7965417" y="2703737"/>
                </a:cubicBezTo>
                <a:cubicBezTo>
                  <a:pt x="7967709" y="2695183"/>
                  <a:pt x="7967709" y="2695183"/>
                  <a:pt x="7967709" y="2695183"/>
                </a:cubicBezTo>
                <a:cubicBezTo>
                  <a:pt x="7956876" y="2701449"/>
                  <a:pt x="7950624" y="2690605"/>
                  <a:pt x="7942083" y="2688316"/>
                </a:cubicBezTo>
                <a:cubicBezTo>
                  <a:pt x="7933540" y="2686027"/>
                  <a:pt x="7948332" y="2699159"/>
                  <a:pt x="7937499" y="2705425"/>
                </a:cubicBezTo>
                <a:cubicBezTo>
                  <a:pt x="7931248" y="2694581"/>
                  <a:pt x="7922707" y="2692293"/>
                  <a:pt x="7914163" y="2690004"/>
                </a:cubicBezTo>
                <a:cubicBezTo>
                  <a:pt x="7916455" y="2681449"/>
                  <a:pt x="7922707" y="2692293"/>
                  <a:pt x="7931248" y="2694581"/>
                </a:cubicBezTo>
                <a:cubicBezTo>
                  <a:pt x="7933540" y="2686027"/>
                  <a:pt x="7924999" y="2683739"/>
                  <a:pt x="7916455" y="2681449"/>
                </a:cubicBezTo>
                <a:cubicBezTo>
                  <a:pt x="7911871" y="2698558"/>
                  <a:pt x="7894786" y="2693980"/>
                  <a:pt x="7877704" y="2689403"/>
                </a:cubicBezTo>
                <a:cubicBezTo>
                  <a:pt x="7899370" y="2676871"/>
                  <a:pt x="7848119" y="2663139"/>
                  <a:pt x="7860619" y="2684825"/>
                </a:cubicBezTo>
                <a:cubicBezTo>
                  <a:pt x="7828742" y="2667115"/>
                  <a:pt x="7781444" y="2672778"/>
                  <a:pt x="7747275" y="2663622"/>
                </a:cubicBezTo>
                <a:cubicBezTo>
                  <a:pt x="7747275" y="2663622"/>
                  <a:pt x="7715397" y="2645913"/>
                  <a:pt x="7706857" y="2643624"/>
                </a:cubicBezTo>
                <a:cubicBezTo>
                  <a:pt x="7657894" y="2621337"/>
                  <a:pt x="7537676" y="2625797"/>
                  <a:pt x="7486422" y="2612063"/>
                </a:cubicBezTo>
                <a:cubicBezTo>
                  <a:pt x="7484130" y="2620617"/>
                  <a:pt x="7512048" y="2618930"/>
                  <a:pt x="7501215" y="2625195"/>
                </a:cubicBezTo>
                <a:cubicBezTo>
                  <a:pt x="7484130" y="2620617"/>
                  <a:pt x="7462462" y="2633145"/>
                  <a:pt x="7458501" y="2613750"/>
                </a:cubicBezTo>
                <a:cubicBezTo>
                  <a:pt x="7447669" y="2620013"/>
                  <a:pt x="7430585" y="2615435"/>
                  <a:pt x="7419749" y="2621700"/>
                </a:cubicBezTo>
                <a:cubicBezTo>
                  <a:pt x="7432876" y="2606884"/>
                  <a:pt x="7391831" y="2623388"/>
                  <a:pt x="7385579" y="2612544"/>
                </a:cubicBezTo>
                <a:cubicBezTo>
                  <a:pt x="7396415" y="2606280"/>
                  <a:pt x="7359953" y="2605678"/>
                  <a:pt x="7381622" y="2593150"/>
                </a:cubicBezTo>
                <a:cubicBezTo>
                  <a:pt x="7383914" y="2584596"/>
                  <a:pt x="7364537" y="2588572"/>
                  <a:pt x="7362245" y="2597124"/>
                </a:cubicBezTo>
                <a:cubicBezTo>
                  <a:pt x="7370787" y="2599413"/>
                  <a:pt x="7370787" y="2599413"/>
                  <a:pt x="7377038" y="2610256"/>
                </a:cubicBezTo>
                <a:cubicBezTo>
                  <a:pt x="7334325" y="2598811"/>
                  <a:pt x="7278487" y="2602185"/>
                  <a:pt x="7255153" y="2586765"/>
                </a:cubicBezTo>
                <a:cubicBezTo>
                  <a:pt x="7248904" y="2575922"/>
                  <a:pt x="7257445" y="2578211"/>
                  <a:pt x="7265989" y="2580500"/>
                </a:cubicBezTo>
                <a:cubicBezTo>
                  <a:pt x="7259737" y="2569657"/>
                  <a:pt x="7242652" y="2565079"/>
                  <a:pt x="7231819" y="2571344"/>
                </a:cubicBezTo>
                <a:cubicBezTo>
                  <a:pt x="7229527" y="2579898"/>
                  <a:pt x="7238068" y="2582187"/>
                  <a:pt x="7246612" y="2584476"/>
                </a:cubicBezTo>
                <a:cubicBezTo>
                  <a:pt x="7227235" y="2588452"/>
                  <a:pt x="7210150" y="2583875"/>
                  <a:pt x="7193066" y="2579297"/>
                </a:cubicBezTo>
                <a:cubicBezTo>
                  <a:pt x="7184522" y="2577008"/>
                  <a:pt x="7186814" y="2568454"/>
                  <a:pt x="7186814" y="2568454"/>
                </a:cubicBezTo>
                <a:lnTo>
                  <a:pt x="7186380" y="2568299"/>
                </a:lnTo>
                <a:lnTo>
                  <a:pt x="7170202" y="2578456"/>
                </a:lnTo>
                <a:cubicBezTo>
                  <a:pt x="7162361" y="2578927"/>
                  <a:pt x="7154776" y="2574323"/>
                  <a:pt x="7154519" y="2558823"/>
                </a:cubicBezTo>
                <a:cubicBezTo>
                  <a:pt x="7162746" y="2561027"/>
                  <a:pt x="7166218" y="2564529"/>
                  <a:pt x="7170009" y="2566831"/>
                </a:cubicBezTo>
                <a:lnTo>
                  <a:pt x="7184120" y="2567488"/>
                </a:lnTo>
                <a:lnTo>
                  <a:pt x="7149233" y="2554948"/>
                </a:lnTo>
                <a:cubicBezTo>
                  <a:pt x="7136132" y="2552582"/>
                  <a:pt x="7122748" y="2551287"/>
                  <a:pt x="7109934" y="2547854"/>
                </a:cubicBezTo>
                <a:cubicBezTo>
                  <a:pt x="7107642" y="2556408"/>
                  <a:pt x="7116183" y="2558696"/>
                  <a:pt x="7116183" y="2558696"/>
                </a:cubicBezTo>
                <a:cubicBezTo>
                  <a:pt x="7127018" y="2552431"/>
                  <a:pt x="7133268" y="2563274"/>
                  <a:pt x="7152644" y="2559298"/>
                </a:cubicBezTo>
                <a:cubicBezTo>
                  <a:pt x="7156604" y="2578695"/>
                  <a:pt x="7133268" y="2563274"/>
                  <a:pt x="7128683" y="2580382"/>
                </a:cubicBezTo>
                <a:cubicBezTo>
                  <a:pt x="7082013" y="2549540"/>
                  <a:pt x="7002214" y="2573999"/>
                  <a:pt x="6972629" y="2547736"/>
                </a:cubicBezTo>
                <a:cubicBezTo>
                  <a:pt x="6961795" y="2554001"/>
                  <a:pt x="6970337" y="2556290"/>
                  <a:pt x="6965753" y="2573395"/>
                </a:cubicBezTo>
                <a:cubicBezTo>
                  <a:pt x="6965753" y="2573395"/>
                  <a:pt x="6974297" y="2575684"/>
                  <a:pt x="6982838" y="2577973"/>
                </a:cubicBezTo>
                <a:cubicBezTo>
                  <a:pt x="6976588" y="2567133"/>
                  <a:pt x="6995965" y="2563157"/>
                  <a:pt x="7010758" y="2576289"/>
                </a:cubicBezTo>
                <a:cubicBezTo>
                  <a:pt x="7010758" y="2576289"/>
                  <a:pt x="7002214" y="2573999"/>
                  <a:pt x="6999923" y="2582551"/>
                </a:cubicBezTo>
                <a:cubicBezTo>
                  <a:pt x="7012737" y="2585985"/>
                  <a:pt x="7020290" y="2583425"/>
                  <a:pt x="7026488" y="2581648"/>
                </a:cubicBezTo>
                <a:lnTo>
                  <a:pt x="7029293" y="2581255"/>
                </a:lnTo>
                <a:lnTo>
                  <a:pt x="7044927" y="2585444"/>
                </a:lnTo>
                <a:cubicBezTo>
                  <a:pt x="7053468" y="2587733"/>
                  <a:pt x="7062012" y="2590022"/>
                  <a:pt x="7070553" y="2592311"/>
                </a:cubicBezTo>
                <a:cubicBezTo>
                  <a:pt x="7072845" y="2583757"/>
                  <a:pt x="7064304" y="2581468"/>
                  <a:pt x="7066596" y="2572914"/>
                </a:cubicBezTo>
                <a:cubicBezTo>
                  <a:pt x="7098473" y="2590624"/>
                  <a:pt x="7111599" y="2575804"/>
                  <a:pt x="7145768" y="2584960"/>
                </a:cubicBezTo>
                <a:cubicBezTo>
                  <a:pt x="7143476" y="2593514"/>
                  <a:pt x="7134935" y="2591226"/>
                  <a:pt x="7134935" y="2591226"/>
                </a:cubicBezTo>
                <a:cubicBezTo>
                  <a:pt x="7152020" y="2595803"/>
                  <a:pt x="7160561" y="2598092"/>
                  <a:pt x="7162853" y="2589538"/>
                </a:cubicBezTo>
                <a:cubicBezTo>
                  <a:pt x="7169105" y="2600381"/>
                  <a:pt x="7200982" y="2618091"/>
                  <a:pt x="7205566" y="2600983"/>
                </a:cubicBezTo>
                <a:cubicBezTo>
                  <a:pt x="7222651" y="2605561"/>
                  <a:pt x="7263069" y="2625559"/>
                  <a:pt x="7276195" y="2610740"/>
                </a:cubicBezTo>
                <a:cubicBezTo>
                  <a:pt x="7288695" y="2632425"/>
                  <a:pt x="7346826" y="2620497"/>
                  <a:pt x="7367870" y="2644472"/>
                </a:cubicBezTo>
                <a:cubicBezTo>
                  <a:pt x="7380995" y="2629652"/>
                  <a:pt x="7378703" y="2638207"/>
                  <a:pt x="7404332" y="2645074"/>
                </a:cubicBezTo>
                <a:cubicBezTo>
                  <a:pt x="7400372" y="2625676"/>
                  <a:pt x="7423708" y="2641097"/>
                  <a:pt x="7443085" y="2637121"/>
                </a:cubicBezTo>
                <a:cubicBezTo>
                  <a:pt x="7429957" y="2651940"/>
                  <a:pt x="7502880" y="2653143"/>
                  <a:pt x="7502880" y="2653143"/>
                </a:cubicBezTo>
                <a:cubicBezTo>
                  <a:pt x="7554135" y="2666877"/>
                  <a:pt x="7605389" y="2680610"/>
                  <a:pt x="7684561" y="2692656"/>
                </a:cubicBezTo>
                <a:cubicBezTo>
                  <a:pt x="7742691" y="2680730"/>
                  <a:pt x="7816655" y="2746387"/>
                  <a:pt x="7873120" y="2706511"/>
                </a:cubicBezTo>
                <a:cubicBezTo>
                  <a:pt x="7909579" y="2707112"/>
                  <a:pt x="7907287" y="2715666"/>
                  <a:pt x="7930623" y="2731087"/>
                </a:cubicBezTo>
                <a:cubicBezTo>
                  <a:pt x="7943748" y="2716267"/>
                  <a:pt x="7969376" y="2723134"/>
                  <a:pt x="7973334" y="2742531"/>
                </a:cubicBezTo>
                <a:cubicBezTo>
                  <a:pt x="8029172" y="2739156"/>
                  <a:pt x="8103762" y="2768311"/>
                  <a:pt x="8165850" y="2775779"/>
                </a:cubicBezTo>
                <a:cubicBezTo>
                  <a:pt x="8169809" y="2795177"/>
                  <a:pt x="8135640" y="2786021"/>
                  <a:pt x="8129388" y="2775178"/>
                </a:cubicBezTo>
                <a:cubicBezTo>
                  <a:pt x="8120847" y="2772889"/>
                  <a:pt x="8135640" y="2786021"/>
                  <a:pt x="8124804" y="2792286"/>
                </a:cubicBezTo>
                <a:cubicBezTo>
                  <a:pt x="8124804" y="2792286"/>
                  <a:pt x="8118555" y="2781443"/>
                  <a:pt x="8120847" y="2772889"/>
                </a:cubicBezTo>
                <a:cubicBezTo>
                  <a:pt x="8067301" y="2767709"/>
                  <a:pt x="8022296" y="2764818"/>
                  <a:pt x="7962500" y="2748796"/>
                </a:cubicBezTo>
                <a:cubicBezTo>
                  <a:pt x="7962500" y="2748796"/>
                  <a:pt x="7962500" y="2748796"/>
                  <a:pt x="7957917" y="2765902"/>
                </a:cubicBezTo>
                <a:cubicBezTo>
                  <a:pt x="7951665" y="2755059"/>
                  <a:pt x="7940833" y="2761324"/>
                  <a:pt x="7923748" y="2756746"/>
                </a:cubicBezTo>
                <a:cubicBezTo>
                  <a:pt x="7926040" y="2748192"/>
                  <a:pt x="7934581" y="2750481"/>
                  <a:pt x="7934581" y="2750481"/>
                </a:cubicBezTo>
                <a:cubicBezTo>
                  <a:pt x="7930623" y="2731087"/>
                  <a:pt x="7908955" y="2743614"/>
                  <a:pt x="7891870" y="2739037"/>
                </a:cubicBezTo>
                <a:cubicBezTo>
                  <a:pt x="7898119" y="2749879"/>
                  <a:pt x="7908955" y="2743614"/>
                  <a:pt x="7915204" y="2754457"/>
                </a:cubicBezTo>
                <a:lnTo>
                  <a:pt x="7878742" y="2753855"/>
                </a:lnTo>
                <a:lnTo>
                  <a:pt x="7883327" y="2736747"/>
                </a:lnTo>
                <a:cubicBezTo>
                  <a:pt x="7846867" y="2736146"/>
                  <a:pt x="7823531" y="2720725"/>
                  <a:pt x="7784778" y="2728678"/>
                </a:cubicBezTo>
                <a:cubicBezTo>
                  <a:pt x="7816655" y="2746387"/>
                  <a:pt x="7842283" y="2753254"/>
                  <a:pt x="7870201" y="2751567"/>
                </a:cubicBezTo>
                <a:lnTo>
                  <a:pt x="7878742" y="2753855"/>
                </a:lnTo>
                <a:lnTo>
                  <a:pt x="7931067" y="2767876"/>
                </a:lnTo>
                <a:cubicBezTo>
                  <a:pt x="7958906" y="2770752"/>
                  <a:pt x="7987816" y="2773913"/>
                  <a:pt x="7998336" y="2785900"/>
                </a:cubicBezTo>
                <a:cubicBezTo>
                  <a:pt x="8006879" y="2788189"/>
                  <a:pt x="8009171" y="2779635"/>
                  <a:pt x="8006879" y="2788189"/>
                </a:cubicBezTo>
                <a:cubicBezTo>
                  <a:pt x="8004587" y="2796743"/>
                  <a:pt x="7996044" y="2794454"/>
                  <a:pt x="7987502" y="2792166"/>
                </a:cubicBezTo>
                <a:cubicBezTo>
                  <a:pt x="7976667" y="2798431"/>
                  <a:pt x="7993752" y="2803008"/>
                  <a:pt x="8002295" y="2805298"/>
                </a:cubicBezTo>
                <a:cubicBezTo>
                  <a:pt x="8004587" y="2796743"/>
                  <a:pt x="8013128" y="2799032"/>
                  <a:pt x="8015421" y="2790478"/>
                </a:cubicBezTo>
                <a:cubicBezTo>
                  <a:pt x="8038757" y="2805899"/>
                  <a:pt x="8030213" y="2803610"/>
                  <a:pt x="8045006" y="2816742"/>
                </a:cubicBezTo>
                <a:cubicBezTo>
                  <a:pt x="8023964" y="2792767"/>
                  <a:pt x="8081467" y="2817343"/>
                  <a:pt x="8079175" y="2825898"/>
                </a:cubicBezTo>
                <a:cubicBezTo>
                  <a:pt x="8087719" y="2828187"/>
                  <a:pt x="8090011" y="2819633"/>
                  <a:pt x="8090011" y="2819633"/>
                </a:cubicBezTo>
                <a:cubicBezTo>
                  <a:pt x="8114490" y="2830777"/>
                  <a:pt x="8140692" y="2835504"/>
                  <a:pt x="8164755" y="2839660"/>
                </a:cubicBezTo>
                <a:lnTo>
                  <a:pt x="8201060" y="2849388"/>
                </a:lnTo>
                <a:lnTo>
                  <a:pt x="8223172" y="2873650"/>
                </a:lnTo>
                <a:cubicBezTo>
                  <a:pt x="8237052" y="2877369"/>
                  <a:pt x="8253147" y="2877098"/>
                  <a:pt x="8258564" y="2873965"/>
                </a:cubicBezTo>
                <a:cubicBezTo>
                  <a:pt x="8288149" y="2900228"/>
                  <a:pt x="8354823" y="2890589"/>
                  <a:pt x="8386701" y="2908299"/>
                </a:cubicBezTo>
                <a:cubicBezTo>
                  <a:pt x="8395241" y="2910587"/>
                  <a:pt x="8392949" y="2919141"/>
                  <a:pt x="8392949" y="2919141"/>
                </a:cubicBezTo>
                <a:cubicBezTo>
                  <a:pt x="8448788" y="2915767"/>
                  <a:pt x="8540460" y="2949499"/>
                  <a:pt x="8617343" y="2970099"/>
                </a:cubicBezTo>
                <a:cubicBezTo>
                  <a:pt x="8615051" y="2978653"/>
                  <a:pt x="8612759" y="2987207"/>
                  <a:pt x="8612759" y="2987207"/>
                </a:cubicBezTo>
                <a:cubicBezTo>
                  <a:pt x="8653178" y="3007206"/>
                  <a:pt x="8749438" y="3023830"/>
                  <a:pt x="8817774" y="3042141"/>
                </a:cubicBezTo>
                <a:cubicBezTo>
                  <a:pt x="8958411" y="3098161"/>
                  <a:pt x="9244893" y="3156587"/>
                  <a:pt x="9436782" y="3226340"/>
                </a:cubicBezTo>
                <a:cubicBezTo>
                  <a:pt x="9415113" y="3238868"/>
                  <a:pt x="9385527" y="3212606"/>
                  <a:pt x="9357611" y="3214292"/>
                </a:cubicBezTo>
                <a:cubicBezTo>
                  <a:pt x="9359902" y="3205740"/>
                  <a:pt x="9351359" y="3203451"/>
                  <a:pt x="9340525" y="3209714"/>
                </a:cubicBezTo>
                <a:cubicBezTo>
                  <a:pt x="9331982" y="3207424"/>
                  <a:pt x="9340525" y="3209714"/>
                  <a:pt x="9342817" y="3201162"/>
                </a:cubicBezTo>
                <a:cubicBezTo>
                  <a:pt x="9321149" y="3213690"/>
                  <a:pt x="9323441" y="3205136"/>
                  <a:pt x="9308647" y="3192006"/>
                </a:cubicBezTo>
                <a:cubicBezTo>
                  <a:pt x="9297812" y="3198269"/>
                  <a:pt x="9295520" y="3206823"/>
                  <a:pt x="9280728" y="3193691"/>
                </a:cubicBezTo>
                <a:cubicBezTo>
                  <a:pt x="9280728" y="3193691"/>
                  <a:pt x="9280728" y="3193691"/>
                  <a:pt x="9283019" y="3185139"/>
                </a:cubicBezTo>
                <a:cubicBezTo>
                  <a:pt x="9283019" y="3185139"/>
                  <a:pt x="9272186" y="3191402"/>
                  <a:pt x="9269894" y="3199956"/>
                </a:cubicBezTo>
                <a:cubicBezTo>
                  <a:pt x="9261351" y="3197667"/>
                  <a:pt x="9265934" y="3180561"/>
                  <a:pt x="9255102" y="3186824"/>
                </a:cubicBezTo>
                <a:cubicBezTo>
                  <a:pt x="9259685" y="3169719"/>
                  <a:pt x="9255102" y="3186824"/>
                  <a:pt x="9248850" y="3175984"/>
                </a:cubicBezTo>
                <a:cubicBezTo>
                  <a:pt x="9240309" y="3173695"/>
                  <a:pt x="9238018" y="3182247"/>
                  <a:pt x="9229473" y="3179957"/>
                </a:cubicBezTo>
                <a:cubicBezTo>
                  <a:pt x="9223224" y="3169117"/>
                  <a:pt x="9227181" y="3188511"/>
                  <a:pt x="9210097" y="3183933"/>
                </a:cubicBezTo>
                <a:cubicBezTo>
                  <a:pt x="9220932" y="3177669"/>
                  <a:pt x="9220932" y="3177669"/>
                  <a:pt x="9220932" y="3177669"/>
                </a:cubicBezTo>
                <a:cubicBezTo>
                  <a:pt x="9210097" y="3183933"/>
                  <a:pt x="9197596" y="3162250"/>
                  <a:pt x="9193012" y="3179356"/>
                </a:cubicBezTo>
                <a:cubicBezTo>
                  <a:pt x="9186763" y="3168513"/>
                  <a:pt x="9186763" y="3168513"/>
                  <a:pt x="9180510" y="3157672"/>
                </a:cubicBezTo>
                <a:cubicBezTo>
                  <a:pt x="9171970" y="3155384"/>
                  <a:pt x="9158843" y="3170200"/>
                  <a:pt x="9163426" y="3153094"/>
                </a:cubicBezTo>
                <a:cubicBezTo>
                  <a:pt x="9163426" y="3153094"/>
                  <a:pt x="9163426" y="3153094"/>
                  <a:pt x="9161135" y="3161646"/>
                </a:cubicBezTo>
                <a:cubicBezTo>
                  <a:pt x="9152593" y="3159357"/>
                  <a:pt x="9154884" y="3150806"/>
                  <a:pt x="9146341" y="3148516"/>
                </a:cubicBezTo>
                <a:cubicBezTo>
                  <a:pt x="9137800" y="3146228"/>
                  <a:pt x="9146341" y="3148516"/>
                  <a:pt x="9144049" y="3157068"/>
                </a:cubicBezTo>
                <a:cubicBezTo>
                  <a:pt x="9123007" y="3133096"/>
                  <a:pt x="9090503" y="3151889"/>
                  <a:pt x="9078003" y="3130205"/>
                </a:cubicBezTo>
                <a:cubicBezTo>
                  <a:pt x="9069461" y="3127917"/>
                  <a:pt x="9075711" y="3138757"/>
                  <a:pt x="9075711" y="3138757"/>
                </a:cubicBezTo>
                <a:cubicBezTo>
                  <a:pt x="9075711" y="3138757"/>
                  <a:pt x="9067169" y="3136468"/>
                  <a:pt x="9067169" y="3136468"/>
                </a:cubicBezTo>
                <a:cubicBezTo>
                  <a:pt x="9058629" y="3134180"/>
                  <a:pt x="9058629" y="3134180"/>
                  <a:pt x="9060920" y="3125628"/>
                </a:cubicBezTo>
                <a:cubicBezTo>
                  <a:pt x="9047793" y="3140444"/>
                  <a:pt x="9035291" y="3118761"/>
                  <a:pt x="9033000" y="3127312"/>
                </a:cubicBezTo>
                <a:cubicBezTo>
                  <a:pt x="9033000" y="3127312"/>
                  <a:pt x="9033000" y="3127312"/>
                  <a:pt x="9035291" y="3118761"/>
                </a:cubicBezTo>
                <a:cubicBezTo>
                  <a:pt x="9022167" y="3133578"/>
                  <a:pt x="9018207" y="3114183"/>
                  <a:pt x="9013623" y="3131289"/>
                </a:cubicBezTo>
                <a:cubicBezTo>
                  <a:pt x="9001122" y="3109605"/>
                  <a:pt x="8996538" y="3126711"/>
                  <a:pt x="8992581" y="3107317"/>
                </a:cubicBezTo>
                <a:cubicBezTo>
                  <a:pt x="8987997" y="3124422"/>
                  <a:pt x="8970913" y="3119844"/>
                  <a:pt x="8975497" y="3102739"/>
                </a:cubicBezTo>
                <a:cubicBezTo>
                  <a:pt x="8966953" y="3100450"/>
                  <a:pt x="8973205" y="3111290"/>
                  <a:pt x="8973205" y="3111290"/>
                </a:cubicBezTo>
                <a:cubicBezTo>
                  <a:pt x="8958411" y="3098161"/>
                  <a:pt x="8945284" y="3112977"/>
                  <a:pt x="8932783" y="3091294"/>
                </a:cubicBezTo>
                <a:cubicBezTo>
                  <a:pt x="8928200" y="3108399"/>
                  <a:pt x="8896322" y="3090690"/>
                  <a:pt x="8896322" y="3090690"/>
                </a:cubicBezTo>
                <a:cubicBezTo>
                  <a:pt x="8887781" y="3088401"/>
                  <a:pt x="8898614" y="3082138"/>
                  <a:pt x="8890072" y="3079849"/>
                </a:cubicBezTo>
                <a:cubicBezTo>
                  <a:pt x="8887781" y="3088401"/>
                  <a:pt x="8868404" y="3092377"/>
                  <a:pt x="8864444" y="3072982"/>
                </a:cubicBezTo>
                <a:cubicBezTo>
                  <a:pt x="8862153" y="3081534"/>
                  <a:pt x="8862153" y="3081534"/>
                  <a:pt x="8853612" y="3079246"/>
                </a:cubicBezTo>
                <a:cubicBezTo>
                  <a:pt x="8880904" y="3114063"/>
                  <a:pt x="8956120" y="3106712"/>
                  <a:pt x="8977162" y="3130687"/>
                </a:cubicBezTo>
                <a:cubicBezTo>
                  <a:pt x="8987997" y="3124422"/>
                  <a:pt x="9002790" y="3137554"/>
                  <a:pt x="9019875" y="3142132"/>
                </a:cubicBezTo>
                <a:cubicBezTo>
                  <a:pt x="9026124" y="3152974"/>
                  <a:pt x="8994246" y="3135265"/>
                  <a:pt x="9000498" y="3146108"/>
                </a:cubicBezTo>
                <a:cubicBezTo>
                  <a:pt x="8977162" y="3130687"/>
                  <a:pt x="8964037" y="3145506"/>
                  <a:pt x="8951536" y="3123820"/>
                </a:cubicBezTo>
                <a:cubicBezTo>
                  <a:pt x="8876320" y="3131171"/>
                  <a:pt x="8817150" y="3078644"/>
                  <a:pt x="8741935" y="3085994"/>
                </a:cubicBezTo>
                <a:cubicBezTo>
                  <a:pt x="8750479" y="3088284"/>
                  <a:pt x="8761311" y="3082018"/>
                  <a:pt x="8746519" y="3068886"/>
                </a:cubicBezTo>
                <a:cubicBezTo>
                  <a:pt x="8737978" y="3066598"/>
                  <a:pt x="8750479" y="3088284"/>
                  <a:pt x="8733394" y="3083706"/>
                </a:cubicBezTo>
                <a:cubicBezTo>
                  <a:pt x="8697557" y="3046599"/>
                  <a:pt x="8592132" y="3064191"/>
                  <a:pt x="8524417" y="3009374"/>
                </a:cubicBezTo>
                <a:cubicBezTo>
                  <a:pt x="8511292" y="3024194"/>
                  <a:pt x="8487955" y="3008773"/>
                  <a:pt x="8468579" y="3012749"/>
                </a:cubicBezTo>
                <a:cubicBezTo>
                  <a:pt x="8473163" y="2995641"/>
                  <a:pt x="8453788" y="2999618"/>
                  <a:pt x="8447537" y="2988774"/>
                </a:cubicBezTo>
                <a:cubicBezTo>
                  <a:pt x="8441288" y="2977932"/>
                  <a:pt x="8458373" y="2982510"/>
                  <a:pt x="8452121" y="2971666"/>
                </a:cubicBezTo>
                <a:cubicBezTo>
                  <a:pt x="8460665" y="2973956"/>
                  <a:pt x="8460665" y="2973956"/>
                  <a:pt x="8469206" y="2976244"/>
                </a:cubicBezTo>
                <a:cubicBezTo>
                  <a:pt x="8473790" y="2959139"/>
                  <a:pt x="8443580" y="2969378"/>
                  <a:pt x="8426495" y="2964800"/>
                </a:cubicBezTo>
                <a:cubicBezTo>
                  <a:pt x="8421911" y="2981908"/>
                  <a:pt x="8441288" y="2977932"/>
                  <a:pt x="8436704" y="2995040"/>
                </a:cubicBezTo>
                <a:cubicBezTo>
                  <a:pt x="8428161" y="2992751"/>
                  <a:pt x="8411075" y="2988173"/>
                  <a:pt x="8417327" y="2999016"/>
                </a:cubicBezTo>
                <a:cubicBezTo>
                  <a:pt x="8374614" y="2987571"/>
                  <a:pt x="8284606" y="2981790"/>
                  <a:pt x="8257313" y="2946972"/>
                </a:cubicBezTo>
                <a:cubicBezTo>
                  <a:pt x="8246480" y="2953238"/>
                  <a:pt x="8246480" y="2953238"/>
                  <a:pt x="8237936" y="2950948"/>
                </a:cubicBezTo>
                <a:cubicBezTo>
                  <a:pt x="8223143" y="2937816"/>
                  <a:pt x="8175848" y="2943480"/>
                  <a:pt x="8150223" y="2936614"/>
                </a:cubicBezTo>
                <a:cubicBezTo>
                  <a:pt x="8133138" y="2932036"/>
                  <a:pt x="8105218" y="2933723"/>
                  <a:pt x="8118345" y="2918904"/>
                </a:cubicBezTo>
                <a:cubicBezTo>
                  <a:pt x="8107510" y="2925169"/>
                  <a:pt x="8081884" y="2918302"/>
                  <a:pt x="8067091" y="2905170"/>
                </a:cubicBezTo>
                <a:cubicBezTo>
                  <a:pt x="8047714" y="2909147"/>
                  <a:pt x="8030630" y="2904569"/>
                  <a:pt x="8011253" y="2908545"/>
                </a:cubicBezTo>
                <a:cubicBezTo>
                  <a:pt x="7994168" y="2903967"/>
                  <a:pt x="7989584" y="2921075"/>
                  <a:pt x="7981040" y="2918786"/>
                </a:cubicBezTo>
                <a:cubicBezTo>
                  <a:pt x="7974791" y="2907943"/>
                  <a:pt x="7972499" y="2916497"/>
                  <a:pt x="7963956" y="2914208"/>
                </a:cubicBezTo>
                <a:cubicBezTo>
                  <a:pt x="7957707" y="2903366"/>
                  <a:pt x="7951455" y="2892522"/>
                  <a:pt x="7953747" y="2883968"/>
                </a:cubicBezTo>
                <a:cubicBezTo>
                  <a:pt x="7954893" y="2879692"/>
                  <a:pt x="7959163" y="2880837"/>
                  <a:pt x="7964504" y="2882268"/>
                </a:cubicBezTo>
                <a:lnTo>
                  <a:pt x="7977800" y="2882278"/>
                </a:lnTo>
                <a:lnTo>
                  <a:pt x="7975480" y="2886973"/>
                </a:lnTo>
                <a:lnTo>
                  <a:pt x="7971615" y="2889903"/>
                </a:lnTo>
                <a:cubicBezTo>
                  <a:pt x="7967553" y="2892250"/>
                  <a:pt x="7964269" y="2895956"/>
                  <a:pt x="7966248" y="2905654"/>
                </a:cubicBezTo>
                <a:lnTo>
                  <a:pt x="7975480" y="2886973"/>
                </a:lnTo>
                <a:lnTo>
                  <a:pt x="7981667" y="2882281"/>
                </a:lnTo>
                <a:lnTo>
                  <a:pt x="7977800" y="2882278"/>
                </a:lnTo>
                <a:lnTo>
                  <a:pt x="7986252" y="2865173"/>
                </a:lnTo>
                <a:cubicBezTo>
                  <a:pt x="7973124" y="2879992"/>
                  <a:pt x="7949790" y="2864572"/>
                  <a:pt x="7930413" y="2868548"/>
                </a:cubicBezTo>
                <a:cubicBezTo>
                  <a:pt x="7936662" y="2879390"/>
                  <a:pt x="7936662" y="2879390"/>
                  <a:pt x="7925829" y="2885656"/>
                </a:cubicBezTo>
                <a:cubicBezTo>
                  <a:pt x="7917285" y="2883367"/>
                  <a:pt x="7919577" y="2874812"/>
                  <a:pt x="7911037" y="2872524"/>
                </a:cubicBezTo>
                <a:cubicBezTo>
                  <a:pt x="7902493" y="2870235"/>
                  <a:pt x="7900200" y="2878789"/>
                  <a:pt x="7900200" y="2878789"/>
                </a:cubicBezTo>
                <a:cubicBezTo>
                  <a:pt x="7900200" y="2878789"/>
                  <a:pt x="7902493" y="2870235"/>
                  <a:pt x="7902493" y="2870235"/>
                </a:cubicBezTo>
                <a:cubicBezTo>
                  <a:pt x="7892805" y="2872223"/>
                  <a:pt x="7894368" y="2874934"/>
                  <a:pt x="7899134" y="2878503"/>
                </a:cubicBezTo>
                <a:lnTo>
                  <a:pt x="7914992" y="2891921"/>
                </a:lnTo>
                <a:lnTo>
                  <a:pt x="7909656" y="2890491"/>
                </a:lnTo>
                <a:cubicBezTo>
                  <a:pt x="7897910" y="2887343"/>
                  <a:pt x="7880826" y="2882765"/>
                  <a:pt x="7872283" y="2880476"/>
                </a:cubicBezTo>
                <a:cubicBezTo>
                  <a:pt x="7874575" y="2871922"/>
                  <a:pt x="7868323" y="2861079"/>
                  <a:pt x="7851239" y="2856501"/>
                </a:cubicBezTo>
                <a:cubicBezTo>
                  <a:pt x="7848947" y="2865055"/>
                  <a:pt x="7838113" y="2871321"/>
                  <a:pt x="7827280" y="2877586"/>
                </a:cubicBezTo>
                <a:cubicBezTo>
                  <a:pt x="7824988" y="2886140"/>
                  <a:pt x="7844362" y="2882163"/>
                  <a:pt x="7835821" y="2879875"/>
                </a:cubicBezTo>
                <a:cubicBezTo>
                  <a:pt x="7838113" y="2871321"/>
                  <a:pt x="7850614" y="2893007"/>
                  <a:pt x="7839779" y="2899269"/>
                </a:cubicBezTo>
                <a:cubicBezTo>
                  <a:pt x="7850614" y="2893007"/>
                  <a:pt x="7850614" y="2893007"/>
                  <a:pt x="7859155" y="2895295"/>
                </a:cubicBezTo>
                <a:cubicBezTo>
                  <a:pt x="7865407" y="2906136"/>
                  <a:pt x="7846031" y="2910112"/>
                  <a:pt x="7863115" y="2914690"/>
                </a:cubicBezTo>
                <a:cubicBezTo>
                  <a:pt x="7860823" y="2923244"/>
                  <a:pt x="7846031" y="2910112"/>
                  <a:pt x="7843739" y="2918666"/>
                </a:cubicBezTo>
                <a:cubicBezTo>
                  <a:pt x="7837487" y="2907823"/>
                  <a:pt x="7826654" y="2914088"/>
                  <a:pt x="7820405" y="2903246"/>
                </a:cubicBezTo>
                <a:cubicBezTo>
                  <a:pt x="7822697" y="2894692"/>
                  <a:pt x="7822697" y="2894692"/>
                  <a:pt x="7831238" y="2896980"/>
                </a:cubicBezTo>
                <a:cubicBezTo>
                  <a:pt x="7829572" y="2869032"/>
                  <a:pt x="7807903" y="2881562"/>
                  <a:pt x="7790819" y="2876985"/>
                </a:cubicBezTo>
                <a:cubicBezTo>
                  <a:pt x="7784567" y="2866141"/>
                  <a:pt x="7801652" y="2870719"/>
                  <a:pt x="7810195" y="2873008"/>
                </a:cubicBezTo>
                <a:cubicBezTo>
                  <a:pt x="7795403" y="2859877"/>
                  <a:pt x="7797695" y="2851323"/>
                  <a:pt x="7817071" y="2847346"/>
                </a:cubicBezTo>
                <a:cubicBezTo>
                  <a:pt x="7799987" y="2842768"/>
                  <a:pt x="7797695" y="2851323"/>
                  <a:pt x="7780610" y="2846745"/>
                </a:cubicBezTo>
                <a:cubicBezTo>
                  <a:pt x="7786859" y="2857587"/>
                  <a:pt x="7776026" y="2863853"/>
                  <a:pt x="7784567" y="2866141"/>
                </a:cubicBezTo>
                <a:cubicBezTo>
                  <a:pt x="7765190" y="2870117"/>
                  <a:pt x="7748106" y="2865540"/>
                  <a:pt x="7733313" y="2852408"/>
                </a:cubicBezTo>
                <a:cubicBezTo>
                  <a:pt x="7741856" y="2854697"/>
                  <a:pt x="7750398" y="2856986"/>
                  <a:pt x="7752690" y="2848432"/>
                </a:cubicBezTo>
                <a:cubicBezTo>
                  <a:pt x="7754982" y="2839878"/>
                  <a:pt x="7733313" y="2852408"/>
                  <a:pt x="7724772" y="2850119"/>
                </a:cubicBezTo>
                <a:cubicBezTo>
                  <a:pt x="7711645" y="2864935"/>
                  <a:pt x="7718520" y="2839276"/>
                  <a:pt x="7707687" y="2845541"/>
                </a:cubicBezTo>
                <a:cubicBezTo>
                  <a:pt x="7699143" y="2843252"/>
                  <a:pt x="7707687" y="2845541"/>
                  <a:pt x="7709979" y="2836987"/>
                </a:cubicBezTo>
                <a:cubicBezTo>
                  <a:pt x="7709979" y="2836987"/>
                  <a:pt x="7701435" y="2834698"/>
                  <a:pt x="7699143" y="2843252"/>
                </a:cubicBezTo>
                <a:cubicBezTo>
                  <a:pt x="7694560" y="2860358"/>
                  <a:pt x="7720188" y="2867225"/>
                  <a:pt x="7745814" y="2874091"/>
                </a:cubicBezTo>
                <a:cubicBezTo>
                  <a:pt x="7734981" y="2880357"/>
                  <a:pt x="7734981" y="2880357"/>
                  <a:pt x="7741230" y="2891199"/>
                </a:cubicBezTo>
                <a:cubicBezTo>
                  <a:pt x="7724145" y="2886621"/>
                  <a:pt x="7724145" y="2886621"/>
                  <a:pt x="7726437" y="2878067"/>
                </a:cubicBezTo>
                <a:cubicBezTo>
                  <a:pt x="7717896" y="2875779"/>
                  <a:pt x="7720188" y="2867225"/>
                  <a:pt x="7700811" y="2871201"/>
                </a:cubicBezTo>
                <a:cubicBezTo>
                  <a:pt x="7720188" y="2867225"/>
                  <a:pt x="7692268" y="2868912"/>
                  <a:pt x="7696851" y="2851806"/>
                </a:cubicBezTo>
                <a:cubicBezTo>
                  <a:pt x="7686019" y="2858069"/>
                  <a:pt x="7677475" y="2855780"/>
                  <a:pt x="7675183" y="2864334"/>
                </a:cubicBezTo>
                <a:cubicBezTo>
                  <a:pt x="7681435" y="2875177"/>
                  <a:pt x="7687684" y="2886020"/>
                  <a:pt x="7683100" y="2903128"/>
                </a:cubicBezTo>
                <a:cubicBezTo>
                  <a:pt x="7674558" y="2900839"/>
                  <a:pt x="7679143" y="2883731"/>
                  <a:pt x="7676850" y="2892285"/>
                </a:cubicBezTo>
                <a:cubicBezTo>
                  <a:pt x="7659766" y="2887707"/>
                  <a:pt x="7670599" y="2881442"/>
                  <a:pt x="7670599" y="2881442"/>
                </a:cubicBezTo>
                <a:cubicBezTo>
                  <a:pt x="7653514" y="2876864"/>
                  <a:pt x="7653514" y="2876864"/>
                  <a:pt x="7644973" y="2874575"/>
                </a:cubicBezTo>
                <a:cubicBezTo>
                  <a:pt x="7675183" y="2864334"/>
                  <a:pt x="7641013" y="2855178"/>
                  <a:pt x="7645597" y="2838072"/>
                </a:cubicBezTo>
                <a:cubicBezTo>
                  <a:pt x="7628512" y="2833495"/>
                  <a:pt x="7619971" y="2831206"/>
                  <a:pt x="7617680" y="2839758"/>
                </a:cubicBezTo>
                <a:lnTo>
                  <a:pt x="7621220" y="2826544"/>
                </a:lnTo>
                <a:lnTo>
                  <a:pt x="7613503" y="2825287"/>
                </a:lnTo>
                <a:lnTo>
                  <a:pt x="7609464" y="2823827"/>
                </a:lnTo>
                <a:lnTo>
                  <a:pt x="7599970" y="2824700"/>
                </a:lnTo>
                <a:cubicBezTo>
                  <a:pt x="7593772" y="2826477"/>
                  <a:pt x="7588926" y="2827470"/>
                  <a:pt x="7585802" y="2822050"/>
                </a:cubicBezTo>
                <a:cubicBezTo>
                  <a:pt x="7583510" y="2830602"/>
                  <a:pt x="7592051" y="2832890"/>
                  <a:pt x="7589759" y="2841444"/>
                </a:cubicBezTo>
                <a:cubicBezTo>
                  <a:pt x="7574967" y="2828313"/>
                  <a:pt x="7525380" y="2842530"/>
                  <a:pt x="7523715" y="2814580"/>
                </a:cubicBezTo>
                <a:cubicBezTo>
                  <a:pt x="7543088" y="2810605"/>
                  <a:pt x="7538505" y="2827711"/>
                  <a:pt x="7555590" y="2832289"/>
                </a:cubicBezTo>
                <a:cubicBezTo>
                  <a:pt x="7560173" y="2815183"/>
                  <a:pt x="7551632" y="2812895"/>
                  <a:pt x="7553924" y="2804341"/>
                </a:cubicBezTo>
                <a:cubicBezTo>
                  <a:pt x="7556216" y="2795787"/>
                  <a:pt x="7545380" y="2802051"/>
                  <a:pt x="7539131" y="2791209"/>
                </a:cubicBezTo>
                <a:cubicBezTo>
                  <a:pt x="7536839" y="2799763"/>
                  <a:pt x="7536839" y="2799763"/>
                  <a:pt x="7545380" y="2802051"/>
                </a:cubicBezTo>
                <a:cubicBezTo>
                  <a:pt x="7532256" y="2816868"/>
                  <a:pt x="7528298" y="2797474"/>
                  <a:pt x="7519755" y="2795185"/>
                </a:cubicBezTo>
                <a:cubicBezTo>
                  <a:pt x="7519755" y="2795185"/>
                  <a:pt x="7511214" y="2792896"/>
                  <a:pt x="7511214" y="2792896"/>
                </a:cubicBezTo>
                <a:cubicBezTo>
                  <a:pt x="7508922" y="2801450"/>
                  <a:pt x="7517463" y="2803739"/>
                  <a:pt x="7526006" y="2806028"/>
                </a:cubicBezTo>
                <a:cubicBezTo>
                  <a:pt x="7495795" y="2816267"/>
                  <a:pt x="7502046" y="2827110"/>
                  <a:pt x="7480377" y="2839640"/>
                </a:cubicBezTo>
                <a:cubicBezTo>
                  <a:pt x="7482669" y="2831086"/>
                  <a:pt x="7467877" y="2817954"/>
                  <a:pt x="7439956" y="2819641"/>
                </a:cubicBezTo>
                <a:cubicBezTo>
                  <a:pt x="7437664" y="2828195"/>
                  <a:pt x="7446208" y="2830484"/>
                  <a:pt x="7429123" y="2825906"/>
                </a:cubicBezTo>
                <a:cubicBezTo>
                  <a:pt x="7441624" y="2847593"/>
                  <a:pt x="7457041" y="2824219"/>
                  <a:pt x="7471834" y="2837351"/>
                </a:cubicBezTo>
                <a:cubicBezTo>
                  <a:pt x="7469542" y="2845905"/>
                  <a:pt x="7461000" y="2843616"/>
                  <a:pt x="7456416" y="2860724"/>
                </a:cubicBezTo>
                <a:cubicBezTo>
                  <a:pt x="7454749" y="2832773"/>
                  <a:pt x="7415995" y="2840725"/>
                  <a:pt x="7388078" y="2842413"/>
                </a:cubicBezTo>
                <a:cubicBezTo>
                  <a:pt x="7400578" y="2864096"/>
                  <a:pt x="7383494" y="2859518"/>
                  <a:pt x="7387451" y="2878915"/>
                </a:cubicBezTo>
                <a:cubicBezTo>
                  <a:pt x="7370366" y="2874337"/>
                  <a:pt x="7350990" y="2878314"/>
                  <a:pt x="7355574" y="2861206"/>
                </a:cubicBezTo>
                <a:cubicBezTo>
                  <a:pt x="7353282" y="2869760"/>
                  <a:pt x="7370366" y="2874337"/>
                  <a:pt x="7370366" y="2874337"/>
                </a:cubicBezTo>
                <a:cubicBezTo>
                  <a:pt x="7364117" y="2863495"/>
                  <a:pt x="7374950" y="2857229"/>
                  <a:pt x="7377241" y="2848678"/>
                </a:cubicBezTo>
                <a:cubicBezTo>
                  <a:pt x="7345364" y="2830968"/>
                  <a:pt x="7337448" y="2792174"/>
                  <a:pt x="7307238" y="2802416"/>
                </a:cubicBezTo>
                <a:cubicBezTo>
                  <a:pt x="7304946" y="2810970"/>
                  <a:pt x="7313487" y="2813258"/>
                  <a:pt x="7319738" y="2824102"/>
                </a:cubicBezTo>
                <a:cubicBezTo>
                  <a:pt x="7311195" y="2821812"/>
                  <a:pt x="7298070" y="2836629"/>
                  <a:pt x="7280985" y="2832051"/>
                </a:cubicBezTo>
                <a:lnTo>
                  <a:pt x="7281059" y="2827872"/>
                </a:lnTo>
                <a:lnTo>
                  <a:pt x="7272293" y="2835085"/>
                </a:lnTo>
                <a:cubicBezTo>
                  <a:pt x="7268620" y="2838512"/>
                  <a:pt x="7265498" y="2839878"/>
                  <a:pt x="7261457" y="2834387"/>
                </a:cubicBezTo>
                <a:lnTo>
                  <a:pt x="7281093" y="2825784"/>
                </a:lnTo>
                <a:lnTo>
                  <a:pt x="7281377" y="2809237"/>
                </a:lnTo>
                <a:cubicBezTo>
                  <a:pt x="7282028" y="2802538"/>
                  <a:pt x="7281612" y="2795549"/>
                  <a:pt x="7275360" y="2784706"/>
                </a:cubicBezTo>
                <a:cubicBezTo>
                  <a:pt x="7266816" y="2782417"/>
                  <a:pt x="7262232" y="2799525"/>
                  <a:pt x="7262232" y="2799525"/>
                </a:cubicBezTo>
                <a:cubicBezTo>
                  <a:pt x="7247440" y="2786393"/>
                  <a:pt x="7241191" y="2775550"/>
                  <a:pt x="7215565" y="2768684"/>
                </a:cubicBezTo>
                <a:cubicBezTo>
                  <a:pt x="7210981" y="2785792"/>
                  <a:pt x="7221814" y="2779526"/>
                  <a:pt x="7230355" y="2781815"/>
                </a:cubicBezTo>
                <a:cubicBezTo>
                  <a:pt x="7228063" y="2790369"/>
                  <a:pt x="7157434" y="2780612"/>
                  <a:pt x="7175144" y="2748685"/>
                </a:cubicBezTo>
                <a:cubicBezTo>
                  <a:pt x="7194521" y="2744709"/>
                  <a:pt x="7209313" y="2757841"/>
                  <a:pt x="7217857" y="2760130"/>
                </a:cubicBezTo>
                <a:cubicBezTo>
                  <a:pt x="7222441" y="2743022"/>
                  <a:pt x="7200772" y="2755552"/>
                  <a:pt x="7205356" y="2738444"/>
                </a:cubicBezTo>
                <a:cubicBezTo>
                  <a:pt x="7200772" y="2755552"/>
                  <a:pt x="7179728" y="2731577"/>
                  <a:pt x="7166602" y="2746396"/>
                </a:cubicBezTo>
                <a:cubicBezTo>
                  <a:pt x="7164310" y="2754950"/>
                  <a:pt x="7164310" y="2754950"/>
                  <a:pt x="7172852" y="2757239"/>
                </a:cubicBezTo>
                <a:cubicBezTo>
                  <a:pt x="7168267" y="2774347"/>
                  <a:pt x="7127849" y="2754349"/>
                  <a:pt x="7138682" y="2748083"/>
                </a:cubicBezTo>
                <a:cubicBezTo>
                  <a:pt x="7132433" y="2737241"/>
                  <a:pt x="7123265" y="2771457"/>
                  <a:pt x="7123265" y="2771457"/>
                </a:cubicBezTo>
                <a:cubicBezTo>
                  <a:pt x="7112429" y="2777722"/>
                  <a:pt x="7101597" y="2783984"/>
                  <a:pt x="7084512" y="2779406"/>
                </a:cubicBezTo>
                <a:cubicBezTo>
                  <a:pt x="7086803" y="2770855"/>
                  <a:pt x="7095345" y="2773144"/>
                  <a:pt x="7089095" y="2762301"/>
                </a:cubicBezTo>
                <a:cubicBezTo>
                  <a:pt x="7072011" y="2757723"/>
                  <a:pt x="7086803" y="2770855"/>
                  <a:pt x="7075968" y="2777117"/>
                </a:cubicBezTo>
                <a:cubicBezTo>
                  <a:pt x="7067427" y="2774829"/>
                  <a:pt x="7069719" y="2766277"/>
                  <a:pt x="7072011" y="2757723"/>
                </a:cubicBezTo>
                <a:cubicBezTo>
                  <a:pt x="7061175" y="2763988"/>
                  <a:pt x="7052634" y="2761699"/>
                  <a:pt x="7041799" y="2767962"/>
                </a:cubicBezTo>
                <a:cubicBezTo>
                  <a:pt x="7044090" y="2759410"/>
                  <a:pt x="7033258" y="2765673"/>
                  <a:pt x="7037841" y="2748568"/>
                </a:cubicBezTo>
                <a:cubicBezTo>
                  <a:pt x="7020756" y="2743990"/>
                  <a:pt x="7009921" y="2750254"/>
                  <a:pt x="7003672" y="2739412"/>
                </a:cubicBezTo>
                <a:cubicBezTo>
                  <a:pt x="7001380" y="2747966"/>
                  <a:pt x="7009921" y="2750254"/>
                  <a:pt x="7005337" y="2767360"/>
                </a:cubicBezTo>
                <a:cubicBezTo>
                  <a:pt x="6999089" y="2756517"/>
                  <a:pt x="6990544" y="2754228"/>
                  <a:pt x="6988252" y="2762782"/>
                </a:cubicBezTo>
                <a:cubicBezTo>
                  <a:pt x="6979712" y="2760494"/>
                  <a:pt x="6990544" y="2754228"/>
                  <a:pt x="6984295" y="2743388"/>
                </a:cubicBezTo>
                <a:cubicBezTo>
                  <a:pt x="6971168" y="2758204"/>
                  <a:pt x="6967210" y="2738810"/>
                  <a:pt x="6958667" y="2736521"/>
                </a:cubicBezTo>
                <a:cubicBezTo>
                  <a:pt x="6947834" y="2742784"/>
                  <a:pt x="6962627" y="2755916"/>
                  <a:pt x="6971168" y="2758204"/>
                </a:cubicBezTo>
                <a:cubicBezTo>
                  <a:pt x="6968876" y="2766758"/>
                  <a:pt x="6954083" y="2753627"/>
                  <a:pt x="6951791" y="2762181"/>
                </a:cubicBezTo>
                <a:cubicBezTo>
                  <a:pt x="6949499" y="2770735"/>
                  <a:pt x="6968876" y="2766758"/>
                  <a:pt x="6966584" y="2775312"/>
                </a:cubicBezTo>
                <a:cubicBezTo>
                  <a:pt x="6947207" y="2779289"/>
                  <a:pt x="6951167" y="2798686"/>
                  <a:pt x="6927830" y="2783265"/>
                </a:cubicBezTo>
                <a:cubicBezTo>
                  <a:pt x="6921581" y="2772422"/>
                  <a:pt x="6915329" y="2761579"/>
                  <a:pt x="6932414" y="2766157"/>
                </a:cubicBezTo>
                <a:cubicBezTo>
                  <a:pt x="6926165" y="2755314"/>
                  <a:pt x="6926165" y="2755314"/>
                  <a:pt x="6928457" y="2746760"/>
                </a:cubicBezTo>
                <a:cubicBezTo>
                  <a:pt x="6917622" y="2753025"/>
                  <a:pt x="6909080" y="2750736"/>
                  <a:pt x="6906788" y="2759290"/>
                </a:cubicBezTo>
                <a:cubicBezTo>
                  <a:pt x="6900539" y="2748448"/>
                  <a:pt x="6889703" y="2754712"/>
                  <a:pt x="6894288" y="2737604"/>
                </a:cubicBezTo>
                <a:cubicBezTo>
                  <a:pt x="6894288" y="2737604"/>
                  <a:pt x="6891996" y="2746158"/>
                  <a:pt x="6883455" y="2743870"/>
                </a:cubicBezTo>
                <a:cubicBezTo>
                  <a:pt x="6883455" y="2743870"/>
                  <a:pt x="6891996" y="2746158"/>
                  <a:pt x="6889703" y="2754712"/>
                </a:cubicBezTo>
                <a:cubicBezTo>
                  <a:pt x="6881163" y="2752424"/>
                  <a:pt x="6872619" y="2750134"/>
                  <a:pt x="6870327" y="2758688"/>
                </a:cubicBezTo>
                <a:cubicBezTo>
                  <a:pt x="6872619" y="2750134"/>
                  <a:pt x="6872619" y="2750134"/>
                  <a:pt x="6874911" y="2741581"/>
                </a:cubicBezTo>
                <a:cubicBezTo>
                  <a:pt x="6866370" y="2739292"/>
                  <a:pt x="6870327" y="2758688"/>
                  <a:pt x="6861786" y="2756400"/>
                </a:cubicBezTo>
                <a:cubicBezTo>
                  <a:pt x="6853242" y="2754111"/>
                  <a:pt x="6855534" y="2745557"/>
                  <a:pt x="6857826" y="2737003"/>
                </a:cubicBezTo>
                <a:cubicBezTo>
                  <a:pt x="6846993" y="2743268"/>
                  <a:pt x="6855534" y="2745557"/>
                  <a:pt x="6844701" y="2751822"/>
                </a:cubicBezTo>
                <a:cubicBezTo>
                  <a:pt x="6827616" y="2747244"/>
                  <a:pt x="6838450" y="2740979"/>
                  <a:pt x="6829908" y="2738690"/>
                </a:cubicBezTo>
                <a:cubicBezTo>
                  <a:pt x="6821365" y="2736401"/>
                  <a:pt x="6821365" y="2736401"/>
                  <a:pt x="6821365" y="2736401"/>
                </a:cubicBezTo>
                <a:cubicBezTo>
                  <a:pt x="6819073" y="2744955"/>
                  <a:pt x="6825324" y="2755798"/>
                  <a:pt x="6833865" y="2758087"/>
                </a:cubicBezTo>
                <a:cubicBezTo>
                  <a:pt x="6823032" y="2764352"/>
                  <a:pt x="6816781" y="2753509"/>
                  <a:pt x="6812196" y="2770617"/>
                </a:cubicBezTo>
                <a:cubicBezTo>
                  <a:pt x="6805947" y="2759774"/>
                  <a:pt x="6816781" y="2753509"/>
                  <a:pt x="6808239" y="2751220"/>
                </a:cubicBezTo>
                <a:cubicBezTo>
                  <a:pt x="6791155" y="2746643"/>
                  <a:pt x="6816781" y="2753509"/>
                  <a:pt x="6805947" y="2759774"/>
                </a:cubicBezTo>
                <a:cubicBezTo>
                  <a:pt x="6805947" y="2759774"/>
                  <a:pt x="6791155" y="2746643"/>
                  <a:pt x="6795112" y="2766039"/>
                </a:cubicBezTo>
                <a:cubicBezTo>
                  <a:pt x="6782611" y="2744353"/>
                  <a:pt x="6775735" y="2770016"/>
                  <a:pt x="6765526" y="2739775"/>
                </a:cubicBezTo>
                <a:cubicBezTo>
                  <a:pt x="6763234" y="2748329"/>
                  <a:pt x="6760942" y="2756884"/>
                  <a:pt x="6758650" y="2765438"/>
                </a:cubicBezTo>
                <a:cubicBezTo>
                  <a:pt x="6739273" y="2769414"/>
                  <a:pt x="6763234" y="2748329"/>
                  <a:pt x="6743857" y="2752306"/>
                </a:cubicBezTo>
                <a:cubicBezTo>
                  <a:pt x="6746149" y="2743752"/>
                  <a:pt x="6754693" y="2746041"/>
                  <a:pt x="6754693" y="2746041"/>
                </a:cubicBezTo>
                <a:cubicBezTo>
                  <a:pt x="6761569" y="2720379"/>
                  <a:pt x="6731357" y="2730620"/>
                  <a:pt x="6729692" y="2702669"/>
                </a:cubicBezTo>
                <a:cubicBezTo>
                  <a:pt x="6725108" y="2719777"/>
                  <a:pt x="6710315" y="2706645"/>
                  <a:pt x="6699479" y="2712910"/>
                </a:cubicBezTo>
                <a:cubicBezTo>
                  <a:pt x="6702605" y="2718332"/>
                  <a:pt x="6706303" y="2721615"/>
                  <a:pt x="6710288" y="2723828"/>
                </a:cubicBezTo>
                <a:lnTo>
                  <a:pt x="6722246" y="2728126"/>
                </a:lnTo>
                <a:lnTo>
                  <a:pt x="6720520" y="2733160"/>
                </a:lnTo>
                <a:cubicBezTo>
                  <a:pt x="6721760" y="2742947"/>
                  <a:pt x="6737036" y="2743602"/>
                  <a:pt x="6735317" y="2750017"/>
                </a:cubicBezTo>
                <a:cubicBezTo>
                  <a:pt x="6718232" y="2745439"/>
                  <a:pt x="6709688" y="2743150"/>
                  <a:pt x="6705731" y="2723753"/>
                </a:cubicBezTo>
                <a:cubicBezTo>
                  <a:pt x="6694895" y="2730018"/>
                  <a:pt x="6696563" y="2757970"/>
                  <a:pt x="6696563" y="2757970"/>
                </a:cubicBezTo>
                <a:cubicBezTo>
                  <a:pt x="6694272" y="2766521"/>
                  <a:pt x="6681770" y="2744838"/>
                  <a:pt x="6679478" y="2753392"/>
                </a:cubicBezTo>
                <a:cubicBezTo>
                  <a:pt x="6679478" y="2753392"/>
                  <a:pt x="6679478" y="2753392"/>
                  <a:pt x="6681770" y="2744838"/>
                </a:cubicBezTo>
                <a:cubicBezTo>
                  <a:pt x="6681770" y="2744838"/>
                  <a:pt x="6662393" y="2748814"/>
                  <a:pt x="6664685" y="2740260"/>
                </a:cubicBezTo>
                <a:cubicBezTo>
                  <a:pt x="6653850" y="2746525"/>
                  <a:pt x="6632181" y="2759052"/>
                  <a:pt x="6629889" y="2767606"/>
                </a:cubicBezTo>
                <a:lnTo>
                  <a:pt x="6636765" y="2741947"/>
                </a:lnTo>
                <a:cubicBezTo>
                  <a:pt x="6619680" y="2737369"/>
                  <a:pt x="6608847" y="2743632"/>
                  <a:pt x="6594054" y="2730503"/>
                </a:cubicBezTo>
                <a:cubicBezTo>
                  <a:pt x="6594054" y="2730503"/>
                  <a:pt x="6596346" y="2721949"/>
                  <a:pt x="6596346" y="2721949"/>
                </a:cubicBezTo>
                <a:cubicBezTo>
                  <a:pt x="6587805" y="2719660"/>
                  <a:pt x="6587805" y="2719660"/>
                  <a:pt x="6587805" y="2719660"/>
                </a:cubicBezTo>
                <a:cubicBezTo>
                  <a:pt x="6585513" y="2728214"/>
                  <a:pt x="6583222" y="2736765"/>
                  <a:pt x="6594054" y="2730503"/>
                </a:cubicBezTo>
                <a:cubicBezTo>
                  <a:pt x="6589471" y="2747608"/>
                  <a:pt x="6574678" y="2734476"/>
                  <a:pt x="6576970" y="2725925"/>
                </a:cubicBezTo>
                <a:cubicBezTo>
                  <a:pt x="6574678" y="2734476"/>
                  <a:pt x="6551344" y="2719058"/>
                  <a:pt x="6555301" y="2738452"/>
                </a:cubicBezTo>
                <a:cubicBezTo>
                  <a:pt x="6546760" y="2736164"/>
                  <a:pt x="6546760" y="2736164"/>
                  <a:pt x="6546760" y="2736164"/>
                </a:cubicBezTo>
                <a:cubicBezTo>
                  <a:pt x="6529675" y="2731586"/>
                  <a:pt x="6549052" y="2727610"/>
                  <a:pt x="6551344" y="2719058"/>
                </a:cubicBezTo>
                <a:cubicBezTo>
                  <a:pt x="6538217" y="2733875"/>
                  <a:pt x="6529675" y="2731586"/>
                  <a:pt x="6534259" y="2714480"/>
                </a:cubicBezTo>
                <a:cubicBezTo>
                  <a:pt x="6514883" y="2718454"/>
                  <a:pt x="6540509" y="2725320"/>
                  <a:pt x="6529675" y="2731586"/>
                </a:cubicBezTo>
                <a:cubicBezTo>
                  <a:pt x="6521132" y="2729297"/>
                  <a:pt x="6518840" y="2737851"/>
                  <a:pt x="6510299" y="2735562"/>
                </a:cubicBezTo>
                <a:cubicBezTo>
                  <a:pt x="6521132" y="2729297"/>
                  <a:pt x="6523424" y="2720742"/>
                  <a:pt x="6506339" y="2716165"/>
                </a:cubicBezTo>
                <a:cubicBezTo>
                  <a:pt x="6508630" y="2707613"/>
                  <a:pt x="6517174" y="2709903"/>
                  <a:pt x="6502381" y="2696771"/>
                </a:cubicBezTo>
                <a:cubicBezTo>
                  <a:pt x="6500089" y="2705325"/>
                  <a:pt x="6506339" y="2716165"/>
                  <a:pt x="6489254" y="2711587"/>
                </a:cubicBezTo>
                <a:cubicBezTo>
                  <a:pt x="6495506" y="2722430"/>
                  <a:pt x="6512591" y="2727008"/>
                  <a:pt x="6499463" y="2741827"/>
                </a:cubicBezTo>
                <a:cubicBezTo>
                  <a:pt x="6493214" y="2730984"/>
                  <a:pt x="6495506" y="2722430"/>
                  <a:pt x="6476129" y="2726407"/>
                </a:cubicBezTo>
                <a:cubicBezTo>
                  <a:pt x="6478421" y="2717853"/>
                  <a:pt x="6486962" y="2720141"/>
                  <a:pt x="6491546" y="2703035"/>
                </a:cubicBezTo>
                <a:cubicBezTo>
                  <a:pt x="6491546" y="2703035"/>
                  <a:pt x="6491546" y="2703035"/>
                  <a:pt x="6483005" y="2700747"/>
                </a:cubicBezTo>
                <a:cubicBezTo>
                  <a:pt x="6472169" y="2707009"/>
                  <a:pt x="6459045" y="2721829"/>
                  <a:pt x="6454460" y="2738937"/>
                </a:cubicBezTo>
                <a:cubicBezTo>
                  <a:pt x="6450501" y="2719539"/>
                  <a:pt x="6480714" y="2709298"/>
                  <a:pt x="6461960" y="2676772"/>
                </a:cubicBezTo>
                <a:cubicBezTo>
                  <a:pt x="6468212" y="2687615"/>
                  <a:pt x="6483005" y="2700747"/>
                  <a:pt x="6485297" y="2692193"/>
                </a:cubicBezTo>
                <a:cubicBezTo>
                  <a:pt x="6489881" y="2675085"/>
                  <a:pt x="6457376" y="2693880"/>
                  <a:pt x="6481337" y="2672795"/>
                </a:cubicBezTo>
                <a:cubicBezTo>
                  <a:pt x="6475088" y="2661953"/>
                  <a:pt x="6468212" y="2687615"/>
                  <a:pt x="6461960" y="2676772"/>
                </a:cubicBezTo>
                <a:cubicBezTo>
                  <a:pt x="6459668" y="2685326"/>
                  <a:pt x="6442584" y="2680748"/>
                  <a:pt x="6448835" y="2691591"/>
                </a:cubicBezTo>
                <a:cubicBezTo>
                  <a:pt x="6438000" y="2697853"/>
                  <a:pt x="6451127" y="2683037"/>
                  <a:pt x="6442584" y="2680748"/>
                </a:cubicBezTo>
                <a:cubicBezTo>
                  <a:pt x="6434042" y="2678459"/>
                  <a:pt x="6435708" y="2706408"/>
                  <a:pt x="6420915" y="2693275"/>
                </a:cubicBezTo>
                <a:cubicBezTo>
                  <a:pt x="6431750" y="2687013"/>
                  <a:pt x="6431750" y="2687013"/>
                  <a:pt x="6434042" y="2678459"/>
                </a:cubicBezTo>
                <a:cubicBezTo>
                  <a:pt x="6423207" y="2684724"/>
                  <a:pt x="6423207" y="2684724"/>
                  <a:pt x="6414666" y="2682435"/>
                </a:cubicBezTo>
                <a:cubicBezTo>
                  <a:pt x="6403831" y="2688698"/>
                  <a:pt x="6412374" y="2690987"/>
                  <a:pt x="6410082" y="2699541"/>
                </a:cubicBezTo>
                <a:cubicBezTo>
                  <a:pt x="6399247" y="2705806"/>
                  <a:pt x="6392997" y="2694963"/>
                  <a:pt x="6395289" y="2686409"/>
                </a:cubicBezTo>
                <a:cubicBezTo>
                  <a:pt x="6386746" y="2684120"/>
                  <a:pt x="6375913" y="2690385"/>
                  <a:pt x="6373620" y="2698939"/>
                </a:cubicBezTo>
                <a:cubicBezTo>
                  <a:pt x="6371328" y="2707493"/>
                  <a:pt x="6384454" y="2692674"/>
                  <a:pt x="6392997" y="2694963"/>
                </a:cubicBezTo>
                <a:cubicBezTo>
                  <a:pt x="6379870" y="2709782"/>
                  <a:pt x="6365077" y="2696650"/>
                  <a:pt x="6360493" y="2713758"/>
                </a:cubicBezTo>
                <a:cubicBezTo>
                  <a:pt x="6365077" y="2696650"/>
                  <a:pt x="6354244" y="2702916"/>
                  <a:pt x="6347992" y="2692072"/>
                </a:cubicBezTo>
                <a:cubicBezTo>
                  <a:pt x="6339451" y="2689784"/>
                  <a:pt x="6334867" y="2706892"/>
                  <a:pt x="6334867" y="2706892"/>
                </a:cubicBezTo>
                <a:cubicBezTo>
                  <a:pt x="6332575" y="2715446"/>
                  <a:pt x="6328616" y="2696048"/>
                  <a:pt x="6330908" y="2687494"/>
                </a:cubicBezTo>
                <a:cubicBezTo>
                  <a:pt x="6320075" y="2693760"/>
                  <a:pt x="6324032" y="2713156"/>
                  <a:pt x="6324032" y="2713156"/>
                </a:cubicBezTo>
                <a:cubicBezTo>
                  <a:pt x="6313198" y="2719422"/>
                  <a:pt x="6306947" y="2708579"/>
                  <a:pt x="6306947" y="2708579"/>
                </a:cubicBezTo>
                <a:cubicBezTo>
                  <a:pt x="6298406" y="2706290"/>
                  <a:pt x="6317782" y="2702314"/>
                  <a:pt x="6311531" y="2691471"/>
                </a:cubicBezTo>
                <a:cubicBezTo>
                  <a:pt x="6309239" y="2700025"/>
                  <a:pt x="6300698" y="2697736"/>
                  <a:pt x="6298406" y="2706290"/>
                </a:cubicBezTo>
                <a:cubicBezTo>
                  <a:pt x="6289862" y="2704001"/>
                  <a:pt x="6292154" y="2695447"/>
                  <a:pt x="6294446" y="2686893"/>
                </a:cubicBezTo>
                <a:lnTo>
                  <a:pt x="6269434" y="2680191"/>
                </a:lnTo>
                <a:lnTo>
                  <a:pt x="6269132" y="2680571"/>
                </a:lnTo>
                <a:lnTo>
                  <a:pt x="6277415" y="2694936"/>
                </a:lnTo>
                <a:cubicBezTo>
                  <a:pt x="6282466" y="2697436"/>
                  <a:pt x="6286737" y="2698581"/>
                  <a:pt x="6281321" y="2701712"/>
                </a:cubicBezTo>
                <a:lnTo>
                  <a:pt x="6255962" y="2697136"/>
                </a:lnTo>
                <a:lnTo>
                  <a:pt x="6255894" y="2697221"/>
                </a:lnTo>
                <a:lnTo>
                  <a:pt x="6255919" y="2697128"/>
                </a:lnTo>
                <a:lnTo>
                  <a:pt x="6255122" y="2696984"/>
                </a:lnTo>
                <a:cubicBezTo>
                  <a:pt x="6245432" y="2698973"/>
                  <a:pt x="6235173" y="2703098"/>
                  <a:pt x="6225482" y="2705087"/>
                </a:cubicBezTo>
                <a:cubicBezTo>
                  <a:pt x="6227774" y="2696533"/>
                  <a:pt x="6227774" y="2696533"/>
                  <a:pt x="6238610" y="2690268"/>
                </a:cubicBezTo>
                <a:cubicBezTo>
                  <a:pt x="6221526" y="2685690"/>
                  <a:pt x="6202149" y="2689666"/>
                  <a:pt x="6195897" y="2678823"/>
                </a:cubicBezTo>
                <a:cubicBezTo>
                  <a:pt x="6187356" y="2676534"/>
                  <a:pt x="6171936" y="2699907"/>
                  <a:pt x="6170271" y="2671957"/>
                </a:cubicBezTo>
                <a:cubicBezTo>
                  <a:pt x="6148602" y="2684487"/>
                  <a:pt x="6182772" y="2693643"/>
                  <a:pt x="6169644" y="2708461"/>
                </a:cubicBezTo>
                <a:cubicBezTo>
                  <a:pt x="6171936" y="2699907"/>
                  <a:pt x="6182772" y="2693643"/>
                  <a:pt x="6195897" y="2678823"/>
                </a:cubicBezTo>
                <a:cubicBezTo>
                  <a:pt x="6202149" y="2689666"/>
                  <a:pt x="6210690" y="2691955"/>
                  <a:pt x="6219234" y="2694244"/>
                </a:cubicBezTo>
                <a:cubicBezTo>
                  <a:pt x="6216942" y="2702798"/>
                  <a:pt x="6216942" y="2702798"/>
                  <a:pt x="6214649" y="2711352"/>
                </a:cubicBezTo>
                <a:cubicBezTo>
                  <a:pt x="6206106" y="2709063"/>
                  <a:pt x="6208398" y="2700509"/>
                  <a:pt x="6210690" y="2691955"/>
                </a:cubicBezTo>
                <a:cubicBezTo>
                  <a:pt x="6202149" y="2689666"/>
                  <a:pt x="6195273" y="2715328"/>
                  <a:pt x="6189021" y="2704485"/>
                </a:cubicBezTo>
                <a:cubicBezTo>
                  <a:pt x="6186729" y="2713039"/>
                  <a:pt x="6186729" y="2713039"/>
                  <a:pt x="6190689" y="2732434"/>
                </a:cubicBezTo>
                <a:cubicBezTo>
                  <a:pt x="6173604" y="2727856"/>
                  <a:pt x="6189021" y="2704485"/>
                  <a:pt x="6180480" y="2702197"/>
                </a:cubicBezTo>
                <a:cubicBezTo>
                  <a:pt x="6161103" y="2706173"/>
                  <a:pt x="6177562" y="2747253"/>
                  <a:pt x="6151935" y="2740386"/>
                </a:cubicBezTo>
                <a:cubicBezTo>
                  <a:pt x="6156520" y="2723278"/>
                  <a:pt x="6158812" y="2714724"/>
                  <a:pt x="6154851" y="2695329"/>
                </a:cubicBezTo>
                <a:cubicBezTo>
                  <a:pt x="6148602" y="2684487"/>
                  <a:pt x="6150268" y="2712435"/>
                  <a:pt x="6133183" y="2707857"/>
                </a:cubicBezTo>
                <a:cubicBezTo>
                  <a:pt x="6126933" y="2697017"/>
                  <a:pt x="6146310" y="2693041"/>
                  <a:pt x="6129225" y="2688463"/>
                </a:cubicBezTo>
                <a:cubicBezTo>
                  <a:pt x="6118390" y="2694728"/>
                  <a:pt x="6124642" y="2705568"/>
                  <a:pt x="6120058" y="2722677"/>
                </a:cubicBezTo>
                <a:cubicBezTo>
                  <a:pt x="6102973" y="2718099"/>
                  <a:pt x="6107557" y="2700990"/>
                  <a:pt x="6112141" y="2683885"/>
                </a:cubicBezTo>
                <a:cubicBezTo>
                  <a:pt x="6101305" y="2690150"/>
                  <a:pt x="6096722" y="2707255"/>
                  <a:pt x="6071096" y="2700389"/>
                </a:cubicBezTo>
                <a:cubicBezTo>
                  <a:pt x="6062552" y="2698100"/>
                  <a:pt x="6075679" y="2683284"/>
                  <a:pt x="6077971" y="2674730"/>
                </a:cubicBezTo>
                <a:cubicBezTo>
                  <a:pt x="6067136" y="2680994"/>
                  <a:pt x="6067136" y="2680994"/>
                  <a:pt x="6060887" y="2670152"/>
                </a:cubicBezTo>
                <a:cubicBezTo>
                  <a:pt x="6058595" y="2678706"/>
                  <a:pt x="6047760" y="2684968"/>
                  <a:pt x="6043802" y="2665574"/>
                </a:cubicBezTo>
                <a:cubicBezTo>
                  <a:pt x="6035258" y="2663285"/>
                  <a:pt x="6036926" y="2691233"/>
                  <a:pt x="6045468" y="2693522"/>
                </a:cubicBezTo>
                <a:cubicBezTo>
                  <a:pt x="6050051" y="2676416"/>
                  <a:pt x="6075679" y="2683284"/>
                  <a:pt x="6071096" y="2700389"/>
                </a:cubicBezTo>
                <a:cubicBezTo>
                  <a:pt x="6057968" y="2715208"/>
                  <a:pt x="6045468" y="2693522"/>
                  <a:pt x="6026091" y="2697498"/>
                </a:cubicBezTo>
                <a:cubicBezTo>
                  <a:pt x="6038591" y="2719184"/>
                  <a:pt x="6002757" y="2682077"/>
                  <a:pt x="5989629" y="2696896"/>
                </a:cubicBezTo>
                <a:cubicBezTo>
                  <a:pt x="5993589" y="2716294"/>
                  <a:pt x="5995881" y="2707740"/>
                  <a:pt x="5985045" y="2714004"/>
                </a:cubicBezTo>
                <a:cubicBezTo>
                  <a:pt x="5976504" y="2711716"/>
                  <a:pt x="5989629" y="2696896"/>
                  <a:pt x="5981088" y="2694608"/>
                </a:cubicBezTo>
                <a:cubicBezTo>
                  <a:pt x="5970252" y="2700873"/>
                  <a:pt x="5976504" y="2711716"/>
                  <a:pt x="5965668" y="2717981"/>
                </a:cubicBezTo>
                <a:cubicBezTo>
                  <a:pt x="5950878" y="2704849"/>
                  <a:pt x="5972544" y="2692319"/>
                  <a:pt x="5966295" y="2681476"/>
                </a:cubicBezTo>
                <a:cubicBezTo>
                  <a:pt x="5966295" y="2681476"/>
                  <a:pt x="5964003" y="2690030"/>
                  <a:pt x="5964003" y="2690030"/>
                </a:cubicBezTo>
                <a:cubicBezTo>
                  <a:pt x="5958587" y="2693161"/>
                  <a:pt x="5955462" y="2687741"/>
                  <a:pt x="5950200" y="2681749"/>
                </a:cubicBezTo>
                <a:lnTo>
                  <a:pt x="5939964" y="2677242"/>
                </a:lnTo>
                <a:lnTo>
                  <a:pt x="5940670" y="2674610"/>
                </a:lnTo>
                <a:lnTo>
                  <a:pt x="5935199" y="2675144"/>
                </a:lnTo>
                <a:lnTo>
                  <a:pt x="5923585" y="2670032"/>
                </a:lnTo>
                <a:cubicBezTo>
                  <a:pt x="5926709" y="2675454"/>
                  <a:pt x="5928844" y="2676026"/>
                  <a:pt x="5931266" y="2675528"/>
                </a:cubicBezTo>
                <a:lnTo>
                  <a:pt x="5935199" y="2675144"/>
                </a:lnTo>
                <a:lnTo>
                  <a:pt x="5939964" y="2677242"/>
                </a:lnTo>
                <a:lnTo>
                  <a:pt x="5933793" y="2700272"/>
                </a:lnTo>
                <a:cubicBezTo>
                  <a:pt x="5937491" y="2703555"/>
                  <a:pt x="5940161" y="2704270"/>
                  <a:pt x="5942218" y="2703532"/>
                </a:cubicBezTo>
                <a:lnTo>
                  <a:pt x="5942887" y="2702763"/>
                </a:lnTo>
                <a:lnTo>
                  <a:pt x="5953794" y="2706777"/>
                </a:lnTo>
                <a:cubicBezTo>
                  <a:pt x="5956711" y="2708704"/>
                  <a:pt x="5958273" y="2711415"/>
                  <a:pt x="5957127" y="2715692"/>
                </a:cubicBezTo>
                <a:cubicBezTo>
                  <a:pt x="5946294" y="2721957"/>
                  <a:pt x="5933793" y="2700272"/>
                  <a:pt x="5918374" y="2723645"/>
                </a:cubicBezTo>
                <a:cubicBezTo>
                  <a:pt x="5920666" y="2715090"/>
                  <a:pt x="5914417" y="2704248"/>
                  <a:pt x="5927542" y="2689428"/>
                </a:cubicBezTo>
                <a:cubicBezTo>
                  <a:pt x="5932126" y="2672320"/>
                  <a:pt x="5899624" y="2691116"/>
                  <a:pt x="5916709" y="2695694"/>
                </a:cubicBezTo>
                <a:cubicBezTo>
                  <a:pt x="5908165" y="2693404"/>
                  <a:pt x="5887123" y="2669430"/>
                  <a:pt x="5870038" y="2664852"/>
                </a:cubicBezTo>
                <a:cubicBezTo>
                  <a:pt x="5865454" y="2681960"/>
                  <a:pt x="5848369" y="2677382"/>
                  <a:pt x="5833577" y="2664251"/>
                </a:cubicBezTo>
                <a:cubicBezTo>
                  <a:pt x="5846077" y="2685936"/>
                  <a:pt x="5828993" y="2681359"/>
                  <a:pt x="5830658" y="2709307"/>
                </a:cubicBezTo>
                <a:cubicBezTo>
                  <a:pt x="5830658" y="2709307"/>
                  <a:pt x="5813573" y="2704729"/>
                  <a:pt x="5796489" y="2700151"/>
                </a:cubicBezTo>
                <a:cubicBezTo>
                  <a:pt x="5796489" y="2700151"/>
                  <a:pt x="5798780" y="2691600"/>
                  <a:pt x="5792531" y="2680757"/>
                </a:cubicBezTo>
                <a:cubicBezTo>
                  <a:pt x="5790239" y="2689311"/>
                  <a:pt x="5790239" y="2689311"/>
                  <a:pt x="5787948" y="2697862"/>
                </a:cubicBezTo>
                <a:cubicBezTo>
                  <a:pt x="5777112" y="2704127"/>
                  <a:pt x="5792531" y="2680757"/>
                  <a:pt x="5775447" y="2676179"/>
                </a:cubicBezTo>
                <a:cubicBezTo>
                  <a:pt x="5773154" y="2684733"/>
                  <a:pt x="5773154" y="2684733"/>
                  <a:pt x="5770863" y="2693285"/>
                </a:cubicBezTo>
                <a:cubicBezTo>
                  <a:pt x="5768571" y="2701839"/>
                  <a:pt x="5785656" y="2706416"/>
                  <a:pt x="5802741" y="2710994"/>
                </a:cubicBezTo>
                <a:cubicBezTo>
                  <a:pt x="5794197" y="2708705"/>
                  <a:pt x="5772528" y="2721235"/>
                  <a:pt x="5768571" y="2701839"/>
                </a:cubicBezTo>
                <a:cubicBezTo>
                  <a:pt x="5757735" y="2708103"/>
                  <a:pt x="5749194" y="2705815"/>
                  <a:pt x="5740651" y="2703525"/>
                </a:cubicBezTo>
                <a:cubicBezTo>
                  <a:pt x="5729817" y="2709791"/>
                  <a:pt x="5738358" y="2712080"/>
                  <a:pt x="5746902" y="2714369"/>
                </a:cubicBezTo>
                <a:cubicBezTo>
                  <a:pt x="5736066" y="2720634"/>
                  <a:pt x="5721274" y="2707502"/>
                  <a:pt x="5718982" y="2716056"/>
                </a:cubicBezTo>
                <a:cubicBezTo>
                  <a:pt x="5718982" y="2716056"/>
                  <a:pt x="5710440" y="2713767"/>
                  <a:pt x="5710440" y="2713767"/>
                </a:cubicBezTo>
                <a:cubicBezTo>
                  <a:pt x="5712732" y="2705213"/>
                  <a:pt x="5721274" y="2707502"/>
                  <a:pt x="5729817" y="2709791"/>
                </a:cubicBezTo>
                <a:cubicBezTo>
                  <a:pt x="5725858" y="2690394"/>
                  <a:pt x="5695648" y="2700635"/>
                  <a:pt x="5701897" y="2711478"/>
                </a:cubicBezTo>
                <a:cubicBezTo>
                  <a:pt x="5693356" y="2709189"/>
                  <a:pt x="5691064" y="2717743"/>
                  <a:pt x="5684812" y="2706900"/>
                </a:cubicBezTo>
                <a:cubicBezTo>
                  <a:pt x="5684812" y="2706900"/>
                  <a:pt x="5693356" y="2709189"/>
                  <a:pt x="5693356" y="2709189"/>
                </a:cubicBezTo>
                <a:cubicBezTo>
                  <a:pt x="5695648" y="2700635"/>
                  <a:pt x="5687104" y="2698346"/>
                  <a:pt x="5687104" y="2698346"/>
                </a:cubicBezTo>
                <a:cubicBezTo>
                  <a:pt x="5678563" y="2696058"/>
                  <a:pt x="5680228" y="2724008"/>
                  <a:pt x="5663143" y="2719430"/>
                </a:cubicBezTo>
                <a:cubicBezTo>
                  <a:pt x="5665435" y="2710876"/>
                  <a:pt x="5659186" y="2700034"/>
                  <a:pt x="5650643" y="2697744"/>
                </a:cubicBezTo>
                <a:cubicBezTo>
                  <a:pt x="5631268" y="2701721"/>
                  <a:pt x="5618768" y="2680035"/>
                  <a:pt x="5616476" y="2688589"/>
                </a:cubicBezTo>
                <a:cubicBezTo>
                  <a:pt x="5622725" y="2699432"/>
                  <a:pt x="5637518" y="2712564"/>
                  <a:pt x="5648351" y="2706298"/>
                </a:cubicBezTo>
                <a:cubicBezTo>
                  <a:pt x="5646059" y="2714852"/>
                  <a:pt x="5654602" y="2717142"/>
                  <a:pt x="5652310" y="2725696"/>
                </a:cubicBezTo>
                <a:cubicBezTo>
                  <a:pt x="5620433" y="2707986"/>
                  <a:pt x="5609600" y="2714251"/>
                  <a:pt x="5594180" y="2737622"/>
                </a:cubicBezTo>
                <a:cubicBezTo>
                  <a:pt x="5585639" y="2735333"/>
                  <a:pt x="5587931" y="2726779"/>
                  <a:pt x="5590223" y="2718228"/>
                </a:cubicBezTo>
                <a:cubicBezTo>
                  <a:pt x="5579388" y="2724490"/>
                  <a:pt x="5573138" y="2713650"/>
                  <a:pt x="5570847" y="2722201"/>
                </a:cubicBezTo>
                <a:cubicBezTo>
                  <a:pt x="5577096" y="2733044"/>
                  <a:pt x="5583347" y="2743887"/>
                  <a:pt x="5600432" y="2748465"/>
                </a:cubicBezTo>
                <a:cubicBezTo>
                  <a:pt x="5602724" y="2739911"/>
                  <a:pt x="5611265" y="2742200"/>
                  <a:pt x="5606681" y="2759308"/>
                </a:cubicBezTo>
                <a:cubicBezTo>
                  <a:pt x="5617517" y="2753043"/>
                  <a:pt x="5634599" y="2757620"/>
                  <a:pt x="5636891" y="2749066"/>
                </a:cubicBezTo>
                <a:cubicBezTo>
                  <a:pt x="5643143" y="2759909"/>
                  <a:pt x="5660228" y="2764487"/>
                  <a:pt x="5640851" y="2768463"/>
                </a:cubicBezTo>
                <a:cubicBezTo>
                  <a:pt x="5647099" y="2779306"/>
                  <a:pt x="5660228" y="2764487"/>
                  <a:pt x="5666476" y="2775330"/>
                </a:cubicBezTo>
                <a:cubicBezTo>
                  <a:pt x="5664184" y="2783884"/>
                  <a:pt x="5655644" y="2781595"/>
                  <a:pt x="5653352" y="2790149"/>
                </a:cubicBezTo>
                <a:cubicBezTo>
                  <a:pt x="5657936" y="2773041"/>
                  <a:pt x="5647099" y="2779306"/>
                  <a:pt x="5638559" y="2777018"/>
                </a:cubicBezTo>
                <a:cubicBezTo>
                  <a:pt x="5636267" y="2785572"/>
                  <a:pt x="5631839" y="2793553"/>
                  <a:pt x="5625849" y="2798825"/>
                </a:cubicBezTo>
                <a:lnTo>
                  <a:pt x="5608413" y="2803199"/>
                </a:lnTo>
                <a:lnTo>
                  <a:pt x="5597513" y="2793524"/>
                </a:lnTo>
                <a:cubicBezTo>
                  <a:pt x="5599805" y="2784970"/>
                  <a:pt x="5608349" y="2787259"/>
                  <a:pt x="5616890" y="2789548"/>
                </a:cubicBezTo>
                <a:cubicBezTo>
                  <a:pt x="5619182" y="2780994"/>
                  <a:pt x="5619182" y="2780994"/>
                  <a:pt x="5621474" y="2772440"/>
                </a:cubicBezTo>
                <a:cubicBezTo>
                  <a:pt x="5608349" y="2787259"/>
                  <a:pt x="5602097" y="2776416"/>
                  <a:pt x="5591264" y="2782681"/>
                </a:cubicBezTo>
                <a:cubicBezTo>
                  <a:pt x="5588972" y="2791235"/>
                  <a:pt x="5586680" y="2799789"/>
                  <a:pt x="5584388" y="2808343"/>
                </a:cubicBezTo>
                <a:cubicBezTo>
                  <a:pt x="5580428" y="2788946"/>
                  <a:pt x="5567303" y="2803765"/>
                  <a:pt x="5552510" y="2790633"/>
                </a:cubicBezTo>
                <a:cubicBezTo>
                  <a:pt x="5547927" y="2807739"/>
                  <a:pt x="5534799" y="2822558"/>
                  <a:pt x="5517714" y="2817980"/>
                </a:cubicBezTo>
                <a:cubicBezTo>
                  <a:pt x="5520006" y="2809426"/>
                  <a:pt x="5520006" y="2809426"/>
                  <a:pt x="5522298" y="2800872"/>
                </a:cubicBezTo>
                <a:cubicBezTo>
                  <a:pt x="5530843" y="2803161"/>
                  <a:pt x="5547927" y="2807739"/>
                  <a:pt x="5541674" y="2796898"/>
                </a:cubicBezTo>
                <a:cubicBezTo>
                  <a:pt x="5533134" y="2794610"/>
                  <a:pt x="5533134" y="2794610"/>
                  <a:pt x="5526882" y="2783766"/>
                </a:cubicBezTo>
                <a:cubicBezTo>
                  <a:pt x="5509797" y="2779189"/>
                  <a:pt x="5507505" y="2787743"/>
                  <a:pt x="5498964" y="2785454"/>
                </a:cubicBezTo>
                <a:cubicBezTo>
                  <a:pt x="5496673" y="2794006"/>
                  <a:pt x="5516049" y="2790032"/>
                  <a:pt x="5524590" y="2792320"/>
                </a:cubicBezTo>
                <a:cubicBezTo>
                  <a:pt x="5522298" y="2800875"/>
                  <a:pt x="5517454" y="2801868"/>
                  <a:pt x="5512612" y="2802862"/>
                </a:cubicBezTo>
                <a:lnTo>
                  <a:pt x="5501589" y="2812559"/>
                </a:lnTo>
                <a:lnTo>
                  <a:pt x="5503517" y="2813076"/>
                </a:lnTo>
                <a:cubicBezTo>
                  <a:pt x="5503517" y="2813076"/>
                  <a:pt x="5493596" y="2850101"/>
                  <a:pt x="5479621" y="2836436"/>
                </a:cubicBezTo>
                <a:cubicBezTo>
                  <a:pt x="5484976" y="2832910"/>
                  <a:pt x="5487651" y="2831147"/>
                  <a:pt x="5489610" y="2827950"/>
                </a:cubicBezTo>
                <a:lnTo>
                  <a:pt x="5494887" y="2812083"/>
                </a:lnTo>
                <a:lnTo>
                  <a:pt x="5484849" y="2809774"/>
                </a:lnTo>
                <a:lnTo>
                  <a:pt x="5475235" y="2820932"/>
                </a:lnTo>
                <a:cubicBezTo>
                  <a:pt x="5467741" y="2821129"/>
                  <a:pt x="5458485" y="2818649"/>
                  <a:pt x="5453857" y="2817409"/>
                </a:cubicBezTo>
                <a:lnTo>
                  <a:pt x="5482796" y="2809301"/>
                </a:lnTo>
                <a:lnTo>
                  <a:pt x="5440261" y="2799521"/>
                </a:lnTo>
                <a:cubicBezTo>
                  <a:pt x="5424166" y="2799791"/>
                  <a:pt x="5407497" y="2802201"/>
                  <a:pt x="5376452" y="2798465"/>
                </a:cubicBezTo>
                <a:cubicBezTo>
                  <a:pt x="5374160" y="2807019"/>
                  <a:pt x="5391245" y="2811597"/>
                  <a:pt x="5388953" y="2820151"/>
                </a:cubicBezTo>
                <a:cubicBezTo>
                  <a:pt x="5376142" y="2816718"/>
                  <a:pt x="5368745" y="2810151"/>
                  <a:pt x="5361062" y="2804657"/>
                </a:cubicBezTo>
                <a:lnTo>
                  <a:pt x="5354466" y="2802634"/>
                </a:lnTo>
                <a:lnTo>
                  <a:pt x="5357076" y="2802442"/>
                </a:lnTo>
                <a:lnTo>
                  <a:pt x="5354375" y="2802604"/>
                </a:lnTo>
                <a:lnTo>
                  <a:pt x="5331450" y="2795575"/>
                </a:lnTo>
                <a:cubicBezTo>
                  <a:pt x="5329158" y="2804129"/>
                  <a:pt x="5331293" y="2804701"/>
                  <a:pt x="5336136" y="2803708"/>
                </a:cubicBezTo>
                <a:lnTo>
                  <a:pt x="5354375" y="2802604"/>
                </a:lnTo>
                <a:lnTo>
                  <a:pt x="5354466" y="2802634"/>
                </a:lnTo>
                <a:lnTo>
                  <a:pt x="5303375" y="2806389"/>
                </a:lnTo>
                <a:lnTo>
                  <a:pt x="5274088" y="2811673"/>
                </a:lnTo>
                <a:lnTo>
                  <a:pt x="5273320" y="2807504"/>
                </a:lnTo>
                <a:lnTo>
                  <a:pt x="5265796" y="2813170"/>
                </a:lnTo>
                <a:lnTo>
                  <a:pt x="5262486" y="2813769"/>
                </a:lnTo>
                <a:cubicBezTo>
                  <a:pt x="5253942" y="2811480"/>
                  <a:pt x="5262486" y="2813769"/>
                  <a:pt x="5264778" y="2805215"/>
                </a:cubicBezTo>
                <a:cubicBezTo>
                  <a:pt x="5228317" y="2804613"/>
                  <a:pt x="5200397" y="2806298"/>
                  <a:pt x="5161643" y="2814250"/>
                </a:cubicBezTo>
                <a:cubicBezTo>
                  <a:pt x="5163936" y="2805696"/>
                  <a:pt x="5172479" y="2807985"/>
                  <a:pt x="5172479" y="2807985"/>
                </a:cubicBezTo>
                <a:cubicBezTo>
                  <a:pt x="5166227" y="2797142"/>
                  <a:pt x="5153102" y="2811962"/>
                  <a:pt x="5138309" y="2798830"/>
                </a:cubicBezTo>
                <a:cubicBezTo>
                  <a:pt x="5136018" y="2807384"/>
                  <a:pt x="5116641" y="2811360"/>
                  <a:pt x="5099556" y="2806782"/>
                </a:cubicBezTo>
                <a:cubicBezTo>
                  <a:pt x="5094972" y="2823890"/>
                  <a:pt x="5136018" y="2807384"/>
                  <a:pt x="5131433" y="2824492"/>
                </a:cubicBezTo>
                <a:cubicBezTo>
                  <a:pt x="5146850" y="2801118"/>
                  <a:pt x="5154768" y="2839912"/>
                  <a:pt x="5161643" y="2814250"/>
                </a:cubicBezTo>
                <a:cubicBezTo>
                  <a:pt x="5167895" y="2825093"/>
                  <a:pt x="5176437" y="2827382"/>
                  <a:pt x="5193521" y="2831960"/>
                </a:cubicBezTo>
                <a:cubicBezTo>
                  <a:pt x="5183312" y="2801720"/>
                  <a:pt x="5229982" y="2832562"/>
                  <a:pt x="5243110" y="2817743"/>
                </a:cubicBezTo>
                <a:cubicBezTo>
                  <a:pt x="5231128" y="2828286"/>
                  <a:pt x="5237537" y="2830003"/>
                  <a:pt x="5247510" y="2826946"/>
                </a:cubicBezTo>
                <a:lnTo>
                  <a:pt x="5265796" y="2813170"/>
                </a:lnTo>
                <a:lnTo>
                  <a:pt x="5274088" y="2811673"/>
                </a:lnTo>
                <a:lnTo>
                  <a:pt x="5277982" y="2832819"/>
                </a:lnTo>
                <a:cubicBezTo>
                  <a:pt x="5283528" y="2837741"/>
                  <a:pt x="5292073" y="2840030"/>
                  <a:pt x="5300613" y="2842319"/>
                </a:cubicBezTo>
                <a:cubicBezTo>
                  <a:pt x="5305197" y="2825213"/>
                  <a:pt x="5277279" y="2826898"/>
                  <a:pt x="5290404" y="2812081"/>
                </a:cubicBezTo>
                <a:cubicBezTo>
                  <a:pt x="5294364" y="2831476"/>
                  <a:pt x="5316032" y="2818949"/>
                  <a:pt x="5316032" y="2818949"/>
                </a:cubicBezTo>
                <a:cubicBezTo>
                  <a:pt x="5320303" y="2820093"/>
                  <a:pt x="5317438" y="2830785"/>
                  <a:pt x="5316709" y="2842049"/>
                </a:cubicBezTo>
                <a:lnTo>
                  <a:pt x="5318208" y="2844997"/>
                </a:lnTo>
                <a:lnTo>
                  <a:pt x="5317698" y="2846897"/>
                </a:lnTo>
                <a:lnTo>
                  <a:pt x="5319974" y="2848471"/>
                </a:lnTo>
                <a:lnTo>
                  <a:pt x="5330199" y="2868583"/>
                </a:lnTo>
                <a:cubicBezTo>
                  <a:pt x="5331345" y="2864306"/>
                  <a:pt x="5332491" y="2860029"/>
                  <a:pt x="5331215" y="2856249"/>
                </a:cubicBezTo>
                <a:lnTo>
                  <a:pt x="5319974" y="2848471"/>
                </a:lnTo>
                <a:lnTo>
                  <a:pt x="5318208" y="2844997"/>
                </a:lnTo>
                <a:lnTo>
                  <a:pt x="5322282" y="2829791"/>
                </a:lnTo>
                <a:lnTo>
                  <a:pt x="5360466" y="2832244"/>
                </a:lnTo>
                <a:lnTo>
                  <a:pt x="5360635" y="2832111"/>
                </a:lnTo>
                <a:lnTo>
                  <a:pt x="5360518" y="2832246"/>
                </a:lnTo>
                <a:lnTo>
                  <a:pt x="5367284" y="2832681"/>
                </a:lnTo>
                <a:lnTo>
                  <a:pt x="5364992" y="2841235"/>
                </a:lnTo>
                <a:lnTo>
                  <a:pt x="5362700" y="2849787"/>
                </a:lnTo>
                <a:cubicBezTo>
                  <a:pt x="5379785" y="2854365"/>
                  <a:pt x="5382077" y="2845813"/>
                  <a:pt x="5392912" y="2839549"/>
                </a:cubicBezTo>
                <a:cubicBezTo>
                  <a:pt x="5392912" y="2839549"/>
                  <a:pt x="5373536" y="2843525"/>
                  <a:pt x="5364992" y="2841235"/>
                </a:cubicBezTo>
                <a:cubicBezTo>
                  <a:pt x="5369576" y="2824127"/>
                  <a:pt x="5384369" y="2837259"/>
                  <a:pt x="5386661" y="2828705"/>
                </a:cubicBezTo>
                <a:cubicBezTo>
                  <a:pt x="5399162" y="2850391"/>
                  <a:pt x="5416873" y="2818464"/>
                  <a:pt x="5427082" y="2848704"/>
                </a:cubicBezTo>
                <a:cubicBezTo>
                  <a:pt x="5432499" y="2845570"/>
                  <a:pt x="5433645" y="2841295"/>
                  <a:pt x="5435572" y="2838373"/>
                </a:cubicBezTo>
                <a:lnTo>
                  <a:pt x="5448751" y="2836174"/>
                </a:lnTo>
                <a:lnTo>
                  <a:pt x="5461252" y="2857860"/>
                </a:lnTo>
                <a:cubicBezTo>
                  <a:pt x="5469793" y="2860149"/>
                  <a:pt x="5472085" y="2851595"/>
                  <a:pt x="5472085" y="2851595"/>
                </a:cubicBezTo>
                <a:cubicBezTo>
                  <a:pt x="5474377" y="2843041"/>
                  <a:pt x="5463544" y="2849306"/>
                  <a:pt x="5465836" y="2840752"/>
                </a:cubicBezTo>
                <a:cubicBezTo>
                  <a:pt x="5465836" y="2840752"/>
                  <a:pt x="5468128" y="2832198"/>
                  <a:pt x="5459585" y="2829909"/>
                </a:cubicBezTo>
                <a:cubicBezTo>
                  <a:pt x="5470420" y="2823644"/>
                  <a:pt x="5489170" y="2856172"/>
                  <a:pt x="5493754" y="2839064"/>
                </a:cubicBezTo>
                <a:cubicBezTo>
                  <a:pt x="5519383" y="2845932"/>
                  <a:pt x="5562092" y="2857376"/>
                  <a:pt x="5577512" y="2834003"/>
                </a:cubicBezTo>
                <a:cubicBezTo>
                  <a:pt x="5577512" y="2834003"/>
                  <a:pt x="5583761" y="2844845"/>
                  <a:pt x="5581469" y="2853400"/>
                </a:cubicBezTo>
                <a:cubicBezTo>
                  <a:pt x="5590013" y="2855689"/>
                  <a:pt x="5594597" y="2838581"/>
                  <a:pt x="5594597" y="2838581"/>
                </a:cubicBezTo>
                <a:lnTo>
                  <a:pt x="5603970" y="2854846"/>
                </a:lnTo>
                <a:lnTo>
                  <a:pt x="5598554" y="2857977"/>
                </a:lnTo>
                <a:cubicBezTo>
                  <a:pt x="5585429" y="2872797"/>
                  <a:pt x="5583761" y="2844845"/>
                  <a:pt x="5572928" y="2851111"/>
                </a:cubicBezTo>
                <a:cubicBezTo>
                  <a:pt x="5572928" y="2851111"/>
                  <a:pt x="5570636" y="2859665"/>
                  <a:pt x="5568344" y="2868219"/>
                </a:cubicBezTo>
                <a:cubicBezTo>
                  <a:pt x="5557509" y="2874484"/>
                  <a:pt x="5559800" y="2865930"/>
                  <a:pt x="5562092" y="2857376"/>
                </a:cubicBezTo>
                <a:cubicBezTo>
                  <a:pt x="5542716" y="2861352"/>
                  <a:pt x="5557509" y="2874484"/>
                  <a:pt x="5555216" y="2883038"/>
                </a:cubicBezTo>
                <a:cubicBezTo>
                  <a:pt x="5546675" y="2880749"/>
                  <a:pt x="5540424" y="2869906"/>
                  <a:pt x="5536466" y="2850509"/>
                </a:cubicBezTo>
                <a:cubicBezTo>
                  <a:pt x="5525631" y="2856774"/>
                  <a:pt x="5531882" y="2867617"/>
                  <a:pt x="5523339" y="2865328"/>
                </a:cubicBezTo>
                <a:cubicBezTo>
                  <a:pt x="5529591" y="2876171"/>
                  <a:pt x="5546675" y="2880749"/>
                  <a:pt x="5552924" y="2891592"/>
                </a:cubicBezTo>
                <a:cubicBezTo>
                  <a:pt x="5561468" y="2893881"/>
                  <a:pt x="5563760" y="2885327"/>
                  <a:pt x="5568344" y="2868219"/>
                </a:cubicBezTo>
                <a:cubicBezTo>
                  <a:pt x="5585429" y="2872797"/>
                  <a:pt x="5598554" y="2857977"/>
                  <a:pt x="5613347" y="2871109"/>
                </a:cubicBezTo>
                <a:cubicBezTo>
                  <a:pt x="5596262" y="2866531"/>
                  <a:pt x="5602511" y="2877374"/>
                  <a:pt x="5566052" y="2876773"/>
                </a:cubicBezTo>
                <a:cubicBezTo>
                  <a:pt x="5574593" y="2879062"/>
                  <a:pt x="5574593" y="2879062"/>
                  <a:pt x="5583137" y="2881351"/>
                </a:cubicBezTo>
                <a:lnTo>
                  <a:pt x="5577939" y="2886600"/>
                </a:lnTo>
                <a:lnTo>
                  <a:pt x="5572301" y="2887616"/>
                </a:lnTo>
                <a:cubicBezTo>
                  <a:pt x="5572301" y="2887616"/>
                  <a:pt x="5574437" y="2888188"/>
                  <a:pt x="5576859" y="2887691"/>
                </a:cubicBezTo>
                <a:lnTo>
                  <a:pt x="5577939" y="2886600"/>
                </a:lnTo>
                <a:lnTo>
                  <a:pt x="5589888" y="2884449"/>
                </a:lnTo>
                <a:cubicBezTo>
                  <a:pt x="5608659" y="2886470"/>
                  <a:pt x="5630535" y="2900927"/>
                  <a:pt x="5651473" y="2899662"/>
                </a:cubicBezTo>
                <a:cubicBezTo>
                  <a:pt x="5649181" y="2908216"/>
                  <a:pt x="5644598" y="2925321"/>
                  <a:pt x="5661683" y="2929899"/>
                </a:cubicBezTo>
                <a:cubicBezTo>
                  <a:pt x="5648557" y="2944718"/>
                  <a:pt x="5627513" y="2920743"/>
                  <a:pt x="5649181" y="2908216"/>
                </a:cubicBezTo>
                <a:cubicBezTo>
                  <a:pt x="5640640" y="2905927"/>
                  <a:pt x="5612719" y="2907614"/>
                  <a:pt x="5610428" y="2916165"/>
                </a:cubicBezTo>
                <a:cubicBezTo>
                  <a:pt x="5601887" y="2913877"/>
                  <a:pt x="5572301" y="2887616"/>
                  <a:pt x="5565426" y="2913275"/>
                </a:cubicBezTo>
                <a:cubicBezTo>
                  <a:pt x="5559177" y="2902433"/>
                  <a:pt x="5539800" y="2906409"/>
                  <a:pt x="5537508" y="2914963"/>
                </a:cubicBezTo>
                <a:cubicBezTo>
                  <a:pt x="5535216" y="2923517"/>
                  <a:pt x="5554593" y="2919541"/>
                  <a:pt x="5563134" y="2921829"/>
                </a:cubicBezTo>
                <a:cubicBezTo>
                  <a:pt x="5558550" y="2938937"/>
                  <a:pt x="5560842" y="2930383"/>
                  <a:pt x="5556258" y="2947491"/>
                </a:cubicBezTo>
                <a:cubicBezTo>
                  <a:pt x="5541465" y="2934359"/>
                  <a:pt x="5532924" y="2932071"/>
                  <a:pt x="5518131" y="2918939"/>
                </a:cubicBezTo>
                <a:cubicBezTo>
                  <a:pt x="5509587" y="2916650"/>
                  <a:pt x="5524380" y="2929781"/>
                  <a:pt x="5522088" y="2938336"/>
                </a:cubicBezTo>
                <a:cubicBezTo>
                  <a:pt x="5509587" y="2916650"/>
                  <a:pt x="5485626" y="2937734"/>
                  <a:pt x="5481670" y="2918337"/>
                </a:cubicBezTo>
                <a:cubicBezTo>
                  <a:pt x="5481670" y="2918337"/>
                  <a:pt x="5477086" y="2935446"/>
                  <a:pt x="5466250" y="2941710"/>
                </a:cubicBezTo>
                <a:cubicBezTo>
                  <a:pt x="5457709" y="2939422"/>
                  <a:pt x="5446873" y="2945686"/>
                  <a:pt x="5453125" y="2956527"/>
                </a:cubicBezTo>
                <a:cubicBezTo>
                  <a:pt x="5442290" y="2962792"/>
                  <a:pt x="5446873" y="2945686"/>
                  <a:pt x="5436041" y="2951949"/>
                </a:cubicBezTo>
                <a:cubicBezTo>
                  <a:pt x="5438332" y="2943398"/>
                  <a:pt x="5446873" y="2945686"/>
                  <a:pt x="5440624" y="2934844"/>
                </a:cubicBezTo>
                <a:cubicBezTo>
                  <a:pt x="5442916" y="2926290"/>
                  <a:pt x="5442916" y="2926290"/>
                  <a:pt x="5442916" y="2926290"/>
                </a:cubicBezTo>
                <a:cubicBezTo>
                  <a:pt x="5432080" y="2932555"/>
                  <a:pt x="5429789" y="2941109"/>
                  <a:pt x="5425205" y="2958214"/>
                </a:cubicBezTo>
                <a:cubicBezTo>
                  <a:pt x="5416664" y="2955926"/>
                  <a:pt x="5412703" y="2936531"/>
                  <a:pt x="5427497" y="2949660"/>
                </a:cubicBezTo>
                <a:cubicBezTo>
                  <a:pt x="5412703" y="2936531"/>
                  <a:pt x="5423540" y="2930266"/>
                  <a:pt x="5425831" y="2921712"/>
                </a:cubicBezTo>
                <a:cubicBezTo>
                  <a:pt x="5417287" y="2919423"/>
                  <a:pt x="5401871" y="2942794"/>
                  <a:pt x="5410412" y="2945082"/>
                </a:cubicBezTo>
                <a:cubicBezTo>
                  <a:pt x="5395619" y="2931953"/>
                  <a:pt x="5382494" y="2946770"/>
                  <a:pt x="5378534" y="2927375"/>
                </a:cubicBezTo>
                <a:cubicBezTo>
                  <a:pt x="5369993" y="2925086"/>
                  <a:pt x="5367702" y="2933638"/>
                  <a:pt x="5365409" y="2942192"/>
                </a:cubicBezTo>
                <a:cubicBezTo>
                  <a:pt x="5346033" y="2946168"/>
                  <a:pt x="5359158" y="2931349"/>
                  <a:pt x="5342073" y="2926771"/>
                </a:cubicBezTo>
                <a:lnTo>
                  <a:pt x="5337489" y="2943879"/>
                </a:lnTo>
                <a:cubicBezTo>
                  <a:pt x="5342073" y="2926771"/>
                  <a:pt x="5309571" y="2945566"/>
                  <a:pt x="5314156" y="2928458"/>
                </a:cubicBezTo>
                <a:cubicBezTo>
                  <a:pt x="5311863" y="2937012"/>
                  <a:pt x="5270817" y="2953519"/>
                  <a:pt x="5260609" y="2923279"/>
                </a:cubicBezTo>
                <a:cubicBezTo>
                  <a:pt x="5249776" y="2929544"/>
                  <a:pt x="5253733" y="2948941"/>
                  <a:pt x="5242899" y="2955206"/>
                </a:cubicBezTo>
                <a:cubicBezTo>
                  <a:pt x="5225815" y="2950629"/>
                  <a:pt x="5211022" y="2937497"/>
                  <a:pt x="5206438" y="2954605"/>
                </a:cubicBezTo>
                <a:cubicBezTo>
                  <a:pt x="5197894" y="2952316"/>
                  <a:pt x="5208730" y="2946051"/>
                  <a:pt x="5202479" y="2935207"/>
                </a:cubicBezTo>
                <a:cubicBezTo>
                  <a:pt x="5193937" y="2932919"/>
                  <a:pt x="5189353" y="2950027"/>
                  <a:pt x="5172269" y="2945449"/>
                </a:cubicBezTo>
                <a:cubicBezTo>
                  <a:pt x="5169976" y="2954003"/>
                  <a:pt x="5180810" y="2947738"/>
                  <a:pt x="5176226" y="2964846"/>
                </a:cubicBezTo>
                <a:cubicBezTo>
                  <a:pt x="5159141" y="2960268"/>
                  <a:pt x="5161433" y="2951714"/>
                  <a:pt x="5144348" y="2947136"/>
                </a:cubicBezTo>
                <a:cubicBezTo>
                  <a:pt x="5155184" y="2940871"/>
                  <a:pt x="5146641" y="2938582"/>
                  <a:pt x="5146641" y="2938582"/>
                </a:cubicBezTo>
                <a:cubicBezTo>
                  <a:pt x="5146641" y="2938582"/>
                  <a:pt x="5138099" y="2936293"/>
                  <a:pt x="5138099" y="2936293"/>
                </a:cubicBezTo>
                <a:cubicBezTo>
                  <a:pt x="5144348" y="2947136"/>
                  <a:pt x="5129555" y="2934004"/>
                  <a:pt x="5124972" y="2951112"/>
                </a:cubicBezTo>
                <a:cubicBezTo>
                  <a:pt x="5116430" y="2948824"/>
                  <a:pt x="5107886" y="2946534"/>
                  <a:pt x="5121014" y="2931716"/>
                </a:cubicBezTo>
                <a:cubicBezTo>
                  <a:pt x="5107886" y="2946534"/>
                  <a:pt x="5099345" y="2944246"/>
                  <a:pt x="5088510" y="2950508"/>
                </a:cubicBezTo>
                <a:cubicBezTo>
                  <a:pt x="5090802" y="2941956"/>
                  <a:pt x="5090802" y="2941956"/>
                  <a:pt x="5093094" y="2933402"/>
                </a:cubicBezTo>
                <a:cubicBezTo>
                  <a:pt x="5084553" y="2931114"/>
                  <a:pt x="5073717" y="2937379"/>
                  <a:pt x="5071425" y="2945930"/>
                </a:cubicBezTo>
                <a:cubicBezTo>
                  <a:pt x="5082261" y="2939668"/>
                  <a:pt x="5058301" y="2960750"/>
                  <a:pt x="5062257" y="2980146"/>
                </a:cubicBezTo>
                <a:cubicBezTo>
                  <a:pt x="5049757" y="2958460"/>
                  <a:pt x="5069134" y="2954484"/>
                  <a:pt x="5054341" y="2941352"/>
                </a:cubicBezTo>
                <a:cubicBezTo>
                  <a:pt x="5045800" y="2939064"/>
                  <a:pt x="5041216" y="2956172"/>
                  <a:pt x="5032672" y="2953883"/>
                </a:cubicBezTo>
                <a:cubicBezTo>
                  <a:pt x="5034964" y="2945329"/>
                  <a:pt x="5034964" y="2945329"/>
                  <a:pt x="5037257" y="2936775"/>
                </a:cubicBezTo>
                <a:cubicBezTo>
                  <a:pt x="5034964" y="2945329"/>
                  <a:pt x="5020171" y="2932197"/>
                  <a:pt x="5024131" y="2951594"/>
                </a:cubicBezTo>
                <a:cubicBezTo>
                  <a:pt x="5017879" y="2940751"/>
                  <a:pt x="4989961" y="2942438"/>
                  <a:pt x="4981418" y="2940149"/>
                </a:cubicBezTo>
                <a:cubicBezTo>
                  <a:pt x="4981418" y="2940149"/>
                  <a:pt x="5007046" y="2947016"/>
                  <a:pt x="4987669" y="2950992"/>
                </a:cubicBezTo>
                <a:cubicBezTo>
                  <a:pt x="4987669" y="2950992"/>
                  <a:pt x="4987669" y="2950992"/>
                  <a:pt x="4996210" y="2953281"/>
                </a:cubicBezTo>
                <a:cubicBezTo>
                  <a:pt x="4985377" y="2959546"/>
                  <a:pt x="4947251" y="2930994"/>
                  <a:pt x="4931832" y="2954367"/>
                </a:cubicBezTo>
                <a:cubicBezTo>
                  <a:pt x="4919331" y="2932681"/>
                  <a:pt x="4895370" y="2953765"/>
                  <a:pt x="4886829" y="2951477"/>
                </a:cubicBezTo>
                <a:cubicBezTo>
                  <a:pt x="4878285" y="2949187"/>
                  <a:pt x="4874328" y="2929791"/>
                  <a:pt x="4885161" y="2923525"/>
                </a:cubicBezTo>
                <a:cubicBezTo>
                  <a:pt x="4868076" y="2918947"/>
                  <a:pt x="4874328" y="2929791"/>
                  <a:pt x="4872036" y="2938345"/>
                </a:cubicBezTo>
                <a:cubicBezTo>
                  <a:pt x="4863492" y="2936055"/>
                  <a:pt x="4857243" y="2925213"/>
                  <a:pt x="4848699" y="2922923"/>
                </a:cubicBezTo>
                <a:cubicBezTo>
                  <a:pt x="4840158" y="2920635"/>
                  <a:pt x="4846407" y="2931477"/>
                  <a:pt x="4854951" y="2933767"/>
                </a:cubicBezTo>
                <a:cubicBezTo>
                  <a:pt x="4841824" y="2948586"/>
                  <a:pt x="4833906" y="2909792"/>
                  <a:pt x="4820782" y="2924611"/>
                </a:cubicBezTo>
                <a:cubicBezTo>
                  <a:pt x="4818490" y="2933165"/>
                  <a:pt x="4840158" y="2920635"/>
                  <a:pt x="4835574" y="2937743"/>
                </a:cubicBezTo>
                <a:cubicBezTo>
                  <a:pt x="4818490" y="2933165"/>
                  <a:pt x="4816197" y="2941719"/>
                  <a:pt x="4809945" y="2930876"/>
                </a:cubicBezTo>
                <a:cubicBezTo>
                  <a:pt x="4807654" y="2939430"/>
                  <a:pt x="4827030" y="2935454"/>
                  <a:pt x="4833282" y="2946297"/>
                </a:cubicBezTo>
                <a:cubicBezTo>
                  <a:pt x="4824738" y="2944008"/>
                  <a:pt x="4803070" y="2956535"/>
                  <a:pt x="4785986" y="2951958"/>
                </a:cubicBezTo>
                <a:cubicBezTo>
                  <a:pt x="4790570" y="2934852"/>
                  <a:pt x="4782029" y="2932564"/>
                  <a:pt x="4784320" y="2924010"/>
                </a:cubicBezTo>
                <a:cubicBezTo>
                  <a:pt x="4775776" y="2921720"/>
                  <a:pt x="4773484" y="2930274"/>
                  <a:pt x="4764943" y="2927986"/>
                </a:cubicBezTo>
                <a:cubicBezTo>
                  <a:pt x="4764943" y="2927986"/>
                  <a:pt x="4782029" y="2932564"/>
                  <a:pt x="4779736" y="2941118"/>
                </a:cubicBezTo>
                <a:cubicBezTo>
                  <a:pt x="4768902" y="2947380"/>
                  <a:pt x="4749525" y="2951356"/>
                  <a:pt x="4743275" y="2940513"/>
                </a:cubicBezTo>
                <a:cubicBezTo>
                  <a:pt x="4730147" y="2955332"/>
                  <a:pt x="4715354" y="2942200"/>
                  <a:pt x="4709105" y="2931358"/>
                </a:cubicBezTo>
                <a:cubicBezTo>
                  <a:pt x="4713062" y="2950754"/>
                  <a:pt x="4670352" y="2939310"/>
                  <a:pt x="4674309" y="2958707"/>
                </a:cubicBezTo>
                <a:cubicBezTo>
                  <a:pt x="4663476" y="2964972"/>
                  <a:pt x="4678893" y="2941599"/>
                  <a:pt x="4659516" y="2945575"/>
                </a:cubicBezTo>
                <a:cubicBezTo>
                  <a:pt x="4657225" y="2954129"/>
                  <a:pt x="4663476" y="2964972"/>
                  <a:pt x="4637848" y="2958105"/>
                </a:cubicBezTo>
                <a:cubicBezTo>
                  <a:pt x="4637848" y="2958105"/>
                  <a:pt x="4635555" y="2966659"/>
                  <a:pt x="4644099" y="2968948"/>
                </a:cubicBezTo>
                <a:cubicBezTo>
                  <a:pt x="4641807" y="2977503"/>
                  <a:pt x="4627015" y="2964370"/>
                  <a:pt x="4629307" y="2955816"/>
                </a:cubicBezTo>
                <a:cubicBezTo>
                  <a:pt x="4631598" y="2947262"/>
                  <a:pt x="4646391" y="2960394"/>
                  <a:pt x="4650975" y="2943286"/>
                </a:cubicBezTo>
                <a:cubicBezTo>
                  <a:pt x="4644725" y="2932443"/>
                  <a:pt x="4631598" y="2947262"/>
                  <a:pt x="4614514" y="2942685"/>
                </a:cubicBezTo>
                <a:cubicBezTo>
                  <a:pt x="4612221" y="2951239"/>
                  <a:pt x="4631598" y="2947262"/>
                  <a:pt x="4620766" y="2953528"/>
                </a:cubicBezTo>
                <a:cubicBezTo>
                  <a:pt x="4615349" y="2956659"/>
                  <a:pt x="4608941" y="2954942"/>
                  <a:pt x="4603107" y="2951088"/>
                </a:cubicBezTo>
                <a:lnTo>
                  <a:pt x="4601347" y="2949200"/>
                </a:lnTo>
                <a:lnTo>
                  <a:pt x="4594197" y="2948612"/>
                </a:lnTo>
                <a:lnTo>
                  <a:pt x="4597603" y="2945178"/>
                </a:lnTo>
                <a:lnTo>
                  <a:pt x="4588887" y="2935818"/>
                </a:lnTo>
                <a:cubicBezTo>
                  <a:pt x="4586595" y="2944372"/>
                  <a:pt x="4586595" y="2944372"/>
                  <a:pt x="4582012" y="2961480"/>
                </a:cubicBezTo>
                <a:cubicBezTo>
                  <a:pt x="4564927" y="2956903"/>
                  <a:pt x="4567219" y="2948348"/>
                  <a:pt x="4554091" y="2963167"/>
                </a:cubicBezTo>
                <a:cubicBezTo>
                  <a:pt x="4543883" y="2932927"/>
                  <a:pt x="4526173" y="2964855"/>
                  <a:pt x="4502837" y="2949434"/>
                </a:cubicBezTo>
                <a:cubicBezTo>
                  <a:pt x="4498253" y="2966539"/>
                  <a:pt x="4528465" y="2956301"/>
                  <a:pt x="4515338" y="2971117"/>
                </a:cubicBezTo>
                <a:cubicBezTo>
                  <a:pt x="4509088" y="2960277"/>
                  <a:pt x="4506797" y="2968828"/>
                  <a:pt x="4498253" y="2966539"/>
                </a:cubicBezTo>
                <a:cubicBezTo>
                  <a:pt x="4495961" y="2975093"/>
                  <a:pt x="4495961" y="2975093"/>
                  <a:pt x="4504505" y="2977382"/>
                </a:cubicBezTo>
                <a:cubicBezTo>
                  <a:pt x="4491377" y="2992201"/>
                  <a:pt x="4489713" y="2964251"/>
                  <a:pt x="4500546" y="2957988"/>
                </a:cubicBezTo>
                <a:cubicBezTo>
                  <a:pt x="4481169" y="2961961"/>
                  <a:pt x="4481169" y="2961961"/>
                  <a:pt x="4474919" y="2951121"/>
                </a:cubicBezTo>
                <a:cubicBezTo>
                  <a:pt x="4464085" y="2957383"/>
                  <a:pt x="4461792" y="2965937"/>
                  <a:pt x="4459501" y="2974492"/>
                </a:cubicBezTo>
                <a:cubicBezTo>
                  <a:pt x="4450960" y="2972203"/>
                  <a:pt x="4444707" y="2961360"/>
                  <a:pt x="4453251" y="2963649"/>
                </a:cubicBezTo>
                <a:cubicBezTo>
                  <a:pt x="4444707" y="2961360"/>
                  <a:pt x="4436166" y="2959071"/>
                  <a:pt x="4431583" y="2976179"/>
                </a:cubicBezTo>
                <a:cubicBezTo>
                  <a:pt x="4442415" y="2969914"/>
                  <a:pt x="4442415" y="2969914"/>
                  <a:pt x="4442415" y="2969914"/>
                </a:cubicBezTo>
                <a:cubicBezTo>
                  <a:pt x="4441269" y="2974192"/>
                  <a:pt x="4437416" y="2980033"/>
                  <a:pt x="4431998" y="2983168"/>
                </a:cubicBezTo>
                <a:lnTo>
                  <a:pt x="4429169" y="2982737"/>
                </a:lnTo>
                <a:lnTo>
                  <a:pt x="4428246" y="2967264"/>
                </a:lnTo>
                <a:cubicBezTo>
                  <a:pt x="4428611" y="2961632"/>
                  <a:pt x="4427623" y="2956782"/>
                  <a:pt x="4419081" y="2954493"/>
                </a:cubicBezTo>
                <a:cubicBezTo>
                  <a:pt x="4416789" y="2963047"/>
                  <a:pt x="4416789" y="2963047"/>
                  <a:pt x="4405954" y="2969312"/>
                </a:cubicBezTo>
                <a:cubicBezTo>
                  <a:pt x="4397413" y="2967024"/>
                  <a:pt x="4408245" y="2960758"/>
                  <a:pt x="4399705" y="2958470"/>
                </a:cubicBezTo>
                <a:cubicBezTo>
                  <a:pt x="4391161" y="2956180"/>
                  <a:pt x="4386577" y="2973288"/>
                  <a:pt x="4378036" y="2971000"/>
                </a:cubicBezTo>
                <a:cubicBezTo>
                  <a:pt x="4375744" y="2979554"/>
                  <a:pt x="4405954" y="2969312"/>
                  <a:pt x="4412206" y="2980155"/>
                </a:cubicBezTo>
                <a:cubicBezTo>
                  <a:pt x="4401369" y="2986420"/>
                  <a:pt x="4401369" y="2986420"/>
                  <a:pt x="4399077" y="2994974"/>
                </a:cubicBezTo>
                <a:cubicBezTo>
                  <a:pt x="4392828" y="2984132"/>
                  <a:pt x="4367200" y="2977264"/>
                  <a:pt x="4360951" y="2966422"/>
                </a:cubicBezTo>
                <a:cubicBezTo>
                  <a:pt x="4374077" y="2951602"/>
                  <a:pt x="4356992" y="2947025"/>
                  <a:pt x="4350742" y="2936182"/>
                </a:cubicBezTo>
                <a:cubicBezTo>
                  <a:pt x="4350742" y="2936182"/>
                  <a:pt x="4348451" y="2944736"/>
                  <a:pt x="4337615" y="2951001"/>
                </a:cubicBezTo>
                <a:lnTo>
                  <a:pt x="4307096" y="2934047"/>
                </a:lnTo>
                <a:lnTo>
                  <a:pt x="4294148" y="2949467"/>
                </a:lnTo>
                <a:lnTo>
                  <a:pt x="4335286" y="2960489"/>
                </a:lnTo>
                <a:cubicBezTo>
                  <a:pt x="4335286" y="2960489"/>
                  <a:pt x="4332924" y="2969305"/>
                  <a:pt x="4332924" y="2969305"/>
                </a:cubicBezTo>
                <a:cubicBezTo>
                  <a:pt x="4330561" y="2978121"/>
                  <a:pt x="4330561" y="2978121"/>
                  <a:pt x="4322334" y="2975916"/>
                </a:cubicBezTo>
                <a:cubicBezTo>
                  <a:pt x="4325917" y="2929635"/>
                  <a:pt x="4292927" y="2986934"/>
                  <a:pt x="4285922" y="2947262"/>
                </a:cubicBezTo>
                <a:cubicBezTo>
                  <a:pt x="4277693" y="2945057"/>
                  <a:pt x="4277693" y="2945057"/>
                  <a:pt x="4275331" y="2953873"/>
                </a:cubicBezTo>
                <a:cubicBezTo>
                  <a:pt x="4267104" y="2951669"/>
                  <a:pt x="4269467" y="2942853"/>
                  <a:pt x="4261238" y="2940648"/>
                </a:cubicBezTo>
                <a:cubicBezTo>
                  <a:pt x="4263599" y="2931835"/>
                  <a:pt x="4271827" y="2934040"/>
                  <a:pt x="4274189" y="2925224"/>
                </a:cubicBezTo>
                <a:lnTo>
                  <a:pt x="4307075" y="2934035"/>
                </a:lnTo>
                <a:lnTo>
                  <a:pt x="4305740" y="2933292"/>
                </a:lnTo>
                <a:cubicBezTo>
                  <a:pt x="4325114" y="2929315"/>
                  <a:pt x="4331989" y="2903655"/>
                  <a:pt x="4349074" y="2908233"/>
                </a:cubicBezTo>
                <a:cubicBezTo>
                  <a:pt x="4349074" y="2908233"/>
                  <a:pt x="4344491" y="2925339"/>
                  <a:pt x="4353035" y="2927628"/>
                </a:cubicBezTo>
                <a:cubicBezTo>
                  <a:pt x="4357305" y="2928772"/>
                  <a:pt x="4358450" y="2924496"/>
                  <a:pt x="4360664" y="2920507"/>
                </a:cubicBezTo>
                <a:lnTo>
                  <a:pt x="4372574" y="2915921"/>
                </a:lnTo>
                <a:lnTo>
                  <a:pt x="4373625" y="2919125"/>
                </a:lnTo>
                <a:lnTo>
                  <a:pt x="4370405" y="2931138"/>
                </a:lnTo>
                <a:cubicBezTo>
                  <a:pt x="4371681" y="2934918"/>
                  <a:pt x="4373244" y="2937628"/>
                  <a:pt x="4367828" y="2940760"/>
                </a:cubicBezTo>
                <a:cubicBezTo>
                  <a:pt x="4384912" y="2945337"/>
                  <a:pt x="4398037" y="2930521"/>
                  <a:pt x="4412829" y="2943650"/>
                </a:cubicBezTo>
                <a:cubicBezTo>
                  <a:pt x="4408873" y="2924256"/>
                  <a:pt x="4387204" y="2936783"/>
                  <a:pt x="4378660" y="2934494"/>
                </a:cubicBezTo>
                <a:lnTo>
                  <a:pt x="4373625" y="2919125"/>
                </a:lnTo>
                <a:lnTo>
                  <a:pt x="4374702" y="2915100"/>
                </a:lnTo>
                <a:lnTo>
                  <a:pt x="4372574" y="2915921"/>
                </a:lnTo>
                <a:lnTo>
                  <a:pt x="4367959" y="2901834"/>
                </a:lnTo>
                <a:cubicBezTo>
                  <a:pt x="4352515" y="2895401"/>
                  <a:pt x="4330013" y="2893958"/>
                  <a:pt x="4314907" y="2899078"/>
                </a:cubicBezTo>
                <a:cubicBezTo>
                  <a:pt x="4321156" y="2909921"/>
                  <a:pt x="4308032" y="2924738"/>
                  <a:pt x="4299488" y="2922448"/>
                </a:cubicBezTo>
                <a:cubicBezTo>
                  <a:pt x="4304071" y="2905343"/>
                  <a:pt x="4297822" y="2894500"/>
                  <a:pt x="4293864" y="2875103"/>
                </a:cubicBezTo>
                <a:cubicBezTo>
                  <a:pt x="4285323" y="2872814"/>
                  <a:pt x="4280738" y="2889922"/>
                  <a:pt x="4280738" y="2889922"/>
                </a:cubicBezTo>
                <a:cubicBezTo>
                  <a:pt x="4278446" y="2898476"/>
                  <a:pt x="4291571" y="2883657"/>
                  <a:pt x="4289280" y="2892211"/>
                </a:cubicBezTo>
                <a:cubicBezTo>
                  <a:pt x="4286987" y="2900765"/>
                  <a:pt x="4278446" y="2898476"/>
                  <a:pt x="4267612" y="2904739"/>
                </a:cubicBezTo>
                <a:cubicBezTo>
                  <a:pt x="4267612" y="2904739"/>
                  <a:pt x="4261362" y="2893899"/>
                  <a:pt x="4261362" y="2893899"/>
                </a:cubicBezTo>
                <a:cubicBezTo>
                  <a:pt x="4252819" y="2891609"/>
                  <a:pt x="4267612" y="2904739"/>
                  <a:pt x="4248235" y="2908715"/>
                </a:cubicBezTo>
                <a:cubicBezTo>
                  <a:pt x="4231775" y="2867635"/>
                  <a:pt x="4204896" y="2933775"/>
                  <a:pt x="4188438" y="2892693"/>
                </a:cubicBezTo>
                <a:cubicBezTo>
                  <a:pt x="4188438" y="2892693"/>
                  <a:pt x="4186146" y="2901247"/>
                  <a:pt x="4177602" y="2898958"/>
                </a:cubicBezTo>
                <a:cubicBezTo>
                  <a:pt x="4173646" y="2879561"/>
                  <a:pt x="4188438" y="2892693"/>
                  <a:pt x="4190731" y="2884139"/>
                </a:cubicBezTo>
                <a:cubicBezTo>
                  <a:pt x="4167393" y="2868720"/>
                  <a:pt x="4153642" y="2920042"/>
                  <a:pt x="4126349" y="2885224"/>
                </a:cubicBezTo>
                <a:cubicBezTo>
                  <a:pt x="4117807" y="2882935"/>
                  <a:pt x="4132601" y="2896067"/>
                  <a:pt x="4121764" y="2902332"/>
                </a:cubicBezTo>
                <a:cubicBezTo>
                  <a:pt x="4110931" y="2908597"/>
                  <a:pt x="4100096" y="2914862"/>
                  <a:pt x="4087595" y="2893176"/>
                </a:cubicBezTo>
                <a:cubicBezTo>
                  <a:pt x="4085303" y="2901730"/>
                  <a:pt x="4091556" y="2912574"/>
                  <a:pt x="4089263" y="2921128"/>
                </a:cubicBezTo>
                <a:cubicBezTo>
                  <a:pt x="4084679" y="2938233"/>
                  <a:pt x="4078427" y="2927393"/>
                  <a:pt x="4069885" y="2925104"/>
                </a:cubicBezTo>
                <a:cubicBezTo>
                  <a:pt x="4067595" y="2933655"/>
                  <a:pt x="4086970" y="2929682"/>
                  <a:pt x="4084679" y="2938233"/>
                </a:cubicBezTo>
                <a:cubicBezTo>
                  <a:pt x="4073843" y="2944498"/>
                  <a:pt x="4067595" y="2933655"/>
                  <a:pt x="4059050" y="2931366"/>
                </a:cubicBezTo>
                <a:cubicBezTo>
                  <a:pt x="4048217" y="2937631"/>
                  <a:pt x="4063011" y="2950763"/>
                  <a:pt x="4045925" y="2946185"/>
                </a:cubicBezTo>
                <a:cubicBezTo>
                  <a:pt x="4060718" y="2959318"/>
                  <a:pt x="4084679" y="2938233"/>
                  <a:pt x="4110305" y="2945100"/>
                </a:cubicBezTo>
                <a:cubicBezTo>
                  <a:pt x="4092596" y="2977027"/>
                  <a:pt x="4077803" y="2963895"/>
                  <a:pt x="4043634" y="2954740"/>
                </a:cubicBezTo>
                <a:cubicBezTo>
                  <a:pt x="4039674" y="2935342"/>
                  <a:pt x="4039674" y="2935342"/>
                  <a:pt x="4044257" y="2918237"/>
                </a:cubicBezTo>
                <a:cubicBezTo>
                  <a:pt x="4052801" y="2920526"/>
                  <a:pt x="4052801" y="2920526"/>
                  <a:pt x="4061342" y="2922815"/>
                </a:cubicBezTo>
                <a:cubicBezTo>
                  <a:pt x="4063634" y="2914261"/>
                  <a:pt x="4065926" y="2905706"/>
                  <a:pt x="4085303" y="2901730"/>
                </a:cubicBezTo>
                <a:cubicBezTo>
                  <a:pt x="4059677" y="2894864"/>
                  <a:pt x="4041966" y="2926788"/>
                  <a:pt x="4007797" y="2917633"/>
                </a:cubicBezTo>
                <a:cubicBezTo>
                  <a:pt x="4018631" y="2911370"/>
                  <a:pt x="3999255" y="2915344"/>
                  <a:pt x="4003838" y="2898239"/>
                </a:cubicBezTo>
                <a:cubicBezTo>
                  <a:pt x="3995298" y="2895950"/>
                  <a:pt x="4010088" y="2909081"/>
                  <a:pt x="3999255" y="2915344"/>
                </a:cubicBezTo>
                <a:cubicBezTo>
                  <a:pt x="3990714" y="2913055"/>
                  <a:pt x="3982171" y="2910766"/>
                  <a:pt x="3973629" y="2908478"/>
                </a:cubicBezTo>
                <a:cubicBezTo>
                  <a:pt x="3995298" y="2895950"/>
                  <a:pt x="3978213" y="2891372"/>
                  <a:pt x="3961128" y="2886794"/>
                </a:cubicBezTo>
                <a:cubicBezTo>
                  <a:pt x="3967377" y="2897637"/>
                  <a:pt x="3965086" y="2906188"/>
                  <a:pt x="3971337" y="2917031"/>
                </a:cubicBezTo>
                <a:cubicBezTo>
                  <a:pt x="3962795" y="2914742"/>
                  <a:pt x="3954254" y="2912454"/>
                  <a:pt x="3945709" y="2910164"/>
                </a:cubicBezTo>
                <a:cubicBezTo>
                  <a:pt x="3945709" y="2910164"/>
                  <a:pt x="3948001" y="2901610"/>
                  <a:pt x="3948001" y="2901610"/>
                </a:cubicBezTo>
                <a:cubicBezTo>
                  <a:pt x="3932584" y="2924984"/>
                  <a:pt x="3899038" y="2879326"/>
                  <a:pt x="3892163" y="2904985"/>
                </a:cubicBezTo>
                <a:cubicBezTo>
                  <a:pt x="3866537" y="2898118"/>
                  <a:pt x="3855702" y="2904383"/>
                  <a:pt x="3836324" y="2908360"/>
                </a:cubicBezTo>
                <a:cubicBezTo>
                  <a:pt x="3834032" y="2916914"/>
                  <a:pt x="3842576" y="2919203"/>
                  <a:pt x="3831741" y="2925468"/>
                </a:cubicBezTo>
                <a:cubicBezTo>
                  <a:pt x="3825491" y="2914625"/>
                  <a:pt x="3797570" y="2916312"/>
                  <a:pt x="3789030" y="2914023"/>
                </a:cubicBezTo>
                <a:cubicBezTo>
                  <a:pt x="3785070" y="2894626"/>
                  <a:pt x="3802155" y="2899204"/>
                  <a:pt x="3806739" y="2882096"/>
                </a:cubicBezTo>
                <a:cubicBezTo>
                  <a:pt x="3823824" y="2886673"/>
                  <a:pt x="3821532" y="2895228"/>
                  <a:pt x="3840908" y="2891251"/>
                </a:cubicBezTo>
                <a:cubicBezTo>
                  <a:pt x="3834659" y="2880409"/>
                  <a:pt x="3834659" y="2880409"/>
                  <a:pt x="3847784" y="2865592"/>
                </a:cubicBezTo>
                <a:cubicBezTo>
                  <a:pt x="3832367" y="2888963"/>
                  <a:pt x="3805073" y="2854148"/>
                  <a:pt x="3806739" y="2882096"/>
                </a:cubicBezTo>
                <a:cubicBezTo>
                  <a:pt x="3789654" y="2877518"/>
                  <a:pt x="3802782" y="2862699"/>
                  <a:pt x="3783405" y="2866675"/>
                </a:cubicBezTo>
                <a:cubicBezTo>
                  <a:pt x="3774863" y="2864386"/>
                  <a:pt x="3800490" y="2871253"/>
                  <a:pt x="3781113" y="2875229"/>
                </a:cubicBezTo>
                <a:cubicBezTo>
                  <a:pt x="3783405" y="2866675"/>
                  <a:pt x="3766320" y="2862097"/>
                  <a:pt x="3764029" y="2870651"/>
                </a:cubicBezTo>
                <a:cubicBezTo>
                  <a:pt x="3761736" y="2879206"/>
                  <a:pt x="3761736" y="2879206"/>
                  <a:pt x="3761736" y="2879206"/>
                </a:cubicBezTo>
                <a:cubicBezTo>
                  <a:pt x="3742359" y="2883182"/>
                  <a:pt x="3667771" y="2854028"/>
                  <a:pt x="3647767" y="2894509"/>
                </a:cubicBezTo>
                <a:cubicBezTo>
                  <a:pt x="3641518" y="2883666"/>
                  <a:pt x="3630683" y="2889931"/>
                  <a:pt x="3615891" y="2876799"/>
                </a:cubicBezTo>
                <a:cubicBezTo>
                  <a:pt x="3607350" y="2874510"/>
                  <a:pt x="3598182" y="2908724"/>
                  <a:pt x="3583389" y="2895592"/>
                </a:cubicBezTo>
                <a:cubicBezTo>
                  <a:pt x="3583389" y="2895592"/>
                  <a:pt x="3591930" y="2897881"/>
                  <a:pt x="3594221" y="2889329"/>
                </a:cubicBezTo>
                <a:cubicBezTo>
                  <a:pt x="3577137" y="2884751"/>
                  <a:pt x="3566305" y="2891014"/>
                  <a:pt x="3578805" y="2912700"/>
                </a:cubicBezTo>
                <a:cubicBezTo>
                  <a:pt x="3561721" y="2908122"/>
                  <a:pt x="3555468" y="2897279"/>
                  <a:pt x="3550885" y="2914387"/>
                </a:cubicBezTo>
                <a:cubicBezTo>
                  <a:pt x="3550885" y="2914387"/>
                  <a:pt x="3567969" y="2918965"/>
                  <a:pt x="3576512" y="2921254"/>
                </a:cubicBezTo>
                <a:cubicBezTo>
                  <a:pt x="3565678" y="2927519"/>
                  <a:pt x="3563385" y="2936073"/>
                  <a:pt x="3571929" y="2938362"/>
                </a:cubicBezTo>
                <a:cubicBezTo>
                  <a:pt x="3575885" y="2957759"/>
                  <a:pt x="3561093" y="2944627"/>
                  <a:pt x="3558801" y="2953181"/>
                </a:cubicBezTo>
                <a:lnTo>
                  <a:pt x="3561093" y="2944627"/>
                </a:lnTo>
                <a:cubicBezTo>
                  <a:pt x="3552552" y="2942338"/>
                  <a:pt x="3546716" y="2938483"/>
                  <a:pt x="3540597" y="2935697"/>
                </a:cubicBezTo>
                <a:lnTo>
                  <a:pt x="3523768" y="2933793"/>
                </a:lnTo>
                <a:lnTo>
                  <a:pt x="3520063" y="2931822"/>
                </a:lnTo>
                <a:lnTo>
                  <a:pt x="3530075" y="2923709"/>
                </a:lnTo>
                <a:cubicBezTo>
                  <a:pt x="3534635" y="2923784"/>
                  <a:pt x="3538905" y="2924928"/>
                  <a:pt x="3540051" y="2920652"/>
                </a:cubicBezTo>
                <a:cubicBezTo>
                  <a:pt x="3531507" y="2918363"/>
                  <a:pt x="3514423" y="2913785"/>
                  <a:pt x="3499630" y="2900654"/>
                </a:cubicBezTo>
                <a:cubicBezTo>
                  <a:pt x="3497338" y="2909208"/>
                  <a:pt x="3486505" y="2915473"/>
                  <a:pt x="3492754" y="2926316"/>
                </a:cubicBezTo>
                <a:cubicBezTo>
                  <a:pt x="3501298" y="2928605"/>
                  <a:pt x="3508276" y="2928183"/>
                  <a:pt x="3513904" y="2928544"/>
                </a:cubicBezTo>
                <a:lnTo>
                  <a:pt x="3520063" y="2931822"/>
                </a:lnTo>
                <a:lnTo>
                  <a:pt x="3518382" y="2933183"/>
                </a:lnTo>
                <a:lnTo>
                  <a:pt x="3523768" y="2933793"/>
                </a:lnTo>
                <a:lnTo>
                  <a:pt x="3526923" y="2935471"/>
                </a:lnTo>
                <a:cubicBezTo>
                  <a:pt x="3522339" y="2952579"/>
                  <a:pt x="3507546" y="2939447"/>
                  <a:pt x="3502962" y="2956556"/>
                </a:cubicBezTo>
                <a:cubicBezTo>
                  <a:pt x="3490462" y="2934870"/>
                  <a:pt x="3475669" y="2921738"/>
                  <a:pt x="3432958" y="2910293"/>
                </a:cubicBezTo>
                <a:cubicBezTo>
                  <a:pt x="3441499" y="2912582"/>
                  <a:pt x="3439207" y="2921136"/>
                  <a:pt x="3430666" y="2918847"/>
                </a:cubicBezTo>
                <a:cubicBezTo>
                  <a:pt x="3436915" y="2929690"/>
                  <a:pt x="3462544" y="2936557"/>
                  <a:pt x="3464836" y="2928003"/>
                </a:cubicBezTo>
                <a:cubicBezTo>
                  <a:pt x="3473377" y="2930292"/>
                  <a:pt x="3468793" y="2947400"/>
                  <a:pt x="3466502" y="2955951"/>
                </a:cubicBezTo>
                <a:cubicBezTo>
                  <a:pt x="3457960" y="2953663"/>
                  <a:pt x="3440876" y="2949085"/>
                  <a:pt x="3438584" y="2957639"/>
                </a:cubicBezTo>
                <a:cubicBezTo>
                  <a:pt x="3370245" y="2939328"/>
                  <a:pt x="3343992" y="2968966"/>
                  <a:pt x="3296697" y="2974630"/>
                </a:cubicBezTo>
                <a:cubicBezTo>
                  <a:pt x="3298989" y="2966076"/>
                  <a:pt x="3316074" y="2970653"/>
                  <a:pt x="3318366" y="2962099"/>
                </a:cubicBezTo>
                <a:cubicBezTo>
                  <a:pt x="3309822" y="2959810"/>
                  <a:pt x="3301281" y="2957522"/>
                  <a:pt x="3286488" y="2944390"/>
                </a:cubicBezTo>
                <a:cubicBezTo>
                  <a:pt x="3290445" y="2963786"/>
                  <a:pt x="3290445" y="2963786"/>
                  <a:pt x="3288153" y="2972340"/>
                </a:cubicBezTo>
                <a:cubicBezTo>
                  <a:pt x="3271069" y="2967762"/>
                  <a:pt x="3249400" y="2980290"/>
                  <a:pt x="3215231" y="2971135"/>
                </a:cubicBezTo>
                <a:cubicBezTo>
                  <a:pt x="3212939" y="2979689"/>
                  <a:pt x="3221483" y="2981978"/>
                  <a:pt x="3221483" y="2981978"/>
                </a:cubicBezTo>
                <a:cubicBezTo>
                  <a:pt x="3219190" y="2990532"/>
                  <a:pt x="3187313" y="2972822"/>
                  <a:pt x="3180437" y="2998484"/>
                </a:cubicBezTo>
                <a:cubicBezTo>
                  <a:pt x="3157101" y="2983063"/>
                  <a:pt x="3111471" y="3016678"/>
                  <a:pt x="3092721" y="2984149"/>
                </a:cubicBezTo>
                <a:cubicBezTo>
                  <a:pt x="3077301" y="3007522"/>
                  <a:pt x="3045424" y="2989812"/>
                  <a:pt x="3030007" y="3013183"/>
                </a:cubicBezTo>
                <a:cubicBezTo>
                  <a:pt x="2995838" y="3004027"/>
                  <a:pt x="2985002" y="3010292"/>
                  <a:pt x="2959376" y="3003426"/>
                </a:cubicBezTo>
                <a:cubicBezTo>
                  <a:pt x="2957084" y="3011980"/>
                  <a:pt x="2965625" y="3014268"/>
                  <a:pt x="2965625" y="3014268"/>
                </a:cubicBezTo>
                <a:cubicBezTo>
                  <a:pt x="2946248" y="3018244"/>
                  <a:pt x="2931456" y="3005113"/>
                  <a:pt x="2918331" y="3019932"/>
                </a:cubicBezTo>
                <a:lnTo>
                  <a:pt x="2921758" y="3024947"/>
                </a:lnTo>
                <a:lnTo>
                  <a:pt x="2906843" y="3032899"/>
                </a:lnTo>
                <a:cubicBezTo>
                  <a:pt x="2894527" y="3031890"/>
                  <a:pt x="2879577" y="3027885"/>
                  <a:pt x="2871033" y="3025595"/>
                </a:cubicBezTo>
                <a:cubicBezTo>
                  <a:pt x="2873325" y="3017041"/>
                  <a:pt x="2896662" y="3032462"/>
                  <a:pt x="2898954" y="3023908"/>
                </a:cubicBezTo>
                <a:cubicBezTo>
                  <a:pt x="2901246" y="3015354"/>
                  <a:pt x="2881869" y="3019331"/>
                  <a:pt x="2886453" y="3002222"/>
                </a:cubicBezTo>
                <a:cubicBezTo>
                  <a:pt x="2875617" y="3008487"/>
                  <a:pt x="2875617" y="3008487"/>
                  <a:pt x="2867076" y="3006199"/>
                </a:cubicBezTo>
                <a:cubicBezTo>
                  <a:pt x="2864784" y="3014753"/>
                  <a:pt x="2873325" y="3017041"/>
                  <a:pt x="2871033" y="3025595"/>
                </a:cubicBezTo>
                <a:cubicBezTo>
                  <a:pt x="2847700" y="3010175"/>
                  <a:pt x="2829988" y="3042099"/>
                  <a:pt x="2816863" y="3056919"/>
                </a:cubicBezTo>
                <a:cubicBezTo>
                  <a:pt x="2802070" y="3043787"/>
                  <a:pt x="2806654" y="3026681"/>
                  <a:pt x="2795819" y="3032944"/>
                </a:cubicBezTo>
                <a:cubicBezTo>
                  <a:pt x="2787278" y="3030655"/>
                  <a:pt x="2759360" y="3032343"/>
                  <a:pt x="2765609" y="3043185"/>
                </a:cubicBezTo>
                <a:cubicBezTo>
                  <a:pt x="2763317" y="3051739"/>
                  <a:pt x="2742275" y="3027765"/>
                  <a:pt x="2746232" y="3047161"/>
                </a:cubicBezTo>
                <a:cubicBezTo>
                  <a:pt x="2746232" y="3047161"/>
                  <a:pt x="2729148" y="3042583"/>
                  <a:pt x="2739983" y="3036319"/>
                </a:cubicBezTo>
                <a:cubicBezTo>
                  <a:pt x="2722898" y="3031741"/>
                  <a:pt x="2712063" y="3038006"/>
                  <a:pt x="2703522" y="3035717"/>
                </a:cubicBezTo>
                <a:cubicBezTo>
                  <a:pt x="2705813" y="3027163"/>
                  <a:pt x="2701230" y="3044271"/>
                  <a:pt x="2698937" y="3052825"/>
                </a:cubicBezTo>
                <a:cubicBezTo>
                  <a:pt x="2690394" y="3050536"/>
                  <a:pt x="2692686" y="3041982"/>
                  <a:pt x="2694978" y="3033428"/>
                </a:cubicBezTo>
                <a:cubicBezTo>
                  <a:pt x="2694978" y="3033428"/>
                  <a:pt x="2688102" y="3059090"/>
                  <a:pt x="2688102" y="3059090"/>
                </a:cubicBezTo>
                <a:cubicBezTo>
                  <a:pt x="2662476" y="3052224"/>
                  <a:pt x="2632264" y="3062464"/>
                  <a:pt x="2615179" y="3057887"/>
                </a:cubicBezTo>
                <a:cubicBezTo>
                  <a:pt x="2602054" y="3072704"/>
                  <a:pt x="2619139" y="3077281"/>
                  <a:pt x="2606011" y="3092100"/>
                </a:cubicBezTo>
                <a:cubicBezTo>
                  <a:pt x="2595802" y="3061863"/>
                  <a:pt x="2586634" y="3096076"/>
                  <a:pt x="2592886" y="3106920"/>
                </a:cubicBezTo>
                <a:cubicBezTo>
                  <a:pt x="2601427" y="3109208"/>
                  <a:pt x="2601427" y="3109208"/>
                  <a:pt x="2599135" y="3117762"/>
                </a:cubicBezTo>
                <a:cubicBezTo>
                  <a:pt x="2607679" y="3120051"/>
                  <a:pt x="2601427" y="3109208"/>
                  <a:pt x="2603719" y="3100654"/>
                </a:cubicBezTo>
                <a:cubicBezTo>
                  <a:pt x="2609971" y="3111497"/>
                  <a:pt x="2627056" y="3116075"/>
                  <a:pt x="2637889" y="3109810"/>
                </a:cubicBezTo>
                <a:cubicBezTo>
                  <a:pt x="2631639" y="3098967"/>
                  <a:pt x="2631639" y="3098967"/>
                  <a:pt x="2642473" y="3092702"/>
                </a:cubicBezTo>
                <a:cubicBezTo>
                  <a:pt x="2640181" y="3101256"/>
                  <a:pt x="2651016" y="3094991"/>
                  <a:pt x="2653308" y="3086437"/>
                </a:cubicBezTo>
                <a:cubicBezTo>
                  <a:pt x="2659557" y="3097280"/>
                  <a:pt x="2676642" y="3101858"/>
                  <a:pt x="2681226" y="3084752"/>
                </a:cubicBezTo>
                <a:cubicBezTo>
                  <a:pt x="2687478" y="3095593"/>
                  <a:pt x="2674350" y="3110412"/>
                  <a:pt x="2672058" y="3118966"/>
                </a:cubicBezTo>
                <a:cubicBezTo>
                  <a:pt x="2682894" y="3112701"/>
                  <a:pt x="2685186" y="3104147"/>
                  <a:pt x="2687478" y="3095593"/>
                </a:cubicBezTo>
                <a:cubicBezTo>
                  <a:pt x="2696019" y="3097881"/>
                  <a:pt x="2680602" y="3121255"/>
                  <a:pt x="2678310" y="3129809"/>
                </a:cubicBezTo>
                <a:cubicBezTo>
                  <a:pt x="2650389" y="3131496"/>
                  <a:pt x="2650389" y="3131496"/>
                  <a:pt x="2609971" y="3111497"/>
                </a:cubicBezTo>
                <a:cubicBezTo>
                  <a:pt x="2613928" y="3130894"/>
                  <a:pt x="2613928" y="3130894"/>
                  <a:pt x="2596843" y="3126316"/>
                </a:cubicBezTo>
                <a:cubicBezTo>
                  <a:pt x="2609344" y="3148002"/>
                  <a:pt x="2566633" y="3136558"/>
                  <a:pt x="2562050" y="3153664"/>
                </a:cubicBezTo>
                <a:cubicBezTo>
                  <a:pt x="2555798" y="3142820"/>
                  <a:pt x="2544965" y="3149086"/>
                  <a:pt x="2542673" y="3157640"/>
                </a:cubicBezTo>
                <a:cubicBezTo>
                  <a:pt x="2525588" y="3153062"/>
                  <a:pt x="2484543" y="3169568"/>
                  <a:pt x="2493711" y="3135352"/>
                </a:cubicBezTo>
                <a:cubicBezTo>
                  <a:pt x="2508503" y="3148484"/>
                  <a:pt x="2510796" y="3139930"/>
                  <a:pt x="2527880" y="3144508"/>
                </a:cubicBezTo>
                <a:cubicBezTo>
                  <a:pt x="2530172" y="3135954"/>
                  <a:pt x="2521629" y="3133664"/>
                  <a:pt x="2513088" y="3131376"/>
                </a:cubicBezTo>
                <a:cubicBezTo>
                  <a:pt x="2521629" y="3133664"/>
                  <a:pt x="2523920" y="3125113"/>
                  <a:pt x="2515379" y="3122824"/>
                </a:cubicBezTo>
                <a:cubicBezTo>
                  <a:pt x="2526212" y="3116559"/>
                  <a:pt x="2526212" y="3116559"/>
                  <a:pt x="2539340" y="3101740"/>
                </a:cubicBezTo>
                <a:cubicBezTo>
                  <a:pt x="2541631" y="3093186"/>
                  <a:pt x="2528504" y="3108005"/>
                  <a:pt x="2517671" y="3114270"/>
                </a:cubicBezTo>
                <a:cubicBezTo>
                  <a:pt x="2509127" y="3111981"/>
                  <a:pt x="2530796" y="3099451"/>
                  <a:pt x="2524547" y="3088608"/>
                </a:cubicBezTo>
                <a:cubicBezTo>
                  <a:pt x="2533088" y="3090897"/>
                  <a:pt x="2541631" y="3093186"/>
                  <a:pt x="2543924" y="3084632"/>
                </a:cubicBezTo>
                <a:cubicBezTo>
                  <a:pt x="2541631" y="3093186"/>
                  <a:pt x="2578093" y="3093788"/>
                  <a:pt x="2562674" y="3117161"/>
                </a:cubicBezTo>
                <a:cubicBezTo>
                  <a:pt x="2571217" y="3119450"/>
                  <a:pt x="2579758" y="3121739"/>
                  <a:pt x="2575801" y="3102342"/>
                </a:cubicBezTo>
                <a:cubicBezTo>
                  <a:pt x="2582050" y="3113184"/>
                  <a:pt x="2577466" y="3130293"/>
                  <a:pt x="2577466" y="3130293"/>
                </a:cubicBezTo>
                <a:cubicBezTo>
                  <a:pt x="2586010" y="3132582"/>
                  <a:pt x="2586010" y="3132582"/>
                  <a:pt x="2586010" y="3132582"/>
                </a:cubicBezTo>
                <a:cubicBezTo>
                  <a:pt x="2579758" y="3121739"/>
                  <a:pt x="2586634" y="3096076"/>
                  <a:pt x="2591218" y="3078968"/>
                </a:cubicBezTo>
                <a:cubicBezTo>
                  <a:pt x="2561009" y="3089210"/>
                  <a:pt x="2505795" y="3056079"/>
                  <a:pt x="2477250" y="3094271"/>
                </a:cubicBezTo>
                <a:cubicBezTo>
                  <a:pt x="2462457" y="3081139"/>
                  <a:pt x="2457873" y="3098248"/>
                  <a:pt x="2440788" y="3093670"/>
                </a:cubicBezTo>
                <a:cubicBezTo>
                  <a:pt x="2438496" y="3102224"/>
                  <a:pt x="2447040" y="3104513"/>
                  <a:pt x="2455581" y="3106802"/>
                </a:cubicBezTo>
                <a:cubicBezTo>
                  <a:pt x="2433913" y="3119329"/>
                  <a:pt x="2429955" y="3099935"/>
                  <a:pt x="2410579" y="3103909"/>
                </a:cubicBezTo>
                <a:cubicBezTo>
                  <a:pt x="2402035" y="3101619"/>
                  <a:pt x="2392867" y="3135836"/>
                  <a:pt x="2399743" y="3110174"/>
                </a:cubicBezTo>
                <a:cubicBezTo>
                  <a:pt x="2388910" y="3116439"/>
                  <a:pt x="2358700" y="3126681"/>
                  <a:pt x="2354740" y="3107283"/>
                </a:cubicBezTo>
                <a:cubicBezTo>
                  <a:pt x="2352449" y="3115837"/>
                  <a:pt x="2330780" y="3128368"/>
                  <a:pt x="2326823" y="3108971"/>
                </a:cubicBezTo>
                <a:cubicBezTo>
                  <a:pt x="2324531" y="3117525"/>
                  <a:pt x="2305154" y="3121501"/>
                  <a:pt x="2330780" y="3128368"/>
                </a:cubicBezTo>
                <a:cubicBezTo>
                  <a:pt x="2339323" y="3130657"/>
                  <a:pt x="2294318" y="3127766"/>
                  <a:pt x="2305154" y="3121501"/>
                </a:cubicBezTo>
                <a:cubicBezTo>
                  <a:pt x="2285777" y="3125477"/>
                  <a:pt x="2311403" y="3132344"/>
                  <a:pt x="2317655" y="3143187"/>
                </a:cubicBezTo>
                <a:cubicBezTo>
                  <a:pt x="2315363" y="3151741"/>
                  <a:pt x="2302862" y="3130055"/>
                  <a:pt x="2306819" y="3149452"/>
                </a:cubicBezTo>
                <a:cubicBezTo>
                  <a:pt x="2294318" y="3127766"/>
                  <a:pt x="2268066" y="3157402"/>
                  <a:pt x="2266400" y="3129454"/>
                </a:cubicBezTo>
                <a:lnTo>
                  <a:pt x="2264108" y="3138008"/>
                </a:lnTo>
                <a:cubicBezTo>
                  <a:pt x="2255564" y="3135718"/>
                  <a:pt x="2242440" y="3150535"/>
                  <a:pt x="2249315" y="3124876"/>
                </a:cubicBezTo>
                <a:cubicBezTo>
                  <a:pt x="2247024" y="3133430"/>
                  <a:pt x="2233896" y="3148246"/>
                  <a:pt x="2238480" y="3131141"/>
                </a:cubicBezTo>
                <a:cubicBezTo>
                  <a:pt x="2225355" y="3145957"/>
                  <a:pt x="2219103" y="3135117"/>
                  <a:pt x="2208271" y="3141379"/>
                </a:cubicBezTo>
                <a:cubicBezTo>
                  <a:pt x="2205978" y="3149934"/>
                  <a:pt x="2216812" y="3143668"/>
                  <a:pt x="2223063" y="3154512"/>
                </a:cubicBezTo>
                <a:cubicBezTo>
                  <a:pt x="2205978" y="3149934"/>
                  <a:pt x="2178058" y="3151620"/>
                  <a:pt x="2169517" y="3149332"/>
                </a:cubicBezTo>
                <a:cubicBezTo>
                  <a:pt x="2167225" y="3157886"/>
                  <a:pt x="2158681" y="3155597"/>
                  <a:pt x="2156389" y="3164150"/>
                </a:cubicBezTo>
                <a:cubicBezTo>
                  <a:pt x="2156389" y="3164150"/>
                  <a:pt x="2141597" y="3151019"/>
                  <a:pt x="2137013" y="3168127"/>
                </a:cubicBezTo>
                <a:cubicBezTo>
                  <a:pt x="2122220" y="3154995"/>
                  <a:pt x="2109094" y="3169815"/>
                  <a:pt x="2105135" y="3150417"/>
                </a:cubicBezTo>
                <a:cubicBezTo>
                  <a:pt x="2100551" y="3167525"/>
                  <a:pt x="2088050" y="3145839"/>
                  <a:pt x="2083466" y="3162948"/>
                </a:cubicBezTo>
                <a:cubicBezTo>
                  <a:pt x="2074925" y="3160659"/>
                  <a:pt x="2072633" y="3169213"/>
                  <a:pt x="2057840" y="3156081"/>
                </a:cubicBezTo>
                <a:cubicBezTo>
                  <a:pt x="2053256" y="3173189"/>
                  <a:pt x="2072633" y="3169213"/>
                  <a:pt x="2070341" y="3177767"/>
                </a:cubicBezTo>
                <a:cubicBezTo>
                  <a:pt x="2065757" y="3194873"/>
                  <a:pt x="2044715" y="3170901"/>
                  <a:pt x="2037840" y="3196560"/>
                </a:cubicBezTo>
                <a:cubicBezTo>
                  <a:pt x="2029296" y="3194271"/>
                  <a:pt x="2048673" y="3190295"/>
                  <a:pt x="2042423" y="3179454"/>
                </a:cubicBezTo>
                <a:cubicBezTo>
                  <a:pt x="2031588" y="3185717"/>
                  <a:pt x="2031588" y="3185717"/>
                  <a:pt x="2029296" y="3194271"/>
                </a:cubicBezTo>
                <a:lnTo>
                  <a:pt x="1960957" y="3175959"/>
                </a:lnTo>
                <a:lnTo>
                  <a:pt x="1952416" y="3173671"/>
                </a:lnTo>
                <a:cubicBezTo>
                  <a:pt x="1941580" y="3179936"/>
                  <a:pt x="1950124" y="3182225"/>
                  <a:pt x="1947832" y="3190779"/>
                </a:cubicBezTo>
                <a:cubicBezTo>
                  <a:pt x="1956373" y="3193067"/>
                  <a:pt x="1950124" y="3182225"/>
                  <a:pt x="1960957" y="3175959"/>
                </a:cubicBezTo>
                <a:cubicBezTo>
                  <a:pt x="1967209" y="3186803"/>
                  <a:pt x="1956373" y="3193067"/>
                  <a:pt x="1951789" y="3210176"/>
                </a:cubicBezTo>
                <a:cubicBezTo>
                  <a:pt x="1936996" y="3197044"/>
                  <a:pt x="1934704" y="3205598"/>
                  <a:pt x="1909078" y="3198731"/>
                </a:cubicBezTo>
                <a:cubicBezTo>
                  <a:pt x="1906786" y="3207285"/>
                  <a:pt x="1904494" y="3215839"/>
                  <a:pt x="1904494" y="3215839"/>
                </a:cubicBezTo>
                <a:cubicBezTo>
                  <a:pt x="1885117" y="3219815"/>
                  <a:pt x="1870324" y="3206684"/>
                  <a:pt x="1852613" y="3238608"/>
                </a:cubicBezTo>
                <a:cubicBezTo>
                  <a:pt x="1837821" y="3225476"/>
                  <a:pt x="1848656" y="3219212"/>
                  <a:pt x="1859489" y="3212948"/>
                </a:cubicBezTo>
                <a:cubicBezTo>
                  <a:pt x="1859489" y="3212948"/>
                  <a:pt x="1850948" y="3210660"/>
                  <a:pt x="1850948" y="3210660"/>
                </a:cubicBezTo>
                <a:cubicBezTo>
                  <a:pt x="1842404" y="3208370"/>
                  <a:pt x="1848656" y="3219212"/>
                  <a:pt x="1837821" y="3225476"/>
                </a:cubicBezTo>
                <a:cubicBezTo>
                  <a:pt x="1829280" y="3223187"/>
                  <a:pt x="1831572" y="3214634"/>
                  <a:pt x="1826987" y="3231742"/>
                </a:cubicBezTo>
                <a:cubicBezTo>
                  <a:pt x="1818444" y="3229452"/>
                  <a:pt x="1831572" y="3214634"/>
                  <a:pt x="1823028" y="3212344"/>
                </a:cubicBezTo>
                <a:cubicBezTo>
                  <a:pt x="1818757" y="3211200"/>
                  <a:pt x="1819746" y="3216050"/>
                  <a:pt x="1820449" y="3221968"/>
                </a:cubicBezTo>
                <a:lnTo>
                  <a:pt x="1816152" y="3238006"/>
                </a:lnTo>
                <a:lnTo>
                  <a:pt x="1809381" y="3241922"/>
                </a:lnTo>
                <a:cubicBezTo>
                  <a:pt x="1803756" y="3241562"/>
                  <a:pt x="1797921" y="3237704"/>
                  <a:pt x="1790526" y="3231140"/>
                </a:cubicBezTo>
                <a:cubicBezTo>
                  <a:pt x="1792818" y="3222586"/>
                  <a:pt x="1807611" y="3235718"/>
                  <a:pt x="1807611" y="3235718"/>
                </a:cubicBezTo>
                <a:cubicBezTo>
                  <a:pt x="1809903" y="3227164"/>
                  <a:pt x="1809903" y="3227164"/>
                  <a:pt x="1809903" y="3227164"/>
                </a:cubicBezTo>
                <a:cubicBezTo>
                  <a:pt x="1778025" y="3209454"/>
                  <a:pt x="1773441" y="3226562"/>
                  <a:pt x="1750105" y="3211141"/>
                </a:cubicBezTo>
                <a:cubicBezTo>
                  <a:pt x="1739272" y="3217406"/>
                  <a:pt x="1739272" y="3217406"/>
                  <a:pt x="1743229" y="3236803"/>
                </a:cubicBezTo>
                <a:cubicBezTo>
                  <a:pt x="1751773" y="3239092"/>
                  <a:pt x="1747813" y="3219695"/>
                  <a:pt x="1754065" y="3230538"/>
                </a:cubicBezTo>
                <a:cubicBezTo>
                  <a:pt x="1749480" y="3247646"/>
                  <a:pt x="1732396" y="3243068"/>
                  <a:pt x="1734688" y="3234514"/>
                </a:cubicBezTo>
                <a:lnTo>
                  <a:pt x="1727633" y="3242009"/>
                </a:lnTo>
                <a:lnTo>
                  <a:pt x="1723852" y="3240779"/>
                </a:lnTo>
                <a:lnTo>
                  <a:pt x="1723487" y="3246411"/>
                </a:lnTo>
                <a:lnTo>
                  <a:pt x="1716976" y="3266441"/>
                </a:lnTo>
                <a:cubicBezTo>
                  <a:pt x="1721249" y="3267586"/>
                  <a:pt x="1722395" y="3263308"/>
                  <a:pt x="1722760" y="3257676"/>
                </a:cubicBezTo>
                <a:lnTo>
                  <a:pt x="1723487" y="3246411"/>
                </a:lnTo>
                <a:lnTo>
                  <a:pt x="1727633" y="3242009"/>
                </a:lnTo>
                <a:lnTo>
                  <a:pt x="1743853" y="3247283"/>
                </a:lnTo>
                <a:cubicBezTo>
                  <a:pt x="1749480" y="3247646"/>
                  <a:pt x="1753751" y="3248791"/>
                  <a:pt x="1755729" y="3258489"/>
                </a:cubicBezTo>
                <a:cubicBezTo>
                  <a:pt x="1747188" y="3256201"/>
                  <a:pt x="1738645" y="3253911"/>
                  <a:pt x="1730103" y="3251623"/>
                </a:cubicBezTo>
                <a:cubicBezTo>
                  <a:pt x="1727811" y="3260176"/>
                  <a:pt x="1736352" y="3262465"/>
                  <a:pt x="1734060" y="3271019"/>
                </a:cubicBezTo>
                <a:cubicBezTo>
                  <a:pt x="1725519" y="3268731"/>
                  <a:pt x="1714684" y="3274993"/>
                  <a:pt x="1706143" y="3272704"/>
                </a:cubicBezTo>
                <a:cubicBezTo>
                  <a:pt x="1719268" y="3257887"/>
                  <a:pt x="1706143" y="3272704"/>
                  <a:pt x="1699893" y="3261864"/>
                </a:cubicBezTo>
                <a:cubicBezTo>
                  <a:pt x="1702186" y="3253310"/>
                  <a:pt x="1713019" y="3247045"/>
                  <a:pt x="1710727" y="3255599"/>
                </a:cubicBezTo>
                <a:lnTo>
                  <a:pt x="1713019" y="3247045"/>
                </a:lnTo>
                <a:cubicBezTo>
                  <a:pt x="1704478" y="3244756"/>
                  <a:pt x="1704478" y="3244756"/>
                  <a:pt x="1704478" y="3244756"/>
                </a:cubicBezTo>
                <a:cubicBezTo>
                  <a:pt x="1704478" y="3244756"/>
                  <a:pt x="1702186" y="3253310"/>
                  <a:pt x="1699893" y="3261864"/>
                </a:cubicBezTo>
                <a:cubicBezTo>
                  <a:pt x="1693642" y="3251021"/>
                  <a:pt x="1693642" y="3251021"/>
                  <a:pt x="1674265" y="3254997"/>
                </a:cubicBezTo>
                <a:cubicBezTo>
                  <a:pt x="1676557" y="3246443"/>
                  <a:pt x="1678849" y="3237889"/>
                  <a:pt x="1678849" y="3237889"/>
                </a:cubicBezTo>
                <a:cubicBezTo>
                  <a:pt x="1678849" y="3237889"/>
                  <a:pt x="1671974" y="3263548"/>
                  <a:pt x="1654889" y="3258971"/>
                </a:cubicBezTo>
                <a:cubicBezTo>
                  <a:pt x="1665724" y="3252709"/>
                  <a:pt x="1668016" y="3244154"/>
                  <a:pt x="1670308" y="3235601"/>
                </a:cubicBezTo>
                <a:cubicBezTo>
                  <a:pt x="1661764" y="3233311"/>
                  <a:pt x="1663433" y="3261260"/>
                  <a:pt x="1648639" y="3248131"/>
                </a:cubicBezTo>
                <a:cubicBezTo>
                  <a:pt x="1661764" y="3233311"/>
                  <a:pt x="1655515" y="3222468"/>
                  <a:pt x="1666349" y="3216203"/>
                </a:cubicBezTo>
                <a:cubicBezTo>
                  <a:pt x="1657807" y="3213914"/>
                  <a:pt x="1644680" y="3228733"/>
                  <a:pt x="1649264" y="3211625"/>
                </a:cubicBezTo>
                <a:cubicBezTo>
                  <a:pt x="1643015" y="3200783"/>
                  <a:pt x="1646972" y="3220179"/>
                  <a:pt x="1644680" y="3228733"/>
                </a:cubicBezTo>
                <a:cubicBezTo>
                  <a:pt x="1621346" y="3213313"/>
                  <a:pt x="1599677" y="3225843"/>
                  <a:pt x="1584884" y="3212711"/>
                </a:cubicBezTo>
                <a:cubicBezTo>
                  <a:pt x="1591133" y="3223554"/>
                  <a:pt x="1588841" y="3232108"/>
                  <a:pt x="1597385" y="3234397"/>
                </a:cubicBezTo>
                <a:cubicBezTo>
                  <a:pt x="1569465" y="3236081"/>
                  <a:pt x="1578009" y="3238371"/>
                  <a:pt x="1552380" y="3231504"/>
                </a:cubicBezTo>
                <a:cubicBezTo>
                  <a:pt x="1558632" y="3242347"/>
                  <a:pt x="1556340" y="3250901"/>
                  <a:pt x="1554048" y="3259455"/>
                </a:cubicBezTo>
                <a:cubicBezTo>
                  <a:pt x="1541547" y="3237769"/>
                  <a:pt x="1526128" y="3261142"/>
                  <a:pt x="1502794" y="3245722"/>
                </a:cubicBezTo>
                <a:cubicBezTo>
                  <a:pt x="1513002" y="3275962"/>
                  <a:pt x="1549464" y="3276563"/>
                  <a:pt x="1561965" y="3298249"/>
                </a:cubicBezTo>
                <a:cubicBezTo>
                  <a:pt x="1546545" y="3321619"/>
                  <a:pt x="1525503" y="3297647"/>
                  <a:pt x="1497583" y="3299332"/>
                </a:cubicBezTo>
                <a:cubicBezTo>
                  <a:pt x="1499874" y="3290780"/>
                  <a:pt x="1502167" y="3282226"/>
                  <a:pt x="1510710" y="3284515"/>
                </a:cubicBezTo>
                <a:cubicBezTo>
                  <a:pt x="1506751" y="3265118"/>
                  <a:pt x="1489042" y="3297043"/>
                  <a:pt x="1497583" y="3299332"/>
                </a:cubicBezTo>
                <a:cubicBezTo>
                  <a:pt x="1495291" y="3307885"/>
                  <a:pt x="1489042" y="3297043"/>
                  <a:pt x="1486750" y="3305597"/>
                </a:cubicBezTo>
                <a:cubicBezTo>
                  <a:pt x="1469666" y="3301019"/>
                  <a:pt x="1495291" y="3307885"/>
                  <a:pt x="1489042" y="3297043"/>
                </a:cubicBezTo>
                <a:cubicBezTo>
                  <a:pt x="1489042" y="3297043"/>
                  <a:pt x="1478206" y="3303308"/>
                  <a:pt x="1480498" y="3294754"/>
                </a:cubicBezTo>
                <a:cubicBezTo>
                  <a:pt x="1471957" y="3292465"/>
                  <a:pt x="1480498" y="3294754"/>
                  <a:pt x="1471957" y="3292465"/>
                </a:cubicBezTo>
                <a:cubicBezTo>
                  <a:pt x="1486750" y="3305597"/>
                  <a:pt x="1469666" y="3301019"/>
                  <a:pt x="1458830" y="3307284"/>
                </a:cubicBezTo>
                <a:cubicBezTo>
                  <a:pt x="1452581" y="3296441"/>
                  <a:pt x="1450288" y="3304995"/>
                  <a:pt x="1444037" y="3294152"/>
                </a:cubicBezTo>
                <a:cubicBezTo>
                  <a:pt x="1435496" y="3291863"/>
                  <a:pt x="1430912" y="3308972"/>
                  <a:pt x="1430912" y="3308972"/>
                </a:cubicBezTo>
                <a:cubicBezTo>
                  <a:pt x="1405283" y="3302105"/>
                  <a:pt x="1400699" y="3319213"/>
                  <a:pt x="1377366" y="3303792"/>
                </a:cubicBezTo>
                <a:lnTo>
                  <a:pt x="1375073" y="3312346"/>
                </a:lnTo>
                <a:cubicBezTo>
                  <a:pt x="1371116" y="3292950"/>
                  <a:pt x="1338612" y="3311744"/>
                  <a:pt x="1336320" y="3320299"/>
                </a:cubicBezTo>
                <a:cubicBezTo>
                  <a:pt x="1347156" y="3314034"/>
                  <a:pt x="1357989" y="3307768"/>
                  <a:pt x="1364240" y="3318611"/>
                </a:cubicBezTo>
                <a:cubicBezTo>
                  <a:pt x="1347156" y="3314034"/>
                  <a:pt x="1320903" y="3343669"/>
                  <a:pt x="1314651" y="3332829"/>
                </a:cubicBezTo>
                <a:cubicBezTo>
                  <a:pt x="1308402" y="3321986"/>
                  <a:pt x="1301526" y="3347646"/>
                  <a:pt x="1312360" y="3341380"/>
                </a:cubicBezTo>
                <a:cubicBezTo>
                  <a:pt x="1292983" y="3345356"/>
                  <a:pt x="1275898" y="3340779"/>
                  <a:pt x="1261105" y="3327646"/>
                </a:cubicBezTo>
                <a:cubicBezTo>
                  <a:pt x="1275898" y="3340779"/>
                  <a:pt x="1258813" y="3336201"/>
                  <a:pt x="1247980" y="3342466"/>
                </a:cubicBezTo>
                <a:cubicBezTo>
                  <a:pt x="1250272" y="3333912"/>
                  <a:pt x="1261105" y="3327646"/>
                  <a:pt x="1263397" y="3319095"/>
                </a:cubicBezTo>
                <a:cubicBezTo>
                  <a:pt x="1269649" y="3329936"/>
                  <a:pt x="1285066" y="3306565"/>
                  <a:pt x="1299858" y="3319697"/>
                </a:cubicBezTo>
                <a:cubicBezTo>
                  <a:pt x="1278817" y="3295722"/>
                  <a:pt x="1278817" y="3295722"/>
                  <a:pt x="1244647" y="3286567"/>
                </a:cubicBezTo>
                <a:cubicBezTo>
                  <a:pt x="1246939" y="3278013"/>
                  <a:pt x="1215062" y="3260303"/>
                  <a:pt x="1240687" y="3267169"/>
                </a:cubicBezTo>
                <a:cubicBezTo>
                  <a:pt x="1234438" y="3256327"/>
                  <a:pt x="1221311" y="3271146"/>
                  <a:pt x="1204226" y="3266568"/>
                </a:cubicBezTo>
                <a:cubicBezTo>
                  <a:pt x="1206518" y="3258014"/>
                  <a:pt x="1215062" y="3260303"/>
                  <a:pt x="1223603" y="3262591"/>
                </a:cubicBezTo>
                <a:cubicBezTo>
                  <a:pt x="1197977" y="3255725"/>
                  <a:pt x="1196309" y="3227773"/>
                  <a:pt x="1166099" y="3238016"/>
                </a:cubicBezTo>
                <a:lnTo>
                  <a:pt x="1163807" y="3246569"/>
                </a:lnTo>
                <a:cubicBezTo>
                  <a:pt x="1145836" y="3262382"/>
                  <a:pt x="1125992" y="3246749"/>
                  <a:pt x="1106117" y="3250450"/>
                </a:cubicBezTo>
                <a:lnTo>
                  <a:pt x="1098154" y="3255282"/>
                </a:lnTo>
                <a:lnTo>
                  <a:pt x="1091301" y="3252352"/>
                </a:lnTo>
                <a:cubicBezTo>
                  <a:pt x="1088592" y="3253920"/>
                  <a:pt x="1087447" y="3258196"/>
                  <a:pt x="1086300" y="3262474"/>
                </a:cubicBezTo>
                <a:lnTo>
                  <a:pt x="1098154" y="3255282"/>
                </a:lnTo>
                <a:lnTo>
                  <a:pt x="1105677" y="3258498"/>
                </a:lnTo>
                <a:cubicBezTo>
                  <a:pt x="1103385" y="3267052"/>
                  <a:pt x="1088592" y="3253920"/>
                  <a:pt x="1084008" y="3271028"/>
                </a:cubicBezTo>
                <a:cubicBezTo>
                  <a:pt x="1077757" y="3260185"/>
                  <a:pt x="1062340" y="3283556"/>
                  <a:pt x="1058382" y="3264162"/>
                </a:cubicBezTo>
                <a:cubicBezTo>
                  <a:pt x="1058382" y="3264162"/>
                  <a:pt x="1047547" y="3270424"/>
                  <a:pt x="1047547" y="3270424"/>
                </a:cubicBezTo>
                <a:cubicBezTo>
                  <a:pt x="1047547" y="3270424"/>
                  <a:pt x="1047547" y="3270424"/>
                  <a:pt x="1056091" y="3272713"/>
                </a:cubicBezTo>
                <a:cubicBezTo>
                  <a:pt x="1019629" y="3272112"/>
                  <a:pt x="1021922" y="3263557"/>
                  <a:pt x="1021294" y="3300062"/>
                </a:cubicBezTo>
                <a:cubicBezTo>
                  <a:pt x="1012753" y="3297774"/>
                  <a:pt x="1004210" y="3295485"/>
                  <a:pt x="1004210" y="3295485"/>
                </a:cubicBezTo>
                <a:cubicBezTo>
                  <a:pt x="1001918" y="3304038"/>
                  <a:pt x="1010461" y="3306328"/>
                  <a:pt x="1010461" y="3306328"/>
                </a:cubicBezTo>
                <a:cubicBezTo>
                  <a:pt x="1008169" y="3314882"/>
                  <a:pt x="997961" y="3284642"/>
                  <a:pt x="984833" y="3299460"/>
                </a:cubicBezTo>
                <a:cubicBezTo>
                  <a:pt x="984833" y="3299460"/>
                  <a:pt x="978584" y="3288618"/>
                  <a:pt x="980876" y="3280064"/>
                </a:cubicBezTo>
                <a:cubicBezTo>
                  <a:pt x="980876" y="3280064"/>
                  <a:pt x="980876" y="3280064"/>
                  <a:pt x="978584" y="3288618"/>
                </a:cubicBezTo>
                <a:cubicBezTo>
                  <a:pt x="963791" y="3275486"/>
                  <a:pt x="955247" y="3273197"/>
                  <a:pt x="946706" y="3270908"/>
                </a:cubicBezTo>
                <a:cubicBezTo>
                  <a:pt x="953583" y="3245246"/>
                  <a:pt x="963791" y="3275486"/>
                  <a:pt x="968375" y="3258378"/>
                </a:cubicBezTo>
                <a:cubicBezTo>
                  <a:pt x="976916" y="3260667"/>
                  <a:pt x="966083" y="3266932"/>
                  <a:pt x="963791" y="3275486"/>
                </a:cubicBezTo>
                <a:cubicBezTo>
                  <a:pt x="983168" y="3271510"/>
                  <a:pt x="976916" y="3260667"/>
                  <a:pt x="990043" y="3245850"/>
                </a:cubicBezTo>
                <a:cubicBezTo>
                  <a:pt x="983792" y="3235007"/>
                  <a:pt x="975251" y="3232719"/>
                  <a:pt x="975251" y="3232719"/>
                </a:cubicBezTo>
                <a:cubicBezTo>
                  <a:pt x="977543" y="3224164"/>
                  <a:pt x="988376" y="3217899"/>
                  <a:pt x="971291" y="3213321"/>
                </a:cubicBezTo>
                <a:cubicBezTo>
                  <a:pt x="984419" y="3198502"/>
                  <a:pt x="1005461" y="3222477"/>
                  <a:pt x="1018588" y="3207658"/>
                </a:cubicBezTo>
                <a:cubicBezTo>
                  <a:pt x="1020880" y="3199104"/>
                  <a:pt x="984419" y="3198502"/>
                  <a:pt x="989003" y="3181394"/>
                </a:cubicBezTo>
                <a:cubicBezTo>
                  <a:pt x="954833" y="3172239"/>
                  <a:pt x="946290" y="3169949"/>
                  <a:pt x="918372" y="3171637"/>
                </a:cubicBezTo>
                <a:cubicBezTo>
                  <a:pt x="922956" y="3154529"/>
                  <a:pt x="903579" y="3158505"/>
                  <a:pt x="908163" y="3141397"/>
                </a:cubicBezTo>
                <a:cubicBezTo>
                  <a:pt x="897328" y="3147662"/>
                  <a:pt x="903579" y="3158505"/>
                  <a:pt x="895035" y="3156216"/>
                </a:cubicBezTo>
                <a:cubicBezTo>
                  <a:pt x="886494" y="3153927"/>
                  <a:pt x="888786" y="3145373"/>
                  <a:pt x="891078" y="3136819"/>
                </a:cubicBezTo>
                <a:cubicBezTo>
                  <a:pt x="882535" y="3134530"/>
                  <a:pt x="886494" y="3153927"/>
                  <a:pt x="869410" y="3149349"/>
                </a:cubicBezTo>
                <a:cubicBezTo>
                  <a:pt x="888786" y="3145373"/>
                  <a:pt x="865450" y="3129952"/>
                  <a:pt x="846073" y="3133928"/>
                </a:cubicBezTo>
                <a:lnTo>
                  <a:pt x="849367" y="3121635"/>
                </a:lnTo>
                <a:lnTo>
                  <a:pt x="840617" y="3126687"/>
                </a:lnTo>
                <a:cubicBezTo>
                  <a:pt x="835474" y="3125308"/>
                  <a:pt x="830883" y="3121876"/>
                  <a:pt x="830883" y="3121876"/>
                </a:cubicBezTo>
                <a:lnTo>
                  <a:pt x="849911" y="3119606"/>
                </a:lnTo>
                <a:lnTo>
                  <a:pt x="857533" y="3091161"/>
                </a:lnTo>
                <a:cubicBezTo>
                  <a:pt x="838156" y="3095137"/>
                  <a:pt x="864409" y="3065498"/>
                  <a:pt x="845032" y="3069475"/>
                </a:cubicBezTo>
                <a:cubicBezTo>
                  <a:pt x="847324" y="3060921"/>
                  <a:pt x="855868" y="3063210"/>
                  <a:pt x="858160" y="3054656"/>
                </a:cubicBezTo>
                <a:cubicBezTo>
                  <a:pt x="858160" y="3054656"/>
                  <a:pt x="849616" y="3052367"/>
                  <a:pt x="851908" y="3043813"/>
                </a:cubicBezTo>
                <a:cubicBezTo>
                  <a:pt x="851908" y="3043813"/>
                  <a:pt x="851908" y="3043813"/>
                  <a:pt x="860452" y="3046102"/>
                </a:cubicBezTo>
                <a:cubicBezTo>
                  <a:pt x="856492" y="3026707"/>
                  <a:pt x="851908" y="3043813"/>
                  <a:pt x="837115" y="3030683"/>
                </a:cubicBezTo>
                <a:cubicBezTo>
                  <a:pt x="856492" y="3026707"/>
                  <a:pt x="841699" y="3013575"/>
                  <a:pt x="852535" y="3007310"/>
                </a:cubicBezTo>
                <a:cubicBezTo>
                  <a:pt x="837742" y="2994178"/>
                  <a:pt x="829198" y="2991889"/>
                  <a:pt x="824614" y="3008998"/>
                </a:cubicBezTo>
                <a:cubicBezTo>
                  <a:pt x="816073" y="3006709"/>
                  <a:pt x="820657" y="2989601"/>
                  <a:pt x="820657" y="2989601"/>
                </a:cubicBezTo>
                <a:cubicBezTo>
                  <a:pt x="820657" y="2989601"/>
                  <a:pt x="822793" y="2990173"/>
                  <a:pt x="825787" y="2987537"/>
                </a:cubicBezTo>
                <a:lnTo>
                  <a:pt x="832572" y="2973482"/>
                </a:lnTo>
                <a:lnTo>
                  <a:pt x="837742" y="2994178"/>
                </a:lnTo>
                <a:cubicBezTo>
                  <a:pt x="842326" y="2977070"/>
                  <a:pt x="857743" y="2953697"/>
                  <a:pt x="874828" y="2958275"/>
                </a:cubicBezTo>
                <a:cubicBezTo>
                  <a:pt x="877119" y="2949723"/>
                  <a:pt x="873163" y="2930327"/>
                  <a:pt x="883995" y="2924061"/>
                </a:cubicBezTo>
                <a:cubicBezTo>
                  <a:pt x="886288" y="2915507"/>
                  <a:pt x="873163" y="2930327"/>
                  <a:pt x="875455" y="2921773"/>
                </a:cubicBezTo>
                <a:cubicBezTo>
                  <a:pt x="877747" y="2913219"/>
                  <a:pt x="886288" y="2915507"/>
                  <a:pt x="893164" y="2889845"/>
                </a:cubicBezTo>
                <a:lnTo>
                  <a:pt x="888855" y="2890982"/>
                </a:lnTo>
                <a:lnTo>
                  <a:pt x="891029" y="2889273"/>
                </a:lnTo>
                <a:cubicBezTo>
                  <a:pt x="898009" y="2888851"/>
                  <a:pt x="907124" y="2889002"/>
                  <a:pt x="912541" y="2885869"/>
                </a:cubicBezTo>
                <a:cubicBezTo>
                  <a:pt x="912541" y="2885869"/>
                  <a:pt x="906291" y="2875029"/>
                  <a:pt x="914832" y="2877317"/>
                </a:cubicBezTo>
                <a:cubicBezTo>
                  <a:pt x="914832" y="2877317"/>
                  <a:pt x="908583" y="2866475"/>
                  <a:pt x="917124" y="2868763"/>
                </a:cubicBezTo>
                <a:cubicBezTo>
                  <a:pt x="910875" y="2857921"/>
                  <a:pt x="900039" y="2864186"/>
                  <a:pt x="893790" y="2853343"/>
                </a:cubicBezTo>
                <a:cubicBezTo>
                  <a:pt x="906915" y="2838523"/>
                  <a:pt x="924000" y="2843101"/>
                  <a:pt x="937128" y="2828283"/>
                </a:cubicBezTo>
                <a:cubicBezTo>
                  <a:pt x="924627" y="2806597"/>
                  <a:pt x="894415" y="2816838"/>
                  <a:pt x="879622" y="2803705"/>
                </a:cubicBezTo>
                <a:cubicBezTo>
                  <a:pt x="871081" y="2801417"/>
                  <a:pt x="868789" y="2809971"/>
                  <a:pt x="866497" y="2818525"/>
                </a:cubicBezTo>
                <a:cubicBezTo>
                  <a:pt x="857953" y="2816236"/>
                  <a:pt x="849412" y="2813947"/>
                  <a:pt x="849412" y="2813947"/>
                </a:cubicBezTo>
                <a:cubicBezTo>
                  <a:pt x="848579" y="2799973"/>
                  <a:pt x="848163" y="2792985"/>
                  <a:pt x="849882" y="2786569"/>
                </a:cubicBezTo>
                <a:lnTo>
                  <a:pt x="862032" y="2764661"/>
                </a:lnTo>
                <a:lnTo>
                  <a:pt x="869413" y="2773468"/>
                </a:lnTo>
                <a:lnTo>
                  <a:pt x="862601" y="2763639"/>
                </a:lnTo>
                <a:lnTo>
                  <a:pt x="863164" y="2762626"/>
                </a:lnTo>
                <a:lnTo>
                  <a:pt x="862056" y="2762851"/>
                </a:lnTo>
                <a:lnTo>
                  <a:pt x="858685" y="2757987"/>
                </a:lnTo>
                <a:cubicBezTo>
                  <a:pt x="850349" y="2759192"/>
                  <a:pt x="839516" y="2765458"/>
                  <a:pt x="832955" y="2772865"/>
                </a:cubicBezTo>
                <a:cubicBezTo>
                  <a:pt x="822119" y="2779130"/>
                  <a:pt x="832327" y="2809369"/>
                  <a:pt x="812951" y="2813346"/>
                </a:cubicBezTo>
                <a:cubicBezTo>
                  <a:pt x="815243" y="2804791"/>
                  <a:pt x="828370" y="2789973"/>
                  <a:pt x="822119" y="2779130"/>
                </a:cubicBezTo>
                <a:cubicBezTo>
                  <a:pt x="813578" y="2776841"/>
                  <a:pt x="808994" y="2793949"/>
                  <a:pt x="806702" y="2802503"/>
                </a:cubicBezTo>
                <a:cubicBezTo>
                  <a:pt x="802117" y="2819611"/>
                  <a:pt x="802742" y="2783106"/>
                  <a:pt x="813578" y="2776841"/>
                </a:cubicBezTo>
                <a:cubicBezTo>
                  <a:pt x="805034" y="2774552"/>
                  <a:pt x="800450" y="2791660"/>
                  <a:pt x="798158" y="2800214"/>
                </a:cubicBezTo>
                <a:cubicBezTo>
                  <a:pt x="781073" y="2795636"/>
                  <a:pt x="794201" y="2780817"/>
                  <a:pt x="796493" y="2772263"/>
                </a:cubicBezTo>
                <a:cubicBezTo>
                  <a:pt x="794201" y="2780817"/>
                  <a:pt x="783365" y="2787082"/>
                  <a:pt x="766280" y="2782504"/>
                </a:cubicBezTo>
                <a:cubicBezTo>
                  <a:pt x="781700" y="2759131"/>
                  <a:pt x="771491" y="2728894"/>
                  <a:pt x="797117" y="2735760"/>
                </a:cubicBezTo>
                <a:cubicBezTo>
                  <a:pt x="782324" y="2722628"/>
                  <a:pt x="765239" y="2718050"/>
                  <a:pt x="750446" y="2704919"/>
                </a:cubicBezTo>
                <a:cubicBezTo>
                  <a:pt x="748154" y="2713473"/>
                  <a:pt x="765239" y="2718050"/>
                  <a:pt x="745862" y="2722027"/>
                </a:cubicBezTo>
                <a:cubicBezTo>
                  <a:pt x="762947" y="2726605"/>
                  <a:pt x="756698" y="2715762"/>
                  <a:pt x="780032" y="2731182"/>
                </a:cubicBezTo>
                <a:cubicBezTo>
                  <a:pt x="777740" y="2739736"/>
                  <a:pt x="775448" y="2748290"/>
                  <a:pt x="773156" y="2756842"/>
                </a:cubicBezTo>
                <a:cubicBezTo>
                  <a:pt x="758363" y="2743713"/>
                  <a:pt x="764615" y="2754553"/>
                  <a:pt x="756072" y="2752264"/>
                </a:cubicBezTo>
                <a:cubicBezTo>
                  <a:pt x="758363" y="2743713"/>
                  <a:pt x="758363" y="2743713"/>
                  <a:pt x="760655" y="2735159"/>
                </a:cubicBezTo>
                <a:cubicBezTo>
                  <a:pt x="732737" y="2736846"/>
                  <a:pt x="707109" y="2729979"/>
                  <a:pt x="687733" y="2733953"/>
                </a:cubicBezTo>
                <a:cubicBezTo>
                  <a:pt x="685441" y="2742507"/>
                  <a:pt x="685441" y="2742507"/>
                  <a:pt x="683149" y="2751061"/>
                </a:cubicBezTo>
                <a:cubicBezTo>
                  <a:pt x="668356" y="2737929"/>
                  <a:pt x="661480" y="2763591"/>
                  <a:pt x="656896" y="2780699"/>
                </a:cubicBezTo>
                <a:cubicBezTo>
                  <a:pt x="649501" y="2774132"/>
                  <a:pt x="652939" y="2761302"/>
                  <a:pt x="653668" y="2750038"/>
                </a:cubicBezTo>
                <a:lnTo>
                  <a:pt x="648354" y="2744237"/>
                </a:lnTo>
                <a:lnTo>
                  <a:pt x="651271" y="2733351"/>
                </a:lnTo>
                <a:cubicBezTo>
                  <a:pt x="651271" y="2733351"/>
                  <a:pt x="631894" y="2737327"/>
                  <a:pt x="634186" y="2728773"/>
                </a:cubicBezTo>
                <a:lnTo>
                  <a:pt x="648354" y="2744237"/>
                </a:lnTo>
                <a:lnTo>
                  <a:pt x="646687" y="2750459"/>
                </a:lnTo>
                <a:cubicBezTo>
                  <a:pt x="638146" y="2748171"/>
                  <a:pt x="651271" y="2733351"/>
                  <a:pt x="623353" y="2735038"/>
                </a:cubicBezTo>
                <a:cubicBezTo>
                  <a:pt x="625645" y="2726485"/>
                  <a:pt x="634186" y="2728773"/>
                  <a:pt x="636478" y="2720219"/>
                </a:cubicBezTo>
                <a:cubicBezTo>
                  <a:pt x="631062" y="2723353"/>
                  <a:pt x="623510" y="2725913"/>
                  <a:pt x="615460" y="2726050"/>
                </a:cubicBezTo>
                <a:lnTo>
                  <a:pt x="593442" y="2718045"/>
                </a:lnTo>
                <a:lnTo>
                  <a:pt x="589282" y="2725515"/>
                </a:lnTo>
                <a:lnTo>
                  <a:pt x="589184" y="2725883"/>
                </a:lnTo>
                <a:cubicBezTo>
                  <a:pt x="595433" y="2736726"/>
                  <a:pt x="595433" y="2736726"/>
                  <a:pt x="603976" y="2739015"/>
                </a:cubicBezTo>
                <a:cubicBezTo>
                  <a:pt x="599392" y="2756123"/>
                  <a:pt x="586892" y="2734437"/>
                  <a:pt x="584600" y="2742991"/>
                </a:cubicBezTo>
                <a:cubicBezTo>
                  <a:pt x="593141" y="2745279"/>
                  <a:pt x="605641" y="2766966"/>
                  <a:pt x="603349" y="2775519"/>
                </a:cubicBezTo>
                <a:cubicBezTo>
                  <a:pt x="616477" y="2760701"/>
                  <a:pt x="610225" y="2749857"/>
                  <a:pt x="621061" y="2743593"/>
                </a:cubicBezTo>
                <a:cubicBezTo>
                  <a:pt x="618769" y="2752146"/>
                  <a:pt x="625018" y="2762989"/>
                  <a:pt x="631270" y="2773833"/>
                </a:cubicBezTo>
                <a:cubicBezTo>
                  <a:pt x="635227" y="2793229"/>
                  <a:pt x="591890" y="2818287"/>
                  <a:pt x="617518" y="2825154"/>
                </a:cubicBezTo>
                <a:cubicBezTo>
                  <a:pt x="615226" y="2833708"/>
                  <a:pt x="591265" y="2854793"/>
                  <a:pt x="593557" y="2846239"/>
                </a:cubicBezTo>
                <a:cubicBezTo>
                  <a:pt x="576473" y="2841661"/>
                  <a:pt x="591265" y="2854793"/>
                  <a:pt x="580429" y="2861057"/>
                </a:cubicBezTo>
                <a:cubicBezTo>
                  <a:pt x="586681" y="2871901"/>
                  <a:pt x="588973" y="2863347"/>
                  <a:pt x="603766" y="2876478"/>
                </a:cubicBezTo>
                <a:cubicBezTo>
                  <a:pt x="599182" y="2893584"/>
                  <a:pt x="582098" y="2889006"/>
                  <a:pt x="579806" y="2897560"/>
                </a:cubicBezTo>
                <a:cubicBezTo>
                  <a:pt x="586055" y="2908403"/>
                  <a:pt x="611683" y="2915270"/>
                  <a:pt x="598556" y="2930088"/>
                </a:cubicBezTo>
                <a:cubicBezTo>
                  <a:pt x="607099" y="2932378"/>
                  <a:pt x="607099" y="2932378"/>
                  <a:pt x="609391" y="2923824"/>
                </a:cubicBezTo>
                <a:cubicBezTo>
                  <a:pt x="615640" y="2934666"/>
                  <a:pt x="613348" y="2943221"/>
                  <a:pt x="624184" y="2936956"/>
                </a:cubicBezTo>
                <a:cubicBezTo>
                  <a:pt x="624184" y="2936956"/>
                  <a:pt x="621892" y="2945510"/>
                  <a:pt x="621892" y="2945510"/>
                </a:cubicBezTo>
                <a:cubicBezTo>
                  <a:pt x="630433" y="2947798"/>
                  <a:pt x="653769" y="2963220"/>
                  <a:pt x="670854" y="2967798"/>
                </a:cubicBezTo>
                <a:cubicBezTo>
                  <a:pt x="660018" y="2974062"/>
                  <a:pt x="651477" y="2971774"/>
                  <a:pt x="640641" y="2978039"/>
                </a:cubicBezTo>
                <a:cubicBezTo>
                  <a:pt x="638350" y="2986590"/>
                  <a:pt x="653143" y="2999722"/>
                  <a:pt x="640018" y="3014541"/>
                </a:cubicBezTo>
                <a:cubicBezTo>
                  <a:pt x="627517" y="2992856"/>
                  <a:pt x="620641" y="3018517"/>
                  <a:pt x="616057" y="3035626"/>
                </a:cubicBezTo>
                <a:cubicBezTo>
                  <a:pt x="622306" y="3046468"/>
                  <a:pt x="641682" y="3042492"/>
                  <a:pt x="650226" y="3044781"/>
                </a:cubicBezTo>
                <a:cubicBezTo>
                  <a:pt x="639391" y="3051046"/>
                  <a:pt x="650226" y="3044781"/>
                  <a:pt x="645642" y="3061889"/>
                </a:cubicBezTo>
                <a:cubicBezTo>
                  <a:pt x="637099" y="3059600"/>
                  <a:pt x="628557" y="3057312"/>
                  <a:pt x="626266" y="3065863"/>
                </a:cubicBezTo>
                <a:cubicBezTo>
                  <a:pt x="628557" y="3057312"/>
                  <a:pt x="620014" y="3055022"/>
                  <a:pt x="622306" y="3046468"/>
                </a:cubicBezTo>
                <a:cubicBezTo>
                  <a:pt x="607513" y="3033336"/>
                  <a:pt x="620014" y="3055022"/>
                  <a:pt x="602929" y="3050444"/>
                </a:cubicBezTo>
                <a:cubicBezTo>
                  <a:pt x="594388" y="3048156"/>
                  <a:pt x="590428" y="3028759"/>
                  <a:pt x="598972" y="3031048"/>
                </a:cubicBezTo>
                <a:cubicBezTo>
                  <a:pt x="616057" y="3035626"/>
                  <a:pt x="598972" y="3031048"/>
                  <a:pt x="596680" y="3039602"/>
                </a:cubicBezTo>
                <a:cubicBezTo>
                  <a:pt x="613765" y="3044179"/>
                  <a:pt x="618349" y="3027072"/>
                  <a:pt x="622933" y="3009964"/>
                </a:cubicBezTo>
                <a:cubicBezTo>
                  <a:pt x="608140" y="2996831"/>
                  <a:pt x="603556" y="3013939"/>
                  <a:pt x="592720" y="3020204"/>
                </a:cubicBezTo>
                <a:cubicBezTo>
                  <a:pt x="592720" y="3020204"/>
                  <a:pt x="584179" y="3017916"/>
                  <a:pt x="584179" y="3017916"/>
                </a:cubicBezTo>
                <a:cubicBezTo>
                  <a:pt x="586471" y="3009362"/>
                  <a:pt x="588763" y="3000808"/>
                  <a:pt x="588763" y="3000808"/>
                </a:cubicBezTo>
                <a:cubicBezTo>
                  <a:pt x="597304" y="3003096"/>
                  <a:pt x="597304" y="3003096"/>
                  <a:pt x="608140" y="2996831"/>
                </a:cubicBezTo>
                <a:cubicBezTo>
                  <a:pt x="599596" y="2994542"/>
                  <a:pt x="580220" y="2998519"/>
                  <a:pt x="595640" y="2975146"/>
                </a:cubicBezTo>
                <a:cubicBezTo>
                  <a:pt x="584804" y="2981411"/>
                  <a:pt x="591055" y="2992254"/>
                  <a:pt x="580220" y="2998519"/>
                </a:cubicBezTo>
                <a:cubicBezTo>
                  <a:pt x="571679" y="2996230"/>
                  <a:pt x="582512" y="2989964"/>
                  <a:pt x="587096" y="2972856"/>
                </a:cubicBezTo>
                <a:cubicBezTo>
                  <a:pt x="570011" y="2968278"/>
                  <a:pt x="573971" y="2987676"/>
                  <a:pt x="559178" y="2974544"/>
                </a:cubicBezTo>
                <a:cubicBezTo>
                  <a:pt x="561470" y="2965990"/>
                  <a:pt x="570011" y="2968278"/>
                  <a:pt x="572302" y="2959727"/>
                </a:cubicBezTo>
                <a:cubicBezTo>
                  <a:pt x="563761" y="2957439"/>
                  <a:pt x="563761" y="2957439"/>
                  <a:pt x="555218" y="2955149"/>
                </a:cubicBezTo>
                <a:cubicBezTo>
                  <a:pt x="574594" y="2951173"/>
                  <a:pt x="555218" y="2955149"/>
                  <a:pt x="548969" y="2944306"/>
                </a:cubicBezTo>
                <a:cubicBezTo>
                  <a:pt x="551261" y="2935753"/>
                  <a:pt x="566053" y="2948884"/>
                  <a:pt x="574594" y="2951173"/>
                </a:cubicBezTo>
                <a:cubicBezTo>
                  <a:pt x="570638" y="2931776"/>
                  <a:pt x="570638" y="2931776"/>
                  <a:pt x="564386" y="2920933"/>
                </a:cubicBezTo>
                <a:cubicBezTo>
                  <a:pt x="553553" y="2927198"/>
                  <a:pt x="549593" y="2907801"/>
                  <a:pt x="545009" y="2924909"/>
                </a:cubicBezTo>
                <a:cubicBezTo>
                  <a:pt x="541052" y="2905513"/>
                  <a:pt x="527924" y="2920331"/>
                  <a:pt x="521675" y="2909489"/>
                </a:cubicBezTo>
                <a:cubicBezTo>
                  <a:pt x="515424" y="2898646"/>
                  <a:pt x="519383" y="2918043"/>
                  <a:pt x="517091" y="2926597"/>
                </a:cubicBezTo>
                <a:cubicBezTo>
                  <a:pt x="514799" y="2935151"/>
                  <a:pt x="520008" y="2881538"/>
                  <a:pt x="504591" y="2904911"/>
                </a:cubicBezTo>
                <a:cubicBezTo>
                  <a:pt x="496050" y="2902622"/>
                  <a:pt x="509175" y="2887803"/>
                  <a:pt x="515424" y="2898646"/>
                </a:cubicBezTo>
                <a:cubicBezTo>
                  <a:pt x="517716" y="2890091"/>
                  <a:pt x="509175" y="2887803"/>
                  <a:pt x="511467" y="2879249"/>
                </a:cubicBezTo>
                <a:cubicBezTo>
                  <a:pt x="502926" y="2876960"/>
                  <a:pt x="498342" y="2894068"/>
                  <a:pt x="496050" y="2902622"/>
                </a:cubicBezTo>
                <a:cubicBezTo>
                  <a:pt x="487506" y="2900333"/>
                  <a:pt x="489798" y="2891779"/>
                  <a:pt x="489798" y="2891779"/>
                </a:cubicBezTo>
                <a:cubicBezTo>
                  <a:pt x="500634" y="2885514"/>
                  <a:pt x="492090" y="2883225"/>
                  <a:pt x="502926" y="2876960"/>
                </a:cubicBezTo>
                <a:lnTo>
                  <a:pt x="490246" y="2865706"/>
                </a:lnTo>
                <a:lnTo>
                  <a:pt x="490425" y="2855275"/>
                </a:lnTo>
                <a:cubicBezTo>
                  <a:pt x="481881" y="2852985"/>
                  <a:pt x="477297" y="2870093"/>
                  <a:pt x="475005" y="2878647"/>
                </a:cubicBezTo>
                <a:cubicBezTo>
                  <a:pt x="466464" y="2876358"/>
                  <a:pt x="481881" y="2852985"/>
                  <a:pt x="464796" y="2848407"/>
                </a:cubicBezTo>
                <a:cubicBezTo>
                  <a:pt x="475632" y="2842145"/>
                  <a:pt x="477924" y="2833591"/>
                  <a:pt x="480216" y="2825037"/>
                </a:cubicBezTo>
                <a:cubicBezTo>
                  <a:pt x="477924" y="2833591"/>
                  <a:pt x="486465" y="2835880"/>
                  <a:pt x="492716" y="2846723"/>
                </a:cubicBezTo>
                <a:cubicBezTo>
                  <a:pt x="503549" y="2840458"/>
                  <a:pt x="477924" y="2833591"/>
                  <a:pt x="488757" y="2827325"/>
                </a:cubicBezTo>
                <a:lnTo>
                  <a:pt x="480216" y="2825037"/>
                </a:lnTo>
                <a:lnTo>
                  <a:pt x="463131" y="2820459"/>
                </a:lnTo>
                <a:cubicBezTo>
                  <a:pt x="467715" y="2803351"/>
                  <a:pt x="471672" y="2822748"/>
                  <a:pt x="473964" y="2814194"/>
                </a:cubicBezTo>
                <a:cubicBezTo>
                  <a:pt x="473964" y="2814194"/>
                  <a:pt x="473964" y="2814194"/>
                  <a:pt x="465423" y="2811905"/>
                </a:cubicBezTo>
                <a:lnTo>
                  <a:pt x="463131" y="2820459"/>
                </a:lnTo>
                <a:lnTo>
                  <a:pt x="462845" y="2821527"/>
                </a:lnTo>
                <a:lnTo>
                  <a:pt x="460839" y="2829013"/>
                </a:lnTo>
                <a:cubicBezTo>
                  <a:pt x="463131" y="2820459"/>
                  <a:pt x="454587" y="2818170"/>
                  <a:pt x="454587" y="2818170"/>
                </a:cubicBezTo>
                <a:cubicBezTo>
                  <a:pt x="459171" y="2801062"/>
                  <a:pt x="450630" y="2798773"/>
                  <a:pt x="455214" y="2781665"/>
                </a:cubicBezTo>
                <a:lnTo>
                  <a:pt x="455651" y="2756113"/>
                </a:lnTo>
                <a:lnTo>
                  <a:pt x="459798" y="2764557"/>
                </a:lnTo>
                <a:lnTo>
                  <a:pt x="455715" y="2752462"/>
                </a:lnTo>
                <a:lnTo>
                  <a:pt x="455838" y="2745162"/>
                </a:lnTo>
                <a:lnTo>
                  <a:pt x="455086" y="2750602"/>
                </a:lnTo>
                <a:lnTo>
                  <a:pt x="449589" y="2734320"/>
                </a:lnTo>
                <a:cubicBezTo>
                  <a:pt x="438753" y="2740585"/>
                  <a:pt x="438753" y="2740585"/>
                  <a:pt x="438753" y="2740585"/>
                </a:cubicBezTo>
                <a:cubicBezTo>
                  <a:pt x="436461" y="2749138"/>
                  <a:pt x="445005" y="2751428"/>
                  <a:pt x="451255" y="2762268"/>
                </a:cubicBezTo>
                <a:cubicBezTo>
                  <a:pt x="434170" y="2757690"/>
                  <a:pt x="436461" y="2749138"/>
                  <a:pt x="436461" y="2749138"/>
                </a:cubicBezTo>
                <a:cubicBezTo>
                  <a:pt x="431878" y="2766244"/>
                  <a:pt x="421669" y="2736007"/>
                  <a:pt x="417085" y="2753112"/>
                </a:cubicBezTo>
                <a:cubicBezTo>
                  <a:pt x="410836" y="2742272"/>
                  <a:pt x="410836" y="2742272"/>
                  <a:pt x="413128" y="2733718"/>
                </a:cubicBezTo>
                <a:cubicBezTo>
                  <a:pt x="419377" y="2744560"/>
                  <a:pt x="413128" y="2733718"/>
                  <a:pt x="419377" y="2744560"/>
                </a:cubicBezTo>
                <a:cubicBezTo>
                  <a:pt x="423961" y="2727452"/>
                  <a:pt x="434796" y="2721188"/>
                  <a:pt x="437089" y="2712634"/>
                </a:cubicBezTo>
                <a:cubicBezTo>
                  <a:pt x="439381" y="2704079"/>
                  <a:pt x="420004" y="2708056"/>
                  <a:pt x="413752" y="2697212"/>
                </a:cubicBezTo>
                <a:cubicBezTo>
                  <a:pt x="414379" y="2660708"/>
                  <a:pt x="418963" y="2643602"/>
                  <a:pt x="461673" y="2655047"/>
                </a:cubicBezTo>
                <a:cubicBezTo>
                  <a:pt x="453132" y="2652758"/>
                  <a:pt x="450840" y="2661312"/>
                  <a:pt x="450840" y="2661312"/>
                </a:cubicBezTo>
                <a:cubicBezTo>
                  <a:pt x="467925" y="2665890"/>
                  <a:pt x="485010" y="2670468"/>
                  <a:pt x="488967" y="2689862"/>
                </a:cubicBezTo>
                <a:cubicBezTo>
                  <a:pt x="491259" y="2681308"/>
                  <a:pt x="499803" y="2683597"/>
                  <a:pt x="508344" y="2685886"/>
                </a:cubicBezTo>
                <a:cubicBezTo>
                  <a:pt x="516888" y="2688175"/>
                  <a:pt x="510635" y="2677334"/>
                  <a:pt x="519179" y="2679623"/>
                </a:cubicBezTo>
                <a:cubicBezTo>
                  <a:pt x="521471" y="2671069"/>
                  <a:pt x="502094" y="2675046"/>
                  <a:pt x="495843" y="2664202"/>
                </a:cubicBezTo>
                <a:cubicBezTo>
                  <a:pt x="498135" y="2655648"/>
                  <a:pt x="515220" y="2660226"/>
                  <a:pt x="523763" y="2662515"/>
                </a:cubicBezTo>
                <a:cubicBezTo>
                  <a:pt x="528347" y="2645407"/>
                  <a:pt x="528347" y="2645407"/>
                  <a:pt x="530639" y="2636853"/>
                </a:cubicBezTo>
                <a:cubicBezTo>
                  <a:pt x="536888" y="2647696"/>
                  <a:pt x="536888" y="2647696"/>
                  <a:pt x="547724" y="2641431"/>
                </a:cubicBezTo>
                <a:cubicBezTo>
                  <a:pt x="545432" y="2649985"/>
                  <a:pt x="562517" y="2654563"/>
                  <a:pt x="581891" y="2650586"/>
                </a:cubicBezTo>
                <a:cubicBezTo>
                  <a:pt x="577934" y="2631190"/>
                  <a:pt x="577934" y="2631190"/>
                  <a:pt x="569393" y="2628901"/>
                </a:cubicBezTo>
                <a:cubicBezTo>
                  <a:pt x="560849" y="2626612"/>
                  <a:pt x="558557" y="2635166"/>
                  <a:pt x="558557" y="2635166"/>
                </a:cubicBezTo>
                <a:cubicBezTo>
                  <a:pt x="552308" y="2624323"/>
                  <a:pt x="550640" y="2596374"/>
                  <a:pt x="528972" y="2608902"/>
                </a:cubicBezTo>
                <a:cubicBezTo>
                  <a:pt x="531264" y="2600348"/>
                  <a:pt x="533555" y="2591796"/>
                  <a:pt x="535847" y="2583242"/>
                </a:cubicBezTo>
                <a:cubicBezTo>
                  <a:pt x="544391" y="2585532"/>
                  <a:pt x="542099" y="2594086"/>
                  <a:pt x="550640" y="2596374"/>
                </a:cubicBezTo>
                <a:cubicBezTo>
                  <a:pt x="548349" y="2604926"/>
                  <a:pt x="548349" y="2604926"/>
                  <a:pt x="548349" y="2604926"/>
                </a:cubicBezTo>
                <a:cubicBezTo>
                  <a:pt x="554600" y="2615769"/>
                  <a:pt x="573977" y="2611793"/>
                  <a:pt x="580226" y="2622636"/>
                </a:cubicBezTo>
                <a:cubicBezTo>
                  <a:pt x="582518" y="2614081"/>
                  <a:pt x="599603" y="2618659"/>
                  <a:pt x="608144" y="2620948"/>
                </a:cubicBezTo>
                <a:cubicBezTo>
                  <a:pt x="596478" y="2613239"/>
                  <a:pt x="600070" y="2591283"/>
                  <a:pt x="604289" y="2579806"/>
                </a:cubicBezTo>
                <a:lnTo>
                  <a:pt x="608432" y="2574587"/>
                </a:lnTo>
                <a:lnTo>
                  <a:pt x="612295" y="2567776"/>
                </a:lnTo>
                <a:cubicBezTo>
                  <a:pt x="615111" y="2565500"/>
                  <a:pt x="618498" y="2565194"/>
                  <a:pt x="622007" y="2568559"/>
                </a:cubicBezTo>
                <a:lnTo>
                  <a:pt x="615093" y="2594361"/>
                </a:lnTo>
                <a:lnTo>
                  <a:pt x="615306" y="2594218"/>
                </a:lnTo>
                <a:cubicBezTo>
                  <a:pt x="618874" y="2589444"/>
                  <a:pt x="622730" y="2583603"/>
                  <a:pt x="628147" y="2580469"/>
                </a:cubicBezTo>
                <a:cubicBezTo>
                  <a:pt x="634396" y="2591312"/>
                  <a:pt x="615019" y="2595288"/>
                  <a:pt x="621271" y="2606132"/>
                </a:cubicBezTo>
                <a:cubicBezTo>
                  <a:pt x="638356" y="2610709"/>
                  <a:pt x="623563" y="2597578"/>
                  <a:pt x="628147" y="2580469"/>
                </a:cubicBezTo>
                <a:cubicBezTo>
                  <a:pt x="629812" y="2608420"/>
                  <a:pt x="666274" y="2609022"/>
                  <a:pt x="670858" y="2591914"/>
                </a:cubicBezTo>
                <a:lnTo>
                  <a:pt x="660777" y="2581089"/>
                </a:lnTo>
                <a:lnTo>
                  <a:pt x="652331" y="2576048"/>
                </a:lnTo>
                <a:lnTo>
                  <a:pt x="638980" y="2574204"/>
                </a:lnTo>
                <a:cubicBezTo>
                  <a:pt x="638980" y="2574204"/>
                  <a:pt x="636688" y="2582758"/>
                  <a:pt x="636688" y="2582758"/>
                </a:cubicBezTo>
                <a:cubicBezTo>
                  <a:pt x="630282" y="2581041"/>
                  <a:pt x="632549" y="2566178"/>
                  <a:pt x="625908" y="2560530"/>
                </a:cubicBezTo>
                <a:lnTo>
                  <a:pt x="624703" y="2560325"/>
                </a:lnTo>
                <a:lnTo>
                  <a:pt x="633538" y="2547534"/>
                </a:lnTo>
                <a:lnTo>
                  <a:pt x="637230" y="2545966"/>
                </a:lnTo>
                <a:lnTo>
                  <a:pt x="637315" y="2546253"/>
                </a:lnTo>
                <a:lnTo>
                  <a:pt x="637561" y="2545826"/>
                </a:lnTo>
                <a:lnTo>
                  <a:pt x="640156" y="2544724"/>
                </a:lnTo>
                <a:cubicBezTo>
                  <a:pt x="642302" y="2544725"/>
                  <a:pt x="644294" y="2545832"/>
                  <a:pt x="645856" y="2548542"/>
                </a:cubicBezTo>
                <a:cubicBezTo>
                  <a:pt x="648148" y="2539990"/>
                  <a:pt x="650440" y="2531436"/>
                  <a:pt x="652732" y="2522882"/>
                </a:cubicBezTo>
                <a:cubicBezTo>
                  <a:pt x="648461" y="2521738"/>
                  <a:pt x="647315" y="2526015"/>
                  <a:pt x="645883" y="2531361"/>
                </a:cubicBezTo>
                <a:lnTo>
                  <a:pt x="637561" y="2545826"/>
                </a:lnTo>
                <a:lnTo>
                  <a:pt x="637230" y="2545966"/>
                </a:lnTo>
                <a:lnTo>
                  <a:pt x="632496" y="2530066"/>
                </a:lnTo>
                <a:cubicBezTo>
                  <a:pt x="630647" y="2528425"/>
                  <a:pt x="627939" y="2529991"/>
                  <a:pt x="622522" y="2533124"/>
                </a:cubicBezTo>
                <a:cubicBezTo>
                  <a:pt x="624814" y="2524570"/>
                  <a:pt x="624814" y="2524570"/>
                  <a:pt x="627106" y="2516016"/>
                </a:cubicBezTo>
                <a:cubicBezTo>
                  <a:pt x="618562" y="2513727"/>
                  <a:pt x="610021" y="2511438"/>
                  <a:pt x="592936" y="2506860"/>
                </a:cubicBezTo>
                <a:cubicBezTo>
                  <a:pt x="595228" y="2498306"/>
                  <a:pt x="603772" y="2500596"/>
                  <a:pt x="612313" y="2502884"/>
                </a:cubicBezTo>
                <a:cubicBezTo>
                  <a:pt x="614605" y="2494330"/>
                  <a:pt x="592936" y="2506860"/>
                  <a:pt x="597521" y="2489752"/>
                </a:cubicBezTo>
                <a:cubicBezTo>
                  <a:pt x="614605" y="2494330"/>
                  <a:pt x="627731" y="2479510"/>
                  <a:pt x="631690" y="2498908"/>
                </a:cubicBezTo>
                <a:cubicBezTo>
                  <a:pt x="625439" y="2488064"/>
                  <a:pt x="644815" y="2484088"/>
                  <a:pt x="627731" y="2479510"/>
                </a:cubicBezTo>
                <a:cubicBezTo>
                  <a:pt x="627731" y="2479510"/>
                  <a:pt x="625439" y="2488064"/>
                  <a:pt x="616897" y="2485776"/>
                </a:cubicBezTo>
                <a:cubicBezTo>
                  <a:pt x="621482" y="2468668"/>
                  <a:pt x="604397" y="2464090"/>
                  <a:pt x="608981" y="2446982"/>
                </a:cubicBezTo>
                <a:cubicBezTo>
                  <a:pt x="617525" y="2449271"/>
                  <a:pt x="617525" y="2449271"/>
                  <a:pt x="615233" y="2457825"/>
                </a:cubicBezTo>
                <a:cubicBezTo>
                  <a:pt x="617525" y="2449271"/>
                  <a:pt x="634607" y="2453849"/>
                  <a:pt x="632315" y="2462402"/>
                </a:cubicBezTo>
                <a:cubicBezTo>
                  <a:pt x="640858" y="2464692"/>
                  <a:pt x="634607" y="2453849"/>
                  <a:pt x="643150" y="2456138"/>
                </a:cubicBezTo>
                <a:cubicBezTo>
                  <a:pt x="643150" y="2456138"/>
                  <a:pt x="651691" y="2458426"/>
                  <a:pt x="649399" y="2466980"/>
                </a:cubicBezTo>
                <a:cubicBezTo>
                  <a:pt x="649399" y="2466980"/>
                  <a:pt x="649399" y="2466980"/>
                  <a:pt x="657943" y="2469270"/>
                </a:cubicBezTo>
                <a:cubicBezTo>
                  <a:pt x="671068" y="2454453"/>
                  <a:pt x="673360" y="2445899"/>
                  <a:pt x="686487" y="2431080"/>
                </a:cubicBezTo>
                <a:cubicBezTo>
                  <a:pt x="682528" y="2411682"/>
                  <a:pt x="677944" y="2428791"/>
                  <a:pt x="669403" y="2426502"/>
                </a:cubicBezTo>
                <a:cubicBezTo>
                  <a:pt x="663151" y="2415659"/>
                  <a:pt x="671695" y="2417948"/>
                  <a:pt x="673987" y="2409394"/>
                </a:cubicBezTo>
                <a:cubicBezTo>
                  <a:pt x="680236" y="2420236"/>
                  <a:pt x="688779" y="2422526"/>
                  <a:pt x="695028" y="2433368"/>
                </a:cubicBezTo>
                <a:lnTo>
                  <a:pt x="692914" y="2441262"/>
                </a:lnTo>
                <a:lnTo>
                  <a:pt x="693292" y="2442379"/>
                </a:lnTo>
                <a:lnTo>
                  <a:pt x="692236" y="2443788"/>
                </a:lnTo>
                <a:lnTo>
                  <a:pt x="688152" y="2459030"/>
                </a:lnTo>
                <a:cubicBezTo>
                  <a:pt x="698988" y="2452766"/>
                  <a:pt x="703572" y="2435658"/>
                  <a:pt x="708156" y="2418549"/>
                </a:cubicBezTo>
                <a:cubicBezTo>
                  <a:pt x="714405" y="2429392"/>
                  <a:pt x="712113" y="2437946"/>
                  <a:pt x="703572" y="2435658"/>
                </a:cubicBezTo>
                <a:cubicBezTo>
                  <a:pt x="709821" y="2446500"/>
                  <a:pt x="718989" y="2412284"/>
                  <a:pt x="742326" y="2427705"/>
                </a:cubicBezTo>
                <a:cubicBezTo>
                  <a:pt x="735450" y="2453367"/>
                  <a:pt x="759411" y="2432283"/>
                  <a:pt x="750242" y="2466499"/>
                </a:cubicBezTo>
                <a:cubicBezTo>
                  <a:pt x="722322" y="2468186"/>
                  <a:pt x="717738" y="2485292"/>
                  <a:pt x="700654" y="2480714"/>
                </a:cubicBezTo>
                <a:cubicBezTo>
                  <a:pt x="698362" y="2489268"/>
                  <a:pt x="726282" y="2487581"/>
                  <a:pt x="715446" y="2493846"/>
                </a:cubicBezTo>
                <a:cubicBezTo>
                  <a:pt x="704613" y="2500111"/>
                  <a:pt x="685236" y="2504087"/>
                  <a:pt x="659608" y="2497220"/>
                </a:cubicBezTo>
                <a:cubicBezTo>
                  <a:pt x="663568" y="2516618"/>
                  <a:pt x="693778" y="2506376"/>
                  <a:pt x="689193" y="2523484"/>
                </a:cubicBezTo>
                <a:cubicBezTo>
                  <a:pt x="708570" y="2519508"/>
                  <a:pt x="712530" y="2538905"/>
                  <a:pt x="717114" y="2521797"/>
                </a:cubicBezTo>
                <a:cubicBezTo>
                  <a:pt x="734199" y="2526375"/>
                  <a:pt x="742740" y="2528663"/>
                  <a:pt x="740448" y="2537218"/>
                </a:cubicBezTo>
                <a:cubicBezTo>
                  <a:pt x="748991" y="2539507"/>
                  <a:pt x="742740" y="2528663"/>
                  <a:pt x="742740" y="2528663"/>
                </a:cubicBezTo>
                <a:cubicBezTo>
                  <a:pt x="757533" y="2541795"/>
                  <a:pt x="757533" y="2541795"/>
                  <a:pt x="772325" y="2554927"/>
                </a:cubicBezTo>
                <a:cubicBezTo>
                  <a:pt x="770033" y="2563481"/>
                  <a:pt x="755240" y="2550349"/>
                  <a:pt x="752948" y="2558903"/>
                </a:cubicBezTo>
                <a:cubicBezTo>
                  <a:pt x="752948" y="2558903"/>
                  <a:pt x="761492" y="2561193"/>
                  <a:pt x="759200" y="2569747"/>
                </a:cubicBezTo>
                <a:cubicBezTo>
                  <a:pt x="770033" y="2563481"/>
                  <a:pt x="789410" y="2559505"/>
                  <a:pt x="796286" y="2533843"/>
                </a:cubicBezTo>
                <a:cubicBezTo>
                  <a:pt x="798578" y="2525289"/>
                  <a:pt x="779201" y="2529265"/>
                  <a:pt x="790037" y="2523000"/>
                </a:cubicBezTo>
                <a:cubicBezTo>
                  <a:pt x="804830" y="2536132"/>
                  <a:pt x="796913" y="2497338"/>
                  <a:pt x="811706" y="2510470"/>
                </a:cubicBezTo>
                <a:cubicBezTo>
                  <a:pt x="807746" y="2491075"/>
                  <a:pt x="824830" y="2495653"/>
                  <a:pt x="829414" y="2478545"/>
                </a:cubicBezTo>
                <a:cubicBezTo>
                  <a:pt x="837958" y="2480834"/>
                  <a:pt x="840250" y="2472280"/>
                  <a:pt x="848791" y="2474569"/>
                </a:cubicBezTo>
                <a:cubicBezTo>
                  <a:pt x="836291" y="2452883"/>
                  <a:pt x="851710" y="2429510"/>
                  <a:pt x="864835" y="2414693"/>
                </a:cubicBezTo>
                <a:cubicBezTo>
                  <a:pt x="864835" y="2414693"/>
                  <a:pt x="864835" y="2414693"/>
                  <a:pt x="856294" y="2412405"/>
                </a:cubicBezTo>
                <a:cubicBezTo>
                  <a:pt x="867127" y="2406139"/>
                  <a:pt x="869419" y="2397585"/>
                  <a:pt x="874003" y="2380477"/>
                </a:cubicBezTo>
                <a:cubicBezTo>
                  <a:pt x="884839" y="2374212"/>
                  <a:pt x="893380" y="2376501"/>
                  <a:pt x="901924" y="2378790"/>
                </a:cubicBezTo>
                <a:cubicBezTo>
                  <a:pt x="895672" y="2367947"/>
                  <a:pt x="887131" y="2365658"/>
                  <a:pt x="878587" y="2363369"/>
                </a:cubicBezTo>
                <a:cubicBezTo>
                  <a:pt x="880879" y="2354815"/>
                  <a:pt x="889423" y="2357104"/>
                  <a:pt x="883171" y="2346261"/>
                </a:cubicBezTo>
                <a:cubicBezTo>
                  <a:pt x="898590" y="2322891"/>
                  <a:pt x="864421" y="2313735"/>
                  <a:pt x="877546" y="2298916"/>
                </a:cubicBezTo>
                <a:cubicBezTo>
                  <a:pt x="886090" y="2301205"/>
                  <a:pt x="883798" y="2309759"/>
                  <a:pt x="896923" y="2294939"/>
                </a:cubicBezTo>
                <a:cubicBezTo>
                  <a:pt x="911716" y="2308072"/>
                  <a:pt x="911716" y="2308072"/>
                  <a:pt x="937344" y="2314938"/>
                </a:cubicBezTo>
                <a:cubicBezTo>
                  <a:pt x="937344" y="2314938"/>
                  <a:pt x="939636" y="2306385"/>
                  <a:pt x="939636" y="2306385"/>
                </a:cubicBezTo>
                <a:cubicBezTo>
                  <a:pt x="931092" y="2304095"/>
                  <a:pt x="914008" y="2299517"/>
                  <a:pt x="896923" y="2294939"/>
                </a:cubicBezTo>
                <a:cubicBezTo>
                  <a:pt x="899215" y="2286385"/>
                  <a:pt x="910051" y="2280121"/>
                  <a:pt x="912343" y="2271567"/>
                </a:cubicBezTo>
                <a:cubicBezTo>
                  <a:pt x="906090" y="2260726"/>
                  <a:pt x="903799" y="2269277"/>
                  <a:pt x="895258" y="2266989"/>
                </a:cubicBezTo>
                <a:cubicBezTo>
                  <a:pt x="897549" y="2258437"/>
                  <a:pt x="912343" y="2271567"/>
                  <a:pt x="916926" y="2254461"/>
                </a:cubicBezTo>
                <a:cubicBezTo>
                  <a:pt x="921510" y="2237353"/>
                  <a:pt x="882757" y="2245305"/>
                  <a:pt x="876505" y="2234462"/>
                </a:cubicBezTo>
                <a:cubicBezTo>
                  <a:pt x="874213" y="2243016"/>
                  <a:pt x="893590" y="2239040"/>
                  <a:pt x="891298" y="2247594"/>
                </a:cubicBezTo>
                <a:cubicBezTo>
                  <a:pt x="889006" y="2256148"/>
                  <a:pt x="863380" y="2249282"/>
                  <a:pt x="878173" y="2262411"/>
                </a:cubicBezTo>
                <a:cubicBezTo>
                  <a:pt x="867337" y="2268676"/>
                  <a:pt x="861088" y="2257833"/>
                  <a:pt x="871921" y="2251570"/>
                </a:cubicBezTo>
                <a:cubicBezTo>
                  <a:pt x="865672" y="2240727"/>
                  <a:pt x="861088" y="2257833"/>
                  <a:pt x="852545" y="2255544"/>
                </a:cubicBezTo>
                <a:cubicBezTo>
                  <a:pt x="852545" y="2255544"/>
                  <a:pt x="844004" y="2253255"/>
                  <a:pt x="846295" y="2244704"/>
                </a:cubicBezTo>
                <a:cubicBezTo>
                  <a:pt x="837751" y="2242415"/>
                  <a:pt x="835460" y="2250966"/>
                  <a:pt x="824627" y="2257232"/>
                </a:cubicBezTo>
                <a:cubicBezTo>
                  <a:pt x="826919" y="2248677"/>
                  <a:pt x="826919" y="2248677"/>
                  <a:pt x="820667" y="2237837"/>
                </a:cubicBezTo>
                <a:cubicBezTo>
                  <a:pt x="816083" y="2254942"/>
                  <a:pt x="818375" y="2246388"/>
                  <a:pt x="801290" y="2241810"/>
                </a:cubicBezTo>
                <a:cubicBezTo>
                  <a:pt x="790457" y="2248076"/>
                  <a:pt x="807542" y="2252653"/>
                  <a:pt x="805250" y="2261207"/>
                </a:cubicBezTo>
                <a:cubicBezTo>
                  <a:pt x="796706" y="2258918"/>
                  <a:pt x="788165" y="2256630"/>
                  <a:pt x="779622" y="2254340"/>
                </a:cubicBezTo>
                <a:cubicBezTo>
                  <a:pt x="778997" y="2290846"/>
                  <a:pt x="815459" y="2291448"/>
                  <a:pt x="830251" y="2304579"/>
                </a:cubicBezTo>
                <a:cubicBezTo>
                  <a:pt x="819416" y="2310844"/>
                  <a:pt x="817124" y="2319398"/>
                  <a:pt x="814832" y="2327950"/>
                </a:cubicBezTo>
                <a:cubicBezTo>
                  <a:pt x="801707" y="2342769"/>
                  <a:pt x="819416" y="2310844"/>
                  <a:pt x="810875" y="2308556"/>
                </a:cubicBezTo>
                <a:cubicBezTo>
                  <a:pt x="810875" y="2308556"/>
                  <a:pt x="803999" y="2334215"/>
                  <a:pt x="804623" y="2297712"/>
                </a:cubicBezTo>
                <a:cubicBezTo>
                  <a:pt x="800352" y="2296568"/>
                  <a:pt x="801915" y="2299278"/>
                  <a:pt x="803191" y="2303058"/>
                </a:cubicBezTo>
                <a:lnTo>
                  <a:pt x="802331" y="2306266"/>
                </a:lnTo>
                <a:cubicBezTo>
                  <a:pt x="793790" y="2303978"/>
                  <a:pt x="791498" y="2312532"/>
                  <a:pt x="791498" y="2312532"/>
                </a:cubicBezTo>
                <a:cubicBezTo>
                  <a:pt x="782954" y="2310242"/>
                  <a:pt x="793790" y="2303978"/>
                  <a:pt x="785246" y="2301689"/>
                </a:cubicBezTo>
                <a:cubicBezTo>
                  <a:pt x="776705" y="2299400"/>
                  <a:pt x="780663" y="2318794"/>
                  <a:pt x="772122" y="2316505"/>
                </a:cubicBezTo>
                <a:cubicBezTo>
                  <a:pt x="774413" y="2307954"/>
                  <a:pt x="755037" y="2311928"/>
                  <a:pt x="759620" y="2294822"/>
                </a:cubicBezTo>
                <a:cubicBezTo>
                  <a:pt x="740244" y="2298798"/>
                  <a:pt x="752745" y="2320482"/>
                  <a:pt x="741909" y="2326746"/>
                </a:cubicBezTo>
                <a:cubicBezTo>
                  <a:pt x="735660" y="2315904"/>
                  <a:pt x="727116" y="2313615"/>
                  <a:pt x="718575" y="2311326"/>
                </a:cubicBezTo>
                <a:cubicBezTo>
                  <a:pt x="713991" y="2328434"/>
                  <a:pt x="729409" y="2305060"/>
                  <a:pt x="724824" y="2322168"/>
                </a:cubicBezTo>
                <a:cubicBezTo>
                  <a:pt x="722532" y="2330722"/>
                  <a:pt x="707740" y="2317591"/>
                  <a:pt x="705448" y="2326145"/>
                </a:cubicBezTo>
                <a:cubicBezTo>
                  <a:pt x="703155" y="2334699"/>
                  <a:pt x="716283" y="2319880"/>
                  <a:pt x="711699" y="2336988"/>
                </a:cubicBezTo>
                <a:cubicBezTo>
                  <a:pt x="703155" y="2334699"/>
                  <a:pt x="679822" y="2319278"/>
                  <a:pt x="677530" y="2327833"/>
                </a:cubicBezTo>
                <a:cubicBezTo>
                  <a:pt x="675238" y="2336386"/>
                  <a:pt x="724200" y="2358674"/>
                  <a:pt x="728784" y="2341566"/>
                </a:cubicBezTo>
                <a:cubicBezTo>
                  <a:pt x="728784" y="2341566"/>
                  <a:pt x="741285" y="2363252"/>
                  <a:pt x="752118" y="2356986"/>
                </a:cubicBezTo>
                <a:cubicBezTo>
                  <a:pt x="738993" y="2371806"/>
                  <a:pt x="715656" y="2356385"/>
                  <a:pt x="696279" y="2360361"/>
                </a:cubicBezTo>
                <a:cubicBezTo>
                  <a:pt x="696279" y="2360361"/>
                  <a:pt x="711072" y="2373493"/>
                  <a:pt x="702531" y="2371204"/>
                </a:cubicBezTo>
                <a:cubicBezTo>
                  <a:pt x="700239" y="2379758"/>
                  <a:pt x="717324" y="2384336"/>
                  <a:pt x="725865" y="2386624"/>
                </a:cubicBezTo>
                <a:cubicBezTo>
                  <a:pt x="723574" y="2395176"/>
                  <a:pt x="706489" y="2390598"/>
                  <a:pt x="721281" y="2403730"/>
                </a:cubicBezTo>
                <a:cubicBezTo>
                  <a:pt x="706489" y="2390598"/>
                  <a:pt x="676279" y="2400840"/>
                  <a:pt x="652942" y="2385419"/>
                </a:cubicBezTo>
                <a:cubicBezTo>
                  <a:pt x="652942" y="2385419"/>
                  <a:pt x="663778" y="2379154"/>
                  <a:pt x="663778" y="2379154"/>
                </a:cubicBezTo>
                <a:cubicBezTo>
                  <a:pt x="670027" y="2389997"/>
                  <a:pt x="676903" y="2364337"/>
                  <a:pt x="693987" y="2368915"/>
                </a:cubicBezTo>
                <a:cubicBezTo>
                  <a:pt x="679195" y="2355783"/>
                  <a:pt x="652942" y="2385419"/>
                  <a:pt x="640444" y="2363736"/>
                </a:cubicBezTo>
                <a:cubicBezTo>
                  <a:pt x="642736" y="2355182"/>
                  <a:pt x="651277" y="2357471"/>
                  <a:pt x="651277" y="2357471"/>
                </a:cubicBezTo>
                <a:cubicBezTo>
                  <a:pt x="645028" y="2346628"/>
                  <a:pt x="627943" y="2342050"/>
                  <a:pt x="619399" y="2339761"/>
                </a:cubicBezTo>
                <a:cubicBezTo>
                  <a:pt x="628568" y="2305545"/>
                  <a:pt x="655861" y="2340363"/>
                  <a:pt x="668986" y="2325543"/>
                </a:cubicBezTo>
                <a:cubicBezTo>
                  <a:pt x="673570" y="2308435"/>
                  <a:pt x="651904" y="2320966"/>
                  <a:pt x="654196" y="2312412"/>
                </a:cubicBezTo>
                <a:cubicBezTo>
                  <a:pt x="654196" y="2312412"/>
                  <a:pt x="665029" y="2306147"/>
                  <a:pt x="667321" y="2297592"/>
                </a:cubicBezTo>
                <a:cubicBezTo>
                  <a:pt x="675862" y="2299881"/>
                  <a:pt x="673570" y="2308435"/>
                  <a:pt x="671278" y="2316989"/>
                </a:cubicBezTo>
                <a:cubicBezTo>
                  <a:pt x="702115" y="2270245"/>
                  <a:pt x="637735" y="2271331"/>
                  <a:pt x="620650" y="2266753"/>
                </a:cubicBezTo>
                <a:cubicBezTo>
                  <a:pt x="618359" y="2275305"/>
                  <a:pt x="616067" y="2283859"/>
                  <a:pt x="624610" y="2286148"/>
                </a:cubicBezTo>
                <a:cubicBezTo>
                  <a:pt x="610650" y="2286993"/>
                  <a:pt x="611639" y="2291841"/>
                  <a:pt x="614478" y="2298331"/>
                </a:cubicBezTo>
                <a:lnTo>
                  <a:pt x="614848" y="2306807"/>
                </a:lnTo>
                <a:lnTo>
                  <a:pt x="611483" y="2300967"/>
                </a:lnTo>
                <a:cubicBezTo>
                  <a:pt x="583565" y="2302655"/>
                  <a:pt x="549395" y="2293499"/>
                  <a:pt x="512934" y="2292897"/>
                </a:cubicBezTo>
                <a:cubicBezTo>
                  <a:pt x="519183" y="2303740"/>
                  <a:pt x="538560" y="2299764"/>
                  <a:pt x="533976" y="2316872"/>
                </a:cubicBezTo>
                <a:cubicBezTo>
                  <a:pt x="542519" y="2319161"/>
                  <a:pt x="564188" y="2306631"/>
                  <a:pt x="559604" y="2323739"/>
                </a:cubicBezTo>
                <a:cubicBezTo>
                  <a:pt x="565853" y="2334582"/>
                  <a:pt x="561896" y="2315185"/>
                  <a:pt x="578981" y="2319763"/>
                </a:cubicBezTo>
                <a:cubicBezTo>
                  <a:pt x="565853" y="2334582"/>
                  <a:pt x="582938" y="2339159"/>
                  <a:pt x="587522" y="2322051"/>
                </a:cubicBezTo>
                <a:cubicBezTo>
                  <a:pt x="596066" y="2324340"/>
                  <a:pt x="574397" y="2336871"/>
                  <a:pt x="582938" y="2339159"/>
                </a:cubicBezTo>
                <a:cubicBezTo>
                  <a:pt x="580646" y="2347713"/>
                  <a:pt x="576689" y="2328317"/>
                  <a:pt x="572105" y="2345425"/>
                </a:cubicBezTo>
                <a:cubicBezTo>
                  <a:pt x="563561" y="2343135"/>
                  <a:pt x="565853" y="2334582"/>
                  <a:pt x="546476" y="2338557"/>
                </a:cubicBezTo>
                <a:cubicBezTo>
                  <a:pt x="548768" y="2330003"/>
                  <a:pt x="548768" y="2330003"/>
                  <a:pt x="551060" y="2321449"/>
                </a:cubicBezTo>
                <a:cubicBezTo>
                  <a:pt x="548768" y="2330003"/>
                  <a:pt x="520850" y="2331691"/>
                  <a:pt x="525434" y="2314583"/>
                </a:cubicBezTo>
                <a:cubicBezTo>
                  <a:pt x="525434" y="2314583"/>
                  <a:pt x="523142" y="2323137"/>
                  <a:pt x="520850" y="2331691"/>
                </a:cubicBezTo>
                <a:cubicBezTo>
                  <a:pt x="516891" y="2312294"/>
                  <a:pt x="514599" y="2320848"/>
                  <a:pt x="495222" y="2324824"/>
                </a:cubicBezTo>
                <a:cubicBezTo>
                  <a:pt x="508350" y="2310005"/>
                  <a:pt x="488973" y="2313981"/>
                  <a:pt x="502098" y="2299162"/>
                </a:cubicBezTo>
                <a:cubicBezTo>
                  <a:pt x="485013" y="2294584"/>
                  <a:pt x="506058" y="2318559"/>
                  <a:pt x="488973" y="2313981"/>
                </a:cubicBezTo>
                <a:cubicBezTo>
                  <a:pt x="485013" y="2294584"/>
                  <a:pt x="493557" y="2296873"/>
                  <a:pt x="481056" y="2275188"/>
                </a:cubicBezTo>
                <a:cubicBezTo>
                  <a:pt x="483349" y="2266633"/>
                  <a:pt x="487305" y="2286030"/>
                  <a:pt x="495849" y="2288319"/>
                </a:cubicBezTo>
                <a:cubicBezTo>
                  <a:pt x="498141" y="2279765"/>
                  <a:pt x="500433" y="2271211"/>
                  <a:pt x="515226" y="2284343"/>
                </a:cubicBezTo>
                <a:cubicBezTo>
                  <a:pt x="519810" y="2267235"/>
                  <a:pt x="511266" y="2264946"/>
                  <a:pt x="500433" y="2271211"/>
                </a:cubicBezTo>
                <a:cubicBezTo>
                  <a:pt x="511266" y="2264946"/>
                  <a:pt x="505017" y="2254103"/>
                  <a:pt x="485641" y="2258079"/>
                </a:cubicBezTo>
                <a:cubicBezTo>
                  <a:pt x="492516" y="2232420"/>
                  <a:pt x="477097" y="2255790"/>
                  <a:pt x="464596" y="2234104"/>
                </a:cubicBezTo>
                <a:cubicBezTo>
                  <a:pt x="456055" y="2231816"/>
                  <a:pt x="470848" y="2244947"/>
                  <a:pt x="462304" y="2242658"/>
                </a:cubicBezTo>
                <a:cubicBezTo>
                  <a:pt x="482721" y="2303138"/>
                  <a:pt x="406466" y="2246033"/>
                  <a:pt x="395633" y="2252298"/>
                </a:cubicBezTo>
                <a:cubicBezTo>
                  <a:pt x="387089" y="2250009"/>
                  <a:pt x="388756" y="2277961"/>
                  <a:pt x="389381" y="2241455"/>
                </a:cubicBezTo>
                <a:cubicBezTo>
                  <a:pt x="389381" y="2241455"/>
                  <a:pt x="387089" y="2250009"/>
                  <a:pt x="378548" y="2247721"/>
                </a:cubicBezTo>
                <a:cubicBezTo>
                  <a:pt x="372296" y="2236877"/>
                  <a:pt x="372296" y="2236877"/>
                  <a:pt x="355214" y="2232300"/>
                </a:cubicBezTo>
                <a:cubicBezTo>
                  <a:pt x="357506" y="2223746"/>
                  <a:pt x="376880" y="2219769"/>
                  <a:pt x="359798" y="2215192"/>
                </a:cubicBezTo>
                <a:lnTo>
                  <a:pt x="369403" y="2215810"/>
                </a:lnTo>
                <a:lnTo>
                  <a:pt x="366047" y="2226035"/>
                </a:lnTo>
                <a:cubicBezTo>
                  <a:pt x="371463" y="2222903"/>
                  <a:pt x="372610" y="2218625"/>
                  <a:pt x="371047" y="2215915"/>
                </a:cubicBezTo>
                <a:lnTo>
                  <a:pt x="369403" y="2215810"/>
                </a:lnTo>
                <a:lnTo>
                  <a:pt x="372272" y="2207075"/>
                </a:lnTo>
                <a:cubicBezTo>
                  <a:pt x="370787" y="2199803"/>
                  <a:pt x="369799" y="2194952"/>
                  <a:pt x="381464" y="2202663"/>
                </a:cubicBezTo>
                <a:cubicBezTo>
                  <a:pt x="383756" y="2194110"/>
                  <a:pt x="375215" y="2191821"/>
                  <a:pt x="368966" y="2180978"/>
                </a:cubicBezTo>
                <a:cubicBezTo>
                  <a:pt x="371258" y="2172424"/>
                  <a:pt x="382091" y="2166159"/>
                  <a:pt x="384383" y="2157605"/>
                </a:cubicBezTo>
                <a:cubicBezTo>
                  <a:pt x="407717" y="2173025"/>
                  <a:pt x="412301" y="2155917"/>
                  <a:pt x="431678" y="2151941"/>
                </a:cubicBezTo>
                <a:cubicBezTo>
                  <a:pt x="425429" y="2141098"/>
                  <a:pt x="406052" y="2145074"/>
                  <a:pt x="410635" y="2127969"/>
                </a:cubicBezTo>
                <a:cubicBezTo>
                  <a:pt x="391259" y="2131943"/>
                  <a:pt x="399800" y="2134231"/>
                  <a:pt x="374174" y="2127365"/>
                </a:cubicBezTo>
                <a:cubicBezTo>
                  <a:pt x="393550" y="2123391"/>
                  <a:pt x="412927" y="2119415"/>
                  <a:pt x="432304" y="2115439"/>
                </a:cubicBezTo>
                <a:cubicBezTo>
                  <a:pt x="415219" y="2110861"/>
                  <a:pt x="426052" y="2104595"/>
                  <a:pt x="419803" y="2093753"/>
                </a:cubicBezTo>
                <a:cubicBezTo>
                  <a:pt x="422095" y="2085199"/>
                  <a:pt x="436888" y="2098331"/>
                  <a:pt x="447721" y="2092065"/>
                </a:cubicBezTo>
                <a:cubicBezTo>
                  <a:pt x="441472" y="2081223"/>
                  <a:pt x="424387" y="2076645"/>
                  <a:pt x="426680" y="2068091"/>
                </a:cubicBezTo>
                <a:cubicBezTo>
                  <a:pt x="418136" y="2065802"/>
                  <a:pt x="407303" y="2072067"/>
                  <a:pt x="398762" y="2069778"/>
                </a:cubicBezTo>
                <a:cubicBezTo>
                  <a:pt x="398762" y="2069778"/>
                  <a:pt x="405011" y="2080621"/>
                  <a:pt x="413552" y="2082910"/>
                </a:cubicBezTo>
                <a:cubicBezTo>
                  <a:pt x="396470" y="2078333"/>
                  <a:pt x="374801" y="2090863"/>
                  <a:pt x="355424" y="2094839"/>
                </a:cubicBezTo>
                <a:cubicBezTo>
                  <a:pt x="360008" y="2077731"/>
                  <a:pt x="356048" y="2058334"/>
                  <a:pt x="341256" y="2045201"/>
                </a:cubicBezTo>
                <a:cubicBezTo>
                  <a:pt x="338964" y="2053756"/>
                  <a:pt x="338964" y="2053756"/>
                  <a:pt x="332715" y="2042913"/>
                </a:cubicBezTo>
                <a:cubicBezTo>
                  <a:pt x="321879" y="2049178"/>
                  <a:pt x="317295" y="2066286"/>
                  <a:pt x="291669" y="2059419"/>
                </a:cubicBezTo>
                <a:cubicBezTo>
                  <a:pt x="289377" y="2067973"/>
                  <a:pt x="308754" y="2063997"/>
                  <a:pt x="315003" y="2074840"/>
                </a:cubicBezTo>
                <a:cubicBezTo>
                  <a:pt x="306462" y="2072551"/>
                  <a:pt x="304170" y="2081105"/>
                  <a:pt x="304170" y="2081105"/>
                </a:cubicBezTo>
                <a:cubicBezTo>
                  <a:pt x="289377" y="2067973"/>
                  <a:pt x="291042" y="2095924"/>
                  <a:pt x="267708" y="2080503"/>
                </a:cubicBezTo>
                <a:cubicBezTo>
                  <a:pt x="276249" y="2082792"/>
                  <a:pt x="273957" y="2091346"/>
                  <a:pt x="282501" y="2093636"/>
                </a:cubicBezTo>
                <a:cubicBezTo>
                  <a:pt x="271666" y="2099898"/>
                  <a:pt x="271666" y="2099898"/>
                  <a:pt x="260833" y="2106163"/>
                </a:cubicBezTo>
                <a:cubicBezTo>
                  <a:pt x="264790" y="2125560"/>
                  <a:pt x="253329" y="2168330"/>
                  <a:pt x="287499" y="2177486"/>
                </a:cubicBezTo>
                <a:cubicBezTo>
                  <a:pt x="276667" y="2183749"/>
                  <a:pt x="282916" y="2194591"/>
                  <a:pt x="300000" y="2199169"/>
                </a:cubicBezTo>
                <a:cubicBezTo>
                  <a:pt x="295416" y="2216277"/>
                  <a:pt x="301668" y="2227120"/>
                  <a:pt x="327294" y="2233987"/>
                </a:cubicBezTo>
                <a:cubicBezTo>
                  <a:pt x="333545" y="2244830"/>
                  <a:pt x="307917" y="2237963"/>
                  <a:pt x="307917" y="2237963"/>
                </a:cubicBezTo>
                <a:cubicBezTo>
                  <a:pt x="305625" y="2246517"/>
                  <a:pt x="311876" y="2257360"/>
                  <a:pt x="311876" y="2257360"/>
                </a:cubicBezTo>
                <a:cubicBezTo>
                  <a:pt x="320417" y="2259649"/>
                  <a:pt x="328961" y="2261938"/>
                  <a:pt x="337502" y="2264227"/>
                </a:cubicBezTo>
                <a:cubicBezTo>
                  <a:pt x="326669" y="2270492"/>
                  <a:pt x="326669" y="2270492"/>
                  <a:pt x="324377" y="2279046"/>
                </a:cubicBezTo>
                <a:cubicBezTo>
                  <a:pt x="332918" y="2281335"/>
                  <a:pt x="332918" y="2281335"/>
                  <a:pt x="335210" y="2272781"/>
                </a:cubicBezTo>
                <a:cubicBezTo>
                  <a:pt x="343754" y="2275070"/>
                  <a:pt x="332918" y="2281335"/>
                  <a:pt x="339170" y="2292176"/>
                </a:cubicBezTo>
                <a:cubicBezTo>
                  <a:pt x="330627" y="2289887"/>
                  <a:pt x="330627" y="2289887"/>
                  <a:pt x="322086" y="2287598"/>
                </a:cubicBezTo>
                <a:cubicBezTo>
                  <a:pt x="326043" y="2306994"/>
                  <a:pt x="334586" y="2309284"/>
                  <a:pt x="327710" y="2334946"/>
                </a:cubicBezTo>
                <a:cubicBezTo>
                  <a:pt x="330002" y="2326392"/>
                  <a:pt x="338543" y="2328680"/>
                  <a:pt x="338543" y="2328680"/>
                </a:cubicBezTo>
                <a:cubicBezTo>
                  <a:pt x="331667" y="2354342"/>
                  <a:pt x="337916" y="2365185"/>
                  <a:pt x="344169" y="2376026"/>
                </a:cubicBezTo>
                <a:cubicBezTo>
                  <a:pt x="331041" y="2390845"/>
                  <a:pt x="331041" y="2390845"/>
                  <a:pt x="324165" y="2416507"/>
                </a:cubicBezTo>
                <a:cubicBezTo>
                  <a:pt x="324165" y="2416507"/>
                  <a:pt x="307083" y="2411929"/>
                  <a:pt x="304790" y="2420484"/>
                </a:cubicBezTo>
                <a:cubicBezTo>
                  <a:pt x="293955" y="2426748"/>
                  <a:pt x="296247" y="2418194"/>
                  <a:pt x="287706" y="2415906"/>
                </a:cubicBezTo>
                <a:cubicBezTo>
                  <a:pt x="279162" y="2413617"/>
                  <a:pt x="285414" y="2424460"/>
                  <a:pt x="283122" y="2433014"/>
                </a:cubicBezTo>
                <a:cubicBezTo>
                  <a:pt x="274578" y="2430725"/>
                  <a:pt x="274578" y="2430725"/>
                  <a:pt x="266037" y="2428436"/>
                </a:cubicBezTo>
                <a:cubicBezTo>
                  <a:pt x="285414" y="2424460"/>
                  <a:pt x="276870" y="2422171"/>
                  <a:pt x="270621" y="2411328"/>
                </a:cubicBezTo>
                <a:lnTo>
                  <a:pt x="266037" y="2428436"/>
                </a:lnTo>
                <a:lnTo>
                  <a:pt x="263745" y="2436990"/>
                </a:lnTo>
                <a:cubicBezTo>
                  <a:pt x="248952" y="2423858"/>
                  <a:pt x="262077" y="2409039"/>
                  <a:pt x="258120" y="2389642"/>
                </a:cubicBezTo>
                <a:cubicBezTo>
                  <a:pt x="249577" y="2387353"/>
                  <a:pt x="253536" y="2406750"/>
                  <a:pt x="242700" y="2413015"/>
                </a:cubicBezTo>
                <a:cubicBezTo>
                  <a:pt x="244993" y="2404461"/>
                  <a:pt x="228535" y="2363378"/>
                  <a:pt x="241660" y="2348559"/>
                </a:cubicBezTo>
                <a:cubicBezTo>
                  <a:pt x="233119" y="2346270"/>
                  <a:pt x="239368" y="2357113"/>
                  <a:pt x="234784" y="2374221"/>
                </a:cubicBezTo>
                <a:cubicBezTo>
                  <a:pt x="222283" y="2352535"/>
                  <a:pt x="239994" y="2320611"/>
                  <a:pt x="225202" y="2307479"/>
                </a:cubicBezTo>
                <a:cubicBezTo>
                  <a:pt x="216658" y="2305189"/>
                  <a:pt x="222910" y="2316033"/>
                  <a:pt x="220618" y="2324587"/>
                </a:cubicBezTo>
                <a:cubicBezTo>
                  <a:pt x="205825" y="2311455"/>
                  <a:pt x="210409" y="2294347"/>
                  <a:pt x="204157" y="2283503"/>
                </a:cubicBezTo>
                <a:cubicBezTo>
                  <a:pt x="195616" y="2281215"/>
                  <a:pt x="201865" y="2292057"/>
                  <a:pt x="199573" y="2300612"/>
                </a:cubicBezTo>
                <a:cubicBezTo>
                  <a:pt x="184781" y="2287480"/>
                  <a:pt x="191657" y="2261818"/>
                  <a:pt x="185408" y="2250975"/>
                </a:cubicBezTo>
                <a:cubicBezTo>
                  <a:pt x="176864" y="2248686"/>
                  <a:pt x="183116" y="2259529"/>
                  <a:pt x="172280" y="2265794"/>
                </a:cubicBezTo>
                <a:cubicBezTo>
                  <a:pt x="168323" y="2246397"/>
                  <a:pt x="172906" y="2229292"/>
                  <a:pt x="168947" y="2209894"/>
                </a:cubicBezTo>
                <a:cubicBezTo>
                  <a:pt x="160406" y="2207606"/>
                  <a:pt x="166655" y="2218448"/>
                  <a:pt x="164363" y="2227003"/>
                </a:cubicBezTo>
                <a:cubicBezTo>
                  <a:pt x="149570" y="2213870"/>
                  <a:pt x="158738" y="2179654"/>
                  <a:pt x="161030" y="2171100"/>
                </a:cubicBezTo>
                <a:cubicBezTo>
                  <a:pt x="161030" y="2171100"/>
                  <a:pt x="152489" y="2168812"/>
                  <a:pt x="150197" y="2177366"/>
                </a:cubicBezTo>
                <a:cubicBezTo>
                  <a:pt x="137696" y="2155680"/>
                  <a:pt x="139988" y="2147126"/>
                  <a:pt x="136028" y="2127731"/>
                </a:cubicBezTo>
                <a:cubicBezTo>
                  <a:pt x="133736" y="2136285"/>
                  <a:pt x="133736" y="2136285"/>
                  <a:pt x="131445" y="2144837"/>
                </a:cubicBezTo>
                <a:cubicBezTo>
                  <a:pt x="125195" y="2133997"/>
                  <a:pt x="118943" y="2123153"/>
                  <a:pt x="121235" y="2114599"/>
                </a:cubicBezTo>
                <a:cubicBezTo>
                  <a:pt x="112694" y="2112311"/>
                  <a:pt x="112694" y="2112311"/>
                  <a:pt x="104151" y="2110021"/>
                </a:cubicBezTo>
                <a:cubicBezTo>
                  <a:pt x="106443" y="2101468"/>
                  <a:pt x="97902" y="2099179"/>
                  <a:pt x="100194" y="2090625"/>
                </a:cubicBezTo>
                <a:cubicBezTo>
                  <a:pt x="91650" y="2088335"/>
                  <a:pt x="83109" y="2086047"/>
                  <a:pt x="74565" y="2083758"/>
                </a:cubicBezTo>
                <a:cubicBezTo>
                  <a:pt x="76857" y="2075204"/>
                  <a:pt x="25606" y="2061471"/>
                  <a:pt x="55816" y="2051229"/>
                </a:cubicBezTo>
                <a:cubicBezTo>
                  <a:pt x="51858" y="2031835"/>
                  <a:pt x="47275" y="2048940"/>
                  <a:pt x="41023" y="2038097"/>
                </a:cubicBezTo>
                <a:cubicBezTo>
                  <a:pt x="45606" y="2020992"/>
                  <a:pt x="39357" y="2010149"/>
                  <a:pt x="35398" y="1990752"/>
                </a:cubicBezTo>
                <a:cubicBezTo>
                  <a:pt x="22273" y="2005571"/>
                  <a:pt x="27481" y="1951958"/>
                  <a:pt x="32065" y="1934852"/>
                </a:cubicBezTo>
                <a:cubicBezTo>
                  <a:pt x="8104" y="1955934"/>
                  <a:pt x="25816" y="1924009"/>
                  <a:pt x="21856" y="1904612"/>
                </a:cubicBezTo>
                <a:cubicBezTo>
                  <a:pt x="11647" y="1874373"/>
                  <a:pt x="-3145" y="1861240"/>
                  <a:pt x="16858" y="1820762"/>
                </a:cubicBezTo>
                <a:cubicBezTo>
                  <a:pt x="-6479" y="1805341"/>
                  <a:pt x="-5851" y="1768836"/>
                  <a:pt x="20401" y="1739201"/>
                </a:cubicBezTo>
                <a:cubicBezTo>
                  <a:pt x="20401" y="1739201"/>
                  <a:pt x="20401" y="1739201"/>
                  <a:pt x="28942" y="1741489"/>
                </a:cubicBezTo>
                <a:cubicBezTo>
                  <a:pt x="24985" y="1722092"/>
                  <a:pt x="57487" y="1703297"/>
                  <a:pt x="55821" y="1675349"/>
                </a:cubicBezTo>
                <a:cubicBezTo>
                  <a:pt x="81447" y="1682215"/>
                  <a:pt x="82074" y="1645710"/>
                  <a:pt x="99159" y="1650288"/>
                </a:cubicBezTo>
                <a:cubicBezTo>
                  <a:pt x="101451" y="1641734"/>
                  <a:pt x="101451" y="1641734"/>
                  <a:pt x="103743" y="1633180"/>
                </a:cubicBezTo>
                <a:cubicBezTo>
                  <a:pt x="103743" y="1633180"/>
                  <a:pt x="112284" y="1635469"/>
                  <a:pt x="112284" y="1635469"/>
                </a:cubicBezTo>
                <a:cubicBezTo>
                  <a:pt x="116868" y="1618361"/>
                  <a:pt x="116868" y="1618361"/>
                  <a:pt x="129995" y="1603544"/>
                </a:cubicBezTo>
                <a:cubicBezTo>
                  <a:pt x="143120" y="1588725"/>
                  <a:pt x="164789" y="1576195"/>
                  <a:pt x="171665" y="1550533"/>
                </a:cubicBezTo>
                <a:cubicBezTo>
                  <a:pt x="180209" y="1552822"/>
                  <a:pt x="188750" y="1555110"/>
                  <a:pt x="191042" y="1546556"/>
                </a:cubicBezTo>
                <a:cubicBezTo>
                  <a:pt x="217295" y="1516921"/>
                  <a:pt x="232712" y="1493547"/>
                  <a:pt x="258964" y="1463911"/>
                </a:cubicBezTo>
                <a:cubicBezTo>
                  <a:pt x="261256" y="1455357"/>
                  <a:pt x="286884" y="1462224"/>
                  <a:pt x="293761" y="1436562"/>
                </a:cubicBezTo>
                <a:cubicBezTo>
                  <a:pt x="293761" y="1436562"/>
                  <a:pt x="293761" y="1436562"/>
                  <a:pt x="302302" y="1438851"/>
                </a:cubicBezTo>
                <a:cubicBezTo>
                  <a:pt x="302302" y="1438851"/>
                  <a:pt x="304594" y="1430297"/>
                  <a:pt x="296053" y="1428008"/>
                </a:cubicBezTo>
                <a:cubicBezTo>
                  <a:pt x="343347" y="1422344"/>
                  <a:pt x="340014" y="1366445"/>
                  <a:pt x="385019" y="1369336"/>
                </a:cubicBezTo>
                <a:cubicBezTo>
                  <a:pt x="395853" y="1363070"/>
                  <a:pt x="389603" y="1352228"/>
                  <a:pt x="391896" y="1343674"/>
                </a:cubicBezTo>
                <a:cubicBezTo>
                  <a:pt x="408980" y="1348251"/>
                  <a:pt x="411272" y="1339698"/>
                  <a:pt x="417521" y="1350540"/>
                </a:cubicBezTo>
                <a:cubicBezTo>
                  <a:pt x="413564" y="1331146"/>
                  <a:pt x="411272" y="1339698"/>
                  <a:pt x="415856" y="1322592"/>
                </a:cubicBezTo>
                <a:cubicBezTo>
                  <a:pt x="439190" y="1338012"/>
                  <a:pt x="443774" y="1320904"/>
                  <a:pt x="452317" y="1323194"/>
                </a:cubicBezTo>
                <a:cubicBezTo>
                  <a:pt x="454609" y="1314640"/>
                  <a:pt x="459193" y="1297532"/>
                  <a:pt x="459193" y="1297532"/>
                </a:cubicBezTo>
                <a:cubicBezTo>
                  <a:pt x="484819" y="1304398"/>
                  <a:pt x="485446" y="1267896"/>
                  <a:pt x="511072" y="1274762"/>
                </a:cubicBezTo>
                <a:cubicBezTo>
                  <a:pt x="513364" y="1266208"/>
                  <a:pt x="513364" y="1266208"/>
                  <a:pt x="504823" y="1263920"/>
                </a:cubicBezTo>
                <a:cubicBezTo>
                  <a:pt x="532740" y="1262232"/>
                  <a:pt x="537324" y="1245124"/>
                  <a:pt x="556701" y="1241148"/>
                </a:cubicBezTo>
                <a:cubicBezTo>
                  <a:pt x="557328" y="1204646"/>
                  <a:pt x="586914" y="1230907"/>
                  <a:pt x="585246" y="1202958"/>
                </a:cubicBezTo>
                <a:cubicBezTo>
                  <a:pt x="598373" y="1188139"/>
                  <a:pt x="613166" y="1201271"/>
                  <a:pt x="622334" y="1167055"/>
                </a:cubicBezTo>
                <a:cubicBezTo>
                  <a:pt x="639419" y="1171633"/>
                  <a:pt x="652544" y="1156813"/>
                  <a:pt x="665669" y="1141996"/>
                </a:cubicBezTo>
                <a:cubicBezTo>
                  <a:pt x="674212" y="1144286"/>
                  <a:pt x="676504" y="1135732"/>
                  <a:pt x="685045" y="1138020"/>
                </a:cubicBezTo>
                <a:cubicBezTo>
                  <a:pt x="689630" y="1120912"/>
                  <a:pt x="691922" y="1112358"/>
                  <a:pt x="717550" y="1119225"/>
                </a:cubicBezTo>
                <a:cubicBezTo>
                  <a:pt x="713590" y="1099828"/>
                  <a:pt x="715882" y="1091274"/>
                  <a:pt x="743803" y="1089587"/>
                </a:cubicBezTo>
                <a:cubicBezTo>
                  <a:pt x="754636" y="1083321"/>
                  <a:pt x="765471" y="1077059"/>
                  <a:pt x="761512" y="1057662"/>
                </a:cubicBezTo>
                <a:cubicBezTo>
                  <a:pt x="778596" y="1062240"/>
                  <a:pt x="800265" y="1049710"/>
                  <a:pt x="800265" y="1049710"/>
                </a:cubicBezTo>
                <a:cubicBezTo>
                  <a:pt x="811101" y="1043445"/>
                  <a:pt x="830478" y="1039469"/>
                  <a:pt x="826518" y="1020071"/>
                </a:cubicBezTo>
                <a:cubicBezTo>
                  <a:pt x="835062" y="1022361"/>
                  <a:pt x="848186" y="1007544"/>
                  <a:pt x="843603" y="1024649"/>
                </a:cubicBezTo>
                <a:cubicBezTo>
                  <a:pt x="865271" y="1012121"/>
                  <a:pt x="859022" y="1001279"/>
                  <a:pt x="869855" y="995013"/>
                </a:cubicBezTo>
                <a:cubicBezTo>
                  <a:pt x="865271" y="1012121"/>
                  <a:pt x="900068" y="984772"/>
                  <a:pt x="891524" y="982483"/>
                </a:cubicBezTo>
                <a:cubicBezTo>
                  <a:pt x="904652" y="967664"/>
                  <a:pt x="917152" y="989350"/>
                  <a:pt x="924028" y="963688"/>
                </a:cubicBezTo>
                <a:cubicBezTo>
                  <a:pt x="930277" y="974531"/>
                  <a:pt x="934862" y="957423"/>
                  <a:pt x="938821" y="976820"/>
                </a:cubicBezTo>
                <a:cubicBezTo>
                  <a:pt x="949654" y="970555"/>
                  <a:pt x="951946" y="962001"/>
                  <a:pt x="956530" y="944895"/>
                </a:cubicBezTo>
                <a:cubicBezTo>
                  <a:pt x="965073" y="947184"/>
                  <a:pt x="965073" y="947184"/>
                  <a:pt x="967365" y="938630"/>
                </a:cubicBezTo>
                <a:cubicBezTo>
                  <a:pt x="969658" y="930076"/>
                  <a:pt x="965073" y="947184"/>
                  <a:pt x="965073" y="947184"/>
                </a:cubicBezTo>
                <a:cubicBezTo>
                  <a:pt x="975907" y="940919"/>
                  <a:pt x="991326" y="917546"/>
                  <a:pt x="1006119" y="930678"/>
                </a:cubicBezTo>
                <a:cubicBezTo>
                  <a:pt x="1010703" y="913570"/>
                  <a:pt x="1027788" y="918148"/>
                  <a:pt x="1034663" y="892488"/>
                </a:cubicBezTo>
                <a:cubicBezTo>
                  <a:pt x="1051745" y="897065"/>
                  <a:pt x="1075083" y="912484"/>
                  <a:pt x="1075706" y="875981"/>
                </a:cubicBezTo>
                <a:cubicBezTo>
                  <a:pt x="1079666" y="895378"/>
                  <a:pt x="1088834" y="861162"/>
                  <a:pt x="1099667" y="854897"/>
                </a:cubicBezTo>
                <a:cubicBezTo>
                  <a:pt x="1108211" y="857186"/>
                  <a:pt x="1095083" y="872005"/>
                  <a:pt x="1092791" y="880559"/>
                </a:cubicBezTo>
                <a:cubicBezTo>
                  <a:pt x="1101335" y="882848"/>
                  <a:pt x="1108211" y="857186"/>
                  <a:pt x="1108211" y="857186"/>
                </a:cubicBezTo>
                <a:cubicBezTo>
                  <a:pt x="1110503" y="848632"/>
                  <a:pt x="1125296" y="861764"/>
                  <a:pt x="1119044" y="850920"/>
                </a:cubicBezTo>
                <a:cubicBezTo>
                  <a:pt x="1125296" y="861764"/>
                  <a:pt x="1129880" y="844656"/>
                  <a:pt x="1136129" y="855498"/>
                </a:cubicBezTo>
                <a:cubicBezTo>
                  <a:pt x="1144673" y="857788"/>
                  <a:pt x="1149257" y="840680"/>
                  <a:pt x="1151548" y="832128"/>
                </a:cubicBezTo>
                <a:cubicBezTo>
                  <a:pt x="1160089" y="834417"/>
                  <a:pt x="1160089" y="834417"/>
                  <a:pt x="1162381" y="825863"/>
                </a:cubicBezTo>
                <a:cubicBezTo>
                  <a:pt x="1166341" y="845257"/>
                  <a:pt x="1162381" y="825863"/>
                  <a:pt x="1179466" y="830440"/>
                </a:cubicBezTo>
                <a:cubicBezTo>
                  <a:pt x="1181758" y="821886"/>
                  <a:pt x="1173217" y="819598"/>
                  <a:pt x="1184050" y="813332"/>
                </a:cubicBezTo>
                <a:cubicBezTo>
                  <a:pt x="1190302" y="824176"/>
                  <a:pt x="1190302" y="824176"/>
                  <a:pt x="1192594" y="815622"/>
                </a:cubicBezTo>
                <a:cubicBezTo>
                  <a:pt x="1201135" y="817910"/>
                  <a:pt x="1201135" y="817910"/>
                  <a:pt x="1198843" y="826464"/>
                </a:cubicBezTo>
                <a:cubicBezTo>
                  <a:pt x="1209678" y="820199"/>
                  <a:pt x="1205719" y="800802"/>
                  <a:pt x="1216555" y="794537"/>
                </a:cubicBezTo>
                <a:cubicBezTo>
                  <a:pt x="1233639" y="799115"/>
                  <a:pt x="1242180" y="801404"/>
                  <a:pt x="1257600" y="778034"/>
                </a:cubicBezTo>
                <a:cubicBezTo>
                  <a:pt x="1268433" y="771768"/>
                  <a:pt x="1263849" y="788874"/>
                  <a:pt x="1253016" y="795139"/>
                </a:cubicBezTo>
                <a:cubicBezTo>
                  <a:pt x="1263849" y="788874"/>
                  <a:pt x="1290102" y="759238"/>
                  <a:pt x="1285517" y="776346"/>
                </a:cubicBezTo>
                <a:cubicBezTo>
                  <a:pt x="1302602" y="780924"/>
                  <a:pt x="1296353" y="770081"/>
                  <a:pt x="1300937" y="752973"/>
                </a:cubicBezTo>
                <a:cubicBezTo>
                  <a:pt x="1324271" y="768394"/>
                  <a:pt x="1339691" y="745021"/>
                  <a:pt x="1355108" y="721647"/>
                </a:cubicBezTo>
                <a:cubicBezTo>
                  <a:pt x="1363652" y="723936"/>
                  <a:pt x="1350524" y="738755"/>
                  <a:pt x="1348232" y="747309"/>
                </a:cubicBezTo>
                <a:cubicBezTo>
                  <a:pt x="1365317" y="751887"/>
                  <a:pt x="1350524" y="738755"/>
                  <a:pt x="1363652" y="723936"/>
                </a:cubicBezTo>
                <a:cubicBezTo>
                  <a:pt x="1369901" y="734779"/>
                  <a:pt x="1369901" y="734779"/>
                  <a:pt x="1372193" y="726225"/>
                </a:cubicBezTo>
                <a:cubicBezTo>
                  <a:pt x="1380737" y="728514"/>
                  <a:pt x="1378444" y="737068"/>
                  <a:pt x="1378444" y="737068"/>
                </a:cubicBezTo>
                <a:cubicBezTo>
                  <a:pt x="1386986" y="739357"/>
                  <a:pt x="1383028" y="719963"/>
                  <a:pt x="1385320" y="711409"/>
                </a:cubicBezTo>
                <a:cubicBezTo>
                  <a:pt x="1393861" y="713697"/>
                  <a:pt x="1389278" y="730803"/>
                  <a:pt x="1393861" y="713697"/>
                </a:cubicBezTo>
                <a:cubicBezTo>
                  <a:pt x="1402405" y="715987"/>
                  <a:pt x="1402405" y="715987"/>
                  <a:pt x="1410946" y="718275"/>
                </a:cubicBezTo>
                <a:cubicBezTo>
                  <a:pt x="1421779" y="712010"/>
                  <a:pt x="1426363" y="694902"/>
                  <a:pt x="1437199" y="688637"/>
                </a:cubicBezTo>
                <a:cubicBezTo>
                  <a:pt x="1445740" y="690926"/>
                  <a:pt x="1443448" y="699480"/>
                  <a:pt x="1443448" y="699480"/>
                </a:cubicBezTo>
                <a:cubicBezTo>
                  <a:pt x="1454283" y="693215"/>
                  <a:pt x="1456575" y="684661"/>
                  <a:pt x="1467409" y="678395"/>
                </a:cubicBezTo>
                <a:cubicBezTo>
                  <a:pt x="1473660" y="689239"/>
                  <a:pt x="1489078" y="665865"/>
                  <a:pt x="1497621" y="668154"/>
                </a:cubicBezTo>
                <a:cubicBezTo>
                  <a:pt x="1497621" y="668154"/>
                  <a:pt x="1497621" y="668154"/>
                  <a:pt x="1506162" y="670443"/>
                </a:cubicBezTo>
                <a:cubicBezTo>
                  <a:pt x="1499912" y="659603"/>
                  <a:pt x="1536374" y="660205"/>
                  <a:pt x="1521581" y="647073"/>
                </a:cubicBezTo>
                <a:cubicBezTo>
                  <a:pt x="1547207" y="653939"/>
                  <a:pt x="1551791" y="636831"/>
                  <a:pt x="1568876" y="641409"/>
                </a:cubicBezTo>
                <a:cubicBezTo>
                  <a:pt x="1579712" y="635144"/>
                  <a:pt x="1590545" y="628879"/>
                  <a:pt x="1595129" y="611770"/>
                </a:cubicBezTo>
                <a:cubicBezTo>
                  <a:pt x="1595129" y="611770"/>
                  <a:pt x="1592837" y="620325"/>
                  <a:pt x="1601381" y="622614"/>
                </a:cubicBezTo>
                <a:cubicBezTo>
                  <a:pt x="1601381" y="622614"/>
                  <a:pt x="1601381" y="622614"/>
                  <a:pt x="1603673" y="614060"/>
                </a:cubicBezTo>
                <a:cubicBezTo>
                  <a:pt x="1609922" y="624902"/>
                  <a:pt x="1620757" y="618638"/>
                  <a:pt x="1623049" y="610086"/>
                </a:cubicBezTo>
                <a:cubicBezTo>
                  <a:pt x="1623049" y="610086"/>
                  <a:pt x="1620757" y="618638"/>
                  <a:pt x="1629298" y="620926"/>
                </a:cubicBezTo>
                <a:cubicBezTo>
                  <a:pt x="1631590" y="612375"/>
                  <a:pt x="1647010" y="589002"/>
                  <a:pt x="1659510" y="610688"/>
                </a:cubicBezTo>
                <a:cubicBezTo>
                  <a:pt x="1664094" y="593580"/>
                  <a:pt x="1681179" y="598158"/>
                  <a:pt x="1685763" y="581050"/>
                </a:cubicBezTo>
                <a:cubicBezTo>
                  <a:pt x="1700556" y="594181"/>
                  <a:pt x="1750769" y="543462"/>
                  <a:pt x="1763271" y="565145"/>
                </a:cubicBezTo>
                <a:cubicBezTo>
                  <a:pt x="1768687" y="562013"/>
                  <a:pt x="1771395" y="560448"/>
                  <a:pt x="1773322" y="557526"/>
                </a:cubicBezTo>
                <a:lnTo>
                  <a:pt x="1778686" y="541776"/>
                </a:lnTo>
                <a:lnTo>
                  <a:pt x="1777254" y="547120"/>
                </a:lnTo>
                <a:cubicBezTo>
                  <a:pt x="1775822" y="552466"/>
                  <a:pt x="1774103" y="558882"/>
                  <a:pt x="1774103" y="558882"/>
                </a:cubicBezTo>
                <a:cubicBezTo>
                  <a:pt x="1785563" y="516112"/>
                  <a:pt x="1821398" y="553218"/>
                  <a:pt x="1830566" y="519002"/>
                </a:cubicBezTo>
                <a:cubicBezTo>
                  <a:pt x="1836817" y="529845"/>
                  <a:pt x="1849943" y="515026"/>
                  <a:pt x="1845359" y="532134"/>
                </a:cubicBezTo>
                <a:cubicBezTo>
                  <a:pt x="1853902" y="534423"/>
                  <a:pt x="1852235" y="506472"/>
                  <a:pt x="1856194" y="525869"/>
                </a:cubicBezTo>
                <a:cubicBezTo>
                  <a:pt x="1858486" y="517315"/>
                  <a:pt x="1860778" y="508761"/>
                  <a:pt x="1863070" y="500210"/>
                </a:cubicBezTo>
                <a:cubicBezTo>
                  <a:pt x="1880154" y="504787"/>
                  <a:pt x="1869319" y="511050"/>
                  <a:pt x="1867027" y="519604"/>
                </a:cubicBezTo>
                <a:cubicBezTo>
                  <a:pt x="1880154" y="504787"/>
                  <a:pt x="1893280" y="489968"/>
                  <a:pt x="1908072" y="503100"/>
                </a:cubicBezTo>
                <a:cubicBezTo>
                  <a:pt x="1908072" y="503100"/>
                  <a:pt x="1918908" y="496835"/>
                  <a:pt x="1921200" y="488281"/>
                </a:cubicBezTo>
                <a:cubicBezTo>
                  <a:pt x="1929741" y="490570"/>
                  <a:pt x="1929741" y="490570"/>
                  <a:pt x="1946826" y="495147"/>
                </a:cubicBezTo>
                <a:cubicBezTo>
                  <a:pt x="1949118" y="486593"/>
                  <a:pt x="1940577" y="484305"/>
                  <a:pt x="1951410" y="478039"/>
                </a:cubicBezTo>
                <a:cubicBezTo>
                  <a:pt x="1977038" y="484906"/>
                  <a:pt x="1977038" y="484906"/>
                  <a:pt x="1983914" y="459244"/>
                </a:cubicBezTo>
                <a:cubicBezTo>
                  <a:pt x="1990163" y="470087"/>
                  <a:pt x="2009540" y="466111"/>
                  <a:pt x="2007248" y="474665"/>
                </a:cubicBezTo>
                <a:cubicBezTo>
                  <a:pt x="2015792" y="476954"/>
                  <a:pt x="2011832" y="457557"/>
                  <a:pt x="2020376" y="459846"/>
                </a:cubicBezTo>
                <a:cubicBezTo>
                  <a:pt x="2031209" y="453583"/>
                  <a:pt x="2018084" y="468400"/>
                  <a:pt x="2018084" y="468400"/>
                </a:cubicBezTo>
                <a:cubicBezTo>
                  <a:pt x="2026625" y="470689"/>
                  <a:pt x="2028917" y="462134"/>
                  <a:pt x="2031209" y="453583"/>
                </a:cubicBezTo>
                <a:cubicBezTo>
                  <a:pt x="2037461" y="464424"/>
                  <a:pt x="2039752" y="455872"/>
                  <a:pt x="2037461" y="464424"/>
                </a:cubicBezTo>
                <a:cubicBezTo>
                  <a:pt x="2044336" y="438764"/>
                  <a:pt x="2082463" y="467317"/>
                  <a:pt x="2063713" y="434788"/>
                </a:cubicBezTo>
                <a:cubicBezTo>
                  <a:pt x="2074546" y="428523"/>
                  <a:pt x="2091631" y="433100"/>
                  <a:pt x="2093923" y="424546"/>
                </a:cubicBezTo>
                <a:cubicBezTo>
                  <a:pt x="2102466" y="426836"/>
                  <a:pt x="2102466" y="426836"/>
                  <a:pt x="2100175" y="435390"/>
                </a:cubicBezTo>
                <a:cubicBezTo>
                  <a:pt x="2100175" y="435390"/>
                  <a:pt x="2102466" y="426836"/>
                  <a:pt x="2102466" y="426836"/>
                </a:cubicBezTo>
                <a:cubicBezTo>
                  <a:pt x="2111008" y="429124"/>
                  <a:pt x="2136636" y="435991"/>
                  <a:pt x="2121844" y="422859"/>
                </a:cubicBezTo>
                <a:cubicBezTo>
                  <a:pt x="2141220" y="418883"/>
                  <a:pt x="2147469" y="429726"/>
                  <a:pt x="2162886" y="406355"/>
                </a:cubicBezTo>
                <a:cubicBezTo>
                  <a:pt x="2169138" y="417196"/>
                  <a:pt x="2171430" y="408644"/>
                  <a:pt x="2177679" y="419484"/>
                </a:cubicBezTo>
                <a:cubicBezTo>
                  <a:pt x="2188514" y="413222"/>
                  <a:pt x="2190806" y="404668"/>
                  <a:pt x="2193098" y="396114"/>
                </a:cubicBezTo>
                <a:cubicBezTo>
                  <a:pt x="2201639" y="398403"/>
                  <a:pt x="2199347" y="406957"/>
                  <a:pt x="2197055" y="415511"/>
                </a:cubicBezTo>
                <a:cubicBezTo>
                  <a:pt x="2201639" y="398403"/>
                  <a:pt x="2227268" y="405270"/>
                  <a:pt x="2214767" y="383584"/>
                </a:cubicBezTo>
                <a:cubicBezTo>
                  <a:pt x="2217059" y="375030"/>
                  <a:pt x="2242685" y="381896"/>
                  <a:pt x="2240393" y="390450"/>
                </a:cubicBezTo>
                <a:cubicBezTo>
                  <a:pt x="2253521" y="375631"/>
                  <a:pt x="2262062" y="377920"/>
                  <a:pt x="2268314" y="388763"/>
                </a:cubicBezTo>
                <a:cubicBezTo>
                  <a:pt x="2279146" y="382498"/>
                  <a:pt x="2275190" y="363101"/>
                  <a:pt x="2275190" y="363101"/>
                </a:cubicBezTo>
                <a:cubicBezTo>
                  <a:pt x="2286023" y="356836"/>
                  <a:pt x="2283731" y="365390"/>
                  <a:pt x="2283731" y="365390"/>
                </a:cubicBezTo>
                <a:cubicBezTo>
                  <a:pt x="2300816" y="369967"/>
                  <a:pt x="2272898" y="371655"/>
                  <a:pt x="2289982" y="376233"/>
                </a:cubicBezTo>
                <a:cubicBezTo>
                  <a:pt x="2292274" y="367679"/>
                  <a:pt x="2303107" y="361414"/>
                  <a:pt x="2303107" y="361414"/>
                </a:cubicBezTo>
                <a:cubicBezTo>
                  <a:pt x="2311651" y="363703"/>
                  <a:pt x="2322483" y="357440"/>
                  <a:pt x="2328736" y="368281"/>
                </a:cubicBezTo>
                <a:cubicBezTo>
                  <a:pt x="2328736" y="368281"/>
                  <a:pt x="2339568" y="362018"/>
                  <a:pt x="2341860" y="353464"/>
                </a:cubicBezTo>
                <a:cubicBezTo>
                  <a:pt x="2341860" y="353464"/>
                  <a:pt x="2341860" y="353464"/>
                  <a:pt x="2348112" y="364307"/>
                </a:cubicBezTo>
                <a:cubicBezTo>
                  <a:pt x="2350404" y="355753"/>
                  <a:pt x="2367489" y="360331"/>
                  <a:pt x="2363529" y="340934"/>
                </a:cubicBezTo>
                <a:cubicBezTo>
                  <a:pt x="2380614" y="345511"/>
                  <a:pt x="2399991" y="341535"/>
                  <a:pt x="2406242" y="352379"/>
                </a:cubicBezTo>
                <a:lnTo>
                  <a:pt x="2441691" y="338124"/>
                </a:lnTo>
                <a:lnTo>
                  <a:pt x="2434160" y="350691"/>
                </a:lnTo>
                <a:lnTo>
                  <a:pt x="2445377" y="336640"/>
                </a:lnTo>
                <a:lnTo>
                  <a:pt x="2447288" y="335872"/>
                </a:lnTo>
                <a:lnTo>
                  <a:pt x="2445737" y="336189"/>
                </a:lnTo>
                <a:lnTo>
                  <a:pt x="2446220" y="335586"/>
                </a:lnTo>
                <a:cubicBezTo>
                  <a:pt x="2450569" y="332168"/>
                  <a:pt x="2453851" y="328462"/>
                  <a:pt x="2451872" y="318764"/>
                </a:cubicBezTo>
                <a:cubicBezTo>
                  <a:pt x="2460413" y="321052"/>
                  <a:pt x="2460413" y="321052"/>
                  <a:pt x="2462705" y="312501"/>
                </a:cubicBezTo>
                <a:cubicBezTo>
                  <a:pt x="2471248" y="314790"/>
                  <a:pt x="2460413" y="321052"/>
                  <a:pt x="2475206" y="334184"/>
                </a:cubicBezTo>
                <a:cubicBezTo>
                  <a:pt x="2486042" y="327920"/>
                  <a:pt x="2468957" y="323342"/>
                  <a:pt x="2471248" y="314790"/>
                </a:cubicBezTo>
                <a:cubicBezTo>
                  <a:pt x="2479789" y="317079"/>
                  <a:pt x="2486042" y="327920"/>
                  <a:pt x="2490625" y="310814"/>
                </a:cubicBezTo>
                <a:cubicBezTo>
                  <a:pt x="2490625" y="310814"/>
                  <a:pt x="2496874" y="321657"/>
                  <a:pt x="2499166" y="313103"/>
                </a:cubicBezTo>
                <a:cubicBezTo>
                  <a:pt x="2507707" y="315391"/>
                  <a:pt x="2499166" y="313103"/>
                  <a:pt x="2505415" y="323945"/>
                </a:cubicBezTo>
                <a:cubicBezTo>
                  <a:pt x="2516251" y="317681"/>
                  <a:pt x="2509999" y="306837"/>
                  <a:pt x="2516251" y="317681"/>
                </a:cubicBezTo>
                <a:cubicBezTo>
                  <a:pt x="2524792" y="319969"/>
                  <a:pt x="2518543" y="309127"/>
                  <a:pt x="2520835" y="300572"/>
                </a:cubicBezTo>
                <a:cubicBezTo>
                  <a:pt x="2531668" y="294307"/>
                  <a:pt x="2524792" y="319969"/>
                  <a:pt x="2524792" y="319969"/>
                </a:cubicBezTo>
                <a:cubicBezTo>
                  <a:pt x="2524792" y="319969"/>
                  <a:pt x="2535628" y="313704"/>
                  <a:pt x="2529376" y="302861"/>
                </a:cubicBezTo>
                <a:cubicBezTo>
                  <a:pt x="2546461" y="307439"/>
                  <a:pt x="2559589" y="292620"/>
                  <a:pt x="2555005" y="309728"/>
                </a:cubicBezTo>
                <a:cubicBezTo>
                  <a:pt x="2565838" y="303463"/>
                  <a:pt x="2578966" y="288644"/>
                  <a:pt x="2585214" y="299487"/>
                </a:cubicBezTo>
                <a:cubicBezTo>
                  <a:pt x="2617719" y="280692"/>
                  <a:pt x="2626260" y="282980"/>
                  <a:pt x="2654181" y="281293"/>
                </a:cubicBezTo>
                <a:cubicBezTo>
                  <a:pt x="2654181" y="281293"/>
                  <a:pt x="2645637" y="279004"/>
                  <a:pt x="2647928" y="270452"/>
                </a:cubicBezTo>
                <a:cubicBezTo>
                  <a:pt x="2656472" y="272742"/>
                  <a:pt x="2654181" y="281293"/>
                  <a:pt x="2662722" y="283582"/>
                </a:cubicBezTo>
                <a:cubicBezTo>
                  <a:pt x="2671265" y="285871"/>
                  <a:pt x="2656472" y="272742"/>
                  <a:pt x="2667305" y="266476"/>
                </a:cubicBezTo>
                <a:cubicBezTo>
                  <a:pt x="2675849" y="268766"/>
                  <a:pt x="2682098" y="279608"/>
                  <a:pt x="2686682" y="262500"/>
                </a:cubicBezTo>
                <a:cubicBezTo>
                  <a:pt x="2692933" y="273343"/>
                  <a:pt x="2695225" y="264789"/>
                  <a:pt x="2701474" y="275632"/>
                </a:cubicBezTo>
                <a:cubicBezTo>
                  <a:pt x="2712310" y="269367"/>
                  <a:pt x="2714602" y="260813"/>
                  <a:pt x="2719186" y="243705"/>
                </a:cubicBezTo>
                <a:cubicBezTo>
                  <a:pt x="2727728" y="245994"/>
                  <a:pt x="2725436" y="254548"/>
                  <a:pt x="2723144" y="263102"/>
                </a:cubicBezTo>
                <a:cubicBezTo>
                  <a:pt x="2725436" y="254548"/>
                  <a:pt x="2738563" y="239729"/>
                  <a:pt x="2731687" y="265391"/>
                </a:cubicBezTo>
                <a:cubicBezTo>
                  <a:pt x="2733979" y="256837"/>
                  <a:pt x="2753356" y="252861"/>
                  <a:pt x="2757940" y="235753"/>
                </a:cubicBezTo>
                <a:cubicBezTo>
                  <a:pt x="2766481" y="238041"/>
                  <a:pt x="2753356" y="252861"/>
                  <a:pt x="2753356" y="252861"/>
                </a:cubicBezTo>
                <a:cubicBezTo>
                  <a:pt x="2761897" y="255149"/>
                  <a:pt x="2764189" y="246595"/>
                  <a:pt x="2766481" y="238041"/>
                </a:cubicBezTo>
                <a:cubicBezTo>
                  <a:pt x="2770441" y="257439"/>
                  <a:pt x="2772732" y="248885"/>
                  <a:pt x="2785858" y="234065"/>
                </a:cubicBezTo>
                <a:cubicBezTo>
                  <a:pt x="2785858" y="234065"/>
                  <a:pt x="2783566" y="242619"/>
                  <a:pt x="2783566" y="242619"/>
                </a:cubicBezTo>
                <a:cubicBezTo>
                  <a:pt x="2794401" y="236354"/>
                  <a:pt x="2794401" y="236354"/>
                  <a:pt x="2796694" y="227800"/>
                </a:cubicBezTo>
                <a:cubicBezTo>
                  <a:pt x="2802943" y="238643"/>
                  <a:pt x="2800650" y="247197"/>
                  <a:pt x="2822319" y="234667"/>
                </a:cubicBezTo>
                <a:cubicBezTo>
                  <a:pt x="2822319" y="234667"/>
                  <a:pt x="2820027" y="243221"/>
                  <a:pt x="2828571" y="245510"/>
                </a:cubicBezTo>
                <a:cubicBezTo>
                  <a:pt x="2828571" y="245510"/>
                  <a:pt x="2824611" y="226115"/>
                  <a:pt x="2835447" y="219850"/>
                </a:cubicBezTo>
                <a:cubicBezTo>
                  <a:pt x="2843988" y="222139"/>
                  <a:pt x="2833155" y="228405"/>
                  <a:pt x="2833155" y="228405"/>
                </a:cubicBezTo>
                <a:cubicBezTo>
                  <a:pt x="2833155" y="228405"/>
                  <a:pt x="2850237" y="232982"/>
                  <a:pt x="2861072" y="226717"/>
                </a:cubicBezTo>
                <a:cubicBezTo>
                  <a:pt x="2863364" y="218163"/>
                  <a:pt x="2854821" y="215874"/>
                  <a:pt x="2865656" y="209609"/>
                </a:cubicBezTo>
                <a:cubicBezTo>
                  <a:pt x="2874198" y="211897"/>
                  <a:pt x="2871905" y="220451"/>
                  <a:pt x="2869613" y="229005"/>
                </a:cubicBezTo>
                <a:cubicBezTo>
                  <a:pt x="2880449" y="222741"/>
                  <a:pt x="2871905" y="220451"/>
                  <a:pt x="2874198" y="211897"/>
                </a:cubicBezTo>
                <a:cubicBezTo>
                  <a:pt x="2880449" y="222741"/>
                  <a:pt x="2891282" y="216475"/>
                  <a:pt x="2893574" y="207921"/>
                </a:cubicBezTo>
                <a:cubicBezTo>
                  <a:pt x="2902118" y="210210"/>
                  <a:pt x="2899826" y="218764"/>
                  <a:pt x="2888990" y="225029"/>
                </a:cubicBezTo>
                <a:cubicBezTo>
                  <a:pt x="2897534" y="227319"/>
                  <a:pt x="2921495" y="206234"/>
                  <a:pt x="2926079" y="189126"/>
                </a:cubicBezTo>
                <a:cubicBezTo>
                  <a:pt x="2943163" y="193704"/>
                  <a:pt x="2912951" y="203945"/>
                  <a:pt x="2927744" y="217077"/>
                </a:cubicBezTo>
                <a:cubicBezTo>
                  <a:pt x="2930036" y="208523"/>
                  <a:pt x="2932328" y="199969"/>
                  <a:pt x="2947121" y="213101"/>
                </a:cubicBezTo>
                <a:cubicBezTo>
                  <a:pt x="2938580" y="210812"/>
                  <a:pt x="2940872" y="202258"/>
                  <a:pt x="2932328" y="199969"/>
                </a:cubicBezTo>
                <a:cubicBezTo>
                  <a:pt x="2949412" y="204547"/>
                  <a:pt x="2967124" y="172622"/>
                  <a:pt x="2957957" y="206836"/>
                </a:cubicBezTo>
                <a:cubicBezTo>
                  <a:pt x="2968790" y="200570"/>
                  <a:pt x="2971081" y="192016"/>
                  <a:pt x="2973373" y="183465"/>
                </a:cubicBezTo>
                <a:cubicBezTo>
                  <a:pt x="2981917" y="185754"/>
                  <a:pt x="2999001" y="190332"/>
                  <a:pt x="3016086" y="194910"/>
                </a:cubicBezTo>
                <a:cubicBezTo>
                  <a:pt x="2992750" y="179489"/>
                  <a:pt x="3024627" y="197199"/>
                  <a:pt x="3029211" y="180090"/>
                </a:cubicBezTo>
                <a:cubicBezTo>
                  <a:pt x="3037755" y="182380"/>
                  <a:pt x="3035463" y="190934"/>
                  <a:pt x="3033171" y="199488"/>
                </a:cubicBezTo>
                <a:cubicBezTo>
                  <a:pt x="3041712" y="201776"/>
                  <a:pt x="3037755" y="182380"/>
                  <a:pt x="3040047" y="173826"/>
                </a:cubicBezTo>
                <a:cubicBezTo>
                  <a:pt x="3048588" y="176114"/>
                  <a:pt x="3046296" y="184668"/>
                  <a:pt x="3044004" y="193222"/>
                </a:cubicBezTo>
                <a:cubicBezTo>
                  <a:pt x="3054840" y="186958"/>
                  <a:pt x="3075882" y="210932"/>
                  <a:pt x="3074216" y="182981"/>
                </a:cubicBezTo>
                <a:cubicBezTo>
                  <a:pt x="3080465" y="193824"/>
                  <a:pt x="3080465" y="193824"/>
                  <a:pt x="3078174" y="202378"/>
                </a:cubicBezTo>
                <a:cubicBezTo>
                  <a:pt x="3078174" y="202378"/>
                  <a:pt x="3080465" y="193824"/>
                  <a:pt x="3082758" y="185270"/>
                </a:cubicBezTo>
                <a:cubicBezTo>
                  <a:pt x="3089009" y="196113"/>
                  <a:pt x="3089009" y="196113"/>
                  <a:pt x="3086717" y="204667"/>
                </a:cubicBezTo>
                <a:cubicBezTo>
                  <a:pt x="3086717" y="204667"/>
                  <a:pt x="3089009" y="196113"/>
                  <a:pt x="3091301" y="187559"/>
                </a:cubicBezTo>
                <a:cubicBezTo>
                  <a:pt x="3099842" y="189848"/>
                  <a:pt x="3097550" y="198402"/>
                  <a:pt x="3095258" y="206956"/>
                </a:cubicBezTo>
                <a:cubicBezTo>
                  <a:pt x="3112343" y="211534"/>
                  <a:pt x="3099842" y="189848"/>
                  <a:pt x="3108386" y="192137"/>
                </a:cubicBezTo>
                <a:cubicBezTo>
                  <a:pt x="3114635" y="202980"/>
                  <a:pt x="3114635" y="202980"/>
                  <a:pt x="3125471" y="196715"/>
                </a:cubicBezTo>
                <a:cubicBezTo>
                  <a:pt x="3120887" y="213823"/>
                  <a:pt x="3112343" y="211534"/>
                  <a:pt x="3110051" y="220088"/>
                </a:cubicBezTo>
                <a:cubicBezTo>
                  <a:pt x="3146513" y="220690"/>
                  <a:pt x="3152764" y="231533"/>
                  <a:pt x="3191515" y="223580"/>
                </a:cubicBezTo>
                <a:cubicBezTo>
                  <a:pt x="3185266" y="212737"/>
                  <a:pt x="3198391" y="197918"/>
                  <a:pt x="3200683" y="189364"/>
                </a:cubicBezTo>
                <a:cubicBezTo>
                  <a:pt x="3206935" y="200207"/>
                  <a:pt x="3185266" y="212737"/>
                  <a:pt x="3200059" y="225869"/>
                </a:cubicBezTo>
                <a:cubicBezTo>
                  <a:pt x="3210892" y="219603"/>
                  <a:pt x="3200683" y="189364"/>
                  <a:pt x="3217768" y="193941"/>
                </a:cubicBezTo>
                <a:cubicBezTo>
                  <a:pt x="3209227" y="191653"/>
                  <a:pt x="3202975" y="180810"/>
                  <a:pt x="3196726" y="169967"/>
                </a:cubicBezTo>
                <a:cubicBezTo>
                  <a:pt x="3207560" y="163701"/>
                  <a:pt x="3230896" y="179123"/>
                  <a:pt x="3233188" y="170569"/>
                </a:cubicBezTo>
                <a:cubicBezTo>
                  <a:pt x="3241729" y="172857"/>
                  <a:pt x="3239437" y="181411"/>
                  <a:pt x="3241729" y="172857"/>
                </a:cubicBezTo>
                <a:cubicBezTo>
                  <a:pt x="3247980" y="183700"/>
                  <a:pt x="3256522" y="185989"/>
                  <a:pt x="3261105" y="168883"/>
                </a:cubicBezTo>
                <a:cubicBezTo>
                  <a:pt x="3267357" y="179724"/>
                  <a:pt x="3245688" y="192254"/>
                  <a:pt x="3254229" y="194543"/>
                </a:cubicBezTo>
                <a:cubicBezTo>
                  <a:pt x="3251938" y="203097"/>
                  <a:pt x="3243396" y="200808"/>
                  <a:pt x="3234853" y="198519"/>
                </a:cubicBezTo>
                <a:cubicBezTo>
                  <a:pt x="3247354" y="220205"/>
                  <a:pt x="3262773" y="196832"/>
                  <a:pt x="3269022" y="207675"/>
                </a:cubicBezTo>
                <a:cubicBezTo>
                  <a:pt x="3271314" y="199121"/>
                  <a:pt x="3271314" y="199121"/>
                  <a:pt x="3271314" y="199121"/>
                </a:cubicBezTo>
                <a:cubicBezTo>
                  <a:pt x="3273607" y="190567"/>
                  <a:pt x="3279858" y="201410"/>
                  <a:pt x="3277566" y="209964"/>
                </a:cubicBezTo>
                <a:cubicBezTo>
                  <a:pt x="3301527" y="188880"/>
                  <a:pt x="3337361" y="225986"/>
                  <a:pt x="3357364" y="185508"/>
                </a:cubicBezTo>
                <a:cubicBezTo>
                  <a:pt x="3374449" y="190086"/>
                  <a:pt x="3406327" y="207796"/>
                  <a:pt x="3421744" y="184422"/>
                </a:cubicBezTo>
                <a:cubicBezTo>
                  <a:pt x="3427996" y="195265"/>
                  <a:pt x="3466749" y="187313"/>
                  <a:pt x="3464457" y="195867"/>
                </a:cubicBezTo>
                <a:cubicBezTo>
                  <a:pt x="3472998" y="198156"/>
                  <a:pt x="3462789" y="167916"/>
                  <a:pt x="3477582" y="181047"/>
                </a:cubicBezTo>
                <a:cubicBezTo>
                  <a:pt x="3477582" y="181047"/>
                  <a:pt x="3466749" y="187313"/>
                  <a:pt x="3475290" y="189601"/>
                </a:cubicBezTo>
                <a:cubicBezTo>
                  <a:pt x="3483834" y="191891"/>
                  <a:pt x="3477582" y="181047"/>
                  <a:pt x="3488418" y="174783"/>
                </a:cubicBezTo>
                <a:cubicBezTo>
                  <a:pt x="3494667" y="185625"/>
                  <a:pt x="3505503" y="179360"/>
                  <a:pt x="3511752" y="190203"/>
                </a:cubicBezTo>
                <a:cubicBezTo>
                  <a:pt x="3522588" y="183938"/>
                  <a:pt x="3524880" y="175384"/>
                  <a:pt x="3527172" y="166830"/>
                </a:cubicBezTo>
                <a:cubicBezTo>
                  <a:pt x="3535713" y="169119"/>
                  <a:pt x="3533421" y="177673"/>
                  <a:pt x="3541962" y="179962"/>
                </a:cubicBezTo>
                <a:cubicBezTo>
                  <a:pt x="3544255" y="171408"/>
                  <a:pt x="3541962" y="179962"/>
                  <a:pt x="3535713" y="169119"/>
                </a:cubicBezTo>
                <a:cubicBezTo>
                  <a:pt x="3576759" y="152615"/>
                  <a:pt x="3614884" y="181167"/>
                  <a:pt x="3641137" y="151529"/>
                </a:cubicBezTo>
                <a:cubicBezTo>
                  <a:pt x="3669059" y="149842"/>
                  <a:pt x="3703227" y="158998"/>
                  <a:pt x="3735729" y="140202"/>
                </a:cubicBezTo>
                <a:cubicBezTo>
                  <a:pt x="3741981" y="151045"/>
                  <a:pt x="3741981" y="151045"/>
                  <a:pt x="3741981" y="151045"/>
                </a:cubicBezTo>
                <a:cubicBezTo>
                  <a:pt x="3744273" y="142491"/>
                  <a:pt x="3752814" y="144780"/>
                  <a:pt x="3763650" y="138515"/>
                </a:cubicBezTo>
                <a:cubicBezTo>
                  <a:pt x="3761357" y="147069"/>
                  <a:pt x="3767606" y="157912"/>
                  <a:pt x="3772190" y="140804"/>
                </a:cubicBezTo>
                <a:cubicBezTo>
                  <a:pt x="3772190" y="140804"/>
                  <a:pt x="3769898" y="149358"/>
                  <a:pt x="3769898" y="149358"/>
                </a:cubicBezTo>
                <a:cubicBezTo>
                  <a:pt x="3778442" y="151647"/>
                  <a:pt x="3774482" y="132252"/>
                  <a:pt x="3783026" y="134542"/>
                </a:cubicBezTo>
                <a:cubicBezTo>
                  <a:pt x="3789275" y="145382"/>
                  <a:pt x="3830320" y="128878"/>
                  <a:pt x="3845113" y="142010"/>
                </a:cubicBezTo>
                <a:cubicBezTo>
                  <a:pt x="3862199" y="146588"/>
                  <a:pt x="3847405" y="133456"/>
                  <a:pt x="3858242" y="127191"/>
                </a:cubicBezTo>
                <a:cubicBezTo>
                  <a:pt x="3883867" y="134057"/>
                  <a:pt x="3900951" y="138635"/>
                  <a:pt x="3914079" y="123816"/>
                </a:cubicBezTo>
                <a:cubicBezTo>
                  <a:pt x="3931164" y="128394"/>
                  <a:pt x="3950540" y="124418"/>
                  <a:pt x="3961374" y="118153"/>
                </a:cubicBezTo>
                <a:cubicBezTo>
                  <a:pt x="3969917" y="120442"/>
                  <a:pt x="3961374" y="118153"/>
                  <a:pt x="3959082" y="126707"/>
                </a:cubicBezTo>
                <a:cubicBezTo>
                  <a:pt x="3972209" y="111888"/>
                  <a:pt x="3984710" y="133574"/>
                  <a:pt x="3989294" y="116466"/>
                </a:cubicBezTo>
                <a:cubicBezTo>
                  <a:pt x="3995700" y="118182"/>
                  <a:pt x="4019100" y="114139"/>
                  <a:pt x="4036641" y="117551"/>
                </a:cubicBezTo>
                <a:lnTo>
                  <a:pt x="4045258" y="121284"/>
                </a:lnTo>
                <a:lnTo>
                  <a:pt x="4042840" y="121648"/>
                </a:lnTo>
                <a:cubicBezTo>
                  <a:pt x="4042840" y="121648"/>
                  <a:pt x="4051381" y="123936"/>
                  <a:pt x="4051381" y="123936"/>
                </a:cubicBezTo>
                <a:lnTo>
                  <a:pt x="4045258" y="121284"/>
                </a:lnTo>
                <a:lnTo>
                  <a:pt x="4144202" y="106405"/>
                </a:lnTo>
                <a:cubicBezTo>
                  <a:pt x="4177746" y="105079"/>
                  <a:pt x="4211498" y="107246"/>
                  <a:pt x="4246814" y="112125"/>
                </a:cubicBezTo>
                <a:cubicBezTo>
                  <a:pt x="4255357" y="114414"/>
                  <a:pt x="4246814" y="112125"/>
                  <a:pt x="4249106" y="103571"/>
                </a:cubicBezTo>
                <a:cubicBezTo>
                  <a:pt x="4257650" y="105860"/>
                  <a:pt x="4291819" y="115016"/>
                  <a:pt x="4277027" y="101884"/>
                </a:cubicBezTo>
                <a:cubicBezTo>
                  <a:pt x="4294111" y="106462"/>
                  <a:pt x="4330572" y="107066"/>
                  <a:pt x="4328281" y="115618"/>
                </a:cubicBezTo>
                <a:cubicBezTo>
                  <a:pt x="4369325" y="99114"/>
                  <a:pt x="4422872" y="104293"/>
                  <a:pt x="4463915" y="87786"/>
                </a:cubicBezTo>
                <a:close/>
                <a:moveTo>
                  <a:pt x="6010081" y="87476"/>
                </a:moveTo>
                <a:cubicBezTo>
                  <a:pt x="6018244" y="85805"/>
                  <a:pt x="6030584" y="89112"/>
                  <a:pt x="6037526" y="96115"/>
                </a:cubicBezTo>
                <a:cubicBezTo>
                  <a:pt x="6030841" y="104614"/>
                  <a:pt x="6024670" y="102961"/>
                  <a:pt x="6019527" y="101583"/>
                </a:cubicBezTo>
                <a:lnTo>
                  <a:pt x="6008748" y="108071"/>
                </a:lnTo>
                <a:lnTo>
                  <a:pt x="6006631" y="115972"/>
                </a:lnTo>
                <a:cubicBezTo>
                  <a:pt x="6006631" y="115972"/>
                  <a:pt x="6023498" y="120492"/>
                  <a:pt x="6025860" y="111676"/>
                </a:cubicBezTo>
                <a:cubicBezTo>
                  <a:pt x="6040362" y="125010"/>
                  <a:pt x="6072750" y="105345"/>
                  <a:pt x="6068026" y="122974"/>
                </a:cubicBezTo>
                <a:cubicBezTo>
                  <a:pt x="6078821" y="116418"/>
                  <a:pt x="6095688" y="120938"/>
                  <a:pt x="6093326" y="129753"/>
                </a:cubicBezTo>
                <a:cubicBezTo>
                  <a:pt x="6098050" y="112124"/>
                  <a:pt x="6129420" y="129976"/>
                  <a:pt x="6125711" y="110088"/>
                </a:cubicBezTo>
                <a:cubicBezTo>
                  <a:pt x="6136506" y="103531"/>
                  <a:pt x="6129420" y="129976"/>
                  <a:pt x="6146287" y="134495"/>
                </a:cubicBezTo>
                <a:cubicBezTo>
                  <a:pt x="6137854" y="132236"/>
                  <a:pt x="6129420" y="129976"/>
                  <a:pt x="6127058" y="138792"/>
                </a:cubicBezTo>
                <a:cubicBezTo>
                  <a:pt x="6118625" y="136532"/>
                  <a:pt x="6129420" y="129976"/>
                  <a:pt x="6123349" y="118903"/>
                </a:cubicBezTo>
                <a:cubicBezTo>
                  <a:pt x="6112555" y="125457"/>
                  <a:pt x="6112555" y="125457"/>
                  <a:pt x="6110193" y="134273"/>
                </a:cubicBezTo>
                <a:cubicBezTo>
                  <a:pt x="6076458" y="125234"/>
                  <a:pt x="6082529" y="136309"/>
                  <a:pt x="6059591" y="120714"/>
                </a:cubicBezTo>
                <a:cubicBezTo>
                  <a:pt x="6046435" y="136086"/>
                  <a:pt x="6015063" y="118232"/>
                  <a:pt x="6001906" y="133604"/>
                </a:cubicBezTo>
                <a:cubicBezTo>
                  <a:pt x="6004269" y="124788"/>
                  <a:pt x="5998196" y="113712"/>
                  <a:pt x="5998196" y="113712"/>
                </a:cubicBezTo>
                <a:cubicBezTo>
                  <a:pt x="5989764" y="111453"/>
                  <a:pt x="5987402" y="120268"/>
                  <a:pt x="5985039" y="129084"/>
                </a:cubicBezTo>
                <a:cubicBezTo>
                  <a:pt x="5989764" y="111453"/>
                  <a:pt x="5987402" y="120268"/>
                  <a:pt x="5968172" y="124565"/>
                </a:cubicBezTo>
                <a:cubicBezTo>
                  <a:pt x="5970535" y="115749"/>
                  <a:pt x="5970535" y="115749"/>
                  <a:pt x="5970535" y="115749"/>
                </a:cubicBezTo>
                <a:cubicBezTo>
                  <a:pt x="5972897" y="106933"/>
                  <a:pt x="5981332" y="109193"/>
                  <a:pt x="5983694" y="100378"/>
                </a:cubicBezTo>
                <a:cubicBezTo>
                  <a:pt x="5985547" y="110323"/>
                  <a:pt x="5987066" y="113093"/>
                  <a:pt x="5990523" y="112837"/>
                </a:cubicBezTo>
                <a:lnTo>
                  <a:pt x="6007833" y="107515"/>
                </a:lnTo>
                <a:close/>
                <a:moveTo>
                  <a:pt x="3541414" y="87183"/>
                </a:moveTo>
                <a:cubicBezTo>
                  <a:pt x="3547797" y="98111"/>
                  <a:pt x="3550100" y="89510"/>
                  <a:pt x="3550100" y="89510"/>
                </a:cubicBezTo>
                <a:lnTo>
                  <a:pt x="3555488" y="93720"/>
                </a:lnTo>
                <a:lnTo>
                  <a:pt x="3547797" y="98111"/>
                </a:lnTo>
                <a:cubicBezTo>
                  <a:pt x="3545490" y="106714"/>
                  <a:pt x="3554174" y="109041"/>
                  <a:pt x="3551870" y="117642"/>
                </a:cubicBezTo>
                <a:cubicBezTo>
                  <a:pt x="3562860" y="111369"/>
                  <a:pt x="3554174" y="109041"/>
                  <a:pt x="3556480" y="100438"/>
                </a:cubicBezTo>
                <a:cubicBezTo>
                  <a:pt x="3562860" y="111369"/>
                  <a:pt x="3562860" y="111369"/>
                  <a:pt x="3560556" y="119969"/>
                </a:cubicBezTo>
                <a:cubicBezTo>
                  <a:pt x="3560556" y="119969"/>
                  <a:pt x="3558251" y="128570"/>
                  <a:pt x="3558251" y="128570"/>
                </a:cubicBezTo>
                <a:cubicBezTo>
                  <a:pt x="3555946" y="137173"/>
                  <a:pt x="3558251" y="128570"/>
                  <a:pt x="3573313" y="141827"/>
                </a:cubicBezTo>
                <a:cubicBezTo>
                  <a:pt x="3562325" y="148101"/>
                  <a:pt x="3540881" y="123916"/>
                  <a:pt x="3533967" y="149720"/>
                </a:cubicBezTo>
                <a:cubicBezTo>
                  <a:pt x="3529624" y="148557"/>
                  <a:pt x="3530200" y="146406"/>
                  <a:pt x="3532150" y="143472"/>
                </a:cubicBezTo>
                <a:lnTo>
                  <a:pt x="3536203" y="136563"/>
                </a:lnTo>
                <a:lnTo>
                  <a:pt x="3536338" y="136528"/>
                </a:lnTo>
                <a:cubicBezTo>
                  <a:pt x="3538000" y="134669"/>
                  <a:pt x="3538576" y="132519"/>
                  <a:pt x="3538576" y="132519"/>
                </a:cubicBezTo>
                <a:lnTo>
                  <a:pt x="3536203" y="136563"/>
                </a:lnTo>
                <a:lnTo>
                  <a:pt x="3527585" y="138792"/>
                </a:lnTo>
                <a:cubicBezTo>
                  <a:pt x="3518902" y="136465"/>
                  <a:pt x="3536271" y="141120"/>
                  <a:pt x="3525281" y="147393"/>
                </a:cubicBezTo>
                <a:cubicBezTo>
                  <a:pt x="3507914" y="142739"/>
                  <a:pt x="3503304" y="159943"/>
                  <a:pt x="3499227" y="140412"/>
                </a:cubicBezTo>
                <a:cubicBezTo>
                  <a:pt x="3490544" y="138085"/>
                  <a:pt x="3496922" y="149015"/>
                  <a:pt x="3494618" y="157616"/>
                </a:cubicBezTo>
                <a:cubicBezTo>
                  <a:pt x="3488239" y="146688"/>
                  <a:pt x="3479552" y="144361"/>
                  <a:pt x="3474942" y="161565"/>
                </a:cubicBezTo>
                <a:cubicBezTo>
                  <a:pt x="3474942" y="161565"/>
                  <a:pt x="3477248" y="152962"/>
                  <a:pt x="3479552" y="144361"/>
                </a:cubicBezTo>
                <a:cubicBezTo>
                  <a:pt x="3468564" y="150635"/>
                  <a:pt x="3462185" y="139707"/>
                  <a:pt x="3455271" y="165512"/>
                </a:cubicBezTo>
                <a:cubicBezTo>
                  <a:pt x="3455271" y="165512"/>
                  <a:pt x="3455271" y="165512"/>
                  <a:pt x="3457576" y="156911"/>
                </a:cubicBezTo>
                <a:cubicBezTo>
                  <a:pt x="3455271" y="165512"/>
                  <a:pt x="3455271" y="165512"/>
                  <a:pt x="3446584" y="163185"/>
                </a:cubicBezTo>
                <a:cubicBezTo>
                  <a:pt x="3448889" y="154584"/>
                  <a:pt x="3448889" y="154584"/>
                  <a:pt x="3451194" y="145981"/>
                </a:cubicBezTo>
                <a:cubicBezTo>
                  <a:pt x="3440206" y="152257"/>
                  <a:pt x="3433827" y="141327"/>
                  <a:pt x="3414152" y="145276"/>
                </a:cubicBezTo>
                <a:cubicBezTo>
                  <a:pt x="3416457" y="136673"/>
                  <a:pt x="3416457" y="136673"/>
                  <a:pt x="3416457" y="136673"/>
                </a:cubicBezTo>
                <a:cubicBezTo>
                  <a:pt x="3429751" y="121796"/>
                  <a:pt x="3440206" y="152257"/>
                  <a:pt x="3444815" y="135053"/>
                </a:cubicBezTo>
                <a:cubicBezTo>
                  <a:pt x="3447120" y="126450"/>
                  <a:pt x="3433827" y="141327"/>
                  <a:pt x="3438437" y="124123"/>
                </a:cubicBezTo>
                <a:lnTo>
                  <a:pt x="3438510" y="124129"/>
                </a:lnTo>
                <a:lnTo>
                  <a:pt x="3433292" y="116509"/>
                </a:lnTo>
                <a:lnTo>
                  <a:pt x="3444272" y="109653"/>
                </a:lnTo>
                <a:cubicBezTo>
                  <a:pt x="3449074" y="110939"/>
                  <a:pt x="3447972" y="115052"/>
                  <a:pt x="3445670" y="118845"/>
                </a:cubicBezTo>
                <a:lnTo>
                  <a:pt x="3441297" y="124314"/>
                </a:lnTo>
                <a:lnTo>
                  <a:pt x="3455582" y="125262"/>
                </a:lnTo>
                <a:cubicBezTo>
                  <a:pt x="3459128" y="125060"/>
                  <a:pt x="3461299" y="125641"/>
                  <a:pt x="3464491" y="131104"/>
                </a:cubicBezTo>
                <a:cubicBezTo>
                  <a:pt x="3464491" y="131104"/>
                  <a:pt x="3466795" y="122504"/>
                  <a:pt x="3466795" y="122504"/>
                </a:cubicBezTo>
                <a:cubicBezTo>
                  <a:pt x="3469099" y="113903"/>
                  <a:pt x="3475479" y="124830"/>
                  <a:pt x="3484162" y="127157"/>
                </a:cubicBezTo>
                <a:cubicBezTo>
                  <a:pt x="3486467" y="118556"/>
                  <a:pt x="3492848" y="129484"/>
                  <a:pt x="3497458" y="112280"/>
                </a:cubicBezTo>
                <a:cubicBezTo>
                  <a:pt x="3480088" y="107626"/>
                  <a:pt x="3486467" y="118556"/>
                  <a:pt x="3482393" y="99026"/>
                </a:cubicBezTo>
                <a:cubicBezTo>
                  <a:pt x="3491077" y="101352"/>
                  <a:pt x="3499763" y="103680"/>
                  <a:pt x="3493381" y="92752"/>
                </a:cubicBezTo>
                <a:cubicBezTo>
                  <a:pt x="3502067" y="95079"/>
                  <a:pt x="3502067" y="95079"/>
                  <a:pt x="3499763" y="103680"/>
                </a:cubicBezTo>
                <a:cubicBezTo>
                  <a:pt x="3506142" y="114607"/>
                  <a:pt x="3513056" y="88803"/>
                  <a:pt x="3508446" y="106007"/>
                </a:cubicBezTo>
                <a:cubicBezTo>
                  <a:pt x="3519437" y="99733"/>
                  <a:pt x="3532730" y="84856"/>
                  <a:pt x="3536804" y="104387"/>
                </a:cubicBezTo>
                <a:cubicBezTo>
                  <a:pt x="3545490" y="106714"/>
                  <a:pt x="3539110" y="95784"/>
                  <a:pt x="3541414" y="87183"/>
                </a:cubicBezTo>
                <a:close/>
                <a:moveTo>
                  <a:pt x="6226100" y="83447"/>
                </a:moveTo>
                <a:cubicBezTo>
                  <a:pt x="6232123" y="93879"/>
                  <a:pt x="6250783" y="90061"/>
                  <a:pt x="6267238" y="94470"/>
                </a:cubicBezTo>
                <a:cubicBezTo>
                  <a:pt x="6267238" y="94470"/>
                  <a:pt x="6265033" y="102697"/>
                  <a:pt x="6262829" y="110925"/>
                </a:cubicBezTo>
                <a:cubicBezTo>
                  <a:pt x="6254602" y="108720"/>
                  <a:pt x="6254602" y="108720"/>
                  <a:pt x="6246374" y="106516"/>
                </a:cubicBezTo>
                <a:cubicBezTo>
                  <a:pt x="6267238" y="94470"/>
                  <a:pt x="6232123" y="93879"/>
                  <a:pt x="6223896" y="91674"/>
                </a:cubicBezTo>
                <a:cubicBezTo>
                  <a:pt x="6219486" y="108129"/>
                  <a:pt x="6242556" y="87856"/>
                  <a:pt x="6238147" y="104311"/>
                </a:cubicBezTo>
                <a:cubicBezTo>
                  <a:pt x="6229919" y="102106"/>
                  <a:pt x="6221691" y="99902"/>
                  <a:pt x="6219486" y="108129"/>
                </a:cubicBezTo>
                <a:cubicBezTo>
                  <a:pt x="6213464" y="97697"/>
                  <a:pt x="6221691" y="99902"/>
                  <a:pt x="6226100" y="83447"/>
                </a:cubicBezTo>
                <a:close/>
                <a:moveTo>
                  <a:pt x="6159986" y="83368"/>
                </a:moveTo>
                <a:cubicBezTo>
                  <a:pt x="6164100" y="84470"/>
                  <a:pt x="6167111" y="89686"/>
                  <a:pt x="6169370" y="93599"/>
                </a:cubicBezTo>
                <a:lnTo>
                  <a:pt x="6172216" y="97780"/>
                </a:lnTo>
                <a:lnTo>
                  <a:pt x="6171353" y="98539"/>
                </a:lnTo>
                <a:cubicBezTo>
                  <a:pt x="6166963" y="98465"/>
                  <a:pt x="6160793" y="96812"/>
                  <a:pt x="6157782" y="91596"/>
                </a:cubicBezTo>
                <a:cubicBezTo>
                  <a:pt x="6157782" y="91596"/>
                  <a:pt x="6159986" y="83368"/>
                  <a:pt x="6159986" y="83368"/>
                </a:cubicBezTo>
                <a:close/>
                <a:moveTo>
                  <a:pt x="6124872" y="82777"/>
                </a:moveTo>
                <a:cubicBezTo>
                  <a:pt x="6124872" y="82777"/>
                  <a:pt x="6133099" y="84982"/>
                  <a:pt x="6130894" y="93209"/>
                </a:cubicBezTo>
                <a:lnTo>
                  <a:pt x="6120462" y="99233"/>
                </a:lnTo>
                <a:cubicBezTo>
                  <a:pt x="6122667" y="91005"/>
                  <a:pt x="6122667" y="91005"/>
                  <a:pt x="6124872" y="82777"/>
                </a:cubicBezTo>
                <a:close/>
                <a:moveTo>
                  <a:pt x="3620983" y="80946"/>
                </a:moveTo>
                <a:cubicBezTo>
                  <a:pt x="3630038" y="80064"/>
                  <a:pt x="3638265" y="82269"/>
                  <a:pt x="3639072" y="95714"/>
                </a:cubicBezTo>
                <a:cubicBezTo>
                  <a:pt x="3624822" y="83077"/>
                  <a:pt x="3603958" y="95123"/>
                  <a:pt x="3597935" y="84691"/>
                </a:cubicBezTo>
                <a:cubicBezTo>
                  <a:pt x="3602047" y="85793"/>
                  <a:pt x="3611928" y="81828"/>
                  <a:pt x="3620983" y="80946"/>
                </a:cubicBezTo>
                <a:close/>
                <a:moveTo>
                  <a:pt x="4017431" y="78875"/>
                </a:moveTo>
                <a:cubicBezTo>
                  <a:pt x="4016294" y="83117"/>
                  <a:pt x="4022059" y="86935"/>
                  <a:pt x="4025997" y="89127"/>
                </a:cubicBezTo>
                <a:lnTo>
                  <a:pt x="4028861" y="90721"/>
                </a:lnTo>
                <a:lnTo>
                  <a:pt x="4028746" y="90875"/>
                </a:lnTo>
                <a:lnTo>
                  <a:pt x="4023604" y="89622"/>
                </a:lnTo>
                <a:cubicBezTo>
                  <a:pt x="4022467" y="93864"/>
                  <a:pt x="4024577" y="94429"/>
                  <a:pt x="4027256" y="92874"/>
                </a:cubicBezTo>
                <a:lnTo>
                  <a:pt x="4028746" y="90875"/>
                </a:lnTo>
                <a:lnTo>
                  <a:pt x="4029444" y="91045"/>
                </a:lnTo>
                <a:lnTo>
                  <a:pt x="4028861" y="90721"/>
                </a:lnTo>
                <a:lnTo>
                  <a:pt x="4034319" y="83400"/>
                </a:lnTo>
                <a:cubicBezTo>
                  <a:pt x="4042764" y="85663"/>
                  <a:pt x="4040490" y="94147"/>
                  <a:pt x="4048933" y="96409"/>
                </a:cubicBezTo>
                <a:cubicBezTo>
                  <a:pt x="4048933" y="96409"/>
                  <a:pt x="4029772" y="100368"/>
                  <a:pt x="4040490" y="94147"/>
                </a:cubicBezTo>
                <a:cubicBezTo>
                  <a:pt x="4032045" y="91884"/>
                  <a:pt x="4032045" y="91884"/>
                  <a:pt x="4029772" y="100368"/>
                </a:cubicBezTo>
                <a:cubicBezTo>
                  <a:pt x="4021329" y="98106"/>
                  <a:pt x="4012884" y="95843"/>
                  <a:pt x="4004439" y="93580"/>
                </a:cubicBezTo>
                <a:cubicBezTo>
                  <a:pt x="4006712" y="85096"/>
                  <a:pt x="4015158" y="87359"/>
                  <a:pt x="4015158" y="87359"/>
                </a:cubicBezTo>
                <a:cubicBezTo>
                  <a:pt x="4015158" y="87359"/>
                  <a:pt x="4017431" y="78875"/>
                  <a:pt x="4017431" y="78875"/>
                </a:cubicBezTo>
                <a:close/>
                <a:moveTo>
                  <a:pt x="6205533" y="77936"/>
                </a:moveTo>
                <a:cubicBezTo>
                  <a:pt x="6203328" y="86163"/>
                  <a:pt x="6203328" y="86163"/>
                  <a:pt x="6203328" y="86163"/>
                </a:cubicBezTo>
                <a:cubicBezTo>
                  <a:pt x="6201124" y="94391"/>
                  <a:pt x="6195101" y="83959"/>
                  <a:pt x="6195101" y="83959"/>
                </a:cubicBezTo>
                <a:cubicBezTo>
                  <a:pt x="6192896" y="92186"/>
                  <a:pt x="6188487" y="108641"/>
                  <a:pt x="6182464" y="98209"/>
                </a:cubicBezTo>
                <a:cubicBezTo>
                  <a:pt x="6182464" y="98209"/>
                  <a:pt x="6195101" y="83959"/>
                  <a:pt x="6176441" y="87777"/>
                </a:cubicBezTo>
                <a:cubicBezTo>
                  <a:pt x="6178646" y="79550"/>
                  <a:pt x="6195101" y="83959"/>
                  <a:pt x="6205533" y="77936"/>
                </a:cubicBezTo>
                <a:close/>
                <a:moveTo>
                  <a:pt x="3773528" y="77176"/>
                </a:moveTo>
                <a:cubicBezTo>
                  <a:pt x="3773528" y="77176"/>
                  <a:pt x="3781970" y="79439"/>
                  <a:pt x="3781970" y="79439"/>
                </a:cubicBezTo>
                <a:cubicBezTo>
                  <a:pt x="3771254" y="85663"/>
                  <a:pt x="3758262" y="100368"/>
                  <a:pt x="3749819" y="98106"/>
                </a:cubicBezTo>
                <a:cubicBezTo>
                  <a:pt x="3760536" y="91884"/>
                  <a:pt x="3768980" y="94147"/>
                  <a:pt x="3773528" y="77176"/>
                </a:cubicBezTo>
                <a:close/>
                <a:moveTo>
                  <a:pt x="3662895" y="76745"/>
                </a:moveTo>
                <a:cubicBezTo>
                  <a:pt x="3668313" y="77094"/>
                  <a:pt x="3674484" y="78747"/>
                  <a:pt x="3678597" y="79850"/>
                </a:cubicBezTo>
                <a:cubicBezTo>
                  <a:pt x="3676392" y="88077"/>
                  <a:pt x="3662142" y="75441"/>
                  <a:pt x="3651709" y="81464"/>
                </a:cubicBezTo>
                <a:cubicBezTo>
                  <a:pt x="3652812" y="77350"/>
                  <a:pt x="3657477" y="76395"/>
                  <a:pt x="3662895" y="76745"/>
                </a:cubicBezTo>
                <a:close/>
                <a:moveTo>
                  <a:pt x="5395691" y="72577"/>
                </a:moveTo>
                <a:cubicBezTo>
                  <a:pt x="5403918" y="74782"/>
                  <a:pt x="5391282" y="89032"/>
                  <a:pt x="5389077" y="97260"/>
                </a:cubicBezTo>
                <a:cubicBezTo>
                  <a:pt x="5383055" y="86828"/>
                  <a:pt x="5385259" y="78600"/>
                  <a:pt x="5395691" y="72577"/>
                </a:cubicBezTo>
                <a:close/>
                <a:moveTo>
                  <a:pt x="3740995" y="72260"/>
                </a:moveTo>
                <a:lnTo>
                  <a:pt x="3732734" y="85538"/>
                </a:lnTo>
                <a:cubicBezTo>
                  <a:pt x="3734664" y="78338"/>
                  <a:pt x="3736881" y="74431"/>
                  <a:pt x="3739300" y="72507"/>
                </a:cubicBezTo>
                <a:close/>
                <a:moveTo>
                  <a:pt x="6145736" y="70731"/>
                </a:moveTo>
                <a:cubicBezTo>
                  <a:pt x="6135303" y="76754"/>
                  <a:pt x="6135303" y="76754"/>
                  <a:pt x="6124872" y="82777"/>
                </a:cubicBezTo>
                <a:cubicBezTo>
                  <a:pt x="6124872" y="82777"/>
                  <a:pt x="6116644" y="80573"/>
                  <a:pt x="6116644" y="80573"/>
                </a:cubicBezTo>
                <a:cubicBezTo>
                  <a:pt x="6127076" y="74550"/>
                  <a:pt x="6137508" y="68527"/>
                  <a:pt x="6145736" y="70731"/>
                </a:cubicBezTo>
                <a:close/>
                <a:moveTo>
                  <a:pt x="3720332" y="70641"/>
                </a:moveTo>
                <a:cubicBezTo>
                  <a:pt x="3729395" y="71780"/>
                  <a:pt x="3735307" y="75939"/>
                  <a:pt x="3732734" y="85538"/>
                </a:cubicBezTo>
                <a:cubicBezTo>
                  <a:pt x="3717822" y="71255"/>
                  <a:pt x="3706510" y="78511"/>
                  <a:pt x="3689026" y="73826"/>
                </a:cubicBezTo>
                <a:cubicBezTo>
                  <a:pt x="3699052" y="71369"/>
                  <a:pt x="3711267" y="69498"/>
                  <a:pt x="3720332" y="70641"/>
                </a:cubicBezTo>
                <a:close/>
                <a:moveTo>
                  <a:pt x="6088290" y="69667"/>
                </a:moveTo>
                <a:cubicBezTo>
                  <a:pt x="6091484" y="71626"/>
                  <a:pt x="6095561" y="74924"/>
                  <a:pt x="6100189" y="76164"/>
                </a:cubicBezTo>
                <a:cubicBezTo>
                  <a:pt x="6100189" y="76164"/>
                  <a:pt x="6088728" y="81911"/>
                  <a:pt x="6088728" y="81911"/>
                </a:cubicBezTo>
                <a:cubicBezTo>
                  <a:pt x="6088728" y="81911"/>
                  <a:pt x="6081676" y="71203"/>
                  <a:pt x="6079472" y="79431"/>
                </a:cubicBezTo>
                <a:cubicBezTo>
                  <a:pt x="6060959" y="74470"/>
                  <a:pt x="6090932" y="73683"/>
                  <a:pt x="6081676" y="71203"/>
                </a:cubicBezTo>
                <a:cubicBezTo>
                  <a:pt x="6082779" y="67088"/>
                  <a:pt x="6085093" y="67708"/>
                  <a:pt x="6088290" y="69667"/>
                </a:cubicBezTo>
                <a:close/>
                <a:moveTo>
                  <a:pt x="4112890" y="68352"/>
                </a:moveTo>
                <a:lnTo>
                  <a:pt x="4130168" y="72982"/>
                </a:lnTo>
                <a:cubicBezTo>
                  <a:pt x="4127962" y="81209"/>
                  <a:pt x="4121527" y="70667"/>
                  <a:pt x="4112890" y="68352"/>
                </a:cubicBezTo>
                <a:close/>
                <a:moveTo>
                  <a:pt x="5754259" y="67247"/>
                </a:moveTo>
                <a:cubicBezTo>
                  <a:pt x="5749850" y="83702"/>
                  <a:pt x="5739565" y="80946"/>
                  <a:pt x="5729280" y="78190"/>
                </a:cubicBezTo>
                <a:cubicBezTo>
                  <a:pt x="5731484" y="69963"/>
                  <a:pt x="5741770" y="72718"/>
                  <a:pt x="5754259" y="67247"/>
                </a:cubicBezTo>
                <a:close/>
                <a:moveTo>
                  <a:pt x="6059805" y="66445"/>
                </a:moveTo>
                <a:cubicBezTo>
                  <a:pt x="6063166" y="66244"/>
                  <a:pt x="6067280" y="67346"/>
                  <a:pt x="6071394" y="68448"/>
                </a:cubicBezTo>
                <a:cubicBezTo>
                  <a:pt x="6069189" y="76676"/>
                  <a:pt x="6069189" y="76676"/>
                  <a:pt x="6060962" y="74471"/>
                </a:cubicBezTo>
                <a:cubicBezTo>
                  <a:pt x="6058757" y="82699"/>
                  <a:pt x="6066984" y="84903"/>
                  <a:pt x="6064780" y="93131"/>
                </a:cubicBezTo>
                <a:cubicBezTo>
                  <a:pt x="6048325" y="88722"/>
                  <a:pt x="6060962" y="74471"/>
                  <a:pt x="6052734" y="72267"/>
                </a:cubicBezTo>
                <a:cubicBezTo>
                  <a:pt x="6053836" y="68153"/>
                  <a:pt x="6056444" y="66647"/>
                  <a:pt x="6059805" y="66445"/>
                </a:cubicBezTo>
                <a:close/>
                <a:moveTo>
                  <a:pt x="5796903" y="61962"/>
                </a:moveTo>
                <a:lnTo>
                  <a:pt x="5801317" y="68230"/>
                </a:lnTo>
                <a:lnTo>
                  <a:pt x="5798018" y="67346"/>
                </a:lnTo>
                <a:close/>
                <a:moveTo>
                  <a:pt x="6046711" y="61834"/>
                </a:moveTo>
                <a:cubicBezTo>
                  <a:pt x="6029665" y="92540"/>
                  <a:pt x="6025847" y="73880"/>
                  <a:pt x="6007188" y="77699"/>
                </a:cubicBezTo>
                <a:cubicBezTo>
                  <a:pt x="6007188" y="77699"/>
                  <a:pt x="6017619" y="71676"/>
                  <a:pt x="6019824" y="63448"/>
                </a:cubicBezTo>
                <a:cubicBezTo>
                  <a:pt x="6034074" y="76085"/>
                  <a:pt x="6036279" y="67857"/>
                  <a:pt x="6046711" y="61834"/>
                </a:cubicBezTo>
                <a:close/>
                <a:moveTo>
                  <a:pt x="4086972" y="61408"/>
                </a:moveTo>
                <a:cubicBezTo>
                  <a:pt x="4093407" y="71950"/>
                  <a:pt x="4100988" y="69571"/>
                  <a:pt x="4108571" y="67195"/>
                </a:cubicBezTo>
                <a:lnTo>
                  <a:pt x="4112890" y="68352"/>
                </a:lnTo>
                <a:cubicBezTo>
                  <a:pt x="4110686" y="76580"/>
                  <a:pt x="4108482" y="84808"/>
                  <a:pt x="4117119" y="87122"/>
                </a:cubicBezTo>
                <a:cubicBezTo>
                  <a:pt x="4106277" y="93035"/>
                  <a:pt x="4097637" y="90720"/>
                  <a:pt x="4099842" y="82493"/>
                </a:cubicBezTo>
                <a:cubicBezTo>
                  <a:pt x="4091202" y="80178"/>
                  <a:pt x="4080358" y="86090"/>
                  <a:pt x="4082563" y="77863"/>
                </a:cubicBezTo>
                <a:cubicBezTo>
                  <a:pt x="4078154" y="94318"/>
                  <a:pt x="4088998" y="88405"/>
                  <a:pt x="4099842" y="82493"/>
                </a:cubicBezTo>
                <a:cubicBezTo>
                  <a:pt x="4104072" y="101263"/>
                  <a:pt x="4069515" y="92003"/>
                  <a:pt x="4058672" y="97916"/>
                </a:cubicBezTo>
                <a:cubicBezTo>
                  <a:pt x="4052237" y="87374"/>
                  <a:pt x="4054442" y="79146"/>
                  <a:pt x="4043599" y="85059"/>
                </a:cubicBezTo>
                <a:cubicBezTo>
                  <a:pt x="4039367" y="66289"/>
                  <a:pt x="4065286" y="73234"/>
                  <a:pt x="4073923" y="75548"/>
                </a:cubicBezTo>
                <a:cubicBezTo>
                  <a:pt x="4073923" y="75548"/>
                  <a:pt x="4073923" y="75548"/>
                  <a:pt x="4076127" y="67320"/>
                </a:cubicBezTo>
                <a:cubicBezTo>
                  <a:pt x="4082563" y="77863"/>
                  <a:pt x="4084767" y="69635"/>
                  <a:pt x="4086972" y="61408"/>
                </a:cubicBezTo>
                <a:close/>
                <a:moveTo>
                  <a:pt x="5625660" y="59641"/>
                </a:moveTo>
                <a:cubicBezTo>
                  <a:pt x="5637976" y="81380"/>
                  <a:pt x="5661815" y="60110"/>
                  <a:pt x="5674132" y="81850"/>
                </a:cubicBezTo>
                <a:cubicBezTo>
                  <a:pt x="5678741" y="64646"/>
                  <a:pt x="5686447" y="103586"/>
                  <a:pt x="5718748" y="84584"/>
                </a:cubicBezTo>
                <a:cubicBezTo>
                  <a:pt x="5714139" y="101788"/>
                  <a:pt x="5705678" y="99521"/>
                  <a:pt x="5703373" y="108121"/>
                </a:cubicBezTo>
                <a:cubicBezTo>
                  <a:pt x="5671827" y="90450"/>
                  <a:pt x="5656449" y="113987"/>
                  <a:pt x="5644135" y="92248"/>
                </a:cubicBezTo>
                <a:cubicBezTo>
                  <a:pt x="5635672" y="89981"/>
                  <a:pt x="5631062" y="107185"/>
                  <a:pt x="5641830" y="100852"/>
                </a:cubicBezTo>
                <a:cubicBezTo>
                  <a:pt x="5639525" y="109452"/>
                  <a:pt x="5620294" y="113518"/>
                  <a:pt x="5614136" y="102649"/>
                </a:cubicBezTo>
                <a:cubicBezTo>
                  <a:pt x="5624904" y="96316"/>
                  <a:pt x="5633366" y="98584"/>
                  <a:pt x="5637976" y="81380"/>
                </a:cubicBezTo>
                <a:cubicBezTo>
                  <a:pt x="5637976" y="81380"/>
                  <a:pt x="5627209" y="87713"/>
                  <a:pt x="5627209" y="87713"/>
                </a:cubicBezTo>
                <a:cubicBezTo>
                  <a:pt x="5607979" y="91781"/>
                  <a:pt x="5631818" y="70512"/>
                  <a:pt x="5621050" y="76844"/>
                </a:cubicBezTo>
                <a:cubicBezTo>
                  <a:pt x="5612589" y="74577"/>
                  <a:pt x="5616440" y="94048"/>
                  <a:pt x="5610284" y="83178"/>
                </a:cubicBezTo>
                <a:cubicBezTo>
                  <a:pt x="5604126" y="72310"/>
                  <a:pt x="5604126" y="72310"/>
                  <a:pt x="5595662" y="70042"/>
                </a:cubicBezTo>
                <a:cubicBezTo>
                  <a:pt x="5608736" y="55106"/>
                  <a:pt x="5621050" y="76844"/>
                  <a:pt x="5625660" y="59641"/>
                </a:cubicBezTo>
                <a:close/>
                <a:moveTo>
                  <a:pt x="3749194" y="59083"/>
                </a:moveTo>
                <a:cubicBezTo>
                  <a:pt x="3757934" y="61425"/>
                  <a:pt x="3752790" y="80624"/>
                  <a:pt x="3757934" y="61425"/>
                </a:cubicBezTo>
                <a:cubicBezTo>
                  <a:pt x="3766678" y="63768"/>
                  <a:pt x="3764106" y="73366"/>
                  <a:pt x="3764106" y="73366"/>
                </a:cubicBezTo>
                <a:cubicBezTo>
                  <a:pt x="3758448" y="76995"/>
                  <a:pt x="3752534" y="72838"/>
                  <a:pt x="3747071" y="71374"/>
                </a:cubicBezTo>
                <a:lnTo>
                  <a:pt x="3740995" y="72260"/>
                </a:lnTo>
                <a:close/>
                <a:moveTo>
                  <a:pt x="3779442" y="57270"/>
                </a:moveTo>
                <a:cubicBezTo>
                  <a:pt x="3784198" y="55972"/>
                  <a:pt x="3790368" y="57625"/>
                  <a:pt x="3793196" y="63527"/>
                </a:cubicBezTo>
                <a:cubicBezTo>
                  <a:pt x="3788053" y="82726"/>
                  <a:pt x="3776742" y="59118"/>
                  <a:pt x="3774169" y="68719"/>
                </a:cubicBezTo>
                <a:cubicBezTo>
                  <a:pt x="3771342" y="62814"/>
                  <a:pt x="3774684" y="58567"/>
                  <a:pt x="3779442" y="57270"/>
                </a:cubicBezTo>
                <a:close/>
                <a:moveTo>
                  <a:pt x="5929025" y="56755"/>
                </a:moveTo>
                <a:cubicBezTo>
                  <a:pt x="5937252" y="58960"/>
                  <a:pt x="5934680" y="68558"/>
                  <a:pt x="5932108" y="78159"/>
                </a:cubicBezTo>
                <a:cubicBezTo>
                  <a:pt x="5923880" y="75955"/>
                  <a:pt x="5921309" y="85553"/>
                  <a:pt x="5913081" y="83348"/>
                </a:cubicBezTo>
                <a:cubicBezTo>
                  <a:pt x="5923880" y="75955"/>
                  <a:pt x="5926453" y="66354"/>
                  <a:pt x="5929025" y="56755"/>
                </a:cubicBezTo>
                <a:close/>
                <a:moveTo>
                  <a:pt x="5955912" y="55141"/>
                </a:moveTo>
                <a:cubicBezTo>
                  <a:pt x="5953340" y="64740"/>
                  <a:pt x="5958995" y="76545"/>
                  <a:pt x="5956423" y="86144"/>
                </a:cubicBezTo>
                <a:cubicBezTo>
                  <a:pt x="5950767" y="74341"/>
                  <a:pt x="5948195" y="83939"/>
                  <a:pt x="5939968" y="81734"/>
                </a:cubicBezTo>
                <a:cubicBezTo>
                  <a:pt x="5942540" y="72136"/>
                  <a:pt x="5945113" y="62535"/>
                  <a:pt x="5955912" y="55141"/>
                </a:cubicBezTo>
                <a:close/>
                <a:moveTo>
                  <a:pt x="5709834" y="52032"/>
                </a:moveTo>
                <a:cubicBezTo>
                  <a:pt x="5713674" y="54164"/>
                  <a:pt x="5717235" y="57323"/>
                  <a:pt x="5717235" y="57323"/>
                </a:cubicBezTo>
                <a:lnTo>
                  <a:pt x="5709651" y="52053"/>
                </a:lnTo>
                <a:close/>
                <a:moveTo>
                  <a:pt x="4182589" y="48817"/>
                </a:moveTo>
                <a:cubicBezTo>
                  <a:pt x="4214902" y="66785"/>
                  <a:pt x="4293495" y="50610"/>
                  <a:pt x="4319476" y="57572"/>
                </a:cubicBezTo>
                <a:cubicBezTo>
                  <a:pt x="4317149" y="66255"/>
                  <a:pt x="4314822" y="74941"/>
                  <a:pt x="4312495" y="83625"/>
                </a:cubicBezTo>
                <a:cubicBezTo>
                  <a:pt x="4292848" y="87670"/>
                  <a:pt x="4275527" y="83029"/>
                  <a:pt x="4264540" y="89392"/>
                </a:cubicBezTo>
                <a:lnTo>
                  <a:pt x="4266867" y="80709"/>
                </a:lnTo>
                <a:cubicBezTo>
                  <a:pt x="4280181" y="65659"/>
                  <a:pt x="4254201" y="58698"/>
                  <a:pt x="4243210" y="65060"/>
                </a:cubicBezTo>
                <a:cubicBezTo>
                  <a:pt x="4240883" y="73746"/>
                  <a:pt x="4240883" y="73746"/>
                  <a:pt x="4238557" y="82430"/>
                </a:cubicBezTo>
                <a:cubicBezTo>
                  <a:pt x="4234551" y="62740"/>
                  <a:pt x="4232223" y="71426"/>
                  <a:pt x="4217229" y="58099"/>
                </a:cubicBezTo>
                <a:cubicBezTo>
                  <a:pt x="4210572" y="65625"/>
                  <a:pt x="4207243" y="69385"/>
                  <a:pt x="4203123" y="71772"/>
                </a:cubicBezTo>
                <a:lnTo>
                  <a:pt x="4185336" y="76885"/>
                </a:lnTo>
                <a:lnTo>
                  <a:pt x="4185187" y="77440"/>
                </a:lnTo>
                <a:lnTo>
                  <a:pt x="4227569" y="88796"/>
                </a:lnTo>
                <a:cubicBezTo>
                  <a:pt x="4207921" y="92838"/>
                  <a:pt x="4173280" y="83556"/>
                  <a:pt x="4142643" y="93964"/>
                </a:cubicBezTo>
                <a:cubicBezTo>
                  <a:pt x="4140641" y="84117"/>
                  <a:pt x="4146715" y="78766"/>
                  <a:pt x="4152499" y="74497"/>
                </a:cubicBezTo>
                <a:lnTo>
                  <a:pt x="4154080" y="71976"/>
                </a:lnTo>
                <a:lnTo>
                  <a:pt x="4143058" y="74231"/>
                </a:lnTo>
                <a:cubicBezTo>
                  <a:pt x="4138392" y="75186"/>
                  <a:pt x="4134279" y="74084"/>
                  <a:pt x="4132369" y="64754"/>
                </a:cubicBezTo>
                <a:cubicBezTo>
                  <a:pt x="4140596" y="66958"/>
                  <a:pt x="4140596" y="66958"/>
                  <a:pt x="4140596" y="66958"/>
                </a:cubicBezTo>
                <a:cubicBezTo>
                  <a:pt x="4140596" y="66958"/>
                  <a:pt x="4159256" y="63140"/>
                  <a:pt x="4142801" y="58731"/>
                </a:cubicBezTo>
                <a:lnTo>
                  <a:pt x="4151028" y="60935"/>
                </a:lnTo>
                <a:lnTo>
                  <a:pt x="4155809" y="69215"/>
                </a:lnTo>
                <a:lnTo>
                  <a:pt x="4160611" y="61545"/>
                </a:lnTo>
                <a:cubicBezTo>
                  <a:pt x="4158284" y="70231"/>
                  <a:pt x="4171601" y="55182"/>
                  <a:pt x="4169274" y="63866"/>
                </a:cubicBezTo>
                <a:cubicBezTo>
                  <a:pt x="4177934" y="66186"/>
                  <a:pt x="4191250" y="51137"/>
                  <a:pt x="4182589" y="48817"/>
                </a:cubicBezTo>
                <a:close/>
                <a:moveTo>
                  <a:pt x="5822240" y="46179"/>
                </a:moveTo>
                <a:cubicBezTo>
                  <a:pt x="5837240" y="59419"/>
                  <a:pt x="5850505" y="44534"/>
                  <a:pt x="5865505" y="57772"/>
                </a:cubicBezTo>
                <a:cubicBezTo>
                  <a:pt x="5865505" y="57772"/>
                  <a:pt x="5854547" y="64056"/>
                  <a:pt x="5845895" y="61738"/>
                </a:cubicBezTo>
                <a:cubicBezTo>
                  <a:pt x="5849068" y="67196"/>
                  <a:pt x="5855560" y="68935"/>
                  <a:pt x="5864500" y="70178"/>
                </a:cubicBezTo>
                <a:lnTo>
                  <a:pt x="5872180" y="71439"/>
                </a:lnTo>
                <a:lnTo>
                  <a:pt x="5877087" y="53126"/>
                </a:lnTo>
                <a:cubicBezTo>
                  <a:pt x="5885315" y="55331"/>
                  <a:pt x="5893542" y="57535"/>
                  <a:pt x="5896114" y="47937"/>
                </a:cubicBezTo>
                <a:cubicBezTo>
                  <a:pt x="5901770" y="59740"/>
                  <a:pt x="5897015" y="61038"/>
                  <a:pt x="5890202" y="61784"/>
                </a:cubicBezTo>
                <a:lnTo>
                  <a:pt x="5873191" y="71607"/>
                </a:lnTo>
                <a:lnTo>
                  <a:pt x="5897813" y="75649"/>
                </a:lnTo>
                <a:cubicBezTo>
                  <a:pt x="5895508" y="84250"/>
                  <a:pt x="5890031" y="87393"/>
                  <a:pt x="5885920" y="89746"/>
                </a:cubicBezTo>
                <a:lnTo>
                  <a:pt x="5885522" y="90767"/>
                </a:lnTo>
                <a:lnTo>
                  <a:pt x="5884551" y="90532"/>
                </a:lnTo>
                <a:lnTo>
                  <a:pt x="5885288" y="91366"/>
                </a:lnTo>
                <a:lnTo>
                  <a:pt x="5882246" y="99136"/>
                </a:lnTo>
                <a:cubicBezTo>
                  <a:pt x="5886572" y="100295"/>
                  <a:pt x="5889312" y="98724"/>
                  <a:pt x="5889888" y="96573"/>
                </a:cubicBezTo>
                <a:lnTo>
                  <a:pt x="5885288" y="91366"/>
                </a:lnTo>
                <a:lnTo>
                  <a:pt x="5885522" y="90767"/>
                </a:lnTo>
                <a:lnTo>
                  <a:pt x="5928104" y="101050"/>
                </a:lnTo>
                <a:cubicBezTo>
                  <a:pt x="5941948" y="101304"/>
                  <a:pt x="5956081" y="100480"/>
                  <a:pt x="5973386" y="105117"/>
                </a:cubicBezTo>
                <a:cubicBezTo>
                  <a:pt x="5968776" y="122321"/>
                  <a:pt x="5953776" y="109081"/>
                  <a:pt x="5951471" y="117684"/>
                </a:cubicBezTo>
                <a:cubicBezTo>
                  <a:pt x="5877637" y="116337"/>
                  <a:pt x="5814759" y="108710"/>
                  <a:pt x="5749576" y="109683"/>
                </a:cubicBezTo>
                <a:cubicBezTo>
                  <a:pt x="5743229" y="98762"/>
                  <a:pt x="5723619" y="102728"/>
                  <a:pt x="5712659" y="109009"/>
                </a:cubicBezTo>
                <a:cubicBezTo>
                  <a:pt x="5713226" y="72283"/>
                  <a:pt x="5760536" y="103399"/>
                  <a:pt x="5767451" y="77594"/>
                </a:cubicBezTo>
                <a:cubicBezTo>
                  <a:pt x="5799759" y="95470"/>
                  <a:pt x="5810716" y="89187"/>
                  <a:pt x="5838981" y="87543"/>
                </a:cubicBezTo>
                <a:cubicBezTo>
                  <a:pt x="5831481" y="80923"/>
                  <a:pt x="5817925" y="79595"/>
                  <a:pt x="5806313" y="75332"/>
                </a:cubicBezTo>
                <a:lnTo>
                  <a:pt x="5801317" y="68230"/>
                </a:lnTo>
                <a:lnTo>
                  <a:pt x="5823979" y="74302"/>
                </a:lnTo>
                <a:cubicBezTo>
                  <a:pt x="5832631" y="76620"/>
                  <a:pt x="5843591" y="70339"/>
                  <a:pt x="5843591" y="70339"/>
                </a:cubicBezTo>
                <a:cubicBezTo>
                  <a:pt x="5843591" y="70339"/>
                  <a:pt x="5806674" y="69665"/>
                  <a:pt x="5822240" y="46179"/>
                </a:cubicBezTo>
                <a:close/>
                <a:moveTo>
                  <a:pt x="5785322" y="45508"/>
                </a:moveTo>
                <a:lnTo>
                  <a:pt x="5793975" y="47826"/>
                </a:lnTo>
                <a:lnTo>
                  <a:pt x="5796903" y="61962"/>
                </a:lnTo>
                <a:close/>
                <a:moveTo>
                  <a:pt x="5566421" y="43768"/>
                </a:moveTo>
                <a:cubicBezTo>
                  <a:pt x="5572580" y="54639"/>
                  <a:pt x="5570275" y="63239"/>
                  <a:pt x="5565665" y="80443"/>
                </a:cubicBezTo>
                <a:cubicBezTo>
                  <a:pt x="5574129" y="82711"/>
                  <a:pt x="5574129" y="82711"/>
                  <a:pt x="5582592" y="84979"/>
                </a:cubicBezTo>
                <a:cubicBezTo>
                  <a:pt x="5589506" y="59174"/>
                  <a:pt x="5587201" y="67775"/>
                  <a:pt x="5601821" y="80910"/>
                </a:cubicBezTo>
                <a:cubicBezTo>
                  <a:pt x="5601821" y="80910"/>
                  <a:pt x="5601821" y="80910"/>
                  <a:pt x="5610284" y="83178"/>
                </a:cubicBezTo>
                <a:cubicBezTo>
                  <a:pt x="5607979" y="91781"/>
                  <a:pt x="5594907" y="106715"/>
                  <a:pt x="5605674" y="100382"/>
                </a:cubicBezTo>
                <a:cubicBezTo>
                  <a:pt x="5603370" y="108983"/>
                  <a:pt x="5588748" y="95847"/>
                  <a:pt x="5571824" y="91312"/>
                </a:cubicBezTo>
                <a:cubicBezTo>
                  <a:pt x="5563361" y="89044"/>
                  <a:pt x="5563361" y="89044"/>
                  <a:pt x="5563361" y="89044"/>
                </a:cubicBezTo>
                <a:cubicBezTo>
                  <a:pt x="5561056" y="97645"/>
                  <a:pt x="5561056" y="97645"/>
                  <a:pt x="5569520" y="99913"/>
                </a:cubicBezTo>
                <a:cubicBezTo>
                  <a:pt x="5567214" y="108516"/>
                  <a:pt x="5561056" y="97645"/>
                  <a:pt x="5558751" y="106248"/>
                </a:cubicBezTo>
                <a:cubicBezTo>
                  <a:pt x="5544132" y="93110"/>
                  <a:pt x="5565665" y="80443"/>
                  <a:pt x="5551046" y="67305"/>
                </a:cubicBezTo>
                <a:cubicBezTo>
                  <a:pt x="5542583" y="65038"/>
                  <a:pt x="5546437" y="84509"/>
                  <a:pt x="5544132" y="93110"/>
                </a:cubicBezTo>
                <a:cubicBezTo>
                  <a:pt x="5510281" y="84040"/>
                  <a:pt x="5480284" y="94441"/>
                  <a:pt x="5457201" y="79038"/>
                </a:cubicBezTo>
                <a:cubicBezTo>
                  <a:pt x="5441823" y="102575"/>
                  <a:pt x="5423350" y="69968"/>
                  <a:pt x="5407973" y="93504"/>
                </a:cubicBezTo>
                <a:cubicBezTo>
                  <a:pt x="5399509" y="91237"/>
                  <a:pt x="5410277" y="84904"/>
                  <a:pt x="5414887" y="67700"/>
                </a:cubicBezTo>
                <a:cubicBezTo>
                  <a:pt x="5412582" y="76301"/>
                  <a:pt x="5423350" y="69968"/>
                  <a:pt x="5421046" y="78568"/>
                </a:cubicBezTo>
                <a:cubicBezTo>
                  <a:pt x="5431811" y="72235"/>
                  <a:pt x="5440274" y="74502"/>
                  <a:pt x="5442580" y="65899"/>
                </a:cubicBezTo>
                <a:cubicBezTo>
                  <a:pt x="5436421" y="55031"/>
                  <a:pt x="5414887" y="67700"/>
                  <a:pt x="5417192" y="59096"/>
                </a:cubicBezTo>
                <a:cubicBezTo>
                  <a:pt x="5427960" y="52764"/>
                  <a:pt x="5455652" y="50965"/>
                  <a:pt x="5459507" y="70435"/>
                </a:cubicBezTo>
                <a:cubicBezTo>
                  <a:pt x="5474125" y="83573"/>
                  <a:pt x="5470271" y="64101"/>
                  <a:pt x="5481039" y="57768"/>
                </a:cubicBezTo>
                <a:cubicBezTo>
                  <a:pt x="5487198" y="68636"/>
                  <a:pt x="5519500" y="49634"/>
                  <a:pt x="5536424" y="54169"/>
                </a:cubicBezTo>
                <a:cubicBezTo>
                  <a:pt x="5536424" y="54169"/>
                  <a:pt x="5544888" y="56437"/>
                  <a:pt x="5542583" y="65038"/>
                </a:cubicBezTo>
                <a:cubicBezTo>
                  <a:pt x="5547192" y="47836"/>
                  <a:pt x="5561812" y="60972"/>
                  <a:pt x="5566421" y="43768"/>
                </a:cubicBezTo>
                <a:close/>
                <a:moveTo>
                  <a:pt x="3961328" y="43381"/>
                </a:moveTo>
                <a:cubicBezTo>
                  <a:pt x="3972452" y="44087"/>
                  <a:pt x="3985118" y="47481"/>
                  <a:pt x="3998918" y="46632"/>
                </a:cubicBezTo>
                <a:cubicBezTo>
                  <a:pt x="3990476" y="44370"/>
                  <a:pt x="3988202" y="52854"/>
                  <a:pt x="3979758" y="50591"/>
                </a:cubicBezTo>
                <a:cubicBezTo>
                  <a:pt x="3966767" y="65300"/>
                  <a:pt x="4015806" y="51157"/>
                  <a:pt x="4008986" y="76612"/>
                </a:cubicBezTo>
                <a:cubicBezTo>
                  <a:pt x="4021978" y="61904"/>
                  <a:pt x="4019705" y="70388"/>
                  <a:pt x="4036593" y="74913"/>
                </a:cubicBezTo>
                <a:cubicBezTo>
                  <a:pt x="4042764" y="85663"/>
                  <a:pt x="4034319" y="83400"/>
                  <a:pt x="4017431" y="78875"/>
                </a:cubicBezTo>
                <a:cubicBezTo>
                  <a:pt x="4004439" y="93580"/>
                  <a:pt x="3991449" y="108289"/>
                  <a:pt x="3974561" y="103764"/>
                </a:cubicBezTo>
                <a:cubicBezTo>
                  <a:pt x="3983655" y="69825"/>
                  <a:pt x="3932341" y="92450"/>
                  <a:pt x="3922273" y="62471"/>
                </a:cubicBezTo>
                <a:cubicBezTo>
                  <a:pt x="3920000" y="70955"/>
                  <a:pt x="3911555" y="68692"/>
                  <a:pt x="3911555" y="68692"/>
                </a:cubicBezTo>
                <a:cubicBezTo>
                  <a:pt x="3909281" y="77176"/>
                  <a:pt x="3909281" y="77176"/>
                  <a:pt x="3907007" y="85663"/>
                </a:cubicBezTo>
                <a:cubicBezTo>
                  <a:pt x="3917727" y="79439"/>
                  <a:pt x="3943060" y="86227"/>
                  <a:pt x="3938512" y="103197"/>
                </a:cubicBezTo>
                <a:cubicBezTo>
                  <a:pt x="3923898" y="90188"/>
                  <a:pt x="3919352" y="107156"/>
                  <a:pt x="3900189" y="111115"/>
                </a:cubicBezTo>
                <a:cubicBezTo>
                  <a:pt x="3891746" y="108853"/>
                  <a:pt x="3894018" y="100369"/>
                  <a:pt x="3896292" y="91884"/>
                </a:cubicBezTo>
                <a:cubicBezTo>
                  <a:pt x="3896292" y="91884"/>
                  <a:pt x="3894018" y="100369"/>
                  <a:pt x="3891746" y="108853"/>
                </a:cubicBezTo>
                <a:cubicBezTo>
                  <a:pt x="3874857" y="104328"/>
                  <a:pt x="3874857" y="104328"/>
                  <a:pt x="3866412" y="102065"/>
                </a:cubicBezTo>
                <a:cubicBezTo>
                  <a:pt x="3887847" y="89622"/>
                  <a:pt x="3855695" y="108289"/>
                  <a:pt x="3857970" y="99802"/>
                </a:cubicBezTo>
                <a:cubicBezTo>
                  <a:pt x="3849524" y="97540"/>
                  <a:pt x="3847250" y="106026"/>
                  <a:pt x="3844977" y="114510"/>
                </a:cubicBezTo>
                <a:cubicBezTo>
                  <a:pt x="3819644" y="107722"/>
                  <a:pt x="3811199" y="105459"/>
                  <a:pt x="3794311" y="100934"/>
                </a:cubicBezTo>
                <a:cubicBezTo>
                  <a:pt x="3777423" y="96409"/>
                  <a:pt x="3775150" y="104893"/>
                  <a:pt x="3766707" y="102631"/>
                </a:cubicBezTo>
                <a:cubicBezTo>
                  <a:pt x="3768980" y="94147"/>
                  <a:pt x="3779696" y="87925"/>
                  <a:pt x="3781970" y="79439"/>
                </a:cubicBezTo>
                <a:cubicBezTo>
                  <a:pt x="3788142" y="90188"/>
                  <a:pt x="3790416" y="81701"/>
                  <a:pt x="3798859" y="83964"/>
                </a:cubicBezTo>
                <a:cubicBezTo>
                  <a:pt x="3803405" y="66996"/>
                  <a:pt x="3794962" y="64733"/>
                  <a:pt x="3805678" y="58511"/>
                </a:cubicBezTo>
                <a:cubicBezTo>
                  <a:pt x="3822566" y="63037"/>
                  <a:pt x="3833286" y="56813"/>
                  <a:pt x="3839454" y="67562"/>
                </a:cubicBezTo>
                <a:cubicBezTo>
                  <a:pt x="3860891" y="55117"/>
                  <a:pt x="3901488" y="38712"/>
                  <a:pt x="3932992" y="56250"/>
                </a:cubicBezTo>
                <a:lnTo>
                  <a:pt x="3940319" y="52922"/>
                </a:lnTo>
                <a:lnTo>
                  <a:pt x="3942958" y="49274"/>
                </a:lnTo>
                <a:lnTo>
                  <a:pt x="3945098" y="50752"/>
                </a:lnTo>
                <a:close/>
                <a:moveTo>
                  <a:pt x="5694003" y="41178"/>
                </a:moveTo>
                <a:lnTo>
                  <a:pt x="5709651" y="52053"/>
                </a:lnTo>
                <a:lnTo>
                  <a:pt x="5700780" y="52914"/>
                </a:lnTo>
                <a:cubicBezTo>
                  <a:pt x="5706802" y="63346"/>
                  <a:pt x="5709007" y="55119"/>
                  <a:pt x="5717235" y="57323"/>
                </a:cubicBezTo>
                <a:cubicBezTo>
                  <a:pt x="5696371" y="69369"/>
                  <a:pt x="5682120" y="56733"/>
                  <a:pt x="5663461" y="60551"/>
                </a:cubicBezTo>
                <a:cubicBezTo>
                  <a:pt x="5665665" y="52324"/>
                  <a:pt x="5686529" y="40278"/>
                  <a:pt x="5659642" y="41891"/>
                </a:cubicBezTo>
                <a:cubicBezTo>
                  <a:pt x="5668972" y="39981"/>
                  <a:pt x="5682417" y="39176"/>
                  <a:pt x="5694003" y="41178"/>
                </a:cubicBezTo>
                <a:close/>
                <a:moveTo>
                  <a:pt x="5768015" y="40870"/>
                </a:moveTo>
                <a:cubicBezTo>
                  <a:pt x="5776670" y="43189"/>
                  <a:pt x="5776670" y="43189"/>
                  <a:pt x="5776670" y="43189"/>
                </a:cubicBezTo>
                <a:lnTo>
                  <a:pt x="5785322" y="45508"/>
                </a:lnTo>
                <a:cubicBezTo>
                  <a:pt x="5783018" y="54108"/>
                  <a:pt x="5783018" y="54108"/>
                  <a:pt x="5780713" y="62709"/>
                </a:cubicBezTo>
                <a:cubicBezTo>
                  <a:pt x="5772061" y="60391"/>
                  <a:pt x="5763406" y="58071"/>
                  <a:pt x="5768015" y="40870"/>
                </a:cubicBezTo>
                <a:close/>
                <a:moveTo>
                  <a:pt x="5276703" y="39456"/>
                </a:moveTo>
                <a:lnTo>
                  <a:pt x="5276199" y="41337"/>
                </a:lnTo>
                <a:lnTo>
                  <a:pt x="5274709" y="41310"/>
                </a:lnTo>
                <a:lnTo>
                  <a:pt x="5275131" y="41051"/>
                </a:lnTo>
                <a:close/>
                <a:moveTo>
                  <a:pt x="5641818" y="37118"/>
                </a:moveTo>
                <a:cubicBezTo>
                  <a:pt x="5650732" y="39507"/>
                  <a:pt x="5639613" y="45346"/>
                  <a:pt x="5659644" y="41895"/>
                </a:cubicBezTo>
                <a:cubicBezTo>
                  <a:pt x="5657440" y="50122"/>
                  <a:pt x="5648528" y="47734"/>
                  <a:pt x="5639613" y="45346"/>
                </a:cubicBezTo>
                <a:cubicBezTo>
                  <a:pt x="5639613" y="45346"/>
                  <a:pt x="5637409" y="53573"/>
                  <a:pt x="5637409" y="53573"/>
                </a:cubicBezTo>
                <a:cubicBezTo>
                  <a:pt x="5626290" y="59412"/>
                  <a:pt x="5617379" y="57024"/>
                  <a:pt x="5599550" y="52247"/>
                </a:cubicBezTo>
                <a:cubicBezTo>
                  <a:pt x="5610669" y="46408"/>
                  <a:pt x="5637409" y="53573"/>
                  <a:pt x="5641818" y="37118"/>
                </a:cubicBezTo>
                <a:close/>
                <a:moveTo>
                  <a:pt x="4819498" y="36973"/>
                </a:moveTo>
                <a:lnTo>
                  <a:pt x="4819498" y="36973"/>
                </a:lnTo>
                <a:lnTo>
                  <a:pt x="4819498" y="36973"/>
                </a:lnTo>
                <a:lnTo>
                  <a:pt x="4819497" y="36973"/>
                </a:lnTo>
                <a:close/>
                <a:moveTo>
                  <a:pt x="5153220" y="34928"/>
                </a:moveTo>
                <a:lnTo>
                  <a:pt x="5155090" y="35665"/>
                </a:lnTo>
                <a:cubicBezTo>
                  <a:pt x="5156100" y="37038"/>
                  <a:pt x="5155549" y="39095"/>
                  <a:pt x="5154447" y="43209"/>
                </a:cubicBezTo>
                <a:close/>
                <a:moveTo>
                  <a:pt x="5127708" y="34456"/>
                </a:moveTo>
                <a:lnTo>
                  <a:pt x="5124721" y="37060"/>
                </a:lnTo>
                <a:lnTo>
                  <a:pt x="5121874" y="36297"/>
                </a:lnTo>
                <a:close/>
                <a:moveTo>
                  <a:pt x="4096745" y="33164"/>
                </a:moveTo>
                <a:cubicBezTo>
                  <a:pt x="4074117" y="47678"/>
                  <a:pt x="4065376" y="45336"/>
                  <a:pt x="4054061" y="52592"/>
                </a:cubicBezTo>
                <a:cubicBezTo>
                  <a:pt x="4039149" y="38309"/>
                  <a:pt x="4036577" y="47907"/>
                  <a:pt x="4019095" y="43222"/>
                </a:cubicBezTo>
                <a:cubicBezTo>
                  <a:pt x="4050465" y="31051"/>
                  <a:pt x="4067949" y="35735"/>
                  <a:pt x="4096745" y="33164"/>
                </a:cubicBezTo>
                <a:close/>
                <a:moveTo>
                  <a:pt x="5622619" y="31974"/>
                </a:moveTo>
                <a:cubicBezTo>
                  <a:pt x="5618210" y="48429"/>
                  <a:pt x="5593527" y="41815"/>
                  <a:pt x="5585300" y="39611"/>
                </a:cubicBezTo>
                <a:cubicBezTo>
                  <a:pt x="5589709" y="23156"/>
                  <a:pt x="5609982" y="46224"/>
                  <a:pt x="5622619" y="31974"/>
                </a:cubicBezTo>
                <a:close/>
                <a:moveTo>
                  <a:pt x="5454103" y="22893"/>
                </a:moveTo>
                <a:cubicBezTo>
                  <a:pt x="5477186" y="38296"/>
                  <a:pt x="5524110" y="32430"/>
                  <a:pt x="5560265" y="32900"/>
                </a:cubicBezTo>
                <a:cubicBezTo>
                  <a:pt x="5568726" y="35167"/>
                  <a:pt x="5547192" y="47836"/>
                  <a:pt x="5536424" y="54169"/>
                </a:cubicBezTo>
                <a:cubicBezTo>
                  <a:pt x="5521805" y="41034"/>
                  <a:pt x="5489503" y="60036"/>
                  <a:pt x="5466421" y="44630"/>
                </a:cubicBezTo>
                <a:cubicBezTo>
                  <a:pt x="5455652" y="50965"/>
                  <a:pt x="5447189" y="48698"/>
                  <a:pt x="5421801" y="41895"/>
                </a:cubicBezTo>
                <a:cubicBezTo>
                  <a:pt x="5424106" y="33292"/>
                  <a:pt x="5434874" y="26959"/>
                  <a:pt x="5451798" y="31494"/>
                </a:cubicBezTo>
                <a:close/>
                <a:moveTo>
                  <a:pt x="4247231" y="22782"/>
                </a:moveTo>
                <a:cubicBezTo>
                  <a:pt x="4260675" y="21975"/>
                  <a:pt x="4275624" y="23776"/>
                  <a:pt x="4289068" y="22969"/>
                </a:cubicBezTo>
                <a:cubicBezTo>
                  <a:pt x="4284659" y="39424"/>
                  <a:pt x="4262180" y="24583"/>
                  <a:pt x="4265998" y="43242"/>
                </a:cubicBezTo>
                <a:cubicBezTo>
                  <a:pt x="4249543" y="38833"/>
                  <a:pt x="4220452" y="48675"/>
                  <a:pt x="4214429" y="38242"/>
                </a:cubicBezTo>
                <a:cubicBezTo>
                  <a:pt x="4221850" y="27003"/>
                  <a:pt x="4233789" y="23589"/>
                  <a:pt x="4247231" y="22782"/>
                </a:cubicBezTo>
                <a:close/>
                <a:moveTo>
                  <a:pt x="4187838" y="22299"/>
                </a:moveTo>
                <a:cubicBezTo>
                  <a:pt x="4187838" y="22299"/>
                  <a:pt x="4185634" y="30527"/>
                  <a:pt x="4185634" y="30527"/>
                </a:cubicBezTo>
                <a:cubicBezTo>
                  <a:pt x="4185634" y="30527"/>
                  <a:pt x="4185634" y="30527"/>
                  <a:pt x="4183429" y="38754"/>
                </a:cubicBezTo>
                <a:cubicBezTo>
                  <a:pt x="4177406" y="28322"/>
                  <a:pt x="4175203" y="36550"/>
                  <a:pt x="4166975" y="34345"/>
                </a:cubicBezTo>
                <a:cubicBezTo>
                  <a:pt x="4166975" y="34345"/>
                  <a:pt x="4175203" y="36550"/>
                  <a:pt x="4172998" y="44777"/>
                </a:cubicBezTo>
                <a:cubicBezTo>
                  <a:pt x="4154339" y="48596"/>
                  <a:pt x="4150519" y="29936"/>
                  <a:pt x="4131860" y="33755"/>
                </a:cubicBezTo>
                <a:cubicBezTo>
                  <a:pt x="4144496" y="19504"/>
                  <a:pt x="4169179" y="26118"/>
                  <a:pt x="4187838" y="22299"/>
                </a:cubicBezTo>
                <a:close/>
                <a:moveTo>
                  <a:pt x="5271960" y="21905"/>
                </a:moveTo>
                <a:cubicBezTo>
                  <a:pt x="5288562" y="20821"/>
                  <a:pt x="5319752" y="32582"/>
                  <a:pt x="5334269" y="29664"/>
                </a:cubicBezTo>
                <a:cubicBezTo>
                  <a:pt x="5332000" y="38133"/>
                  <a:pt x="5323456" y="35844"/>
                  <a:pt x="5332000" y="38133"/>
                </a:cubicBezTo>
                <a:cubicBezTo>
                  <a:pt x="5312643" y="42025"/>
                  <a:pt x="5295555" y="37447"/>
                  <a:pt x="5291017" y="54384"/>
                </a:cubicBezTo>
                <a:cubicBezTo>
                  <a:pt x="5282473" y="52095"/>
                  <a:pt x="5306369" y="31265"/>
                  <a:pt x="5289281" y="26687"/>
                </a:cubicBezTo>
                <a:lnTo>
                  <a:pt x="5276703" y="39456"/>
                </a:lnTo>
                <a:lnTo>
                  <a:pt x="5278468" y="32868"/>
                </a:lnTo>
                <a:cubicBezTo>
                  <a:pt x="5269924" y="30579"/>
                  <a:pt x="5261378" y="28289"/>
                  <a:pt x="5261378" y="28289"/>
                </a:cubicBezTo>
                <a:cubicBezTo>
                  <a:pt x="5262513" y="24054"/>
                  <a:pt x="5266426" y="22266"/>
                  <a:pt x="5271960" y="21905"/>
                </a:cubicBezTo>
                <a:close/>
                <a:moveTo>
                  <a:pt x="5199303" y="20733"/>
                </a:moveTo>
                <a:cubicBezTo>
                  <a:pt x="5197034" y="29201"/>
                  <a:pt x="5186218" y="35383"/>
                  <a:pt x="5203308" y="39962"/>
                </a:cubicBezTo>
                <a:cubicBezTo>
                  <a:pt x="5211851" y="42251"/>
                  <a:pt x="5199303" y="20733"/>
                  <a:pt x="5207847" y="23022"/>
                </a:cubicBezTo>
                <a:cubicBezTo>
                  <a:pt x="5218659" y="16843"/>
                  <a:pt x="5205577" y="31491"/>
                  <a:pt x="5214121" y="33780"/>
                </a:cubicBezTo>
                <a:cubicBezTo>
                  <a:pt x="5222665" y="36069"/>
                  <a:pt x="5222665" y="36069"/>
                  <a:pt x="5231209" y="38358"/>
                </a:cubicBezTo>
                <a:cubicBezTo>
                  <a:pt x="5242022" y="32179"/>
                  <a:pt x="5233478" y="29890"/>
                  <a:pt x="5235747" y="21421"/>
                </a:cubicBezTo>
                <a:cubicBezTo>
                  <a:pt x="5252834" y="26000"/>
                  <a:pt x="5242022" y="32179"/>
                  <a:pt x="5239753" y="40648"/>
                </a:cubicBezTo>
                <a:lnTo>
                  <a:pt x="5274709" y="41310"/>
                </a:lnTo>
                <a:lnTo>
                  <a:pt x="5254570" y="53697"/>
                </a:lnTo>
                <a:cubicBezTo>
                  <a:pt x="5259109" y="36758"/>
                  <a:pt x="5226670" y="55298"/>
                  <a:pt x="5211851" y="42251"/>
                </a:cubicBezTo>
                <a:cubicBezTo>
                  <a:pt x="5209582" y="50719"/>
                  <a:pt x="5215856" y="61480"/>
                  <a:pt x="5198769" y="56901"/>
                </a:cubicBezTo>
                <a:cubicBezTo>
                  <a:pt x="5196500" y="65370"/>
                  <a:pt x="5209582" y="50719"/>
                  <a:pt x="5215856" y="61480"/>
                </a:cubicBezTo>
                <a:cubicBezTo>
                  <a:pt x="5218126" y="53009"/>
                  <a:pt x="5228939" y="46830"/>
                  <a:pt x="5237483" y="49119"/>
                </a:cubicBezTo>
                <a:cubicBezTo>
                  <a:pt x="5232944" y="66058"/>
                  <a:pt x="5267121" y="75216"/>
                  <a:pt x="5271660" y="58277"/>
                </a:cubicBezTo>
                <a:cubicBezTo>
                  <a:pt x="5284208" y="79795"/>
                  <a:pt x="5288747" y="62855"/>
                  <a:pt x="5312109" y="78191"/>
                </a:cubicBezTo>
                <a:cubicBezTo>
                  <a:pt x="5312109" y="78191"/>
                  <a:pt x="5325191" y="63541"/>
                  <a:pt x="5316648" y="61252"/>
                </a:cubicBezTo>
                <a:cubicBezTo>
                  <a:pt x="5318917" y="52783"/>
                  <a:pt x="5325191" y="63541"/>
                  <a:pt x="5322922" y="72012"/>
                </a:cubicBezTo>
                <a:cubicBezTo>
                  <a:pt x="5333738" y="65831"/>
                  <a:pt x="5331468" y="74302"/>
                  <a:pt x="5340012" y="76591"/>
                </a:cubicBezTo>
                <a:cubicBezTo>
                  <a:pt x="5350825" y="70410"/>
                  <a:pt x="5357099" y="81170"/>
                  <a:pt x="5370182" y="66520"/>
                </a:cubicBezTo>
                <a:cubicBezTo>
                  <a:pt x="5372451" y="58051"/>
                  <a:pt x="5361638" y="64230"/>
                  <a:pt x="5355363" y="53472"/>
                </a:cubicBezTo>
                <a:cubicBezTo>
                  <a:pt x="5357633" y="45001"/>
                  <a:pt x="5374720" y="49580"/>
                  <a:pt x="5383264" y="51869"/>
                </a:cubicBezTo>
                <a:cubicBezTo>
                  <a:pt x="5370182" y="66520"/>
                  <a:pt x="5385000" y="79567"/>
                  <a:pt x="5371917" y="94217"/>
                </a:cubicBezTo>
                <a:cubicBezTo>
                  <a:pt x="5365643" y="83459"/>
                  <a:pt x="5318383" y="88952"/>
                  <a:pt x="5331468" y="74302"/>
                </a:cubicBezTo>
                <a:cubicBezTo>
                  <a:pt x="5322922" y="72012"/>
                  <a:pt x="5320652" y="80481"/>
                  <a:pt x="5318383" y="88952"/>
                </a:cubicBezTo>
                <a:cubicBezTo>
                  <a:pt x="5312109" y="78191"/>
                  <a:pt x="5299026" y="92842"/>
                  <a:pt x="5290483" y="90553"/>
                </a:cubicBezTo>
                <a:cubicBezTo>
                  <a:pt x="5292752" y="82084"/>
                  <a:pt x="5292752" y="82084"/>
                  <a:pt x="5292752" y="82084"/>
                </a:cubicBezTo>
                <a:cubicBezTo>
                  <a:pt x="5277934" y="69034"/>
                  <a:pt x="5281940" y="88263"/>
                  <a:pt x="5271126" y="94443"/>
                </a:cubicBezTo>
                <a:cubicBezTo>
                  <a:pt x="5264852" y="83685"/>
                  <a:pt x="5256308" y="81395"/>
                  <a:pt x="5258577" y="72927"/>
                </a:cubicBezTo>
                <a:cubicBezTo>
                  <a:pt x="5250031" y="70637"/>
                  <a:pt x="5254039" y="89864"/>
                  <a:pt x="5245493" y="87574"/>
                </a:cubicBezTo>
                <a:cubicBezTo>
                  <a:pt x="5228406" y="82996"/>
                  <a:pt x="5247762" y="79105"/>
                  <a:pt x="5250031" y="70637"/>
                </a:cubicBezTo>
                <a:cubicBezTo>
                  <a:pt x="5241487" y="68348"/>
                  <a:pt x="5232944" y="66058"/>
                  <a:pt x="5232944" y="66058"/>
                </a:cubicBezTo>
                <a:cubicBezTo>
                  <a:pt x="5230674" y="74527"/>
                  <a:pt x="5236949" y="85285"/>
                  <a:pt x="5226135" y="91467"/>
                </a:cubicBezTo>
                <a:cubicBezTo>
                  <a:pt x="5217592" y="89177"/>
                  <a:pt x="5211318" y="78417"/>
                  <a:pt x="5211318" y="78417"/>
                </a:cubicBezTo>
                <a:cubicBezTo>
                  <a:pt x="5202774" y="76128"/>
                  <a:pt x="5200504" y="84599"/>
                  <a:pt x="5198236" y="93067"/>
                </a:cubicBezTo>
                <a:cubicBezTo>
                  <a:pt x="5196500" y="65370"/>
                  <a:pt x="5181148" y="88489"/>
                  <a:pt x="5166327" y="75441"/>
                </a:cubicBezTo>
                <a:cubicBezTo>
                  <a:pt x="5168597" y="66970"/>
                  <a:pt x="5191961" y="82309"/>
                  <a:pt x="5194230" y="73838"/>
                </a:cubicBezTo>
                <a:cubicBezTo>
                  <a:pt x="5185687" y="71549"/>
                  <a:pt x="5160053" y="64681"/>
                  <a:pt x="5155514" y="81620"/>
                </a:cubicBezTo>
                <a:cubicBezTo>
                  <a:pt x="5129883" y="74752"/>
                  <a:pt x="5108257" y="87114"/>
                  <a:pt x="5084893" y="71774"/>
                </a:cubicBezTo>
                <a:cubicBezTo>
                  <a:pt x="5074080" y="77956"/>
                  <a:pt x="5093437" y="74063"/>
                  <a:pt x="5091167" y="82534"/>
                </a:cubicBezTo>
                <a:cubicBezTo>
                  <a:pt x="5074080" y="77956"/>
                  <a:pt x="5074080" y="77956"/>
                  <a:pt x="5078619" y="61016"/>
                </a:cubicBezTo>
                <a:cubicBezTo>
                  <a:pt x="5087162" y="63305"/>
                  <a:pt x="5087162" y="63305"/>
                  <a:pt x="5095706" y="65595"/>
                </a:cubicBezTo>
                <a:cubicBezTo>
                  <a:pt x="5097976" y="57126"/>
                  <a:pt x="5089431" y="54837"/>
                  <a:pt x="5080888" y="52548"/>
                </a:cubicBezTo>
                <a:cubicBezTo>
                  <a:pt x="5102514" y="40187"/>
                  <a:pt x="5104252" y="67885"/>
                  <a:pt x="5112796" y="70174"/>
                </a:cubicBezTo>
                <a:cubicBezTo>
                  <a:pt x="5123609" y="63995"/>
                  <a:pt x="5108791" y="50945"/>
                  <a:pt x="5108791" y="50945"/>
                </a:cubicBezTo>
                <a:lnTo>
                  <a:pt x="5124721" y="37060"/>
                </a:lnTo>
                <a:lnTo>
                  <a:pt x="5134688" y="39731"/>
                </a:lnTo>
                <a:cubicBezTo>
                  <a:pt x="5137393" y="38184"/>
                  <a:pt x="5140096" y="36639"/>
                  <a:pt x="5147504" y="43165"/>
                </a:cubicBezTo>
                <a:cubicBezTo>
                  <a:pt x="5136691" y="49344"/>
                  <a:pt x="5145235" y="51634"/>
                  <a:pt x="5153779" y="53923"/>
                </a:cubicBezTo>
                <a:cubicBezTo>
                  <a:pt x="5156048" y="45454"/>
                  <a:pt x="5175405" y="41562"/>
                  <a:pt x="5192495" y="46141"/>
                </a:cubicBezTo>
                <a:cubicBezTo>
                  <a:pt x="5194764" y="37672"/>
                  <a:pt x="5186218" y="35383"/>
                  <a:pt x="5188488" y="26911"/>
                </a:cubicBezTo>
                <a:cubicBezTo>
                  <a:pt x="5177674" y="33093"/>
                  <a:pt x="5169130" y="30804"/>
                  <a:pt x="5166861" y="39272"/>
                </a:cubicBezTo>
                <a:cubicBezTo>
                  <a:pt x="5160587" y="28515"/>
                  <a:pt x="5186218" y="35383"/>
                  <a:pt x="5171400" y="22333"/>
                </a:cubicBezTo>
                <a:cubicBezTo>
                  <a:pt x="5188488" y="26911"/>
                  <a:pt x="5190757" y="18443"/>
                  <a:pt x="5199303" y="20733"/>
                </a:cubicBezTo>
                <a:close/>
                <a:moveTo>
                  <a:pt x="4395131" y="20524"/>
                </a:moveTo>
                <a:cubicBezTo>
                  <a:pt x="4411531" y="20510"/>
                  <a:pt x="4429015" y="25195"/>
                  <a:pt x="4437756" y="27537"/>
                </a:cubicBezTo>
                <a:cubicBezTo>
                  <a:pt x="4433347" y="43992"/>
                  <a:pt x="4402789" y="18167"/>
                  <a:pt x="4415864" y="39307"/>
                </a:cubicBezTo>
                <a:cubicBezTo>
                  <a:pt x="4396175" y="42850"/>
                  <a:pt x="4391843" y="24053"/>
                  <a:pt x="4380895" y="29938"/>
                </a:cubicBezTo>
                <a:cubicBezTo>
                  <a:pt x="4372155" y="27596"/>
                  <a:pt x="4387434" y="40508"/>
                  <a:pt x="4376486" y="46393"/>
                </a:cubicBezTo>
                <a:cubicBezTo>
                  <a:pt x="4378691" y="38165"/>
                  <a:pt x="4367746" y="44051"/>
                  <a:pt x="4359003" y="41708"/>
                </a:cubicBezTo>
                <a:cubicBezTo>
                  <a:pt x="4363412" y="25253"/>
                  <a:pt x="4378729" y="20539"/>
                  <a:pt x="4395131" y="20524"/>
                </a:cubicBezTo>
                <a:close/>
                <a:moveTo>
                  <a:pt x="5344040" y="20157"/>
                </a:moveTo>
                <a:cubicBezTo>
                  <a:pt x="5378596" y="29416"/>
                  <a:pt x="5395875" y="34046"/>
                  <a:pt x="5415632" y="29418"/>
                </a:cubicBezTo>
                <a:cubicBezTo>
                  <a:pt x="5424271" y="31733"/>
                  <a:pt x="5415632" y="29418"/>
                  <a:pt x="5419311" y="50246"/>
                </a:cubicBezTo>
                <a:cubicBezTo>
                  <a:pt x="5395875" y="34046"/>
                  <a:pt x="5364996" y="45613"/>
                  <a:pt x="5336600" y="47925"/>
                </a:cubicBezTo>
                <a:cubicBezTo>
                  <a:pt x="5327960" y="45610"/>
                  <a:pt x="5341561" y="29413"/>
                  <a:pt x="5344040" y="20157"/>
                </a:cubicBezTo>
                <a:close/>
                <a:moveTo>
                  <a:pt x="4812789" y="19289"/>
                </a:moveTo>
                <a:cubicBezTo>
                  <a:pt x="4817628" y="18316"/>
                  <a:pt x="4824036" y="20034"/>
                  <a:pt x="4832580" y="22323"/>
                </a:cubicBezTo>
                <a:cubicBezTo>
                  <a:pt x="4828308" y="21178"/>
                  <a:pt x="4825605" y="22723"/>
                  <a:pt x="4823686" y="25613"/>
                </a:cubicBezTo>
                <a:lnTo>
                  <a:pt x="4819498" y="36973"/>
                </a:lnTo>
                <a:lnTo>
                  <a:pt x="4813194" y="32731"/>
                </a:lnTo>
                <a:cubicBezTo>
                  <a:pt x="4810594" y="31751"/>
                  <a:pt x="4807248" y="31422"/>
                  <a:pt x="4802408" y="32394"/>
                </a:cubicBezTo>
                <a:cubicBezTo>
                  <a:pt x="4804678" y="23924"/>
                  <a:pt x="4807949" y="20262"/>
                  <a:pt x="4812789" y="19289"/>
                </a:cubicBezTo>
                <a:close/>
                <a:moveTo>
                  <a:pt x="5072316" y="12384"/>
                </a:moveTo>
                <a:lnTo>
                  <a:pt x="5074078" y="15436"/>
                </a:lnTo>
                <a:lnTo>
                  <a:pt x="5145769" y="15465"/>
                </a:lnTo>
                <a:cubicBezTo>
                  <a:pt x="5144634" y="19702"/>
                  <a:pt x="5142932" y="26053"/>
                  <a:pt x="5139378" y="30775"/>
                </a:cubicBezTo>
                <a:lnTo>
                  <a:pt x="5127708" y="34456"/>
                </a:lnTo>
                <a:lnTo>
                  <a:pt x="5132687" y="30115"/>
                </a:lnTo>
                <a:cubicBezTo>
                  <a:pt x="5126412" y="19358"/>
                  <a:pt x="5121874" y="36297"/>
                  <a:pt x="5115599" y="25537"/>
                </a:cubicBezTo>
                <a:cubicBezTo>
                  <a:pt x="5128148" y="47055"/>
                  <a:pt x="5098509" y="20958"/>
                  <a:pt x="5100245" y="48655"/>
                </a:cubicBezTo>
                <a:cubicBezTo>
                  <a:pt x="5076883" y="33319"/>
                  <a:pt x="5067806" y="67195"/>
                  <a:pt x="5065537" y="75666"/>
                </a:cubicBezTo>
                <a:cubicBezTo>
                  <a:pt x="5063267" y="84135"/>
                  <a:pt x="5048449" y="71088"/>
                  <a:pt x="5048449" y="71088"/>
                </a:cubicBezTo>
                <a:cubicBezTo>
                  <a:pt x="5052453" y="90317"/>
                  <a:pt x="5001189" y="76581"/>
                  <a:pt x="4981833" y="80470"/>
                </a:cubicBezTo>
                <a:cubicBezTo>
                  <a:pt x="4986372" y="63531"/>
                  <a:pt x="4992645" y="74291"/>
                  <a:pt x="4994915" y="65820"/>
                </a:cubicBezTo>
                <a:cubicBezTo>
                  <a:pt x="4986372" y="63531"/>
                  <a:pt x="4975558" y="69713"/>
                  <a:pt x="4973288" y="78181"/>
                </a:cubicBezTo>
                <a:cubicBezTo>
                  <a:pt x="4973288" y="78181"/>
                  <a:pt x="4967014" y="67423"/>
                  <a:pt x="4964745" y="75892"/>
                </a:cubicBezTo>
                <a:cubicBezTo>
                  <a:pt x="4960742" y="56663"/>
                  <a:pt x="4984101" y="72002"/>
                  <a:pt x="4977827" y="61242"/>
                </a:cubicBezTo>
                <a:cubicBezTo>
                  <a:pt x="4971553" y="50484"/>
                  <a:pt x="4960742" y="56663"/>
                  <a:pt x="4952194" y="54373"/>
                </a:cubicBezTo>
                <a:cubicBezTo>
                  <a:pt x="4964745" y="75892"/>
                  <a:pt x="4932838" y="58266"/>
                  <a:pt x="4936842" y="77492"/>
                </a:cubicBezTo>
                <a:cubicBezTo>
                  <a:pt x="4926029" y="83674"/>
                  <a:pt x="4930568" y="66734"/>
                  <a:pt x="4922025" y="64445"/>
                </a:cubicBezTo>
                <a:cubicBezTo>
                  <a:pt x="4922025" y="64445"/>
                  <a:pt x="4922025" y="64445"/>
                  <a:pt x="4913480" y="62156"/>
                </a:cubicBezTo>
                <a:cubicBezTo>
                  <a:pt x="4908942" y="79095"/>
                  <a:pt x="4919755" y="72913"/>
                  <a:pt x="4908942" y="79095"/>
                </a:cubicBezTo>
                <a:cubicBezTo>
                  <a:pt x="4872498" y="78407"/>
                  <a:pt x="4808150" y="79321"/>
                  <a:pt x="4763160" y="76342"/>
                </a:cubicBezTo>
                <a:cubicBezTo>
                  <a:pt x="4773973" y="70163"/>
                  <a:pt x="4765430" y="67874"/>
                  <a:pt x="4756886" y="65584"/>
                </a:cubicBezTo>
                <a:cubicBezTo>
                  <a:pt x="4756886" y="65584"/>
                  <a:pt x="4746073" y="71764"/>
                  <a:pt x="4743803" y="80235"/>
                </a:cubicBezTo>
                <a:cubicBezTo>
                  <a:pt x="4718172" y="73367"/>
                  <a:pt x="4715903" y="81836"/>
                  <a:pt x="4701083" y="68788"/>
                </a:cubicBezTo>
                <a:cubicBezTo>
                  <a:pt x="4692538" y="66499"/>
                  <a:pt x="4698813" y="77256"/>
                  <a:pt x="4698813" y="77256"/>
                </a:cubicBezTo>
                <a:cubicBezTo>
                  <a:pt x="4693409" y="80346"/>
                  <a:pt x="4687567" y="76512"/>
                  <a:pt x="4681727" y="72678"/>
                </a:cubicBezTo>
                <a:lnTo>
                  <a:pt x="4671461" y="69927"/>
                </a:lnTo>
                <a:lnTo>
                  <a:pt x="4655451" y="78980"/>
                </a:lnTo>
                <a:cubicBezTo>
                  <a:pt x="4650308" y="78980"/>
                  <a:pt x="4645509" y="77694"/>
                  <a:pt x="4639328" y="81551"/>
                </a:cubicBezTo>
                <a:cubicBezTo>
                  <a:pt x="4642084" y="71266"/>
                  <a:pt x="4642084" y="71266"/>
                  <a:pt x="4644840" y="60981"/>
                </a:cubicBezTo>
                <a:cubicBezTo>
                  <a:pt x="4649643" y="62267"/>
                  <a:pt x="4651353" y="65481"/>
                  <a:pt x="4654608" y="67731"/>
                </a:cubicBezTo>
                <a:lnTo>
                  <a:pt x="4665286" y="68273"/>
                </a:lnTo>
                <a:lnTo>
                  <a:pt x="4664638" y="68099"/>
                </a:lnTo>
                <a:cubicBezTo>
                  <a:pt x="4666908" y="59631"/>
                  <a:pt x="4673182" y="70389"/>
                  <a:pt x="4675451" y="61920"/>
                </a:cubicBezTo>
                <a:cubicBezTo>
                  <a:pt x="4666908" y="59631"/>
                  <a:pt x="4641274" y="52762"/>
                  <a:pt x="4621917" y="56652"/>
                </a:cubicBezTo>
                <a:cubicBezTo>
                  <a:pt x="4628193" y="67410"/>
                  <a:pt x="4645282" y="71989"/>
                  <a:pt x="4619648" y="65121"/>
                </a:cubicBezTo>
                <a:cubicBezTo>
                  <a:pt x="4619648" y="65121"/>
                  <a:pt x="4625922" y="75881"/>
                  <a:pt x="4625922" y="75881"/>
                </a:cubicBezTo>
                <a:cubicBezTo>
                  <a:pt x="4621383" y="92821"/>
                  <a:pt x="4608835" y="71303"/>
                  <a:pt x="4598022" y="77482"/>
                </a:cubicBezTo>
                <a:lnTo>
                  <a:pt x="4597971" y="77393"/>
                </a:lnTo>
                <a:lnTo>
                  <a:pt x="4595985" y="78752"/>
                </a:lnTo>
                <a:lnTo>
                  <a:pt x="4595074" y="72429"/>
                </a:lnTo>
                <a:lnTo>
                  <a:pt x="4591747" y="66724"/>
                </a:lnTo>
                <a:cubicBezTo>
                  <a:pt x="4580935" y="72903"/>
                  <a:pt x="4563844" y="68324"/>
                  <a:pt x="4570121" y="79085"/>
                </a:cubicBezTo>
                <a:cubicBezTo>
                  <a:pt x="4553031" y="74506"/>
                  <a:pt x="4561575" y="76795"/>
                  <a:pt x="4563844" y="68324"/>
                </a:cubicBezTo>
                <a:cubicBezTo>
                  <a:pt x="4555301" y="66035"/>
                  <a:pt x="4555301" y="66035"/>
                  <a:pt x="4546757" y="63746"/>
                </a:cubicBezTo>
                <a:cubicBezTo>
                  <a:pt x="4546757" y="63746"/>
                  <a:pt x="4535944" y="69927"/>
                  <a:pt x="4542218" y="80685"/>
                </a:cubicBezTo>
                <a:cubicBezTo>
                  <a:pt x="4505774" y="79997"/>
                  <a:pt x="4460785" y="77021"/>
                  <a:pt x="4422071" y="84801"/>
                </a:cubicBezTo>
                <a:cubicBezTo>
                  <a:pt x="4418065" y="65574"/>
                  <a:pt x="4398706" y="69464"/>
                  <a:pt x="4387895" y="75643"/>
                </a:cubicBezTo>
                <a:cubicBezTo>
                  <a:pt x="4385623" y="84114"/>
                  <a:pt x="4370806" y="71064"/>
                  <a:pt x="4368536" y="79535"/>
                </a:cubicBezTo>
                <a:cubicBezTo>
                  <a:pt x="4353720" y="66486"/>
                  <a:pt x="4345175" y="64197"/>
                  <a:pt x="4319542" y="57328"/>
                </a:cubicBezTo>
                <a:cubicBezTo>
                  <a:pt x="4324080" y="40391"/>
                  <a:pt x="4364533" y="60307"/>
                  <a:pt x="4373075" y="62596"/>
                </a:cubicBezTo>
                <a:cubicBezTo>
                  <a:pt x="4386159" y="47945"/>
                  <a:pt x="4414058" y="46345"/>
                  <a:pt x="4441961" y="44745"/>
                </a:cubicBezTo>
                <a:cubicBezTo>
                  <a:pt x="4445966" y="63971"/>
                  <a:pt x="4482411" y="64660"/>
                  <a:pt x="4478405" y="45431"/>
                </a:cubicBezTo>
                <a:cubicBezTo>
                  <a:pt x="4478405" y="45431"/>
                  <a:pt x="4495495" y="50010"/>
                  <a:pt x="4506308" y="43831"/>
                </a:cubicBezTo>
                <a:cubicBezTo>
                  <a:pt x="4514852" y="46120"/>
                  <a:pt x="4495495" y="50010"/>
                  <a:pt x="4501769" y="60770"/>
                </a:cubicBezTo>
                <a:cubicBezTo>
                  <a:pt x="4518857" y="65349"/>
                  <a:pt x="4538214" y="61456"/>
                  <a:pt x="4542754" y="44517"/>
                </a:cubicBezTo>
                <a:cubicBezTo>
                  <a:pt x="4585474" y="55964"/>
                  <a:pt x="4654359" y="38113"/>
                  <a:pt x="4697077" y="49559"/>
                </a:cubicBezTo>
                <a:cubicBezTo>
                  <a:pt x="4707890" y="43380"/>
                  <a:pt x="4707890" y="43380"/>
                  <a:pt x="4710160" y="34908"/>
                </a:cubicBezTo>
                <a:cubicBezTo>
                  <a:pt x="4673715" y="34223"/>
                  <a:pt x="4630994" y="22775"/>
                  <a:pt x="4609369" y="35134"/>
                </a:cubicBezTo>
                <a:cubicBezTo>
                  <a:pt x="4600825" y="32845"/>
                  <a:pt x="4603095" y="24376"/>
                  <a:pt x="4594551" y="22087"/>
                </a:cubicBezTo>
                <a:cubicBezTo>
                  <a:pt x="4598555" y="41316"/>
                  <a:pt x="4530203" y="23001"/>
                  <a:pt x="4508579" y="35360"/>
                </a:cubicBezTo>
                <a:lnTo>
                  <a:pt x="4515725" y="29526"/>
                </a:lnTo>
                <a:lnTo>
                  <a:pt x="4527935" y="31470"/>
                </a:lnTo>
                <a:cubicBezTo>
                  <a:pt x="4523663" y="30325"/>
                  <a:pt x="4519392" y="29180"/>
                  <a:pt x="4515903" y="29380"/>
                </a:cubicBezTo>
                <a:lnTo>
                  <a:pt x="4515725" y="29526"/>
                </a:lnTo>
                <a:lnTo>
                  <a:pt x="4507076" y="28150"/>
                </a:lnTo>
                <a:cubicBezTo>
                  <a:pt x="4499031" y="28264"/>
                  <a:pt x="4491488" y="30782"/>
                  <a:pt x="4489218" y="39251"/>
                </a:cubicBezTo>
                <a:cubicBezTo>
                  <a:pt x="4480675" y="36962"/>
                  <a:pt x="4472131" y="34673"/>
                  <a:pt x="4465857" y="23913"/>
                </a:cubicBezTo>
                <a:cubicBezTo>
                  <a:pt x="4579730" y="9039"/>
                  <a:pt x="4695342" y="21862"/>
                  <a:pt x="4804676" y="23925"/>
                </a:cubicBezTo>
                <a:cubicBezTo>
                  <a:pt x="4793865" y="30105"/>
                  <a:pt x="4804676" y="23925"/>
                  <a:pt x="4800138" y="40862"/>
                </a:cubicBezTo>
                <a:cubicBezTo>
                  <a:pt x="4793865" y="30105"/>
                  <a:pt x="4793865" y="30105"/>
                  <a:pt x="4783052" y="36284"/>
                </a:cubicBezTo>
                <a:cubicBezTo>
                  <a:pt x="4780781" y="44755"/>
                  <a:pt x="4791594" y="38573"/>
                  <a:pt x="4787056" y="55513"/>
                </a:cubicBezTo>
                <a:cubicBezTo>
                  <a:pt x="4797869" y="49333"/>
                  <a:pt x="4800138" y="40862"/>
                  <a:pt x="4817228" y="45441"/>
                </a:cubicBezTo>
                <a:cubicBezTo>
                  <a:pt x="4832046" y="58491"/>
                  <a:pt x="4877037" y="61467"/>
                  <a:pt x="4890119" y="46819"/>
                </a:cubicBezTo>
                <a:cubicBezTo>
                  <a:pt x="4907206" y="51398"/>
                  <a:pt x="4920288" y="36748"/>
                  <a:pt x="4924293" y="55976"/>
                </a:cubicBezTo>
                <a:cubicBezTo>
                  <a:pt x="4935106" y="49795"/>
                  <a:pt x="4946923" y="48422"/>
                  <a:pt x="4957669" y="46764"/>
                </a:cubicBezTo>
                <a:lnTo>
                  <a:pt x="4983717" y="36206"/>
                </a:lnTo>
                <a:lnTo>
                  <a:pt x="4984757" y="36416"/>
                </a:lnTo>
                <a:lnTo>
                  <a:pt x="4988640" y="55062"/>
                </a:lnTo>
                <a:cubicBezTo>
                  <a:pt x="5005728" y="59641"/>
                  <a:pt x="5023350" y="28051"/>
                  <a:pt x="5027354" y="47280"/>
                </a:cubicBezTo>
                <a:cubicBezTo>
                  <a:pt x="5038170" y="41101"/>
                  <a:pt x="5048983" y="34919"/>
                  <a:pt x="5055257" y="45680"/>
                </a:cubicBezTo>
                <a:cubicBezTo>
                  <a:pt x="5066070" y="39498"/>
                  <a:pt x="5040439" y="32630"/>
                  <a:pt x="5062065" y="20272"/>
                </a:cubicBezTo>
                <a:cubicBezTo>
                  <a:pt x="5042709" y="24162"/>
                  <a:pt x="5031893" y="30340"/>
                  <a:pt x="5014806" y="25762"/>
                </a:cubicBezTo>
                <a:cubicBezTo>
                  <a:pt x="5021080" y="36522"/>
                  <a:pt x="5034162" y="21872"/>
                  <a:pt x="5040439" y="32630"/>
                </a:cubicBezTo>
                <a:cubicBezTo>
                  <a:pt x="5029623" y="38811"/>
                  <a:pt x="4995448" y="29654"/>
                  <a:pt x="4978362" y="25076"/>
                </a:cubicBezTo>
                <a:cubicBezTo>
                  <a:pt x="4976092" y="33544"/>
                  <a:pt x="4997718" y="21183"/>
                  <a:pt x="4993179" y="38123"/>
                </a:cubicBezTo>
                <a:lnTo>
                  <a:pt x="4984757" y="36416"/>
                </a:lnTo>
                <a:lnTo>
                  <a:pt x="4984636" y="35833"/>
                </a:lnTo>
                <a:lnTo>
                  <a:pt x="4983717" y="36206"/>
                </a:lnTo>
                <a:lnTo>
                  <a:pt x="4975808" y="34604"/>
                </a:lnTo>
                <a:cubicBezTo>
                  <a:pt x="4970684" y="36633"/>
                  <a:pt x="4965280" y="39723"/>
                  <a:pt x="4956733" y="37434"/>
                </a:cubicBezTo>
                <a:cubicBezTo>
                  <a:pt x="4959002" y="28965"/>
                  <a:pt x="4941915" y="24386"/>
                  <a:pt x="4933371" y="22097"/>
                </a:cubicBezTo>
                <a:cubicBezTo>
                  <a:pt x="4939646" y="32855"/>
                  <a:pt x="4939646" y="32855"/>
                  <a:pt x="4948189" y="35144"/>
                </a:cubicBezTo>
                <a:cubicBezTo>
                  <a:pt x="4926563" y="47505"/>
                  <a:pt x="4886114" y="27591"/>
                  <a:pt x="4873028" y="42240"/>
                </a:cubicBezTo>
                <a:cubicBezTo>
                  <a:pt x="4864485" y="39951"/>
                  <a:pt x="4866755" y="31480"/>
                  <a:pt x="4866755" y="31480"/>
                </a:cubicBezTo>
                <a:cubicBezTo>
                  <a:pt x="4858211" y="29190"/>
                  <a:pt x="4838854" y="33083"/>
                  <a:pt x="4836585" y="41552"/>
                </a:cubicBezTo>
                <a:cubicBezTo>
                  <a:pt x="4831746" y="42524"/>
                  <a:pt x="4828400" y="42195"/>
                  <a:pt x="4825801" y="41215"/>
                </a:cubicBezTo>
                <a:lnTo>
                  <a:pt x="4819498" y="36973"/>
                </a:lnTo>
                <a:lnTo>
                  <a:pt x="4874716" y="18862"/>
                </a:lnTo>
                <a:cubicBezTo>
                  <a:pt x="4892221" y="13341"/>
                  <a:pt x="4908875" y="10995"/>
                  <a:pt x="4924827" y="19808"/>
                </a:cubicBezTo>
                <a:cubicBezTo>
                  <a:pt x="4944184" y="15918"/>
                  <a:pt x="4982900" y="8136"/>
                  <a:pt x="5006262" y="23472"/>
                </a:cubicBezTo>
                <a:lnTo>
                  <a:pt x="5069132" y="15974"/>
                </a:lnTo>
                <a:close/>
                <a:moveTo>
                  <a:pt x="5163265" y="10299"/>
                </a:moveTo>
                <a:cubicBezTo>
                  <a:pt x="5173550" y="13055"/>
                  <a:pt x="5161060" y="18526"/>
                  <a:pt x="5171346" y="21282"/>
                </a:cubicBezTo>
                <a:cubicBezTo>
                  <a:pt x="5161978" y="25386"/>
                  <a:pt x="5153852" y="24862"/>
                  <a:pt x="5152852" y="32448"/>
                </a:cubicBezTo>
                <a:lnTo>
                  <a:pt x="5153220" y="34928"/>
                </a:lnTo>
                <a:lnTo>
                  <a:pt x="5146367" y="32226"/>
                </a:lnTo>
                <a:cubicBezTo>
                  <a:pt x="5148571" y="23998"/>
                  <a:pt x="5150776" y="15771"/>
                  <a:pt x="5150776" y="15771"/>
                </a:cubicBezTo>
                <a:cubicBezTo>
                  <a:pt x="5150776" y="15771"/>
                  <a:pt x="5161060" y="18526"/>
                  <a:pt x="5163265" y="10299"/>
                </a:cubicBezTo>
                <a:close/>
                <a:moveTo>
                  <a:pt x="5540344" y="9928"/>
                </a:moveTo>
                <a:cubicBezTo>
                  <a:pt x="5535934" y="26383"/>
                  <a:pt x="5518942" y="13012"/>
                  <a:pt x="5507137" y="18667"/>
                </a:cubicBezTo>
                <a:cubicBezTo>
                  <a:pt x="5509341" y="10439"/>
                  <a:pt x="5530745" y="7356"/>
                  <a:pt x="5540344" y="9928"/>
                </a:cubicBezTo>
                <a:close/>
                <a:moveTo>
                  <a:pt x="5441592" y="2"/>
                </a:moveTo>
                <a:cubicBezTo>
                  <a:pt x="5445983" y="76"/>
                  <a:pt x="5449544" y="3235"/>
                  <a:pt x="5447339" y="11463"/>
                </a:cubicBezTo>
                <a:cubicBezTo>
                  <a:pt x="5439112" y="9258"/>
                  <a:pt x="5436908" y="17486"/>
                  <a:pt x="5430885" y="7054"/>
                </a:cubicBezTo>
                <a:cubicBezTo>
                  <a:pt x="5431987" y="2938"/>
                  <a:pt x="5437204" y="-71"/>
                  <a:pt x="5441592" y="2"/>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886061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8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9BF45C02-0F30-457F-B588-DAFDAFDC0F1E}"/>
              </a:ext>
            </a:extLst>
          </p:cNvPr>
          <p:cNvSpPr>
            <a:spLocks noGrp="1"/>
          </p:cNvSpPr>
          <p:nvPr>
            <p:ph type="pic" sz="quarter" idx="20"/>
          </p:nvPr>
        </p:nvSpPr>
        <p:spPr>
          <a:xfrm>
            <a:off x="-1122000" y="-130452"/>
            <a:ext cx="17737372" cy="4441553"/>
          </a:xfrm>
          <a:custGeom>
            <a:avLst/>
            <a:gdLst>
              <a:gd name="connsiteX0" fmla="*/ 538509 w 13347346"/>
              <a:gd name="connsiteY0" fmla="*/ 459 h 3384040"/>
              <a:gd name="connsiteX1" fmla="*/ 682540 w 13347346"/>
              <a:gd name="connsiteY1" fmla="*/ 10664 h 3384040"/>
              <a:gd name="connsiteX2" fmla="*/ 1049497 w 13347346"/>
              <a:gd name="connsiteY2" fmla="*/ 18828 h 3384040"/>
              <a:gd name="connsiteX3" fmla="*/ 12381127 w 13347346"/>
              <a:gd name="connsiteY3" fmla="*/ 10664 h 3384040"/>
              <a:gd name="connsiteX4" fmla="*/ 12894866 w 13347346"/>
              <a:gd name="connsiteY4" fmla="*/ 35157 h 3384040"/>
              <a:gd name="connsiteX5" fmla="*/ 13342554 w 13347346"/>
              <a:gd name="connsiteY5" fmla="*/ 2500 h 3384040"/>
              <a:gd name="connsiteX6" fmla="*/ 13335215 w 13347346"/>
              <a:gd name="connsiteY6" fmla="*/ 263757 h 3384040"/>
              <a:gd name="connsiteX7" fmla="*/ 13188432 w 13347346"/>
              <a:gd name="connsiteY7" fmla="*/ 500521 h 3384040"/>
              <a:gd name="connsiteX8" fmla="*/ 13078345 w 13347346"/>
              <a:gd name="connsiteY8" fmla="*/ 516850 h 3384040"/>
              <a:gd name="connsiteX9" fmla="*/ 13048988 w 13347346"/>
              <a:gd name="connsiteY9" fmla="*/ 590329 h 3384040"/>
              <a:gd name="connsiteX10" fmla="*/ 13173754 w 13347346"/>
              <a:gd name="connsiteY10" fmla="*/ 565836 h 3384040"/>
              <a:gd name="connsiteX11" fmla="*/ 12938901 w 13347346"/>
              <a:gd name="connsiteY11" fmla="*/ 957721 h 3384040"/>
              <a:gd name="connsiteX12" fmla="*/ 12902205 w 13347346"/>
              <a:gd name="connsiteY12" fmla="*/ 941393 h 3384040"/>
              <a:gd name="connsiteX13" fmla="*/ 12946240 w 13347346"/>
              <a:gd name="connsiteY13" fmla="*/ 753614 h 3384040"/>
              <a:gd name="connsiteX14" fmla="*/ 12924223 w 13347346"/>
              <a:gd name="connsiteY14" fmla="*/ 745450 h 3384040"/>
              <a:gd name="connsiteX15" fmla="*/ 12770101 w 13347346"/>
              <a:gd name="connsiteY15" fmla="*/ 990379 h 3384040"/>
              <a:gd name="connsiteX16" fmla="*/ 12872849 w 13347346"/>
              <a:gd name="connsiteY16" fmla="*/ 1006707 h 3384040"/>
              <a:gd name="connsiteX17" fmla="*/ 12726066 w 13347346"/>
              <a:gd name="connsiteY17" fmla="*/ 1210814 h 3384040"/>
              <a:gd name="connsiteX18" fmla="*/ 12704049 w 13347346"/>
              <a:gd name="connsiteY18" fmla="*/ 1194486 h 3384040"/>
              <a:gd name="connsiteX19" fmla="*/ 12755423 w 13347346"/>
              <a:gd name="connsiteY19" fmla="*/ 1072021 h 3384040"/>
              <a:gd name="connsiteX20" fmla="*/ 12748084 w 13347346"/>
              <a:gd name="connsiteY20" fmla="*/ 1072021 h 3384040"/>
              <a:gd name="connsiteX21" fmla="*/ 11808674 w 13347346"/>
              <a:gd name="connsiteY21" fmla="*/ 2149707 h 3384040"/>
              <a:gd name="connsiteX22" fmla="*/ 11779317 w 13347346"/>
              <a:gd name="connsiteY22" fmla="*/ 2117050 h 3384040"/>
              <a:gd name="connsiteX23" fmla="*/ 11948117 w 13347346"/>
              <a:gd name="connsiteY23" fmla="*/ 1888450 h 3384040"/>
              <a:gd name="connsiteX24" fmla="*/ 11911422 w 13347346"/>
              <a:gd name="connsiteY24" fmla="*/ 1847628 h 3384040"/>
              <a:gd name="connsiteX25" fmla="*/ 11816013 w 13347346"/>
              <a:gd name="connsiteY25" fmla="*/ 1986421 h 3384040"/>
              <a:gd name="connsiteX26" fmla="*/ 11287595 w 13347346"/>
              <a:gd name="connsiteY26" fmla="*/ 2508936 h 3384040"/>
              <a:gd name="connsiteX27" fmla="*/ 10788534 w 13347346"/>
              <a:gd name="connsiteY27" fmla="*/ 2933479 h 3384040"/>
              <a:gd name="connsiteX28" fmla="*/ 10729820 w 13347346"/>
              <a:gd name="connsiteY28" fmla="*/ 2974300 h 3384040"/>
              <a:gd name="connsiteX29" fmla="*/ 10355524 w 13347346"/>
              <a:gd name="connsiteY29" fmla="*/ 3162079 h 3384040"/>
              <a:gd name="connsiteX30" fmla="*/ 9929854 w 13347346"/>
              <a:gd name="connsiteY30" fmla="*/ 3333529 h 3384040"/>
              <a:gd name="connsiteX31" fmla="*/ 9783072 w 13347346"/>
              <a:gd name="connsiteY31" fmla="*/ 3300871 h 3384040"/>
              <a:gd name="connsiteX32" fmla="*/ 9849124 w 13347346"/>
              <a:gd name="connsiteY32" fmla="*/ 3243721 h 3384040"/>
              <a:gd name="connsiteX33" fmla="*/ 9328045 w 13347346"/>
              <a:gd name="connsiteY33" fmla="*/ 3096764 h 3384040"/>
              <a:gd name="connsiteX34" fmla="*/ 9467489 w 13347346"/>
              <a:gd name="connsiteY34" fmla="*/ 2990629 h 3384040"/>
              <a:gd name="connsiteX35" fmla="*/ 9460149 w 13347346"/>
              <a:gd name="connsiteY35" fmla="*/ 2966136 h 3384040"/>
              <a:gd name="connsiteX36" fmla="*/ 9269332 w 13347346"/>
              <a:gd name="connsiteY36" fmla="*/ 3055943 h 3384040"/>
              <a:gd name="connsiteX37" fmla="*/ 9269332 w 13347346"/>
              <a:gd name="connsiteY37" fmla="*/ 3047779 h 3384040"/>
              <a:gd name="connsiteX38" fmla="*/ 9695002 w 13347346"/>
              <a:gd name="connsiteY38" fmla="*/ 2655893 h 3384040"/>
              <a:gd name="connsiteX39" fmla="*/ 9672984 w 13347346"/>
              <a:gd name="connsiteY39" fmla="*/ 2631400 h 3384040"/>
              <a:gd name="connsiteX40" fmla="*/ 8821644 w 13347346"/>
              <a:gd name="connsiteY40" fmla="*/ 3088600 h 3384040"/>
              <a:gd name="connsiteX41" fmla="*/ 8858340 w 13347346"/>
              <a:gd name="connsiteY41" fmla="*/ 2998793 h 3384040"/>
              <a:gd name="connsiteX42" fmla="*/ 8234514 w 13347346"/>
              <a:gd name="connsiteY42" fmla="*/ 3227393 h 3384040"/>
              <a:gd name="connsiteX43" fmla="*/ 7618026 w 13347346"/>
              <a:gd name="connsiteY43" fmla="*/ 3023286 h 3384040"/>
              <a:gd name="connsiteX44" fmla="*/ 7632704 w 13347346"/>
              <a:gd name="connsiteY44" fmla="*/ 2998793 h 3384040"/>
              <a:gd name="connsiteX45" fmla="*/ 6898790 w 13347346"/>
              <a:gd name="connsiteY45" fmla="*/ 3268214 h 3384040"/>
              <a:gd name="connsiteX46" fmla="*/ 7265747 w 13347346"/>
              <a:gd name="connsiteY46" fmla="*/ 3015121 h 3384040"/>
              <a:gd name="connsiteX47" fmla="*/ 7251069 w 13347346"/>
              <a:gd name="connsiteY47" fmla="*/ 2974300 h 3384040"/>
              <a:gd name="connsiteX48" fmla="*/ 6729990 w 13347346"/>
              <a:gd name="connsiteY48" fmla="*/ 3235557 h 3384040"/>
              <a:gd name="connsiteX49" fmla="*/ 6722652 w 13347346"/>
              <a:gd name="connsiteY49" fmla="*/ 3202900 h 3384040"/>
              <a:gd name="connsiteX50" fmla="*/ 6876773 w 13347346"/>
              <a:gd name="connsiteY50" fmla="*/ 3080436 h 3384040"/>
              <a:gd name="connsiteX51" fmla="*/ 6862095 w 13347346"/>
              <a:gd name="connsiteY51" fmla="*/ 3055943 h 3384040"/>
              <a:gd name="connsiteX52" fmla="*/ 6788704 w 13347346"/>
              <a:gd name="connsiteY52" fmla="*/ 3088600 h 3384040"/>
              <a:gd name="connsiteX53" fmla="*/ 6135521 w 13347346"/>
              <a:gd name="connsiteY53" fmla="*/ 3366186 h 3384040"/>
              <a:gd name="connsiteX54" fmla="*/ 5702511 w 13347346"/>
              <a:gd name="connsiteY54" fmla="*/ 3358021 h 3384040"/>
              <a:gd name="connsiteX55" fmla="*/ 5702511 w 13347346"/>
              <a:gd name="connsiteY55" fmla="*/ 3309036 h 3384040"/>
              <a:gd name="connsiteX56" fmla="*/ 6230929 w 13347346"/>
              <a:gd name="connsiteY56" fmla="*/ 3137586 h 3384040"/>
              <a:gd name="connsiteX57" fmla="*/ 6223590 w 13347346"/>
              <a:gd name="connsiteY57" fmla="*/ 3104929 h 3384040"/>
              <a:gd name="connsiteX58" fmla="*/ 5915346 w 13347346"/>
              <a:gd name="connsiteY58" fmla="*/ 3211064 h 3384040"/>
              <a:gd name="connsiteX59" fmla="*/ 5908007 w 13347346"/>
              <a:gd name="connsiteY59" fmla="*/ 3186571 h 3384040"/>
              <a:gd name="connsiteX60" fmla="*/ 6142860 w 13347346"/>
              <a:gd name="connsiteY60" fmla="*/ 3031450 h 3384040"/>
              <a:gd name="connsiteX61" fmla="*/ 6142860 w 13347346"/>
              <a:gd name="connsiteY61" fmla="*/ 3006957 h 3384040"/>
              <a:gd name="connsiteX62" fmla="*/ 6047450 w 13347346"/>
              <a:gd name="connsiteY62" fmla="*/ 3023286 h 3384040"/>
              <a:gd name="connsiteX63" fmla="*/ 5746546 w 13347346"/>
              <a:gd name="connsiteY63" fmla="*/ 3162079 h 3384040"/>
              <a:gd name="connsiteX64" fmla="*/ 5482337 w 13347346"/>
              <a:gd name="connsiteY64" fmla="*/ 3202900 h 3384040"/>
              <a:gd name="connsiteX65" fmla="*/ 6341016 w 13347346"/>
              <a:gd name="connsiteY65" fmla="*/ 2770193 h 3384040"/>
              <a:gd name="connsiteX66" fmla="*/ 6318999 w 13347346"/>
              <a:gd name="connsiteY66" fmla="*/ 2721207 h 3384040"/>
              <a:gd name="connsiteX67" fmla="*/ 6003416 w 13347346"/>
              <a:gd name="connsiteY67" fmla="*/ 2876329 h 3384040"/>
              <a:gd name="connsiteX68" fmla="*/ 5988737 w 13347346"/>
              <a:gd name="connsiteY68" fmla="*/ 2851836 h 3384040"/>
              <a:gd name="connsiteX69" fmla="*/ 6076807 w 13347346"/>
              <a:gd name="connsiteY69" fmla="*/ 2753864 h 3384040"/>
              <a:gd name="connsiteX70" fmla="*/ 6062129 w 13347346"/>
              <a:gd name="connsiteY70" fmla="*/ 2721207 h 3384040"/>
              <a:gd name="connsiteX71" fmla="*/ 5863972 w 13347346"/>
              <a:gd name="connsiteY71" fmla="*/ 2851836 h 3384040"/>
              <a:gd name="connsiteX72" fmla="*/ 5665815 w 13347346"/>
              <a:gd name="connsiteY72" fmla="*/ 3006957 h 3384040"/>
              <a:gd name="connsiteX73" fmla="*/ 5643798 w 13347346"/>
              <a:gd name="connsiteY73" fmla="*/ 2974300 h 3384040"/>
              <a:gd name="connsiteX74" fmla="*/ 5974059 w 13347346"/>
              <a:gd name="connsiteY74" fmla="*/ 2680386 h 3384040"/>
              <a:gd name="connsiteX75" fmla="*/ 5959381 w 13347346"/>
              <a:gd name="connsiteY75" fmla="*/ 2655893 h 3384040"/>
              <a:gd name="connsiteX76" fmla="*/ 5871311 w 13347346"/>
              <a:gd name="connsiteY76" fmla="*/ 2696714 h 3384040"/>
              <a:gd name="connsiteX77" fmla="*/ 5856633 w 13347346"/>
              <a:gd name="connsiteY77" fmla="*/ 2680386 h 3384040"/>
              <a:gd name="connsiteX78" fmla="*/ 6018094 w 13347346"/>
              <a:gd name="connsiteY78" fmla="*/ 2525264 h 3384040"/>
              <a:gd name="connsiteX79" fmla="*/ 5753885 w 13347346"/>
              <a:gd name="connsiteY79" fmla="*/ 2672221 h 3384040"/>
              <a:gd name="connsiteX80" fmla="*/ 5651137 w 13347346"/>
              <a:gd name="connsiteY80" fmla="*/ 2664057 h 3384040"/>
              <a:gd name="connsiteX81" fmla="*/ 4638336 w 13347346"/>
              <a:gd name="connsiteY81" fmla="*/ 3178407 h 3384040"/>
              <a:gd name="connsiteX82" fmla="*/ 4513570 w 13347346"/>
              <a:gd name="connsiteY82" fmla="*/ 3219229 h 3384040"/>
              <a:gd name="connsiteX83" fmla="*/ 5115380 w 13347346"/>
              <a:gd name="connsiteY83" fmla="*/ 2827343 h 3384040"/>
              <a:gd name="connsiteX84" fmla="*/ 5108041 w 13347346"/>
              <a:gd name="connsiteY84" fmla="*/ 2802850 h 3384040"/>
              <a:gd name="connsiteX85" fmla="*/ 5019971 w 13347346"/>
              <a:gd name="connsiteY85" fmla="*/ 2802850 h 3384040"/>
              <a:gd name="connsiteX86" fmla="*/ 5181432 w 13347346"/>
              <a:gd name="connsiteY86" fmla="*/ 2647729 h 3384040"/>
              <a:gd name="connsiteX87" fmla="*/ 4858510 w 13347346"/>
              <a:gd name="connsiteY87" fmla="*/ 2721207 h 3384040"/>
              <a:gd name="connsiteX88" fmla="*/ 5218128 w 13347346"/>
              <a:gd name="connsiteY88" fmla="*/ 2410964 h 3384040"/>
              <a:gd name="connsiteX89" fmla="*/ 5188771 w 13347346"/>
              <a:gd name="connsiteY89" fmla="*/ 2361979 h 3384040"/>
              <a:gd name="connsiteX90" fmla="*/ 4792458 w 13347346"/>
              <a:gd name="connsiteY90" fmla="*/ 2557921 h 3384040"/>
              <a:gd name="connsiteX91" fmla="*/ 4785119 w 13347346"/>
              <a:gd name="connsiteY91" fmla="*/ 2549757 h 3384040"/>
              <a:gd name="connsiteX92" fmla="*/ 5144736 w 13347346"/>
              <a:gd name="connsiteY92" fmla="*/ 2239514 h 3384040"/>
              <a:gd name="connsiteX93" fmla="*/ 5137397 w 13347346"/>
              <a:gd name="connsiteY93" fmla="*/ 2215021 h 3384040"/>
              <a:gd name="connsiteX94" fmla="*/ 5019971 w 13347346"/>
              <a:gd name="connsiteY94" fmla="*/ 2264007 h 3384040"/>
              <a:gd name="connsiteX95" fmla="*/ 5005293 w 13347346"/>
              <a:gd name="connsiteY95" fmla="*/ 2239514 h 3384040"/>
              <a:gd name="connsiteX96" fmla="*/ 5159415 w 13347346"/>
              <a:gd name="connsiteY96" fmla="*/ 2084393 h 3384040"/>
              <a:gd name="connsiteX97" fmla="*/ 5159415 w 13347346"/>
              <a:gd name="connsiteY97" fmla="*/ 2068064 h 3384040"/>
              <a:gd name="connsiteX98" fmla="*/ 4829153 w 13347346"/>
              <a:gd name="connsiteY98" fmla="*/ 2231350 h 3384040"/>
              <a:gd name="connsiteX99" fmla="*/ 4814475 w 13347346"/>
              <a:gd name="connsiteY99" fmla="*/ 2198693 h 3384040"/>
              <a:gd name="connsiteX100" fmla="*/ 5064006 w 13347346"/>
              <a:gd name="connsiteY100" fmla="*/ 1978257 h 3384040"/>
              <a:gd name="connsiteX101" fmla="*/ 4447518 w 13347346"/>
              <a:gd name="connsiteY101" fmla="*/ 2394636 h 3384040"/>
              <a:gd name="connsiteX102" fmla="*/ 4425501 w 13347346"/>
              <a:gd name="connsiteY102" fmla="*/ 2370143 h 3384040"/>
              <a:gd name="connsiteX103" fmla="*/ 5012632 w 13347346"/>
              <a:gd name="connsiteY103" fmla="*/ 1814971 h 3384040"/>
              <a:gd name="connsiteX104" fmla="*/ 4997954 w 13347346"/>
              <a:gd name="connsiteY104" fmla="*/ 1782314 h 3384040"/>
              <a:gd name="connsiteX105" fmla="*/ 4623657 w 13347346"/>
              <a:gd name="connsiteY105" fmla="*/ 2068064 h 3384040"/>
              <a:gd name="connsiteX106" fmla="*/ 4630997 w 13347346"/>
              <a:gd name="connsiteY106" fmla="*/ 1970093 h 3384040"/>
              <a:gd name="connsiteX107" fmla="*/ 4542927 w 13347346"/>
              <a:gd name="connsiteY107" fmla="*/ 2051736 h 3384040"/>
              <a:gd name="connsiteX108" fmla="*/ 4212666 w 13347346"/>
              <a:gd name="connsiteY108" fmla="*/ 2296664 h 3384040"/>
              <a:gd name="connsiteX109" fmla="*/ 3823691 w 13347346"/>
              <a:gd name="connsiteY109" fmla="*/ 2582414 h 3384040"/>
              <a:gd name="connsiteX110" fmla="*/ 3647552 w 13347346"/>
              <a:gd name="connsiteY110" fmla="*/ 2680386 h 3384040"/>
              <a:gd name="connsiteX111" fmla="*/ 4220005 w 13347346"/>
              <a:gd name="connsiteY111" fmla="*/ 2174200 h 3384040"/>
              <a:gd name="connsiteX112" fmla="*/ 4205327 w 13347346"/>
              <a:gd name="connsiteY112" fmla="*/ 2149707 h 3384040"/>
              <a:gd name="connsiteX113" fmla="*/ 4175970 w 13347346"/>
              <a:gd name="connsiteY113" fmla="*/ 2157871 h 3384040"/>
              <a:gd name="connsiteX114" fmla="*/ 3376004 w 13347346"/>
              <a:gd name="connsiteY114" fmla="*/ 2655893 h 3384040"/>
              <a:gd name="connsiteX115" fmla="*/ 2634751 w 13347346"/>
              <a:gd name="connsiteY115" fmla="*/ 3015121 h 3384040"/>
              <a:gd name="connsiteX116" fmla="*/ 2473290 w 13347346"/>
              <a:gd name="connsiteY116" fmla="*/ 3006957 h 3384040"/>
              <a:gd name="connsiteX117" fmla="*/ 3456735 w 13347346"/>
              <a:gd name="connsiteY117" fmla="*/ 2443621 h 3384040"/>
              <a:gd name="connsiteX118" fmla="*/ 3434717 w 13347346"/>
              <a:gd name="connsiteY118" fmla="*/ 2410964 h 3384040"/>
              <a:gd name="connsiteX119" fmla="*/ 2898960 w 13347346"/>
              <a:gd name="connsiteY119" fmla="*/ 2721207 h 3384040"/>
              <a:gd name="connsiteX120" fmla="*/ 2884282 w 13347346"/>
              <a:gd name="connsiteY120" fmla="*/ 2696714 h 3384040"/>
              <a:gd name="connsiteX121" fmla="*/ 3185186 w 13347346"/>
              <a:gd name="connsiteY121" fmla="*/ 2451786 h 3384040"/>
              <a:gd name="connsiteX122" fmla="*/ 3420039 w 13347346"/>
              <a:gd name="connsiteY122" fmla="*/ 2223186 h 3384040"/>
              <a:gd name="connsiteX123" fmla="*/ 3603517 w 13347346"/>
              <a:gd name="connsiteY123" fmla="*/ 2068064 h 3384040"/>
              <a:gd name="connsiteX124" fmla="*/ 3882405 w 13347346"/>
              <a:gd name="connsiteY124" fmla="*/ 1855793 h 3384040"/>
              <a:gd name="connsiteX125" fmla="*/ 3911761 w 13347346"/>
              <a:gd name="connsiteY125" fmla="*/ 1839464 h 3384040"/>
              <a:gd name="connsiteX126" fmla="*/ 3963135 w 13347346"/>
              <a:gd name="connsiteY126" fmla="*/ 1651686 h 3384040"/>
              <a:gd name="connsiteX127" fmla="*/ 4220005 w 13347346"/>
              <a:gd name="connsiteY127" fmla="*/ 1431250 h 3384040"/>
              <a:gd name="connsiteX128" fmla="*/ 4330092 w 13347346"/>
              <a:gd name="connsiteY128" fmla="*/ 1333279 h 3384040"/>
              <a:gd name="connsiteX129" fmla="*/ 4315414 w 13347346"/>
              <a:gd name="connsiteY129" fmla="*/ 1308786 h 3384040"/>
              <a:gd name="connsiteX130" fmla="*/ 4161292 w 13347346"/>
              <a:gd name="connsiteY130" fmla="*/ 1414921 h 3384040"/>
              <a:gd name="connsiteX131" fmla="*/ 4021848 w 13347346"/>
              <a:gd name="connsiteY131" fmla="*/ 1496564 h 3384040"/>
              <a:gd name="connsiteX132" fmla="*/ 3911761 w 13347346"/>
              <a:gd name="connsiteY132" fmla="*/ 1610864 h 3384040"/>
              <a:gd name="connsiteX133" fmla="*/ 3831031 w 13347346"/>
              <a:gd name="connsiteY133" fmla="*/ 1619028 h 3384040"/>
              <a:gd name="connsiteX134" fmla="*/ 3581500 w 13347346"/>
              <a:gd name="connsiteY134" fmla="*/ 1741493 h 3384040"/>
              <a:gd name="connsiteX135" fmla="*/ 3471413 w 13347346"/>
              <a:gd name="connsiteY135" fmla="*/ 1708836 h 3384040"/>
              <a:gd name="connsiteX136" fmla="*/ 3706265 w 13347346"/>
              <a:gd name="connsiteY136" fmla="*/ 1463907 h 3384040"/>
              <a:gd name="connsiteX137" fmla="*/ 3603517 w 13347346"/>
              <a:gd name="connsiteY137" fmla="*/ 1414921 h 3384040"/>
              <a:gd name="connsiteX138" fmla="*/ 3574161 w 13347346"/>
              <a:gd name="connsiteY138" fmla="*/ 1341443 h 3384040"/>
              <a:gd name="connsiteX139" fmla="*/ 3434717 w 13347346"/>
              <a:gd name="connsiteY139" fmla="*/ 1374100 h 3384040"/>
              <a:gd name="connsiteX140" fmla="*/ 3427378 w 13347346"/>
              <a:gd name="connsiteY140" fmla="*/ 1333279 h 3384040"/>
              <a:gd name="connsiteX141" fmla="*/ 3177847 w 13347346"/>
              <a:gd name="connsiteY141" fmla="*/ 1414921 h 3384040"/>
              <a:gd name="connsiteX142" fmla="*/ 2972351 w 13347346"/>
              <a:gd name="connsiteY142" fmla="*/ 1545550 h 3384040"/>
              <a:gd name="connsiteX143" fmla="*/ 2803551 w 13347346"/>
              <a:gd name="connsiteY143" fmla="*/ 1708836 h 3384040"/>
              <a:gd name="connsiteX144" fmla="*/ 2678786 w 13347346"/>
              <a:gd name="connsiteY144" fmla="*/ 1757821 h 3384040"/>
              <a:gd name="connsiteX145" fmla="*/ 3302613 w 13347346"/>
              <a:gd name="connsiteY145" fmla="*/ 1129171 h 3384040"/>
              <a:gd name="connsiteX146" fmla="*/ 3280595 w 13347346"/>
              <a:gd name="connsiteY146" fmla="*/ 1096514 h 3384040"/>
              <a:gd name="connsiteX147" fmla="*/ 2774194 w 13347346"/>
              <a:gd name="connsiteY147" fmla="*/ 1537386 h 3384040"/>
              <a:gd name="connsiteX148" fmla="*/ 2759516 w 13347346"/>
              <a:gd name="connsiteY148" fmla="*/ 1521057 h 3384040"/>
              <a:gd name="connsiteX149" fmla="*/ 2810890 w 13347346"/>
              <a:gd name="connsiteY149" fmla="*/ 1439414 h 3384040"/>
              <a:gd name="connsiteX150" fmla="*/ 2803551 w 13347346"/>
              <a:gd name="connsiteY150" fmla="*/ 1423086 h 3384040"/>
              <a:gd name="connsiteX151" fmla="*/ 2546681 w 13347346"/>
              <a:gd name="connsiteY151" fmla="*/ 1594536 h 3384040"/>
              <a:gd name="connsiteX152" fmla="*/ 2524664 w 13347346"/>
              <a:gd name="connsiteY152" fmla="*/ 1570043 h 3384040"/>
              <a:gd name="connsiteX153" fmla="*/ 2744838 w 13347346"/>
              <a:gd name="connsiteY153" fmla="*/ 1382264 h 3384040"/>
              <a:gd name="connsiteX154" fmla="*/ 2942995 w 13347346"/>
              <a:gd name="connsiteY154" fmla="*/ 1169993 h 3384040"/>
              <a:gd name="connsiteX155" fmla="*/ 3155830 w 13347346"/>
              <a:gd name="connsiteY155" fmla="*/ 908736 h 3384040"/>
              <a:gd name="connsiteX156" fmla="*/ 3031065 w 13347346"/>
              <a:gd name="connsiteY156" fmla="*/ 974050 h 3384040"/>
              <a:gd name="connsiteX157" fmla="*/ 2957673 w 13347346"/>
              <a:gd name="connsiteY157" fmla="*/ 900571 h 3384040"/>
              <a:gd name="connsiteX158" fmla="*/ 3067760 w 13347346"/>
              <a:gd name="connsiteY158" fmla="*/ 753614 h 3384040"/>
              <a:gd name="connsiteX159" fmla="*/ 3053082 w 13347346"/>
              <a:gd name="connsiteY159" fmla="*/ 737286 h 3384040"/>
              <a:gd name="connsiteX160" fmla="*/ 2854925 w 13347346"/>
              <a:gd name="connsiteY160" fmla="*/ 900571 h 3384040"/>
              <a:gd name="connsiteX161" fmla="*/ 2906299 w 13347346"/>
              <a:gd name="connsiteY161" fmla="*/ 1096514 h 3384040"/>
              <a:gd name="connsiteX162" fmla="*/ 2825569 w 13347346"/>
              <a:gd name="connsiteY162" fmla="*/ 1227143 h 3384040"/>
              <a:gd name="connsiteX163" fmla="*/ 2774194 w 13347346"/>
              <a:gd name="connsiteY163" fmla="*/ 1186321 h 3384040"/>
              <a:gd name="connsiteX164" fmla="*/ 2876942 w 13347346"/>
              <a:gd name="connsiteY164" fmla="*/ 957721 h 3384040"/>
              <a:gd name="connsiteX165" fmla="*/ 2869603 w 13347346"/>
              <a:gd name="connsiteY165" fmla="*/ 933229 h 3384040"/>
              <a:gd name="connsiteX166" fmla="*/ 2465951 w 13347346"/>
              <a:gd name="connsiteY166" fmla="*/ 1161829 h 3384040"/>
              <a:gd name="connsiteX167" fmla="*/ 2451273 w 13347346"/>
              <a:gd name="connsiteY167" fmla="*/ 1153664 h 3384040"/>
              <a:gd name="connsiteX168" fmla="*/ 2781534 w 13347346"/>
              <a:gd name="connsiteY168" fmla="*/ 818929 h 3384040"/>
              <a:gd name="connsiteX169" fmla="*/ 3009047 w 13347346"/>
              <a:gd name="connsiteY169" fmla="*/ 443371 h 3384040"/>
              <a:gd name="connsiteX170" fmla="*/ 2854925 w 13347346"/>
              <a:gd name="connsiteY170" fmla="*/ 565836 h 3384040"/>
              <a:gd name="connsiteX171" fmla="*/ 2634751 w 13347346"/>
              <a:gd name="connsiteY171" fmla="*/ 778107 h 3384040"/>
              <a:gd name="connsiteX172" fmla="*/ 2546681 w 13347346"/>
              <a:gd name="connsiteY172" fmla="*/ 753614 h 3384040"/>
              <a:gd name="connsiteX173" fmla="*/ 2348525 w 13347346"/>
              <a:gd name="connsiteY173" fmla="*/ 720957 h 3384040"/>
              <a:gd name="connsiteX174" fmla="*/ 2385220 w 13347346"/>
              <a:gd name="connsiteY174" fmla="*/ 778107 h 3384040"/>
              <a:gd name="connsiteX175" fmla="*/ 2201742 w 13347346"/>
              <a:gd name="connsiteY175" fmla="*/ 900571 h 3384040"/>
              <a:gd name="connsiteX176" fmla="*/ 1658646 w 13347346"/>
              <a:gd name="connsiteY176" fmla="*/ 1357771 h 3384040"/>
              <a:gd name="connsiteX177" fmla="*/ 1643967 w 13347346"/>
              <a:gd name="connsiteY177" fmla="*/ 1341443 h 3384040"/>
              <a:gd name="connsiteX178" fmla="*/ 2157707 w 13347346"/>
              <a:gd name="connsiteY178" fmla="*/ 614821 h 3384040"/>
              <a:gd name="connsiteX179" fmla="*/ 1137567 w 13347346"/>
              <a:gd name="connsiteY179" fmla="*/ 1374100 h 3384040"/>
              <a:gd name="connsiteX180" fmla="*/ 1108210 w 13347346"/>
              <a:gd name="connsiteY180" fmla="*/ 1112843 h 3384040"/>
              <a:gd name="connsiteX181" fmla="*/ 799966 w 13347346"/>
              <a:gd name="connsiteY181" fmla="*/ 1284293 h 3384040"/>
              <a:gd name="connsiteX182" fmla="*/ 1093532 w 13347346"/>
              <a:gd name="connsiteY182" fmla="*/ 990379 h 3384040"/>
              <a:gd name="connsiteX183" fmla="*/ 1100871 w 13347346"/>
              <a:gd name="connsiteY183" fmla="*/ 843421 h 3384040"/>
              <a:gd name="connsiteX184" fmla="*/ 1064175 w 13347346"/>
              <a:gd name="connsiteY184" fmla="*/ 786271 h 3384040"/>
              <a:gd name="connsiteX185" fmla="*/ 733914 w 13347346"/>
              <a:gd name="connsiteY185" fmla="*/ 982214 h 3384040"/>
              <a:gd name="connsiteX186" fmla="*/ 1122888 w 13347346"/>
              <a:gd name="connsiteY186" fmla="*/ 704629 h 3384040"/>
              <a:gd name="connsiteX187" fmla="*/ 1034819 w 13347346"/>
              <a:gd name="connsiteY187" fmla="*/ 720957 h 3384040"/>
              <a:gd name="connsiteX188" fmla="*/ 1012801 w 13347346"/>
              <a:gd name="connsiteY188" fmla="*/ 688300 h 3384040"/>
              <a:gd name="connsiteX189" fmla="*/ 1100871 w 13347346"/>
              <a:gd name="connsiteY189" fmla="*/ 655643 h 3384040"/>
              <a:gd name="connsiteX190" fmla="*/ 1071515 w 13347346"/>
              <a:gd name="connsiteY190" fmla="*/ 614821 h 3384040"/>
              <a:gd name="connsiteX191" fmla="*/ 924732 w 13347346"/>
              <a:gd name="connsiteY191" fmla="*/ 745450 h 3384040"/>
              <a:gd name="connsiteX192" fmla="*/ 866019 w 13347346"/>
              <a:gd name="connsiteY192" fmla="*/ 622986 h 3384040"/>
              <a:gd name="connsiteX193" fmla="*/ 792627 w 13347346"/>
              <a:gd name="connsiteY193" fmla="*/ 631150 h 3384040"/>
              <a:gd name="connsiteX194" fmla="*/ 557775 w 13347346"/>
              <a:gd name="connsiteY194" fmla="*/ 900571 h 3384040"/>
              <a:gd name="connsiteX195" fmla="*/ 513740 w 13347346"/>
              <a:gd name="connsiteY195" fmla="*/ 786271 h 3384040"/>
              <a:gd name="connsiteX196" fmla="*/ 579792 w 13347346"/>
              <a:gd name="connsiteY196" fmla="*/ 745450 h 3384040"/>
              <a:gd name="connsiteX197" fmla="*/ 675201 w 13347346"/>
              <a:gd name="connsiteY197" fmla="*/ 663807 h 3384040"/>
              <a:gd name="connsiteX198" fmla="*/ 733914 w 13347346"/>
              <a:gd name="connsiteY198" fmla="*/ 639314 h 3384040"/>
              <a:gd name="connsiteX199" fmla="*/ 785288 w 13347346"/>
              <a:gd name="connsiteY199" fmla="*/ 549507 h 3384040"/>
              <a:gd name="connsiteX200" fmla="*/ 755931 w 13347346"/>
              <a:gd name="connsiteY200" fmla="*/ 525014 h 3384040"/>
              <a:gd name="connsiteX201" fmla="*/ 535757 w 13347346"/>
              <a:gd name="connsiteY201" fmla="*/ 696464 h 3384040"/>
              <a:gd name="connsiteX202" fmla="*/ 521079 w 13347346"/>
              <a:gd name="connsiteY202" fmla="*/ 680136 h 3384040"/>
              <a:gd name="connsiteX203" fmla="*/ 976106 w 13347346"/>
              <a:gd name="connsiteY203" fmla="*/ 133129 h 3384040"/>
              <a:gd name="connsiteX204" fmla="*/ 763271 w 13347346"/>
              <a:gd name="connsiteY204" fmla="*/ 100471 h 3384040"/>
              <a:gd name="connsiteX205" fmla="*/ 102748 w 13347346"/>
              <a:gd name="connsiteY205" fmla="*/ 590329 h 3384040"/>
              <a:gd name="connsiteX206" fmla="*/ 80731 w 13347346"/>
              <a:gd name="connsiteY206" fmla="*/ 557671 h 3384040"/>
              <a:gd name="connsiteX207" fmla="*/ 403653 w 13347346"/>
              <a:gd name="connsiteY207" fmla="*/ 255593 h 3384040"/>
              <a:gd name="connsiteX208" fmla="*/ 0 w 13347346"/>
              <a:gd name="connsiteY208" fmla="*/ 394386 h 3384040"/>
              <a:gd name="connsiteX209" fmla="*/ 410992 w 13347346"/>
              <a:gd name="connsiteY209" fmla="*/ 26993 h 3384040"/>
              <a:gd name="connsiteX210" fmla="*/ 538509 w 13347346"/>
              <a:gd name="connsiteY210" fmla="*/ 459 h 3384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3347346" h="3384040">
                <a:moveTo>
                  <a:pt x="538509" y="459"/>
                </a:moveTo>
                <a:cubicBezTo>
                  <a:pt x="587131" y="2500"/>
                  <a:pt x="638505" y="10664"/>
                  <a:pt x="682540" y="10664"/>
                </a:cubicBezTo>
                <a:cubicBezTo>
                  <a:pt x="807306" y="2500"/>
                  <a:pt x="924732" y="18828"/>
                  <a:pt x="1049497" y="18828"/>
                </a:cubicBezTo>
                <a:cubicBezTo>
                  <a:pt x="4829153" y="10664"/>
                  <a:pt x="8601470" y="10664"/>
                  <a:pt x="12381127" y="10664"/>
                </a:cubicBezTo>
                <a:cubicBezTo>
                  <a:pt x="12549927" y="10664"/>
                  <a:pt x="12726066" y="35157"/>
                  <a:pt x="12894866" y="35157"/>
                </a:cubicBezTo>
                <a:cubicBezTo>
                  <a:pt x="13034310" y="35157"/>
                  <a:pt x="13173754" y="10664"/>
                  <a:pt x="13342554" y="2500"/>
                </a:cubicBezTo>
                <a:cubicBezTo>
                  <a:pt x="13342554" y="100471"/>
                  <a:pt x="13357232" y="190278"/>
                  <a:pt x="13335215" y="263757"/>
                </a:cubicBezTo>
                <a:cubicBezTo>
                  <a:pt x="13305858" y="353564"/>
                  <a:pt x="13247145" y="427043"/>
                  <a:pt x="13188432" y="500521"/>
                </a:cubicBezTo>
                <a:cubicBezTo>
                  <a:pt x="13166414" y="525014"/>
                  <a:pt x="13115040" y="508686"/>
                  <a:pt x="13078345" y="516850"/>
                </a:cubicBezTo>
                <a:cubicBezTo>
                  <a:pt x="13071006" y="525014"/>
                  <a:pt x="13063666" y="557671"/>
                  <a:pt x="13048988" y="590329"/>
                </a:cubicBezTo>
                <a:cubicBezTo>
                  <a:pt x="13093023" y="582164"/>
                  <a:pt x="13115040" y="574000"/>
                  <a:pt x="13173754" y="565836"/>
                </a:cubicBezTo>
                <a:cubicBezTo>
                  <a:pt x="13071006" y="704629"/>
                  <a:pt x="12982936" y="810764"/>
                  <a:pt x="12938901" y="957721"/>
                </a:cubicBezTo>
                <a:cubicBezTo>
                  <a:pt x="12924223" y="949557"/>
                  <a:pt x="12916884" y="941393"/>
                  <a:pt x="12902205" y="941393"/>
                </a:cubicBezTo>
                <a:cubicBezTo>
                  <a:pt x="12916884" y="876079"/>
                  <a:pt x="12931562" y="818929"/>
                  <a:pt x="12946240" y="753614"/>
                </a:cubicBezTo>
                <a:cubicBezTo>
                  <a:pt x="12938901" y="753614"/>
                  <a:pt x="12931562" y="745450"/>
                  <a:pt x="12924223" y="745450"/>
                </a:cubicBezTo>
                <a:cubicBezTo>
                  <a:pt x="12872849" y="827093"/>
                  <a:pt x="12821475" y="900571"/>
                  <a:pt x="12770101" y="990379"/>
                </a:cubicBezTo>
                <a:cubicBezTo>
                  <a:pt x="12799457" y="998543"/>
                  <a:pt x="12828814" y="998543"/>
                  <a:pt x="12872849" y="1006707"/>
                </a:cubicBezTo>
                <a:cubicBezTo>
                  <a:pt x="12821475" y="1080186"/>
                  <a:pt x="12770101" y="1145500"/>
                  <a:pt x="12726066" y="1210814"/>
                </a:cubicBezTo>
                <a:cubicBezTo>
                  <a:pt x="12718727" y="1202650"/>
                  <a:pt x="12711388" y="1202650"/>
                  <a:pt x="12704049" y="1194486"/>
                </a:cubicBezTo>
                <a:cubicBezTo>
                  <a:pt x="12726066" y="1153664"/>
                  <a:pt x="12740744" y="1112843"/>
                  <a:pt x="12755423" y="1072021"/>
                </a:cubicBezTo>
                <a:cubicBezTo>
                  <a:pt x="12755423" y="1072021"/>
                  <a:pt x="12748084" y="1072021"/>
                  <a:pt x="12748084" y="1072021"/>
                </a:cubicBezTo>
                <a:cubicBezTo>
                  <a:pt x="12432501" y="1431250"/>
                  <a:pt x="12124257" y="1790479"/>
                  <a:pt x="11808674" y="2149707"/>
                </a:cubicBezTo>
                <a:cubicBezTo>
                  <a:pt x="11801335" y="2141543"/>
                  <a:pt x="11786656" y="2125214"/>
                  <a:pt x="11779317" y="2117050"/>
                </a:cubicBezTo>
                <a:cubicBezTo>
                  <a:pt x="11838030" y="2043571"/>
                  <a:pt x="11889404" y="1961928"/>
                  <a:pt x="11948117" y="1888450"/>
                </a:cubicBezTo>
                <a:cubicBezTo>
                  <a:pt x="11933439" y="1872121"/>
                  <a:pt x="11926100" y="1863957"/>
                  <a:pt x="11911422" y="1847628"/>
                </a:cubicBezTo>
                <a:cubicBezTo>
                  <a:pt x="11882065" y="1896614"/>
                  <a:pt x="11852709" y="1945600"/>
                  <a:pt x="11816013" y="1986421"/>
                </a:cubicBezTo>
                <a:cubicBezTo>
                  <a:pt x="11639874" y="2166036"/>
                  <a:pt x="11485752" y="2378307"/>
                  <a:pt x="11287595" y="2508936"/>
                </a:cubicBezTo>
                <a:cubicBezTo>
                  <a:pt x="11104116" y="2631400"/>
                  <a:pt x="10964673" y="2802850"/>
                  <a:pt x="10788534" y="2933479"/>
                </a:cubicBezTo>
                <a:cubicBezTo>
                  <a:pt x="10766516" y="2949807"/>
                  <a:pt x="10744499" y="2974300"/>
                  <a:pt x="10729820" y="2974300"/>
                </a:cubicBezTo>
                <a:cubicBezTo>
                  <a:pt x="10568359" y="2941643"/>
                  <a:pt x="10472951" y="3080436"/>
                  <a:pt x="10355524" y="3162079"/>
                </a:cubicBezTo>
                <a:cubicBezTo>
                  <a:pt x="10223420" y="3243721"/>
                  <a:pt x="10083976" y="3325364"/>
                  <a:pt x="9929854" y="3333529"/>
                </a:cubicBezTo>
                <a:cubicBezTo>
                  <a:pt x="9885820" y="3333529"/>
                  <a:pt x="9841785" y="3317200"/>
                  <a:pt x="9783072" y="3300871"/>
                </a:cubicBezTo>
                <a:cubicBezTo>
                  <a:pt x="9812428" y="3276379"/>
                  <a:pt x="9834446" y="3260050"/>
                  <a:pt x="9849124" y="3243721"/>
                </a:cubicBezTo>
                <a:cubicBezTo>
                  <a:pt x="9650967" y="3317200"/>
                  <a:pt x="9496845" y="3170243"/>
                  <a:pt x="9328045" y="3096764"/>
                </a:cubicBezTo>
                <a:cubicBezTo>
                  <a:pt x="9379419" y="3055943"/>
                  <a:pt x="9423454" y="3023286"/>
                  <a:pt x="9467489" y="2990629"/>
                </a:cubicBezTo>
                <a:cubicBezTo>
                  <a:pt x="9467489" y="2982464"/>
                  <a:pt x="9460149" y="2974300"/>
                  <a:pt x="9460149" y="2966136"/>
                </a:cubicBezTo>
                <a:cubicBezTo>
                  <a:pt x="9394097" y="2998793"/>
                  <a:pt x="9335384" y="3031450"/>
                  <a:pt x="9269332" y="3055943"/>
                </a:cubicBezTo>
                <a:cubicBezTo>
                  <a:pt x="9269332" y="3055943"/>
                  <a:pt x="9269332" y="3047779"/>
                  <a:pt x="9269332" y="3047779"/>
                </a:cubicBezTo>
                <a:cubicBezTo>
                  <a:pt x="9408776" y="2917150"/>
                  <a:pt x="9548219" y="2786521"/>
                  <a:pt x="9695002" y="2655893"/>
                </a:cubicBezTo>
                <a:cubicBezTo>
                  <a:pt x="9687663" y="2647729"/>
                  <a:pt x="9680324" y="2639564"/>
                  <a:pt x="9672984" y="2631400"/>
                </a:cubicBezTo>
                <a:cubicBezTo>
                  <a:pt x="9394097" y="2778357"/>
                  <a:pt x="9115210" y="2925314"/>
                  <a:pt x="8821644" y="3088600"/>
                </a:cubicBezTo>
                <a:cubicBezTo>
                  <a:pt x="8836323" y="3047779"/>
                  <a:pt x="8843662" y="3031450"/>
                  <a:pt x="8858340" y="2998793"/>
                </a:cubicBezTo>
                <a:cubicBezTo>
                  <a:pt x="8638166" y="3047779"/>
                  <a:pt x="8491383" y="3260050"/>
                  <a:pt x="8234514" y="3227393"/>
                </a:cubicBezTo>
                <a:cubicBezTo>
                  <a:pt x="8014339" y="3194736"/>
                  <a:pt x="7816183" y="3145750"/>
                  <a:pt x="7618026" y="3023286"/>
                </a:cubicBezTo>
                <a:cubicBezTo>
                  <a:pt x="7618026" y="3023286"/>
                  <a:pt x="7625365" y="3006957"/>
                  <a:pt x="7632704" y="2998793"/>
                </a:cubicBezTo>
                <a:cubicBezTo>
                  <a:pt x="7346478" y="2925314"/>
                  <a:pt x="7155660" y="3202900"/>
                  <a:pt x="6898790" y="3268214"/>
                </a:cubicBezTo>
                <a:cubicBezTo>
                  <a:pt x="7023556" y="3186571"/>
                  <a:pt x="7140982" y="3096764"/>
                  <a:pt x="7265747" y="3015121"/>
                </a:cubicBezTo>
                <a:cubicBezTo>
                  <a:pt x="7265747" y="2998793"/>
                  <a:pt x="7258408" y="2990629"/>
                  <a:pt x="7251069" y="2974300"/>
                </a:cubicBezTo>
                <a:cubicBezTo>
                  <a:pt x="7082269" y="3064107"/>
                  <a:pt x="6906130" y="3153914"/>
                  <a:pt x="6729990" y="3235557"/>
                </a:cubicBezTo>
                <a:cubicBezTo>
                  <a:pt x="6729990" y="3227393"/>
                  <a:pt x="6722652" y="3219229"/>
                  <a:pt x="6722652" y="3202900"/>
                </a:cubicBezTo>
                <a:cubicBezTo>
                  <a:pt x="6774025" y="3162079"/>
                  <a:pt x="6825400" y="3121257"/>
                  <a:pt x="6876773" y="3080436"/>
                </a:cubicBezTo>
                <a:cubicBezTo>
                  <a:pt x="6869434" y="3072271"/>
                  <a:pt x="6869434" y="3064107"/>
                  <a:pt x="6862095" y="3055943"/>
                </a:cubicBezTo>
                <a:cubicBezTo>
                  <a:pt x="6840077" y="3064107"/>
                  <a:pt x="6810721" y="3080436"/>
                  <a:pt x="6788704" y="3088600"/>
                </a:cubicBezTo>
                <a:cubicBezTo>
                  <a:pt x="6568529" y="3186571"/>
                  <a:pt x="6355694" y="3309036"/>
                  <a:pt x="6135521" y="3366186"/>
                </a:cubicBezTo>
                <a:cubicBezTo>
                  <a:pt x="5996076" y="3407007"/>
                  <a:pt x="5849294" y="3366186"/>
                  <a:pt x="5702511" y="3358021"/>
                </a:cubicBezTo>
                <a:cubicBezTo>
                  <a:pt x="5702511" y="3341693"/>
                  <a:pt x="5702511" y="3325364"/>
                  <a:pt x="5702511" y="3309036"/>
                </a:cubicBezTo>
                <a:cubicBezTo>
                  <a:pt x="5878650" y="3251886"/>
                  <a:pt x="6054789" y="3194736"/>
                  <a:pt x="6230929" y="3137586"/>
                </a:cubicBezTo>
                <a:cubicBezTo>
                  <a:pt x="6230929" y="3129421"/>
                  <a:pt x="6223590" y="3113093"/>
                  <a:pt x="6223590" y="3104929"/>
                </a:cubicBezTo>
                <a:cubicBezTo>
                  <a:pt x="6120842" y="3137586"/>
                  <a:pt x="6018094" y="3170243"/>
                  <a:pt x="5915346" y="3211064"/>
                </a:cubicBezTo>
                <a:cubicBezTo>
                  <a:pt x="5908007" y="3202900"/>
                  <a:pt x="5908007" y="3194736"/>
                  <a:pt x="5908007" y="3186571"/>
                </a:cubicBezTo>
                <a:cubicBezTo>
                  <a:pt x="5988737" y="3137586"/>
                  <a:pt x="6062129" y="3080436"/>
                  <a:pt x="6142860" y="3031450"/>
                </a:cubicBezTo>
                <a:cubicBezTo>
                  <a:pt x="6142860" y="3023286"/>
                  <a:pt x="6142860" y="3015121"/>
                  <a:pt x="6142860" y="3006957"/>
                </a:cubicBezTo>
                <a:cubicBezTo>
                  <a:pt x="6113503" y="3015121"/>
                  <a:pt x="6076807" y="3015121"/>
                  <a:pt x="6047450" y="3023286"/>
                </a:cubicBezTo>
                <a:cubicBezTo>
                  <a:pt x="5944702" y="3064107"/>
                  <a:pt x="5849294" y="3121257"/>
                  <a:pt x="5746546" y="3162079"/>
                </a:cubicBezTo>
                <a:cubicBezTo>
                  <a:pt x="5658477" y="3186571"/>
                  <a:pt x="5570406" y="3202900"/>
                  <a:pt x="5482337" y="3202900"/>
                </a:cubicBezTo>
                <a:cubicBezTo>
                  <a:pt x="5768563" y="3055943"/>
                  <a:pt x="6054789" y="2917150"/>
                  <a:pt x="6341016" y="2770193"/>
                </a:cubicBezTo>
                <a:cubicBezTo>
                  <a:pt x="6333677" y="2753864"/>
                  <a:pt x="6326338" y="2737536"/>
                  <a:pt x="6318999" y="2721207"/>
                </a:cubicBezTo>
                <a:cubicBezTo>
                  <a:pt x="6216251" y="2770193"/>
                  <a:pt x="6113503" y="2827343"/>
                  <a:pt x="6003416" y="2876329"/>
                </a:cubicBezTo>
                <a:cubicBezTo>
                  <a:pt x="5996076" y="2868164"/>
                  <a:pt x="5996076" y="2860000"/>
                  <a:pt x="5988737" y="2851836"/>
                </a:cubicBezTo>
                <a:cubicBezTo>
                  <a:pt x="6018094" y="2819179"/>
                  <a:pt x="6047450" y="2786521"/>
                  <a:pt x="6076807" y="2753864"/>
                </a:cubicBezTo>
                <a:cubicBezTo>
                  <a:pt x="6076807" y="2745700"/>
                  <a:pt x="6069468" y="2737536"/>
                  <a:pt x="6062129" y="2721207"/>
                </a:cubicBezTo>
                <a:cubicBezTo>
                  <a:pt x="5996076" y="2762029"/>
                  <a:pt x="5922685" y="2802850"/>
                  <a:pt x="5863972" y="2851836"/>
                </a:cubicBezTo>
                <a:cubicBezTo>
                  <a:pt x="5790580" y="2892657"/>
                  <a:pt x="5731868" y="2949807"/>
                  <a:pt x="5665815" y="3006957"/>
                </a:cubicBezTo>
                <a:cubicBezTo>
                  <a:pt x="5658477" y="2990629"/>
                  <a:pt x="5651137" y="2982464"/>
                  <a:pt x="5643798" y="2974300"/>
                </a:cubicBezTo>
                <a:cubicBezTo>
                  <a:pt x="5753885" y="2876329"/>
                  <a:pt x="5863972" y="2778357"/>
                  <a:pt x="5974059" y="2680386"/>
                </a:cubicBezTo>
                <a:cubicBezTo>
                  <a:pt x="5966720" y="2672221"/>
                  <a:pt x="5966720" y="2664057"/>
                  <a:pt x="5959381" y="2655893"/>
                </a:cubicBezTo>
                <a:cubicBezTo>
                  <a:pt x="5930025" y="2672221"/>
                  <a:pt x="5900668" y="2680386"/>
                  <a:pt x="5871311" y="2696714"/>
                </a:cubicBezTo>
                <a:cubicBezTo>
                  <a:pt x="5863972" y="2688550"/>
                  <a:pt x="5863972" y="2688550"/>
                  <a:pt x="5856633" y="2680386"/>
                </a:cubicBezTo>
                <a:cubicBezTo>
                  <a:pt x="5908007" y="2631400"/>
                  <a:pt x="5959381" y="2582414"/>
                  <a:pt x="6018094" y="2525264"/>
                </a:cubicBezTo>
                <a:cubicBezTo>
                  <a:pt x="5863972" y="2468114"/>
                  <a:pt x="5834616" y="2664057"/>
                  <a:pt x="5753885" y="2672221"/>
                </a:cubicBezTo>
                <a:cubicBezTo>
                  <a:pt x="5702511" y="2664057"/>
                  <a:pt x="5673154" y="2647729"/>
                  <a:pt x="5651137" y="2664057"/>
                </a:cubicBezTo>
                <a:cubicBezTo>
                  <a:pt x="5313536" y="2835507"/>
                  <a:pt x="4975936" y="3006957"/>
                  <a:pt x="4638336" y="3178407"/>
                </a:cubicBezTo>
                <a:cubicBezTo>
                  <a:pt x="4601640" y="3202900"/>
                  <a:pt x="4557605" y="3211064"/>
                  <a:pt x="4513570" y="3219229"/>
                </a:cubicBezTo>
                <a:cubicBezTo>
                  <a:pt x="4719066" y="3088600"/>
                  <a:pt x="4917223" y="2957971"/>
                  <a:pt x="5115380" y="2827343"/>
                </a:cubicBezTo>
                <a:cubicBezTo>
                  <a:pt x="5115380" y="2819179"/>
                  <a:pt x="5115380" y="2811014"/>
                  <a:pt x="5108041" y="2802850"/>
                </a:cubicBezTo>
                <a:cubicBezTo>
                  <a:pt x="5086023" y="2802850"/>
                  <a:pt x="5064006" y="2802850"/>
                  <a:pt x="5019971" y="2802850"/>
                </a:cubicBezTo>
                <a:cubicBezTo>
                  <a:pt x="5078684" y="2753864"/>
                  <a:pt x="5122719" y="2704879"/>
                  <a:pt x="5181432" y="2647729"/>
                </a:cubicBezTo>
                <a:cubicBezTo>
                  <a:pt x="5064006" y="2672221"/>
                  <a:pt x="4968597" y="2696714"/>
                  <a:pt x="4858510" y="2721207"/>
                </a:cubicBezTo>
                <a:cubicBezTo>
                  <a:pt x="4983275" y="2615071"/>
                  <a:pt x="5100701" y="2517100"/>
                  <a:pt x="5218128" y="2410964"/>
                </a:cubicBezTo>
                <a:cubicBezTo>
                  <a:pt x="5203449" y="2394636"/>
                  <a:pt x="5196110" y="2378307"/>
                  <a:pt x="5188771" y="2361979"/>
                </a:cubicBezTo>
                <a:cubicBezTo>
                  <a:pt x="5056667" y="2427293"/>
                  <a:pt x="4924562" y="2492607"/>
                  <a:pt x="4792458" y="2557921"/>
                </a:cubicBezTo>
                <a:cubicBezTo>
                  <a:pt x="4785119" y="2557921"/>
                  <a:pt x="4785119" y="2557921"/>
                  <a:pt x="4785119" y="2549757"/>
                </a:cubicBezTo>
                <a:cubicBezTo>
                  <a:pt x="4902545" y="2443621"/>
                  <a:pt x="5027310" y="2337486"/>
                  <a:pt x="5144736" y="2239514"/>
                </a:cubicBezTo>
                <a:cubicBezTo>
                  <a:pt x="5144736" y="2231350"/>
                  <a:pt x="5137397" y="2223186"/>
                  <a:pt x="5137397" y="2215021"/>
                </a:cubicBezTo>
                <a:cubicBezTo>
                  <a:pt x="5093362" y="2231350"/>
                  <a:pt x="5056667" y="2247679"/>
                  <a:pt x="5019971" y="2264007"/>
                </a:cubicBezTo>
                <a:cubicBezTo>
                  <a:pt x="5012632" y="2255843"/>
                  <a:pt x="5012632" y="2247679"/>
                  <a:pt x="5005293" y="2239514"/>
                </a:cubicBezTo>
                <a:cubicBezTo>
                  <a:pt x="5056667" y="2190529"/>
                  <a:pt x="5108041" y="2133379"/>
                  <a:pt x="5159415" y="2084393"/>
                </a:cubicBezTo>
                <a:cubicBezTo>
                  <a:pt x="5159415" y="2076229"/>
                  <a:pt x="5159415" y="2076229"/>
                  <a:pt x="5159415" y="2068064"/>
                </a:cubicBezTo>
                <a:cubicBezTo>
                  <a:pt x="5049328" y="2125214"/>
                  <a:pt x="4939240" y="2174200"/>
                  <a:pt x="4829153" y="2231350"/>
                </a:cubicBezTo>
                <a:cubicBezTo>
                  <a:pt x="4821814" y="2223186"/>
                  <a:pt x="4821814" y="2215021"/>
                  <a:pt x="4814475" y="2198693"/>
                </a:cubicBezTo>
                <a:cubicBezTo>
                  <a:pt x="4895206" y="2125214"/>
                  <a:pt x="4983275" y="2051736"/>
                  <a:pt x="5064006" y="1978257"/>
                </a:cubicBezTo>
                <a:cubicBezTo>
                  <a:pt x="4821814" y="2051736"/>
                  <a:pt x="4645675" y="2247679"/>
                  <a:pt x="4447518" y="2394636"/>
                </a:cubicBezTo>
                <a:cubicBezTo>
                  <a:pt x="4440179" y="2386471"/>
                  <a:pt x="4432840" y="2378307"/>
                  <a:pt x="4425501" y="2370143"/>
                </a:cubicBezTo>
                <a:cubicBezTo>
                  <a:pt x="4623657" y="2182364"/>
                  <a:pt x="4821814" y="1994586"/>
                  <a:pt x="5012632" y="1814971"/>
                </a:cubicBezTo>
                <a:cubicBezTo>
                  <a:pt x="5005293" y="1798643"/>
                  <a:pt x="4997954" y="1790479"/>
                  <a:pt x="4997954" y="1782314"/>
                </a:cubicBezTo>
                <a:cubicBezTo>
                  <a:pt x="4873188" y="1872121"/>
                  <a:pt x="4755762" y="1970093"/>
                  <a:pt x="4623657" y="2068064"/>
                </a:cubicBezTo>
                <a:cubicBezTo>
                  <a:pt x="4630997" y="2027243"/>
                  <a:pt x="4630997" y="2010914"/>
                  <a:pt x="4630997" y="1970093"/>
                </a:cubicBezTo>
                <a:cubicBezTo>
                  <a:pt x="4608979" y="2019078"/>
                  <a:pt x="4520910" y="1921107"/>
                  <a:pt x="4542927" y="2051736"/>
                </a:cubicBezTo>
                <a:cubicBezTo>
                  <a:pt x="4388805" y="2051736"/>
                  <a:pt x="4374127" y="2264007"/>
                  <a:pt x="4212666" y="2296664"/>
                </a:cubicBezTo>
                <a:cubicBezTo>
                  <a:pt x="4073222" y="2329321"/>
                  <a:pt x="3955796" y="2484443"/>
                  <a:pt x="3823691" y="2582414"/>
                </a:cubicBezTo>
                <a:cubicBezTo>
                  <a:pt x="3772318" y="2623236"/>
                  <a:pt x="3713604" y="2664057"/>
                  <a:pt x="3647552" y="2680386"/>
                </a:cubicBezTo>
                <a:cubicBezTo>
                  <a:pt x="3838370" y="2508936"/>
                  <a:pt x="4029187" y="2345650"/>
                  <a:pt x="4220005" y="2174200"/>
                </a:cubicBezTo>
                <a:cubicBezTo>
                  <a:pt x="4212666" y="2166036"/>
                  <a:pt x="4205327" y="2157871"/>
                  <a:pt x="4205327" y="2149707"/>
                </a:cubicBezTo>
                <a:cubicBezTo>
                  <a:pt x="4197987" y="2149707"/>
                  <a:pt x="4183309" y="2157871"/>
                  <a:pt x="4175970" y="2157871"/>
                </a:cubicBezTo>
                <a:cubicBezTo>
                  <a:pt x="3911761" y="2329321"/>
                  <a:pt x="3654891" y="2517100"/>
                  <a:pt x="3376004" y="2655893"/>
                </a:cubicBezTo>
                <a:cubicBezTo>
                  <a:pt x="3133812" y="2778357"/>
                  <a:pt x="2913638" y="2974300"/>
                  <a:pt x="2634751" y="3015121"/>
                </a:cubicBezTo>
                <a:cubicBezTo>
                  <a:pt x="2583377" y="3023286"/>
                  <a:pt x="2532003" y="3015121"/>
                  <a:pt x="2473290" y="3006957"/>
                </a:cubicBezTo>
                <a:cubicBezTo>
                  <a:pt x="2869603" y="2957971"/>
                  <a:pt x="3126473" y="2623236"/>
                  <a:pt x="3456735" y="2443621"/>
                </a:cubicBezTo>
                <a:cubicBezTo>
                  <a:pt x="3449395" y="2435457"/>
                  <a:pt x="3442056" y="2419129"/>
                  <a:pt x="3434717" y="2410964"/>
                </a:cubicBezTo>
                <a:cubicBezTo>
                  <a:pt x="3258578" y="2517100"/>
                  <a:pt x="3075099" y="2615071"/>
                  <a:pt x="2898960" y="2721207"/>
                </a:cubicBezTo>
                <a:cubicBezTo>
                  <a:pt x="2891621" y="2713043"/>
                  <a:pt x="2891621" y="2704879"/>
                  <a:pt x="2884282" y="2696714"/>
                </a:cubicBezTo>
                <a:cubicBezTo>
                  <a:pt x="2987030" y="2615071"/>
                  <a:pt x="3089778" y="2541593"/>
                  <a:pt x="3185186" y="2451786"/>
                </a:cubicBezTo>
                <a:cubicBezTo>
                  <a:pt x="3265917" y="2378307"/>
                  <a:pt x="3339308" y="2296664"/>
                  <a:pt x="3420039" y="2223186"/>
                </a:cubicBezTo>
                <a:cubicBezTo>
                  <a:pt x="3478752" y="2166036"/>
                  <a:pt x="3544804" y="2117050"/>
                  <a:pt x="3603517" y="2068064"/>
                </a:cubicBezTo>
                <a:cubicBezTo>
                  <a:pt x="3698926" y="1994586"/>
                  <a:pt x="3786996" y="1929271"/>
                  <a:pt x="3882405" y="1855793"/>
                </a:cubicBezTo>
                <a:cubicBezTo>
                  <a:pt x="3889744" y="1855793"/>
                  <a:pt x="3897083" y="1839464"/>
                  <a:pt x="3911761" y="1839464"/>
                </a:cubicBezTo>
                <a:cubicBezTo>
                  <a:pt x="4021848" y="1798643"/>
                  <a:pt x="4029187" y="1782314"/>
                  <a:pt x="3963135" y="1651686"/>
                </a:cubicBezTo>
                <a:cubicBezTo>
                  <a:pt x="4109918" y="1659850"/>
                  <a:pt x="4117257" y="1480236"/>
                  <a:pt x="4220005" y="1431250"/>
                </a:cubicBezTo>
                <a:cubicBezTo>
                  <a:pt x="4264040" y="1406757"/>
                  <a:pt x="4293396" y="1365936"/>
                  <a:pt x="4330092" y="1333279"/>
                </a:cubicBezTo>
                <a:cubicBezTo>
                  <a:pt x="4322753" y="1325114"/>
                  <a:pt x="4315414" y="1316950"/>
                  <a:pt x="4315414" y="1308786"/>
                </a:cubicBezTo>
                <a:cubicBezTo>
                  <a:pt x="4264040" y="1341443"/>
                  <a:pt x="4212666" y="1382264"/>
                  <a:pt x="4161292" y="1414921"/>
                </a:cubicBezTo>
                <a:cubicBezTo>
                  <a:pt x="4117257" y="1447579"/>
                  <a:pt x="4065883" y="1463907"/>
                  <a:pt x="4021848" y="1496564"/>
                </a:cubicBezTo>
                <a:cubicBezTo>
                  <a:pt x="3985153" y="1529221"/>
                  <a:pt x="3948457" y="1578207"/>
                  <a:pt x="3911761" y="1610864"/>
                </a:cubicBezTo>
                <a:cubicBezTo>
                  <a:pt x="3889744" y="1627193"/>
                  <a:pt x="3845709" y="1635357"/>
                  <a:pt x="3831031" y="1619028"/>
                </a:cubicBezTo>
                <a:cubicBezTo>
                  <a:pt x="3728283" y="1529221"/>
                  <a:pt x="3610856" y="1578207"/>
                  <a:pt x="3581500" y="1741493"/>
                </a:cubicBezTo>
                <a:cubicBezTo>
                  <a:pt x="3544804" y="1725164"/>
                  <a:pt x="3508109" y="1717000"/>
                  <a:pt x="3471413" y="1708836"/>
                </a:cubicBezTo>
                <a:cubicBezTo>
                  <a:pt x="3552143" y="1627193"/>
                  <a:pt x="3625535" y="1553714"/>
                  <a:pt x="3706265" y="1463907"/>
                </a:cubicBezTo>
                <a:cubicBezTo>
                  <a:pt x="3662230" y="1447579"/>
                  <a:pt x="3625535" y="1439414"/>
                  <a:pt x="3603517" y="1414921"/>
                </a:cubicBezTo>
                <a:cubicBezTo>
                  <a:pt x="3581500" y="1398593"/>
                  <a:pt x="3581500" y="1365936"/>
                  <a:pt x="3574161" y="1341443"/>
                </a:cubicBezTo>
                <a:cubicBezTo>
                  <a:pt x="3530126" y="1357771"/>
                  <a:pt x="3478752" y="1365936"/>
                  <a:pt x="3434717" y="1374100"/>
                </a:cubicBezTo>
                <a:cubicBezTo>
                  <a:pt x="3434717" y="1357771"/>
                  <a:pt x="3427378" y="1349607"/>
                  <a:pt x="3427378" y="1333279"/>
                </a:cubicBezTo>
                <a:cubicBezTo>
                  <a:pt x="3353987" y="1390428"/>
                  <a:pt x="3295274" y="1463907"/>
                  <a:pt x="3177847" y="1414921"/>
                </a:cubicBezTo>
                <a:cubicBezTo>
                  <a:pt x="3126473" y="1398593"/>
                  <a:pt x="3038403" y="1496564"/>
                  <a:pt x="2972351" y="1545550"/>
                </a:cubicBezTo>
                <a:cubicBezTo>
                  <a:pt x="2913638" y="1602700"/>
                  <a:pt x="2862264" y="1659850"/>
                  <a:pt x="2803551" y="1708836"/>
                </a:cubicBezTo>
                <a:cubicBezTo>
                  <a:pt x="2766855" y="1741493"/>
                  <a:pt x="2722821" y="1749657"/>
                  <a:pt x="2678786" y="1757821"/>
                </a:cubicBezTo>
                <a:cubicBezTo>
                  <a:pt x="2884282" y="1545550"/>
                  <a:pt x="3097117" y="1333279"/>
                  <a:pt x="3302613" y="1129171"/>
                </a:cubicBezTo>
                <a:cubicBezTo>
                  <a:pt x="3295274" y="1112843"/>
                  <a:pt x="3287934" y="1104679"/>
                  <a:pt x="3280595" y="1096514"/>
                </a:cubicBezTo>
                <a:cubicBezTo>
                  <a:pt x="3111795" y="1243471"/>
                  <a:pt x="2942995" y="1390428"/>
                  <a:pt x="2774194" y="1537386"/>
                </a:cubicBezTo>
                <a:cubicBezTo>
                  <a:pt x="2766855" y="1529221"/>
                  <a:pt x="2766855" y="1529221"/>
                  <a:pt x="2759516" y="1521057"/>
                </a:cubicBezTo>
                <a:cubicBezTo>
                  <a:pt x="2774194" y="1496564"/>
                  <a:pt x="2796212" y="1463907"/>
                  <a:pt x="2810890" y="1439414"/>
                </a:cubicBezTo>
                <a:cubicBezTo>
                  <a:pt x="2810890" y="1431250"/>
                  <a:pt x="2803551" y="1431250"/>
                  <a:pt x="2803551" y="1423086"/>
                </a:cubicBezTo>
                <a:cubicBezTo>
                  <a:pt x="2715482" y="1480236"/>
                  <a:pt x="2634751" y="1537386"/>
                  <a:pt x="2546681" y="1594536"/>
                </a:cubicBezTo>
                <a:cubicBezTo>
                  <a:pt x="2539342" y="1586371"/>
                  <a:pt x="2532003" y="1578207"/>
                  <a:pt x="2524664" y="1570043"/>
                </a:cubicBezTo>
                <a:cubicBezTo>
                  <a:pt x="2598055" y="1504728"/>
                  <a:pt x="2678786" y="1447579"/>
                  <a:pt x="2744838" y="1382264"/>
                </a:cubicBezTo>
                <a:cubicBezTo>
                  <a:pt x="2818230" y="1316950"/>
                  <a:pt x="2876942" y="1243471"/>
                  <a:pt x="2942995" y="1169993"/>
                </a:cubicBezTo>
                <a:cubicBezTo>
                  <a:pt x="3009047" y="1096514"/>
                  <a:pt x="3075099" y="1006707"/>
                  <a:pt x="3155830" y="908736"/>
                </a:cubicBezTo>
                <a:cubicBezTo>
                  <a:pt x="3104456" y="933229"/>
                  <a:pt x="3067760" y="957721"/>
                  <a:pt x="3031065" y="974050"/>
                </a:cubicBezTo>
                <a:cubicBezTo>
                  <a:pt x="3001708" y="957721"/>
                  <a:pt x="3060421" y="835257"/>
                  <a:pt x="2957673" y="900571"/>
                </a:cubicBezTo>
                <a:cubicBezTo>
                  <a:pt x="2994369" y="851586"/>
                  <a:pt x="3031065" y="802600"/>
                  <a:pt x="3067760" y="753614"/>
                </a:cubicBezTo>
                <a:cubicBezTo>
                  <a:pt x="3060421" y="753614"/>
                  <a:pt x="3053082" y="745450"/>
                  <a:pt x="3053082" y="737286"/>
                </a:cubicBezTo>
                <a:cubicBezTo>
                  <a:pt x="2987030" y="794436"/>
                  <a:pt x="2928317" y="843421"/>
                  <a:pt x="2854925" y="900571"/>
                </a:cubicBezTo>
                <a:cubicBezTo>
                  <a:pt x="2972351" y="965886"/>
                  <a:pt x="2979690" y="1023036"/>
                  <a:pt x="2906299" y="1096514"/>
                </a:cubicBezTo>
                <a:cubicBezTo>
                  <a:pt x="2869603" y="1129171"/>
                  <a:pt x="2847586" y="1186321"/>
                  <a:pt x="2825569" y="1227143"/>
                </a:cubicBezTo>
                <a:cubicBezTo>
                  <a:pt x="2810890" y="1218979"/>
                  <a:pt x="2788873" y="1202650"/>
                  <a:pt x="2774194" y="1186321"/>
                </a:cubicBezTo>
                <a:cubicBezTo>
                  <a:pt x="2810890" y="1112843"/>
                  <a:pt x="2847586" y="1031200"/>
                  <a:pt x="2876942" y="957721"/>
                </a:cubicBezTo>
                <a:cubicBezTo>
                  <a:pt x="2876942" y="949557"/>
                  <a:pt x="2869603" y="941393"/>
                  <a:pt x="2869603" y="933229"/>
                </a:cubicBezTo>
                <a:cubicBezTo>
                  <a:pt x="2730160" y="1006707"/>
                  <a:pt x="2598055" y="1088350"/>
                  <a:pt x="2465951" y="1161829"/>
                </a:cubicBezTo>
                <a:cubicBezTo>
                  <a:pt x="2458612" y="1161829"/>
                  <a:pt x="2458612" y="1161829"/>
                  <a:pt x="2451273" y="1153664"/>
                </a:cubicBezTo>
                <a:cubicBezTo>
                  <a:pt x="2561359" y="1039364"/>
                  <a:pt x="2678786" y="941393"/>
                  <a:pt x="2781534" y="818929"/>
                </a:cubicBezTo>
                <a:cubicBezTo>
                  <a:pt x="2869603" y="712793"/>
                  <a:pt x="2942995" y="590329"/>
                  <a:pt x="3009047" y="443371"/>
                </a:cubicBezTo>
                <a:cubicBezTo>
                  <a:pt x="2957673" y="484193"/>
                  <a:pt x="2906299" y="525014"/>
                  <a:pt x="2854925" y="565836"/>
                </a:cubicBezTo>
                <a:cubicBezTo>
                  <a:pt x="2781534" y="639314"/>
                  <a:pt x="2708142" y="712793"/>
                  <a:pt x="2634751" y="778107"/>
                </a:cubicBezTo>
                <a:cubicBezTo>
                  <a:pt x="2620073" y="786271"/>
                  <a:pt x="2576038" y="769943"/>
                  <a:pt x="2546681" y="753614"/>
                </a:cubicBezTo>
                <a:cubicBezTo>
                  <a:pt x="2487968" y="704629"/>
                  <a:pt x="2436594" y="631150"/>
                  <a:pt x="2348525" y="720957"/>
                </a:cubicBezTo>
                <a:cubicBezTo>
                  <a:pt x="2363203" y="737286"/>
                  <a:pt x="2370542" y="753614"/>
                  <a:pt x="2385220" y="778107"/>
                </a:cubicBezTo>
                <a:cubicBezTo>
                  <a:pt x="2333846" y="835257"/>
                  <a:pt x="2201742" y="794436"/>
                  <a:pt x="2201742" y="900571"/>
                </a:cubicBezTo>
                <a:cubicBezTo>
                  <a:pt x="2010924" y="1055693"/>
                  <a:pt x="1834785" y="1210814"/>
                  <a:pt x="1658646" y="1357771"/>
                </a:cubicBezTo>
                <a:cubicBezTo>
                  <a:pt x="1651306" y="1349607"/>
                  <a:pt x="1643967" y="1349607"/>
                  <a:pt x="1643967" y="1341443"/>
                </a:cubicBezTo>
                <a:cubicBezTo>
                  <a:pt x="1805428" y="1104679"/>
                  <a:pt x="1974229" y="867914"/>
                  <a:pt x="2157707" y="614821"/>
                </a:cubicBezTo>
                <a:cubicBezTo>
                  <a:pt x="1798089" y="876079"/>
                  <a:pt x="1467828" y="1129171"/>
                  <a:pt x="1137567" y="1374100"/>
                </a:cubicBezTo>
                <a:cubicBezTo>
                  <a:pt x="1130228" y="1276128"/>
                  <a:pt x="1122888" y="1202650"/>
                  <a:pt x="1108210" y="1112843"/>
                </a:cubicBezTo>
                <a:cubicBezTo>
                  <a:pt x="1020140" y="1161829"/>
                  <a:pt x="924732" y="1210814"/>
                  <a:pt x="799966" y="1284293"/>
                </a:cubicBezTo>
                <a:cubicBezTo>
                  <a:pt x="910053" y="1169993"/>
                  <a:pt x="990784" y="1055693"/>
                  <a:pt x="1093532" y="990379"/>
                </a:cubicBezTo>
                <a:cubicBezTo>
                  <a:pt x="1188941" y="925064"/>
                  <a:pt x="1196280" y="900571"/>
                  <a:pt x="1100871" y="843421"/>
                </a:cubicBezTo>
                <a:cubicBezTo>
                  <a:pt x="1086193" y="835257"/>
                  <a:pt x="1078854" y="810764"/>
                  <a:pt x="1064175" y="786271"/>
                </a:cubicBezTo>
                <a:cubicBezTo>
                  <a:pt x="961427" y="867914"/>
                  <a:pt x="902714" y="1023036"/>
                  <a:pt x="733914" y="982214"/>
                </a:cubicBezTo>
                <a:cubicBezTo>
                  <a:pt x="858679" y="867914"/>
                  <a:pt x="976106" y="753614"/>
                  <a:pt x="1122888" y="704629"/>
                </a:cubicBezTo>
                <a:cubicBezTo>
                  <a:pt x="1093532" y="712793"/>
                  <a:pt x="1064175" y="712793"/>
                  <a:pt x="1034819" y="720957"/>
                </a:cubicBezTo>
                <a:cubicBezTo>
                  <a:pt x="1027480" y="712793"/>
                  <a:pt x="1020140" y="696464"/>
                  <a:pt x="1012801" y="688300"/>
                </a:cubicBezTo>
                <a:cubicBezTo>
                  <a:pt x="1042158" y="680136"/>
                  <a:pt x="1071515" y="663807"/>
                  <a:pt x="1100871" y="655643"/>
                </a:cubicBezTo>
                <a:cubicBezTo>
                  <a:pt x="1093532" y="639314"/>
                  <a:pt x="1078854" y="631150"/>
                  <a:pt x="1071515" y="614821"/>
                </a:cubicBezTo>
                <a:cubicBezTo>
                  <a:pt x="1020140" y="655643"/>
                  <a:pt x="976106" y="704629"/>
                  <a:pt x="924732" y="745450"/>
                </a:cubicBezTo>
                <a:cubicBezTo>
                  <a:pt x="902714" y="704629"/>
                  <a:pt x="895375" y="655643"/>
                  <a:pt x="866019" y="622986"/>
                </a:cubicBezTo>
                <a:cubicBezTo>
                  <a:pt x="858679" y="614821"/>
                  <a:pt x="807306" y="614821"/>
                  <a:pt x="792627" y="631150"/>
                </a:cubicBezTo>
                <a:cubicBezTo>
                  <a:pt x="719236" y="704629"/>
                  <a:pt x="645844" y="794436"/>
                  <a:pt x="557775" y="900571"/>
                </a:cubicBezTo>
                <a:cubicBezTo>
                  <a:pt x="535757" y="843421"/>
                  <a:pt x="513740" y="810764"/>
                  <a:pt x="513740" y="786271"/>
                </a:cubicBezTo>
                <a:cubicBezTo>
                  <a:pt x="521079" y="769943"/>
                  <a:pt x="557775" y="761779"/>
                  <a:pt x="579792" y="745450"/>
                </a:cubicBezTo>
                <a:cubicBezTo>
                  <a:pt x="616488" y="720957"/>
                  <a:pt x="645844" y="688300"/>
                  <a:pt x="675201" y="663807"/>
                </a:cubicBezTo>
                <a:cubicBezTo>
                  <a:pt x="697218" y="655643"/>
                  <a:pt x="719236" y="655643"/>
                  <a:pt x="733914" y="639314"/>
                </a:cubicBezTo>
                <a:cubicBezTo>
                  <a:pt x="755931" y="606657"/>
                  <a:pt x="770610" y="574000"/>
                  <a:pt x="785288" y="549507"/>
                </a:cubicBezTo>
                <a:cubicBezTo>
                  <a:pt x="777949" y="541343"/>
                  <a:pt x="770610" y="533179"/>
                  <a:pt x="755931" y="525014"/>
                </a:cubicBezTo>
                <a:cubicBezTo>
                  <a:pt x="682540" y="582164"/>
                  <a:pt x="609149" y="639314"/>
                  <a:pt x="535757" y="696464"/>
                </a:cubicBezTo>
                <a:cubicBezTo>
                  <a:pt x="528418" y="696464"/>
                  <a:pt x="528418" y="688300"/>
                  <a:pt x="521079" y="680136"/>
                </a:cubicBezTo>
                <a:cubicBezTo>
                  <a:pt x="667862" y="508686"/>
                  <a:pt x="814645" y="337236"/>
                  <a:pt x="976106" y="133129"/>
                </a:cubicBezTo>
                <a:cubicBezTo>
                  <a:pt x="873358" y="141293"/>
                  <a:pt x="785288" y="255593"/>
                  <a:pt x="763271" y="100471"/>
                </a:cubicBezTo>
                <a:cubicBezTo>
                  <a:pt x="535757" y="263757"/>
                  <a:pt x="315583" y="427043"/>
                  <a:pt x="102748" y="590329"/>
                </a:cubicBezTo>
                <a:cubicBezTo>
                  <a:pt x="95409" y="582164"/>
                  <a:pt x="88070" y="574000"/>
                  <a:pt x="80731" y="557671"/>
                </a:cubicBezTo>
                <a:cubicBezTo>
                  <a:pt x="183479" y="459700"/>
                  <a:pt x="293566" y="361729"/>
                  <a:pt x="403653" y="255593"/>
                </a:cubicBezTo>
                <a:cubicBezTo>
                  <a:pt x="220174" y="149457"/>
                  <a:pt x="146783" y="369893"/>
                  <a:pt x="0" y="394386"/>
                </a:cubicBezTo>
                <a:cubicBezTo>
                  <a:pt x="132105" y="271921"/>
                  <a:pt x="264209" y="124964"/>
                  <a:pt x="410992" y="26993"/>
                </a:cubicBezTo>
                <a:cubicBezTo>
                  <a:pt x="444018" y="2500"/>
                  <a:pt x="489888" y="-1582"/>
                  <a:pt x="538509" y="459"/>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3156202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9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AD1DC42B-E2E9-4252-A9F3-657CE5C6D1E3}"/>
              </a:ext>
            </a:extLst>
          </p:cNvPr>
          <p:cNvSpPr>
            <a:spLocks noGrp="1"/>
          </p:cNvSpPr>
          <p:nvPr>
            <p:ph type="pic" sz="quarter" idx="20"/>
          </p:nvPr>
        </p:nvSpPr>
        <p:spPr>
          <a:xfrm>
            <a:off x="-54738" y="3816120"/>
            <a:ext cx="16256763" cy="5185008"/>
          </a:xfrm>
          <a:custGeom>
            <a:avLst/>
            <a:gdLst>
              <a:gd name="connsiteX0" fmla="*/ 1270032 w 12233190"/>
              <a:gd name="connsiteY0" fmla="*/ 1620492 h 3950482"/>
              <a:gd name="connsiteX1" fmla="*/ 1293316 w 12233190"/>
              <a:gd name="connsiteY1" fmla="*/ 1627016 h 3950482"/>
              <a:gd name="connsiteX2" fmla="*/ 1433642 w 12233190"/>
              <a:gd name="connsiteY2" fmla="*/ 1693382 h 3950482"/>
              <a:gd name="connsiteX3" fmla="*/ 1325209 w 12233190"/>
              <a:gd name="connsiteY3" fmla="*/ 1870358 h 3950482"/>
              <a:gd name="connsiteX4" fmla="*/ 1433642 w 12233190"/>
              <a:gd name="connsiteY4" fmla="*/ 1903540 h 3950482"/>
              <a:gd name="connsiteX5" fmla="*/ 1312452 w 12233190"/>
              <a:gd name="connsiteY5" fmla="*/ 2025212 h 3950482"/>
              <a:gd name="connsiteX6" fmla="*/ 1318830 w 12233190"/>
              <a:gd name="connsiteY6" fmla="*/ 2058395 h 3950482"/>
              <a:gd name="connsiteX7" fmla="*/ 1459156 w 12233190"/>
              <a:gd name="connsiteY7" fmla="*/ 2036274 h 3950482"/>
              <a:gd name="connsiteX8" fmla="*/ 1459156 w 12233190"/>
              <a:gd name="connsiteY8" fmla="*/ 2080516 h 3950482"/>
              <a:gd name="connsiteX9" fmla="*/ 1331587 w 12233190"/>
              <a:gd name="connsiteY9" fmla="*/ 2102640 h 3950482"/>
              <a:gd name="connsiteX10" fmla="*/ 1433642 w 12233190"/>
              <a:gd name="connsiteY10" fmla="*/ 2202188 h 3950482"/>
              <a:gd name="connsiteX11" fmla="*/ 1191263 w 12233190"/>
              <a:gd name="connsiteY11" fmla="*/ 2290678 h 3950482"/>
              <a:gd name="connsiteX12" fmla="*/ 1133857 w 12233190"/>
              <a:gd name="connsiteY12" fmla="*/ 2323860 h 3950482"/>
              <a:gd name="connsiteX13" fmla="*/ 1178506 w 12233190"/>
              <a:gd name="connsiteY13" fmla="*/ 2412346 h 3950482"/>
              <a:gd name="connsiteX14" fmla="*/ 1036585 w 12233190"/>
              <a:gd name="connsiteY14" fmla="*/ 2542313 h 3950482"/>
              <a:gd name="connsiteX15" fmla="*/ 770284 w 12233190"/>
              <a:gd name="connsiteY15" fmla="*/ 2456591 h 3950482"/>
              <a:gd name="connsiteX16" fmla="*/ 885096 w 12233190"/>
              <a:gd name="connsiteY16" fmla="*/ 2368105 h 3950482"/>
              <a:gd name="connsiteX17" fmla="*/ 680985 w 12233190"/>
              <a:gd name="connsiteY17" fmla="*/ 2224312 h 3950482"/>
              <a:gd name="connsiteX18" fmla="*/ 961638 w 12233190"/>
              <a:gd name="connsiteY18" fmla="*/ 1903540 h 3950482"/>
              <a:gd name="connsiteX19" fmla="*/ 1025423 w 12233190"/>
              <a:gd name="connsiteY19" fmla="*/ 1770809 h 3950482"/>
              <a:gd name="connsiteX20" fmla="*/ 1270032 w 12233190"/>
              <a:gd name="connsiteY20" fmla="*/ 1620492 h 3950482"/>
              <a:gd name="connsiteX21" fmla="*/ 7656103 w 12233190"/>
              <a:gd name="connsiteY21" fmla="*/ 1230 h 3950482"/>
              <a:gd name="connsiteX22" fmla="*/ 7853722 w 12233190"/>
              <a:gd name="connsiteY22" fmla="*/ 89763 h 3950482"/>
              <a:gd name="connsiteX23" fmla="*/ 7885595 w 12233190"/>
              <a:gd name="connsiteY23" fmla="*/ 167227 h 3950482"/>
              <a:gd name="connsiteX24" fmla="*/ 7923845 w 12233190"/>
              <a:gd name="connsiteY24" fmla="*/ 56563 h 3950482"/>
              <a:gd name="connsiteX25" fmla="*/ 8280832 w 12233190"/>
              <a:gd name="connsiteY25" fmla="*/ 200427 h 3950482"/>
              <a:gd name="connsiteX26" fmla="*/ 8299956 w 12233190"/>
              <a:gd name="connsiteY26" fmla="*/ 587751 h 3950482"/>
              <a:gd name="connsiteX27" fmla="*/ 8612319 w 12233190"/>
              <a:gd name="connsiteY27" fmla="*/ 510286 h 3950482"/>
              <a:gd name="connsiteX28" fmla="*/ 8542196 w 12233190"/>
              <a:gd name="connsiteY28" fmla="*/ 643084 h 3950482"/>
              <a:gd name="connsiteX29" fmla="*/ 8554945 w 12233190"/>
              <a:gd name="connsiteY29" fmla="*/ 676283 h 3950482"/>
              <a:gd name="connsiteX30" fmla="*/ 8752564 w 12233190"/>
              <a:gd name="connsiteY30" fmla="*/ 576685 h 3950482"/>
              <a:gd name="connsiteX31" fmla="*/ 8733440 w 12233190"/>
              <a:gd name="connsiteY31" fmla="*/ 698414 h 3950482"/>
              <a:gd name="connsiteX32" fmla="*/ 8867311 w 12233190"/>
              <a:gd name="connsiteY32" fmla="*/ 576685 h 3950482"/>
              <a:gd name="connsiteX33" fmla="*/ 8854561 w 12233190"/>
              <a:gd name="connsiteY33" fmla="*/ 709482 h 3950482"/>
              <a:gd name="connsiteX34" fmla="*/ 8931059 w 12233190"/>
              <a:gd name="connsiteY34" fmla="*/ 676283 h 3950482"/>
              <a:gd name="connsiteX35" fmla="*/ 8911933 w 12233190"/>
              <a:gd name="connsiteY35" fmla="*/ 775878 h 3950482"/>
              <a:gd name="connsiteX36" fmla="*/ 9013930 w 12233190"/>
              <a:gd name="connsiteY36" fmla="*/ 809078 h 3950482"/>
              <a:gd name="connsiteX37" fmla="*/ 8943808 w 12233190"/>
              <a:gd name="connsiteY37" fmla="*/ 930810 h 3950482"/>
              <a:gd name="connsiteX38" fmla="*/ 8962932 w 12233190"/>
              <a:gd name="connsiteY38" fmla="*/ 964009 h 3950482"/>
              <a:gd name="connsiteX39" fmla="*/ 9045803 w 12233190"/>
              <a:gd name="connsiteY39" fmla="*/ 831211 h 3950482"/>
              <a:gd name="connsiteX40" fmla="*/ 9275295 w 12233190"/>
              <a:gd name="connsiteY40" fmla="*/ 654149 h 3950482"/>
              <a:gd name="connsiteX41" fmla="*/ 9262546 w 12233190"/>
              <a:gd name="connsiteY41" fmla="*/ 809078 h 3950482"/>
              <a:gd name="connsiteX42" fmla="*/ 9326294 w 12233190"/>
              <a:gd name="connsiteY42" fmla="*/ 709482 h 3950482"/>
              <a:gd name="connsiteX43" fmla="*/ 9332668 w 12233190"/>
              <a:gd name="connsiteY43" fmla="*/ 930810 h 3950482"/>
              <a:gd name="connsiteX44" fmla="*/ 9428291 w 12233190"/>
              <a:gd name="connsiteY44" fmla="*/ 786947 h 3950482"/>
              <a:gd name="connsiteX45" fmla="*/ 9492037 w 12233190"/>
              <a:gd name="connsiteY45" fmla="*/ 941875 h 3950482"/>
              <a:gd name="connsiteX46" fmla="*/ 9651408 w 12233190"/>
              <a:gd name="connsiteY46" fmla="*/ 753747 h 3950482"/>
              <a:gd name="connsiteX47" fmla="*/ 9676907 w 12233190"/>
              <a:gd name="connsiteY47" fmla="*/ 654149 h 3950482"/>
              <a:gd name="connsiteX48" fmla="*/ 9791653 w 12233190"/>
              <a:gd name="connsiteY48" fmla="*/ 687349 h 3950482"/>
              <a:gd name="connsiteX49" fmla="*/ 9823526 w 12233190"/>
              <a:gd name="connsiteY49" fmla="*/ 764813 h 3950482"/>
              <a:gd name="connsiteX50" fmla="*/ 10072142 w 12233190"/>
              <a:gd name="connsiteY50" fmla="*/ 809078 h 3950482"/>
              <a:gd name="connsiteX51" fmla="*/ 10288884 w 12233190"/>
              <a:gd name="connsiteY51" fmla="*/ 643084 h 3950482"/>
              <a:gd name="connsiteX52" fmla="*/ 10123140 w 12233190"/>
              <a:gd name="connsiteY52" fmla="*/ 919744 h 3950482"/>
              <a:gd name="connsiteX53" fmla="*/ 10397256 w 12233190"/>
              <a:gd name="connsiteY53" fmla="*/ 709482 h 3950482"/>
              <a:gd name="connsiteX54" fmla="*/ 10512001 w 12233190"/>
              <a:gd name="connsiteY54" fmla="*/ 698414 h 3950482"/>
              <a:gd name="connsiteX55" fmla="*/ 10512001 w 12233190"/>
              <a:gd name="connsiteY55" fmla="*/ 864411 h 3950482"/>
              <a:gd name="connsiteX56" fmla="*/ 10492877 w 12233190"/>
              <a:gd name="connsiteY56" fmla="*/ 952944 h 3950482"/>
              <a:gd name="connsiteX57" fmla="*/ 10684121 w 12233190"/>
              <a:gd name="connsiteY57" fmla="*/ 831211 h 3950482"/>
              <a:gd name="connsiteX58" fmla="*/ 10537501 w 12233190"/>
              <a:gd name="connsiteY58" fmla="*/ 1130006 h 3950482"/>
              <a:gd name="connsiteX59" fmla="*/ 10556625 w 12233190"/>
              <a:gd name="connsiteY59" fmla="*/ 1152137 h 3950482"/>
              <a:gd name="connsiteX60" fmla="*/ 10633122 w 12233190"/>
              <a:gd name="connsiteY60" fmla="*/ 1041473 h 3950482"/>
              <a:gd name="connsiteX61" fmla="*/ 10703245 w 12233190"/>
              <a:gd name="connsiteY61" fmla="*/ 1019342 h 3950482"/>
              <a:gd name="connsiteX62" fmla="*/ 10856239 w 12233190"/>
              <a:gd name="connsiteY62" fmla="*/ 997209 h 3950482"/>
              <a:gd name="connsiteX63" fmla="*/ 10983735 w 12233190"/>
              <a:gd name="connsiteY63" fmla="*/ 986143 h 3950482"/>
              <a:gd name="connsiteX64" fmla="*/ 11117605 w 12233190"/>
              <a:gd name="connsiteY64" fmla="*/ 1041473 h 3950482"/>
              <a:gd name="connsiteX65" fmla="*/ 11257851 w 12233190"/>
              <a:gd name="connsiteY65" fmla="*/ 1107872 h 3950482"/>
              <a:gd name="connsiteX66" fmla="*/ 11595712 w 12233190"/>
              <a:gd name="connsiteY66" fmla="*/ 842277 h 3950482"/>
              <a:gd name="connsiteX67" fmla="*/ 11359846 w 12233190"/>
              <a:gd name="connsiteY67" fmla="*/ 1185336 h 3950482"/>
              <a:gd name="connsiteX68" fmla="*/ 11385347 w 12233190"/>
              <a:gd name="connsiteY68" fmla="*/ 1229604 h 3950482"/>
              <a:gd name="connsiteX69" fmla="*/ 11857079 w 12233190"/>
              <a:gd name="connsiteY69" fmla="*/ 676283 h 3950482"/>
              <a:gd name="connsiteX70" fmla="*/ 11863453 w 12233190"/>
              <a:gd name="connsiteY70" fmla="*/ 698414 h 3950482"/>
              <a:gd name="connsiteX71" fmla="*/ 11347097 w 12233190"/>
              <a:gd name="connsiteY71" fmla="*/ 1583729 h 3950482"/>
              <a:gd name="connsiteX72" fmla="*/ 11366221 w 12233190"/>
              <a:gd name="connsiteY72" fmla="*/ 1627993 h 3950482"/>
              <a:gd name="connsiteX73" fmla="*/ 11162228 w 12233190"/>
              <a:gd name="connsiteY73" fmla="*/ 1904654 h 3950482"/>
              <a:gd name="connsiteX74" fmla="*/ 11219601 w 12233190"/>
              <a:gd name="connsiteY74" fmla="*/ 1926788 h 3950482"/>
              <a:gd name="connsiteX75" fmla="*/ 11002859 w 12233190"/>
              <a:gd name="connsiteY75" fmla="*/ 2203448 h 3950482"/>
              <a:gd name="connsiteX76" fmla="*/ 11155853 w 12233190"/>
              <a:gd name="connsiteY76" fmla="*/ 2114915 h 3950482"/>
              <a:gd name="connsiteX77" fmla="*/ 11168604 w 12233190"/>
              <a:gd name="connsiteY77" fmla="*/ 2159180 h 3950482"/>
              <a:gd name="connsiteX78" fmla="*/ 10951862 w 12233190"/>
              <a:gd name="connsiteY78" fmla="*/ 2391576 h 3950482"/>
              <a:gd name="connsiteX79" fmla="*/ 11130355 w 12233190"/>
              <a:gd name="connsiteY79" fmla="*/ 2402645 h 3950482"/>
              <a:gd name="connsiteX80" fmla="*/ 11066607 w 12233190"/>
              <a:gd name="connsiteY80" fmla="*/ 2513308 h 3950482"/>
              <a:gd name="connsiteX81" fmla="*/ 11780582 w 12233190"/>
              <a:gd name="connsiteY81" fmla="*/ 2137050 h 3950482"/>
              <a:gd name="connsiteX82" fmla="*/ 11582963 w 12233190"/>
              <a:gd name="connsiteY82" fmla="*/ 2303046 h 3950482"/>
              <a:gd name="connsiteX83" fmla="*/ 11653086 w 12233190"/>
              <a:gd name="connsiteY83" fmla="*/ 2336246 h 3950482"/>
              <a:gd name="connsiteX84" fmla="*/ 11646711 w 12233190"/>
              <a:gd name="connsiteY84" fmla="*/ 2380511 h 3950482"/>
              <a:gd name="connsiteX85" fmla="*/ 11576588 w 12233190"/>
              <a:gd name="connsiteY85" fmla="*/ 2347311 h 3950482"/>
              <a:gd name="connsiteX86" fmla="*/ 11385347 w 12233190"/>
              <a:gd name="connsiteY86" fmla="*/ 2701436 h 3950482"/>
              <a:gd name="connsiteX87" fmla="*/ 11582963 w 12233190"/>
              <a:gd name="connsiteY87" fmla="*/ 2579707 h 3950482"/>
              <a:gd name="connsiteX88" fmla="*/ 11742332 w 12233190"/>
              <a:gd name="connsiteY88" fmla="*/ 2535439 h 3950482"/>
              <a:gd name="connsiteX89" fmla="*/ 12226815 w 12233190"/>
              <a:gd name="connsiteY89" fmla="*/ 2181314 h 3950482"/>
              <a:gd name="connsiteX90" fmla="*/ 12233190 w 12233190"/>
              <a:gd name="connsiteY90" fmla="*/ 2203448 h 3950482"/>
              <a:gd name="connsiteX91" fmla="*/ 12150318 w 12233190"/>
              <a:gd name="connsiteY91" fmla="*/ 2280912 h 3950482"/>
              <a:gd name="connsiteX92" fmla="*/ 12201315 w 12233190"/>
              <a:gd name="connsiteY92" fmla="*/ 2303046 h 3950482"/>
              <a:gd name="connsiteX93" fmla="*/ 11799705 w 12233190"/>
              <a:gd name="connsiteY93" fmla="*/ 2756769 h 3950482"/>
              <a:gd name="connsiteX94" fmla="*/ 10639497 w 12233190"/>
              <a:gd name="connsiteY94" fmla="*/ 3852346 h 3950482"/>
              <a:gd name="connsiteX95" fmla="*/ 10454629 w 12233190"/>
              <a:gd name="connsiteY95" fmla="*/ 3940875 h 3950482"/>
              <a:gd name="connsiteX96" fmla="*/ 7764474 w 12233190"/>
              <a:gd name="connsiteY96" fmla="*/ 3940875 h 3950482"/>
              <a:gd name="connsiteX97" fmla="*/ 5246441 w 12233190"/>
              <a:gd name="connsiteY97" fmla="*/ 3940875 h 3950482"/>
              <a:gd name="connsiteX98" fmla="*/ 5020931 w 12233190"/>
              <a:gd name="connsiteY98" fmla="*/ 3949177 h 3950482"/>
              <a:gd name="connsiteX99" fmla="*/ 4800205 w 12233190"/>
              <a:gd name="connsiteY99" fmla="*/ 3841277 h 3950482"/>
              <a:gd name="connsiteX100" fmla="*/ 4736459 w 12233190"/>
              <a:gd name="connsiteY100" fmla="*/ 3830212 h 3950482"/>
              <a:gd name="connsiteX101" fmla="*/ 4455968 w 12233190"/>
              <a:gd name="connsiteY101" fmla="*/ 3929810 h 3950482"/>
              <a:gd name="connsiteX102" fmla="*/ 2957895 w 12233190"/>
              <a:gd name="connsiteY102" fmla="*/ 3940875 h 3950482"/>
              <a:gd name="connsiteX103" fmla="*/ 2690154 w 12233190"/>
              <a:gd name="connsiteY103" fmla="*/ 3841277 h 3950482"/>
              <a:gd name="connsiteX104" fmla="*/ 2683780 w 12233190"/>
              <a:gd name="connsiteY104" fmla="*/ 3907676 h 3950482"/>
              <a:gd name="connsiteX105" fmla="*/ 2173798 w 12233190"/>
              <a:gd name="connsiteY105" fmla="*/ 3907676 h 3950482"/>
              <a:gd name="connsiteX106" fmla="*/ 2154674 w 12233190"/>
              <a:gd name="connsiteY106" fmla="*/ 3830212 h 3950482"/>
              <a:gd name="connsiteX107" fmla="*/ 2008054 w 12233190"/>
              <a:gd name="connsiteY107" fmla="*/ 3940875 h 3950482"/>
              <a:gd name="connsiteX108" fmla="*/ 1625569 w 12233190"/>
              <a:gd name="connsiteY108" fmla="*/ 3940875 h 3950482"/>
              <a:gd name="connsiteX109" fmla="*/ 1230331 w 12233190"/>
              <a:gd name="connsiteY109" fmla="*/ 3940875 h 3950482"/>
              <a:gd name="connsiteX110" fmla="*/ 847846 w 12233190"/>
              <a:gd name="connsiteY110" fmla="*/ 3929810 h 3950482"/>
              <a:gd name="connsiteX111" fmla="*/ 490858 w 12233190"/>
              <a:gd name="connsiteY111" fmla="*/ 3841277 h 3950482"/>
              <a:gd name="connsiteX112" fmla="*/ 114745 w 12233190"/>
              <a:gd name="connsiteY112" fmla="*/ 3697414 h 3950482"/>
              <a:gd name="connsiteX113" fmla="*/ 0 w 12233190"/>
              <a:gd name="connsiteY113" fmla="*/ 3608885 h 3950482"/>
              <a:gd name="connsiteX114" fmla="*/ 152995 w 12233190"/>
              <a:gd name="connsiteY114" fmla="*/ 3476087 h 3950482"/>
              <a:gd name="connsiteX115" fmla="*/ 407986 w 12233190"/>
              <a:gd name="connsiteY115" fmla="*/ 3376489 h 3950482"/>
              <a:gd name="connsiteX116" fmla="*/ 401610 w 12233190"/>
              <a:gd name="connsiteY116" fmla="*/ 3332224 h 3950482"/>
              <a:gd name="connsiteX117" fmla="*/ 465360 w 12233190"/>
              <a:gd name="connsiteY117" fmla="*/ 3431822 h 3950482"/>
              <a:gd name="connsiteX118" fmla="*/ 427110 w 12233190"/>
              <a:gd name="connsiteY118" fmla="*/ 3144093 h 3950482"/>
              <a:gd name="connsiteX119" fmla="*/ 784098 w 12233190"/>
              <a:gd name="connsiteY119" fmla="*/ 3121962 h 3950482"/>
              <a:gd name="connsiteX120" fmla="*/ 693626 w 12233190"/>
              <a:gd name="connsiteY120" fmla="*/ 3415129 h 3950482"/>
              <a:gd name="connsiteX121" fmla="*/ 682102 w 12233190"/>
              <a:gd name="connsiteY121" fmla="*/ 3431822 h 3950482"/>
              <a:gd name="connsiteX122" fmla="*/ 685942 w 12233190"/>
              <a:gd name="connsiteY122" fmla="*/ 3436063 h 3950482"/>
              <a:gd name="connsiteX123" fmla="*/ 621540 w 12233190"/>
              <a:gd name="connsiteY123" fmla="*/ 3543869 h 3950482"/>
              <a:gd name="connsiteX124" fmla="*/ 650227 w 12233190"/>
              <a:gd name="connsiteY124" fmla="*/ 3730613 h 3950482"/>
              <a:gd name="connsiteX125" fmla="*/ 822347 w 12233190"/>
              <a:gd name="connsiteY125" fmla="*/ 3487152 h 3950482"/>
              <a:gd name="connsiteX126" fmla="*/ 796847 w 12233190"/>
              <a:gd name="connsiteY126" fmla="*/ 3431822 h 3950482"/>
              <a:gd name="connsiteX127" fmla="*/ 752225 w 12233190"/>
              <a:gd name="connsiteY127" fmla="*/ 3509286 h 3950482"/>
              <a:gd name="connsiteX128" fmla="*/ 685942 w 12233190"/>
              <a:gd name="connsiteY128" fmla="*/ 3436063 h 3950482"/>
              <a:gd name="connsiteX129" fmla="*/ 688477 w 12233190"/>
              <a:gd name="connsiteY129" fmla="*/ 3431822 h 3950482"/>
              <a:gd name="connsiteX130" fmla="*/ 693626 w 12233190"/>
              <a:gd name="connsiteY130" fmla="*/ 3415129 h 3950482"/>
              <a:gd name="connsiteX131" fmla="*/ 718756 w 12233190"/>
              <a:gd name="connsiteY131" fmla="*/ 3378736 h 3950482"/>
              <a:gd name="connsiteX132" fmla="*/ 847846 w 12233190"/>
              <a:gd name="connsiteY132" fmla="*/ 3321155 h 3950482"/>
              <a:gd name="connsiteX133" fmla="*/ 937092 w 12233190"/>
              <a:gd name="connsiteY133" fmla="*/ 3022364 h 3950482"/>
              <a:gd name="connsiteX134" fmla="*/ 866969 w 12233190"/>
              <a:gd name="connsiteY134" fmla="*/ 2933832 h 3950482"/>
              <a:gd name="connsiteX135" fmla="*/ 1026339 w 12233190"/>
              <a:gd name="connsiteY135" fmla="*/ 2900632 h 3950482"/>
              <a:gd name="connsiteX136" fmla="*/ 988091 w 12233190"/>
              <a:gd name="connsiteY136" fmla="*/ 2856367 h 3950482"/>
              <a:gd name="connsiteX137" fmla="*/ 994465 w 12233190"/>
              <a:gd name="connsiteY137" fmla="*/ 2823168 h 3950482"/>
              <a:gd name="connsiteX138" fmla="*/ 1077337 w 12233190"/>
              <a:gd name="connsiteY138" fmla="*/ 2845302 h 3950482"/>
              <a:gd name="connsiteX139" fmla="*/ 1013589 w 12233190"/>
              <a:gd name="connsiteY139" fmla="*/ 3276891 h 3950482"/>
              <a:gd name="connsiteX140" fmla="*/ 981716 w 12233190"/>
              <a:gd name="connsiteY140" fmla="*/ 3442888 h 3950482"/>
              <a:gd name="connsiteX141" fmla="*/ 1192084 w 12233190"/>
              <a:gd name="connsiteY141" fmla="*/ 2856367 h 3950482"/>
              <a:gd name="connsiteX142" fmla="*/ 1077337 w 12233190"/>
              <a:gd name="connsiteY142" fmla="*/ 2867433 h 3950482"/>
              <a:gd name="connsiteX143" fmla="*/ 1204833 w 12233190"/>
              <a:gd name="connsiteY143" fmla="*/ 2734635 h 3950482"/>
              <a:gd name="connsiteX144" fmla="*/ 1185709 w 12233190"/>
              <a:gd name="connsiteY144" fmla="*/ 2502239 h 3950482"/>
              <a:gd name="connsiteX145" fmla="*/ 1364202 w 12233190"/>
              <a:gd name="connsiteY145" fmla="*/ 2457975 h 3950482"/>
              <a:gd name="connsiteX146" fmla="*/ 1357827 w 12233190"/>
              <a:gd name="connsiteY146" fmla="*/ 2413710 h 3950482"/>
              <a:gd name="connsiteX147" fmla="*/ 1300454 w 12233190"/>
              <a:gd name="connsiteY147" fmla="*/ 2402645 h 3950482"/>
              <a:gd name="connsiteX148" fmla="*/ 1300454 w 12233190"/>
              <a:gd name="connsiteY148" fmla="*/ 2358377 h 3950482"/>
              <a:gd name="connsiteX149" fmla="*/ 1408826 w 12233190"/>
              <a:gd name="connsiteY149" fmla="*/ 2325177 h 3950482"/>
              <a:gd name="connsiteX150" fmla="*/ 1600068 w 12233190"/>
              <a:gd name="connsiteY150" fmla="*/ 2280912 h 3950482"/>
              <a:gd name="connsiteX151" fmla="*/ 1415201 w 12233190"/>
              <a:gd name="connsiteY151" fmla="*/ 2690370 h 3950482"/>
              <a:gd name="connsiteX152" fmla="*/ 1498073 w 12233190"/>
              <a:gd name="connsiteY152" fmla="*/ 2635040 h 3950482"/>
              <a:gd name="connsiteX153" fmla="*/ 1561821 w 12233190"/>
              <a:gd name="connsiteY153" fmla="*/ 2668236 h 3950482"/>
              <a:gd name="connsiteX154" fmla="*/ 1714815 w 12233190"/>
              <a:gd name="connsiteY154" fmla="*/ 2590772 h 3950482"/>
              <a:gd name="connsiteX155" fmla="*/ 1874184 w 12233190"/>
              <a:gd name="connsiteY155" fmla="*/ 2380511 h 3950482"/>
              <a:gd name="connsiteX156" fmla="*/ 2084552 w 12233190"/>
              <a:gd name="connsiteY156" fmla="*/ 2214514 h 3950482"/>
              <a:gd name="connsiteX157" fmla="*/ 2071802 w 12233190"/>
              <a:gd name="connsiteY157" fmla="*/ 2369445 h 3950482"/>
              <a:gd name="connsiteX158" fmla="*/ 2218422 w 12233190"/>
              <a:gd name="connsiteY158" fmla="*/ 2070651 h 3950482"/>
              <a:gd name="connsiteX159" fmla="*/ 2237546 w 12233190"/>
              <a:gd name="connsiteY159" fmla="*/ 2092781 h 3950482"/>
              <a:gd name="connsiteX160" fmla="*/ 2224797 w 12233190"/>
              <a:gd name="connsiteY160" fmla="*/ 2181314 h 3950482"/>
              <a:gd name="connsiteX161" fmla="*/ 3098141 w 12233190"/>
              <a:gd name="connsiteY161" fmla="*/ 1528395 h 3950482"/>
              <a:gd name="connsiteX162" fmla="*/ 3021643 w 12233190"/>
              <a:gd name="connsiteY162" fmla="*/ 1760791 h 3950482"/>
              <a:gd name="connsiteX163" fmla="*/ 3149139 w 12233190"/>
              <a:gd name="connsiteY163" fmla="*/ 1605859 h 3950482"/>
              <a:gd name="connsiteX164" fmla="*/ 3085391 w 12233190"/>
              <a:gd name="connsiteY164" fmla="*/ 1926788 h 3950482"/>
              <a:gd name="connsiteX165" fmla="*/ 3219262 w 12233190"/>
              <a:gd name="connsiteY165" fmla="*/ 1893588 h 3950482"/>
              <a:gd name="connsiteX166" fmla="*/ 2945146 w 12233190"/>
              <a:gd name="connsiteY166" fmla="*/ 2491174 h 3950482"/>
              <a:gd name="connsiteX167" fmla="*/ 2977019 w 12233190"/>
              <a:gd name="connsiteY167" fmla="*/ 2535439 h 3950482"/>
              <a:gd name="connsiteX168" fmla="*/ 3059891 w 12233190"/>
              <a:gd name="connsiteY168" fmla="*/ 2424775 h 3950482"/>
              <a:gd name="connsiteX169" fmla="*/ 3200136 w 12233190"/>
              <a:gd name="connsiteY169" fmla="*/ 2269847 h 3950482"/>
              <a:gd name="connsiteX170" fmla="*/ 3410504 w 12233190"/>
              <a:gd name="connsiteY170" fmla="*/ 2081716 h 3950482"/>
              <a:gd name="connsiteX171" fmla="*/ 3346756 w 12233190"/>
              <a:gd name="connsiteY171" fmla="*/ 1993187 h 3950482"/>
              <a:gd name="connsiteX172" fmla="*/ 3582624 w 12233190"/>
              <a:gd name="connsiteY172" fmla="*/ 1805056 h 3950482"/>
              <a:gd name="connsiteX173" fmla="*/ 3620872 w 12233190"/>
              <a:gd name="connsiteY173" fmla="*/ 1694392 h 3950482"/>
              <a:gd name="connsiteX174" fmla="*/ 3767491 w 12233190"/>
              <a:gd name="connsiteY174" fmla="*/ 1395598 h 3950482"/>
              <a:gd name="connsiteX175" fmla="*/ 4130853 w 12233190"/>
              <a:gd name="connsiteY175" fmla="*/ 930810 h 3950482"/>
              <a:gd name="connsiteX176" fmla="*/ 4226476 w 12233190"/>
              <a:gd name="connsiteY176" fmla="*/ 820146 h 3950482"/>
              <a:gd name="connsiteX177" fmla="*/ 4436842 w 12233190"/>
              <a:gd name="connsiteY177" fmla="*/ 565616 h 3950482"/>
              <a:gd name="connsiteX178" fmla="*/ 4666335 w 12233190"/>
              <a:gd name="connsiteY178" fmla="*/ 576685 h 3950482"/>
              <a:gd name="connsiteX179" fmla="*/ 4889452 w 12233190"/>
              <a:gd name="connsiteY179" fmla="*/ 532417 h 3950482"/>
              <a:gd name="connsiteX180" fmla="*/ 5087070 w 12233190"/>
              <a:gd name="connsiteY180" fmla="*/ 620950 h 3950482"/>
              <a:gd name="connsiteX181" fmla="*/ 4985074 w 12233190"/>
              <a:gd name="connsiteY181" fmla="*/ 1329199 h 3950482"/>
              <a:gd name="connsiteX182" fmla="*/ 5322937 w 12233190"/>
              <a:gd name="connsiteY182" fmla="*/ 1295999 h 3950482"/>
              <a:gd name="connsiteX183" fmla="*/ 5507805 w 12233190"/>
              <a:gd name="connsiteY183" fmla="*/ 1008274 h 3950482"/>
              <a:gd name="connsiteX184" fmla="*/ 5584301 w 12233190"/>
              <a:gd name="connsiteY184" fmla="*/ 952944 h 3950482"/>
              <a:gd name="connsiteX185" fmla="*/ 5539679 w 12233190"/>
              <a:gd name="connsiteY185" fmla="*/ 831211 h 3950482"/>
              <a:gd name="connsiteX186" fmla="*/ 5667173 w 12233190"/>
              <a:gd name="connsiteY186" fmla="*/ 775878 h 3950482"/>
              <a:gd name="connsiteX187" fmla="*/ 5781921 w 12233190"/>
              <a:gd name="connsiteY187" fmla="*/ 609884 h 3950482"/>
              <a:gd name="connsiteX188" fmla="*/ 5928540 w 12233190"/>
              <a:gd name="connsiteY188" fmla="*/ 510286 h 3950482"/>
              <a:gd name="connsiteX189" fmla="*/ 6056037 w 12233190"/>
              <a:gd name="connsiteY189" fmla="*/ 831211 h 3950482"/>
              <a:gd name="connsiteX190" fmla="*/ 6087910 w 12233190"/>
              <a:gd name="connsiteY190" fmla="*/ 809078 h 3950482"/>
              <a:gd name="connsiteX191" fmla="*/ 6126158 w 12233190"/>
              <a:gd name="connsiteY191" fmla="*/ 466021 h 3950482"/>
              <a:gd name="connsiteX192" fmla="*/ 6196281 w 12233190"/>
              <a:gd name="connsiteY192" fmla="*/ 543486 h 3950482"/>
              <a:gd name="connsiteX193" fmla="*/ 6138908 w 12233190"/>
              <a:gd name="connsiteY193" fmla="*/ 665214 h 3950482"/>
              <a:gd name="connsiteX194" fmla="*/ 6221780 w 12233190"/>
              <a:gd name="connsiteY194" fmla="*/ 798012 h 3950482"/>
              <a:gd name="connsiteX195" fmla="*/ 6355650 w 12233190"/>
              <a:gd name="connsiteY195" fmla="*/ 598816 h 3950482"/>
              <a:gd name="connsiteX196" fmla="*/ 6311027 w 12233190"/>
              <a:gd name="connsiteY196" fmla="*/ 952944 h 3950482"/>
              <a:gd name="connsiteX197" fmla="*/ 6438521 w 12233190"/>
              <a:gd name="connsiteY197" fmla="*/ 886545 h 3950482"/>
              <a:gd name="connsiteX198" fmla="*/ 6432147 w 12233190"/>
              <a:gd name="connsiteY198" fmla="*/ 786947 h 3950482"/>
              <a:gd name="connsiteX199" fmla="*/ 6527768 w 12233190"/>
              <a:gd name="connsiteY199" fmla="*/ 820146 h 3950482"/>
              <a:gd name="connsiteX200" fmla="*/ 6674388 w 12233190"/>
              <a:gd name="connsiteY200" fmla="*/ 565616 h 3950482"/>
              <a:gd name="connsiteX201" fmla="*/ 6655264 w 12233190"/>
              <a:gd name="connsiteY201" fmla="*/ 687349 h 3950482"/>
              <a:gd name="connsiteX202" fmla="*/ 6872007 w 12233190"/>
              <a:gd name="connsiteY202" fmla="*/ 543486 h 3950482"/>
              <a:gd name="connsiteX203" fmla="*/ 6999502 w 12233190"/>
              <a:gd name="connsiteY203" fmla="*/ 410688 h 3950482"/>
              <a:gd name="connsiteX204" fmla="*/ 7356489 w 12233190"/>
              <a:gd name="connsiteY204" fmla="*/ 78694 h 3950482"/>
              <a:gd name="connsiteX205" fmla="*/ 7471234 w 12233190"/>
              <a:gd name="connsiteY205" fmla="*/ 23364 h 3950482"/>
              <a:gd name="connsiteX206" fmla="*/ 7656103 w 12233190"/>
              <a:gd name="connsiteY206" fmla="*/ 1230 h 395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2233190" h="3950482">
                <a:moveTo>
                  <a:pt x="1270032" y="1620492"/>
                </a:moveTo>
                <a:cubicBezTo>
                  <a:pt x="1279762" y="1620795"/>
                  <a:pt x="1287735" y="1622869"/>
                  <a:pt x="1293316" y="1627016"/>
                </a:cubicBezTo>
                <a:cubicBezTo>
                  <a:pt x="1331587" y="1649137"/>
                  <a:pt x="1376236" y="1660199"/>
                  <a:pt x="1433642" y="1693382"/>
                </a:cubicBezTo>
                <a:cubicBezTo>
                  <a:pt x="1484670" y="1848237"/>
                  <a:pt x="1344344" y="1770809"/>
                  <a:pt x="1325209" y="1870358"/>
                </a:cubicBezTo>
                <a:cubicBezTo>
                  <a:pt x="1357101" y="1881420"/>
                  <a:pt x="1382615" y="1892482"/>
                  <a:pt x="1433642" y="1903540"/>
                </a:cubicBezTo>
                <a:cubicBezTo>
                  <a:pt x="1382615" y="1958847"/>
                  <a:pt x="1350722" y="1992030"/>
                  <a:pt x="1312452" y="2025212"/>
                </a:cubicBezTo>
                <a:cubicBezTo>
                  <a:pt x="1318830" y="2036274"/>
                  <a:pt x="1318830" y="2047333"/>
                  <a:pt x="1318830" y="2058395"/>
                </a:cubicBezTo>
                <a:cubicBezTo>
                  <a:pt x="1363479" y="2047333"/>
                  <a:pt x="1414507" y="2047333"/>
                  <a:pt x="1459156" y="2036274"/>
                </a:cubicBezTo>
                <a:cubicBezTo>
                  <a:pt x="1459156" y="2058395"/>
                  <a:pt x="1459156" y="2069457"/>
                  <a:pt x="1459156" y="2080516"/>
                </a:cubicBezTo>
                <a:cubicBezTo>
                  <a:pt x="1427264" y="2080516"/>
                  <a:pt x="1388993" y="2091578"/>
                  <a:pt x="1331587" y="2102640"/>
                </a:cubicBezTo>
                <a:cubicBezTo>
                  <a:pt x="1376236" y="2135823"/>
                  <a:pt x="1395372" y="2157943"/>
                  <a:pt x="1433642" y="2202188"/>
                </a:cubicBezTo>
                <a:cubicBezTo>
                  <a:pt x="1337965" y="2235371"/>
                  <a:pt x="1267802" y="2257495"/>
                  <a:pt x="1191263" y="2290678"/>
                </a:cubicBezTo>
                <a:cubicBezTo>
                  <a:pt x="1172127" y="2290678"/>
                  <a:pt x="1152992" y="2312798"/>
                  <a:pt x="1133857" y="2323860"/>
                </a:cubicBezTo>
                <a:cubicBezTo>
                  <a:pt x="1146613" y="2357043"/>
                  <a:pt x="1165749" y="2390226"/>
                  <a:pt x="1178506" y="2412346"/>
                </a:cubicBezTo>
                <a:cubicBezTo>
                  <a:pt x="1117909" y="2495305"/>
                  <a:pt x="1087611" y="2536782"/>
                  <a:pt x="1036585" y="2542313"/>
                </a:cubicBezTo>
                <a:cubicBezTo>
                  <a:pt x="985558" y="2547844"/>
                  <a:pt x="913798" y="2517426"/>
                  <a:pt x="770284" y="2456591"/>
                </a:cubicBezTo>
                <a:cubicBezTo>
                  <a:pt x="814933" y="2423408"/>
                  <a:pt x="834069" y="2412346"/>
                  <a:pt x="885096" y="2368105"/>
                </a:cubicBezTo>
                <a:cubicBezTo>
                  <a:pt x="808555" y="2312798"/>
                  <a:pt x="751148" y="2279616"/>
                  <a:pt x="680985" y="2224312"/>
                </a:cubicBezTo>
                <a:cubicBezTo>
                  <a:pt x="776662" y="2113699"/>
                  <a:pt x="872339" y="2003092"/>
                  <a:pt x="961638" y="1903540"/>
                </a:cubicBezTo>
                <a:cubicBezTo>
                  <a:pt x="987152" y="1870358"/>
                  <a:pt x="1006287" y="1815054"/>
                  <a:pt x="1025423" y="1770809"/>
                </a:cubicBezTo>
                <a:cubicBezTo>
                  <a:pt x="1047747" y="1703061"/>
                  <a:pt x="1201925" y="1618375"/>
                  <a:pt x="1270032" y="1620492"/>
                </a:cubicBezTo>
                <a:close/>
                <a:moveTo>
                  <a:pt x="7656103" y="1230"/>
                </a:moveTo>
                <a:cubicBezTo>
                  <a:pt x="7719851" y="-9835"/>
                  <a:pt x="7789974" y="56563"/>
                  <a:pt x="7853722" y="89763"/>
                </a:cubicBezTo>
                <a:cubicBezTo>
                  <a:pt x="7866471" y="100828"/>
                  <a:pt x="7879220" y="145093"/>
                  <a:pt x="7885595" y="167227"/>
                </a:cubicBezTo>
                <a:cubicBezTo>
                  <a:pt x="7898344" y="145093"/>
                  <a:pt x="7904719" y="111894"/>
                  <a:pt x="7923845" y="56563"/>
                </a:cubicBezTo>
                <a:cubicBezTo>
                  <a:pt x="8025840" y="311090"/>
                  <a:pt x="8178834" y="156162"/>
                  <a:pt x="8280832" y="200427"/>
                </a:cubicBezTo>
                <a:cubicBezTo>
                  <a:pt x="8287207" y="333224"/>
                  <a:pt x="8293581" y="466021"/>
                  <a:pt x="8299956" y="587751"/>
                </a:cubicBezTo>
                <a:cubicBezTo>
                  <a:pt x="8421077" y="554551"/>
                  <a:pt x="8516698" y="532417"/>
                  <a:pt x="8612319" y="510286"/>
                </a:cubicBezTo>
                <a:cubicBezTo>
                  <a:pt x="8586820" y="554551"/>
                  <a:pt x="8567697" y="598816"/>
                  <a:pt x="8542196" y="643084"/>
                </a:cubicBezTo>
                <a:cubicBezTo>
                  <a:pt x="8542196" y="654149"/>
                  <a:pt x="8548571" y="665214"/>
                  <a:pt x="8554945" y="676283"/>
                </a:cubicBezTo>
                <a:cubicBezTo>
                  <a:pt x="8618693" y="643084"/>
                  <a:pt x="8682441" y="609884"/>
                  <a:pt x="8752564" y="576685"/>
                </a:cubicBezTo>
                <a:cubicBezTo>
                  <a:pt x="8746189" y="632015"/>
                  <a:pt x="8739815" y="654149"/>
                  <a:pt x="8733440" y="698414"/>
                </a:cubicBezTo>
                <a:cubicBezTo>
                  <a:pt x="8778064" y="654149"/>
                  <a:pt x="8816312" y="620950"/>
                  <a:pt x="8867311" y="576685"/>
                </a:cubicBezTo>
                <a:cubicBezTo>
                  <a:pt x="8860936" y="643084"/>
                  <a:pt x="8854561" y="676283"/>
                  <a:pt x="8854561" y="709482"/>
                </a:cubicBezTo>
                <a:cubicBezTo>
                  <a:pt x="8880060" y="698414"/>
                  <a:pt x="8899184" y="687349"/>
                  <a:pt x="8931059" y="676283"/>
                </a:cubicBezTo>
                <a:cubicBezTo>
                  <a:pt x="8924684" y="720548"/>
                  <a:pt x="8918307" y="742682"/>
                  <a:pt x="8911933" y="775878"/>
                </a:cubicBezTo>
                <a:cubicBezTo>
                  <a:pt x="8943808" y="786947"/>
                  <a:pt x="8975681" y="798012"/>
                  <a:pt x="9013930" y="809078"/>
                </a:cubicBezTo>
                <a:cubicBezTo>
                  <a:pt x="8988430" y="853345"/>
                  <a:pt x="8962932" y="897610"/>
                  <a:pt x="8943808" y="930810"/>
                </a:cubicBezTo>
                <a:cubicBezTo>
                  <a:pt x="8950182" y="941875"/>
                  <a:pt x="8956557" y="952944"/>
                  <a:pt x="8962932" y="964009"/>
                </a:cubicBezTo>
                <a:cubicBezTo>
                  <a:pt x="8988430" y="919744"/>
                  <a:pt x="9013930" y="875476"/>
                  <a:pt x="9045803" y="831211"/>
                </a:cubicBezTo>
                <a:cubicBezTo>
                  <a:pt x="9147801" y="919744"/>
                  <a:pt x="9205172" y="775878"/>
                  <a:pt x="9275295" y="654149"/>
                </a:cubicBezTo>
                <a:cubicBezTo>
                  <a:pt x="9268920" y="709482"/>
                  <a:pt x="9268920" y="753747"/>
                  <a:pt x="9262546" y="809078"/>
                </a:cubicBezTo>
                <a:cubicBezTo>
                  <a:pt x="9288046" y="764813"/>
                  <a:pt x="9307170" y="742682"/>
                  <a:pt x="9326294" y="709482"/>
                </a:cubicBezTo>
                <a:cubicBezTo>
                  <a:pt x="9326294" y="786947"/>
                  <a:pt x="9332668" y="842277"/>
                  <a:pt x="9332668" y="930810"/>
                </a:cubicBezTo>
                <a:cubicBezTo>
                  <a:pt x="9377292" y="875476"/>
                  <a:pt x="9409165" y="820146"/>
                  <a:pt x="9428291" y="786947"/>
                </a:cubicBezTo>
                <a:cubicBezTo>
                  <a:pt x="9460164" y="864411"/>
                  <a:pt x="9485663" y="930810"/>
                  <a:pt x="9492037" y="941875"/>
                </a:cubicBezTo>
                <a:cubicBezTo>
                  <a:pt x="9549411" y="875476"/>
                  <a:pt x="9594035" y="820146"/>
                  <a:pt x="9651408" y="753747"/>
                </a:cubicBezTo>
                <a:cubicBezTo>
                  <a:pt x="9651408" y="742682"/>
                  <a:pt x="9657783" y="654149"/>
                  <a:pt x="9676907" y="654149"/>
                </a:cubicBezTo>
                <a:cubicBezTo>
                  <a:pt x="9715154" y="643084"/>
                  <a:pt x="9753404" y="665214"/>
                  <a:pt x="9791653" y="687349"/>
                </a:cubicBezTo>
                <a:cubicBezTo>
                  <a:pt x="9804402" y="698414"/>
                  <a:pt x="9810777" y="764813"/>
                  <a:pt x="9823526" y="764813"/>
                </a:cubicBezTo>
                <a:cubicBezTo>
                  <a:pt x="9906398" y="786947"/>
                  <a:pt x="9989270" y="831211"/>
                  <a:pt x="10072142" y="809078"/>
                </a:cubicBezTo>
                <a:cubicBezTo>
                  <a:pt x="10142264" y="786947"/>
                  <a:pt x="10212387" y="709482"/>
                  <a:pt x="10288884" y="643084"/>
                </a:cubicBezTo>
                <a:cubicBezTo>
                  <a:pt x="10244262" y="742682"/>
                  <a:pt x="10218761" y="886545"/>
                  <a:pt x="10123140" y="919744"/>
                </a:cubicBezTo>
                <a:cubicBezTo>
                  <a:pt x="10250636" y="975074"/>
                  <a:pt x="10314384" y="809078"/>
                  <a:pt x="10397256" y="709482"/>
                </a:cubicBezTo>
                <a:cubicBezTo>
                  <a:pt x="10422754" y="676283"/>
                  <a:pt x="10480128" y="676283"/>
                  <a:pt x="10512001" y="698414"/>
                </a:cubicBezTo>
                <a:cubicBezTo>
                  <a:pt x="10537501" y="720548"/>
                  <a:pt x="10575749" y="809078"/>
                  <a:pt x="10512001" y="864411"/>
                </a:cubicBezTo>
                <a:cubicBezTo>
                  <a:pt x="10499252" y="864411"/>
                  <a:pt x="10499252" y="908676"/>
                  <a:pt x="10492877" y="952944"/>
                </a:cubicBezTo>
                <a:cubicBezTo>
                  <a:pt x="10556625" y="908676"/>
                  <a:pt x="10613998" y="875476"/>
                  <a:pt x="10684121" y="831211"/>
                </a:cubicBezTo>
                <a:cubicBezTo>
                  <a:pt x="10620373" y="952944"/>
                  <a:pt x="10582123" y="1041473"/>
                  <a:pt x="10537501" y="1130006"/>
                </a:cubicBezTo>
                <a:cubicBezTo>
                  <a:pt x="10543876" y="1141071"/>
                  <a:pt x="10550250" y="1141071"/>
                  <a:pt x="10556625" y="1152137"/>
                </a:cubicBezTo>
                <a:cubicBezTo>
                  <a:pt x="10582123" y="1118937"/>
                  <a:pt x="10607624" y="1074672"/>
                  <a:pt x="10633122" y="1041473"/>
                </a:cubicBezTo>
                <a:cubicBezTo>
                  <a:pt x="10652246" y="1019342"/>
                  <a:pt x="10696870" y="1008274"/>
                  <a:pt x="10703245" y="1019342"/>
                </a:cubicBezTo>
                <a:cubicBezTo>
                  <a:pt x="10760618" y="1163205"/>
                  <a:pt x="10805242" y="1063607"/>
                  <a:pt x="10856239" y="997209"/>
                </a:cubicBezTo>
                <a:cubicBezTo>
                  <a:pt x="10894489" y="952944"/>
                  <a:pt x="10970986" y="875476"/>
                  <a:pt x="10983735" y="986143"/>
                </a:cubicBezTo>
                <a:cubicBezTo>
                  <a:pt x="11015608" y="1207470"/>
                  <a:pt x="11066607" y="1063607"/>
                  <a:pt x="11117605" y="1041473"/>
                </a:cubicBezTo>
                <a:cubicBezTo>
                  <a:pt x="11162228" y="1019342"/>
                  <a:pt x="11225976" y="897610"/>
                  <a:pt x="11257851" y="1107872"/>
                </a:cubicBezTo>
                <a:cubicBezTo>
                  <a:pt x="11372595" y="1019342"/>
                  <a:pt x="11474593" y="941875"/>
                  <a:pt x="11595712" y="842277"/>
                </a:cubicBezTo>
                <a:cubicBezTo>
                  <a:pt x="11506466" y="975074"/>
                  <a:pt x="11436343" y="1074672"/>
                  <a:pt x="11359846" y="1185336"/>
                </a:cubicBezTo>
                <a:cubicBezTo>
                  <a:pt x="11372595" y="1196405"/>
                  <a:pt x="11378970" y="1207470"/>
                  <a:pt x="11385347" y="1229604"/>
                </a:cubicBezTo>
                <a:cubicBezTo>
                  <a:pt x="11544715" y="1041473"/>
                  <a:pt x="11697710" y="864411"/>
                  <a:pt x="11857079" y="676283"/>
                </a:cubicBezTo>
                <a:cubicBezTo>
                  <a:pt x="11857079" y="687349"/>
                  <a:pt x="11863453" y="698414"/>
                  <a:pt x="11863453" y="698414"/>
                </a:cubicBezTo>
                <a:cubicBezTo>
                  <a:pt x="11691335" y="997209"/>
                  <a:pt x="11519215" y="1295999"/>
                  <a:pt x="11347097" y="1583729"/>
                </a:cubicBezTo>
                <a:cubicBezTo>
                  <a:pt x="11359846" y="1605859"/>
                  <a:pt x="11366221" y="1627993"/>
                  <a:pt x="11366221" y="1627993"/>
                </a:cubicBezTo>
                <a:cubicBezTo>
                  <a:pt x="11296098" y="1716526"/>
                  <a:pt x="11232350" y="1805056"/>
                  <a:pt x="11162228" y="1904654"/>
                </a:cubicBezTo>
                <a:cubicBezTo>
                  <a:pt x="11194103" y="1915719"/>
                  <a:pt x="11213226" y="1926788"/>
                  <a:pt x="11219601" y="1926788"/>
                </a:cubicBezTo>
                <a:cubicBezTo>
                  <a:pt x="11155853" y="2004252"/>
                  <a:pt x="11085731" y="2092781"/>
                  <a:pt x="11002859" y="2203448"/>
                </a:cubicBezTo>
                <a:cubicBezTo>
                  <a:pt x="11066607" y="2170249"/>
                  <a:pt x="11111231" y="2137050"/>
                  <a:pt x="11155853" y="2114915"/>
                </a:cubicBezTo>
                <a:cubicBezTo>
                  <a:pt x="11162228" y="2125981"/>
                  <a:pt x="11162228" y="2137050"/>
                  <a:pt x="11168604" y="2159180"/>
                </a:cubicBezTo>
                <a:cubicBezTo>
                  <a:pt x="11098482" y="2225579"/>
                  <a:pt x="11034734" y="2291978"/>
                  <a:pt x="10951862" y="2391576"/>
                </a:cubicBezTo>
                <a:cubicBezTo>
                  <a:pt x="11028359" y="2391576"/>
                  <a:pt x="11079356" y="2402645"/>
                  <a:pt x="11130355" y="2402645"/>
                </a:cubicBezTo>
                <a:cubicBezTo>
                  <a:pt x="11111231" y="2435841"/>
                  <a:pt x="11092105" y="2469040"/>
                  <a:pt x="11066607" y="2513308"/>
                </a:cubicBezTo>
                <a:cubicBezTo>
                  <a:pt x="11315224" y="2424775"/>
                  <a:pt x="11506466" y="2026386"/>
                  <a:pt x="11780582" y="2137050"/>
                </a:cubicBezTo>
                <a:cubicBezTo>
                  <a:pt x="11723208" y="2192380"/>
                  <a:pt x="11659460" y="2236648"/>
                  <a:pt x="11582963" y="2303046"/>
                </a:cubicBezTo>
                <a:cubicBezTo>
                  <a:pt x="11621213" y="2325177"/>
                  <a:pt x="11633962" y="2336246"/>
                  <a:pt x="11653086" y="2336246"/>
                </a:cubicBezTo>
                <a:cubicBezTo>
                  <a:pt x="11646711" y="2347311"/>
                  <a:pt x="11646711" y="2369445"/>
                  <a:pt x="11646711" y="2380511"/>
                </a:cubicBezTo>
                <a:cubicBezTo>
                  <a:pt x="11614838" y="2358377"/>
                  <a:pt x="11582963" y="2347311"/>
                  <a:pt x="11576588" y="2347311"/>
                </a:cubicBezTo>
                <a:cubicBezTo>
                  <a:pt x="11512841" y="2469040"/>
                  <a:pt x="11449093" y="2579707"/>
                  <a:pt x="11385347" y="2701436"/>
                </a:cubicBezTo>
                <a:cubicBezTo>
                  <a:pt x="11455469" y="2657171"/>
                  <a:pt x="11519215" y="2612906"/>
                  <a:pt x="11582963" y="2579707"/>
                </a:cubicBezTo>
                <a:cubicBezTo>
                  <a:pt x="11633962" y="2546508"/>
                  <a:pt x="11691335" y="2568638"/>
                  <a:pt x="11742332" y="2535439"/>
                </a:cubicBezTo>
                <a:cubicBezTo>
                  <a:pt x="11901703" y="2424775"/>
                  <a:pt x="12061070" y="2303046"/>
                  <a:pt x="12226815" y="2181314"/>
                </a:cubicBezTo>
                <a:cubicBezTo>
                  <a:pt x="12226815" y="2192380"/>
                  <a:pt x="12226815" y="2192380"/>
                  <a:pt x="12233190" y="2203448"/>
                </a:cubicBezTo>
                <a:cubicBezTo>
                  <a:pt x="12207692" y="2225579"/>
                  <a:pt x="12182193" y="2247713"/>
                  <a:pt x="12150318" y="2280912"/>
                </a:cubicBezTo>
                <a:cubicBezTo>
                  <a:pt x="12175817" y="2291978"/>
                  <a:pt x="12188566" y="2303046"/>
                  <a:pt x="12201315" y="2303046"/>
                </a:cubicBezTo>
                <a:cubicBezTo>
                  <a:pt x="12067446" y="2457975"/>
                  <a:pt x="11933576" y="2623972"/>
                  <a:pt x="11799705" y="2756769"/>
                </a:cubicBezTo>
                <a:cubicBezTo>
                  <a:pt x="11417220" y="3133028"/>
                  <a:pt x="11028359" y="3498218"/>
                  <a:pt x="10639497" y="3852346"/>
                </a:cubicBezTo>
                <a:cubicBezTo>
                  <a:pt x="10582123" y="3907676"/>
                  <a:pt x="10518377" y="3940875"/>
                  <a:pt x="10454629" y="3940875"/>
                </a:cubicBezTo>
                <a:cubicBezTo>
                  <a:pt x="9555785" y="3940875"/>
                  <a:pt x="8663318" y="3940875"/>
                  <a:pt x="7764474" y="3940875"/>
                </a:cubicBezTo>
                <a:cubicBezTo>
                  <a:pt x="6923005" y="3940875"/>
                  <a:pt x="6087910" y="3951944"/>
                  <a:pt x="5246441" y="3940875"/>
                </a:cubicBezTo>
                <a:cubicBezTo>
                  <a:pt x="5173129" y="3940875"/>
                  <a:pt x="5096632" y="3954708"/>
                  <a:pt x="5020931" y="3949177"/>
                </a:cubicBezTo>
                <a:cubicBezTo>
                  <a:pt x="4945232" y="3943642"/>
                  <a:pt x="4870328" y="3918744"/>
                  <a:pt x="4800205" y="3841277"/>
                </a:cubicBezTo>
                <a:cubicBezTo>
                  <a:pt x="4787455" y="3819146"/>
                  <a:pt x="4755583" y="3819146"/>
                  <a:pt x="4736459" y="3830212"/>
                </a:cubicBezTo>
                <a:cubicBezTo>
                  <a:pt x="4647210" y="3863411"/>
                  <a:pt x="4551590" y="3929810"/>
                  <a:pt x="4455968" y="3929810"/>
                </a:cubicBezTo>
                <a:cubicBezTo>
                  <a:pt x="3958735" y="3940875"/>
                  <a:pt x="3455128" y="3940875"/>
                  <a:pt x="2957895" y="3940875"/>
                </a:cubicBezTo>
                <a:cubicBezTo>
                  <a:pt x="2868649" y="3940875"/>
                  <a:pt x="2779403" y="3874476"/>
                  <a:pt x="2690154" y="3841277"/>
                </a:cubicBezTo>
                <a:cubicBezTo>
                  <a:pt x="2690154" y="3852346"/>
                  <a:pt x="2683780" y="3896610"/>
                  <a:pt x="2683780" y="3907676"/>
                </a:cubicBezTo>
                <a:cubicBezTo>
                  <a:pt x="2511661" y="3907676"/>
                  <a:pt x="2345918" y="3907676"/>
                  <a:pt x="2173798" y="3907676"/>
                </a:cubicBezTo>
                <a:cubicBezTo>
                  <a:pt x="2167423" y="3896610"/>
                  <a:pt x="2161049" y="3841277"/>
                  <a:pt x="2154674" y="3830212"/>
                </a:cubicBezTo>
                <a:cubicBezTo>
                  <a:pt x="2097301" y="3874476"/>
                  <a:pt x="2052679" y="3929810"/>
                  <a:pt x="2008054" y="3940875"/>
                </a:cubicBezTo>
                <a:cubicBezTo>
                  <a:pt x="1880558" y="3951944"/>
                  <a:pt x="1753062" y="3940875"/>
                  <a:pt x="1625569" y="3940875"/>
                </a:cubicBezTo>
                <a:cubicBezTo>
                  <a:pt x="1491698" y="3940875"/>
                  <a:pt x="1357827" y="3940875"/>
                  <a:pt x="1230331" y="3940875"/>
                </a:cubicBezTo>
                <a:cubicBezTo>
                  <a:pt x="1102836" y="3940875"/>
                  <a:pt x="962590" y="3863411"/>
                  <a:pt x="847846" y="3929810"/>
                </a:cubicBezTo>
                <a:cubicBezTo>
                  <a:pt x="707600" y="4007274"/>
                  <a:pt x="624727" y="3797012"/>
                  <a:pt x="490858" y="3841277"/>
                </a:cubicBezTo>
                <a:cubicBezTo>
                  <a:pt x="369737" y="3885545"/>
                  <a:pt x="229492" y="3841277"/>
                  <a:pt x="114745" y="3697414"/>
                </a:cubicBezTo>
                <a:cubicBezTo>
                  <a:pt x="82872" y="3664215"/>
                  <a:pt x="38250" y="3631015"/>
                  <a:pt x="0" y="3608885"/>
                </a:cubicBezTo>
                <a:cubicBezTo>
                  <a:pt x="50999" y="3564617"/>
                  <a:pt x="101996" y="3498218"/>
                  <a:pt x="152995" y="3476087"/>
                </a:cubicBezTo>
                <a:cubicBezTo>
                  <a:pt x="235866" y="3431822"/>
                  <a:pt x="325115" y="3409688"/>
                  <a:pt x="407986" y="3376489"/>
                </a:cubicBezTo>
                <a:cubicBezTo>
                  <a:pt x="401610" y="3354355"/>
                  <a:pt x="401610" y="3343290"/>
                  <a:pt x="401610" y="3332224"/>
                </a:cubicBezTo>
                <a:cubicBezTo>
                  <a:pt x="420736" y="3365424"/>
                  <a:pt x="439859" y="3398623"/>
                  <a:pt x="465360" y="3431822"/>
                </a:cubicBezTo>
                <a:cubicBezTo>
                  <a:pt x="452609" y="3332224"/>
                  <a:pt x="439859" y="3243691"/>
                  <a:pt x="427110" y="3144093"/>
                </a:cubicBezTo>
                <a:cubicBezTo>
                  <a:pt x="560981" y="3133028"/>
                  <a:pt x="682102" y="3066629"/>
                  <a:pt x="784098" y="3121962"/>
                </a:cubicBezTo>
                <a:lnTo>
                  <a:pt x="693626" y="3415129"/>
                </a:lnTo>
                <a:lnTo>
                  <a:pt x="682102" y="3431822"/>
                </a:lnTo>
                <a:lnTo>
                  <a:pt x="685942" y="3436063"/>
                </a:lnTo>
                <a:lnTo>
                  <a:pt x="621540" y="3543869"/>
                </a:lnTo>
                <a:cubicBezTo>
                  <a:pt x="616760" y="3592285"/>
                  <a:pt x="627915" y="3653149"/>
                  <a:pt x="650227" y="3730613"/>
                </a:cubicBezTo>
                <a:cubicBezTo>
                  <a:pt x="707600" y="3642084"/>
                  <a:pt x="764974" y="3564617"/>
                  <a:pt x="822347" y="3487152"/>
                </a:cubicBezTo>
                <a:cubicBezTo>
                  <a:pt x="815971" y="3465018"/>
                  <a:pt x="803222" y="3453953"/>
                  <a:pt x="796847" y="3431822"/>
                </a:cubicBezTo>
                <a:cubicBezTo>
                  <a:pt x="784098" y="3453953"/>
                  <a:pt x="771349" y="3476087"/>
                  <a:pt x="752225" y="3509286"/>
                </a:cubicBezTo>
                <a:lnTo>
                  <a:pt x="685942" y="3436063"/>
                </a:lnTo>
                <a:lnTo>
                  <a:pt x="688477" y="3431822"/>
                </a:lnTo>
                <a:lnTo>
                  <a:pt x="693626" y="3415129"/>
                </a:lnTo>
                <a:lnTo>
                  <a:pt x="718756" y="3378736"/>
                </a:lnTo>
                <a:cubicBezTo>
                  <a:pt x="751029" y="3306633"/>
                  <a:pt x="776129" y="3204958"/>
                  <a:pt x="847846" y="3321155"/>
                </a:cubicBezTo>
                <a:cubicBezTo>
                  <a:pt x="873344" y="3221557"/>
                  <a:pt x="905219" y="3121962"/>
                  <a:pt x="937092" y="3022364"/>
                </a:cubicBezTo>
                <a:cubicBezTo>
                  <a:pt x="924343" y="3000230"/>
                  <a:pt x="905219" y="2989165"/>
                  <a:pt x="866969" y="2933832"/>
                </a:cubicBezTo>
                <a:cubicBezTo>
                  <a:pt x="930717" y="2922766"/>
                  <a:pt x="975342" y="2911701"/>
                  <a:pt x="1026339" y="2900632"/>
                </a:cubicBezTo>
                <a:cubicBezTo>
                  <a:pt x="1013589" y="2889567"/>
                  <a:pt x="1000840" y="2867433"/>
                  <a:pt x="988091" y="2856367"/>
                </a:cubicBezTo>
                <a:cubicBezTo>
                  <a:pt x="988091" y="2845302"/>
                  <a:pt x="994465" y="2834233"/>
                  <a:pt x="994465" y="2823168"/>
                </a:cubicBezTo>
                <a:cubicBezTo>
                  <a:pt x="1013589" y="2834233"/>
                  <a:pt x="1039089" y="2834233"/>
                  <a:pt x="1077337" y="2845302"/>
                </a:cubicBezTo>
                <a:cubicBezTo>
                  <a:pt x="943467" y="3099828"/>
                  <a:pt x="930717" y="3166227"/>
                  <a:pt x="1013589" y="3276891"/>
                </a:cubicBezTo>
                <a:cubicBezTo>
                  <a:pt x="1007215" y="3332224"/>
                  <a:pt x="994465" y="3387554"/>
                  <a:pt x="981716" y="3442888"/>
                </a:cubicBezTo>
                <a:cubicBezTo>
                  <a:pt x="1058213" y="3254757"/>
                  <a:pt x="1211208" y="3144093"/>
                  <a:pt x="1192084" y="2856367"/>
                </a:cubicBezTo>
                <a:cubicBezTo>
                  <a:pt x="1153835" y="2867433"/>
                  <a:pt x="1128336" y="2867433"/>
                  <a:pt x="1077337" y="2867433"/>
                </a:cubicBezTo>
                <a:cubicBezTo>
                  <a:pt x="1141085" y="2801034"/>
                  <a:pt x="1185709" y="2756769"/>
                  <a:pt x="1204833" y="2734635"/>
                </a:cubicBezTo>
                <a:cubicBezTo>
                  <a:pt x="1198458" y="2635040"/>
                  <a:pt x="1192084" y="2568638"/>
                  <a:pt x="1185709" y="2502239"/>
                </a:cubicBezTo>
                <a:cubicBezTo>
                  <a:pt x="1255832" y="2491174"/>
                  <a:pt x="1306829" y="2469040"/>
                  <a:pt x="1364202" y="2457975"/>
                </a:cubicBezTo>
                <a:cubicBezTo>
                  <a:pt x="1357827" y="2446909"/>
                  <a:pt x="1357827" y="2424775"/>
                  <a:pt x="1357827" y="2413710"/>
                </a:cubicBezTo>
                <a:cubicBezTo>
                  <a:pt x="1338704" y="2413710"/>
                  <a:pt x="1319578" y="2402645"/>
                  <a:pt x="1300454" y="2402645"/>
                </a:cubicBezTo>
                <a:cubicBezTo>
                  <a:pt x="1300454" y="2391576"/>
                  <a:pt x="1300454" y="2369445"/>
                  <a:pt x="1300454" y="2358377"/>
                </a:cubicBezTo>
                <a:cubicBezTo>
                  <a:pt x="1332329" y="2347311"/>
                  <a:pt x="1396077" y="2358377"/>
                  <a:pt x="1408826" y="2325177"/>
                </a:cubicBezTo>
                <a:cubicBezTo>
                  <a:pt x="1459823" y="2159180"/>
                  <a:pt x="1523571" y="2236648"/>
                  <a:pt x="1600068" y="2280912"/>
                </a:cubicBezTo>
                <a:cubicBezTo>
                  <a:pt x="1536320" y="2424775"/>
                  <a:pt x="1472572" y="2557573"/>
                  <a:pt x="1415201" y="2690370"/>
                </a:cubicBezTo>
                <a:cubicBezTo>
                  <a:pt x="1440699" y="2679305"/>
                  <a:pt x="1466198" y="2657171"/>
                  <a:pt x="1498073" y="2635040"/>
                </a:cubicBezTo>
                <a:cubicBezTo>
                  <a:pt x="1517196" y="2646106"/>
                  <a:pt x="1542697" y="2657171"/>
                  <a:pt x="1561821" y="2668236"/>
                </a:cubicBezTo>
                <a:cubicBezTo>
                  <a:pt x="1612817" y="2646106"/>
                  <a:pt x="1670191" y="2635040"/>
                  <a:pt x="1714815" y="2590772"/>
                </a:cubicBezTo>
                <a:cubicBezTo>
                  <a:pt x="1772188" y="2535439"/>
                  <a:pt x="1816811" y="2435841"/>
                  <a:pt x="1874184" y="2380511"/>
                </a:cubicBezTo>
                <a:cubicBezTo>
                  <a:pt x="1944307" y="2314112"/>
                  <a:pt x="2020804" y="2258778"/>
                  <a:pt x="2084552" y="2214514"/>
                </a:cubicBezTo>
                <a:cubicBezTo>
                  <a:pt x="2084552" y="2225579"/>
                  <a:pt x="2078177" y="2269847"/>
                  <a:pt x="2071802" y="2369445"/>
                </a:cubicBezTo>
                <a:cubicBezTo>
                  <a:pt x="2135550" y="2247713"/>
                  <a:pt x="2180173" y="2159180"/>
                  <a:pt x="2218422" y="2070651"/>
                </a:cubicBezTo>
                <a:cubicBezTo>
                  <a:pt x="2224797" y="2070651"/>
                  <a:pt x="2231171" y="2081716"/>
                  <a:pt x="2237546" y="2092781"/>
                </a:cubicBezTo>
                <a:cubicBezTo>
                  <a:pt x="2237546" y="2125981"/>
                  <a:pt x="2231171" y="2148115"/>
                  <a:pt x="2224797" y="2181314"/>
                </a:cubicBezTo>
                <a:cubicBezTo>
                  <a:pt x="2511661" y="1959987"/>
                  <a:pt x="2798527" y="1749726"/>
                  <a:pt x="3098141" y="1528395"/>
                </a:cubicBezTo>
                <a:cubicBezTo>
                  <a:pt x="3072642" y="1605859"/>
                  <a:pt x="3053516" y="1661193"/>
                  <a:pt x="3021643" y="1760791"/>
                </a:cubicBezTo>
                <a:cubicBezTo>
                  <a:pt x="3072642" y="1694392"/>
                  <a:pt x="3104515" y="1661193"/>
                  <a:pt x="3149139" y="1605859"/>
                </a:cubicBezTo>
                <a:cubicBezTo>
                  <a:pt x="3123639" y="1738657"/>
                  <a:pt x="3104515" y="1827190"/>
                  <a:pt x="3085391" y="1926788"/>
                </a:cubicBezTo>
                <a:cubicBezTo>
                  <a:pt x="3130014" y="1915719"/>
                  <a:pt x="3161889" y="1904654"/>
                  <a:pt x="3219262" y="1893588"/>
                </a:cubicBezTo>
                <a:cubicBezTo>
                  <a:pt x="3110890" y="2114915"/>
                  <a:pt x="3028018" y="2303046"/>
                  <a:pt x="2945146" y="2491174"/>
                </a:cubicBezTo>
                <a:cubicBezTo>
                  <a:pt x="2957895" y="2502239"/>
                  <a:pt x="2970645" y="2535439"/>
                  <a:pt x="2977019" y="2535439"/>
                </a:cubicBezTo>
                <a:cubicBezTo>
                  <a:pt x="3008894" y="2491174"/>
                  <a:pt x="3034393" y="2457975"/>
                  <a:pt x="3059891" y="2424775"/>
                </a:cubicBezTo>
                <a:cubicBezTo>
                  <a:pt x="3110890" y="2380511"/>
                  <a:pt x="3187387" y="2336246"/>
                  <a:pt x="3200136" y="2269847"/>
                </a:cubicBezTo>
                <a:cubicBezTo>
                  <a:pt x="3232011" y="2070651"/>
                  <a:pt x="3314883" y="2081716"/>
                  <a:pt x="3410504" y="2081716"/>
                </a:cubicBezTo>
                <a:cubicBezTo>
                  <a:pt x="3385005" y="2048517"/>
                  <a:pt x="3365882" y="2026386"/>
                  <a:pt x="3346756" y="1993187"/>
                </a:cubicBezTo>
                <a:cubicBezTo>
                  <a:pt x="3429630" y="1937853"/>
                  <a:pt x="3506127" y="1882520"/>
                  <a:pt x="3582624" y="1805056"/>
                </a:cubicBezTo>
                <a:cubicBezTo>
                  <a:pt x="3601748" y="1793990"/>
                  <a:pt x="3627246" y="1727591"/>
                  <a:pt x="3620872" y="1694392"/>
                </a:cubicBezTo>
                <a:cubicBezTo>
                  <a:pt x="3608122" y="1495196"/>
                  <a:pt x="3703743" y="1484130"/>
                  <a:pt x="3767491" y="1395598"/>
                </a:cubicBezTo>
                <a:cubicBezTo>
                  <a:pt x="3888613" y="1251735"/>
                  <a:pt x="4009734" y="1085738"/>
                  <a:pt x="4130853" y="930810"/>
                </a:cubicBezTo>
                <a:cubicBezTo>
                  <a:pt x="4162728" y="886545"/>
                  <a:pt x="4194601" y="853345"/>
                  <a:pt x="4226476" y="820146"/>
                </a:cubicBezTo>
                <a:cubicBezTo>
                  <a:pt x="4296597" y="731613"/>
                  <a:pt x="4366721" y="654149"/>
                  <a:pt x="4436842" y="565616"/>
                </a:cubicBezTo>
                <a:cubicBezTo>
                  <a:pt x="4487841" y="632015"/>
                  <a:pt x="4577088" y="432822"/>
                  <a:pt x="4666335" y="576685"/>
                </a:cubicBezTo>
                <a:cubicBezTo>
                  <a:pt x="4698208" y="632015"/>
                  <a:pt x="4812955" y="532417"/>
                  <a:pt x="4889452" y="532417"/>
                </a:cubicBezTo>
                <a:cubicBezTo>
                  <a:pt x="4959576" y="532417"/>
                  <a:pt x="5029697" y="587751"/>
                  <a:pt x="5087070" y="620950"/>
                </a:cubicBezTo>
                <a:cubicBezTo>
                  <a:pt x="5061570" y="853345"/>
                  <a:pt x="5157192" y="1152137"/>
                  <a:pt x="4985074" y="1329199"/>
                </a:cubicBezTo>
                <a:cubicBezTo>
                  <a:pt x="5106195" y="1318133"/>
                  <a:pt x="5208191" y="1229604"/>
                  <a:pt x="5322937" y="1295999"/>
                </a:cubicBezTo>
                <a:cubicBezTo>
                  <a:pt x="5322937" y="1118937"/>
                  <a:pt x="5386685" y="1030408"/>
                  <a:pt x="5507805" y="1008274"/>
                </a:cubicBezTo>
                <a:cubicBezTo>
                  <a:pt x="5533306" y="1008274"/>
                  <a:pt x="5558803" y="975074"/>
                  <a:pt x="5584301" y="952944"/>
                </a:cubicBezTo>
                <a:cubicBezTo>
                  <a:pt x="5571552" y="919744"/>
                  <a:pt x="5558803" y="875476"/>
                  <a:pt x="5539679" y="831211"/>
                </a:cubicBezTo>
                <a:cubicBezTo>
                  <a:pt x="5584301" y="798012"/>
                  <a:pt x="5660799" y="997209"/>
                  <a:pt x="5667173" y="775878"/>
                </a:cubicBezTo>
                <a:cubicBezTo>
                  <a:pt x="5781921" y="820146"/>
                  <a:pt x="5781921" y="820146"/>
                  <a:pt x="5781921" y="609884"/>
                </a:cubicBezTo>
                <a:cubicBezTo>
                  <a:pt x="5858419" y="676283"/>
                  <a:pt x="5909416" y="665214"/>
                  <a:pt x="5928540" y="510286"/>
                </a:cubicBezTo>
                <a:cubicBezTo>
                  <a:pt x="5973165" y="620950"/>
                  <a:pt x="6011412" y="731613"/>
                  <a:pt x="6056037" y="831211"/>
                </a:cubicBezTo>
                <a:cubicBezTo>
                  <a:pt x="6068786" y="831211"/>
                  <a:pt x="6075159" y="820146"/>
                  <a:pt x="6087910" y="809078"/>
                </a:cubicBezTo>
                <a:cubicBezTo>
                  <a:pt x="5998663" y="654149"/>
                  <a:pt x="6087910" y="576685"/>
                  <a:pt x="6126158" y="466021"/>
                </a:cubicBezTo>
                <a:cubicBezTo>
                  <a:pt x="6151657" y="499221"/>
                  <a:pt x="6170781" y="521352"/>
                  <a:pt x="6196281" y="543486"/>
                </a:cubicBezTo>
                <a:cubicBezTo>
                  <a:pt x="6170781" y="598816"/>
                  <a:pt x="6151657" y="643084"/>
                  <a:pt x="6138908" y="665214"/>
                </a:cubicBezTo>
                <a:cubicBezTo>
                  <a:pt x="6170781" y="720548"/>
                  <a:pt x="6196281" y="764813"/>
                  <a:pt x="6221780" y="798012"/>
                </a:cubicBezTo>
                <a:cubicBezTo>
                  <a:pt x="6266403" y="742682"/>
                  <a:pt x="6311027" y="665214"/>
                  <a:pt x="6355650" y="598816"/>
                </a:cubicBezTo>
                <a:cubicBezTo>
                  <a:pt x="6527768" y="786947"/>
                  <a:pt x="6298277" y="820146"/>
                  <a:pt x="6311027" y="952944"/>
                </a:cubicBezTo>
                <a:cubicBezTo>
                  <a:pt x="6355650" y="930810"/>
                  <a:pt x="6393899" y="908676"/>
                  <a:pt x="6438521" y="886545"/>
                </a:cubicBezTo>
                <a:cubicBezTo>
                  <a:pt x="6438521" y="864411"/>
                  <a:pt x="6438521" y="831211"/>
                  <a:pt x="6432147" y="786947"/>
                </a:cubicBezTo>
                <a:cubicBezTo>
                  <a:pt x="6464020" y="798012"/>
                  <a:pt x="6495896" y="809078"/>
                  <a:pt x="6527768" y="820146"/>
                </a:cubicBezTo>
                <a:cubicBezTo>
                  <a:pt x="6566017" y="764813"/>
                  <a:pt x="6610640" y="676283"/>
                  <a:pt x="6674388" y="565616"/>
                </a:cubicBezTo>
                <a:cubicBezTo>
                  <a:pt x="6661639" y="643084"/>
                  <a:pt x="6655264" y="676283"/>
                  <a:pt x="6655264" y="687349"/>
                </a:cubicBezTo>
                <a:cubicBezTo>
                  <a:pt x="6731761" y="643084"/>
                  <a:pt x="6801884" y="598816"/>
                  <a:pt x="6872007" y="543486"/>
                </a:cubicBezTo>
                <a:cubicBezTo>
                  <a:pt x="6916630" y="510286"/>
                  <a:pt x="6967627" y="466021"/>
                  <a:pt x="6999502" y="410688"/>
                </a:cubicBezTo>
                <a:cubicBezTo>
                  <a:pt x="7101498" y="233626"/>
                  <a:pt x="7222619" y="134028"/>
                  <a:pt x="7356489" y="78694"/>
                </a:cubicBezTo>
                <a:cubicBezTo>
                  <a:pt x="7394737" y="56563"/>
                  <a:pt x="7445736" y="1230"/>
                  <a:pt x="7471234" y="23364"/>
                </a:cubicBezTo>
                <a:cubicBezTo>
                  <a:pt x="7541357" y="78694"/>
                  <a:pt x="7592355" y="12296"/>
                  <a:pt x="7656103" y="123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131502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3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74219566-95AD-402E-83B1-8ED7C6472452}"/>
              </a:ext>
            </a:extLst>
          </p:cNvPr>
          <p:cNvSpPr>
            <a:spLocks noGrp="1"/>
          </p:cNvSpPr>
          <p:nvPr>
            <p:ph type="pic" sz="quarter" idx="13"/>
          </p:nvPr>
        </p:nvSpPr>
        <p:spPr>
          <a:xfrm>
            <a:off x="1665090" y="495176"/>
            <a:ext cx="13726480" cy="5755108"/>
          </a:xfrm>
          <a:custGeom>
            <a:avLst/>
            <a:gdLst>
              <a:gd name="connsiteX0" fmla="*/ 9846816 w 10329156"/>
              <a:gd name="connsiteY0" fmla="*/ 3675188 h 4384844"/>
              <a:gd name="connsiteX1" fmla="*/ 9841259 w 10329156"/>
              <a:gd name="connsiteY1" fmla="*/ 3680827 h 4384844"/>
              <a:gd name="connsiteX2" fmla="*/ 9861385 w 10329156"/>
              <a:gd name="connsiteY2" fmla="*/ 3686398 h 4384844"/>
              <a:gd name="connsiteX3" fmla="*/ 9868409 w 10329156"/>
              <a:gd name="connsiteY3" fmla="*/ 3682121 h 4384844"/>
              <a:gd name="connsiteX4" fmla="*/ 9251280 w 10329156"/>
              <a:gd name="connsiteY4" fmla="*/ 2940721 h 4384844"/>
              <a:gd name="connsiteX5" fmla="*/ 9275299 w 10329156"/>
              <a:gd name="connsiteY5" fmla="*/ 2947944 h 4384844"/>
              <a:gd name="connsiteX6" fmla="*/ 9287217 w 10329156"/>
              <a:gd name="connsiteY6" fmla="*/ 2950260 h 4384844"/>
              <a:gd name="connsiteX7" fmla="*/ 586000 w 10329156"/>
              <a:gd name="connsiteY7" fmla="*/ 2349662 h 4384844"/>
              <a:gd name="connsiteX8" fmla="*/ 571215 w 10329156"/>
              <a:gd name="connsiteY8" fmla="*/ 2353714 h 4384844"/>
              <a:gd name="connsiteX9" fmla="*/ 573654 w 10329156"/>
              <a:gd name="connsiteY9" fmla="*/ 2353714 h 4384844"/>
              <a:gd name="connsiteX10" fmla="*/ 587633 w 10329156"/>
              <a:gd name="connsiteY10" fmla="*/ 2353714 h 4384844"/>
              <a:gd name="connsiteX11" fmla="*/ 9585152 w 10329156"/>
              <a:gd name="connsiteY11" fmla="*/ 2330734 h 4384844"/>
              <a:gd name="connsiteX12" fmla="*/ 9568037 w 10329156"/>
              <a:gd name="connsiteY12" fmla="*/ 2333906 h 4384844"/>
              <a:gd name="connsiteX13" fmla="*/ 9577185 w 10329156"/>
              <a:gd name="connsiteY13" fmla="*/ 2340096 h 4384844"/>
              <a:gd name="connsiteX14" fmla="*/ 9588914 w 10329156"/>
              <a:gd name="connsiteY14" fmla="*/ 2348033 h 4384844"/>
              <a:gd name="connsiteX15" fmla="*/ 9606154 w 10329156"/>
              <a:gd name="connsiteY15" fmla="*/ 2353352 h 4384844"/>
              <a:gd name="connsiteX16" fmla="*/ 9653419 w 10329156"/>
              <a:gd name="connsiteY16" fmla="*/ 2361399 h 4384844"/>
              <a:gd name="connsiteX17" fmla="*/ 9683495 w 10329156"/>
              <a:gd name="connsiteY17" fmla="*/ 2366949 h 4384844"/>
              <a:gd name="connsiteX18" fmla="*/ 9653419 w 10329156"/>
              <a:gd name="connsiteY18" fmla="*/ 2353714 h 4384844"/>
              <a:gd name="connsiteX19" fmla="*/ 9585152 w 10329156"/>
              <a:gd name="connsiteY19" fmla="*/ 2330734 h 4384844"/>
              <a:gd name="connsiteX20" fmla="*/ 9860775 w 10329156"/>
              <a:gd name="connsiteY20" fmla="*/ 2282168 h 4384844"/>
              <a:gd name="connsiteX21" fmla="*/ 9857421 w 10329156"/>
              <a:gd name="connsiteY21" fmla="*/ 2284025 h 4384844"/>
              <a:gd name="connsiteX22" fmla="*/ 9857106 w 10329156"/>
              <a:gd name="connsiteY22" fmla="*/ 2283430 h 4384844"/>
              <a:gd name="connsiteX23" fmla="*/ 9860775 w 10329156"/>
              <a:gd name="connsiteY23" fmla="*/ 1977368 h 4384844"/>
              <a:gd name="connsiteX24" fmla="*/ 9857421 w 10329156"/>
              <a:gd name="connsiteY24" fmla="*/ 1979225 h 4384844"/>
              <a:gd name="connsiteX25" fmla="*/ 9857106 w 10329156"/>
              <a:gd name="connsiteY25" fmla="*/ 1978630 h 4384844"/>
              <a:gd name="connsiteX26" fmla="*/ 9521004 w 10329156"/>
              <a:gd name="connsiteY26" fmla="*/ 1953535 h 4384844"/>
              <a:gd name="connsiteX27" fmla="*/ 9572915 w 10329156"/>
              <a:gd name="connsiteY27" fmla="*/ 1972673 h 4384844"/>
              <a:gd name="connsiteX28" fmla="*/ 9704648 w 10329156"/>
              <a:gd name="connsiteY28" fmla="*/ 2004861 h 4384844"/>
              <a:gd name="connsiteX29" fmla="*/ 9711365 w 10329156"/>
              <a:gd name="connsiteY29" fmla="*/ 2005157 h 4384844"/>
              <a:gd name="connsiteX30" fmla="*/ 9680253 w 10329156"/>
              <a:gd name="connsiteY30" fmla="*/ 1994700 h 4384844"/>
              <a:gd name="connsiteX31" fmla="*/ 9568037 w 10329156"/>
              <a:gd name="connsiteY31" fmla="*/ 1957561 h 4384844"/>
              <a:gd name="connsiteX32" fmla="*/ 466710 w 10329156"/>
              <a:gd name="connsiteY32" fmla="*/ 1757607 h 4384844"/>
              <a:gd name="connsiteX33" fmla="*/ 459913 w 10329156"/>
              <a:gd name="connsiteY33" fmla="*/ 1759122 h 4384844"/>
              <a:gd name="connsiteX34" fmla="*/ 453789 w 10329156"/>
              <a:gd name="connsiteY34" fmla="*/ 1761388 h 4384844"/>
              <a:gd name="connsiteX35" fmla="*/ 512667 w 10329156"/>
              <a:gd name="connsiteY35" fmla="*/ 1747361 h 4384844"/>
              <a:gd name="connsiteX36" fmla="*/ 470621 w 10329156"/>
              <a:gd name="connsiteY36" fmla="*/ 1756735 h 4384844"/>
              <a:gd name="connsiteX37" fmla="*/ 511845 w 10329156"/>
              <a:gd name="connsiteY37" fmla="*/ 1750697 h 4384844"/>
              <a:gd name="connsiteX38" fmla="*/ 512667 w 10329156"/>
              <a:gd name="connsiteY38" fmla="*/ 1747361 h 4384844"/>
              <a:gd name="connsiteX39" fmla="*/ 512667 w 10329156"/>
              <a:gd name="connsiteY39" fmla="*/ 1750577 h 4384844"/>
              <a:gd name="connsiteX40" fmla="*/ 519301 w 10329156"/>
              <a:gd name="connsiteY40" fmla="*/ 1749606 h 4384844"/>
              <a:gd name="connsiteX41" fmla="*/ 1435402 w 10329156"/>
              <a:gd name="connsiteY41" fmla="*/ 316 h 4384844"/>
              <a:gd name="connsiteX42" fmla="*/ 3010700 w 10329156"/>
              <a:gd name="connsiteY42" fmla="*/ 56025 h 4384844"/>
              <a:gd name="connsiteX43" fmla="*/ 3869400 w 10329156"/>
              <a:gd name="connsiteY43" fmla="*/ 155063 h 4384844"/>
              <a:gd name="connsiteX44" fmla="*/ 4728099 w 10329156"/>
              <a:gd name="connsiteY44" fmla="*/ 254101 h 4384844"/>
              <a:gd name="connsiteX45" fmla="*/ 5567281 w 10329156"/>
              <a:gd name="connsiteY45" fmla="*/ 353140 h 4384844"/>
              <a:gd name="connsiteX46" fmla="*/ 6367432 w 10329156"/>
              <a:gd name="connsiteY46" fmla="*/ 531409 h 4384844"/>
              <a:gd name="connsiteX47" fmla="*/ 6777266 w 10329156"/>
              <a:gd name="connsiteY47" fmla="*/ 610639 h 4384844"/>
              <a:gd name="connsiteX48" fmla="*/ 8436116 w 10329156"/>
              <a:gd name="connsiteY48" fmla="*/ 1046408 h 4384844"/>
              <a:gd name="connsiteX49" fmla="*/ 8904497 w 10329156"/>
              <a:gd name="connsiteY49" fmla="*/ 1204869 h 4384844"/>
              <a:gd name="connsiteX50" fmla="*/ 9060624 w 10329156"/>
              <a:gd name="connsiteY50" fmla="*/ 1264292 h 4384844"/>
              <a:gd name="connsiteX51" fmla="*/ 9021592 w 10329156"/>
              <a:gd name="connsiteY51" fmla="*/ 1284100 h 4384844"/>
              <a:gd name="connsiteX52" fmla="*/ 9431426 w 10329156"/>
              <a:gd name="connsiteY52" fmla="*/ 1402946 h 4384844"/>
              <a:gd name="connsiteX53" fmla="*/ 9470457 w 10329156"/>
              <a:gd name="connsiteY53" fmla="*/ 1442561 h 4384844"/>
              <a:gd name="connsiteX54" fmla="*/ 9197235 w 10329156"/>
              <a:gd name="connsiteY54" fmla="*/ 1383138 h 4384844"/>
              <a:gd name="connsiteX55" fmla="*/ 9197235 w 10329156"/>
              <a:gd name="connsiteY55" fmla="*/ 1383138 h 4384844"/>
              <a:gd name="connsiteX56" fmla="*/ 9431426 w 10329156"/>
              <a:gd name="connsiteY56" fmla="*/ 1462369 h 4384844"/>
              <a:gd name="connsiteX57" fmla="*/ 9255783 w 10329156"/>
              <a:gd name="connsiteY57" fmla="*/ 1442561 h 4384844"/>
              <a:gd name="connsiteX58" fmla="*/ 9255783 w 10329156"/>
              <a:gd name="connsiteY58" fmla="*/ 1442561 h 4384844"/>
              <a:gd name="connsiteX59" fmla="*/ 9450941 w 10329156"/>
              <a:gd name="connsiteY59" fmla="*/ 1541600 h 4384844"/>
              <a:gd name="connsiteX60" fmla="*/ 9626584 w 10329156"/>
              <a:gd name="connsiteY60" fmla="*/ 1601023 h 4384844"/>
              <a:gd name="connsiteX61" fmla="*/ 9489973 w 10329156"/>
              <a:gd name="connsiteY61" fmla="*/ 1601023 h 4384844"/>
              <a:gd name="connsiteX62" fmla="*/ 9470457 w 10329156"/>
              <a:gd name="connsiteY62" fmla="*/ 1620830 h 4384844"/>
              <a:gd name="connsiteX63" fmla="*/ 9704648 w 10329156"/>
              <a:gd name="connsiteY63" fmla="*/ 1700061 h 4384844"/>
              <a:gd name="connsiteX64" fmla="*/ 9802227 w 10329156"/>
              <a:gd name="connsiteY64" fmla="*/ 1719869 h 4384844"/>
              <a:gd name="connsiteX65" fmla="*/ 9743680 w 10329156"/>
              <a:gd name="connsiteY65" fmla="*/ 1719869 h 4384844"/>
              <a:gd name="connsiteX66" fmla="*/ 9587553 w 10329156"/>
              <a:gd name="connsiteY66" fmla="*/ 1700061 h 4384844"/>
              <a:gd name="connsiteX67" fmla="*/ 9841259 w 10329156"/>
              <a:gd name="connsiteY67" fmla="*/ 1779292 h 4384844"/>
              <a:gd name="connsiteX68" fmla="*/ 9938839 w 10329156"/>
              <a:gd name="connsiteY68" fmla="*/ 1799099 h 4384844"/>
              <a:gd name="connsiteX69" fmla="*/ 9858336 w 10329156"/>
              <a:gd name="connsiteY69" fmla="*/ 1806527 h 4384844"/>
              <a:gd name="connsiteX70" fmla="*/ 9827066 w 10329156"/>
              <a:gd name="connsiteY70" fmla="*/ 1799099 h 4384844"/>
              <a:gd name="connsiteX71" fmla="*/ 9815340 w 10329156"/>
              <a:gd name="connsiteY71" fmla="*/ 1796314 h 4384844"/>
              <a:gd name="connsiteX72" fmla="*/ 9821743 w 10329156"/>
              <a:gd name="connsiteY72" fmla="*/ 1799099 h 4384844"/>
              <a:gd name="connsiteX73" fmla="*/ 9372878 w 10329156"/>
              <a:gd name="connsiteY73" fmla="*/ 1739676 h 4384844"/>
              <a:gd name="connsiteX74" fmla="*/ 9314330 w 10329156"/>
              <a:gd name="connsiteY74" fmla="*/ 1719869 h 4384844"/>
              <a:gd name="connsiteX75" fmla="*/ 9275299 w 10329156"/>
              <a:gd name="connsiteY75" fmla="*/ 1719869 h 4384844"/>
              <a:gd name="connsiteX76" fmla="*/ 9275299 w 10329156"/>
              <a:gd name="connsiteY76" fmla="*/ 1719869 h 4384844"/>
              <a:gd name="connsiteX77" fmla="*/ 9314330 w 10329156"/>
              <a:gd name="connsiteY77" fmla="*/ 1719869 h 4384844"/>
              <a:gd name="connsiteX78" fmla="*/ 9372878 w 10329156"/>
              <a:gd name="connsiteY78" fmla="*/ 1739676 h 4384844"/>
              <a:gd name="connsiteX79" fmla="*/ 9607069 w 10329156"/>
              <a:gd name="connsiteY79" fmla="*/ 1838715 h 4384844"/>
              <a:gd name="connsiteX80" fmla="*/ 9685132 w 10329156"/>
              <a:gd name="connsiteY80" fmla="*/ 1858522 h 4384844"/>
              <a:gd name="connsiteX81" fmla="*/ 9724164 w 10329156"/>
              <a:gd name="connsiteY81" fmla="*/ 1898138 h 4384844"/>
              <a:gd name="connsiteX82" fmla="*/ 9821743 w 10329156"/>
              <a:gd name="connsiteY82" fmla="*/ 1917945 h 4384844"/>
              <a:gd name="connsiteX83" fmla="*/ 9848578 w 10329156"/>
              <a:gd name="connsiteY83" fmla="*/ 1962512 h 4384844"/>
              <a:gd name="connsiteX84" fmla="*/ 9857106 w 10329156"/>
              <a:gd name="connsiteY84" fmla="*/ 1978630 h 4384844"/>
              <a:gd name="connsiteX85" fmla="*/ 9842784 w 10329156"/>
              <a:gd name="connsiteY85" fmla="*/ 1983558 h 4384844"/>
              <a:gd name="connsiteX86" fmla="*/ 9770209 w 10329156"/>
              <a:gd name="connsiteY86" fmla="*/ 2010794 h 4384844"/>
              <a:gd name="connsiteX87" fmla="*/ 9769959 w 10329156"/>
              <a:gd name="connsiteY87" fmla="*/ 2011015 h 4384844"/>
              <a:gd name="connsiteX88" fmla="*/ 9784236 w 10329156"/>
              <a:gd name="connsiteY88" fmla="*/ 2013217 h 4384844"/>
              <a:gd name="connsiteX89" fmla="*/ 9802227 w 10329156"/>
              <a:gd name="connsiteY89" fmla="*/ 2024669 h 4384844"/>
              <a:gd name="connsiteX90" fmla="*/ 9743680 w 10329156"/>
              <a:gd name="connsiteY90" fmla="*/ 2024669 h 4384844"/>
              <a:gd name="connsiteX91" fmla="*/ 9587553 w 10329156"/>
              <a:gd name="connsiteY91" fmla="*/ 2004861 h 4384844"/>
              <a:gd name="connsiteX92" fmla="*/ 9841259 w 10329156"/>
              <a:gd name="connsiteY92" fmla="*/ 2084092 h 4384844"/>
              <a:gd name="connsiteX93" fmla="*/ 9938839 w 10329156"/>
              <a:gd name="connsiteY93" fmla="*/ 2103899 h 4384844"/>
              <a:gd name="connsiteX94" fmla="*/ 9858336 w 10329156"/>
              <a:gd name="connsiteY94" fmla="*/ 2111327 h 4384844"/>
              <a:gd name="connsiteX95" fmla="*/ 9827066 w 10329156"/>
              <a:gd name="connsiteY95" fmla="*/ 2103899 h 4384844"/>
              <a:gd name="connsiteX96" fmla="*/ 9815340 w 10329156"/>
              <a:gd name="connsiteY96" fmla="*/ 2101114 h 4384844"/>
              <a:gd name="connsiteX97" fmla="*/ 9821743 w 10329156"/>
              <a:gd name="connsiteY97" fmla="*/ 2103899 h 4384844"/>
              <a:gd name="connsiteX98" fmla="*/ 9667439 w 10329156"/>
              <a:gd name="connsiteY98" fmla="*/ 2089062 h 4384844"/>
              <a:gd name="connsiteX99" fmla="*/ 9682693 w 10329156"/>
              <a:gd name="connsiteY99" fmla="*/ 2093738 h 4384844"/>
              <a:gd name="connsiteX100" fmla="*/ 9782711 w 10329156"/>
              <a:gd name="connsiteY100" fmla="*/ 2116022 h 4384844"/>
              <a:gd name="connsiteX101" fmla="*/ 9782711 w 10329156"/>
              <a:gd name="connsiteY101" fmla="*/ 2175445 h 4384844"/>
              <a:gd name="connsiteX102" fmla="*/ 9899807 w 10329156"/>
              <a:gd name="connsiteY102" fmla="*/ 2195252 h 4384844"/>
              <a:gd name="connsiteX103" fmla="*/ 9780272 w 10329156"/>
              <a:gd name="connsiteY103" fmla="*/ 2217536 h 4384844"/>
              <a:gd name="connsiteX104" fmla="*/ 9767384 w 10329156"/>
              <a:gd name="connsiteY104" fmla="*/ 2216288 h 4384844"/>
              <a:gd name="connsiteX105" fmla="*/ 9780272 w 10329156"/>
              <a:gd name="connsiteY105" fmla="*/ 2220269 h 4384844"/>
              <a:gd name="connsiteX106" fmla="*/ 9821743 w 10329156"/>
              <a:gd name="connsiteY106" fmla="*/ 2222745 h 4384844"/>
              <a:gd name="connsiteX107" fmla="*/ 9848578 w 10329156"/>
              <a:gd name="connsiteY107" fmla="*/ 2267312 h 4384844"/>
              <a:gd name="connsiteX108" fmla="*/ 9857106 w 10329156"/>
              <a:gd name="connsiteY108" fmla="*/ 2283430 h 4384844"/>
              <a:gd name="connsiteX109" fmla="*/ 9842784 w 10329156"/>
              <a:gd name="connsiteY109" fmla="*/ 2288358 h 4384844"/>
              <a:gd name="connsiteX110" fmla="*/ 9763196 w 10329156"/>
              <a:gd name="connsiteY110" fmla="*/ 2321784 h 4384844"/>
              <a:gd name="connsiteX111" fmla="*/ 9568037 w 10329156"/>
              <a:gd name="connsiteY111" fmla="*/ 2262361 h 4384844"/>
              <a:gd name="connsiteX112" fmla="*/ 9275299 w 10329156"/>
              <a:gd name="connsiteY112" fmla="*/ 2202938 h 4384844"/>
              <a:gd name="connsiteX113" fmla="*/ 9002076 w 10329156"/>
              <a:gd name="connsiteY113" fmla="*/ 2123707 h 4384844"/>
              <a:gd name="connsiteX114" fmla="*/ 9099656 w 10329156"/>
              <a:gd name="connsiteY114" fmla="*/ 2163322 h 4384844"/>
              <a:gd name="connsiteX115" fmla="*/ 9387820 w 10329156"/>
              <a:gd name="connsiteY115" fmla="*/ 2252457 h 4384844"/>
              <a:gd name="connsiteX116" fmla="*/ 9437962 w 10329156"/>
              <a:gd name="connsiteY116" fmla="*/ 2276059 h 4384844"/>
              <a:gd name="connsiteX117" fmla="*/ 9568037 w 10329156"/>
              <a:gd name="connsiteY117" fmla="*/ 2314098 h 4384844"/>
              <a:gd name="connsiteX118" fmla="*/ 9724164 w 10329156"/>
              <a:gd name="connsiteY118" fmla="*/ 2373521 h 4384844"/>
              <a:gd name="connsiteX119" fmla="*/ 9713630 w 10329156"/>
              <a:gd name="connsiteY119" fmla="*/ 2376641 h 4384844"/>
              <a:gd name="connsiteX120" fmla="*/ 9724164 w 10329156"/>
              <a:gd name="connsiteY120" fmla="*/ 2381206 h 4384844"/>
              <a:gd name="connsiteX121" fmla="*/ 9626584 w 10329156"/>
              <a:gd name="connsiteY121" fmla="*/ 2361399 h 4384844"/>
              <a:gd name="connsiteX122" fmla="*/ 9634945 w 10329156"/>
              <a:gd name="connsiteY122" fmla="*/ 2379583 h 4384844"/>
              <a:gd name="connsiteX123" fmla="*/ 9643660 w 10329156"/>
              <a:gd name="connsiteY123" fmla="*/ 2385901 h 4384844"/>
              <a:gd name="connsiteX124" fmla="*/ 9643722 w 10329156"/>
              <a:gd name="connsiteY124" fmla="*/ 2386593 h 4384844"/>
              <a:gd name="connsiteX125" fmla="*/ 9682693 w 10329156"/>
              <a:gd name="connsiteY125" fmla="*/ 2398538 h 4384844"/>
              <a:gd name="connsiteX126" fmla="*/ 9782711 w 10329156"/>
              <a:gd name="connsiteY126" fmla="*/ 2420822 h 4384844"/>
              <a:gd name="connsiteX127" fmla="*/ 9782711 w 10329156"/>
              <a:gd name="connsiteY127" fmla="*/ 2432944 h 4384844"/>
              <a:gd name="connsiteX128" fmla="*/ 9802227 w 10329156"/>
              <a:gd name="connsiteY128" fmla="*/ 2472560 h 4384844"/>
              <a:gd name="connsiteX129" fmla="*/ 9782711 w 10329156"/>
              <a:gd name="connsiteY129" fmla="*/ 2470545 h 4384844"/>
              <a:gd name="connsiteX130" fmla="*/ 9782711 w 10329156"/>
              <a:gd name="connsiteY130" fmla="*/ 2473745 h 4384844"/>
              <a:gd name="connsiteX131" fmla="*/ 9782711 w 10329156"/>
              <a:gd name="connsiteY131" fmla="*/ 2480245 h 4384844"/>
              <a:gd name="connsiteX132" fmla="*/ 9899807 w 10329156"/>
              <a:gd name="connsiteY132" fmla="*/ 2500052 h 4384844"/>
              <a:gd name="connsiteX133" fmla="*/ 9862910 w 10329156"/>
              <a:gd name="connsiteY133" fmla="*/ 2519551 h 4384844"/>
              <a:gd name="connsiteX134" fmla="*/ 9854599 w 10329156"/>
              <a:gd name="connsiteY134" fmla="*/ 2519831 h 4384844"/>
              <a:gd name="connsiteX135" fmla="*/ 9873887 w 10329156"/>
              <a:gd name="connsiteY135" fmla="*/ 2530900 h 4384844"/>
              <a:gd name="connsiteX136" fmla="*/ 9743680 w 10329156"/>
              <a:gd name="connsiteY136" fmla="*/ 2531983 h 4384844"/>
              <a:gd name="connsiteX137" fmla="*/ 9802227 w 10329156"/>
              <a:gd name="connsiteY137" fmla="*/ 2571598 h 4384844"/>
              <a:gd name="connsiteX138" fmla="*/ 9880291 w 10329156"/>
              <a:gd name="connsiteY138" fmla="*/ 2611213 h 4384844"/>
              <a:gd name="connsiteX139" fmla="*/ 9704648 w 10329156"/>
              <a:gd name="connsiteY139" fmla="*/ 2631021 h 4384844"/>
              <a:gd name="connsiteX140" fmla="*/ 9821743 w 10329156"/>
              <a:gd name="connsiteY140" fmla="*/ 2670636 h 4384844"/>
              <a:gd name="connsiteX141" fmla="*/ 9919323 w 10329156"/>
              <a:gd name="connsiteY141" fmla="*/ 2710252 h 4384844"/>
              <a:gd name="connsiteX142" fmla="*/ 9793994 w 10329156"/>
              <a:gd name="connsiteY142" fmla="*/ 2689206 h 4384844"/>
              <a:gd name="connsiteX143" fmla="*/ 9718341 w 10329156"/>
              <a:gd name="connsiteY143" fmla="*/ 2670665 h 4384844"/>
              <a:gd name="connsiteX144" fmla="*/ 9724164 w 10329156"/>
              <a:gd name="connsiteY144" fmla="*/ 2678321 h 4384844"/>
              <a:gd name="connsiteX145" fmla="*/ 9653419 w 10329156"/>
              <a:gd name="connsiteY145" fmla="*/ 2658514 h 4384844"/>
              <a:gd name="connsiteX146" fmla="*/ 9627562 w 10329156"/>
              <a:gd name="connsiteY146" fmla="*/ 2648016 h 4384844"/>
              <a:gd name="connsiteX147" fmla="*/ 9581158 w 10329156"/>
              <a:gd name="connsiteY147" fmla="*/ 2636274 h 4384844"/>
              <a:gd name="connsiteX148" fmla="*/ 9568037 w 10329156"/>
              <a:gd name="connsiteY148" fmla="*/ 2638706 h 4384844"/>
              <a:gd name="connsiteX149" fmla="*/ 9597310 w 10329156"/>
              <a:gd name="connsiteY149" fmla="*/ 2658514 h 4384844"/>
              <a:gd name="connsiteX150" fmla="*/ 9600970 w 10329156"/>
              <a:gd name="connsiteY150" fmla="*/ 2660990 h 4384844"/>
              <a:gd name="connsiteX151" fmla="*/ 9606154 w 10329156"/>
              <a:gd name="connsiteY151" fmla="*/ 2662590 h 4384844"/>
              <a:gd name="connsiteX152" fmla="*/ 9724164 w 10329156"/>
              <a:gd name="connsiteY152" fmla="*/ 2690444 h 4384844"/>
              <a:gd name="connsiteX153" fmla="*/ 9665616 w 10329156"/>
              <a:gd name="connsiteY153" fmla="*/ 2710252 h 4384844"/>
              <a:gd name="connsiteX154" fmla="*/ 9664055 w 10329156"/>
              <a:gd name="connsiteY154" fmla="*/ 2718525 h 4384844"/>
              <a:gd name="connsiteX155" fmla="*/ 9721724 w 10329156"/>
              <a:gd name="connsiteY155" fmla="*/ 2720413 h 4384844"/>
              <a:gd name="connsiteX156" fmla="*/ 9782711 w 10329156"/>
              <a:gd name="connsiteY156" fmla="*/ 2737744 h 4384844"/>
              <a:gd name="connsiteX157" fmla="*/ 9802227 w 10329156"/>
              <a:gd name="connsiteY157" fmla="*/ 2777360 h 4384844"/>
              <a:gd name="connsiteX158" fmla="*/ 9685132 w 10329156"/>
              <a:gd name="connsiteY158" fmla="*/ 2777360 h 4384844"/>
              <a:gd name="connsiteX159" fmla="*/ 9841259 w 10329156"/>
              <a:gd name="connsiteY159" fmla="*/ 2816975 h 4384844"/>
              <a:gd name="connsiteX160" fmla="*/ 9743680 w 10329156"/>
              <a:gd name="connsiteY160" fmla="*/ 2836783 h 4384844"/>
              <a:gd name="connsiteX161" fmla="*/ 9727890 w 10329156"/>
              <a:gd name="connsiteY161" fmla="*/ 2832622 h 4384844"/>
              <a:gd name="connsiteX162" fmla="*/ 9772954 w 10329156"/>
              <a:gd name="connsiteY162" fmla="*/ 2853857 h 4384844"/>
              <a:gd name="connsiteX163" fmla="*/ 9794909 w 10329156"/>
              <a:gd name="connsiteY163" fmla="*/ 2870570 h 4384844"/>
              <a:gd name="connsiteX164" fmla="*/ 9789926 w 10329156"/>
              <a:gd name="connsiteY164" fmla="*/ 2871329 h 4384844"/>
              <a:gd name="connsiteX165" fmla="*/ 9794108 w 10329156"/>
              <a:gd name="connsiteY165" fmla="*/ 2873071 h 4384844"/>
              <a:gd name="connsiteX166" fmla="*/ 9802227 w 10329156"/>
              <a:gd name="connsiteY166" fmla="*/ 2876398 h 4384844"/>
              <a:gd name="connsiteX167" fmla="*/ 9880291 w 10329156"/>
              <a:gd name="connsiteY167" fmla="*/ 2916013 h 4384844"/>
              <a:gd name="connsiteX168" fmla="*/ 9704648 w 10329156"/>
              <a:gd name="connsiteY168" fmla="*/ 2935821 h 4384844"/>
              <a:gd name="connsiteX169" fmla="*/ 9821743 w 10329156"/>
              <a:gd name="connsiteY169" fmla="*/ 2975436 h 4384844"/>
              <a:gd name="connsiteX170" fmla="*/ 9919323 w 10329156"/>
              <a:gd name="connsiteY170" fmla="*/ 3015052 h 4384844"/>
              <a:gd name="connsiteX171" fmla="*/ 9450941 w 10329156"/>
              <a:gd name="connsiteY171" fmla="*/ 2916013 h 4384844"/>
              <a:gd name="connsiteX172" fmla="*/ 9450941 w 10329156"/>
              <a:gd name="connsiteY172" fmla="*/ 2916013 h 4384844"/>
              <a:gd name="connsiteX173" fmla="*/ 9568037 w 10329156"/>
              <a:gd name="connsiteY173" fmla="*/ 2955629 h 4384844"/>
              <a:gd name="connsiteX174" fmla="*/ 9724164 w 10329156"/>
              <a:gd name="connsiteY174" fmla="*/ 2995244 h 4384844"/>
              <a:gd name="connsiteX175" fmla="*/ 9665616 w 10329156"/>
              <a:gd name="connsiteY175" fmla="*/ 3015052 h 4384844"/>
              <a:gd name="connsiteX176" fmla="*/ 9665616 w 10329156"/>
              <a:gd name="connsiteY176" fmla="*/ 3054667 h 4384844"/>
              <a:gd name="connsiteX177" fmla="*/ 9489973 w 10329156"/>
              <a:gd name="connsiteY177" fmla="*/ 3015052 h 4384844"/>
              <a:gd name="connsiteX178" fmla="*/ 9484254 w 10329156"/>
              <a:gd name="connsiteY178" fmla="*/ 3013171 h 4384844"/>
              <a:gd name="connsiteX179" fmla="*/ 9480215 w 10329156"/>
              <a:gd name="connsiteY179" fmla="*/ 3017271 h 4384844"/>
              <a:gd name="connsiteX180" fmla="*/ 9470457 w 10329156"/>
              <a:gd name="connsiteY180" fmla="*/ 3027174 h 4384844"/>
              <a:gd name="connsiteX181" fmla="*/ 9548521 w 10329156"/>
              <a:gd name="connsiteY181" fmla="*/ 3046982 h 4384844"/>
              <a:gd name="connsiteX182" fmla="*/ 9677509 w 10329156"/>
              <a:gd name="connsiteY182" fmla="*/ 3108262 h 4384844"/>
              <a:gd name="connsiteX183" fmla="*/ 9692747 w 10329156"/>
              <a:gd name="connsiteY183" fmla="*/ 3118341 h 4384844"/>
              <a:gd name="connsiteX184" fmla="*/ 9721724 w 10329156"/>
              <a:gd name="connsiteY184" fmla="*/ 3134517 h 4384844"/>
              <a:gd name="connsiteX185" fmla="*/ 9781187 w 10329156"/>
              <a:gd name="connsiteY185" fmla="*/ 3177459 h 4384844"/>
              <a:gd name="connsiteX186" fmla="*/ 9774731 w 10329156"/>
              <a:gd name="connsiteY186" fmla="*/ 3176780 h 4384844"/>
              <a:gd name="connsiteX187" fmla="*/ 9794909 w 10329156"/>
              <a:gd name="connsiteY187" fmla="*/ 3185636 h 4384844"/>
              <a:gd name="connsiteX188" fmla="*/ 9899807 w 10329156"/>
              <a:gd name="connsiteY188" fmla="*/ 3225251 h 4384844"/>
              <a:gd name="connsiteX189" fmla="*/ 10114482 w 10329156"/>
              <a:gd name="connsiteY189" fmla="*/ 3284674 h 4384844"/>
              <a:gd name="connsiteX190" fmla="*/ 10114482 w 10329156"/>
              <a:gd name="connsiteY190" fmla="*/ 3304482 h 4384844"/>
              <a:gd name="connsiteX191" fmla="*/ 10094966 w 10329156"/>
              <a:gd name="connsiteY191" fmla="*/ 3324289 h 4384844"/>
              <a:gd name="connsiteX192" fmla="*/ 9958354 w 10329156"/>
              <a:gd name="connsiteY192" fmla="*/ 3304482 h 4384844"/>
              <a:gd name="connsiteX193" fmla="*/ 7810731 w 10329156"/>
              <a:gd name="connsiteY193" fmla="*/ 2709517 h 4384844"/>
              <a:gd name="connsiteX194" fmla="*/ 7599743 w 10329156"/>
              <a:gd name="connsiteY194" fmla="*/ 2656328 h 4384844"/>
              <a:gd name="connsiteX195" fmla="*/ 7655480 w 10329156"/>
              <a:gd name="connsiteY195" fmla="*/ 2678321 h 4384844"/>
              <a:gd name="connsiteX196" fmla="*/ 7650205 w 10329156"/>
              <a:gd name="connsiteY196" fmla="*/ 2680106 h 4384844"/>
              <a:gd name="connsiteX197" fmla="*/ 7654441 w 10329156"/>
              <a:gd name="connsiteY197" fmla="*/ 2681484 h 4384844"/>
              <a:gd name="connsiteX198" fmla="*/ 7655480 w 10329156"/>
              <a:gd name="connsiteY198" fmla="*/ 2678321 h 4384844"/>
              <a:gd name="connsiteX199" fmla="*/ 7670821 w 10329156"/>
              <a:gd name="connsiteY199" fmla="*/ 2686814 h 4384844"/>
              <a:gd name="connsiteX200" fmla="*/ 7803488 w 10329156"/>
              <a:gd name="connsiteY200" fmla="*/ 2729982 h 4384844"/>
              <a:gd name="connsiteX201" fmla="*/ 9938839 w 10329156"/>
              <a:gd name="connsiteY201" fmla="*/ 3383712 h 4384844"/>
              <a:gd name="connsiteX202" fmla="*/ 9743680 w 10329156"/>
              <a:gd name="connsiteY202" fmla="*/ 3344097 h 4384844"/>
              <a:gd name="connsiteX203" fmla="*/ 9880291 w 10329156"/>
              <a:gd name="connsiteY203" fmla="*/ 3403520 h 4384844"/>
              <a:gd name="connsiteX204" fmla="*/ 9919323 w 10329156"/>
              <a:gd name="connsiteY204" fmla="*/ 3443135 h 4384844"/>
              <a:gd name="connsiteX205" fmla="*/ 10173029 w 10329156"/>
              <a:gd name="connsiteY205" fmla="*/ 3542174 h 4384844"/>
              <a:gd name="connsiteX206" fmla="*/ 10128027 w 10329156"/>
              <a:gd name="connsiteY206" fmla="*/ 3539999 h 4384844"/>
              <a:gd name="connsiteX207" fmla="*/ 10110212 w 10329156"/>
              <a:gd name="connsiteY207" fmla="*/ 3533508 h 4384844"/>
              <a:gd name="connsiteX208" fmla="*/ 10096408 w 10329156"/>
              <a:gd name="connsiteY208" fmla="*/ 3533016 h 4384844"/>
              <a:gd name="connsiteX209" fmla="*/ 10055934 w 10329156"/>
              <a:gd name="connsiteY209" fmla="*/ 3522366 h 4384844"/>
              <a:gd name="connsiteX210" fmla="*/ 9919323 w 10329156"/>
              <a:gd name="connsiteY210" fmla="*/ 3482751 h 4384844"/>
              <a:gd name="connsiteX211" fmla="*/ 10016902 w 10329156"/>
              <a:gd name="connsiteY211" fmla="*/ 3522366 h 4384844"/>
              <a:gd name="connsiteX212" fmla="*/ 10075450 w 10329156"/>
              <a:gd name="connsiteY212" fmla="*/ 3532270 h 4384844"/>
              <a:gd name="connsiteX213" fmla="*/ 10096408 w 10329156"/>
              <a:gd name="connsiteY213" fmla="*/ 3533016 h 4384844"/>
              <a:gd name="connsiteX214" fmla="*/ 10121800 w 10329156"/>
              <a:gd name="connsiteY214" fmla="*/ 3539698 h 4384844"/>
              <a:gd name="connsiteX215" fmla="*/ 10128027 w 10329156"/>
              <a:gd name="connsiteY215" fmla="*/ 3539999 h 4384844"/>
              <a:gd name="connsiteX216" fmla="*/ 10133997 w 10329156"/>
              <a:gd name="connsiteY216" fmla="*/ 3542174 h 4384844"/>
              <a:gd name="connsiteX217" fmla="*/ 10055934 w 10329156"/>
              <a:gd name="connsiteY217" fmla="*/ 3561981 h 4384844"/>
              <a:gd name="connsiteX218" fmla="*/ 10270609 w 10329156"/>
              <a:gd name="connsiteY218" fmla="*/ 3641212 h 4384844"/>
              <a:gd name="connsiteX219" fmla="*/ 10119666 w 10329156"/>
              <a:gd name="connsiteY219" fmla="*/ 3632856 h 4384844"/>
              <a:gd name="connsiteX220" fmla="*/ 10100000 w 10329156"/>
              <a:gd name="connsiteY220" fmla="*/ 3627812 h 4384844"/>
              <a:gd name="connsiteX221" fmla="*/ 10094966 w 10329156"/>
              <a:gd name="connsiteY221" fmla="*/ 3629089 h 4384844"/>
              <a:gd name="connsiteX222" fmla="*/ 10090292 w 10329156"/>
              <a:gd name="connsiteY222" fmla="*/ 3628936 h 4384844"/>
              <a:gd name="connsiteX223" fmla="*/ 10114481 w 10329156"/>
              <a:gd name="connsiteY223" fmla="*/ 3641212 h 4384844"/>
              <a:gd name="connsiteX224" fmla="*/ 10153513 w 10329156"/>
              <a:gd name="connsiteY224" fmla="*/ 3661020 h 4384844"/>
              <a:gd name="connsiteX225" fmla="*/ 10114482 w 10329156"/>
              <a:gd name="connsiteY225" fmla="*/ 3680827 h 4384844"/>
              <a:gd name="connsiteX226" fmla="*/ 10055934 w 10329156"/>
              <a:gd name="connsiteY226" fmla="*/ 3680827 h 4384844"/>
              <a:gd name="connsiteX227" fmla="*/ 9509489 w 10329156"/>
              <a:gd name="connsiteY227" fmla="*/ 3522366 h 4384844"/>
              <a:gd name="connsiteX228" fmla="*/ 9494013 w 10329156"/>
              <a:gd name="connsiteY228" fmla="*/ 3522448 h 4384844"/>
              <a:gd name="connsiteX229" fmla="*/ 9653914 w 10329156"/>
              <a:gd name="connsiteY229" fmla="*/ 3576552 h 4384844"/>
              <a:gd name="connsiteX230" fmla="*/ 9938839 w 10329156"/>
              <a:gd name="connsiteY230" fmla="*/ 3688512 h 4384844"/>
              <a:gd name="connsiteX231" fmla="*/ 9914444 w 10329156"/>
              <a:gd name="connsiteY231" fmla="*/ 3691685 h 4384844"/>
              <a:gd name="connsiteX232" fmla="*/ 9888365 w 10329156"/>
              <a:gd name="connsiteY232" fmla="*/ 3688160 h 4384844"/>
              <a:gd name="connsiteX233" fmla="*/ 9885170 w 10329156"/>
              <a:gd name="connsiteY233" fmla="*/ 3698159 h 4384844"/>
              <a:gd name="connsiteX234" fmla="*/ 9899807 w 10329156"/>
              <a:gd name="connsiteY234" fmla="*/ 3700635 h 4384844"/>
              <a:gd name="connsiteX235" fmla="*/ 9977870 w 10329156"/>
              <a:gd name="connsiteY235" fmla="*/ 3740250 h 4384844"/>
              <a:gd name="connsiteX236" fmla="*/ 9902551 w 10329156"/>
              <a:gd name="connsiteY236" fmla="*/ 3717038 h 4384844"/>
              <a:gd name="connsiteX237" fmla="*/ 9888557 w 10329156"/>
              <a:gd name="connsiteY237" fmla="*/ 3714386 h 4384844"/>
              <a:gd name="connsiteX238" fmla="*/ 9900112 w 10329156"/>
              <a:gd name="connsiteY238" fmla="*/ 3722866 h 4384844"/>
              <a:gd name="connsiteX239" fmla="*/ 9919323 w 10329156"/>
              <a:gd name="connsiteY239" fmla="*/ 3747935 h 4384844"/>
              <a:gd name="connsiteX240" fmla="*/ 10173029 w 10329156"/>
              <a:gd name="connsiteY240" fmla="*/ 3846974 h 4384844"/>
              <a:gd name="connsiteX241" fmla="*/ 10128027 w 10329156"/>
              <a:gd name="connsiteY241" fmla="*/ 3844799 h 4384844"/>
              <a:gd name="connsiteX242" fmla="*/ 10110212 w 10329156"/>
              <a:gd name="connsiteY242" fmla="*/ 3838308 h 4384844"/>
              <a:gd name="connsiteX243" fmla="*/ 10096408 w 10329156"/>
              <a:gd name="connsiteY243" fmla="*/ 3837816 h 4384844"/>
              <a:gd name="connsiteX244" fmla="*/ 10055934 w 10329156"/>
              <a:gd name="connsiteY244" fmla="*/ 3827166 h 4384844"/>
              <a:gd name="connsiteX245" fmla="*/ 9919323 w 10329156"/>
              <a:gd name="connsiteY245" fmla="*/ 3787551 h 4384844"/>
              <a:gd name="connsiteX246" fmla="*/ 9923243 w 10329156"/>
              <a:gd name="connsiteY246" fmla="*/ 3789492 h 4384844"/>
              <a:gd name="connsiteX247" fmla="*/ 9958354 w 10329156"/>
              <a:gd name="connsiteY247" fmla="*/ 3799673 h 4384844"/>
              <a:gd name="connsiteX248" fmla="*/ 10016902 w 10329156"/>
              <a:gd name="connsiteY248" fmla="*/ 3819481 h 4384844"/>
              <a:gd name="connsiteX249" fmla="*/ 10010891 w 10329156"/>
              <a:gd name="connsiteY249" fmla="*/ 3825582 h 4384844"/>
              <a:gd name="connsiteX250" fmla="*/ 10016902 w 10329156"/>
              <a:gd name="connsiteY250" fmla="*/ 3827166 h 4384844"/>
              <a:gd name="connsiteX251" fmla="*/ 10075450 w 10329156"/>
              <a:gd name="connsiteY251" fmla="*/ 3837070 h 4384844"/>
              <a:gd name="connsiteX252" fmla="*/ 10096408 w 10329156"/>
              <a:gd name="connsiteY252" fmla="*/ 3837816 h 4384844"/>
              <a:gd name="connsiteX253" fmla="*/ 10121800 w 10329156"/>
              <a:gd name="connsiteY253" fmla="*/ 3844498 h 4384844"/>
              <a:gd name="connsiteX254" fmla="*/ 10128027 w 10329156"/>
              <a:gd name="connsiteY254" fmla="*/ 3844799 h 4384844"/>
              <a:gd name="connsiteX255" fmla="*/ 10133997 w 10329156"/>
              <a:gd name="connsiteY255" fmla="*/ 3846974 h 4384844"/>
              <a:gd name="connsiteX256" fmla="*/ 10073010 w 10329156"/>
              <a:gd name="connsiteY256" fmla="*/ 3864306 h 4384844"/>
              <a:gd name="connsiteX257" fmla="*/ 10071065 w 10329156"/>
              <a:gd name="connsiteY257" fmla="*/ 3863875 h 4384844"/>
              <a:gd name="connsiteX258" fmla="*/ 10133997 w 10329156"/>
              <a:gd name="connsiteY258" fmla="*/ 3878904 h 4384844"/>
              <a:gd name="connsiteX259" fmla="*/ 10152944 w 10329156"/>
              <a:gd name="connsiteY259" fmla="*/ 3895872 h 4384844"/>
              <a:gd name="connsiteX260" fmla="*/ 10163271 w 10329156"/>
              <a:gd name="connsiteY260" fmla="*/ 3898969 h 4384844"/>
              <a:gd name="connsiteX261" fmla="*/ 10270609 w 10329156"/>
              <a:gd name="connsiteY261" fmla="*/ 3946012 h 4384844"/>
              <a:gd name="connsiteX262" fmla="*/ 10251741 w 10329156"/>
              <a:gd name="connsiteY262" fmla="*/ 3965859 h 4384844"/>
              <a:gd name="connsiteX263" fmla="*/ 10211146 w 10329156"/>
              <a:gd name="connsiteY263" fmla="*/ 3958662 h 4384844"/>
              <a:gd name="connsiteX264" fmla="*/ 10194146 w 10329156"/>
              <a:gd name="connsiteY264" fmla="*/ 3959101 h 4384844"/>
              <a:gd name="connsiteX265" fmla="*/ 10329156 w 10329156"/>
              <a:gd name="connsiteY265" fmla="*/ 4037365 h 4384844"/>
              <a:gd name="connsiteX266" fmla="*/ 10251093 w 10329156"/>
              <a:gd name="connsiteY266" fmla="*/ 4017557 h 4384844"/>
              <a:gd name="connsiteX267" fmla="*/ 10329156 w 10329156"/>
              <a:gd name="connsiteY267" fmla="*/ 4057173 h 4384844"/>
              <a:gd name="connsiteX268" fmla="*/ 10173029 w 10329156"/>
              <a:gd name="connsiteY268" fmla="*/ 4037365 h 4384844"/>
              <a:gd name="connsiteX269" fmla="*/ 9878156 w 10329156"/>
              <a:gd name="connsiteY269" fmla="*/ 3968657 h 4384844"/>
              <a:gd name="connsiteX270" fmla="*/ 9852421 w 10329156"/>
              <a:gd name="connsiteY270" fmla="*/ 3961645 h 4384844"/>
              <a:gd name="connsiteX271" fmla="*/ 9860775 w 10329156"/>
              <a:gd name="connsiteY271" fmla="*/ 3965820 h 4384844"/>
              <a:gd name="connsiteX272" fmla="*/ 9841259 w 10329156"/>
              <a:gd name="connsiteY272" fmla="*/ 3985627 h 4384844"/>
              <a:gd name="connsiteX273" fmla="*/ 9899807 w 10329156"/>
              <a:gd name="connsiteY273" fmla="*/ 3985627 h 4384844"/>
              <a:gd name="connsiteX274" fmla="*/ 9899807 w 10329156"/>
              <a:gd name="connsiteY274" fmla="*/ 4005435 h 4384844"/>
              <a:gd name="connsiteX275" fmla="*/ 9977870 w 10329156"/>
              <a:gd name="connsiteY275" fmla="*/ 4045050 h 4384844"/>
              <a:gd name="connsiteX276" fmla="*/ 9902551 w 10329156"/>
              <a:gd name="connsiteY276" fmla="*/ 4021838 h 4384844"/>
              <a:gd name="connsiteX277" fmla="*/ 9857828 w 10329156"/>
              <a:gd name="connsiteY277" fmla="*/ 4013363 h 4384844"/>
              <a:gd name="connsiteX278" fmla="*/ 9897367 w 10329156"/>
              <a:gd name="connsiteY278" fmla="*/ 4034889 h 4384844"/>
              <a:gd name="connsiteX279" fmla="*/ 9958354 w 10329156"/>
              <a:gd name="connsiteY279" fmla="*/ 4057173 h 4384844"/>
              <a:gd name="connsiteX280" fmla="*/ 9899807 w 10329156"/>
              <a:gd name="connsiteY280" fmla="*/ 4057173 h 4384844"/>
              <a:gd name="connsiteX281" fmla="*/ 9839429 w 10329156"/>
              <a:gd name="connsiteY281" fmla="*/ 4051602 h 4384844"/>
              <a:gd name="connsiteX282" fmla="*/ 9819548 w 10329156"/>
              <a:gd name="connsiteY282" fmla="*/ 4046612 h 4384844"/>
              <a:gd name="connsiteX283" fmla="*/ 9821438 w 10329156"/>
              <a:gd name="connsiteY283" fmla="*/ 4058668 h 4384844"/>
              <a:gd name="connsiteX284" fmla="*/ 9821743 w 10329156"/>
              <a:gd name="connsiteY284" fmla="*/ 4064858 h 4384844"/>
              <a:gd name="connsiteX285" fmla="*/ 9958354 w 10329156"/>
              <a:gd name="connsiteY285" fmla="*/ 4104473 h 4384844"/>
              <a:gd name="connsiteX286" fmla="*/ 10016902 w 10329156"/>
              <a:gd name="connsiteY286" fmla="*/ 4124281 h 4384844"/>
              <a:gd name="connsiteX287" fmla="*/ 9997386 w 10329156"/>
              <a:gd name="connsiteY287" fmla="*/ 4144089 h 4384844"/>
              <a:gd name="connsiteX288" fmla="*/ 10133997 w 10329156"/>
              <a:gd name="connsiteY288" fmla="*/ 4183704 h 4384844"/>
              <a:gd name="connsiteX289" fmla="*/ 10231577 w 10329156"/>
              <a:gd name="connsiteY289" fmla="*/ 4243127 h 4384844"/>
              <a:gd name="connsiteX290" fmla="*/ 10231577 w 10329156"/>
              <a:gd name="connsiteY290" fmla="*/ 4262934 h 4384844"/>
              <a:gd name="connsiteX291" fmla="*/ 10329156 w 10329156"/>
              <a:gd name="connsiteY291" fmla="*/ 4342165 h 4384844"/>
              <a:gd name="connsiteX292" fmla="*/ 10251093 w 10329156"/>
              <a:gd name="connsiteY292" fmla="*/ 4322357 h 4384844"/>
              <a:gd name="connsiteX293" fmla="*/ 10329156 w 10329156"/>
              <a:gd name="connsiteY293" fmla="*/ 4361973 h 4384844"/>
              <a:gd name="connsiteX294" fmla="*/ 10173029 w 10329156"/>
              <a:gd name="connsiteY294" fmla="*/ 4342165 h 4384844"/>
              <a:gd name="connsiteX295" fmla="*/ 9041108 w 10329156"/>
              <a:gd name="connsiteY295" fmla="*/ 4045050 h 4384844"/>
              <a:gd name="connsiteX296" fmla="*/ 9002076 w 10329156"/>
              <a:gd name="connsiteY296" fmla="*/ 4025243 h 4384844"/>
              <a:gd name="connsiteX297" fmla="*/ 9002076 w 10329156"/>
              <a:gd name="connsiteY297" fmla="*/ 4025243 h 4384844"/>
              <a:gd name="connsiteX298" fmla="*/ 9041108 w 10329156"/>
              <a:gd name="connsiteY298" fmla="*/ 4045050 h 4384844"/>
              <a:gd name="connsiteX299" fmla="*/ 9431426 w 10329156"/>
              <a:gd name="connsiteY299" fmla="*/ 4183704 h 4384844"/>
              <a:gd name="connsiteX300" fmla="*/ 9821743 w 10329156"/>
              <a:gd name="connsiteY300" fmla="*/ 4302550 h 4384844"/>
              <a:gd name="connsiteX301" fmla="*/ 9958354 w 10329156"/>
              <a:gd name="connsiteY301" fmla="*/ 4361973 h 4384844"/>
              <a:gd name="connsiteX302" fmla="*/ 9899807 w 10329156"/>
              <a:gd name="connsiteY302" fmla="*/ 4361973 h 4384844"/>
              <a:gd name="connsiteX303" fmla="*/ 9782711 w 10329156"/>
              <a:gd name="connsiteY303" fmla="*/ 4342165 h 4384844"/>
              <a:gd name="connsiteX304" fmla="*/ 9177719 w 10329156"/>
              <a:gd name="connsiteY304" fmla="*/ 4163896 h 4384844"/>
              <a:gd name="connsiteX305" fmla="*/ 5879535 w 10329156"/>
              <a:gd name="connsiteY305" fmla="*/ 3292359 h 4384844"/>
              <a:gd name="connsiteX306" fmla="*/ 4981804 w 10329156"/>
              <a:gd name="connsiteY306" fmla="*/ 3133898 h 4384844"/>
              <a:gd name="connsiteX307" fmla="*/ 2561835 w 10329156"/>
              <a:gd name="connsiteY307" fmla="*/ 2856590 h 4384844"/>
              <a:gd name="connsiteX308" fmla="*/ 1000564 w 10329156"/>
              <a:gd name="connsiteY308" fmla="*/ 2876398 h 4384844"/>
              <a:gd name="connsiteX309" fmla="*/ 649278 w 10329156"/>
              <a:gd name="connsiteY309" fmla="*/ 2896206 h 4384844"/>
              <a:gd name="connsiteX310" fmla="*/ 746858 w 10329156"/>
              <a:gd name="connsiteY310" fmla="*/ 2836783 h 4384844"/>
              <a:gd name="connsiteX311" fmla="*/ 922500 w 10329156"/>
              <a:gd name="connsiteY311" fmla="*/ 2797167 h 4384844"/>
              <a:gd name="connsiteX312" fmla="*/ 1507977 w 10329156"/>
              <a:gd name="connsiteY312" fmla="*/ 2757552 h 4384844"/>
              <a:gd name="connsiteX313" fmla="*/ 2932636 w 10329156"/>
              <a:gd name="connsiteY313" fmla="*/ 2777360 h 4384844"/>
              <a:gd name="connsiteX314" fmla="*/ 3037535 w 10329156"/>
              <a:gd name="connsiteY314" fmla="*/ 2780455 h 4384844"/>
              <a:gd name="connsiteX315" fmla="*/ 3120538 w 10329156"/>
              <a:gd name="connsiteY315" fmla="*/ 2784253 h 4384844"/>
              <a:gd name="connsiteX316" fmla="*/ 3244891 w 10329156"/>
              <a:gd name="connsiteY316" fmla="*/ 2797167 h 4384844"/>
              <a:gd name="connsiteX317" fmla="*/ 3322954 w 10329156"/>
              <a:gd name="connsiteY317" fmla="*/ 2797167 h 4384844"/>
              <a:gd name="connsiteX318" fmla="*/ 3186344 w 10329156"/>
              <a:gd name="connsiteY318" fmla="*/ 2787264 h 4384844"/>
              <a:gd name="connsiteX319" fmla="*/ 3120538 w 10329156"/>
              <a:gd name="connsiteY319" fmla="*/ 2784253 h 4384844"/>
              <a:gd name="connsiteX320" fmla="*/ 2986000 w 10329156"/>
              <a:gd name="connsiteY320" fmla="*/ 2770280 h 4384844"/>
              <a:gd name="connsiteX321" fmla="*/ 1020080 w 10329156"/>
              <a:gd name="connsiteY321" fmla="*/ 2757552 h 4384844"/>
              <a:gd name="connsiteX322" fmla="*/ 649278 w 10329156"/>
              <a:gd name="connsiteY322" fmla="*/ 2777360 h 4384844"/>
              <a:gd name="connsiteX323" fmla="*/ 590731 w 10329156"/>
              <a:gd name="connsiteY323" fmla="*/ 2757552 h 4384844"/>
              <a:gd name="connsiteX324" fmla="*/ 551699 w 10329156"/>
              <a:gd name="connsiteY324" fmla="*/ 2717937 h 4384844"/>
              <a:gd name="connsiteX325" fmla="*/ 610247 w 10329156"/>
              <a:gd name="connsiteY325" fmla="*/ 2698129 h 4384844"/>
              <a:gd name="connsiteX326" fmla="*/ 668794 w 10329156"/>
              <a:gd name="connsiteY326" fmla="*/ 2658514 h 4384844"/>
              <a:gd name="connsiteX327" fmla="*/ 590731 w 10329156"/>
              <a:gd name="connsiteY327" fmla="*/ 2658514 h 4384844"/>
              <a:gd name="connsiteX328" fmla="*/ 571215 w 10329156"/>
              <a:gd name="connsiteY328" fmla="*/ 2658514 h 4384844"/>
              <a:gd name="connsiteX329" fmla="*/ 590731 w 10329156"/>
              <a:gd name="connsiteY329" fmla="*/ 2658514 h 4384844"/>
              <a:gd name="connsiteX330" fmla="*/ 512667 w 10329156"/>
              <a:gd name="connsiteY330" fmla="*/ 2678321 h 4384844"/>
              <a:gd name="connsiteX331" fmla="*/ 612686 w 10329156"/>
              <a:gd name="connsiteY331" fmla="*/ 2628802 h 4384844"/>
              <a:gd name="connsiteX332" fmla="*/ 668869 w 10329156"/>
              <a:gd name="connsiteY332" fmla="*/ 2602557 h 4384844"/>
              <a:gd name="connsiteX333" fmla="*/ 661971 w 10329156"/>
              <a:gd name="connsiteY333" fmla="*/ 2601929 h 4384844"/>
              <a:gd name="connsiteX334" fmla="*/ 649278 w 10329156"/>
              <a:gd name="connsiteY334" fmla="*/ 2591406 h 4384844"/>
              <a:gd name="connsiteX335" fmla="*/ 656292 w 10329156"/>
              <a:gd name="connsiteY335" fmla="*/ 2582121 h 4384844"/>
              <a:gd name="connsiteX336" fmla="*/ 667953 w 10329156"/>
              <a:gd name="connsiteY336" fmla="*/ 2575208 h 4384844"/>
              <a:gd name="connsiteX337" fmla="*/ 661476 w 10329156"/>
              <a:gd name="connsiteY337" fmla="*/ 2574331 h 4384844"/>
              <a:gd name="connsiteX338" fmla="*/ 668794 w 10329156"/>
              <a:gd name="connsiteY338" fmla="*/ 2539668 h 4384844"/>
              <a:gd name="connsiteX339" fmla="*/ 668794 w 10329156"/>
              <a:gd name="connsiteY339" fmla="*/ 2500052 h 4384844"/>
              <a:gd name="connsiteX340" fmla="*/ 649278 w 10329156"/>
              <a:gd name="connsiteY340" fmla="*/ 2480245 h 4384844"/>
              <a:gd name="connsiteX341" fmla="*/ 493151 w 10329156"/>
              <a:gd name="connsiteY341" fmla="*/ 2519860 h 4384844"/>
              <a:gd name="connsiteX342" fmla="*/ 590731 w 10329156"/>
              <a:gd name="connsiteY342" fmla="*/ 2457961 h 4384844"/>
              <a:gd name="connsiteX343" fmla="*/ 602314 w 10329156"/>
              <a:gd name="connsiteY343" fmla="*/ 2453732 h 4384844"/>
              <a:gd name="connsiteX344" fmla="*/ 590731 w 10329156"/>
              <a:gd name="connsiteY344" fmla="*/ 2452752 h 4384844"/>
              <a:gd name="connsiteX345" fmla="*/ 595610 w 10329156"/>
              <a:gd name="connsiteY345" fmla="*/ 2443777 h 4384844"/>
              <a:gd name="connsiteX346" fmla="*/ 593036 w 10329156"/>
              <a:gd name="connsiteY346" fmla="*/ 2438960 h 4384844"/>
              <a:gd name="connsiteX347" fmla="*/ 571215 w 10329156"/>
              <a:gd name="connsiteY347" fmla="*/ 2440629 h 4384844"/>
              <a:gd name="connsiteX348" fmla="*/ 454119 w 10329156"/>
              <a:gd name="connsiteY348" fmla="*/ 2480245 h 4384844"/>
              <a:gd name="connsiteX349" fmla="*/ 454119 w 10329156"/>
              <a:gd name="connsiteY349" fmla="*/ 2401014 h 4384844"/>
              <a:gd name="connsiteX350" fmla="*/ 590731 w 10329156"/>
              <a:gd name="connsiteY350" fmla="*/ 2381206 h 4384844"/>
              <a:gd name="connsiteX351" fmla="*/ 590731 w 10329156"/>
              <a:gd name="connsiteY351" fmla="*/ 2361399 h 4384844"/>
              <a:gd name="connsiteX352" fmla="*/ 587847 w 10329156"/>
              <a:gd name="connsiteY352" fmla="*/ 2354246 h 4384844"/>
              <a:gd name="connsiteX353" fmla="*/ 537062 w 10329156"/>
              <a:gd name="connsiteY353" fmla="*/ 2363618 h 4384844"/>
              <a:gd name="connsiteX354" fmla="*/ 512667 w 10329156"/>
              <a:gd name="connsiteY354" fmla="*/ 2373521 h 4384844"/>
              <a:gd name="connsiteX355" fmla="*/ 612686 w 10329156"/>
              <a:gd name="connsiteY355" fmla="*/ 2324002 h 4384844"/>
              <a:gd name="connsiteX356" fmla="*/ 655403 w 10329156"/>
              <a:gd name="connsiteY356" fmla="*/ 2304048 h 4384844"/>
              <a:gd name="connsiteX357" fmla="*/ 649278 w 10329156"/>
              <a:gd name="connsiteY357" fmla="*/ 2301976 h 4384844"/>
              <a:gd name="connsiteX358" fmla="*/ 590731 w 10329156"/>
              <a:gd name="connsiteY358" fmla="*/ 2282168 h 4384844"/>
              <a:gd name="connsiteX359" fmla="*/ 376056 w 10329156"/>
              <a:gd name="connsiteY359" fmla="*/ 2321784 h 4384844"/>
              <a:gd name="connsiteX360" fmla="*/ 395572 w 10329156"/>
              <a:gd name="connsiteY360" fmla="*/ 2282168 h 4384844"/>
              <a:gd name="connsiteX361" fmla="*/ 590731 w 10329156"/>
              <a:gd name="connsiteY361" fmla="*/ 2242553 h 4384844"/>
              <a:gd name="connsiteX362" fmla="*/ 610247 w 10329156"/>
              <a:gd name="connsiteY362" fmla="*/ 2202938 h 4384844"/>
              <a:gd name="connsiteX363" fmla="*/ 656101 w 10329156"/>
              <a:gd name="connsiteY363" fmla="*/ 2190099 h 4384844"/>
              <a:gd name="connsiteX364" fmla="*/ 644399 w 10329156"/>
              <a:gd name="connsiteY364" fmla="*/ 2185349 h 4384844"/>
              <a:gd name="connsiteX365" fmla="*/ 649278 w 10329156"/>
              <a:gd name="connsiteY365" fmla="*/ 2175445 h 4384844"/>
              <a:gd name="connsiteX366" fmla="*/ 493151 w 10329156"/>
              <a:gd name="connsiteY366" fmla="*/ 2215060 h 4384844"/>
              <a:gd name="connsiteX367" fmla="*/ 590731 w 10329156"/>
              <a:gd name="connsiteY367" fmla="*/ 2153161 h 4384844"/>
              <a:gd name="connsiteX368" fmla="*/ 619484 w 10329156"/>
              <a:gd name="connsiteY368" fmla="*/ 2142662 h 4384844"/>
              <a:gd name="connsiteX369" fmla="*/ 610247 w 10329156"/>
              <a:gd name="connsiteY369" fmla="*/ 2143515 h 4384844"/>
              <a:gd name="connsiteX370" fmla="*/ 532183 w 10329156"/>
              <a:gd name="connsiteY370" fmla="*/ 2151562 h 4384844"/>
              <a:gd name="connsiteX371" fmla="*/ 518717 w 10329156"/>
              <a:gd name="connsiteY371" fmla="*/ 2153590 h 4384844"/>
              <a:gd name="connsiteX372" fmla="*/ 512667 w 10329156"/>
              <a:gd name="connsiteY372" fmla="*/ 2155637 h 4384844"/>
              <a:gd name="connsiteX373" fmla="*/ 454119 w 10329156"/>
              <a:gd name="connsiteY373" fmla="*/ 2175445 h 4384844"/>
              <a:gd name="connsiteX374" fmla="*/ 380935 w 10329156"/>
              <a:gd name="connsiteY374" fmla="*/ 2158113 h 4384844"/>
              <a:gd name="connsiteX375" fmla="*/ 382593 w 10329156"/>
              <a:gd name="connsiteY375" fmla="*/ 2155393 h 4384844"/>
              <a:gd name="connsiteX376" fmla="*/ 369042 w 10329156"/>
              <a:gd name="connsiteY376" fmla="*/ 2147306 h 4384844"/>
              <a:gd name="connsiteX377" fmla="*/ 356540 w 10329156"/>
              <a:gd name="connsiteY377" fmla="*/ 2123707 h 4384844"/>
              <a:gd name="connsiteX378" fmla="*/ 559627 w 10329156"/>
              <a:gd name="connsiteY378" fmla="*/ 2048500 h 4384844"/>
              <a:gd name="connsiteX379" fmla="*/ 586473 w 10329156"/>
              <a:gd name="connsiteY379" fmla="*/ 2046037 h 4384844"/>
              <a:gd name="connsiteX380" fmla="*/ 585242 w 10329156"/>
              <a:gd name="connsiteY380" fmla="*/ 2042981 h 4384844"/>
              <a:gd name="connsiteX381" fmla="*/ 590731 w 10329156"/>
              <a:gd name="connsiteY381" fmla="*/ 2036791 h 4384844"/>
              <a:gd name="connsiteX382" fmla="*/ 599427 w 10329156"/>
              <a:gd name="connsiteY382" fmla="*/ 2031348 h 4384844"/>
              <a:gd name="connsiteX383" fmla="*/ 590731 w 10329156"/>
              <a:gd name="connsiteY383" fmla="*/ 2024669 h 4384844"/>
              <a:gd name="connsiteX384" fmla="*/ 609332 w 10329156"/>
              <a:gd name="connsiteY384" fmla="*/ 2007027 h 4384844"/>
              <a:gd name="connsiteX385" fmla="*/ 638600 w 10329156"/>
              <a:gd name="connsiteY385" fmla="*/ 1993563 h 4384844"/>
              <a:gd name="connsiteX386" fmla="*/ 609027 w 10329156"/>
              <a:gd name="connsiteY386" fmla="*/ 1983558 h 4384844"/>
              <a:gd name="connsiteX387" fmla="*/ 590731 w 10329156"/>
              <a:gd name="connsiteY387" fmla="*/ 1977368 h 4384844"/>
              <a:gd name="connsiteX388" fmla="*/ 376056 w 10329156"/>
              <a:gd name="connsiteY388" fmla="*/ 2016984 h 4384844"/>
              <a:gd name="connsiteX389" fmla="*/ 395572 w 10329156"/>
              <a:gd name="connsiteY389" fmla="*/ 1977368 h 4384844"/>
              <a:gd name="connsiteX390" fmla="*/ 493151 w 10329156"/>
              <a:gd name="connsiteY390" fmla="*/ 1942705 h 4384844"/>
              <a:gd name="connsiteX391" fmla="*/ 535659 w 10329156"/>
              <a:gd name="connsiteY391" fmla="*/ 1939422 h 4384844"/>
              <a:gd name="connsiteX392" fmla="*/ 519985 w 10329156"/>
              <a:gd name="connsiteY392" fmla="*/ 1938010 h 4384844"/>
              <a:gd name="connsiteX393" fmla="*/ 415087 w 10329156"/>
              <a:gd name="connsiteY393" fmla="*/ 1945438 h 4384844"/>
              <a:gd name="connsiteX394" fmla="*/ 317508 w 10329156"/>
              <a:gd name="connsiteY394" fmla="*/ 1945438 h 4384844"/>
              <a:gd name="connsiteX395" fmla="*/ 688310 w 10329156"/>
              <a:gd name="connsiteY395" fmla="*/ 1846400 h 4384844"/>
              <a:gd name="connsiteX396" fmla="*/ 824921 w 10329156"/>
              <a:gd name="connsiteY396" fmla="*/ 1846400 h 4384844"/>
              <a:gd name="connsiteX397" fmla="*/ 610247 w 10329156"/>
              <a:gd name="connsiteY397" fmla="*/ 1846400 h 4384844"/>
              <a:gd name="connsiteX398" fmla="*/ 317508 w 10329156"/>
              <a:gd name="connsiteY398" fmla="*/ 1886015 h 4384844"/>
              <a:gd name="connsiteX399" fmla="*/ 376056 w 10329156"/>
              <a:gd name="connsiteY399" fmla="*/ 1848875 h 4384844"/>
              <a:gd name="connsiteX400" fmla="*/ 378623 w 10329156"/>
              <a:gd name="connsiteY400" fmla="*/ 1848224 h 4384844"/>
              <a:gd name="connsiteX401" fmla="*/ 369042 w 10329156"/>
              <a:gd name="connsiteY401" fmla="*/ 1842506 h 4384844"/>
              <a:gd name="connsiteX402" fmla="*/ 356540 w 10329156"/>
              <a:gd name="connsiteY402" fmla="*/ 1818907 h 4384844"/>
              <a:gd name="connsiteX403" fmla="*/ 361038 w 10329156"/>
              <a:gd name="connsiteY403" fmla="*/ 1798442 h 4384844"/>
              <a:gd name="connsiteX404" fmla="*/ 376122 w 10329156"/>
              <a:gd name="connsiteY404" fmla="*/ 1787840 h 4384844"/>
              <a:gd name="connsiteX405" fmla="*/ 339768 w 10329156"/>
              <a:gd name="connsiteY405" fmla="*/ 1797499 h 4384844"/>
              <a:gd name="connsiteX406" fmla="*/ 297992 w 10329156"/>
              <a:gd name="connsiteY406" fmla="*/ 1786977 h 4384844"/>
              <a:gd name="connsiteX407" fmla="*/ 376056 w 10329156"/>
              <a:gd name="connsiteY407" fmla="*/ 1707746 h 4384844"/>
              <a:gd name="connsiteX408" fmla="*/ 239445 w 10329156"/>
              <a:gd name="connsiteY408" fmla="*/ 1668131 h 4384844"/>
              <a:gd name="connsiteX409" fmla="*/ 317508 w 10329156"/>
              <a:gd name="connsiteY409" fmla="*/ 1608708 h 4384844"/>
              <a:gd name="connsiteX410" fmla="*/ 200413 w 10329156"/>
              <a:gd name="connsiteY410" fmla="*/ 1588900 h 4384844"/>
              <a:gd name="connsiteX411" fmla="*/ 258960 w 10329156"/>
              <a:gd name="connsiteY411" fmla="*/ 1549285 h 4384844"/>
              <a:gd name="connsiteX412" fmla="*/ 395572 w 10329156"/>
              <a:gd name="connsiteY412" fmla="*/ 1509669 h 4384844"/>
              <a:gd name="connsiteX413" fmla="*/ 434603 w 10329156"/>
              <a:gd name="connsiteY413" fmla="*/ 1489862 h 4384844"/>
              <a:gd name="connsiteX414" fmla="*/ 200413 w 10329156"/>
              <a:gd name="connsiteY414" fmla="*/ 1509669 h 4384844"/>
              <a:gd name="connsiteX415" fmla="*/ 239445 w 10329156"/>
              <a:gd name="connsiteY415" fmla="*/ 1450246 h 4384844"/>
              <a:gd name="connsiteX416" fmla="*/ 239445 w 10329156"/>
              <a:gd name="connsiteY416" fmla="*/ 1390823 h 4384844"/>
              <a:gd name="connsiteX417" fmla="*/ 200413 w 10329156"/>
              <a:gd name="connsiteY417" fmla="*/ 1351208 h 4384844"/>
              <a:gd name="connsiteX418" fmla="*/ 258960 w 10329156"/>
              <a:gd name="connsiteY418" fmla="*/ 1291785 h 4384844"/>
              <a:gd name="connsiteX419" fmla="*/ 294028 w 10329156"/>
              <a:gd name="connsiteY419" fmla="*/ 1268882 h 4384844"/>
              <a:gd name="connsiteX420" fmla="*/ 298697 w 10329156"/>
              <a:gd name="connsiteY420" fmla="*/ 1266764 h 4384844"/>
              <a:gd name="connsiteX421" fmla="*/ 296468 w 10329156"/>
              <a:gd name="connsiteY421" fmla="*/ 1264602 h 4384844"/>
              <a:gd name="connsiteX422" fmla="*/ 200413 w 10329156"/>
              <a:gd name="connsiteY422" fmla="*/ 1284100 h 4384844"/>
              <a:gd name="connsiteX423" fmla="*/ 258960 w 10329156"/>
              <a:gd name="connsiteY423" fmla="*/ 1244485 h 4384844"/>
              <a:gd name="connsiteX424" fmla="*/ 305006 w 10329156"/>
              <a:gd name="connsiteY424" fmla="*/ 1232724 h 4384844"/>
              <a:gd name="connsiteX425" fmla="*/ 316763 w 10329156"/>
              <a:gd name="connsiteY425" fmla="*/ 1229525 h 4384844"/>
              <a:gd name="connsiteX426" fmla="*/ 313291 w 10329156"/>
              <a:gd name="connsiteY426" fmla="*/ 1216312 h 4384844"/>
              <a:gd name="connsiteX427" fmla="*/ 310190 w 10329156"/>
              <a:gd name="connsiteY427" fmla="*/ 1217249 h 4384844"/>
              <a:gd name="connsiteX428" fmla="*/ 200413 w 10329156"/>
              <a:gd name="connsiteY428" fmla="*/ 1204869 h 4384844"/>
              <a:gd name="connsiteX429" fmla="*/ 241884 w 10329156"/>
              <a:gd name="connsiteY429" fmla="*/ 1175158 h 4384844"/>
              <a:gd name="connsiteX430" fmla="*/ 247280 w 10329156"/>
              <a:gd name="connsiteY430" fmla="*/ 1172844 h 4384844"/>
              <a:gd name="connsiteX431" fmla="*/ 246763 w 10329156"/>
              <a:gd name="connsiteY431" fmla="*/ 1172939 h 4384844"/>
              <a:gd name="connsiteX432" fmla="*/ 180897 w 10329156"/>
              <a:gd name="connsiteY432" fmla="*/ 1172939 h 4384844"/>
              <a:gd name="connsiteX433" fmla="*/ 122349 w 10329156"/>
              <a:gd name="connsiteY433" fmla="*/ 1073901 h 4384844"/>
              <a:gd name="connsiteX434" fmla="*/ 141865 w 10329156"/>
              <a:gd name="connsiteY434" fmla="*/ 974862 h 4384844"/>
              <a:gd name="connsiteX435" fmla="*/ 239445 w 10329156"/>
              <a:gd name="connsiteY435" fmla="*/ 955055 h 4384844"/>
              <a:gd name="connsiteX436" fmla="*/ 63802 w 10329156"/>
              <a:gd name="connsiteY436" fmla="*/ 935247 h 4384844"/>
              <a:gd name="connsiteX437" fmla="*/ 122349 w 10329156"/>
              <a:gd name="connsiteY437" fmla="*/ 895632 h 4384844"/>
              <a:gd name="connsiteX438" fmla="*/ 158027 w 10329156"/>
              <a:gd name="connsiteY438" fmla="*/ 837137 h 4384844"/>
              <a:gd name="connsiteX439" fmla="*/ 163681 w 10329156"/>
              <a:gd name="connsiteY439" fmla="*/ 834371 h 4384844"/>
              <a:gd name="connsiteX440" fmla="*/ 151623 w 10329156"/>
              <a:gd name="connsiteY440" fmla="*/ 811192 h 4384844"/>
              <a:gd name="connsiteX441" fmla="*/ 122349 w 10329156"/>
              <a:gd name="connsiteY441" fmla="*/ 769101 h 4384844"/>
              <a:gd name="connsiteX442" fmla="*/ 132107 w 10329156"/>
              <a:gd name="connsiteY442" fmla="*/ 719581 h 4384844"/>
              <a:gd name="connsiteX443" fmla="*/ 132236 w 10329156"/>
              <a:gd name="connsiteY443" fmla="*/ 719036 h 4384844"/>
              <a:gd name="connsiteX444" fmla="*/ 105273 w 10329156"/>
              <a:gd name="connsiteY444" fmla="*/ 727267 h 4384844"/>
              <a:gd name="connsiteX445" fmla="*/ 44286 w 10329156"/>
              <a:gd name="connsiteY445" fmla="*/ 737170 h 4384844"/>
              <a:gd name="connsiteX446" fmla="*/ 83318 w 10329156"/>
              <a:gd name="connsiteY446" fmla="*/ 697555 h 4384844"/>
              <a:gd name="connsiteX447" fmla="*/ 63802 w 10329156"/>
              <a:gd name="connsiteY447" fmla="*/ 677747 h 4384844"/>
              <a:gd name="connsiteX448" fmla="*/ 24770 w 10329156"/>
              <a:gd name="connsiteY448" fmla="*/ 657940 h 4384844"/>
              <a:gd name="connsiteX449" fmla="*/ 117470 w 10329156"/>
              <a:gd name="connsiteY449" fmla="*/ 645560 h 4384844"/>
              <a:gd name="connsiteX450" fmla="*/ 161753 w 10329156"/>
              <a:gd name="connsiteY450" fmla="*/ 632939 h 4384844"/>
              <a:gd name="connsiteX451" fmla="*/ 158942 w 10329156"/>
              <a:gd name="connsiteY451" fmla="*/ 632923 h 4384844"/>
              <a:gd name="connsiteX452" fmla="*/ 63802 w 10329156"/>
              <a:gd name="connsiteY452" fmla="*/ 630447 h 4384844"/>
              <a:gd name="connsiteX453" fmla="*/ 78439 w 10329156"/>
              <a:gd name="connsiteY453" fmla="*/ 613115 h 4384844"/>
              <a:gd name="connsiteX454" fmla="*/ 115013 w 10329156"/>
              <a:gd name="connsiteY454" fmla="*/ 598679 h 4384844"/>
              <a:gd name="connsiteX455" fmla="*/ 102834 w 10329156"/>
              <a:gd name="connsiteY455" fmla="*/ 598517 h 4384844"/>
              <a:gd name="connsiteX456" fmla="*/ 107399 w 10329156"/>
              <a:gd name="connsiteY456" fmla="*/ 589356 h 4384844"/>
              <a:gd name="connsiteX457" fmla="*/ 96087 w 10329156"/>
              <a:gd name="connsiteY457" fmla="*/ 588240 h 4384844"/>
              <a:gd name="connsiteX458" fmla="*/ 200413 w 10329156"/>
              <a:gd name="connsiteY458" fmla="*/ 511601 h 4384844"/>
              <a:gd name="connsiteX459" fmla="*/ 376056 w 10329156"/>
              <a:gd name="connsiteY459" fmla="*/ 471986 h 4384844"/>
              <a:gd name="connsiteX460" fmla="*/ 239445 w 10329156"/>
              <a:gd name="connsiteY460" fmla="*/ 471986 h 4384844"/>
              <a:gd name="connsiteX461" fmla="*/ 219319 w 10329156"/>
              <a:gd name="connsiteY461" fmla="*/ 462701 h 4384844"/>
              <a:gd name="connsiteX462" fmla="*/ 218372 w 10329156"/>
              <a:gd name="connsiteY462" fmla="*/ 460587 h 4384844"/>
              <a:gd name="connsiteX463" fmla="*/ 140340 w 10329156"/>
              <a:gd name="connsiteY463" fmla="*/ 478742 h 4384844"/>
              <a:gd name="connsiteX464" fmla="*/ 83318 w 10329156"/>
              <a:gd name="connsiteY464" fmla="*/ 479671 h 4384844"/>
              <a:gd name="connsiteX465" fmla="*/ 122349 w 10329156"/>
              <a:gd name="connsiteY465" fmla="*/ 440055 h 4384844"/>
              <a:gd name="connsiteX466" fmla="*/ 151623 w 10329156"/>
              <a:gd name="connsiteY466" fmla="*/ 412820 h 4384844"/>
              <a:gd name="connsiteX467" fmla="*/ 156333 w 10329156"/>
              <a:gd name="connsiteY467" fmla="*/ 410828 h 4384844"/>
              <a:gd name="connsiteX468" fmla="*/ 145829 w 10329156"/>
              <a:gd name="connsiteY468" fmla="*/ 410087 h 4384844"/>
              <a:gd name="connsiteX469" fmla="*/ 44286 w 10329156"/>
              <a:gd name="connsiteY469" fmla="*/ 432370 h 4384844"/>
              <a:gd name="connsiteX470" fmla="*/ 83318 w 10329156"/>
              <a:gd name="connsiteY470" fmla="*/ 392755 h 4384844"/>
              <a:gd name="connsiteX471" fmla="*/ 63802 w 10329156"/>
              <a:gd name="connsiteY471" fmla="*/ 372947 h 4384844"/>
              <a:gd name="connsiteX472" fmla="*/ 24770 w 10329156"/>
              <a:gd name="connsiteY472" fmla="*/ 353140 h 4384844"/>
              <a:gd name="connsiteX473" fmla="*/ 180897 w 10329156"/>
              <a:gd name="connsiteY473" fmla="*/ 313524 h 4384844"/>
              <a:gd name="connsiteX474" fmla="*/ 102834 w 10329156"/>
              <a:gd name="connsiteY474" fmla="*/ 293717 h 4384844"/>
              <a:gd name="connsiteX475" fmla="*/ 239445 w 10329156"/>
              <a:gd name="connsiteY475" fmla="*/ 214486 h 4384844"/>
              <a:gd name="connsiteX476" fmla="*/ 1039596 w 10329156"/>
              <a:gd name="connsiteY476" fmla="*/ 115448 h 4384844"/>
              <a:gd name="connsiteX477" fmla="*/ 1547009 w 10329156"/>
              <a:gd name="connsiteY477" fmla="*/ 115448 h 4384844"/>
              <a:gd name="connsiteX478" fmla="*/ 1898295 w 10329156"/>
              <a:gd name="connsiteY478" fmla="*/ 95640 h 4384844"/>
              <a:gd name="connsiteX479" fmla="*/ 2269097 w 10329156"/>
              <a:gd name="connsiteY479" fmla="*/ 95640 h 4384844"/>
              <a:gd name="connsiteX480" fmla="*/ 2132485 w 10329156"/>
              <a:gd name="connsiteY480" fmla="*/ 95640 h 4384844"/>
              <a:gd name="connsiteX481" fmla="*/ 746858 w 10329156"/>
              <a:gd name="connsiteY481" fmla="*/ 95640 h 4384844"/>
              <a:gd name="connsiteX482" fmla="*/ 395572 w 10329156"/>
              <a:gd name="connsiteY482" fmla="*/ 115448 h 4384844"/>
              <a:gd name="connsiteX483" fmla="*/ 83318 w 10329156"/>
              <a:gd name="connsiteY483" fmla="*/ 174871 h 4384844"/>
              <a:gd name="connsiteX484" fmla="*/ 122349 w 10329156"/>
              <a:gd name="connsiteY484" fmla="*/ 135255 h 4384844"/>
              <a:gd name="connsiteX485" fmla="*/ 180897 w 10329156"/>
              <a:gd name="connsiteY485" fmla="*/ 95640 h 4384844"/>
              <a:gd name="connsiteX486" fmla="*/ 590731 w 10329156"/>
              <a:gd name="connsiteY486" fmla="*/ 56025 h 4384844"/>
              <a:gd name="connsiteX487" fmla="*/ 863953 w 10329156"/>
              <a:gd name="connsiteY487" fmla="*/ 16409 h 4384844"/>
              <a:gd name="connsiteX488" fmla="*/ 1435402 w 10329156"/>
              <a:gd name="connsiteY488" fmla="*/ 316 h 438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Lst>
            <a:rect l="l" t="t" r="r" b="b"/>
            <a:pathLst>
              <a:path w="10329156" h="4384844">
                <a:moveTo>
                  <a:pt x="9846816" y="3675188"/>
                </a:moveTo>
                <a:lnTo>
                  <a:pt x="9841259" y="3680827"/>
                </a:lnTo>
                <a:cubicBezTo>
                  <a:pt x="9851017" y="3685779"/>
                  <a:pt x="9857116" y="3687017"/>
                  <a:pt x="9861385" y="3686398"/>
                </a:cubicBezTo>
                <a:lnTo>
                  <a:pt x="9868409" y="3682121"/>
                </a:lnTo>
                <a:close/>
                <a:moveTo>
                  <a:pt x="9251280" y="2940721"/>
                </a:moveTo>
                <a:lnTo>
                  <a:pt x="9275299" y="2947944"/>
                </a:lnTo>
                <a:lnTo>
                  <a:pt x="9287217" y="2950260"/>
                </a:lnTo>
                <a:close/>
                <a:moveTo>
                  <a:pt x="586000" y="2349662"/>
                </a:moveTo>
                <a:lnTo>
                  <a:pt x="571215" y="2353714"/>
                </a:lnTo>
                <a:cubicBezTo>
                  <a:pt x="571215" y="2353714"/>
                  <a:pt x="571215" y="2353714"/>
                  <a:pt x="573654" y="2353714"/>
                </a:cubicBezTo>
                <a:lnTo>
                  <a:pt x="587633" y="2353714"/>
                </a:lnTo>
                <a:close/>
                <a:moveTo>
                  <a:pt x="9585152" y="2330734"/>
                </a:moveTo>
                <a:cubicBezTo>
                  <a:pt x="9578710" y="2330502"/>
                  <a:pt x="9572916" y="2331430"/>
                  <a:pt x="9568037" y="2333906"/>
                </a:cubicBezTo>
                <a:cubicBezTo>
                  <a:pt x="9568037" y="2333906"/>
                  <a:pt x="9571696" y="2336382"/>
                  <a:pt x="9577185" y="2340096"/>
                </a:cubicBezTo>
                <a:lnTo>
                  <a:pt x="9588914" y="2348033"/>
                </a:lnTo>
                <a:lnTo>
                  <a:pt x="9606154" y="2353352"/>
                </a:lnTo>
                <a:cubicBezTo>
                  <a:pt x="9621096" y="2356447"/>
                  <a:pt x="9637562" y="2358923"/>
                  <a:pt x="9653419" y="2361399"/>
                </a:cubicBezTo>
                <a:lnTo>
                  <a:pt x="9683495" y="2366949"/>
                </a:lnTo>
                <a:lnTo>
                  <a:pt x="9653419" y="2353714"/>
                </a:lnTo>
                <a:cubicBezTo>
                  <a:pt x="9629634" y="2342572"/>
                  <a:pt x="9604477" y="2331430"/>
                  <a:pt x="9585152" y="2330734"/>
                </a:cubicBezTo>
                <a:close/>
                <a:moveTo>
                  <a:pt x="9860775" y="2282168"/>
                </a:moveTo>
                <a:cubicBezTo>
                  <a:pt x="9860775" y="2287120"/>
                  <a:pt x="9859555" y="2287120"/>
                  <a:pt x="9857421" y="2284025"/>
                </a:cubicBezTo>
                <a:lnTo>
                  <a:pt x="9857106" y="2283430"/>
                </a:lnTo>
                <a:close/>
                <a:moveTo>
                  <a:pt x="9860775" y="1977368"/>
                </a:moveTo>
                <a:cubicBezTo>
                  <a:pt x="9860775" y="1982320"/>
                  <a:pt x="9859555" y="1982320"/>
                  <a:pt x="9857421" y="1979225"/>
                </a:cubicBezTo>
                <a:lnTo>
                  <a:pt x="9857106" y="1978630"/>
                </a:lnTo>
                <a:close/>
                <a:moveTo>
                  <a:pt x="9521004" y="1953535"/>
                </a:moveTo>
                <a:lnTo>
                  <a:pt x="9572915" y="1972673"/>
                </a:lnTo>
                <a:cubicBezTo>
                  <a:pt x="9626584" y="1990005"/>
                  <a:pt x="9685132" y="2004861"/>
                  <a:pt x="9704648" y="2004861"/>
                </a:cubicBezTo>
                <a:lnTo>
                  <a:pt x="9711365" y="2005157"/>
                </a:lnTo>
                <a:lnTo>
                  <a:pt x="9680253" y="1994700"/>
                </a:lnTo>
                <a:cubicBezTo>
                  <a:pt x="9646100" y="1982320"/>
                  <a:pt x="9607068" y="1967464"/>
                  <a:pt x="9568037" y="1957561"/>
                </a:cubicBezTo>
                <a:close/>
                <a:moveTo>
                  <a:pt x="466710" y="1757607"/>
                </a:moveTo>
                <a:lnTo>
                  <a:pt x="459913" y="1759122"/>
                </a:lnTo>
                <a:lnTo>
                  <a:pt x="453789" y="1761388"/>
                </a:lnTo>
                <a:close/>
                <a:moveTo>
                  <a:pt x="512667" y="1747361"/>
                </a:moveTo>
                <a:lnTo>
                  <a:pt x="470621" y="1756735"/>
                </a:lnTo>
                <a:lnTo>
                  <a:pt x="511845" y="1750697"/>
                </a:lnTo>
                <a:lnTo>
                  <a:pt x="512667" y="1747361"/>
                </a:lnTo>
                <a:lnTo>
                  <a:pt x="512667" y="1750577"/>
                </a:lnTo>
                <a:lnTo>
                  <a:pt x="519301" y="1749606"/>
                </a:lnTo>
                <a:close/>
                <a:moveTo>
                  <a:pt x="1435402" y="316"/>
                </a:moveTo>
                <a:cubicBezTo>
                  <a:pt x="1993435" y="-3398"/>
                  <a:pt x="2513045" y="26313"/>
                  <a:pt x="3010700" y="56025"/>
                </a:cubicBezTo>
                <a:cubicBezTo>
                  <a:pt x="3303439" y="56025"/>
                  <a:pt x="3596176" y="115448"/>
                  <a:pt x="3869400" y="155063"/>
                </a:cubicBezTo>
                <a:cubicBezTo>
                  <a:pt x="4162137" y="174871"/>
                  <a:pt x="4454875" y="214486"/>
                  <a:pt x="4728099" y="254101"/>
                </a:cubicBezTo>
                <a:cubicBezTo>
                  <a:pt x="5001320" y="293717"/>
                  <a:pt x="5274543" y="313524"/>
                  <a:pt x="5567281" y="353140"/>
                </a:cubicBezTo>
                <a:cubicBezTo>
                  <a:pt x="5840503" y="412563"/>
                  <a:pt x="6113726" y="491793"/>
                  <a:pt x="6367432" y="531409"/>
                </a:cubicBezTo>
                <a:cubicBezTo>
                  <a:pt x="6523559" y="551216"/>
                  <a:pt x="6640654" y="571024"/>
                  <a:pt x="6777266" y="610639"/>
                </a:cubicBezTo>
                <a:cubicBezTo>
                  <a:pt x="7343226" y="749293"/>
                  <a:pt x="7870155" y="907754"/>
                  <a:pt x="8436116" y="1046408"/>
                </a:cubicBezTo>
                <a:cubicBezTo>
                  <a:pt x="8592243" y="1105831"/>
                  <a:pt x="8767886" y="1145446"/>
                  <a:pt x="8904497" y="1204869"/>
                </a:cubicBezTo>
                <a:cubicBezTo>
                  <a:pt x="8963044" y="1224677"/>
                  <a:pt x="9041108" y="1244485"/>
                  <a:pt x="9060624" y="1264292"/>
                </a:cubicBezTo>
                <a:cubicBezTo>
                  <a:pt x="9060624" y="1264292"/>
                  <a:pt x="8963044" y="1264292"/>
                  <a:pt x="9021592" y="1284100"/>
                </a:cubicBezTo>
                <a:cubicBezTo>
                  <a:pt x="9177719" y="1343523"/>
                  <a:pt x="9294814" y="1363331"/>
                  <a:pt x="9431426" y="1402946"/>
                </a:cubicBezTo>
                <a:cubicBezTo>
                  <a:pt x="9489973" y="1422754"/>
                  <a:pt x="9646100" y="1482177"/>
                  <a:pt x="9470457" y="1442561"/>
                </a:cubicBezTo>
                <a:cubicBezTo>
                  <a:pt x="9372878" y="1422754"/>
                  <a:pt x="9275299" y="1383138"/>
                  <a:pt x="9197235" y="1383138"/>
                </a:cubicBezTo>
                <a:cubicBezTo>
                  <a:pt x="9197235" y="1343523"/>
                  <a:pt x="9158203" y="1383138"/>
                  <a:pt x="9197235" y="1383138"/>
                </a:cubicBezTo>
                <a:cubicBezTo>
                  <a:pt x="9216751" y="1422754"/>
                  <a:pt x="9431426" y="1442561"/>
                  <a:pt x="9431426" y="1462369"/>
                </a:cubicBezTo>
                <a:cubicBezTo>
                  <a:pt x="9431426" y="1482177"/>
                  <a:pt x="9275299" y="1442561"/>
                  <a:pt x="9255783" y="1442561"/>
                </a:cubicBezTo>
                <a:cubicBezTo>
                  <a:pt x="9255783" y="1402946"/>
                  <a:pt x="9216751" y="1442561"/>
                  <a:pt x="9255783" y="1442561"/>
                </a:cubicBezTo>
                <a:cubicBezTo>
                  <a:pt x="9255783" y="1482177"/>
                  <a:pt x="9392394" y="1521792"/>
                  <a:pt x="9450941" y="1541600"/>
                </a:cubicBezTo>
                <a:cubicBezTo>
                  <a:pt x="9489973" y="1541600"/>
                  <a:pt x="9587553" y="1581215"/>
                  <a:pt x="9626584" y="1601023"/>
                </a:cubicBezTo>
                <a:cubicBezTo>
                  <a:pt x="9802227" y="1640638"/>
                  <a:pt x="9548521" y="1601023"/>
                  <a:pt x="9489973" y="1601023"/>
                </a:cubicBezTo>
                <a:cubicBezTo>
                  <a:pt x="9489973" y="1601023"/>
                  <a:pt x="9470457" y="1620830"/>
                  <a:pt x="9470457" y="1620830"/>
                </a:cubicBezTo>
                <a:cubicBezTo>
                  <a:pt x="9470457" y="1640638"/>
                  <a:pt x="9665616" y="1700061"/>
                  <a:pt x="9704648" y="1700061"/>
                </a:cubicBezTo>
                <a:cubicBezTo>
                  <a:pt x="9685132" y="1700061"/>
                  <a:pt x="9802227" y="1700061"/>
                  <a:pt x="9802227" y="1719869"/>
                </a:cubicBezTo>
                <a:cubicBezTo>
                  <a:pt x="9802227" y="1739676"/>
                  <a:pt x="9743680" y="1719869"/>
                  <a:pt x="9743680" y="1719869"/>
                </a:cubicBezTo>
                <a:cubicBezTo>
                  <a:pt x="9704648" y="1719869"/>
                  <a:pt x="9529005" y="1680253"/>
                  <a:pt x="9587553" y="1700061"/>
                </a:cubicBezTo>
                <a:cubicBezTo>
                  <a:pt x="9704648" y="1739676"/>
                  <a:pt x="9743680" y="1739676"/>
                  <a:pt x="9841259" y="1779292"/>
                </a:cubicBezTo>
                <a:cubicBezTo>
                  <a:pt x="9860775" y="1779292"/>
                  <a:pt x="9938839" y="1799099"/>
                  <a:pt x="9938839" y="1799099"/>
                </a:cubicBezTo>
                <a:cubicBezTo>
                  <a:pt x="9938839" y="1818907"/>
                  <a:pt x="9894928" y="1813955"/>
                  <a:pt x="9858336" y="1806527"/>
                </a:cubicBezTo>
                <a:lnTo>
                  <a:pt x="9827066" y="1799099"/>
                </a:lnTo>
                <a:lnTo>
                  <a:pt x="9815340" y="1796314"/>
                </a:lnTo>
                <a:cubicBezTo>
                  <a:pt x="9807106" y="1794147"/>
                  <a:pt x="9807106" y="1794147"/>
                  <a:pt x="9821743" y="1799099"/>
                </a:cubicBezTo>
                <a:cubicBezTo>
                  <a:pt x="9665616" y="1779292"/>
                  <a:pt x="9509489" y="1779292"/>
                  <a:pt x="9372878" y="1739676"/>
                </a:cubicBezTo>
                <a:cubicBezTo>
                  <a:pt x="9353362" y="1719869"/>
                  <a:pt x="9333846" y="1719869"/>
                  <a:pt x="9314330" y="1719869"/>
                </a:cubicBezTo>
                <a:cubicBezTo>
                  <a:pt x="9314330" y="1700061"/>
                  <a:pt x="9275299" y="1719869"/>
                  <a:pt x="9275299" y="1719869"/>
                </a:cubicBezTo>
                <a:cubicBezTo>
                  <a:pt x="9255783" y="1680253"/>
                  <a:pt x="9216751" y="1719869"/>
                  <a:pt x="9275299" y="1719869"/>
                </a:cubicBezTo>
                <a:cubicBezTo>
                  <a:pt x="9275299" y="1719869"/>
                  <a:pt x="9294814" y="1719869"/>
                  <a:pt x="9314330" y="1719869"/>
                </a:cubicBezTo>
                <a:cubicBezTo>
                  <a:pt x="9314330" y="1739676"/>
                  <a:pt x="9353362" y="1739676"/>
                  <a:pt x="9372878" y="1739676"/>
                </a:cubicBezTo>
                <a:cubicBezTo>
                  <a:pt x="9450941" y="1759484"/>
                  <a:pt x="9548521" y="1818907"/>
                  <a:pt x="9607069" y="1838715"/>
                </a:cubicBezTo>
                <a:cubicBezTo>
                  <a:pt x="9626584" y="1858522"/>
                  <a:pt x="9665616" y="1838715"/>
                  <a:pt x="9685132" y="1858522"/>
                </a:cubicBezTo>
                <a:cubicBezTo>
                  <a:pt x="9704648" y="1858522"/>
                  <a:pt x="9704648" y="1898138"/>
                  <a:pt x="9724164" y="1898138"/>
                </a:cubicBezTo>
                <a:cubicBezTo>
                  <a:pt x="9763196" y="1917945"/>
                  <a:pt x="9802227" y="1917945"/>
                  <a:pt x="9821743" y="1917945"/>
                </a:cubicBezTo>
                <a:cubicBezTo>
                  <a:pt x="9831501" y="1927849"/>
                  <a:pt x="9841259" y="1947657"/>
                  <a:pt x="9848578" y="1962512"/>
                </a:cubicBezTo>
                <a:lnTo>
                  <a:pt x="9857106" y="1978630"/>
                </a:lnTo>
                <a:lnTo>
                  <a:pt x="9842784" y="1983558"/>
                </a:lnTo>
                <a:cubicBezTo>
                  <a:pt x="9821438" y="1990986"/>
                  <a:pt x="9786676" y="2003366"/>
                  <a:pt x="9770209" y="2010794"/>
                </a:cubicBezTo>
                <a:lnTo>
                  <a:pt x="9769959" y="2011015"/>
                </a:lnTo>
                <a:lnTo>
                  <a:pt x="9784236" y="2013217"/>
                </a:lnTo>
                <a:cubicBezTo>
                  <a:pt x="9794908" y="2016003"/>
                  <a:pt x="9802227" y="2019717"/>
                  <a:pt x="9802227" y="2024669"/>
                </a:cubicBezTo>
                <a:cubicBezTo>
                  <a:pt x="9802227" y="2044476"/>
                  <a:pt x="9743680" y="2024669"/>
                  <a:pt x="9743680" y="2024669"/>
                </a:cubicBezTo>
                <a:cubicBezTo>
                  <a:pt x="9704648" y="2024669"/>
                  <a:pt x="9529005" y="1985053"/>
                  <a:pt x="9587553" y="2004861"/>
                </a:cubicBezTo>
                <a:cubicBezTo>
                  <a:pt x="9704648" y="2044476"/>
                  <a:pt x="9743680" y="2044476"/>
                  <a:pt x="9841259" y="2084092"/>
                </a:cubicBezTo>
                <a:cubicBezTo>
                  <a:pt x="9860775" y="2084092"/>
                  <a:pt x="9938839" y="2103899"/>
                  <a:pt x="9938839" y="2103899"/>
                </a:cubicBezTo>
                <a:cubicBezTo>
                  <a:pt x="9938839" y="2123707"/>
                  <a:pt x="9894928" y="2118755"/>
                  <a:pt x="9858336" y="2111327"/>
                </a:cubicBezTo>
                <a:lnTo>
                  <a:pt x="9827066" y="2103899"/>
                </a:lnTo>
                <a:lnTo>
                  <a:pt x="9815340" y="2101114"/>
                </a:lnTo>
                <a:cubicBezTo>
                  <a:pt x="9807106" y="2098947"/>
                  <a:pt x="9807106" y="2098947"/>
                  <a:pt x="9821743" y="2103899"/>
                </a:cubicBezTo>
                <a:lnTo>
                  <a:pt x="9667439" y="2089062"/>
                </a:lnTo>
                <a:lnTo>
                  <a:pt x="9682693" y="2093738"/>
                </a:lnTo>
                <a:cubicBezTo>
                  <a:pt x="9719285" y="2101166"/>
                  <a:pt x="9763196" y="2106118"/>
                  <a:pt x="9782711" y="2116022"/>
                </a:cubicBezTo>
                <a:cubicBezTo>
                  <a:pt x="9782711" y="2135829"/>
                  <a:pt x="9782711" y="2175445"/>
                  <a:pt x="9782711" y="2175445"/>
                </a:cubicBezTo>
                <a:cubicBezTo>
                  <a:pt x="9802227" y="2175445"/>
                  <a:pt x="9899807" y="2195252"/>
                  <a:pt x="9899807" y="2195252"/>
                </a:cubicBezTo>
                <a:cubicBezTo>
                  <a:pt x="9899807" y="2215060"/>
                  <a:pt x="9841259" y="2220012"/>
                  <a:pt x="9780272" y="2217536"/>
                </a:cubicBezTo>
                <a:lnTo>
                  <a:pt x="9767384" y="2216288"/>
                </a:lnTo>
                <a:lnTo>
                  <a:pt x="9780272" y="2220269"/>
                </a:lnTo>
                <a:cubicBezTo>
                  <a:pt x="9797348" y="2222745"/>
                  <a:pt x="9811985" y="2222745"/>
                  <a:pt x="9821743" y="2222745"/>
                </a:cubicBezTo>
                <a:cubicBezTo>
                  <a:pt x="9831501" y="2232649"/>
                  <a:pt x="9841259" y="2252456"/>
                  <a:pt x="9848578" y="2267312"/>
                </a:cubicBezTo>
                <a:lnTo>
                  <a:pt x="9857106" y="2283430"/>
                </a:lnTo>
                <a:lnTo>
                  <a:pt x="9842784" y="2288358"/>
                </a:lnTo>
                <a:cubicBezTo>
                  <a:pt x="9810766" y="2299500"/>
                  <a:pt x="9748559" y="2321784"/>
                  <a:pt x="9763196" y="2321784"/>
                </a:cubicBezTo>
                <a:cubicBezTo>
                  <a:pt x="9724164" y="2321784"/>
                  <a:pt x="9646100" y="2282168"/>
                  <a:pt x="9568037" y="2262361"/>
                </a:cubicBezTo>
                <a:cubicBezTo>
                  <a:pt x="9470457" y="2262361"/>
                  <a:pt x="9353362" y="2222745"/>
                  <a:pt x="9275299" y="2202938"/>
                </a:cubicBezTo>
                <a:cubicBezTo>
                  <a:pt x="9216751" y="2183130"/>
                  <a:pt x="9021592" y="2123707"/>
                  <a:pt x="9002076" y="2123707"/>
                </a:cubicBezTo>
                <a:cubicBezTo>
                  <a:pt x="9002076" y="2123707"/>
                  <a:pt x="9060624" y="2163322"/>
                  <a:pt x="9099656" y="2163322"/>
                </a:cubicBezTo>
                <a:cubicBezTo>
                  <a:pt x="9187477" y="2193034"/>
                  <a:pt x="9308232" y="2222745"/>
                  <a:pt x="9387820" y="2252457"/>
                </a:cubicBezTo>
                <a:lnTo>
                  <a:pt x="9437962" y="2276059"/>
                </a:lnTo>
                <a:lnTo>
                  <a:pt x="9568037" y="2314098"/>
                </a:lnTo>
                <a:cubicBezTo>
                  <a:pt x="9587553" y="2314098"/>
                  <a:pt x="9743680" y="2353714"/>
                  <a:pt x="9724164" y="2373521"/>
                </a:cubicBezTo>
                <a:lnTo>
                  <a:pt x="9713630" y="2376641"/>
                </a:lnTo>
                <a:lnTo>
                  <a:pt x="9724164" y="2381206"/>
                </a:lnTo>
                <a:cubicBezTo>
                  <a:pt x="9724164" y="2381206"/>
                  <a:pt x="9626584" y="2381206"/>
                  <a:pt x="9626584" y="2361399"/>
                </a:cubicBezTo>
                <a:lnTo>
                  <a:pt x="9634945" y="2379583"/>
                </a:lnTo>
                <a:lnTo>
                  <a:pt x="9643660" y="2385901"/>
                </a:lnTo>
                <a:lnTo>
                  <a:pt x="9643722" y="2386593"/>
                </a:lnTo>
                <a:lnTo>
                  <a:pt x="9682693" y="2398538"/>
                </a:lnTo>
                <a:cubicBezTo>
                  <a:pt x="9719285" y="2405966"/>
                  <a:pt x="9763196" y="2410918"/>
                  <a:pt x="9782711" y="2420822"/>
                </a:cubicBezTo>
                <a:lnTo>
                  <a:pt x="9782711" y="2432944"/>
                </a:lnTo>
                <a:cubicBezTo>
                  <a:pt x="9782711" y="2432944"/>
                  <a:pt x="9782711" y="2452752"/>
                  <a:pt x="9802227" y="2472560"/>
                </a:cubicBezTo>
                <a:lnTo>
                  <a:pt x="9782711" y="2470545"/>
                </a:lnTo>
                <a:lnTo>
                  <a:pt x="9782711" y="2473745"/>
                </a:lnTo>
                <a:cubicBezTo>
                  <a:pt x="9782711" y="2477769"/>
                  <a:pt x="9782711" y="2480245"/>
                  <a:pt x="9782711" y="2480245"/>
                </a:cubicBezTo>
                <a:cubicBezTo>
                  <a:pt x="9802227" y="2480245"/>
                  <a:pt x="9899807" y="2500052"/>
                  <a:pt x="9899807" y="2500052"/>
                </a:cubicBezTo>
                <a:cubicBezTo>
                  <a:pt x="9899807" y="2509956"/>
                  <a:pt x="9885170" y="2516146"/>
                  <a:pt x="9862910" y="2519551"/>
                </a:cubicBezTo>
                <a:lnTo>
                  <a:pt x="9854599" y="2519831"/>
                </a:lnTo>
                <a:lnTo>
                  <a:pt x="9873887" y="2530900"/>
                </a:lnTo>
                <a:cubicBezTo>
                  <a:pt x="9925116" y="2566646"/>
                  <a:pt x="9811985" y="2549314"/>
                  <a:pt x="9743680" y="2531983"/>
                </a:cubicBezTo>
                <a:cubicBezTo>
                  <a:pt x="9607069" y="2492367"/>
                  <a:pt x="9802227" y="2571598"/>
                  <a:pt x="9802227" y="2571598"/>
                </a:cubicBezTo>
                <a:cubicBezTo>
                  <a:pt x="9841259" y="2591406"/>
                  <a:pt x="9860775" y="2611213"/>
                  <a:pt x="9880291" y="2611213"/>
                </a:cubicBezTo>
                <a:cubicBezTo>
                  <a:pt x="10036418" y="2670636"/>
                  <a:pt x="9509489" y="2551790"/>
                  <a:pt x="9704648" y="2631021"/>
                </a:cubicBezTo>
                <a:cubicBezTo>
                  <a:pt x="9665616" y="2631021"/>
                  <a:pt x="9763196" y="2670636"/>
                  <a:pt x="9821743" y="2670636"/>
                </a:cubicBezTo>
                <a:cubicBezTo>
                  <a:pt x="9841259" y="2690444"/>
                  <a:pt x="10036418" y="2730059"/>
                  <a:pt x="9919323" y="2710252"/>
                </a:cubicBezTo>
                <a:cubicBezTo>
                  <a:pt x="9875412" y="2705300"/>
                  <a:pt x="9833941" y="2697872"/>
                  <a:pt x="9793994" y="2689206"/>
                </a:cubicBezTo>
                <a:lnTo>
                  <a:pt x="9718341" y="2670665"/>
                </a:lnTo>
                <a:lnTo>
                  <a:pt x="9724164" y="2678321"/>
                </a:lnTo>
                <a:cubicBezTo>
                  <a:pt x="9714406" y="2688225"/>
                  <a:pt x="9685132" y="2673370"/>
                  <a:pt x="9653419" y="2658514"/>
                </a:cubicBezTo>
                <a:lnTo>
                  <a:pt x="9627562" y="2648016"/>
                </a:lnTo>
                <a:lnTo>
                  <a:pt x="9581158" y="2636274"/>
                </a:lnTo>
                <a:lnTo>
                  <a:pt x="9568037" y="2638706"/>
                </a:lnTo>
                <a:cubicBezTo>
                  <a:pt x="9568037" y="2638706"/>
                  <a:pt x="9582674" y="2648610"/>
                  <a:pt x="9597310" y="2658514"/>
                </a:cubicBezTo>
                <a:lnTo>
                  <a:pt x="9600970" y="2660990"/>
                </a:lnTo>
                <a:lnTo>
                  <a:pt x="9606154" y="2662590"/>
                </a:lnTo>
                <a:cubicBezTo>
                  <a:pt x="9650980" y="2671874"/>
                  <a:pt x="9709527" y="2675588"/>
                  <a:pt x="9724164" y="2690444"/>
                </a:cubicBezTo>
                <a:cubicBezTo>
                  <a:pt x="9743680" y="2710252"/>
                  <a:pt x="9665616" y="2710252"/>
                  <a:pt x="9665616" y="2710252"/>
                </a:cubicBezTo>
                <a:lnTo>
                  <a:pt x="9664055" y="2718525"/>
                </a:lnTo>
                <a:lnTo>
                  <a:pt x="9721724" y="2720413"/>
                </a:lnTo>
                <a:cubicBezTo>
                  <a:pt x="9748559" y="2722889"/>
                  <a:pt x="9772953" y="2727841"/>
                  <a:pt x="9782711" y="2737744"/>
                </a:cubicBezTo>
                <a:cubicBezTo>
                  <a:pt x="9782711" y="2737744"/>
                  <a:pt x="9782711" y="2757552"/>
                  <a:pt x="9802227" y="2777360"/>
                </a:cubicBezTo>
                <a:cubicBezTo>
                  <a:pt x="9743680" y="2777360"/>
                  <a:pt x="9607069" y="2737744"/>
                  <a:pt x="9685132" y="2777360"/>
                </a:cubicBezTo>
                <a:cubicBezTo>
                  <a:pt x="9763196" y="2797167"/>
                  <a:pt x="9782711" y="2797167"/>
                  <a:pt x="9841259" y="2816975"/>
                </a:cubicBezTo>
                <a:cubicBezTo>
                  <a:pt x="9958354" y="2876398"/>
                  <a:pt x="9821743" y="2856590"/>
                  <a:pt x="9743680" y="2836783"/>
                </a:cubicBezTo>
                <a:lnTo>
                  <a:pt x="9727890" y="2832622"/>
                </a:lnTo>
                <a:lnTo>
                  <a:pt x="9772954" y="2853857"/>
                </a:lnTo>
                <a:cubicBezTo>
                  <a:pt x="9787591" y="2861285"/>
                  <a:pt x="9797349" y="2867475"/>
                  <a:pt x="9794909" y="2870570"/>
                </a:cubicBezTo>
                <a:lnTo>
                  <a:pt x="9789926" y="2871329"/>
                </a:lnTo>
                <a:lnTo>
                  <a:pt x="9794108" y="2873071"/>
                </a:lnTo>
                <a:cubicBezTo>
                  <a:pt x="9799178" y="2875160"/>
                  <a:pt x="9802227" y="2876398"/>
                  <a:pt x="9802227" y="2876398"/>
                </a:cubicBezTo>
                <a:cubicBezTo>
                  <a:pt x="9841259" y="2896206"/>
                  <a:pt x="9860775" y="2916013"/>
                  <a:pt x="9880291" y="2916013"/>
                </a:cubicBezTo>
                <a:cubicBezTo>
                  <a:pt x="10036418" y="2975436"/>
                  <a:pt x="9509489" y="2856590"/>
                  <a:pt x="9704648" y="2935821"/>
                </a:cubicBezTo>
                <a:cubicBezTo>
                  <a:pt x="9665616" y="2935821"/>
                  <a:pt x="9763196" y="2975436"/>
                  <a:pt x="9821743" y="2975436"/>
                </a:cubicBezTo>
                <a:cubicBezTo>
                  <a:pt x="9841259" y="2995244"/>
                  <a:pt x="10036418" y="3034859"/>
                  <a:pt x="9919323" y="3015052"/>
                </a:cubicBezTo>
                <a:cubicBezTo>
                  <a:pt x="9743680" y="2995244"/>
                  <a:pt x="9607069" y="2935821"/>
                  <a:pt x="9450941" y="2916013"/>
                </a:cubicBezTo>
                <a:cubicBezTo>
                  <a:pt x="9431426" y="2876398"/>
                  <a:pt x="9392394" y="2916013"/>
                  <a:pt x="9450941" y="2916013"/>
                </a:cubicBezTo>
                <a:cubicBezTo>
                  <a:pt x="9509489" y="2955629"/>
                  <a:pt x="9529005" y="2955629"/>
                  <a:pt x="9568037" y="2955629"/>
                </a:cubicBezTo>
                <a:cubicBezTo>
                  <a:pt x="9607069" y="2975436"/>
                  <a:pt x="9704648" y="2975436"/>
                  <a:pt x="9724164" y="2995244"/>
                </a:cubicBezTo>
                <a:cubicBezTo>
                  <a:pt x="9743680" y="3015052"/>
                  <a:pt x="9665616" y="3015052"/>
                  <a:pt x="9665616" y="3015052"/>
                </a:cubicBezTo>
                <a:cubicBezTo>
                  <a:pt x="9646100" y="3034859"/>
                  <a:pt x="9704648" y="3054667"/>
                  <a:pt x="9665616" y="3054667"/>
                </a:cubicBezTo>
                <a:cubicBezTo>
                  <a:pt x="9626584" y="3054667"/>
                  <a:pt x="9548521" y="3034859"/>
                  <a:pt x="9489973" y="3015052"/>
                </a:cubicBezTo>
                <a:lnTo>
                  <a:pt x="9484254" y="3013171"/>
                </a:lnTo>
                <a:lnTo>
                  <a:pt x="9480215" y="3017271"/>
                </a:lnTo>
                <a:cubicBezTo>
                  <a:pt x="9475336" y="3022222"/>
                  <a:pt x="9470457" y="3027174"/>
                  <a:pt x="9470457" y="3027174"/>
                </a:cubicBezTo>
                <a:cubicBezTo>
                  <a:pt x="9489973" y="3027174"/>
                  <a:pt x="9529005" y="3046982"/>
                  <a:pt x="9548521" y="3046982"/>
                </a:cubicBezTo>
                <a:cubicBezTo>
                  <a:pt x="9577795" y="3061838"/>
                  <a:pt x="9640002" y="3087835"/>
                  <a:pt x="9677509" y="3108262"/>
                </a:cubicBezTo>
                <a:lnTo>
                  <a:pt x="9692747" y="3118341"/>
                </a:lnTo>
                <a:lnTo>
                  <a:pt x="9721724" y="3134517"/>
                </a:lnTo>
                <a:cubicBezTo>
                  <a:pt x="9764415" y="3154634"/>
                  <a:pt x="9822353" y="3178620"/>
                  <a:pt x="9781187" y="3177459"/>
                </a:cubicBezTo>
                <a:lnTo>
                  <a:pt x="9774731" y="3176780"/>
                </a:lnTo>
                <a:lnTo>
                  <a:pt x="9794909" y="3185636"/>
                </a:lnTo>
                <a:cubicBezTo>
                  <a:pt x="9826622" y="3200491"/>
                  <a:pt x="9860775" y="3215347"/>
                  <a:pt x="9899807" y="3225251"/>
                </a:cubicBezTo>
                <a:cubicBezTo>
                  <a:pt x="9938839" y="3245059"/>
                  <a:pt x="10094966" y="3264866"/>
                  <a:pt x="10114482" y="3284674"/>
                </a:cubicBezTo>
                <a:cubicBezTo>
                  <a:pt x="10094966" y="3264866"/>
                  <a:pt x="10055934" y="3344097"/>
                  <a:pt x="10114482" y="3304482"/>
                </a:cubicBezTo>
                <a:cubicBezTo>
                  <a:pt x="10094966" y="3324289"/>
                  <a:pt x="10114482" y="3324289"/>
                  <a:pt x="10094966" y="3324289"/>
                </a:cubicBezTo>
                <a:cubicBezTo>
                  <a:pt x="10036418" y="3324289"/>
                  <a:pt x="9997386" y="3324289"/>
                  <a:pt x="9958354" y="3304482"/>
                </a:cubicBezTo>
                <a:cubicBezTo>
                  <a:pt x="9206993" y="3148496"/>
                  <a:pt x="8530341" y="2901519"/>
                  <a:pt x="7810731" y="2709517"/>
                </a:cubicBezTo>
                <a:lnTo>
                  <a:pt x="7599743" y="2656328"/>
                </a:lnTo>
                <a:lnTo>
                  <a:pt x="7655480" y="2678321"/>
                </a:lnTo>
                <a:lnTo>
                  <a:pt x="7650205" y="2680106"/>
                </a:lnTo>
                <a:lnTo>
                  <a:pt x="7654441" y="2681484"/>
                </a:lnTo>
                <a:lnTo>
                  <a:pt x="7655480" y="2678321"/>
                </a:lnTo>
                <a:lnTo>
                  <a:pt x="7670821" y="2686814"/>
                </a:lnTo>
                <a:lnTo>
                  <a:pt x="7803488" y="2729982"/>
                </a:lnTo>
                <a:cubicBezTo>
                  <a:pt x="8521497" y="2950420"/>
                  <a:pt x="9289935" y="3106405"/>
                  <a:pt x="9938839" y="3383712"/>
                </a:cubicBezTo>
                <a:cubicBezTo>
                  <a:pt x="9880291" y="3403520"/>
                  <a:pt x="9763196" y="3324289"/>
                  <a:pt x="9743680" y="3344097"/>
                </a:cubicBezTo>
                <a:cubicBezTo>
                  <a:pt x="9743680" y="3363905"/>
                  <a:pt x="9880291" y="3403520"/>
                  <a:pt x="9880291" y="3403520"/>
                </a:cubicBezTo>
                <a:cubicBezTo>
                  <a:pt x="9919323" y="3423328"/>
                  <a:pt x="9899807" y="3443135"/>
                  <a:pt x="9919323" y="3443135"/>
                </a:cubicBezTo>
                <a:cubicBezTo>
                  <a:pt x="9997386" y="3482751"/>
                  <a:pt x="10133997" y="3482751"/>
                  <a:pt x="10173029" y="3542174"/>
                </a:cubicBezTo>
                <a:lnTo>
                  <a:pt x="10128027" y="3539999"/>
                </a:lnTo>
                <a:lnTo>
                  <a:pt x="10110212" y="3533508"/>
                </a:lnTo>
                <a:lnTo>
                  <a:pt x="10096408" y="3533016"/>
                </a:lnTo>
                <a:lnTo>
                  <a:pt x="10055934" y="3522366"/>
                </a:lnTo>
                <a:cubicBezTo>
                  <a:pt x="10036418" y="3522366"/>
                  <a:pt x="9938839" y="3462943"/>
                  <a:pt x="9919323" y="3482751"/>
                </a:cubicBezTo>
                <a:cubicBezTo>
                  <a:pt x="9919323" y="3482751"/>
                  <a:pt x="9997386" y="3522366"/>
                  <a:pt x="10016902" y="3522366"/>
                </a:cubicBezTo>
                <a:cubicBezTo>
                  <a:pt x="10026660" y="3532270"/>
                  <a:pt x="10051055" y="3532270"/>
                  <a:pt x="10075450" y="3532270"/>
                </a:cubicBezTo>
                <a:lnTo>
                  <a:pt x="10096408" y="3533016"/>
                </a:lnTo>
                <a:lnTo>
                  <a:pt x="10121800" y="3539698"/>
                </a:lnTo>
                <a:lnTo>
                  <a:pt x="10128027" y="3539999"/>
                </a:lnTo>
                <a:lnTo>
                  <a:pt x="10133997" y="3542174"/>
                </a:lnTo>
                <a:cubicBezTo>
                  <a:pt x="10173029" y="3601597"/>
                  <a:pt x="9958354" y="3522366"/>
                  <a:pt x="10055934" y="3561981"/>
                </a:cubicBezTo>
                <a:cubicBezTo>
                  <a:pt x="10133997" y="3581789"/>
                  <a:pt x="10192545" y="3601597"/>
                  <a:pt x="10270609" y="3641212"/>
                </a:cubicBezTo>
                <a:cubicBezTo>
                  <a:pt x="10343793" y="3685780"/>
                  <a:pt x="10197424" y="3652354"/>
                  <a:pt x="10119666" y="3632856"/>
                </a:cubicBezTo>
                <a:lnTo>
                  <a:pt x="10100000" y="3627812"/>
                </a:lnTo>
                <a:lnTo>
                  <a:pt x="10094966" y="3629089"/>
                </a:lnTo>
                <a:lnTo>
                  <a:pt x="10090292" y="3628936"/>
                </a:lnTo>
                <a:lnTo>
                  <a:pt x="10114481" y="3641212"/>
                </a:lnTo>
                <a:cubicBezTo>
                  <a:pt x="10133997" y="3651116"/>
                  <a:pt x="10153513" y="3661020"/>
                  <a:pt x="10153513" y="3661020"/>
                </a:cubicBezTo>
                <a:cubicBezTo>
                  <a:pt x="10231577" y="3680827"/>
                  <a:pt x="10133997" y="3700635"/>
                  <a:pt x="10114482" y="3680827"/>
                </a:cubicBezTo>
                <a:cubicBezTo>
                  <a:pt x="10075450" y="3661020"/>
                  <a:pt x="10094966" y="3680827"/>
                  <a:pt x="10055934" y="3680827"/>
                </a:cubicBezTo>
                <a:cubicBezTo>
                  <a:pt x="9919323" y="3661020"/>
                  <a:pt x="9646100" y="3542174"/>
                  <a:pt x="9509489" y="3522366"/>
                </a:cubicBezTo>
                <a:lnTo>
                  <a:pt x="9494013" y="3522448"/>
                </a:lnTo>
                <a:lnTo>
                  <a:pt x="9653914" y="3576552"/>
                </a:lnTo>
                <a:cubicBezTo>
                  <a:pt x="9750998" y="3611757"/>
                  <a:pt x="9846138" y="3648897"/>
                  <a:pt x="9938839" y="3688512"/>
                </a:cubicBezTo>
                <a:cubicBezTo>
                  <a:pt x="9931520" y="3690988"/>
                  <a:pt x="9923287" y="3691917"/>
                  <a:pt x="9914444" y="3691685"/>
                </a:cubicBezTo>
                <a:lnTo>
                  <a:pt x="9888365" y="3688160"/>
                </a:lnTo>
                <a:lnTo>
                  <a:pt x="9885170" y="3698159"/>
                </a:lnTo>
                <a:cubicBezTo>
                  <a:pt x="9885170" y="3705587"/>
                  <a:pt x="9890049" y="3710539"/>
                  <a:pt x="9899807" y="3700635"/>
                </a:cubicBezTo>
                <a:cubicBezTo>
                  <a:pt x="9919323" y="3720443"/>
                  <a:pt x="9958354" y="3720443"/>
                  <a:pt x="9977870" y="3740250"/>
                </a:cubicBezTo>
                <a:cubicBezTo>
                  <a:pt x="9953475" y="3730346"/>
                  <a:pt x="9927861" y="3722919"/>
                  <a:pt x="9902551" y="3717038"/>
                </a:cubicBezTo>
                <a:lnTo>
                  <a:pt x="9888557" y="3714386"/>
                </a:lnTo>
                <a:lnTo>
                  <a:pt x="9900112" y="3722866"/>
                </a:lnTo>
                <a:cubicBezTo>
                  <a:pt x="9912005" y="3736794"/>
                  <a:pt x="9904686" y="3747935"/>
                  <a:pt x="9919323" y="3747935"/>
                </a:cubicBezTo>
                <a:cubicBezTo>
                  <a:pt x="9997386" y="3787551"/>
                  <a:pt x="10133997" y="3787551"/>
                  <a:pt x="10173029" y="3846974"/>
                </a:cubicBezTo>
                <a:lnTo>
                  <a:pt x="10128027" y="3844799"/>
                </a:lnTo>
                <a:lnTo>
                  <a:pt x="10110212" y="3838308"/>
                </a:lnTo>
                <a:lnTo>
                  <a:pt x="10096408" y="3837816"/>
                </a:lnTo>
                <a:lnTo>
                  <a:pt x="10055934" y="3827166"/>
                </a:lnTo>
                <a:cubicBezTo>
                  <a:pt x="10036418" y="3827166"/>
                  <a:pt x="9938839" y="3767743"/>
                  <a:pt x="9919323" y="3787551"/>
                </a:cubicBezTo>
                <a:lnTo>
                  <a:pt x="9923243" y="3789492"/>
                </a:lnTo>
                <a:lnTo>
                  <a:pt x="9958354" y="3799673"/>
                </a:lnTo>
                <a:cubicBezTo>
                  <a:pt x="9977870" y="3799673"/>
                  <a:pt x="10016902" y="3819481"/>
                  <a:pt x="10016902" y="3819481"/>
                </a:cubicBezTo>
                <a:lnTo>
                  <a:pt x="10010891" y="3825582"/>
                </a:lnTo>
                <a:lnTo>
                  <a:pt x="10016902" y="3827166"/>
                </a:lnTo>
                <a:cubicBezTo>
                  <a:pt x="10026660" y="3837070"/>
                  <a:pt x="10051055" y="3837070"/>
                  <a:pt x="10075450" y="3837070"/>
                </a:cubicBezTo>
                <a:lnTo>
                  <a:pt x="10096408" y="3837816"/>
                </a:lnTo>
                <a:lnTo>
                  <a:pt x="10121800" y="3844498"/>
                </a:lnTo>
                <a:lnTo>
                  <a:pt x="10128027" y="3844799"/>
                </a:lnTo>
                <a:lnTo>
                  <a:pt x="10133997" y="3846974"/>
                </a:lnTo>
                <a:cubicBezTo>
                  <a:pt x="10153513" y="3876685"/>
                  <a:pt x="10109602" y="3871733"/>
                  <a:pt x="10073010" y="3864306"/>
                </a:cubicBezTo>
                <a:lnTo>
                  <a:pt x="10071065" y="3863875"/>
                </a:lnTo>
                <a:lnTo>
                  <a:pt x="10133997" y="3878904"/>
                </a:lnTo>
                <a:lnTo>
                  <a:pt x="10152944" y="3895872"/>
                </a:lnTo>
                <a:lnTo>
                  <a:pt x="10163271" y="3898969"/>
                </a:lnTo>
                <a:cubicBezTo>
                  <a:pt x="10197424" y="3911349"/>
                  <a:pt x="10231577" y="3926204"/>
                  <a:pt x="10270609" y="3946012"/>
                </a:cubicBezTo>
                <a:cubicBezTo>
                  <a:pt x="10307201" y="3968296"/>
                  <a:pt x="10288905" y="3971081"/>
                  <a:pt x="10251741" y="3965859"/>
                </a:cubicBezTo>
                <a:lnTo>
                  <a:pt x="10211146" y="3958662"/>
                </a:lnTo>
                <a:lnTo>
                  <a:pt x="10194146" y="3959101"/>
                </a:lnTo>
                <a:cubicBezTo>
                  <a:pt x="10137047" y="3963705"/>
                  <a:pt x="10277927" y="3985370"/>
                  <a:pt x="10329156" y="4037365"/>
                </a:cubicBezTo>
                <a:cubicBezTo>
                  <a:pt x="10290124" y="4037365"/>
                  <a:pt x="10270609" y="3997750"/>
                  <a:pt x="10251093" y="4017557"/>
                </a:cubicBezTo>
                <a:cubicBezTo>
                  <a:pt x="10231577" y="4017557"/>
                  <a:pt x="10329156" y="4057173"/>
                  <a:pt x="10329156" y="4057173"/>
                </a:cubicBezTo>
                <a:cubicBezTo>
                  <a:pt x="10309640" y="4096788"/>
                  <a:pt x="10192545" y="4057173"/>
                  <a:pt x="10173029" y="4037365"/>
                </a:cubicBezTo>
                <a:cubicBezTo>
                  <a:pt x="10075449" y="4017558"/>
                  <a:pt x="9976650" y="3994036"/>
                  <a:pt x="9878156" y="3968657"/>
                </a:cubicBezTo>
                <a:lnTo>
                  <a:pt x="9852421" y="3961645"/>
                </a:lnTo>
                <a:lnTo>
                  <a:pt x="9860775" y="3965820"/>
                </a:lnTo>
                <a:cubicBezTo>
                  <a:pt x="9860775" y="3965820"/>
                  <a:pt x="9841259" y="3985627"/>
                  <a:pt x="9841259" y="3985627"/>
                </a:cubicBezTo>
                <a:cubicBezTo>
                  <a:pt x="9880291" y="4005435"/>
                  <a:pt x="9860775" y="3965820"/>
                  <a:pt x="9899807" y="3985627"/>
                </a:cubicBezTo>
                <a:cubicBezTo>
                  <a:pt x="9880291" y="3985627"/>
                  <a:pt x="9880291" y="4025243"/>
                  <a:pt x="9899807" y="4005435"/>
                </a:cubicBezTo>
                <a:cubicBezTo>
                  <a:pt x="9919323" y="4025243"/>
                  <a:pt x="9958354" y="4025243"/>
                  <a:pt x="9977870" y="4045050"/>
                </a:cubicBezTo>
                <a:cubicBezTo>
                  <a:pt x="9953475" y="4035146"/>
                  <a:pt x="9927861" y="4027719"/>
                  <a:pt x="9902551" y="4021838"/>
                </a:cubicBezTo>
                <a:lnTo>
                  <a:pt x="9857828" y="4013363"/>
                </a:lnTo>
                <a:lnTo>
                  <a:pt x="9897367" y="4034889"/>
                </a:lnTo>
                <a:cubicBezTo>
                  <a:pt x="9929080" y="4052221"/>
                  <a:pt x="9958354" y="4067077"/>
                  <a:pt x="9958354" y="4057173"/>
                </a:cubicBezTo>
                <a:cubicBezTo>
                  <a:pt x="9977870" y="4096788"/>
                  <a:pt x="9919323" y="4076980"/>
                  <a:pt x="9899807" y="4057173"/>
                </a:cubicBezTo>
                <a:cubicBezTo>
                  <a:pt x="9929081" y="4072028"/>
                  <a:pt x="9892489" y="4064601"/>
                  <a:pt x="9839429" y="4051602"/>
                </a:cubicBezTo>
                <a:lnTo>
                  <a:pt x="9819548" y="4046612"/>
                </a:lnTo>
                <a:lnTo>
                  <a:pt x="9821438" y="4058668"/>
                </a:lnTo>
                <a:cubicBezTo>
                  <a:pt x="9821743" y="4062382"/>
                  <a:pt x="9821743" y="4064858"/>
                  <a:pt x="9821743" y="4064858"/>
                </a:cubicBezTo>
                <a:cubicBezTo>
                  <a:pt x="9860775" y="4084666"/>
                  <a:pt x="9919323" y="4084666"/>
                  <a:pt x="9958354" y="4104473"/>
                </a:cubicBezTo>
                <a:cubicBezTo>
                  <a:pt x="9977870" y="4104473"/>
                  <a:pt x="10016902" y="4124281"/>
                  <a:pt x="10016902" y="4124281"/>
                </a:cubicBezTo>
                <a:cubicBezTo>
                  <a:pt x="10016902" y="4124281"/>
                  <a:pt x="9997386" y="4144089"/>
                  <a:pt x="9997386" y="4144089"/>
                </a:cubicBezTo>
                <a:cubicBezTo>
                  <a:pt x="10016902" y="4163896"/>
                  <a:pt x="10075450" y="4163896"/>
                  <a:pt x="10133997" y="4183704"/>
                </a:cubicBezTo>
                <a:cubicBezTo>
                  <a:pt x="10153513" y="4203511"/>
                  <a:pt x="10192545" y="4243127"/>
                  <a:pt x="10231577" y="4243127"/>
                </a:cubicBezTo>
                <a:cubicBezTo>
                  <a:pt x="10270609" y="4262934"/>
                  <a:pt x="10251093" y="4262934"/>
                  <a:pt x="10231577" y="4262934"/>
                </a:cubicBezTo>
                <a:cubicBezTo>
                  <a:pt x="10094966" y="4262934"/>
                  <a:pt x="10270609" y="4282742"/>
                  <a:pt x="10329156" y="4342165"/>
                </a:cubicBezTo>
                <a:cubicBezTo>
                  <a:pt x="10290124" y="4342165"/>
                  <a:pt x="10270609" y="4302550"/>
                  <a:pt x="10251093" y="4322357"/>
                </a:cubicBezTo>
                <a:cubicBezTo>
                  <a:pt x="10231577" y="4322357"/>
                  <a:pt x="10329156" y="4361973"/>
                  <a:pt x="10329156" y="4361973"/>
                </a:cubicBezTo>
                <a:cubicBezTo>
                  <a:pt x="10309640" y="4401588"/>
                  <a:pt x="10192545" y="4361973"/>
                  <a:pt x="10173029" y="4342165"/>
                </a:cubicBezTo>
                <a:cubicBezTo>
                  <a:pt x="9782711" y="4262934"/>
                  <a:pt x="9372878" y="4124281"/>
                  <a:pt x="9041108" y="4045050"/>
                </a:cubicBezTo>
                <a:cubicBezTo>
                  <a:pt x="9041108" y="4025243"/>
                  <a:pt x="9021592" y="4025243"/>
                  <a:pt x="9002076" y="4025243"/>
                </a:cubicBezTo>
                <a:cubicBezTo>
                  <a:pt x="9002076" y="4005435"/>
                  <a:pt x="8963044" y="4045050"/>
                  <a:pt x="9002076" y="4025243"/>
                </a:cubicBezTo>
                <a:cubicBezTo>
                  <a:pt x="9002076" y="4045050"/>
                  <a:pt x="9021592" y="4045050"/>
                  <a:pt x="9041108" y="4045050"/>
                </a:cubicBezTo>
                <a:cubicBezTo>
                  <a:pt x="9158203" y="4084666"/>
                  <a:pt x="9294814" y="4144089"/>
                  <a:pt x="9431426" y="4183704"/>
                </a:cubicBezTo>
                <a:cubicBezTo>
                  <a:pt x="9568037" y="4223319"/>
                  <a:pt x="9724164" y="4243127"/>
                  <a:pt x="9821743" y="4302550"/>
                </a:cubicBezTo>
                <a:cubicBezTo>
                  <a:pt x="9841259" y="4302550"/>
                  <a:pt x="9958354" y="4381780"/>
                  <a:pt x="9958354" y="4361973"/>
                </a:cubicBezTo>
                <a:cubicBezTo>
                  <a:pt x="9977870" y="4401588"/>
                  <a:pt x="9919323" y="4381780"/>
                  <a:pt x="9899807" y="4361973"/>
                </a:cubicBezTo>
                <a:cubicBezTo>
                  <a:pt x="9938839" y="4381780"/>
                  <a:pt x="9860775" y="4361973"/>
                  <a:pt x="9782711" y="4342165"/>
                </a:cubicBezTo>
                <a:cubicBezTo>
                  <a:pt x="9587553" y="4282742"/>
                  <a:pt x="9353362" y="4203511"/>
                  <a:pt x="9177719" y="4163896"/>
                </a:cubicBezTo>
                <a:cubicBezTo>
                  <a:pt x="8084830" y="3846974"/>
                  <a:pt x="7011456" y="3510243"/>
                  <a:pt x="5879535" y="3292359"/>
                </a:cubicBezTo>
                <a:cubicBezTo>
                  <a:pt x="5586797" y="3232936"/>
                  <a:pt x="5274543" y="3193321"/>
                  <a:pt x="4981804" y="3133898"/>
                </a:cubicBezTo>
                <a:cubicBezTo>
                  <a:pt x="4220685" y="3015052"/>
                  <a:pt x="3420535" y="2896206"/>
                  <a:pt x="2561835" y="2856590"/>
                </a:cubicBezTo>
                <a:cubicBezTo>
                  <a:pt x="2054422" y="2836783"/>
                  <a:pt x="1468945" y="2836783"/>
                  <a:pt x="1000564" y="2876398"/>
                </a:cubicBezTo>
                <a:cubicBezTo>
                  <a:pt x="942016" y="2876398"/>
                  <a:pt x="649278" y="2935821"/>
                  <a:pt x="649278" y="2896206"/>
                </a:cubicBezTo>
                <a:cubicBezTo>
                  <a:pt x="629762" y="2896206"/>
                  <a:pt x="746858" y="2836783"/>
                  <a:pt x="746858" y="2836783"/>
                </a:cubicBezTo>
                <a:cubicBezTo>
                  <a:pt x="785889" y="2816975"/>
                  <a:pt x="863953" y="2816975"/>
                  <a:pt x="922500" y="2797167"/>
                </a:cubicBezTo>
                <a:cubicBezTo>
                  <a:pt x="1078628" y="2777360"/>
                  <a:pt x="1332334" y="2757552"/>
                  <a:pt x="1507977" y="2757552"/>
                </a:cubicBezTo>
                <a:cubicBezTo>
                  <a:pt x="2054422" y="2717937"/>
                  <a:pt x="2483771" y="2757552"/>
                  <a:pt x="2932636" y="2777360"/>
                </a:cubicBezTo>
                <a:cubicBezTo>
                  <a:pt x="2952152" y="2777360"/>
                  <a:pt x="2991185" y="2778598"/>
                  <a:pt x="3037535" y="2780455"/>
                </a:cubicBezTo>
                <a:lnTo>
                  <a:pt x="3120538" y="2784253"/>
                </a:lnTo>
                <a:lnTo>
                  <a:pt x="3244891" y="2797167"/>
                </a:lnTo>
                <a:cubicBezTo>
                  <a:pt x="3303439" y="2797167"/>
                  <a:pt x="3264406" y="2797167"/>
                  <a:pt x="3322954" y="2797167"/>
                </a:cubicBezTo>
                <a:cubicBezTo>
                  <a:pt x="3361987" y="2797167"/>
                  <a:pt x="3283924" y="2792215"/>
                  <a:pt x="3186344" y="2787264"/>
                </a:cubicBezTo>
                <a:lnTo>
                  <a:pt x="3120538" y="2784253"/>
                </a:lnTo>
                <a:lnTo>
                  <a:pt x="2986000" y="2770280"/>
                </a:lnTo>
                <a:cubicBezTo>
                  <a:pt x="2360577" y="2714223"/>
                  <a:pt x="1600678" y="2705557"/>
                  <a:pt x="1020080" y="2757552"/>
                </a:cubicBezTo>
                <a:cubicBezTo>
                  <a:pt x="883469" y="2757552"/>
                  <a:pt x="727342" y="2816975"/>
                  <a:pt x="649278" y="2777360"/>
                </a:cubicBezTo>
                <a:cubicBezTo>
                  <a:pt x="629762" y="2757552"/>
                  <a:pt x="610247" y="2757552"/>
                  <a:pt x="590731" y="2757552"/>
                </a:cubicBezTo>
                <a:cubicBezTo>
                  <a:pt x="610247" y="2757552"/>
                  <a:pt x="571215" y="2698129"/>
                  <a:pt x="551699" y="2717937"/>
                </a:cubicBezTo>
                <a:cubicBezTo>
                  <a:pt x="571215" y="2698129"/>
                  <a:pt x="590731" y="2698129"/>
                  <a:pt x="610247" y="2698129"/>
                </a:cubicBezTo>
                <a:cubicBezTo>
                  <a:pt x="629762" y="2698129"/>
                  <a:pt x="649278" y="2658514"/>
                  <a:pt x="668794" y="2658514"/>
                </a:cubicBezTo>
                <a:cubicBezTo>
                  <a:pt x="746858" y="2638706"/>
                  <a:pt x="629762" y="2658514"/>
                  <a:pt x="590731" y="2658514"/>
                </a:cubicBezTo>
                <a:cubicBezTo>
                  <a:pt x="610247" y="2658514"/>
                  <a:pt x="629762" y="2638706"/>
                  <a:pt x="571215" y="2658514"/>
                </a:cubicBezTo>
                <a:cubicBezTo>
                  <a:pt x="571215" y="2658514"/>
                  <a:pt x="571215" y="2658514"/>
                  <a:pt x="590731" y="2658514"/>
                </a:cubicBezTo>
                <a:cubicBezTo>
                  <a:pt x="551699" y="2658514"/>
                  <a:pt x="512667" y="2678321"/>
                  <a:pt x="512667" y="2678321"/>
                </a:cubicBezTo>
                <a:cubicBezTo>
                  <a:pt x="512667" y="2678321"/>
                  <a:pt x="561457" y="2653562"/>
                  <a:pt x="612686" y="2628802"/>
                </a:cubicBezTo>
                <a:lnTo>
                  <a:pt x="668869" y="2602557"/>
                </a:lnTo>
                <a:lnTo>
                  <a:pt x="661971" y="2601929"/>
                </a:lnTo>
                <a:cubicBezTo>
                  <a:pt x="653852" y="2599762"/>
                  <a:pt x="649278" y="2596358"/>
                  <a:pt x="649278" y="2591406"/>
                </a:cubicBezTo>
                <a:cubicBezTo>
                  <a:pt x="644399" y="2591406"/>
                  <a:pt x="648058" y="2587692"/>
                  <a:pt x="656292" y="2582121"/>
                </a:cubicBezTo>
                <a:lnTo>
                  <a:pt x="667953" y="2575208"/>
                </a:lnTo>
                <a:lnTo>
                  <a:pt x="661476" y="2574331"/>
                </a:lnTo>
                <a:cubicBezTo>
                  <a:pt x="644399" y="2569379"/>
                  <a:pt x="639520" y="2559475"/>
                  <a:pt x="668794" y="2539668"/>
                </a:cubicBezTo>
                <a:cubicBezTo>
                  <a:pt x="727342" y="2500052"/>
                  <a:pt x="707826" y="2519860"/>
                  <a:pt x="668794" y="2500052"/>
                </a:cubicBezTo>
                <a:cubicBezTo>
                  <a:pt x="649278" y="2500052"/>
                  <a:pt x="629762" y="2480245"/>
                  <a:pt x="649278" y="2480245"/>
                </a:cubicBezTo>
                <a:cubicBezTo>
                  <a:pt x="610247" y="2480245"/>
                  <a:pt x="512667" y="2539668"/>
                  <a:pt x="493151" y="2519860"/>
                </a:cubicBezTo>
                <a:cubicBezTo>
                  <a:pt x="473635" y="2500052"/>
                  <a:pt x="541941" y="2475293"/>
                  <a:pt x="590731" y="2457961"/>
                </a:cubicBezTo>
                <a:lnTo>
                  <a:pt x="602314" y="2453732"/>
                </a:lnTo>
                <a:lnTo>
                  <a:pt x="590731" y="2452752"/>
                </a:lnTo>
                <a:cubicBezTo>
                  <a:pt x="595610" y="2452752"/>
                  <a:pt x="596829" y="2449038"/>
                  <a:pt x="595610" y="2443777"/>
                </a:cubicBezTo>
                <a:lnTo>
                  <a:pt x="593036" y="2438960"/>
                </a:lnTo>
                <a:lnTo>
                  <a:pt x="571215" y="2440629"/>
                </a:lnTo>
                <a:cubicBezTo>
                  <a:pt x="512667" y="2460437"/>
                  <a:pt x="512667" y="2460437"/>
                  <a:pt x="454119" y="2480245"/>
                </a:cubicBezTo>
                <a:cubicBezTo>
                  <a:pt x="356540" y="2500052"/>
                  <a:pt x="356540" y="2440629"/>
                  <a:pt x="454119" y="2401014"/>
                </a:cubicBezTo>
                <a:cubicBezTo>
                  <a:pt x="493151" y="2381206"/>
                  <a:pt x="532183" y="2401014"/>
                  <a:pt x="590731" y="2381206"/>
                </a:cubicBezTo>
                <a:cubicBezTo>
                  <a:pt x="600489" y="2381206"/>
                  <a:pt x="595610" y="2371303"/>
                  <a:pt x="590731" y="2361399"/>
                </a:cubicBezTo>
                <a:lnTo>
                  <a:pt x="587847" y="2354246"/>
                </a:lnTo>
                <a:lnTo>
                  <a:pt x="537062" y="2363618"/>
                </a:lnTo>
                <a:cubicBezTo>
                  <a:pt x="522425" y="2368569"/>
                  <a:pt x="512667" y="2373521"/>
                  <a:pt x="512667" y="2373521"/>
                </a:cubicBezTo>
                <a:cubicBezTo>
                  <a:pt x="512667" y="2373521"/>
                  <a:pt x="561457" y="2348762"/>
                  <a:pt x="612686" y="2324002"/>
                </a:cubicBezTo>
                <a:lnTo>
                  <a:pt x="655403" y="2304048"/>
                </a:lnTo>
                <a:lnTo>
                  <a:pt x="649278" y="2301976"/>
                </a:lnTo>
                <a:cubicBezTo>
                  <a:pt x="620004" y="2292072"/>
                  <a:pt x="590731" y="2282168"/>
                  <a:pt x="590731" y="2282168"/>
                </a:cubicBezTo>
                <a:cubicBezTo>
                  <a:pt x="551699" y="2282168"/>
                  <a:pt x="376056" y="2341591"/>
                  <a:pt x="376056" y="2321784"/>
                </a:cubicBezTo>
                <a:cubicBezTo>
                  <a:pt x="356540" y="2321784"/>
                  <a:pt x="395572" y="2282168"/>
                  <a:pt x="395572" y="2282168"/>
                </a:cubicBezTo>
                <a:cubicBezTo>
                  <a:pt x="434603" y="2242553"/>
                  <a:pt x="551699" y="2242553"/>
                  <a:pt x="590731" y="2242553"/>
                </a:cubicBezTo>
                <a:cubicBezTo>
                  <a:pt x="610247" y="2242553"/>
                  <a:pt x="590731" y="2222745"/>
                  <a:pt x="610247" y="2202938"/>
                </a:cubicBezTo>
                <a:lnTo>
                  <a:pt x="656101" y="2190099"/>
                </a:lnTo>
                <a:lnTo>
                  <a:pt x="644399" y="2185349"/>
                </a:lnTo>
                <a:cubicBezTo>
                  <a:pt x="639520" y="2180397"/>
                  <a:pt x="639520" y="2175445"/>
                  <a:pt x="649278" y="2175445"/>
                </a:cubicBezTo>
                <a:cubicBezTo>
                  <a:pt x="610247" y="2175445"/>
                  <a:pt x="512667" y="2234868"/>
                  <a:pt x="493151" y="2215060"/>
                </a:cubicBezTo>
                <a:cubicBezTo>
                  <a:pt x="473635" y="2195253"/>
                  <a:pt x="541941" y="2170493"/>
                  <a:pt x="590731" y="2153161"/>
                </a:cubicBezTo>
                <a:lnTo>
                  <a:pt x="619484" y="2142662"/>
                </a:lnTo>
                <a:lnTo>
                  <a:pt x="610247" y="2143515"/>
                </a:lnTo>
                <a:cubicBezTo>
                  <a:pt x="585852" y="2143515"/>
                  <a:pt x="559017" y="2147229"/>
                  <a:pt x="532183" y="2151562"/>
                </a:cubicBezTo>
                <a:lnTo>
                  <a:pt x="518717" y="2153590"/>
                </a:lnTo>
                <a:lnTo>
                  <a:pt x="512667" y="2155637"/>
                </a:lnTo>
                <a:cubicBezTo>
                  <a:pt x="498030" y="2160589"/>
                  <a:pt x="483393" y="2165541"/>
                  <a:pt x="454119" y="2175445"/>
                </a:cubicBezTo>
                <a:cubicBezTo>
                  <a:pt x="405330" y="2185349"/>
                  <a:pt x="380935" y="2175445"/>
                  <a:pt x="380935" y="2158113"/>
                </a:cubicBezTo>
                <a:lnTo>
                  <a:pt x="382593" y="2155393"/>
                </a:lnTo>
                <a:lnTo>
                  <a:pt x="369042" y="2147306"/>
                </a:lnTo>
                <a:cubicBezTo>
                  <a:pt x="363249" y="2141348"/>
                  <a:pt x="358979" y="2133611"/>
                  <a:pt x="356540" y="2123707"/>
                </a:cubicBezTo>
                <a:cubicBezTo>
                  <a:pt x="341903" y="2079140"/>
                  <a:pt x="480954" y="2056856"/>
                  <a:pt x="559627" y="2048500"/>
                </a:cubicBezTo>
                <a:lnTo>
                  <a:pt x="586473" y="2046037"/>
                </a:lnTo>
                <a:lnTo>
                  <a:pt x="585242" y="2042981"/>
                </a:lnTo>
                <a:cubicBezTo>
                  <a:pt x="584632" y="2039267"/>
                  <a:pt x="585852" y="2036791"/>
                  <a:pt x="590731" y="2036791"/>
                </a:cubicBezTo>
                <a:lnTo>
                  <a:pt x="599427" y="2031348"/>
                </a:lnTo>
                <a:lnTo>
                  <a:pt x="590731" y="2024669"/>
                </a:lnTo>
                <a:cubicBezTo>
                  <a:pt x="590731" y="2019717"/>
                  <a:pt x="598049" y="2013527"/>
                  <a:pt x="609332" y="2007027"/>
                </a:cubicBezTo>
                <a:lnTo>
                  <a:pt x="638600" y="1993563"/>
                </a:lnTo>
                <a:lnTo>
                  <a:pt x="609027" y="1983558"/>
                </a:lnTo>
                <a:cubicBezTo>
                  <a:pt x="598049" y="1979844"/>
                  <a:pt x="590731" y="1977368"/>
                  <a:pt x="590731" y="1977368"/>
                </a:cubicBezTo>
                <a:cubicBezTo>
                  <a:pt x="551699" y="1977368"/>
                  <a:pt x="376056" y="2036791"/>
                  <a:pt x="376056" y="2016984"/>
                </a:cubicBezTo>
                <a:cubicBezTo>
                  <a:pt x="356540" y="2016984"/>
                  <a:pt x="395572" y="1977368"/>
                  <a:pt x="395572" y="1977368"/>
                </a:cubicBezTo>
                <a:cubicBezTo>
                  <a:pt x="415088" y="1957560"/>
                  <a:pt x="454119" y="1947657"/>
                  <a:pt x="493151" y="1942705"/>
                </a:cubicBezTo>
                <a:lnTo>
                  <a:pt x="535659" y="1939422"/>
                </a:lnTo>
                <a:lnTo>
                  <a:pt x="519985" y="1938010"/>
                </a:lnTo>
                <a:cubicBezTo>
                  <a:pt x="483393" y="1935534"/>
                  <a:pt x="444361" y="1935534"/>
                  <a:pt x="415087" y="1945438"/>
                </a:cubicBezTo>
                <a:cubicBezTo>
                  <a:pt x="395572" y="1945438"/>
                  <a:pt x="337024" y="1965246"/>
                  <a:pt x="317508" y="1945438"/>
                </a:cubicBezTo>
                <a:cubicBezTo>
                  <a:pt x="297992" y="1905823"/>
                  <a:pt x="629762" y="1866207"/>
                  <a:pt x="688310" y="1846400"/>
                </a:cubicBezTo>
                <a:cubicBezTo>
                  <a:pt x="707826" y="1846400"/>
                  <a:pt x="824921" y="1846400"/>
                  <a:pt x="824921" y="1846400"/>
                </a:cubicBezTo>
                <a:cubicBezTo>
                  <a:pt x="844437" y="1826592"/>
                  <a:pt x="610247" y="1846400"/>
                  <a:pt x="610247" y="1846400"/>
                </a:cubicBezTo>
                <a:cubicBezTo>
                  <a:pt x="571215" y="1846400"/>
                  <a:pt x="337024" y="1905823"/>
                  <a:pt x="317508" y="1886015"/>
                </a:cubicBezTo>
                <a:cubicBezTo>
                  <a:pt x="307750" y="1876111"/>
                  <a:pt x="337024" y="1861255"/>
                  <a:pt x="376056" y="1848875"/>
                </a:cubicBezTo>
                <a:lnTo>
                  <a:pt x="378623" y="1848224"/>
                </a:lnTo>
                <a:lnTo>
                  <a:pt x="369042" y="1842506"/>
                </a:lnTo>
                <a:cubicBezTo>
                  <a:pt x="363249" y="1836548"/>
                  <a:pt x="358979" y="1828811"/>
                  <a:pt x="356540" y="1818907"/>
                </a:cubicBezTo>
                <a:cubicBezTo>
                  <a:pt x="354100" y="1811479"/>
                  <a:pt x="355930" y="1804670"/>
                  <a:pt x="361038" y="1798442"/>
                </a:cubicBezTo>
                <a:lnTo>
                  <a:pt x="376122" y="1787840"/>
                </a:lnTo>
                <a:lnTo>
                  <a:pt x="339768" y="1797499"/>
                </a:lnTo>
                <a:cubicBezTo>
                  <a:pt x="322387" y="1799356"/>
                  <a:pt x="307750" y="1796880"/>
                  <a:pt x="297992" y="1786977"/>
                </a:cubicBezTo>
                <a:cubicBezTo>
                  <a:pt x="258960" y="1747361"/>
                  <a:pt x="395572" y="1727554"/>
                  <a:pt x="376056" y="1707746"/>
                </a:cubicBezTo>
                <a:cubicBezTo>
                  <a:pt x="376056" y="1668131"/>
                  <a:pt x="258960" y="1727554"/>
                  <a:pt x="239445" y="1668131"/>
                </a:cubicBezTo>
                <a:cubicBezTo>
                  <a:pt x="239445" y="1628515"/>
                  <a:pt x="317508" y="1628515"/>
                  <a:pt x="317508" y="1608708"/>
                </a:cubicBezTo>
                <a:cubicBezTo>
                  <a:pt x="297992" y="1509669"/>
                  <a:pt x="239445" y="1628515"/>
                  <a:pt x="200413" y="1588900"/>
                </a:cubicBezTo>
                <a:cubicBezTo>
                  <a:pt x="200413" y="1569092"/>
                  <a:pt x="258960" y="1549285"/>
                  <a:pt x="258960" y="1549285"/>
                </a:cubicBezTo>
                <a:cubicBezTo>
                  <a:pt x="337024" y="1529477"/>
                  <a:pt x="337024" y="1529477"/>
                  <a:pt x="395572" y="1509669"/>
                </a:cubicBezTo>
                <a:cubicBezTo>
                  <a:pt x="415087" y="1509669"/>
                  <a:pt x="512667" y="1509669"/>
                  <a:pt x="434603" y="1489862"/>
                </a:cubicBezTo>
                <a:cubicBezTo>
                  <a:pt x="376056" y="1489862"/>
                  <a:pt x="239445" y="1569092"/>
                  <a:pt x="200413" y="1509669"/>
                </a:cubicBezTo>
                <a:cubicBezTo>
                  <a:pt x="180897" y="1470054"/>
                  <a:pt x="317508" y="1489862"/>
                  <a:pt x="239445" y="1450246"/>
                </a:cubicBezTo>
                <a:cubicBezTo>
                  <a:pt x="200413" y="1410631"/>
                  <a:pt x="239445" y="1430439"/>
                  <a:pt x="239445" y="1390823"/>
                </a:cubicBezTo>
                <a:cubicBezTo>
                  <a:pt x="219929" y="1371016"/>
                  <a:pt x="180897" y="1371016"/>
                  <a:pt x="200413" y="1351208"/>
                </a:cubicBezTo>
                <a:cubicBezTo>
                  <a:pt x="200413" y="1331400"/>
                  <a:pt x="239445" y="1311593"/>
                  <a:pt x="258960" y="1291785"/>
                </a:cubicBezTo>
                <a:cubicBezTo>
                  <a:pt x="273597" y="1281881"/>
                  <a:pt x="284575" y="1274453"/>
                  <a:pt x="294028" y="1268882"/>
                </a:cubicBezTo>
                <a:lnTo>
                  <a:pt x="298697" y="1266764"/>
                </a:lnTo>
                <a:lnTo>
                  <a:pt x="296468" y="1264602"/>
                </a:lnTo>
                <a:cubicBezTo>
                  <a:pt x="269938" y="1254388"/>
                  <a:pt x="229687" y="1313811"/>
                  <a:pt x="200413" y="1284100"/>
                </a:cubicBezTo>
                <a:cubicBezTo>
                  <a:pt x="200413" y="1264292"/>
                  <a:pt x="258960" y="1244485"/>
                  <a:pt x="258960" y="1244485"/>
                </a:cubicBezTo>
                <a:cubicBezTo>
                  <a:pt x="278476" y="1239533"/>
                  <a:pt x="293113" y="1235819"/>
                  <a:pt x="305006" y="1232724"/>
                </a:cubicBezTo>
                <a:lnTo>
                  <a:pt x="316763" y="1229525"/>
                </a:lnTo>
                <a:lnTo>
                  <a:pt x="313291" y="1216312"/>
                </a:lnTo>
                <a:lnTo>
                  <a:pt x="310190" y="1217249"/>
                </a:lnTo>
                <a:cubicBezTo>
                  <a:pt x="263839" y="1229629"/>
                  <a:pt x="219929" y="1234581"/>
                  <a:pt x="200413" y="1204869"/>
                </a:cubicBezTo>
                <a:cubicBezTo>
                  <a:pt x="190655" y="1185062"/>
                  <a:pt x="219929" y="1180110"/>
                  <a:pt x="241884" y="1175158"/>
                </a:cubicBezTo>
                <a:lnTo>
                  <a:pt x="247280" y="1172844"/>
                </a:lnTo>
                <a:lnTo>
                  <a:pt x="246763" y="1172939"/>
                </a:lnTo>
                <a:cubicBezTo>
                  <a:pt x="224808" y="1177891"/>
                  <a:pt x="200413" y="1182843"/>
                  <a:pt x="180897" y="1172939"/>
                </a:cubicBezTo>
                <a:cubicBezTo>
                  <a:pt x="180897" y="1172939"/>
                  <a:pt x="122349" y="1054093"/>
                  <a:pt x="122349" y="1073901"/>
                </a:cubicBezTo>
                <a:cubicBezTo>
                  <a:pt x="122349" y="1054093"/>
                  <a:pt x="141865" y="994670"/>
                  <a:pt x="141865" y="974862"/>
                </a:cubicBezTo>
                <a:cubicBezTo>
                  <a:pt x="141865" y="994670"/>
                  <a:pt x="239445" y="935247"/>
                  <a:pt x="239445" y="955055"/>
                </a:cubicBezTo>
                <a:cubicBezTo>
                  <a:pt x="239445" y="915439"/>
                  <a:pt x="83318" y="955055"/>
                  <a:pt x="63802" y="935247"/>
                </a:cubicBezTo>
                <a:cubicBezTo>
                  <a:pt x="44286" y="915439"/>
                  <a:pt x="219929" y="875824"/>
                  <a:pt x="122349" y="895632"/>
                </a:cubicBezTo>
                <a:cubicBezTo>
                  <a:pt x="49165" y="895632"/>
                  <a:pt x="107712" y="862206"/>
                  <a:pt x="158027" y="837137"/>
                </a:cubicBezTo>
                <a:lnTo>
                  <a:pt x="163681" y="834371"/>
                </a:lnTo>
                <a:lnTo>
                  <a:pt x="151623" y="811192"/>
                </a:lnTo>
                <a:cubicBezTo>
                  <a:pt x="136986" y="783956"/>
                  <a:pt x="122349" y="759197"/>
                  <a:pt x="122349" y="769101"/>
                </a:cubicBezTo>
                <a:cubicBezTo>
                  <a:pt x="122349" y="759197"/>
                  <a:pt x="127228" y="739389"/>
                  <a:pt x="132107" y="719581"/>
                </a:cubicBezTo>
                <a:lnTo>
                  <a:pt x="132236" y="719036"/>
                </a:lnTo>
                <a:lnTo>
                  <a:pt x="105273" y="727267"/>
                </a:lnTo>
                <a:cubicBezTo>
                  <a:pt x="78438" y="737170"/>
                  <a:pt x="54044" y="747074"/>
                  <a:pt x="44286" y="737170"/>
                </a:cubicBezTo>
                <a:cubicBezTo>
                  <a:pt x="44286" y="737170"/>
                  <a:pt x="102834" y="697555"/>
                  <a:pt x="83318" y="697555"/>
                </a:cubicBezTo>
                <a:cubicBezTo>
                  <a:pt x="161381" y="677747"/>
                  <a:pt x="141865" y="677747"/>
                  <a:pt x="63802" y="677747"/>
                </a:cubicBezTo>
                <a:cubicBezTo>
                  <a:pt x="24770" y="697555"/>
                  <a:pt x="-33778" y="697555"/>
                  <a:pt x="24770" y="657940"/>
                </a:cubicBezTo>
                <a:cubicBezTo>
                  <a:pt x="44286" y="657940"/>
                  <a:pt x="83317" y="652988"/>
                  <a:pt x="117470" y="645560"/>
                </a:cubicBezTo>
                <a:lnTo>
                  <a:pt x="161753" y="632939"/>
                </a:lnTo>
                <a:lnTo>
                  <a:pt x="158942" y="632923"/>
                </a:lnTo>
                <a:cubicBezTo>
                  <a:pt x="117470" y="635399"/>
                  <a:pt x="73560" y="640351"/>
                  <a:pt x="63802" y="630447"/>
                </a:cubicBezTo>
                <a:cubicBezTo>
                  <a:pt x="58923" y="625495"/>
                  <a:pt x="66241" y="619305"/>
                  <a:pt x="78439" y="613115"/>
                </a:cubicBezTo>
                <a:lnTo>
                  <a:pt x="115013" y="598679"/>
                </a:lnTo>
                <a:lnTo>
                  <a:pt x="102834" y="598517"/>
                </a:lnTo>
                <a:lnTo>
                  <a:pt x="107399" y="589356"/>
                </a:lnTo>
                <a:lnTo>
                  <a:pt x="96087" y="588240"/>
                </a:lnTo>
                <a:cubicBezTo>
                  <a:pt x="57398" y="576595"/>
                  <a:pt x="166260" y="528933"/>
                  <a:pt x="200413" y="511601"/>
                </a:cubicBezTo>
                <a:cubicBezTo>
                  <a:pt x="278476" y="491793"/>
                  <a:pt x="376056" y="491793"/>
                  <a:pt x="376056" y="471986"/>
                </a:cubicBezTo>
                <a:cubicBezTo>
                  <a:pt x="395572" y="432370"/>
                  <a:pt x="258960" y="471986"/>
                  <a:pt x="239445" y="471986"/>
                </a:cubicBezTo>
                <a:cubicBezTo>
                  <a:pt x="229687" y="471986"/>
                  <a:pt x="223588" y="468272"/>
                  <a:pt x="219319" y="462701"/>
                </a:cubicBezTo>
                <a:lnTo>
                  <a:pt x="218372" y="460587"/>
                </a:lnTo>
                <a:lnTo>
                  <a:pt x="140340" y="478742"/>
                </a:lnTo>
                <a:cubicBezTo>
                  <a:pt x="113811" y="483385"/>
                  <a:pt x="93075" y="484623"/>
                  <a:pt x="83318" y="479671"/>
                </a:cubicBezTo>
                <a:cubicBezTo>
                  <a:pt x="63802" y="440055"/>
                  <a:pt x="102834" y="459863"/>
                  <a:pt x="122349" y="440055"/>
                </a:cubicBezTo>
                <a:cubicBezTo>
                  <a:pt x="132107" y="430152"/>
                  <a:pt x="141865" y="420248"/>
                  <a:pt x="151623" y="412820"/>
                </a:cubicBezTo>
                <a:lnTo>
                  <a:pt x="156333" y="410828"/>
                </a:lnTo>
                <a:lnTo>
                  <a:pt x="145829" y="410087"/>
                </a:lnTo>
                <a:cubicBezTo>
                  <a:pt x="106493" y="417515"/>
                  <a:pt x="58923" y="447226"/>
                  <a:pt x="44286" y="432370"/>
                </a:cubicBezTo>
                <a:cubicBezTo>
                  <a:pt x="44286" y="432370"/>
                  <a:pt x="102834" y="392755"/>
                  <a:pt x="83318" y="392755"/>
                </a:cubicBezTo>
                <a:cubicBezTo>
                  <a:pt x="161381" y="372947"/>
                  <a:pt x="141865" y="372947"/>
                  <a:pt x="63802" y="372947"/>
                </a:cubicBezTo>
                <a:cubicBezTo>
                  <a:pt x="24770" y="392755"/>
                  <a:pt x="-33778" y="392755"/>
                  <a:pt x="24770" y="353140"/>
                </a:cubicBezTo>
                <a:cubicBezTo>
                  <a:pt x="63802" y="353140"/>
                  <a:pt x="180897" y="333332"/>
                  <a:pt x="180897" y="313524"/>
                </a:cubicBezTo>
                <a:cubicBezTo>
                  <a:pt x="200413" y="293717"/>
                  <a:pt x="122349" y="293717"/>
                  <a:pt x="102834" y="293717"/>
                </a:cubicBezTo>
                <a:cubicBezTo>
                  <a:pt x="102834" y="254101"/>
                  <a:pt x="180897" y="234294"/>
                  <a:pt x="239445" y="214486"/>
                </a:cubicBezTo>
                <a:cubicBezTo>
                  <a:pt x="473635" y="155063"/>
                  <a:pt x="688310" y="115448"/>
                  <a:pt x="1039596" y="115448"/>
                </a:cubicBezTo>
                <a:cubicBezTo>
                  <a:pt x="1195723" y="95640"/>
                  <a:pt x="1390882" y="115448"/>
                  <a:pt x="1547009" y="115448"/>
                </a:cubicBezTo>
                <a:cubicBezTo>
                  <a:pt x="1664104" y="115448"/>
                  <a:pt x="1761684" y="95640"/>
                  <a:pt x="1898295" y="95640"/>
                </a:cubicBezTo>
                <a:cubicBezTo>
                  <a:pt x="1956842" y="95640"/>
                  <a:pt x="2249581" y="115448"/>
                  <a:pt x="2269097" y="95640"/>
                </a:cubicBezTo>
                <a:cubicBezTo>
                  <a:pt x="2288613" y="75832"/>
                  <a:pt x="2132485" y="95640"/>
                  <a:pt x="2132485" y="95640"/>
                </a:cubicBezTo>
                <a:cubicBezTo>
                  <a:pt x="1683620" y="95640"/>
                  <a:pt x="1215239" y="56025"/>
                  <a:pt x="746858" y="95640"/>
                </a:cubicBezTo>
                <a:cubicBezTo>
                  <a:pt x="610247" y="95640"/>
                  <a:pt x="512667" y="115448"/>
                  <a:pt x="395572" y="115448"/>
                </a:cubicBezTo>
                <a:cubicBezTo>
                  <a:pt x="337024" y="115448"/>
                  <a:pt x="122349" y="194678"/>
                  <a:pt x="83318" y="174871"/>
                </a:cubicBezTo>
                <a:cubicBezTo>
                  <a:pt x="63802" y="135255"/>
                  <a:pt x="102834" y="155063"/>
                  <a:pt x="122349" y="135255"/>
                </a:cubicBezTo>
                <a:cubicBezTo>
                  <a:pt x="141865" y="115448"/>
                  <a:pt x="161381" y="95640"/>
                  <a:pt x="180897" y="95640"/>
                </a:cubicBezTo>
                <a:cubicBezTo>
                  <a:pt x="278476" y="56025"/>
                  <a:pt x="434603" y="56025"/>
                  <a:pt x="590731" y="56025"/>
                </a:cubicBezTo>
                <a:cubicBezTo>
                  <a:pt x="668794" y="36217"/>
                  <a:pt x="785889" y="16409"/>
                  <a:pt x="863953" y="16409"/>
                </a:cubicBezTo>
                <a:cubicBezTo>
                  <a:pt x="1059112" y="6506"/>
                  <a:pt x="1249392" y="1554"/>
                  <a:pt x="1435402" y="316"/>
                </a:cubicBezTo>
                <a:close/>
              </a:path>
            </a:pathLst>
          </a:custGeom>
          <a:solidFill>
            <a:schemeClr val="bg1">
              <a:lumMod val="95000"/>
            </a:schemeClr>
          </a:solidFill>
        </p:spPr>
        <p:txBody>
          <a:bodyPr wrap="square">
            <a:noAutofit/>
          </a:bodyPr>
          <a:lstStyle>
            <a:lvl1pPr>
              <a:defRPr sz="2361"/>
            </a:lvl1pPr>
          </a:lstStyle>
          <a:p>
            <a:endParaRPr lang="en-US"/>
          </a:p>
        </p:txBody>
      </p:sp>
    </p:spTree>
    <p:extLst>
      <p:ext uri="{BB962C8B-B14F-4D97-AF65-F5344CB8AC3E}">
        <p14:creationId xmlns:p14="http://schemas.microsoft.com/office/powerpoint/2010/main" val="16213975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0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25CBC1B3-AA65-40B8-8C0A-D86B1B2E6F77}"/>
              </a:ext>
            </a:extLst>
          </p:cNvPr>
          <p:cNvSpPr>
            <a:spLocks noGrp="1"/>
          </p:cNvSpPr>
          <p:nvPr>
            <p:ph type="pic" sz="quarter" idx="22"/>
          </p:nvPr>
        </p:nvSpPr>
        <p:spPr>
          <a:xfrm>
            <a:off x="7988013" y="992166"/>
            <a:ext cx="7201385" cy="7016793"/>
          </a:xfrm>
          <a:custGeom>
            <a:avLst/>
            <a:gdLst>
              <a:gd name="connsiteX0" fmla="*/ 2361535 w 5419032"/>
              <a:gd name="connsiteY0" fmla="*/ 5306796 h 5346128"/>
              <a:gd name="connsiteX1" fmla="*/ 2319580 w 5419032"/>
              <a:gd name="connsiteY1" fmla="*/ 5325675 h 5346128"/>
              <a:gd name="connsiteX2" fmla="*/ 2361535 w 5419032"/>
              <a:gd name="connsiteY2" fmla="*/ 5306796 h 5346128"/>
              <a:gd name="connsiteX3" fmla="*/ 2336437 w 5419032"/>
              <a:gd name="connsiteY3" fmla="*/ 5256391 h 5346128"/>
              <a:gd name="connsiteX4" fmla="*/ 2350858 w 5419032"/>
              <a:gd name="connsiteY4" fmla="*/ 5260471 h 5346128"/>
              <a:gd name="connsiteX5" fmla="*/ 2338498 w 5419032"/>
              <a:gd name="connsiteY5" fmla="*/ 5272707 h 5346128"/>
              <a:gd name="connsiteX6" fmla="*/ 2326135 w 5419032"/>
              <a:gd name="connsiteY6" fmla="*/ 5264549 h 5346128"/>
              <a:gd name="connsiteX7" fmla="*/ 2336437 w 5419032"/>
              <a:gd name="connsiteY7" fmla="*/ 5256391 h 5346128"/>
              <a:gd name="connsiteX8" fmla="*/ 2216598 w 5419032"/>
              <a:gd name="connsiteY8" fmla="*/ 5201383 h 5346128"/>
              <a:gd name="connsiteX9" fmla="*/ 2201581 w 5419032"/>
              <a:gd name="connsiteY9" fmla="*/ 5205578 h 5346128"/>
              <a:gd name="connsiteX10" fmla="*/ 2212306 w 5419032"/>
              <a:gd name="connsiteY10" fmla="*/ 5218165 h 5346128"/>
              <a:gd name="connsiteX11" fmla="*/ 2225180 w 5419032"/>
              <a:gd name="connsiteY11" fmla="*/ 5209774 h 5346128"/>
              <a:gd name="connsiteX12" fmla="*/ 2216598 w 5419032"/>
              <a:gd name="connsiteY12" fmla="*/ 5201383 h 5346128"/>
              <a:gd name="connsiteX13" fmla="*/ 1977402 w 5419032"/>
              <a:gd name="connsiteY13" fmla="*/ 5179772 h 5346128"/>
              <a:gd name="connsiteX14" fmla="*/ 1987652 w 5419032"/>
              <a:gd name="connsiteY14" fmla="*/ 5182969 h 5346128"/>
              <a:gd name="connsiteX15" fmla="*/ 1993880 w 5419032"/>
              <a:gd name="connsiteY15" fmla="*/ 5189234 h 5346128"/>
              <a:gd name="connsiteX16" fmla="*/ 1985575 w 5419032"/>
              <a:gd name="connsiteY16" fmla="*/ 5208026 h 5346128"/>
              <a:gd name="connsiteX17" fmla="*/ 2004259 w 5419032"/>
              <a:gd name="connsiteY17" fmla="*/ 5201762 h 5346128"/>
              <a:gd name="connsiteX18" fmla="*/ 2016714 w 5419032"/>
              <a:gd name="connsiteY18" fmla="*/ 5208026 h 5346128"/>
              <a:gd name="connsiteX19" fmla="*/ 2000107 w 5419032"/>
              <a:gd name="connsiteY19" fmla="*/ 5224731 h 5346128"/>
              <a:gd name="connsiteX20" fmla="*/ 1968968 w 5419032"/>
              <a:gd name="connsiteY20" fmla="*/ 5212202 h 5346128"/>
              <a:gd name="connsiteX21" fmla="*/ 1948209 w 5419032"/>
              <a:gd name="connsiteY21" fmla="*/ 5185057 h 5346128"/>
              <a:gd name="connsiteX22" fmla="*/ 1977402 w 5419032"/>
              <a:gd name="connsiteY22" fmla="*/ 5179772 h 5346128"/>
              <a:gd name="connsiteX23" fmla="*/ 2436923 w 5419032"/>
              <a:gd name="connsiteY23" fmla="*/ 5165946 h 5346128"/>
              <a:gd name="connsiteX24" fmla="*/ 2426154 w 5419032"/>
              <a:gd name="connsiteY24" fmla="*/ 5174187 h 5346128"/>
              <a:gd name="connsiteX25" fmla="*/ 2439078 w 5419032"/>
              <a:gd name="connsiteY25" fmla="*/ 5190671 h 5346128"/>
              <a:gd name="connsiteX26" fmla="*/ 2452002 w 5419032"/>
              <a:gd name="connsiteY26" fmla="*/ 5182428 h 5346128"/>
              <a:gd name="connsiteX27" fmla="*/ 2436923 w 5419032"/>
              <a:gd name="connsiteY27" fmla="*/ 5165946 h 5346128"/>
              <a:gd name="connsiteX28" fmla="*/ 2234883 w 5419032"/>
              <a:gd name="connsiteY28" fmla="*/ 5153396 h 5346128"/>
              <a:gd name="connsiteX29" fmla="*/ 2226491 w 5419032"/>
              <a:gd name="connsiteY29" fmla="*/ 5163960 h 5346128"/>
              <a:gd name="connsiteX30" fmla="*/ 2255860 w 5419032"/>
              <a:gd name="connsiteY30" fmla="*/ 5191419 h 5346128"/>
              <a:gd name="connsiteX31" fmla="*/ 2268447 w 5419032"/>
              <a:gd name="connsiteY31" fmla="*/ 5178744 h 5346128"/>
              <a:gd name="connsiteX32" fmla="*/ 2234883 w 5419032"/>
              <a:gd name="connsiteY32" fmla="*/ 5153396 h 5346128"/>
              <a:gd name="connsiteX33" fmla="*/ 2330069 w 5419032"/>
              <a:gd name="connsiteY33" fmla="*/ 5112170 h 5346128"/>
              <a:gd name="connsiteX34" fmla="*/ 2317706 w 5419032"/>
              <a:gd name="connsiteY34" fmla="*/ 5118288 h 5346128"/>
              <a:gd name="connsiteX35" fmla="*/ 2325949 w 5419032"/>
              <a:gd name="connsiteY35" fmla="*/ 5128486 h 5346128"/>
              <a:gd name="connsiteX36" fmla="*/ 2344491 w 5419032"/>
              <a:gd name="connsiteY36" fmla="*/ 5126447 h 5346128"/>
              <a:gd name="connsiteX37" fmla="*/ 2330069 w 5419032"/>
              <a:gd name="connsiteY37" fmla="*/ 5112170 h 5346128"/>
              <a:gd name="connsiteX38" fmla="*/ 2152578 w 5419032"/>
              <a:gd name="connsiteY38" fmla="*/ 5082326 h 5346128"/>
              <a:gd name="connsiteX39" fmla="*/ 2140483 w 5419032"/>
              <a:gd name="connsiteY39" fmla="*/ 5099204 h 5346128"/>
              <a:gd name="connsiteX40" fmla="*/ 2155167 w 5419032"/>
              <a:gd name="connsiteY40" fmla="*/ 5109733 h 5346128"/>
              <a:gd name="connsiteX41" fmla="*/ 2226491 w 5419032"/>
              <a:gd name="connsiteY41" fmla="*/ 5145531 h 5346128"/>
              <a:gd name="connsiteX42" fmla="*/ 2226491 w 5419032"/>
              <a:gd name="connsiteY42" fmla="*/ 5088676 h 5346128"/>
              <a:gd name="connsiteX43" fmla="*/ 2157265 w 5419032"/>
              <a:gd name="connsiteY43" fmla="*/ 5084465 h 5346128"/>
              <a:gd name="connsiteX44" fmla="*/ 2152578 w 5419032"/>
              <a:gd name="connsiteY44" fmla="*/ 5082326 h 5346128"/>
              <a:gd name="connsiteX45" fmla="*/ 1820958 w 5419032"/>
              <a:gd name="connsiteY45" fmla="*/ 5076681 h 5346128"/>
              <a:gd name="connsiteX46" fmla="*/ 1832308 w 5419032"/>
              <a:gd name="connsiteY46" fmla="*/ 5088778 h 5346128"/>
              <a:gd name="connsiteX47" fmla="*/ 1881000 w 5419032"/>
              <a:gd name="connsiteY47" fmla="*/ 5113530 h 5346128"/>
              <a:gd name="connsiteX48" fmla="*/ 1830832 w 5419032"/>
              <a:gd name="connsiteY48" fmla="*/ 5088483 h 5346128"/>
              <a:gd name="connsiteX49" fmla="*/ 1820908 w 5419032"/>
              <a:gd name="connsiteY49" fmla="*/ 5077021 h 5346128"/>
              <a:gd name="connsiteX50" fmla="*/ 2619823 w 5419032"/>
              <a:gd name="connsiteY50" fmla="*/ 5068175 h 5346128"/>
              <a:gd name="connsiteX51" fmla="*/ 2686689 w 5419032"/>
              <a:gd name="connsiteY51" fmla="*/ 5093348 h 5346128"/>
              <a:gd name="connsiteX52" fmla="*/ 2619823 w 5419032"/>
              <a:gd name="connsiteY52" fmla="*/ 5068175 h 5346128"/>
              <a:gd name="connsiteX53" fmla="*/ 2028126 w 5419032"/>
              <a:gd name="connsiteY53" fmla="*/ 5068175 h 5346128"/>
              <a:gd name="connsiteX54" fmla="*/ 2011422 w 5419032"/>
              <a:gd name="connsiteY54" fmla="*/ 5092898 h 5346128"/>
              <a:gd name="connsiteX55" fmla="*/ 2003070 w 5419032"/>
              <a:gd name="connsiteY55" fmla="*/ 5123804 h 5346128"/>
              <a:gd name="connsiteX56" fmla="*/ 2034391 w 5419032"/>
              <a:gd name="connsiteY56" fmla="*/ 5136166 h 5346128"/>
              <a:gd name="connsiteX57" fmla="*/ 2055271 w 5419032"/>
              <a:gd name="connsiteY57" fmla="*/ 5088778 h 5346128"/>
              <a:gd name="connsiteX58" fmla="*/ 2028126 w 5419032"/>
              <a:gd name="connsiteY58" fmla="*/ 5068175 h 5346128"/>
              <a:gd name="connsiteX59" fmla="*/ 3565723 w 5419032"/>
              <a:gd name="connsiteY59" fmla="*/ 5065303 h 5346128"/>
              <a:gd name="connsiteX60" fmla="*/ 3578092 w 5419032"/>
              <a:gd name="connsiteY60" fmla="*/ 5067116 h 5346128"/>
              <a:gd name="connsiteX61" fmla="*/ 3582850 w 5419032"/>
              <a:gd name="connsiteY61" fmla="*/ 5081765 h 5346128"/>
              <a:gd name="connsiteX62" fmla="*/ 3614570 w 5419032"/>
              <a:gd name="connsiteY62" fmla="*/ 5113156 h 5346128"/>
              <a:gd name="connsiteX63" fmla="*/ 3625144 w 5419032"/>
              <a:gd name="connsiteY63" fmla="*/ 5123619 h 5346128"/>
              <a:gd name="connsiteX64" fmla="*/ 3603997 w 5419032"/>
              <a:gd name="connsiteY64" fmla="*/ 5169659 h 5346128"/>
              <a:gd name="connsiteX65" fmla="*/ 3555359 w 5419032"/>
              <a:gd name="connsiteY65" fmla="*/ 5165475 h 5346128"/>
              <a:gd name="connsiteX66" fmla="*/ 3555359 w 5419032"/>
              <a:gd name="connsiteY66" fmla="*/ 5077580 h 5346128"/>
              <a:gd name="connsiteX67" fmla="*/ 3560646 w 5419032"/>
              <a:gd name="connsiteY67" fmla="*/ 5072086 h 5346128"/>
              <a:gd name="connsiteX68" fmla="*/ 3565469 w 5419032"/>
              <a:gd name="connsiteY68" fmla="*/ 5065644 h 5346128"/>
              <a:gd name="connsiteX69" fmla="*/ 3566151 w 5419032"/>
              <a:gd name="connsiteY69" fmla="*/ 5065629 h 5346128"/>
              <a:gd name="connsiteX70" fmla="*/ 3565478 w 5419032"/>
              <a:gd name="connsiteY70" fmla="*/ 5065629 h 5346128"/>
              <a:gd name="connsiteX71" fmla="*/ 3564080 w 5419032"/>
              <a:gd name="connsiteY71" fmla="*/ 5065023 h 5346128"/>
              <a:gd name="connsiteX72" fmla="*/ 3565932 w 5419032"/>
              <a:gd name="connsiteY72" fmla="*/ 5065023 h 5346128"/>
              <a:gd name="connsiteX73" fmla="*/ 3565723 w 5419032"/>
              <a:gd name="connsiteY73" fmla="*/ 5065303 h 5346128"/>
              <a:gd name="connsiteX74" fmla="*/ 3564076 w 5419032"/>
              <a:gd name="connsiteY74" fmla="*/ 5065061 h 5346128"/>
              <a:gd name="connsiteX75" fmla="*/ 2166181 w 5419032"/>
              <a:gd name="connsiteY75" fmla="*/ 5058779 h 5346128"/>
              <a:gd name="connsiteX76" fmla="*/ 2084368 w 5419032"/>
              <a:gd name="connsiteY76" fmla="*/ 5079902 h 5346128"/>
              <a:gd name="connsiteX77" fmla="*/ 2103248 w 5419032"/>
              <a:gd name="connsiteY77" fmla="*/ 5128486 h 5346128"/>
              <a:gd name="connsiteX78" fmla="*/ 2166181 w 5419032"/>
              <a:gd name="connsiteY78" fmla="*/ 5058779 h 5346128"/>
              <a:gd name="connsiteX79" fmla="*/ 1719880 w 5419032"/>
              <a:gd name="connsiteY79" fmla="*/ 5038041 h 5346128"/>
              <a:gd name="connsiteX80" fmla="*/ 1730107 w 5419032"/>
              <a:gd name="connsiteY80" fmla="*/ 5042523 h 5346128"/>
              <a:gd name="connsiteX81" fmla="*/ 1749249 w 5419032"/>
              <a:gd name="connsiteY81" fmla="*/ 5050696 h 5346128"/>
              <a:gd name="connsiteX82" fmla="*/ 1757975 w 5419032"/>
              <a:gd name="connsiteY82" fmla="*/ 5043200 h 5346128"/>
              <a:gd name="connsiteX83" fmla="*/ 1768944 w 5419032"/>
              <a:gd name="connsiteY83" fmla="*/ 5055979 h 5346128"/>
              <a:gd name="connsiteX84" fmla="*/ 1762294 w 5419032"/>
              <a:gd name="connsiteY84" fmla="*/ 5065065 h 5346128"/>
              <a:gd name="connsiteX85" fmla="*/ 1713325 w 5419032"/>
              <a:gd name="connsiteY85" fmla="*/ 5061506 h 5346128"/>
              <a:gd name="connsiteX86" fmla="*/ 1711227 w 5419032"/>
              <a:gd name="connsiteY86" fmla="*/ 5044632 h 5346128"/>
              <a:gd name="connsiteX87" fmla="*/ 1719880 w 5419032"/>
              <a:gd name="connsiteY87" fmla="*/ 5038041 h 5346128"/>
              <a:gd name="connsiteX88" fmla="*/ 1828330 w 5419032"/>
              <a:gd name="connsiteY88" fmla="*/ 5027885 h 5346128"/>
              <a:gd name="connsiteX89" fmla="*/ 1828692 w 5419032"/>
              <a:gd name="connsiteY89" fmla="*/ 5028043 h 5346128"/>
              <a:gd name="connsiteX90" fmla="*/ 1827064 w 5419032"/>
              <a:gd name="connsiteY90" fmla="*/ 5029652 h 5346128"/>
              <a:gd name="connsiteX91" fmla="*/ 1826634 w 5419032"/>
              <a:gd name="connsiteY91" fmla="*/ 5029630 h 5346128"/>
              <a:gd name="connsiteX92" fmla="*/ 1826640 w 5419032"/>
              <a:gd name="connsiteY92" fmla="*/ 5029592 h 5346128"/>
              <a:gd name="connsiteX93" fmla="*/ 2068453 w 5419032"/>
              <a:gd name="connsiteY93" fmla="*/ 5011797 h 5346128"/>
              <a:gd name="connsiteX94" fmla="*/ 2063914 w 5419032"/>
              <a:gd name="connsiteY94" fmla="*/ 5019664 h 5346128"/>
              <a:gd name="connsiteX95" fmla="*/ 2074000 w 5419032"/>
              <a:gd name="connsiteY95" fmla="*/ 5030154 h 5346128"/>
              <a:gd name="connsiteX96" fmla="*/ 2090137 w 5419032"/>
              <a:gd name="connsiteY96" fmla="*/ 5025957 h 5346128"/>
              <a:gd name="connsiteX97" fmla="*/ 2076017 w 5419032"/>
              <a:gd name="connsiteY97" fmla="*/ 5013371 h 5346128"/>
              <a:gd name="connsiteX98" fmla="*/ 2068453 w 5419032"/>
              <a:gd name="connsiteY98" fmla="*/ 5011797 h 5346128"/>
              <a:gd name="connsiteX99" fmla="*/ 3475374 w 5419032"/>
              <a:gd name="connsiteY99" fmla="*/ 5010486 h 5346128"/>
              <a:gd name="connsiteX100" fmla="*/ 3498596 w 5419032"/>
              <a:gd name="connsiteY100" fmla="*/ 5046543 h 5346128"/>
              <a:gd name="connsiteX101" fmla="*/ 3555596 w 5419032"/>
              <a:gd name="connsiteY101" fmla="*/ 5021091 h 5346128"/>
              <a:gd name="connsiteX102" fmla="*/ 3564800 w 5419032"/>
              <a:gd name="connsiteY102" fmla="*/ 5053600 h 5346128"/>
              <a:gd name="connsiteX103" fmla="*/ 3564080 w 5419032"/>
              <a:gd name="connsiteY103" fmla="*/ 5065023 h 5346128"/>
              <a:gd name="connsiteX104" fmla="*/ 3563818 w 5419032"/>
              <a:gd name="connsiteY104" fmla="*/ 5065023 h 5346128"/>
              <a:gd name="connsiteX105" fmla="*/ 3564076 w 5419032"/>
              <a:gd name="connsiteY105" fmla="*/ 5065061 h 5346128"/>
              <a:gd name="connsiteX106" fmla="*/ 3564040 w 5419032"/>
              <a:gd name="connsiteY106" fmla="*/ 5065629 h 5346128"/>
              <a:gd name="connsiteX107" fmla="*/ 3565478 w 5419032"/>
              <a:gd name="connsiteY107" fmla="*/ 5065629 h 5346128"/>
              <a:gd name="connsiteX108" fmla="*/ 3565469 w 5419032"/>
              <a:gd name="connsiteY108" fmla="*/ 5065644 h 5346128"/>
              <a:gd name="connsiteX109" fmla="*/ 3553254 w 5419032"/>
              <a:gd name="connsiteY109" fmla="*/ 5065896 h 5346128"/>
              <a:gd name="connsiteX110" fmla="*/ 3519708 w 5419032"/>
              <a:gd name="connsiteY110" fmla="*/ 5082597 h 5346128"/>
              <a:gd name="connsiteX111" fmla="*/ 3469041 w 5419032"/>
              <a:gd name="connsiteY111" fmla="*/ 5080476 h 5346128"/>
              <a:gd name="connsiteX112" fmla="*/ 3464818 w 5419032"/>
              <a:gd name="connsiteY112" fmla="*/ 5027453 h 5346128"/>
              <a:gd name="connsiteX113" fmla="*/ 3475374 w 5419032"/>
              <a:gd name="connsiteY113" fmla="*/ 5010486 h 5346128"/>
              <a:gd name="connsiteX114" fmla="*/ 1637368 w 5419032"/>
              <a:gd name="connsiteY114" fmla="*/ 5010486 h 5346128"/>
              <a:gd name="connsiteX115" fmla="*/ 1646109 w 5419032"/>
              <a:gd name="connsiteY115" fmla="*/ 5020975 h 5346128"/>
              <a:gd name="connsiteX116" fmla="*/ 1635183 w 5419032"/>
              <a:gd name="connsiteY116" fmla="*/ 5027268 h 5346128"/>
              <a:gd name="connsiteX117" fmla="*/ 1622072 w 5419032"/>
              <a:gd name="connsiteY117" fmla="*/ 5014681 h 5346128"/>
              <a:gd name="connsiteX118" fmla="*/ 1637368 w 5419032"/>
              <a:gd name="connsiteY118" fmla="*/ 5010486 h 5346128"/>
              <a:gd name="connsiteX119" fmla="*/ 1805189 w 5419032"/>
              <a:gd name="connsiteY119" fmla="*/ 4985860 h 5346128"/>
              <a:gd name="connsiteX120" fmla="*/ 1794507 w 5419032"/>
              <a:gd name="connsiteY120" fmla="*/ 4994298 h 5346128"/>
              <a:gd name="connsiteX121" fmla="*/ 1809462 w 5419032"/>
              <a:gd name="connsiteY121" fmla="*/ 5019607 h 5346128"/>
              <a:gd name="connsiteX122" fmla="*/ 1826985 w 5419032"/>
              <a:gd name="connsiteY122" fmla="*/ 5027295 h 5346128"/>
              <a:gd name="connsiteX123" fmla="*/ 1826640 w 5419032"/>
              <a:gd name="connsiteY123" fmla="*/ 5029592 h 5346128"/>
              <a:gd name="connsiteX124" fmla="*/ 1826604 w 5419032"/>
              <a:gd name="connsiteY124" fmla="*/ 5029628 h 5346128"/>
              <a:gd name="connsiteX125" fmla="*/ 1826634 w 5419032"/>
              <a:gd name="connsiteY125" fmla="*/ 5029630 h 5346128"/>
              <a:gd name="connsiteX126" fmla="*/ 1826555 w 5419032"/>
              <a:gd name="connsiteY126" fmla="*/ 5030154 h 5346128"/>
              <a:gd name="connsiteX127" fmla="*/ 1827064 w 5419032"/>
              <a:gd name="connsiteY127" fmla="*/ 5029652 h 5346128"/>
              <a:gd name="connsiteX128" fmla="*/ 1828834 w 5419032"/>
              <a:gd name="connsiteY128" fmla="*/ 5029742 h 5346128"/>
              <a:gd name="connsiteX129" fmla="*/ 1829717 w 5419032"/>
              <a:gd name="connsiteY129" fmla="*/ 5042477 h 5346128"/>
              <a:gd name="connsiteX130" fmla="*/ 1843211 w 5419032"/>
              <a:gd name="connsiteY130" fmla="*/ 5046410 h 5346128"/>
              <a:gd name="connsiteX131" fmla="*/ 1851516 w 5419032"/>
              <a:gd name="connsiteY131" fmla="*/ 5042215 h 5346128"/>
              <a:gd name="connsiteX132" fmla="*/ 1842174 w 5419032"/>
              <a:gd name="connsiteY132" fmla="*/ 5030415 h 5346128"/>
              <a:gd name="connsiteX133" fmla="*/ 1828834 w 5419032"/>
              <a:gd name="connsiteY133" fmla="*/ 5029742 h 5346128"/>
              <a:gd name="connsiteX134" fmla="*/ 1828680 w 5419032"/>
              <a:gd name="connsiteY134" fmla="*/ 5027531 h 5346128"/>
              <a:gd name="connsiteX135" fmla="*/ 1828330 w 5419032"/>
              <a:gd name="connsiteY135" fmla="*/ 5027885 h 5346128"/>
              <a:gd name="connsiteX136" fmla="*/ 1826985 w 5419032"/>
              <a:gd name="connsiteY136" fmla="*/ 5027295 h 5346128"/>
              <a:gd name="connsiteX137" fmla="*/ 1827624 w 5419032"/>
              <a:gd name="connsiteY137" fmla="*/ 5023035 h 5346128"/>
              <a:gd name="connsiteX138" fmla="*/ 1828692 w 5419032"/>
              <a:gd name="connsiteY138" fmla="*/ 5017498 h 5346128"/>
              <a:gd name="connsiteX139" fmla="*/ 1822282 w 5419032"/>
              <a:gd name="connsiteY139" fmla="*/ 4990079 h 5346128"/>
              <a:gd name="connsiteX140" fmla="*/ 1805189 w 5419032"/>
              <a:gd name="connsiteY140" fmla="*/ 4985860 h 5346128"/>
              <a:gd name="connsiteX141" fmla="*/ 1626675 w 5419032"/>
              <a:gd name="connsiteY141" fmla="*/ 4956544 h 5346128"/>
              <a:gd name="connsiteX142" fmla="*/ 1627270 w 5419032"/>
              <a:gd name="connsiteY142" fmla="*/ 4956900 h 5346128"/>
              <a:gd name="connsiteX143" fmla="*/ 1627317 w 5419032"/>
              <a:gd name="connsiteY143" fmla="*/ 4956993 h 5346128"/>
              <a:gd name="connsiteX144" fmla="*/ 1633610 w 5419032"/>
              <a:gd name="connsiteY144" fmla="*/ 4992655 h 5346128"/>
              <a:gd name="connsiteX145" fmla="*/ 1625219 w 5419032"/>
              <a:gd name="connsiteY145" fmla="*/ 4992655 h 5346128"/>
              <a:gd name="connsiteX146" fmla="*/ 1619974 w 5419032"/>
              <a:gd name="connsiteY146" fmla="*/ 4973775 h 5346128"/>
              <a:gd name="connsiteX147" fmla="*/ 1912734 w 5419032"/>
              <a:gd name="connsiteY147" fmla="*/ 4952798 h 5346128"/>
              <a:gd name="connsiteX148" fmla="*/ 1906380 w 5419032"/>
              <a:gd name="connsiteY148" fmla="*/ 4956894 h 5346128"/>
              <a:gd name="connsiteX149" fmla="*/ 1916969 w 5419032"/>
              <a:gd name="connsiteY149" fmla="*/ 4977381 h 5346128"/>
              <a:gd name="connsiteX150" fmla="*/ 1925578 w 5419032"/>
              <a:gd name="connsiteY150" fmla="*/ 4984042 h 5346128"/>
              <a:gd name="connsiteX151" fmla="*/ 1925441 w 5419032"/>
              <a:gd name="connsiteY151" fmla="*/ 4985576 h 5346128"/>
              <a:gd name="connsiteX152" fmla="*/ 1924993 w 5419032"/>
              <a:gd name="connsiteY152" fmla="*/ 4985576 h 5346128"/>
              <a:gd name="connsiteX153" fmla="*/ 1926839 w 5419032"/>
              <a:gd name="connsiteY153" fmla="*/ 4986112 h 5346128"/>
              <a:gd name="connsiteX154" fmla="*/ 1919959 w 5419032"/>
              <a:gd name="connsiteY154" fmla="*/ 4999536 h 5346128"/>
              <a:gd name="connsiteX155" fmla="*/ 1869872 w 5419032"/>
              <a:gd name="connsiteY155" fmla="*/ 4985576 h 5346128"/>
              <a:gd name="connsiteX156" fmla="*/ 1871992 w 5419032"/>
              <a:gd name="connsiteY156" fmla="*/ 5021073 h 5346128"/>
              <a:gd name="connsiteX157" fmla="*/ 1886832 w 5419032"/>
              <a:gd name="connsiteY157" fmla="*/ 5035689 h 5346128"/>
              <a:gd name="connsiteX158" fmla="*/ 1969516 w 5419032"/>
              <a:gd name="connsiteY158" fmla="*/ 4989752 h 5346128"/>
              <a:gd name="connsiteX159" fmla="*/ 1945664 w 5419032"/>
              <a:gd name="connsiteY159" fmla="*/ 4991579 h 5346128"/>
              <a:gd name="connsiteX160" fmla="*/ 1926839 w 5419032"/>
              <a:gd name="connsiteY160" fmla="*/ 4986112 h 5346128"/>
              <a:gd name="connsiteX161" fmla="*/ 1927113 w 5419032"/>
              <a:gd name="connsiteY161" fmla="*/ 4985576 h 5346128"/>
              <a:gd name="connsiteX162" fmla="*/ 1927560 w 5419032"/>
              <a:gd name="connsiteY162" fmla="*/ 4985576 h 5346128"/>
              <a:gd name="connsiteX163" fmla="*/ 1925578 w 5419032"/>
              <a:gd name="connsiteY163" fmla="*/ 4984042 h 5346128"/>
              <a:gd name="connsiteX164" fmla="*/ 1926237 w 5419032"/>
              <a:gd name="connsiteY164" fmla="*/ 4976614 h 5346128"/>
              <a:gd name="connsiteX165" fmla="*/ 1925441 w 5419032"/>
              <a:gd name="connsiteY165" fmla="*/ 4969187 h 5346128"/>
              <a:gd name="connsiteX166" fmla="*/ 1912734 w 5419032"/>
              <a:gd name="connsiteY166" fmla="*/ 4952798 h 5346128"/>
              <a:gd name="connsiteX167" fmla="*/ 2005583 w 5419032"/>
              <a:gd name="connsiteY167" fmla="*/ 4948305 h 5346128"/>
              <a:gd name="connsiteX168" fmla="*/ 1990493 w 5419032"/>
              <a:gd name="connsiteY168" fmla="*/ 4949867 h 5346128"/>
              <a:gd name="connsiteX169" fmla="*/ 2030124 w 5419032"/>
              <a:gd name="connsiteY169" fmla="*/ 4972773 h 5346128"/>
              <a:gd name="connsiteX170" fmla="*/ 2036382 w 5419032"/>
              <a:gd name="connsiteY170" fmla="*/ 4962362 h 5346128"/>
              <a:gd name="connsiteX171" fmla="*/ 2005583 w 5419032"/>
              <a:gd name="connsiteY171" fmla="*/ 4948305 h 5346128"/>
              <a:gd name="connsiteX172" fmla="*/ 2218437 w 5419032"/>
              <a:gd name="connsiteY172" fmla="*/ 4931819 h 5346128"/>
              <a:gd name="connsiteX173" fmla="*/ 2208136 w 5419032"/>
              <a:gd name="connsiteY173" fmla="*/ 4935991 h 5346128"/>
              <a:gd name="connsiteX174" fmla="*/ 2236981 w 5419032"/>
              <a:gd name="connsiteY174" fmla="*/ 4977709 h 5346128"/>
              <a:gd name="connsiteX175" fmla="*/ 2218437 w 5419032"/>
              <a:gd name="connsiteY175" fmla="*/ 4931819 h 5346128"/>
              <a:gd name="connsiteX176" fmla="*/ 2449378 w 5419032"/>
              <a:gd name="connsiteY176" fmla="*/ 4931295 h 5346128"/>
              <a:gd name="connsiteX177" fmla="*/ 2442823 w 5419032"/>
              <a:gd name="connsiteY177" fmla="*/ 4939686 h 5346128"/>
              <a:gd name="connsiteX178" fmla="*/ 2460304 w 5419032"/>
              <a:gd name="connsiteY178" fmla="*/ 4948077 h 5346128"/>
              <a:gd name="connsiteX179" fmla="*/ 2466860 w 5419032"/>
              <a:gd name="connsiteY179" fmla="*/ 4941784 h 5346128"/>
              <a:gd name="connsiteX180" fmla="*/ 2449378 w 5419032"/>
              <a:gd name="connsiteY180" fmla="*/ 4931295 h 5346128"/>
              <a:gd name="connsiteX181" fmla="*/ 2347258 w 5419032"/>
              <a:gd name="connsiteY181" fmla="*/ 4929461 h 5346128"/>
              <a:gd name="connsiteX182" fmla="*/ 2326135 w 5419032"/>
              <a:gd name="connsiteY182" fmla="*/ 4939950 h 5346128"/>
              <a:gd name="connsiteX183" fmla="*/ 2343035 w 5419032"/>
              <a:gd name="connsiteY183" fmla="*/ 4956731 h 5346128"/>
              <a:gd name="connsiteX184" fmla="*/ 2362046 w 5419032"/>
              <a:gd name="connsiteY184" fmla="*/ 4939950 h 5346128"/>
              <a:gd name="connsiteX185" fmla="*/ 2347258 w 5419032"/>
              <a:gd name="connsiteY185" fmla="*/ 4929461 h 5346128"/>
              <a:gd name="connsiteX186" fmla="*/ 2403091 w 5419032"/>
              <a:gd name="connsiteY186" fmla="*/ 4920807 h 5346128"/>
              <a:gd name="connsiteX187" fmla="*/ 2384108 w 5419032"/>
              <a:gd name="connsiteY187" fmla="*/ 4948077 h 5346128"/>
              <a:gd name="connsiteX188" fmla="*/ 2405200 w 5419032"/>
              <a:gd name="connsiteY188" fmla="*/ 4964860 h 5346128"/>
              <a:gd name="connsiteX189" fmla="*/ 2419964 w 5419032"/>
              <a:gd name="connsiteY189" fmla="*/ 4954370 h 5346128"/>
              <a:gd name="connsiteX190" fmla="*/ 2403091 w 5419032"/>
              <a:gd name="connsiteY190" fmla="*/ 4920807 h 5346128"/>
              <a:gd name="connsiteX191" fmla="*/ 1792599 w 5419032"/>
              <a:gd name="connsiteY191" fmla="*/ 4877114 h 5346128"/>
              <a:gd name="connsiteX192" fmla="*/ 1769691 w 5419032"/>
              <a:gd name="connsiteY192" fmla="*/ 4885669 h 5346128"/>
              <a:gd name="connsiteX193" fmla="*/ 1765460 w 5419032"/>
              <a:gd name="connsiteY193" fmla="*/ 4898256 h 5346128"/>
              <a:gd name="connsiteX194" fmla="*/ 1795078 w 5419032"/>
              <a:gd name="connsiteY194" fmla="*/ 4904549 h 5346128"/>
              <a:gd name="connsiteX195" fmla="*/ 1754881 w 5419032"/>
              <a:gd name="connsiteY195" fmla="*/ 4927624 h 5346128"/>
              <a:gd name="connsiteX196" fmla="*/ 1752766 w 5419032"/>
              <a:gd name="connsiteY196" fmla="*/ 4956993 h 5346128"/>
              <a:gd name="connsiteX197" fmla="*/ 1826813 w 5419032"/>
              <a:gd name="connsiteY197" fmla="*/ 4942309 h 5346128"/>
              <a:gd name="connsiteX198" fmla="*/ 1801425 w 5419032"/>
              <a:gd name="connsiteY198" fmla="*/ 4881474 h 5346128"/>
              <a:gd name="connsiteX199" fmla="*/ 1792599 w 5419032"/>
              <a:gd name="connsiteY199" fmla="*/ 4877114 h 5346128"/>
              <a:gd name="connsiteX200" fmla="*/ 3297068 w 5419032"/>
              <a:gd name="connsiteY200" fmla="*/ 4861849 h 5346128"/>
              <a:gd name="connsiteX201" fmla="*/ 3330442 w 5419032"/>
              <a:gd name="connsiteY201" fmla="*/ 4876824 h 5346128"/>
              <a:gd name="connsiteX202" fmla="*/ 3313754 w 5419032"/>
              <a:gd name="connsiteY202" fmla="*/ 4898215 h 5346128"/>
              <a:gd name="connsiteX203" fmla="*/ 3284552 w 5419032"/>
              <a:gd name="connsiteY203" fmla="*/ 4876824 h 5346128"/>
              <a:gd name="connsiteX204" fmla="*/ 3297068 w 5419032"/>
              <a:gd name="connsiteY204" fmla="*/ 4861849 h 5346128"/>
              <a:gd name="connsiteX205" fmla="*/ 2305075 w 5419032"/>
              <a:gd name="connsiteY205" fmla="*/ 4859943 h 5346128"/>
              <a:gd name="connsiteX206" fmla="*/ 2264513 w 5419032"/>
              <a:gd name="connsiteY206" fmla="*/ 4883123 h 5346128"/>
              <a:gd name="connsiteX207" fmla="*/ 2322202 w 5419032"/>
              <a:gd name="connsiteY207" fmla="*/ 4870760 h 5346128"/>
              <a:gd name="connsiteX208" fmla="*/ 2305075 w 5419032"/>
              <a:gd name="connsiteY208" fmla="*/ 4859943 h 5346128"/>
              <a:gd name="connsiteX209" fmla="*/ 1830743 w 5419032"/>
              <a:gd name="connsiteY209" fmla="*/ 4851842 h 5346128"/>
              <a:gd name="connsiteX210" fmla="*/ 1859997 w 5419032"/>
              <a:gd name="connsiteY210" fmla="*/ 4922587 h 5346128"/>
              <a:gd name="connsiteX211" fmla="*/ 1859997 w 5419032"/>
              <a:gd name="connsiteY211" fmla="*/ 4928828 h 5346128"/>
              <a:gd name="connsiteX212" fmla="*/ 1864176 w 5419032"/>
              <a:gd name="connsiteY212" fmla="*/ 4947554 h 5346128"/>
              <a:gd name="connsiteX213" fmla="*/ 1882982 w 5419032"/>
              <a:gd name="connsiteY213" fmla="*/ 4924667 h 5346128"/>
              <a:gd name="connsiteX214" fmla="*/ 1830743 w 5419032"/>
              <a:gd name="connsiteY214" fmla="*/ 4851842 h 5346128"/>
              <a:gd name="connsiteX215" fmla="*/ 1406788 w 5419032"/>
              <a:gd name="connsiteY215" fmla="*/ 4833487 h 5346128"/>
              <a:gd name="connsiteX216" fmla="*/ 1421474 w 5419032"/>
              <a:gd name="connsiteY216" fmla="*/ 4850095 h 5346128"/>
              <a:gd name="connsiteX217" fmla="*/ 1410984 w 5419032"/>
              <a:gd name="connsiteY217" fmla="*/ 4856323 h 5346128"/>
              <a:gd name="connsiteX218" fmla="*/ 1404691 w 5419032"/>
              <a:gd name="connsiteY218" fmla="*/ 4841791 h 5346128"/>
              <a:gd name="connsiteX219" fmla="*/ 1406788 w 5419032"/>
              <a:gd name="connsiteY219" fmla="*/ 4833487 h 5346128"/>
              <a:gd name="connsiteX220" fmla="*/ 1897928 w 5419032"/>
              <a:gd name="connsiteY220" fmla="*/ 4780036 h 5346128"/>
              <a:gd name="connsiteX221" fmla="*/ 1891635 w 5419032"/>
              <a:gd name="connsiteY221" fmla="*/ 4788507 h 5346128"/>
              <a:gd name="connsiteX222" fmla="*/ 1900026 w 5419032"/>
              <a:gd name="connsiteY222" fmla="*/ 4803333 h 5346128"/>
              <a:gd name="connsiteX223" fmla="*/ 1908418 w 5419032"/>
              <a:gd name="connsiteY223" fmla="*/ 4792743 h 5346128"/>
              <a:gd name="connsiteX224" fmla="*/ 1897928 w 5419032"/>
              <a:gd name="connsiteY224" fmla="*/ 4780036 h 5346128"/>
              <a:gd name="connsiteX225" fmla="*/ 1830027 w 5419032"/>
              <a:gd name="connsiteY225" fmla="*/ 4778421 h 5346128"/>
              <a:gd name="connsiteX226" fmla="*/ 1849039 w 5419032"/>
              <a:gd name="connsiteY226" fmla="*/ 4820876 h 5346128"/>
              <a:gd name="connsiteX227" fmla="*/ 1861713 w 5419032"/>
              <a:gd name="connsiteY227" fmla="*/ 4810263 h 5346128"/>
              <a:gd name="connsiteX228" fmla="*/ 1830027 w 5419032"/>
              <a:gd name="connsiteY228" fmla="*/ 4778421 h 5346128"/>
              <a:gd name="connsiteX229" fmla="*/ 2140760 w 5419032"/>
              <a:gd name="connsiteY229" fmla="*/ 4752275 h 5346128"/>
              <a:gd name="connsiteX230" fmla="*/ 2111115 w 5419032"/>
              <a:gd name="connsiteY230" fmla="*/ 4752805 h 5346128"/>
              <a:gd name="connsiteX231" fmla="*/ 2168803 w 5419032"/>
              <a:gd name="connsiteY231" fmla="*/ 4761276 h 5346128"/>
              <a:gd name="connsiteX232" fmla="*/ 2140760 w 5419032"/>
              <a:gd name="connsiteY232" fmla="*/ 4752275 h 5346128"/>
              <a:gd name="connsiteX233" fmla="*/ 1446057 w 5419032"/>
              <a:gd name="connsiteY233" fmla="*/ 4751618 h 5346128"/>
              <a:gd name="connsiteX234" fmla="*/ 1465231 w 5419032"/>
              <a:gd name="connsiteY234" fmla="*/ 4765893 h 5346128"/>
              <a:gd name="connsiteX235" fmla="*/ 1454578 w 5419032"/>
              <a:gd name="connsiteY235" fmla="*/ 4784249 h 5346128"/>
              <a:gd name="connsiteX236" fmla="*/ 1439665 w 5419032"/>
              <a:gd name="connsiteY236" fmla="*/ 4772011 h 5346128"/>
              <a:gd name="connsiteX237" fmla="*/ 1446057 w 5419032"/>
              <a:gd name="connsiteY237" fmla="*/ 4751618 h 5346128"/>
              <a:gd name="connsiteX238" fmla="*/ 2191279 w 5419032"/>
              <a:gd name="connsiteY238" fmla="*/ 4750888 h 5346128"/>
              <a:gd name="connsiteX239" fmla="*/ 2205701 w 5419032"/>
              <a:gd name="connsiteY239" fmla="*/ 4776303 h 5346128"/>
              <a:gd name="connsiteX240" fmla="*/ 2213943 w 5419032"/>
              <a:gd name="connsiteY240" fmla="*/ 4769949 h 5346128"/>
              <a:gd name="connsiteX241" fmla="*/ 2191279 w 5419032"/>
              <a:gd name="connsiteY241" fmla="*/ 4750888 h 5346128"/>
              <a:gd name="connsiteX242" fmla="*/ 2041134 w 5419032"/>
              <a:gd name="connsiteY242" fmla="*/ 4722765 h 5346128"/>
              <a:gd name="connsiteX243" fmla="*/ 2027204 w 5419032"/>
              <a:gd name="connsiteY243" fmla="*/ 4725977 h 5346128"/>
              <a:gd name="connsiteX244" fmla="*/ 2069159 w 5419032"/>
              <a:gd name="connsiteY244" fmla="*/ 4746954 h 5346128"/>
              <a:gd name="connsiteX245" fmla="*/ 2041134 w 5419032"/>
              <a:gd name="connsiteY245" fmla="*/ 4722765 h 5346128"/>
              <a:gd name="connsiteX246" fmla="*/ 2572622 w 5419032"/>
              <a:gd name="connsiteY246" fmla="*/ 4678464 h 5346128"/>
              <a:gd name="connsiteX247" fmla="*/ 2563445 w 5419032"/>
              <a:gd name="connsiteY247" fmla="*/ 4679760 h 5346128"/>
              <a:gd name="connsiteX248" fmla="*/ 2600156 w 5419032"/>
              <a:gd name="connsiteY248" fmla="*/ 4690141 h 5346128"/>
              <a:gd name="connsiteX249" fmla="*/ 2572622 w 5419032"/>
              <a:gd name="connsiteY249" fmla="*/ 4678464 h 5346128"/>
              <a:gd name="connsiteX250" fmla="*/ 1494412 w 5419032"/>
              <a:gd name="connsiteY250" fmla="*/ 4677466 h 5346128"/>
              <a:gd name="connsiteX251" fmla="*/ 1492273 w 5419032"/>
              <a:gd name="connsiteY251" fmla="*/ 4700764 h 5346128"/>
              <a:gd name="connsiteX252" fmla="*/ 1513665 w 5419032"/>
              <a:gd name="connsiteY252" fmla="*/ 4730415 h 5346128"/>
              <a:gd name="connsiteX253" fmla="*/ 1528639 w 5419032"/>
              <a:gd name="connsiteY253" fmla="*/ 4726179 h 5346128"/>
              <a:gd name="connsiteX254" fmla="*/ 1511525 w 5419032"/>
              <a:gd name="connsiteY254" fmla="*/ 4698645 h 5346128"/>
              <a:gd name="connsiteX255" fmla="*/ 1494412 w 5419032"/>
              <a:gd name="connsiteY255" fmla="*/ 4677466 h 5346128"/>
              <a:gd name="connsiteX256" fmla="*/ 2055698 w 5419032"/>
              <a:gd name="connsiteY256" fmla="*/ 4676154 h 5346128"/>
              <a:gd name="connsiteX257" fmla="*/ 2021960 w 5419032"/>
              <a:gd name="connsiteY257" fmla="*/ 4677990 h 5346128"/>
              <a:gd name="connsiteX258" fmla="*/ 2056985 w 5419032"/>
              <a:gd name="connsiteY258" fmla="*/ 4698968 h 5346128"/>
              <a:gd name="connsiteX259" fmla="*/ 2075527 w 5419032"/>
              <a:gd name="connsiteY259" fmla="*/ 4688479 h 5346128"/>
              <a:gd name="connsiteX260" fmla="*/ 2055698 w 5419032"/>
              <a:gd name="connsiteY260" fmla="*/ 4676154 h 5346128"/>
              <a:gd name="connsiteX261" fmla="*/ 1385778 w 5419032"/>
              <a:gd name="connsiteY261" fmla="*/ 4675421 h 5346128"/>
              <a:gd name="connsiteX262" fmla="*/ 1401807 w 5419032"/>
              <a:gd name="connsiteY262" fmla="*/ 4684567 h 5346128"/>
              <a:gd name="connsiteX263" fmla="*/ 1403905 w 5419032"/>
              <a:gd name="connsiteY263" fmla="*/ 4707402 h 5346128"/>
              <a:gd name="connsiteX264" fmla="*/ 1340971 w 5419032"/>
              <a:gd name="connsiteY264" fmla="*/ 4707402 h 5346128"/>
              <a:gd name="connsiteX265" fmla="*/ 1340971 w 5419032"/>
              <a:gd name="connsiteY265" fmla="*/ 4686969 h 5346128"/>
              <a:gd name="connsiteX266" fmla="*/ 1340971 w 5419032"/>
              <a:gd name="connsiteY266" fmla="*/ 4681179 h 5346128"/>
              <a:gd name="connsiteX267" fmla="*/ 1343660 w 5419032"/>
              <a:gd name="connsiteY267" fmla="*/ 4679030 h 5346128"/>
              <a:gd name="connsiteX268" fmla="*/ 1353721 w 5419032"/>
              <a:gd name="connsiteY268" fmla="*/ 4680481 h 5346128"/>
              <a:gd name="connsiteX269" fmla="*/ 1385778 w 5419032"/>
              <a:gd name="connsiteY269" fmla="*/ 4675421 h 5346128"/>
              <a:gd name="connsiteX270" fmla="*/ 1714211 w 5419032"/>
              <a:gd name="connsiteY270" fmla="*/ 4640223 h 5346128"/>
              <a:gd name="connsiteX271" fmla="*/ 1687661 w 5419032"/>
              <a:gd name="connsiteY271" fmla="*/ 4660769 h 5346128"/>
              <a:gd name="connsiteX272" fmla="*/ 1674917 w 5419032"/>
              <a:gd name="connsiteY272" fmla="*/ 4668790 h 5346128"/>
              <a:gd name="connsiteX273" fmla="*/ 1675303 w 5419032"/>
              <a:gd name="connsiteY273" fmla="*/ 4667780 h 5346128"/>
              <a:gd name="connsiteX274" fmla="*/ 1673205 w 5419032"/>
              <a:gd name="connsiteY274" fmla="*/ 4669866 h 5346128"/>
              <a:gd name="connsiteX275" fmla="*/ 1674917 w 5419032"/>
              <a:gd name="connsiteY275" fmla="*/ 4668790 h 5346128"/>
              <a:gd name="connsiteX276" fmla="*/ 1668420 w 5419032"/>
              <a:gd name="connsiteY276" fmla="*/ 4685780 h 5346128"/>
              <a:gd name="connsiteX277" fmla="*/ 1687890 w 5419032"/>
              <a:gd name="connsiteY277" fmla="*/ 4730392 h 5346128"/>
              <a:gd name="connsiteX278" fmla="*/ 1708868 w 5419032"/>
              <a:gd name="connsiteY278" fmla="*/ 4761698 h 5346128"/>
              <a:gd name="connsiteX279" fmla="*/ 1773898 w 5419032"/>
              <a:gd name="connsiteY279" fmla="*/ 4822222 h 5346128"/>
              <a:gd name="connsiteX280" fmla="*/ 1794877 w 5419032"/>
              <a:gd name="connsiteY280" fmla="*/ 4795091 h 5346128"/>
              <a:gd name="connsiteX281" fmla="*/ 1775996 w 5419032"/>
              <a:gd name="connsiteY281" fmla="*/ 4788830 h 5346128"/>
              <a:gd name="connsiteX282" fmla="*/ 1738236 w 5419032"/>
              <a:gd name="connsiteY282" fmla="*/ 4749175 h 5346128"/>
              <a:gd name="connsiteX283" fmla="*/ 1736139 w 5419032"/>
              <a:gd name="connsiteY283" fmla="*/ 4738740 h 5346128"/>
              <a:gd name="connsiteX284" fmla="*/ 1729845 w 5419032"/>
              <a:gd name="connsiteY284" fmla="*/ 4651083 h 5346128"/>
              <a:gd name="connsiteX285" fmla="*/ 1714211 w 5419032"/>
              <a:gd name="connsiteY285" fmla="*/ 4640223 h 5346128"/>
              <a:gd name="connsiteX286" fmla="*/ 1571009 w 5419032"/>
              <a:gd name="connsiteY286" fmla="*/ 4630751 h 5346128"/>
              <a:gd name="connsiteX287" fmla="*/ 1538161 w 5419032"/>
              <a:gd name="connsiteY287" fmla="*/ 4661580 h 5346128"/>
              <a:gd name="connsiteX288" fmla="*/ 1603333 w 5419032"/>
              <a:gd name="connsiteY288" fmla="*/ 4701293 h 5346128"/>
              <a:gd name="connsiteX289" fmla="*/ 1657992 w 5419032"/>
              <a:gd name="connsiteY289" fmla="*/ 4749368 h 5346128"/>
              <a:gd name="connsiteX290" fmla="*/ 1605434 w 5419032"/>
              <a:gd name="connsiteY290" fmla="*/ 4653220 h 5346128"/>
              <a:gd name="connsiteX291" fmla="*/ 1571009 w 5419032"/>
              <a:gd name="connsiteY291" fmla="*/ 4630751 h 5346128"/>
              <a:gd name="connsiteX292" fmla="*/ 1446711 w 5419032"/>
              <a:gd name="connsiteY292" fmla="*/ 4606871 h 5346128"/>
              <a:gd name="connsiteX293" fmla="*/ 1423742 w 5419032"/>
              <a:gd name="connsiteY293" fmla="*/ 4617235 h 5346128"/>
              <a:gd name="connsiteX294" fmla="*/ 1434080 w 5419032"/>
              <a:gd name="connsiteY294" fmla="*/ 4634081 h 5346128"/>
              <a:gd name="connsiteX295" fmla="*/ 1452687 w 5419032"/>
              <a:gd name="connsiteY295" fmla="*/ 4665666 h 5346128"/>
              <a:gd name="connsiteX296" fmla="*/ 1450621 w 5419032"/>
              <a:gd name="connsiteY296" fmla="*/ 4627764 h 5346128"/>
              <a:gd name="connsiteX297" fmla="*/ 1456823 w 5419032"/>
              <a:gd name="connsiteY297" fmla="*/ 4608811 h 5346128"/>
              <a:gd name="connsiteX298" fmla="*/ 1446711 w 5419032"/>
              <a:gd name="connsiteY298" fmla="*/ 4606871 h 5346128"/>
              <a:gd name="connsiteX299" fmla="*/ 1639335 w 5419032"/>
              <a:gd name="connsiteY299" fmla="*/ 4557390 h 5346128"/>
              <a:gd name="connsiteX300" fmla="*/ 1588640 w 5419032"/>
              <a:gd name="connsiteY300" fmla="*/ 4577099 h 5346128"/>
              <a:gd name="connsiteX301" fmla="*/ 1575965 w 5419032"/>
              <a:gd name="connsiteY301" fmla="*/ 4579201 h 5346128"/>
              <a:gd name="connsiteX302" fmla="*/ 1571739 w 5419032"/>
              <a:gd name="connsiteY302" fmla="*/ 4585509 h 5346128"/>
              <a:gd name="connsiteX303" fmla="*/ 1643329 w 5419032"/>
              <a:gd name="connsiteY303" fmla="*/ 4657347 h 5346128"/>
              <a:gd name="connsiteX304" fmla="*/ 1673545 w 5419032"/>
              <a:gd name="connsiteY304" fmla="*/ 4666957 h 5346128"/>
              <a:gd name="connsiteX305" fmla="*/ 1673133 w 5419032"/>
              <a:gd name="connsiteY305" fmla="*/ 4669600 h 5346128"/>
              <a:gd name="connsiteX306" fmla="*/ 1675245 w 5419032"/>
              <a:gd name="connsiteY306" fmla="*/ 4667498 h 5346128"/>
              <a:gd name="connsiteX307" fmla="*/ 1673545 w 5419032"/>
              <a:gd name="connsiteY307" fmla="*/ 4666957 h 5346128"/>
              <a:gd name="connsiteX308" fmla="*/ 1675509 w 5419032"/>
              <a:gd name="connsiteY308" fmla="*/ 4654358 h 5346128"/>
              <a:gd name="connsiteX309" fmla="*/ 1666796 w 5419032"/>
              <a:gd name="connsiteY309" fmla="*/ 4642270 h 5346128"/>
              <a:gd name="connsiteX310" fmla="*/ 1654121 w 5419032"/>
              <a:gd name="connsiteY310" fmla="*/ 4617042 h 5346128"/>
              <a:gd name="connsiteX311" fmla="*/ 1683695 w 5419032"/>
              <a:gd name="connsiteY311" fmla="*/ 4612838 h 5346128"/>
              <a:gd name="connsiteX312" fmla="*/ 1671020 w 5419032"/>
              <a:gd name="connsiteY312" fmla="*/ 4596020 h 5346128"/>
              <a:gd name="connsiteX313" fmla="*/ 1639335 w 5419032"/>
              <a:gd name="connsiteY313" fmla="*/ 4557390 h 5346128"/>
              <a:gd name="connsiteX314" fmla="*/ 1308194 w 5419032"/>
              <a:gd name="connsiteY314" fmla="*/ 4515837 h 5346128"/>
              <a:gd name="connsiteX315" fmla="*/ 1295607 w 5419032"/>
              <a:gd name="connsiteY315" fmla="*/ 4516106 h 5346128"/>
              <a:gd name="connsiteX316" fmla="*/ 1327074 w 5419032"/>
              <a:gd name="connsiteY316" fmla="*/ 4537646 h 5346128"/>
              <a:gd name="connsiteX317" fmla="*/ 1308194 w 5419032"/>
              <a:gd name="connsiteY317" fmla="*/ 4515837 h 5346128"/>
              <a:gd name="connsiteX318" fmla="*/ 1456678 w 5419032"/>
              <a:gd name="connsiteY318" fmla="*/ 4514888 h 5346128"/>
              <a:gd name="connsiteX319" fmla="*/ 1421182 w 5419032"/>
              <a:gd name="connsiteY319" fmla="*/ 4554221 h 5346128"/>
              <a:gd name="connsiteX320" fmla="*/ 1425357 w 5419032"/>
              <a:gd name="connsiteY320" fmla="*/ 4574924 h 5346128"/>
              <a:gd name="connsiteX321" fmla="*/ 1456678 w 5419032"/>
              <a:gd name="connsiteY321" fmla="*/ 4583204 h 5346128"/>
              <a:gd name="connsiteX322" fmla="*/ 1456678 w 5419032"/>
              <a:gd name="connsiteY322" fmla="*/ 4558362 h 5346128"/>
              <a:gd name="connsiteX323" fmla="*/ 1456678 w 5419032"/>
              <a:gd name="connsiteY323" fmla="*/ 4514888 h 5346128"/>
              <a:gd name="connsiteX324" fmla="*/ 1488802 w 5419032"/>
              <a:gd name="connsiteY324" fmla="*/ 4504400 h 5346128"/>
              <a:gd name="connsiteX325" fmla="*/ 1511708 w 5419032"/>
              <a:gd name="connsiteY325" fmla="*/ 4588311 h 5346128"/>
              <a:gd name="connsiteX326" fmla="*/ 1501296 w 5419032"/>
              <a:gd name="connsiteY326" fmla="*/ 4600897 h 5346128"/>
              <a:gd name="connsiteX327" fmla="*/ 1480473 w 5419032"/>
              <a:gd name="connsiteY327" fmla="*/ 4607190 h 5346128"/>
              <a:gd name="connsiteX328" fmla="*/ 1488802 w 5419032"/>
              <a:gd name="connsiteY328" fmla="*/ 4649146 h 5346128"/>
              <a:gd name="connsiteX329" fmla="*/ 1509625 w 5419032"/>
              <a:gd name="connsiteY329" fmla="*/ 4651244 h 5346128"/>
              <a:gd name="connsiteX330" fmla="*/ 1545026 w 5419032"/>
              <a:gd name="connsiteY330" fmla="*/ 4596702 h 5346128"/>
              <a:gd name="connsiteX331" fmla="*/ 1488802 w 5419032"/>
              <a:gd name="connsiteY331" fmla="*/ 4504400 h 5346128"/>
              <a:gd name="connsiteX332" fmla="*/ 1362087 w 5419032"/>
              <a:gd name="connsiteY332" fmla="*/ 4498804 h 5346128"/>
              <a:gd name="connsiteX333" fmla="*/ 1338873 w 5419032"/>
              <a:gd name="connsiteY333" fmla="*/ 4500092 h 5346128"/>
              <a:gd name="connsiteX334" fmla="*/ 1369107 w 5419032"/>
              <a:gd name="connsiteY334" fmla="*/ 4522756 h 5346128"/>
              <a:gd name="connsiteX335" fmla="*/ 1375585 w 5419032"/>
              <a:gd name="connsiteY335" fmla="*/ 4514515 h 5346128"/>
              <a:gd name="connsiteX336" fmla="*/ 1362087 w 5419032"/>
              <a:gd name="connsiteY336" fmla="*/ 4498804 h 5346128"/>
              <a:gd name="connsiteX337" fmla="*/ 1836438 w 5419032"/>
              <a:gd name="connsiteY337" fmla="*/ 4487356 h 5346128"/>
              <a:gd name="connsiteX338" fmla="*/ 1827916 w 5419032"/>
              <a:gd name="connsiteY338" fmla="*/ 4500064 h 5346128"/>
              <a:gd name="connsiteX339" fmla="*/ 1838569 w 5419032"/>
              <a:gd name="connsiteY339" fmla="*/ 4514889 h 5346128"/>
              <a:gd name="connsiteX340" fmla="*/ 1844961 w 5419032"/>
              <a:gd name="connsiteY340" fmla="*/ 4500064 h 5346128"/>
              <a:gd name="connsiteX341" fmla="*/ 1836438 w 5419032"/>
              <a:gd name="connsiteY341" fmla="*/ 4487356 h 5346128"/>
              <a:gd name="connsiteX342" fmla="*/ 4084744 w 5419032"/>
              <a:gd name="connsiteY342" fmla="*/ 4482476 h 5346128"/>
              <a:gd name="connsiteX343" fmla="*/ 4084766 w 5419032"/>
              <a:gd name="connsiteY343" fmla="*/ 4482753 h 5346128"/>
              <a:gd name="connsiteX344" fmla="*/ 4084327 w 5419032"/>
              <a:gd name="connsiteY344" fmla="*/ 4482898 h 5346128"/>
              <a:gd name="connsiteX345" fmla="*/ 4085871 w 5419032"/>
              <a:gd name="connsiteY345" fmla="*/ 4482387 h 5346128"/>
              <a:gd name="connsiteX346" fmla="*/ 4084817 w 5419032"/>
              <a:gd name="connsiteY346" fmla="*/ 4483422 h 5346128"/>
              <a:gd name="connsiteX347" fmla="*/ 4084766 w 5419032"/>
              <a:gd name="connsiteY347" fmla="*/ 4482753 h 5346128"/>
              <a:gd name="connsiteX348" fmla="*/ 4086408 w 5419032"/>
              <a:gd name="connsiteY348" fmla="*/ 4480800 h 5346128"/>
              <a:gd name="connsiteX349" fmla="*/ 4087681 w 5419032"/>
              <a:gd name="connsiteY349" fmla="*/ 4481786 h 5346128"/>
              <a:gd name="connsiteX350" fmla="*/ 4085871 w 5419032"/>
              <a:gd name="connsiteY350" fmla="*/ 4482387 h 5346128"/>
              <a:gd name="connsiteX351" fmla="*/ 4086949 w 5419032"/>
              <a:gd name="connsiteY351" fmla="*/ 4481325 h 5346128"/>
              <a:gd name="connsiteX352" fmla="*/ 4086236 w 5419032"/>
              <a:gd name="connsiteY352" fmla="*/ 4480974 h 5346128"/>
              <a:gd name="connsiteX353" fmla="*/ 4084563 w 5419032"/>
              <a:gd name="connsiteY353" fmla="*/ 4480151 h 5346128"/>
              <a:gd name="connsiteX354" fmla="*/ 4086236 w 5419032"/>
              <a:gd name="connsiteY354" fmla="*/ 4480974 h 5346128"/>
              <a:gd name="connsiteX355" fmla="*/ 4084744 w 5419032"/>
              <a:gd name="connsiteY355" fmla="*/ 4482476 h 5346128"/>
              <a:gd name="connsiteX356" fmla="*/ 4107492 w 5419032"/>
              <a:gd name="connsiteY356" fmla="*/ 4478178 h 5346128"/>
              <a:gd name="connsiteX357" fmla="*/ 4113479 w 5419032"/>
              <a:gd name="connsiteY357" fmla="*/ 4501778 h 5346128"/>
              <a:gd name="connsiteX358" fmla="*/ 4087681 w 5419032"/>
              <a:gd name="connsiteY358" fmla="*/ 4481786 h 5346128"/>
              <a:gd name="connsiteX359" fmla="*/ 4096788 w 5419032"/>
              <a:gd name="connsiteY359" fmla="*/ 4478769 h 5346128"/>
              <a:gd name="connsiteX360" fmla="*/ 4107492 w 5419032"/>
              <a:gd name="connsiteY360" fmla="*/ 4478178 h 5346128"/>
              <a:gd name="connsiteX361" fmla="*/ 1492273 w 5419032"/>
              <a:gd name="connsiteY361" fmla="*/ 4471926 h 5346128"/>
              <a:gd name="connsiteX362" fmla="*/ 1513453 w 5419032"/>
              <a:gd name="connsiteY362" fmla="*/ 4495223 h 5346128"/>
              <a:gd name="connsiteX363" fmla="*/ 1519807 w 5419032"/>
              <a:gd name="connsiteY363" fmla="*/ 4486751 h 5346128"/>
              <a:gd name="connsiteX364" fmla="*/ 1492273 w 5419032"/>
              <a:gd name="connsiteY364" fmla="*/ 4471926 h 5346128"/>
              <a:gd name="connsiteX365" fmla="*/ 1312056 w 5419032"/>
              <a:gd name="connsiteY365" fmla="*/ 4462445 h 5346128"/>
              <a:gd name="connsiteX366" fmla="*/ 1303474 w 5419032"/>
              <a:gd name="connsiteY366" fmla="*/ 4468345 h 5346128"/>
              <a:gd name="connsiteX367" fmla="*/ 1320638 w 5419032"/>
              <a:gd name="connsiteY367" fmla="*/ 4478178 h 5346128"/>
              <a:gd name="connsiteX368" fmla="*/ 1327074 w 5419032"/>
              <a:gd name="connsiteY368" fmla="*/ 4474245 h 5346128"/>
              <a:gd name="connsiteX369" fmla="*/ 1312056 w 5419032"/>
              <a:gd name="connsiteY369" fmla="*/ 4462445 h 5346128"/>
              <a:gd name="connsiteX370" fmla="*/ 1036828 w 5419032"/>
              <a:gd name="connsiteY370" fmla="*/ 4459823 h 5346128"/>
              <a:gd name="connsiteX371" fmla="*/ 1097460 w 5419032"/>
              <a:gd name="connsiteY371" fmla="*/ 4502893 h 5346128"/>
              <a:gd name="connsiteX372" fmla="*/ 1101348 w 5419032"/>
              <a:gd name="connsiteY372" fmla="*/ 4505358 h 5346128"/>
              <a:gd name="connsiteX373" fmla="*/ 1108759 w 5419032"/>
              <a:gd name="connsiteY373" fmla="*/ 4512913 h 5346128"/>
              <a:gd name="connsiteX374" fmla="*/ 1118051 w 5419032"/>
              <a:gd name="connsiteY374" fmla="*/ 4531182 h 5346128"/>
              <a:gd name="connsiteX375" fmla="*/ 1116751 w 5419032"/>
              <a:gd name="connsiteY375" fmla="*/ 4533244 h 5346128"/>
              <a:gd name="connsiteX376" fmla="*/ 1093615 w 5419032"/>
              <a:gd name="connsiteY376" fmla="*/ 4535342 h 5346128"/>
              <a:gd name="connsiteX377" fmla="*/ 1024208 w 5419032"/>
              <a:gd name="connsiteY377" fmla="*/ 4474507 h 5346128"/>
              <a:gd name="connsiteX378" fmla="*/ 1036828 w 5419032"/>
              <a:gd name="connsiteY378" fmla="*/ 4459823 h 5346128"/>
              <a:gd name="connsiteX379" fmla="*/ 3354042 w 5419032"/>
              <a:gd name="connsiteY379" fmla="*/ 4453580 h 5346128"/>
              <a:gd name="connsiteX380" fmla="*/ 3400175 w 5419032"/>
              <a:gd name="connsiteY380" fmla="*/ 4486714 h 5346128"/>
              <a:gd name="connsiteX381" fmla="*/ 3418715 w 5419032"/>
              <a:gd name="connsiteY381" fmla="*/ 4487455 h 5346128"/>
              <a:gd name="connsiteX382" fmla="*/ 3418818 w 5419032"/>
              <a:gd name="connsiteY382" fmla="*/ 4487544 h 5346128"/>
              <a:gd name="connsiteX383" fmla="*/ 3420909 w 5419032"/>
              <a:gd name="connsiteY383" fmla="*/ 4487544 h 5346128"/>
              <a:gd name="connsiteX384" fmla="*/ 3418715 w 5419032"/>
              <a:gd name="connsiteY384" fmla="*/ 4487455 h 5346128"/>
              <a:gd name="connsiteX385" fmla="*/ 3390348 w 5419032"/>
              <a:gd name="connsiteY385" fmla="*/ 4463397 h 5346128"/>
              <a:gd name="connsiteX386" fmla="*/ 3354042 w 5419032"/>
              <a:gd name="connsiteY386" fmla="*/ 4453580 h 5346128"/>
              <a:gd name="connsiteX387" fmla="*/ 4065643 w 5419032"/>
              <a:gd name="connsiteY387" fmla="*/ 4451956 h 5346128"/>
              <a:gd name="connsiteX388" fmla="*/ 4083220 w 5419032"/>
              <a:gd name="connsiteY388" fmla="*/ 4462969 h 5346128"/>
              <a:gd name="connsiteX389" fmla="*/ 4084563 w 5419032"/>
              <a:gd name="connsiteY389" fmla="*/ 4480151 h 5346128"/>
              <a:gd name="connsiteX390" fmla="*/ 4082687 w 5419032"/>
              <a:gd name="connsiteY390" fmla="*/ 4479227 h 5346128"/>
              <a:gd name="connsiteX391" fmla="*/ 4052860 w 5419032"/>
              <a:gd name="connsiteY391" fmla="*/ 4460347 h 5346128"/>
              <a:gd name="connsiteX392" fmla="*/ 4065643 w 5419032"/>
              <a:gd name="connsiteY392" fmla="*/ 4451956 h 5346128"/>
              <a:gd name="connsiteX393" fmla="*/ 1434220 w 5419032"/>
              <a:gd name="connsiteY393" fmla="*/ 4451956 h 5346128"/>
              <a:gd name="connsiteX394" fmla="*/ 1415210 w 5419032"/>
              <a:gd name="connsiteY394" fmla="*/ 4493673 h 5346128"/>
              <a:gd name="connsiteX395" fmla="*/ 1432107 w 5419032"/>
              <a:gd name="connsiteY395" fmla="*/ 4495759 h 5346128"/>
              <a:gd name="connsiteX396" fmla="*/ 1434220 w 5419032"/>
              <a:gd name="connsiteY396" fmla="*/ 4451956 h 5346128"/>
              <a:gd name="connsiteX397" fmla="*/ 3349933 w 5419032"/>
              <a:gd name="connsiteY397" fmla="*/ 4445072 h 5346128"/>
              <a:gd name="connsiteX398" fmla="*/ 3354470 w 5419032"/>
              <a:gd name="connsiteY398" fmla="*/ 4448173 h 5346128"/>
              <a:gd name="connsiteX399" fmla="*/ 3354394 w 5419032"/>
              <a:gd name="connsiteY399" fmla="*/ 4449526 h 5346128"/>
              <a:gd name="connsiteX400" fmla="*/ 1361817 w 5419032"/>
              <a:gd name="connsiteY400" fmla="*/ 4418004 h 5346128"/>
              <a:gd name="connsiteX401" fmla="*/ 1349362 w 5419032"/>
              <a:gd name="connsiteY401" fmla="*/ 4424341 h 5346128"/>
              <a:gd name="connsiteX402" fmla="*/ 1391318 w 5419032"/>
              <a:gd name="connsiteY402" fmla="*/ 4442779 h 5346128"/>
              <a:gd name="connsiteX403" fmla="*/ 1361817 w 5419032"/>
              <a:gd name="connsiteY403" fmla="*/ 4418004 h 5346128"/>
              <a:gd name="connsiteX404" fmla="*/ 3328509 w 5419032"/>
              <a:gd name="connsiteY404" fmla="*/ 4416556 h 5346128"/>
              <a:gd name="connsiteX405" fmla="*/ 3319952 w 5419032"/>
              <a:gd name="connsiteY405" fmla="*/ 4424715 h 5346128"/>
              <a:gd name="connsiteX406" fmla="*/ 3347762 w 5419032"/>
              <a:gd name="connsiteY406" fmla="*/ 4447149 h 5346128"/>
              <a:gd name="connsiteX407" fmla="*/ 3354180 w 5419032"/>
              <a:gd name="connsiteY407" fmla="*/ 4453268 h 5346128"/>
              <a:gd name="connsiteX408" fmla="*/ 3354394 w 5419032"/>
              <a:gd name="connsiteY408" fmla="*/ 4449526 h 5346128"/>
              <a:gd name="connsiteX409" fmla="*/ 3358327 w 5419032"/>
              <a:gd name="connsiteY409" fmla="*/ 4453454 h 5346128"/>
              <a:gd name="connsiteX410" fmla="*/ 3354917 w 5419032"/>
              <a:gd name="connsiteY410" fmla="*/ 4448477 h 5346128"/>
              <a:gd name="connsiteX411" fmla="*/ 3354470 w 5419032"/>
              <a:gd name="connsiteY411" fmla="*/ 4448173 h 5346128"/>
              <a:gd name="connsiteX412" fmla="*/ 3354983 w 5419032"/>
              <a:gd name="connsiteY412" fmla="*/ 4439214 h 5346128"/>
              <a:gd name="connsiteX413" fmla="*/ 3328509 w 5419032"/>
              <a:gd name="connsiteY413" fmla="*/ 4416556 h 5346128"/>
              <a:gd name="connsiteX414" fmla="*/ 1484407 w 5419032"/>
              <a:gd name="connsiteY414" fmla="*/ 4407379 h 5346128"/>
              <a:gd name="connsiteX415" fmla="*/ 1527674 w 5419032"/>
              <a:gd name="connsiteY415" fmla="*/ 4430814 h 5346128"/>
              <a:gd name="connsiteX416" fmla="*/ 1484407 w 5419032"/>
              <a:gd name="connsiteY416" fmla="*/ 4407379 h 5346128"/>
              <a:gd name="connsiteX417" fmla="*/ 1442451 w 5419032"/>
              <a:gd name="connsiteY417" fmla="*/ 4365423 h 5346128"/>
              <a:gd name="connsiteX418" fmla="*/ 1458933 w 5419032"/>
              <a:gd name="connsiteY418" fmla="*/ 4396889 h 5346128"/>
              <a:gd name="connsiteX419" fmla="*/ 1465115 w 5419032"/>
              <a:gd name="connsiteY419" fmla="*/ 4388498 h 5346128"/>
              <a:gd name="connsiteX420" fmla="*/ 1442451 w 5419032"/>
              <a:gd name="connsiteY420" fmla="*/ 4365423 h 5346128"/>
              <a:gd name="connsiteX421" fmla="*/ 3271966 w 5419032"/>
              <a:gd name="connsiteY421" fmla="*/ 4334744 h 5346128"/>
              <a:gd name="connsiteX422" fmla="*/ 3236304 w 5419032"/>
              <a:gd name="connsiteY422" fmla="*/ 4343135 h 5346128"/>
              <a:gd name="connsiteX423" fmla="*/ 3206935 w 5419032"/>
              <a:gd name="connsiteY423" fmla="*/ 4362015 h 5346128"/>
              <a:gd name="connsiteX424" fmla="*/ 3209033 w 5419032"/>
              <a:gd name="connsiteY424" fmla="*/ 4378797 h 5346128"/>
              <a:gd name="connsiteX425" fmla="*/ 3244695 w 5419032"/>
              <a:gd name="connsiteY425" fmla="*/ 4378797 h 5346128"/>
              <a:gd name="connsiteX426" fmla="*/ 3271966 w 5419032"/>
              <a:gd name="connsiteY426" fmla="*/ 4372503 h 5346128"/>
              <a:gd name="connsiteX427" fmla="*/ 3295042 w 5419032"/>
              <a:gd name="connsiteY427" fmla="*/ 4380894 h 5346128"/>
              <a:gd name="connsiteX428" fmla="*/ 3299237 w 5419032"/>
              <a:gd name="connsiteY428" fmla="*/ 4347330 h 5346128"/>
              <a:gd name="connsiteX429" fmla="*/ 3271966 w 5419032"/>
              <a:gd name="connsiteY429" fmla="*/ 4334744 h 5346128"/>
              <a:gd name="connsiteX430" fmla="*/ 1230052 w 5419032"/>
              <a:gd name="connsiteY430" fmla="*/ 4327401 h 5346128"/>
              <a:gd name="connsiteX431" fmla="*/ 1274301 w 5419032"/>
              <a:gd name="connsiteY431" fmla="*/ 4378535 h 5346128"/>
              <a:gd name="connsiteX432" fmla="*/ 1230052 w 5419032"/>
              <a:gd name="connsiteY432" fmla="*/ 4327401 h 5346128"/>
              <a:gd name="connsiteX433" fmla="*/ 1324539 w 5419032"/>
              <a:gd name="connsiteY433" fmla="*/ 4316683 h 5346128"/>
              <a:gd name="connsiteX434" fmla="*/ 1309728 w 5419032"/>
              <a:gd name="connsiteY434" fmla="*/ 4324014 h 5346128"/>
              <a:gd name="connsiteX435" fmla="*/ 1318098 w 5419032"/>
              <a:gd name="connsiteY435" fmla="*/ 4359305 h 5346128"/>
              <a:gd name="connsiteX436" fmla="*/ 1307633 w 5419032"/>
              <a:gd name="connsiteY436" fmla="*/ 4380064 h 5346128"/>
              <a:gd name="connsiteX437" fmla="*/ 1307633 w 5419032"/>
              <a:gd name="connsiteY437" fmla="*/ 4394595 h 5346128"/>
              <a:gd name="connsiteX438" fmla="*/ 1357860 w 5419032"/>
              <a:gd name="connsiteY438" fmla="*/ 4400824 h 5346128"/>
              <a:gd name="connsiteX439" fmla="*/ 1401808 w 5419032"/>
              <a:gd name="connsiteY439" fmla="*/ 4390444 h 5346128"/>
              <a:gd name="connsiteX440" fmla="*/ 1334839 w 5419032"/>
              <a:gd name="connsiteY440" fmla="*/ 4340622 h 5346128"/>
              <a:gd name="connsiteX441" fmla="*/ 1324539 w 5419032"/>
              <a:gd name="connsiteY441" fmla="*/ 4316683 h 5346128"/>
              <a:gd name="connsiteX442" fmla="*/ 3252431 w 5419032"/>
              <a:gd name="connsiteY442" fmla="*/ 4310686 h 5346128"/>
              <a:gd name="connsiteX443" fmla="*/ 3230798 w 5419032"/>
              <a:gd name="connsiteY443" fmla="*/ 4323468 h 5346128"/>
              <a:gd name="connsiteX444" fmla="*/ 3274064 w 5419032"/>
              <a:gd name="connsiteY444" fmla="*/ 4323468 h 5346128"/>
              <a:gd name="connsiteX445" fmla="*/ 3252431 w 5419032"/>
              <a:gd name="connsiteY445" fmla="*/ 4310686 h 5346128"/>
              <a:gd name="connsiteX446" fmla="*/ 1121084 w 5419032"/>
              <a:gd name="connsiteY446" fmla="*/ 4285446 h 5346128"/>
              <a:gd name="connsiteX447" fmla="*/ 1121084 w 5419032"/>
              <a:gd name="connsiteY447" fmla="*/ 4338337 h 5346128"/>
              <a:gd name="connsiteX448" fmla="*/ 1104379 w 5419032"/>
              <a:gd name="connsiteY448" fmla="*/ 4342569 h 5346128"/>
              <a:gd name="connsiteX449" fmla="*/ 1104379 w 5419032"/>
              <a:gd name="connsiteY449" fmla="*/ 4359494 h 5346128"/>
              <a:gd name="connsiteX450" fmla="*/ 1125261 w 5419032"/>
              <a:gd name="connsiteY450" fmla="*/ 4378535 h 5346128"/>
              <a:gd name="connsiteX451" fmla="*/ 1131525 w 5419032"/>
              <a:gd name="connsiteY451" fmla="*/ 4370073 h 5346128"/>
              <a:gd name="connsiteX452" fmla="*/ 1173285 w 5419032"/>
              <a:gd name="connsiteY452" fmla="*/ 4353147 h 5346128"/>
              <a:gd name="connsiteX453" fmla="*/ 1202518 w 5419032"/>
              <a:gd name="connsiteY453" fmla="*/ 4351032 h 5346128"/>
              <a:gd name="connsiteX454" fmla="*/ 1121084 w 5419032"/>
              <a:gd name="connsiteY454" fmla="*/ 4285446 h 5346128"/>
              <a:gd name="connsiteX455" fmla="*/ 1328740 w 5419032"/>
              <a:gd name="connsiteY455" fmla="*/ 4263926 h 5346128"/>
              <a:gd name="connsiteX456" fmla="*/ 1313963 w 5419032"/>
              <a:gd name="connsiteY456" fmla="*/ 4287643 h 5346128"/>
              <a:gd name="connsiteX457" fmla="*/ 1354607 w 5419032"/>
              <a:gd name="connsiteY457" fmla="*/ 4316912 h 5346128"/>
              <a:gd name="connsiteX458" fmla="*/ 1348189 w 5419032"/>
              <a:gd name="connsiteY458" fmla="*/ 4285553 h 5346128"/>
              <a:gd name="connsiteX459" fmla="*/ 1336826 w 5419032"/>
              <a:gd name="connsiteY459" fmla="*/ 4265005 h 5346128"/>
              <a:gd name="connsiteX460" fmla="*/ 1328740 w 5419032"/>
              <a:gd name="connsiteY460" fmla="*/ 4263926 h 5346128"/>
              <a:gd name="connsiteX461" fmla="*/ 1207762 w 5419032"/>
              <a:gd name="connsiteY461" fmla="*/ 4258175 h 5346128"/>
              <a:gd name="connsiteX462" fmla="*/ 1182590 w 5419032"/>
              <a:gd name="connsiteY462" fmla="*/ 4272859 h 5346128"/>
              <a:gd name="connsiteX463" fmla="*/ 1184688 w 5419032"/>
              <a:gd name="connsiteY463" fmla="*/ 4281251 h 5346128"/>
              <a:gd name="connsiteX464" fmla="*/ 1260207 w 5419032"/>
              <a:gd name="connsiteY464" fmla="*/ 4314814 h 5346128"/>
              <a:gd name="connsiteX465" fmla="*/ 1207762 w 5419032"/>
              <a:gd name="connsiteY465" fmla="*/ 4258175 h 5346128"/>
              <a:gd name="connsiteX466" fmla="*/ 714323 w 5419032"/>
              <a:gd name="connsiteY466" fmla="*/ 4235148 h 5346128"/>
              <a:gd name="connsiteX467" fmla="*/ 761988 w 5419032"/>
              <a:gd name="connsiteY467" fmla="*/ 4265184 h 5346128"/>
              <a:gd name="connsiteX468" fmla="*/ 739192 w 5419032"/>
              <a:gd name="connsiteY468" fmla="*/ 4280201 h 5346128"/>
              <a:gd name="connsiteX469" fmla="*/ 701888 w 5419032"/>
              <a:gd name="connsiteY469" fmla="*/ 4248020 h 5346128"/>
              <a:gd name="connsiteX470" fmla="*/ 714323 w 5419032"/>
              <a:gd name="connsiteY470" fmla="*/ 4235148 h 5346128"/>
              <a:gd name="connsiteX471" fmla="*/ 1081372 w 5419032"/>
              <a:gd name="connsiteY471" fmla="*/ 4195766 h 5346128"/>
              <a:gd name="connsiteX472" fmla="*/ 1052004 w 5419032"/>
              <a:gd name="connsiteY472" fmla="*/ 4210452 h 5346128"/>
              <a:gd name="connsiteX473" fmla="*/ 1058297 w 5419032"/>
              <a:gd name="connsiteY473" fmla="*/ 4279677 h 5346128"/>
              <a:gd name="connsiteX474" fmla="*/ 1087666 w 5419032"/>
              <a:gd name="connsiteY474" fmla="*/ 4281775 h 5346128"/>
              <a:gd name="connsiteX475" fmla="*/ 1072981 w 5419032"/>
              <a:gd name="connsiteY475" fmla="*/ 4269188 h 5346128"/>
              <a:gd name="connsiteX476" fmla="*/ 1083470 w 5419032"/>
              <a:gd name="connsiteY476" fmla="*/ 4254504 h 5346128"/>
              <a:gd name="connsiteX477" fmla="*/ 1110742 w 5419032"/>
              <a:gd name="connsiteY477" fmla="*/ 4256602 h 5346128"/>
              <a:gd name="connsiteX478" fmla="*/ 1079274 w 5419032"/>
              <a:gd name="connsiteY478" fmla="*/ 4229330 h 5346128"/>
              <a:gd name="connsiteX479" fmla="*/ 1121230 w 5419032"/>
              <a:gd name="connsiteY479" fmla="*/ 4233526 h 5346128"/>
              <a:gd name="connsiteX480" fmla="*/ 1081372 w 5419032"/>
              <a:gd name="connsiteY480" fmla="*/ 4195766 h 5346128"/>
              <a:gd name="connsiteX481" fmla="*/ 771165 w 5419032"/>
              <a:gd name="connsiteY481" fmla="*/ 4189735 h 5346128"/>
              <a:gd name="connsiteX482" fmla="*/ 754383 w 5419032"/>
              <a:gd name="connsiteY482" fmla="*/ 4206394 h 5346128"/>
              <a:gd name="connsiteX483" fmla="*/ 792144 w 5419032"/>
              <a:gd name="connsiteY483" fmla="*/ 4225135 h 5346128"/>
              <a:gd name="connsiteX484" fmla="*/ 813121 w 5419032"/>
              <a:gd name="connsiteY484" fmla="*/ 4212641 h 5346128"/>
              <a:gd name="connsiteX485" fmla="*/ 771165 w 5419032"/>
              <a:gd name="connsiteY485" fmla="*/ 4189735 h 5346128"/>
              <a:gd name="connsiteX486" fmla="*/ 1259880 w 5419032"/>
              <a:gd name="connsiteY486" fmla="*/ 4189473 h 5346128"/>
              <a:gd name="connsiteX487" fmla="*/ 1239230 w 5419032"/>
              <a:gd name="connsiteY487" fmla="*/ 4192095 h 5346128"/>
              <a:gd name="connsiteX488" fmla="*/ 1271861 w 5419032"/>
              <a:gd name="connsiteY488" fmla="*/ 4206780 h 5346128"/>
              <a:gd name="connsiteX489" fmla="*/ 1275941 w 5419032"/>
              <a:gd name="connsiteY489" fmla="*/ 4196291 h 5346128"/>
              <a:gd name="connsiteX490" fmla="*/ 1259880 w 5419032"/>
              <a:gd name="connsiteY490" fmla="*/ 4189473 h 5346128"/>
              <a:gd name="connsiteX491" fmla="*/ 925876 w 5419032"/>
              <a:gd name="connsiteY491" fmla="*/ 4147779 h 5346128"/>
              <a:gd name="connsiteX492" fmla="*/ 959622 w 5419032"/>
              <a:gd name="connsiteY492" fmla="*/ 4206780 h 5346128"/>
              <a:gd name="connsiteX493" fmla="*/ 925876 w 5419032"/>
              <a:gd name="connsiteY493" fmla="*/ 4147779 h 5346128"/>
              <a:gd name="connsiteX494" fmla="*/ 1177608 w 5419032"/>
              <a:gd name="connsiteY494" fmla="*/ 4137290 h 5346128"/>
              <a:gd name="connsiteX495" fmla="*/ 1232674 w 5419032"/>
              <a:gd name="connsiteY495" fmla="*/ 4166135 h 5346128"/>
              <a:gd name="connsiteX496" fmla="*/ 1177608 w 5419032"/>
              <a:gd name="connsiteY496" fmla="*/ 4137290 h 5346128"/>
              <a:gd name="connsiteX497" fmla="*/ 1028531 w 5419032"/>
              <a:gd name="connsiteY497" fmla="*/ 4126849 h 5346128"/>
              <a:gd name="connsiteX498" fmla="*/ 1009739 w 5419032"/>
              <a:gd name="connsiteY498" fmla="*/ 4147921 h 5346128"/>
              <a:gd name="connsiteX499" fmla="*/ 1036882 w 5419032"/>
              <a:gd name="connsiteY499" fmla="*/ 4166885 h 5346128"/>
              <a:gd name="connsiteX500" fmla="*/ 1028531 w 5419032"/>
              <a:gd name="connsiteY500" fmla="*/ 4126849 h 5346128"/>
              <a:gd name="connsiteX501" fmla="*/ 1079097 w 5419032"/>
              <a:gd name="connsiteY501" fmla="*/ 4118166 h 5346128"/>
              <a:gd name="connsiteX502" fmla="*/ 1068458 w 5419032"/>
              <a:gd name="connsiteY502" fmla="*/ 4122114 h 5346128"/>
              <a:gd name="connsiteX503" fmla="*/ 1049775 w 5419032"/>
              <a:gd name="connsiteY503" fmla="*/ 4183180 h 5346128"/>
              <a:gd name="connsiteX504" fmla="*/ 1062230 w 5419032"/>
              <a:gd name="connsiteY504" fmla="*/ 4151594 h 5346128"/>
              <a:gd name="connsiteX505" fmla="*/ 1072610 w 5419032"/>
              <a:gd name="connsiteY505" fmla="*/ 4136854 h 5346128"/>
              <a:gd name="connsiteX506" fmla="*/ 1085065 w 5419032"/>
              <a:gd name="connsiteY506" fmla="*/ 4128431 h 5346128"/>
              <a:gd name="connsiteX507" fmla="*/ 1079097 w 5419032"/>
              <a:gd name="connsiteY507" fmla="*/ 4118166 h 5346128"/>
              <a:gd name="connsiteX508" fmla="*/ 815028 w 5419032"/>
              <a:gd name="connsiteY508" fmla="*/ 4108446 h 5346128"/>
              <a:gd name="connsiteX509" fmla="*/ 800009 w 5419032"/>
              <a:gd name="connsiteY509" fmla="*/ 4112642 h 5346128"/>
              <a:gd name="connsiteX510" fmla="*/ 810738 w 5419032"/>
              <a:gd name="connsiteY510" fmla="*/ 4125228 h 5346128"/>
              <a:gd name="connsiteX511" fmla="*/ 823610 w 5419032"/>
              <a:gd name="connsiteY511" fmla="*/ 4118935 h 5346128"/>
              <a:gd name="connsiteX512" fmla="*/ 815028 w 5419032"/>
              <a:gd name="connsiteY512" fmla="*/ 4108446 h 5346128"/>
              <a:gd name="connsiteX513" fmla="*/ 609375 w 5419032"/>
              <a:gd name="connsiteY513" fmla="*/ 4108446 h 5346128"/>
              <a:gd name="connsiteX514" fmla="*/ 598885 w 5419032"/>
              <a:gd name="connsiteY514" fmla="*/ 4152250 h 5346128"/>
              <a:gd name="connsiteX515" fmla="*/ 582103 w 5419032"/>
              <a:gd name="connsiteY515" fmla="*/ 4150163 h 5346128"/>
              <a:gd name="connsiteX516" fmla="*/ 609375 w 5419032"/>
              <a:gd name="connsiteY516" fmla="*/ 4108446 h 5346128"/>
              <a:gd name="connsiteX517" fmla="*/ 719242 w 5419032"/>
              <a:gd name="connsiteY517" fmla="*/ 4099208 h 5346128"/>
              <a:gd name="connsiteX518" fmla="*/ 705282 w 5419032"/>
              <a:gd name="connsiteY518" fmla="*/ 4110184 h 5346128"/>
              <a:gd name="connsiteX519" fmla="*/ 661033 w 5419032"/>
              <a:gd name="connsiteY519" fmla="*/ 4137362 h 5346128"/>
              <a:gd name="connsiteX520" fmla="*/ 751639 w 5419032"/>
              <a:gd name="connsiteY520" fmla="*/ 4151997 h 5346128"/>
              <a:gd name="connsiteX521" fmla="*/ 776926 w 5419032"/>
              <a:gd name="connsiteY521" fmla="*/ 4135272 h 5346128"/>
              <a:gd name="connsiteX522" fmla="*/ 753747 w 5419032"/>
              <a:gd name="connsiteY522" fmla="*/ 4124818 h 5346128"/>
              <a:gd name="connsiteX523" fmla="*/ 734782 w 5419032"/>
              <a:gd name="connsiteY523" fmla="*/ 4116456 h 5346128"/>
              <a:gd name="connsiteX524" fmla="*/ 719242 w 5419032"/>
              <a:gd name="connsiteY524" fmla="*/ 4099208 h 5346128"/>
              <a:gd name="connsiteX525" fmla="*/ 701401 w 5419032"/>
              <a:gd name="connsiteY525" fmla="*/ 4058100 h 5346128"/>
              <a:gd name="connsiteX526" fmla="*/ 680700 w 5419032"/>
              <a:gd name="connsiteY526" fmla="*/ 4083273 h 5346128"/>
              <a:gd name="connsiteX527" fmla="*/ 695190 w 5419032"/>
              <a:gd name="connsiteY527" fmla="*/ 4097958 h 5346128"/>
              <a:gd name="connsiteX528" fmla="*/ 720032 w 5419032"/>
              <a:gd name="connsiteY528" fmla="*/ 4085371 h 5346128"/>
              <a:gd name="connsiteX529" fmla="*/ 701401 w 5419032"/>
              <a:gd name="connsiteY529" fmla="*/ 4058100 h 5346128"/>
              <a:gd name="connsiteX530" fmla="*/ 802430 w 5419032"/>
              <a:gd name="connsiteY530" fmla="*/ 4046825 h 5346128"/>
              <a:gd name="connsiteX531" fmla="*/ 798194 w 5419032"/>
              <a:gd name="connsiteY531" fmla="*/ 4057415 h 5346128"/>
              <a:gd name="connsiteX532" fmla="*/ 823610 w 5419032"/>
              <a:gd name="connsiteY532" fmla="*/ 4070122 h 5346128"/>
              <a:gd name="connsiteX533" fmla="*/ 802430 w 5419032"/>
              <a:gd name="connsiteY533" fmla="*/ 4046825 h 5346128"/>
              <a:gd name="connsiteX534" fmla="*/ 864570 w 5419032"/>
              <a:gd name="connsiteY534" fmla="*/ 4027421 h 5346128"/>
              <a:gd name="connsiteX535" fmla="*/ 854968 w 5419032"/>
              <a:gd name="connsiteY535" fmla="*/ 4027945 h 5346128"/>
              <a:gd name="connsiteX536" fmla="*/ 844587 w 5419032"/>
              <a:gd name="connsiteY536" fmla="*/ 4032140 h 5346128"/>
              <a:gd name="connsiteX537" fmla="*/ 863271 w 5419032"/>
              <a:gd name="connsiteY537" fmla="*/ 4044727 h 5346128"/>
              <a:gd name="connsiteX538" fmla="*/ 869499 w 5419032"/>
              <a:gd name="connsiteY538" fmla="*/ 4036336 h 5346128"/>
              <a:gd name="connsiteX539" fmla="*/ 864570 w 5419032"/>
              <a:gd name="connsiteY539" fmla="*/ 4027421 h 5346128"/>
              <a:gd name="connsiteX540" fmla="*/ 580728 w 5419032"/>
              <a:gd name="connsiteY540" fmla="*/ 4022400 h 5346128"/>
              <a:gd name="connsiteX541" fmla="*/ 571341 w 5419032"/>
              <a:gd name="connsiteY541" fmla="*/ 4038777 h 5346128"/>
              <a:gd name="connsiteX542" fmla="*/ 636002 w 5419032"/>
              <a:gd name="connsiteY542" fmla="*/ 4078292 h 5346128"/>
              <a:gd name="connsiteX543" fmla="*/ 661033 w 5419032"/>
              <a:gd name="connsiteY543" fmla="*/ 4053335 h 5346128"/>
              <a:gd name="connsiteX544" fmla="*/ 650603 w 5419032"/>
              <a:gd name="connsiteY544" fmla="*/ 4040857 h 5346128"/>
              <a:gd name="connsiteX545" fmla="*/ 590114 w 5419032"/>
              <a:gd name="connsiteY545" fmla="*/ 4024220 h 5346128"/>
              <a:gd name="connsiteX546" fmla="*/ 580728 w 5419032"/>
              <a:gd name="connsiteY546" fmla="*/ 4022400 h 5346128"/>
              <a:gd name="connsiteX547" fmla="*/ 486296 w 5419032"/>
              <a:gd name="connsiteY547" fmla="*/ 4015522 h 5346128"/>
              <a:gd name="connsiteX548" fmla="*/ 499886 w 5419032"/>
              <a:gd name="connsiteY548" fmla="*/ 4022177 h 5346128"/>
              <a:gd name="connsiteX549" fmla="*/ 514348 w 5419032"/>
              <a:gd name="connsiteY549" fmla="*/ 4030568 h 5346128"/>
              <a:gd name="connsiteX550" fmla="*/ 524678 w 5419032"/>
              <a:gd name="connsiteY550" fmla="*/ 4043154 h 5346128"/>
              <a:gd name="connsiteX551" fmla="*/ 466830 w 5419032"/>
              <a:gd name="connsiteY551" fmla="*/ 4030568 h 5346128"/>
              <a:gd name="connsiteX552" fmla="*/ 486296 w 5419032"/>
              <a:gd name="connsiteY552" fmla="*/ 4015522 h 5346128"/>
              <a:gd name="connsiteX553" fmla="*/ 611211 w 5419032"/>
              <a:gd name="connsiteY553" fmla="*/ 3983892 h 5346128"/>
              <a:gd name="connsiteX554" fmla="*/ 598100 w 5419032"/>
              <a:gd name="connsiteY554" fmla="*/ 4000500 h 5346128"/>
              <a:gd name="connsiteX555" fmla="*/ 604656 w 5419032"/>
              <a:gd name="connsiteY555" fmla="*/ 4006728 h 5346128"/>
              <a:gd name="connsiteX556" fmla="*/ 615581 w 5419032"/>
              <a:gd name="connsiteY556" fmla="*/ 3992196 h 5346128"/>
              <a:gd name="connsiteX557" fmla="*/ 611211 w 5419032"/>
              <a:gd name="connsiteY557" fmla="*/ 3983892 h 5346128"/>
              <a:gd name="connsiteX558" fmla="*/ 447561 w 5419032"/>
              <a:gd name="connsiteY558" fmla="*/ 3982580 h 5346128"/>
              <a:gd name="connsiteX559" fmla="*/ 461745 w 5419032"/>
              <a:gd name="connsiteY559" fmla="*/ 3992413 h 5346128"/>
              <a:gd name="connsiteX560" fmla="*/ 455666 w 5419032"/>
              <a:gd name="connsiteY560" fmla="*/ 3998314 h 5346128"/>
              <a:gd name="connsiteX561" fmla="*/ 439456 w 5419032"/>
              <a:gd name="connsiteY561" fmla="*/ 3986514 h 5346128"/>
              <a:gd name="connsiteX562" fmla="*/ 447561 w 5419032"/>
              <a:gd name="connsiteY562" fmla="*/ 3982580 h 5346128"/>
              <a:gd name="connsiteX563" fmla="*/ 676690 w 5419032"/>
              <a:gd name="connsiteY563" fmla="*/ 3947181 h 5346128"/>
              <a:gd name="connsiteX564" fmla="*/ 674607 w 5419032"/>
              <a:gd name="connsiteY564" fmla="*/ 3965471 h 5346128"/>
              <a:gd name="connsiteX565" fmla="*/ 691266 w 5419032"/>
              <a:gd name="connsiteY565" fmla="*/ 3973600 h 5346128"/>
              <a:gd name="connsiteX566" fmla="*/ 676690 w 5419032"/>
              <a:gd name="connsiteY566" fmla="*/ 3947181 h 5346128"/>
              <a:gd name="connsiteX567" fmla="*/ 388424 w 5419032"/>
              <a:gd name="connsiteY567" fmla="*/ 3923582 h 5346128"/>
              <a:gd name="connsiteX568" fmla="*/ 390542 w 5419032"/>
              <a:gd name="connsiteY568" fmla="*/ 3972092 h 5346128"/>
              <a:gd name="connsiteX569" fmla="*/ 388424 w 5419032"/>
              <a:gd name="connsiteY569" fmla="*/ 3923582 h 5346128"/>
              <a:gd name="connsiteX570" fmla="*/ 623866 w 5419032"/>
              <a:gd name="connsiteY570" fmla="*/ 3910470 h 5346128"/>
              <a:gd name="connsiteX571" fmla="*/ 617539 w 5419032"/>
              <a:gd name="connsiteY571" fmla="*/ 3918894 h 5346128"/>
              <a:gd name="connsiteX572" fmla="*/ 659722 w 5419032"/>
              <a:gd name="connsiteY572" fmla="*/ 3961007 h 5346128"/>
              <a:gd name="connsiteX573" fmla="*/ 634412 w 5419032"/>
              <a:gd name="connsiteY573" fmla="*/ 3916787 h 5346128"/>
              <a:gd name="connsiteX574" fmla="*/ 623866 w 5419032"/>
              <a:gd name="connsiteY574" fmla="*/ 3910470 h 5346128"/>
              <a:gd name="connsiteX575" fmla="*/ 690138 w 5419032"/>
              <a:gd name="connsiteY575" fmla="*/ 3904697 h 5346128"/>
              <a:gd name="connsiteX576" fmla="*/ 657099 w 5419032"/>
              <a:gd name="connsiteY576" fmla="*/ 3906818 h 5346128"/>
              <a:gd name="connsiteX577" fmla="*/ 701153 w 5419032"/>
              <a:gd name="connsiteY577" fmla="*/ 3917588 h 5346128"/>
              <a:gd name="connsiteX578" fmla="*/ 699055 w 5419032"/>
              <a:gd name="connsiteY578" fmla="*/ 3908972 h 5346128"/>
              <a:gd name="connsiteX579" fmla="*/ 690138 w 5419032"/>
              <a:gd name="connsiteY579" fmla="*/ 3904697 h 5346128"/>
              <a:gd name="connsiteX580" fmla="*/ 664092 w 5419032"/>
              <a:gd name="connsiteY580" fmla="*/ 3883666 h 5346128"/>
              <a:gd name="connsiteX581" fmla="*/ 655788 w 5419032"/>
              <a:gd name="connsiteY581" fmla="*/ 3885705 h 5346128"/>
              <a:gd name="connsiteX582" fmla="*/ 670320 w 5419032"/>
              <a:gd name="connsiteY582" fmla="*/ 3899981 h 5346128"/>
              <a:gd name="connsiteX583" fmla="*/ 678624 w 5419032"/>
              <a:gd name="connsiteY583" fmla="*/ 3893863 h 5346128"/>
              <a:gd name="connsiteX584" fmla="*/ 664092 w 5419032"/>
              <a:gd name="connsiteY584" fmla="*/ 3883666 h 5346128"/>
              <a:gd name="connsiteX585" fmla="*/ 713914 w 5419032"/>
              <a:gd name="connsiteY585" fmla="*/ 3864581 h 5346128"/>
              <a:gd name="connsiteX586" fmla="*/ 707687 w 5419032"/>
              <a:gd name="connsiteY586" fmla="*/ 3873322 h 5346128"/>
              <a:gd name="connsiteX587" fmla="*/ 718065 w 5419032"/>
              <a:gd name="connsiteY587" fmla="*/ 3882063 h 5346128"/>
              <a:gd name="connsiteX588" fmla="*/ 730522 w 5419032"/>
              <a:gd name="connsiteY588" fmla="*/ 3877693 h 5346128"/>
              <a:gd name="connsiteX589" fmla="*/ 713914 w 5419032"/>
              <a:gd name="connsiteY589" fmla="*/ 3864581 h 5346128"/>
              <a:gd name="connsiteX590" fmla="*/ 492087 w 5419032"/>
              <a:gd name="connsiteY590" fmla="*/ 3839670 h 5346128"/>
              <a:gd name="connsiteX591" fmla="*/ 506510 w 5419032"/>
              <a:gd name="connsiteY591" fmla="*/ 3864582 h 5346128"/>
              <a:gd name="connsiteX592" fmla="*/ 512691 w 5419032"/>
              <a:gd name="connsiteY592" fmla="*/ 3858354 h 5346128"/>
              <a:gd name="connsiteX593" fmla="*/ 492087 w 5419032"/>
              <a:gd name="connsiteY593" fmla="*/ 3839670 h 5346128"/>
              <a:gd name="connsiteX594" fmla="*/ 858542 w 5419032"/>
              <a:gd name="connsiteY594" fmla="*/ 3759693 h 5346128"/>
              <a:gd name="connsiteX595" fmla="*/ 789521 w 5419032"/>
              <a:gd name="connsiteY595" fmla="*/ 3767997 h 5346128"/>
              <a:gd name="connsiteX596" fmla="*/ 873182 w 5419032"/>
              <a:gd name="connsiteY596" fmla="*/ 3780452 h 5346128"/>
              <a:gd name="connsiteX597" fmla="*/ 877365 w 5419032"/>
              <a:gd name="connsiteY597" fmla="*/ 3770072 h 5346128"/>
              <a:gd name="connsiteX598" fmla="*/ 858542 w 5419032"/>
              <a:gd name="connsiteY598" fmla="*/ 3759693 h 5346128"/>
              <a:gd name="connsiteX599" fmla="*/ 564995 w 5419032"/>
              <a:gd name="connsiteY599" fmla="*/ 3745270 h 5346128"/>
              <a:gd name="connsiteX600" fmla="*/ 535167 w 5419032"/>
              <a:gd name="connsiteY600" fmla="*/ 3797263 h 5346128"/>
              <a:gd name="connsiteX601" fmla="*/ 569255 w 5419032"/>
              <a:gd name="connsiteY601" fmla="*/ 3799343 h 5346128"/>
              <a:gd name="connsiteX602" fmla="*/ 575648 w 5419032"/>
              <a:gd name="connsiteY602" fmla="*/ 3797263 h 5346128"/>
              <a:gd name="connsiteX603" fmla="*/ 586300 w 5419032"/>
              <a:gd name="connsiteY603" fmla="*/ 3768148 h 5346128"/>
              <a:gd name="connsiteX604" fmla="*/ 564995 w 5419032"/>
              <a:gd name="connsiteY604" fmla="*/ 3745270 h 5346128"/>
              <a:gd name="connsiteX605" fmla="*/ 463183 w 5419032"/>
              <a:gd name="connsiteY605" fmla="*/ 3722393 h 5346128"/>
              <a:gd name="connsiteX606" fmla="*/ 472921 w 5419032"/>
              <a:gd name="connsiteY606" fmla="*/ 3726322 h 5346128"/>
              <a:gd name="connsiteX607" fmla="*/ 450815 w 5419032"/>
              <a:gd name="connsiteY607" fmla="*/ 3723379 h 5346128"/>
              <a:gd name="connsiteX608" fmla="*/ 453247 w 5419032"/>
              <a:gd name="connsiteY608" fmla="*/ 3723178 h 5346128"/>
              <a:gd name="connsiteX609" fmla="*/ 463183 w 5419032"/>
              <a:gd name="connsiteY609" fmla="*/ 3722393 h 5346128"/>
              <a:gd name="connsiteX610" fmla="*/ 439716 w 5419032"/>
              <a:gd name="connsiteY610" fmla="*/ 3721268 h 5346128"/>
              <a:gd name="connsiteX611" fmla="*/ 441444 w 5419032"/>
              <a:gd name="connsiteY611" fmla="*/ 3722131 h 5346128"/>
              <a:gd name="connsiteX612" fmla="*/ 450815 w 5419032"/>
              <a:gd name="connsiteY612" fmla="*/ 3723379 h 5346128"/>
              <a:gd name="connsiteX613" fmla="*/ 443706 w 5419032"/>
              <a:gd name="connsiteY613" fmla="*/ 3723965 h 5346128"/>
              <a:gd name="connsiteX614" fmla="*/ 438639 w 5419032"/>
              <a:gd name="connsiteY614" fmla="*/ 3721639 h 5346128"/>
              <a:gd name="connsiteX615" fmla="*/ 4329503 w 5419032"/>
              <a:gd name="connsiteY615" fmla="*/ 3705938 h 5346128"/>
              <a:gd name="connsiteX616" fmla="*/ 4298452 w 5419032"/>
              <a:gd name="connsiteY616" fmla="*/ 3755760 h 5346128"/>
              <a:gd name="connsiteX617" fmla="*/ 4290170 w 5419032"/>
              <a:gd name="connsiteY617" fmla="*/ 3749532 h 5346128"/>
              <a:gd name="connsiteX618" fmla="*/ 4329503 w 5419032"/>
              <a:gd name="connsiteY618" fmla="*/ 3705938 h 5346128"/>
              <a:gd name="connsiteX619" fmla="*/ 302576 w 5419032"/>
              <a:gd name="connsiteY619" fmla="*/ 3692827 h 5346128"/>
              <a:gd name="connsiteX620" fmla="*/ 292088 w 5419032"/>
              <a:gd name="connsiteY620" fmla="*/ 3697088 h 5346128"/>
              <a:gd name="connsiteX621" fmla="*/ 315163 w 5419032"/>
              <a:gd name="connsiteY621" fmla="*/ 3726916 h 5346128"/>
              <a:gd name="connsiteX622" fmla="*/ 302576 w 5419032"/>
              <a:gd name="connsiteY622" fmla="*/ 3692827 h 5346128"/>
              <a:gd name="connsiteX623" fmla="*/ 4140970 w 5419032"/>
              <a:gd name="connsiteY623" fmla="*/ 3692439 h 5346128"/>
              <a:gd name="connsiteX624" fmla="*/ 4157748 w 5419032"/>
              <a:gd name="connsiteY624" fmla="*/ 3694972 h 5346128"/>
              <a:gd name="connsiteX625" fmla="*/ 4130052 w 5419032"/>
              <a:gd name="connsiteY625" fmla="*/ 3709156 h 5346128"/>
              <a:gd name="connsiteX626" fmla="*/ 4125790 w 5419032"/>
              <a:gd name="connsiteY626" fmla="*/ 3699025 h 5346128"/>
              <a:gd name="connsiteX627" fmla="*/ 4140970 w 5419032"/>
              <a:gd name="connsiteY627" fmla="*/ 3692439 h 5346128"/>
              <a:gd name="connsiteX628" fmla="*/ 758335 w 5419032"/>
              <a:gd name="connsiteY628" fmla="*/ 3685438 h 5346128"/>
              <a:gd name="connsiteX629" fmla="*/ 734455 w 5419032"/>
              <a:gd name="connsiteY629" fmla="*/ 3691407 h 5346128"/>
              <a:gd name="connsiteX630" fmla="*/ 779032 w 5419032"/>
              <a:gd name="connsiteY630" fmla="*/ 3699710 h 5346128"/>
              <a:gd name="connsiteX631" fmla="*/ 758335 w 5419032"/>
              <a:gd name="connsiteY631" fmla="*/ 3685438 h 5346128"/>
              <a:gd name="connsiteX632" fmla="*/ 4323554 w 5419032"/>
              <a:gd name="connsiteY632" fmla="*/ 3684960 h 5346128"/>
              <a:gd name="connsiteX633" fmla="*/ 4342615 w 5419032"/>
              <a:gd name="connsiteY633" fmla="*/ 3687000 h 5346128"/>
              <a:gd name="connsiteX634" fmla="*/ 4327789 w 5419032"/>
              <a:gd name="connsiteY634" fmla="*/ 3699237 h 5346128"/>
              <a:gd name="connsiteX635" fmla="*/ 4315082 w 5419032"/>
              <a:gd name="connsiteY635" fmla="*/ 3695157 h 5346128"/>
              <a:gd name="connsiteX636" fmla="*/ 4323554 w 5419032"/>
              <a:gd name="connsiteY636" fmla="*/ 3684960 h 5346128"/>
              <a:gd name="connsiteX637" fmla="*/ 4551558 w 5419032"/>
              <a:gd name="connsiteY637" fmla="*/ 3669653 h 5346128"/>
              <a:gd name="connsiteX638" fmla="*/ 4539364 w 5419032"/>
              <a:gd name="connsiteY638" fmla="*/ 3687058 h 5346128"/>
              <a:gd name="connsiteX639" fmla="*/ 4537250 w 5419032"/>
              <a:gd name="connsiteY639" fmla="*/ 3701742 h 5346128"/>
              <a:gd name="connsiteX640" fmla="*/ 4562626 w 5419032"/>
              <a:gd name="connsiteY640" fmla="*/ 3695449 h 5346128"/>
              <a:gd name="connsiteX641" fmla="*/ 4594346 w 5419032"/>
              <a:gd name="connsiteY641" fmla="*/ 3678667 h 5346128"/>
              <a:gd name="connsiteX642" fmla="*/ 4562626 w 5419032"/>
              <a:gd name="connsiteY642" fmla="*/ 3672374 h 5346128"/>
              <a:gd name="connsiteX643" fmla="*/ 4551558 w 5419032"/>
              <a:gd name="connsiteY643" fmla="*/ 3669653 h 5346128"/>
              <a:gd name="connsiteX644" fmla="*/ 509993 w 5419032"/>
              <a:gd name="connsiteY644" fmla="*/ 3666079 h 5346128"/>
              <a:gd name="connsiteX645" fmla="*/ 472234 w 5419032"/>
              <a:gd name="connsiteY645" fmla="*/ 3682862 h 5346128"/>
              <a:gd name="connsiteX646" fmla="*/ 501602 w 5419032"/>
              <a:gd name="connsiteY646" fmla="*/ 3708035 h 5346128"/>
              <a:gd name="connsiteX647" fmla="*/ 535167 w 5419032"/>
              <a:gd name="connsiteY647" fmla="*/ 3687058 h 5346128"/>
              <a:gd name="connsiteX648" fmla="*/ 509993 w 5419032"/>
              <a:gd name="connsiteY648" fmla="*/ 3666079 h 5346128"/>
              <a:gd name="connsiteX649" fmla="*/ 4089108 w 5419032"/>
              <a:gd name="connsiteY649" fmla="*/ 3665872 h 5346128"/>
              <a:gd name="connsiteX650" fmla="*/ 4090873 w 5419032"/>
              <a:gd name="connsiteY650" fmla="*/ 3666176 h 5346128"/>
              <a:gd name="connsiteX651" fmla="*/ 4097962 w 5419032"/>
              <a:gd name="connsiteY651" fmla="*/ 3674209 h 5346128"/>
              <a:gd name="connsiteX652" fmla="*/ 4102682 w 5419032"/>
              <a:gd name="connsiteY652" fmla="*/ 3686271 h 5346128"/>
              <a:gd name="connsiteX653" fmla="*/ 4087998 w 5419032"/>
              <a:gd name="connsiteY653" fmla="*/ 3692564 h 5346128"/>
              <a:gd name="connsiteX654" fmla="*/ 4075412 w 5419032"/>
              <a:gd name="connsiteY654" fmla="*/ 3684173 h 5346128"/>
              <a:gd name="connsiteX655" fmla="*/ 4078033 w 5419032"/>
              <a:gd name="connsiteY655" fmla="*/ 3672374 h 5346128"/>
              <a:gd name="connsiteX656" fmla="*/ 200119 w 5419032"/>
              <a:gd name="connsiteY656" fmla="*/ 3665293 h 5346128"/>
              <a:gd name="connsiteX657" fmla="*/ 208702 w 5419032"/>
              <a:gd name="connsiteY657" fmla="*/ 3676220 h 5346128"/>
              <a:gd name="connsiteX658" fmla="*/ 195829 w 5419032"/>
              <a:gd name="connsiteY658" fmla="*/ 3682774 h 5346128"/>
              <a:gd name="connsiteX659" fmla="*/ 185101 w 5419032"/>
              <a:gd name="connsiteY659" fmla="*/ 3669664 h 5346128"/>
              <a:gd name="connsiteX660" fmla="*/ 200119 w 5419032"/>
              <a:gd name="connsiteY660" fmla="*/ 3665293 h 5346128"/>
              <a:gd name="connsiteX661" fmla="*/ 3888973 w 5419032"/>
              <a:gd name="connsiteY661" fmla="*/ 3649560 h 5346128"/>
              <a:gd name="connsiteX662" fmla="*/ 3905754 w 5419032"/>
              <a:gd name="connsiteY662" fmla="*/ 3680289 h 5346128"/>
              <a:gd name="connsiteX663" fmla="*/ 3893167 w 5419032"/>
              <a:gd name="connsiteY663" fmla="*/ 3682338 h 5346128"/>
              <a:gd name="connsiteX664" fmla="*/ 3888973 w 5419032"/>
              <a:gd name="connsiteY664" fmla="*/ 3649560 h 5346128"/>
              <a:gd name="connsiteX665" fmla="*/ 4443570 w 5419032"/>
              <a:gd name="connsiteY665" fmla="*/ 3590124 h 5346128"/>
              <a:gd name="connsiteX666" fmla="*/ 4485526 w 5419032"/>
              <a:gd name="connsiteY666" fmla="*/ 3598865 h 5346128"/>
              <a:gd name="connsiteX667" fmla="*/ 4443570 w 5419032"/>
              <a:gd name="connsiteY667" fmla="*/ 3590124 h 5346128"/>
              <a:gd name="connsiteX668" fmla="*/ 4388502 w 5419032"/>
              <a:gd name="connsiteY668" fmla="*/ 3581645 h 5346128"/>
              <a:gd name="connsiteX669" fmla="*/ 4430458 w 5419032"/>
              <a:gd name="connsiteY669" fmla="*/ 3598427 h 5346128"/>
              <a:gd name="connsiteX670" fmla="*/ 4388502 w 5419032"/>
              <a:gd name="connsiteY670" fmla="*/ 3581645 h 5346128"/>
              <a:gd name="connsiteX671" fmla="*/ 4335258 w 5419032"/>
              <a:gd name="connsiteY671" fmla="*/ 3567288 h 5346128"/>
              <a:gd name="connsiteX672" fmla="*/ 4317260 w 5419032"/>
              <a:gd name="connsiteY672" fmla="*/ 3568876 h 5346128"/>
              <a:gd name="connsiteX673" fmla="*/ 4331868 w 5419032"/>
              <a:gd name="connsiteY673" fmla="*/ 3581584 h 5346128"/>
              <a:gd name="connsiteX674" fmla="*/ 4252572 w 5419032"/>
              <a:gd name="connsiteY674" fmla="*/ 3596410 h 5346128"/>
              <a:gd name="connsiteX675" fmla="*/ 4252572 w 5419032"/>
              <a:gd name="connsiteY675" fmla="*/ 3632415 h 5346128"/>
              <a:gd name="connsiteX676" fmla="*/ 4267180 w 5419032"/>
              <a:gd name="connsiteY676" fmla="*/ 3634534 h 5346128"/>
              <a:gd name="connsiteX677" fmla="*/ 4348561 w 5419032"/>
              <a:gd name="connsiteY677" fmla="*/ 3615473 h 5346128"/>
              <a:gd name="connsiteX678" fmla="*/ 4379862 w 5419032"/>
              <a:gd name="connsiteY678" fmla="*/ 3600646 h 5346128"/>
              <a:gd name="connsiteX679" fmla="*/ 4335258 w 5419032"/>
              <a:gd name="connsiteY679" fmla="*/ 3567288 h 5346128"/>
              <a:gd name="connsiteX680" fmla="*/ 4147414 w 5419032"/>
              <a:gd name="connsiteY680" fmla="*/ 3553326 h 5346128"/>
              <a:gd name="connsiteX681" fmla="*/ 4132838 w 5419032"/>
              <a:gd name="connsiteY681" fmla="*/ 3573516 h 5346128"/>
              <a:gd name="connsiteX682" fmla="*/ 4168239 w 5419032"/>
              <a:gd name="connsiteY682" fmla="*/ 3563027 h 5346128"/>
              <a:gd name="connsiteX683" fmla="*/ 4147414 w 5419032"/>
              <a:gd name="connsiteY683" fmla="*/ 3553326 h 5346128"/>
              <a:gd name="connsiteX684" fmla="*/ 380194 w 5419032"/>
              <a:gd name="connsiteY684" fmla="*/ 3551729 h 5346128"/>
              <a:gd name="connsiteX685" fmla="*/ 382816 w 5419032"/>
              <a:gd name="connsiteY685" fmla="*/ 3556935 h 5346128"/>
              <a:gd name="connsiteX686" fmla="*/ 411725 w 5419032"/>
              <a:gd name="connsiteY686" fmla="*/ 3587681 h 5346128"/>
              <a:gd name="connsiteX687" fmla="*/ 414410 w 5419032"/>
              <a:gd name="connsiteY687" fmla="*/ 3592843 h 5346128"/>
              <a:gd name="connsiteX688" fmla="*/ 412066 w 5419032"/>
              <a:gd name="connsiteY688" fmla="*/ 3596402 h 5346128"/>
              <a:gd name="connsiteX689" fmla="*/ 406585 w 5419032"/>
              <a:gd name="connsiteY689" fmla="*/ 3610993 h 5346128"/>
              <a:gd name="connsiteX690" fmla="*/ 385209 w 5419032"/>
              <a:gd name="connsiteY690" fmla="*/ 3609742 h 5346128"/>
              <a:gd name="connsiteX691" fmla="*/ 366034 w 5419032"/>
              <a:gd name="connsiteY691" fmla="*/ 3563182 h 5346128"/>
              <a:gd name="connsiteX692" fmla="*/ 374425 w 5419032"/>
              <a:gd name="connsiteY692" fmla="*/ 3552770 h 5346128"/>
              <a:gd name="connsiteX693" fmla="*/ 380194 w 5419032"/>
              <a:gd name="connsiteY693" fmla="*/ 3551729 h 5346128"/>
              <a:gd name="connsiteX694" fmla="*/ 4579924 w 5419032"/>
              <a:gd name="connsiteY694" fmla="*/ 3548605 h 5346128"/>
              <a:gd name="connsiteX695" fmla="*/ 4626326 w 5419032"/>
              <a:gd name="connsiteY695" fmla="*/ 3556847 h 5346128"/>
              <a:gd name="connsiteX696" fmla="*/ 4626326 w 5419032"/>
              <a:gd name="connsiteY696" fmla="*/ 3548605 h 5346128"/>
              <a:gd name="connsiteX697" fmla="*/ 4579924 w 5419032"/>
              <a:gd name="connsiteY697" fmla="*/ 3548605 h 5346128"/>
              <a:gd name="connsiteX698" fmla="*/ 4539935 w 5419032"/>
              <a:gd name="connsiteY698" fmla="*/ 3538217 h 5346128"/>
              <a:gd name="connsiteX699" fmla="*/ 4514370 w 5419032"/>
              <a:gd name="connsiteY699" fmla="*/ 3554353 h 5346128"/>
              <a:gd name="connsiteX700" fmla="*/ 4546326 w 5419032"/>
              <a:gd name="connsiteY700" fmla="*/ 3552337 h 5346128"/>
              <a:gd name="connsiteX701" fmla="*/ 4539935 w 5419032"/>
              <a:gd name="connsiteY701" fmla="*/ 3538217 h 5346128"/>
              <a:gd name="connsiteX702" fmla="*/ 4035816 w 5419032"/>
              <a:gd name="connsiteY702" fmla="*/ 3535603 h 5346128"/>
              <a:gd name="connsiteX703" fmla="*/ 4115794 w 5419032"/>
              <a:gd name="connsiteY703" fmla="*/ 3554287 h 5346128"/>
              <a:gd name="connsiteX704" fmla="*/ 4035816 w 5419032"/>
              <a:gd name="connsiteY704" fmla="*/ 3535603 h 5346128"/>
              <a:gd name="connsiteX705" fmla="*/ 4187155 w 5419032"/>
              <a:gd name="connsiteY705" fmla="*/ 3506650 h 5346128"/>
              <a:gd name="connsiteX706" fmla="*/ 4206260 w 5419032"/>
              <a:gd name="connsiteY706" fmla="*/ 3552539 h 5346128"/>
              <a:gd name="connsiteX707" fmla="*/ 4187155 w 5419032"/>
              <a:gd name="connsiteY707" fmla="*/ 3506650 h 5346128"/>
              <a:gd name="connsiteX708" fmla="*/ 654470 w 5419032"/>
              <a:gd name="connsiteY708" fmla="*/ 3495584 h 5346128"/>
              <a:gd name="connsiteX709" fmla="*/ 617766 w 5419032"/>
              <a:gd name="connsiteY709" fmla="*/ 3512487 h 5346128"/>
              <a:gd name="connsiteX710" fmla="*/ 661616 w 5419032"/>
              <a:gd name="connsiteY710" fmla="*/ 3524921 h 5346128"/>
              <a:gd name="connsiteX711" fmla="*/ 667880 w 5419032"/>
              <a:gd name="connsiteY711" fmla="*/ 3506269 h 5346128"/>
              <a:gd name="connsiteX712" fmla="*/ 654470 w 5419032"/>
              <a:gd name="connsiteY712" fmla="*/ 3495584 h 5346128"/>
              <a:gd name="connsiteX713" fmla="*/ 4334748 w 5419032"/>
              <a:gd name="connsiteY713" fmla="*/ 3493539 h 5346128"/>
              <a:gd name="connsiteX714" fmla="*/ 4343140 w 5419032"/>
              <a:gd name="connsiteY714" fmla="*/ 3512926 h 5346128"/>
              <a:gd name="connsiteX715" fmla="*/ 4330552 w 5419032"/>
              <a:gd name="connsiteY715" fmla="*/ 3521541 h 5346128"/>
              <a:gd name="connsiteX716" fmla="*/ 4324259 w 5419032"/>
              <a:gd name="connsiteY716" fmla="*/ 3504309 h 5346128"/>
              <a:gd name="connsiteX717" fmla="*/ 4334748 w 5419032"/>
              <a:gd name="connsiteY717" fmla="*/ 3493539 h 5346128"/>
              <a:gd name="connsiteX718" fmla="*/ 4546328 w 5419032"/>
              <a:gd name="connsiteY718" fmla="*/ 3485672 h 5346128"/>
              <a:gd name="connsiteX719" fmla="*/ 4536084 w 5419032"/>
              <a:gd name="connsiteY719" fmla="*/ 3508747 h 5346128"/>
              <a:gd name="connsiteX720" fmla="*/ 4556571 w 5419032"/>
              <a:gd name="connsiteY720" fmla="*/ 3527627 h 5346128"/>
              <a:gd name="connsiteX721" fmla="*/ 4564766 w 5419032"/>
              <a:gd name="connsiteY721" fmla="*/ 3508747 h 5346128"/>
              <a:gd name="connsiteX722" fmla="*/ 4546328 w 5419032"/>
              <a:gd name="connsiteY722" fmla="*/ 3485672 h 5346128"/>
              <a:gd name="connsiteX723" fmla="*/ 4099186 w 5419032"/>
              <a:gd name="connsiteY723" fmla="*/ 3467317 h 5346128"/>
              <a:gd name="connsiteX724" fmla="*/ 4090882 w 5419032"/>
              <a:gd name="connsiteY724" fmla="*/ 3471396 h 5346128"/>
              <a:gd name="connsiteX725" fmla="*/ 4107490 w 5419032"/>
              <a:gd name="connsiteY725" fmla="*/ 3483633 h 5346128"/>
              <a:gd name="connsiteX726" fmla="*/ 4115794 w 5419032"/>
              <a:gd name="connsiteY726" fmla="*/ 3479553 h 5346128"/>
              <a:gd name="connsiteX727" fmla="*/ 4099186 w 5419032"/>
              <a:gd name="connsiteY727" fmla="*/ 3467317 h 5346128"/>
              <a:gd name="connsiteX728" fmla="*/ 337815 w 5419032"/>
              <a:gd name="connsiteY728" fmla="*/ 3449801 h 5346128"/>
              <a:gd name="connsiteX729" fmla="*/ 328011 w 5419032"/>
              <a:gd name="connsiteY729" fmla="*/ 3451958 h 5346128"/>
              <a:gd name="connsiteX730" fmla="*/ 366035 w 5419032"/>
              <a:gd name="connsiteY730" fmla="*/ 3462260 h 5346128"/>
              <a:gd name="connsiteX731" fmla="*/ 337815 w 5419032"/>
              <a:gd name="connsiteY731" fmla="*/ 3449801 h 5346128"/>
              <a:gd name="connsiteX732" fmla="*/ 4346657 w 5419032"/>
              <a:gd name="connsiteY732" fmla="*/ 3414290 h 5346128"/>
              <a:gd name="connsiteX733" fmla="*/ 4357038 w 5419032"/>
              <a:gd name="connsiteY733" fmla="*/ 3416329 h 5346128"/>
              <a:gd name="connsiteX734" fmla="*/ 4340430 w 5419032"/>
              <a:gd name="connsiteY734" fmla="*/ 3430606 h 5346128"/>
              <a:gd name="connsiteX735" fmla="*/ 4334202 w 5419032"/>
              <a:gd name="connsiteY735" fmla="*/ 3424487 h 5346128"/>
              <a:gd name="connsiteX736" fmla="*/ 4346657 w 5419032"/>
              <a:gd name="connsiteY736" fmla="*/ 3414290 h 5346128"/>
              <a:gd name="connsiteX737" fmla="*/ 4057229 w 5419032"/>
              <a:gd name="connsiteY737" fmla="*/ 3399936 h 5346128"/>
              <a:gd name="connsiteX738" fmla="*/ 4048739 w 5419032"/>
              <a:gd name="connsiteY738" fmla="*/ 3423138 h 5346128"/>
              <a:gd name="connsiteX739" fmla="*/ 4072090 w 5419032"/>
              <a:gd name="connsiteY739" fmla="*/ 3444230 h 5346128"/>
              <a:gd name="connsiteX740" fmla="*/ 4086949 w 5419032"/>
              <a:gd name="connsiteY740" fmla="*/ 3421029 h 5346128"/>
              <a:gd name="connsiteX741" fmla="*/ 4057229 w 5419032"/>
              <a:gd name="connsiteY741" fmla="*/ 3399936 h 5346128"/>
              <a:gd name="connsiteX742" fmla="*/ 4127388 w 5419032"/>
              <a:gd name="connsiteY742" fmla="*/ 3396302 h 5346128"/>
              <a:gd name="connsiteX743" fmla="*/ 4107925 w 5419032"/>
              <a:gd name="connsiteY743" fmla="*/ 3399745 h 5346128"/>
              <a:gd name="connsiteX744" fmla="*/ 4140704 w 5419032"/>
              <a:gd name="connsiteY744" fmla="*/ 3410335 h 5346128"/>
              <a:gd name="connsiteX745" fmla="*/ 4127388 w 5419032"/>
              <a:gd name="connsiteY745" fmla="*/ 3396302 h 5346128"/>
              <a:gd name="connsiteX746" fmla="*/ 4172232 w 5419032"/>
              <a:gd name="connsiteY746" fmla="*/ 3394221 h 5346128"/>
              <a:gd name="connsiteX747" fmla="*/ 4144638 w 5419032"/>
              <a:gd name="connsiteY747" fmla="*/ 3395279 h 5346128"/>
              <a:gd name="connsiteX748" fmla="*/ 4182846 w 5419032"/>
              <a:gd name="connsiteY748" fmla="*/ 3420628 h 5346128"/>
              <a:gd name="connsiteX749" fmla="*/ 4187093 w 5419032"/>
              <a:gd name="connsiteY749" fmla="*/ 3405839 h 5346128"/>
              <a:gd name="connsiteX750" fmla="*/ 4172232 w 5419032"/>
              <a:gd name="connsiteY750" fmla="*/ 3394221 h 5346128"/>
              <a:gd name="connsiteX751" fmla="*/ 604458 w 5419032"/>
              <a:gd name="connsiteY751" fmla="*/ 3358837 h 5346128"/>
              <a:gd name="connsiteX752" fmla="*/ 590233 w 5419032"/>
              <a:gd name="connsiteY752" fmla="*/ 3361866 h 5346128"/>
              <a:gd name="connsiteX753" fmla="*/ 632189 w 5419032"/>
              <a:gd name="connsiteY753" fmla="*/ 3381252 h 5346128"/>
              <a:gd name="connsiteX754" fmla="*/ 604458 w 5419032"/>
              <a:gd name="connsiteY754" fmla="*/ 3358837 h 5346128"/>
              <a:gd name="connsiteX755" fmla="*/ 4638363 w 5419032"/>
              <a:gd name="connsiteY755" fmla="*/ 3342762 h 5346128"/>
              <a:gd name="connsiteX756" fmla="*/ 4628060 w 5419032"/>
              <a:gd name="connsiteY756" fmla="*/ 3357587 h 5346128"/>
              <a:gd name="connsiteX757" fmla="*/ 4628060 w 5419032"/>
              <a:gd name="connsiteY757" fmla="*/ 3368177 h 5346128"/>
              <a:gd name="connsiteX758" fmla="*/ 4646603 w 5419032"/>
              <a:gd name="connsiteY758" fmla="*/ 3357587 h 5346128"/>
              <a:gd name="connsiteX759" fmla="*/ 4638363 w 5419032"/>
              <a:gd name="connsiteY759" fmla="*/ 3342762 h 5346128"/>
              <a:gd name="connsiteX760" fmla="*/ 4321130 w 5419032"/>
              <a:gd name="connsiteY760" fmla="*/ 3337293 h 5346128"/>
              <a:gd name="connsiteX761" fmla="*/ 4311520 w 5419032"/>
              <a:gd name="connsiteY761" fmla="*/ 3344660 h 5346128"/>
              <a:gd name="connsiteX762" fmla="*/ 4263236 w 5419032"/>
              <a:gd name="connsiteY762" fmla="*/ 3382542 h 5346128"/>
              <a:gd name="connsiteX763" fmla="*/ 4315718 w 5419032"/>
              <a:gd name="connsiteY763" fmla="*/ 3420428 h 5346128"/>
              <a:gd name="connsiteX764" fmla="*/ 4271632 w 5419032"/>
              <a:gd name="connsiteY764" fmla="*/ 3424637 h 5346128"/>
              <a:gd name="connsiteX765" fmla="*/ 4267433 w 5419032"/>
              <a:gd name="connsiteY765" fmla="*/ 3437265 h 5346128"/>
              <a:gd name="connsiteX766" fmla="*/ 4296824 w 5419032"/>
              <a:gd name="connsiteY766" fmla="*/ 3447788 h 5346128"/>
              <a:gd name="connsiteX767" fmla="*/ 4273731 w 5419032"/>
              <a:gd name="connsiteY767" fmla="*/ 3460416 h 5346128"/>
              <a:gd name="connsiteX768" fmla="*/ 4206555 w 5419032"/>
              <a:gd name="connsiteY768" fmla="*/ 3443579 h 5346128"/>
              <a:gd name="connsiteX769" fmla="*/ 4175066 w 5419032"/>
              <a:gd name="connsiteY769" fmla="*/ 3443579 h 5346128"/>
              <a:gd name="connsiteX770" fmla="*/ 4177165 w 5419032"/>
              <a:gd name="connsiteY770" fmla="*/ 3487777 h 5346128"/>
              <a:gd name="connsiteX771" fmla="*/ 4200257 w 5419032"/>
              <a:gd name="connsiteY771" fmla="*/ 3477254 h 5346128"/>
              <a:gd name="connsiteX772" fmla="*/ 4212852 w 5419032"/>
              <a:gd name="connsiteY772" fmla="*/ 3473044 h 5346128"/>
              <a:gd name="connsiteX773" fmla="*/ 4290526 w 5419032"/>
              <a:gd name="connsiteY773" fmla="*/ 3515138 h 5346128"/>
              <a:gd name="connsiteX774" fmla="*/ 4426980 w 5419032"/>
              <a:gd name="connsiteY774" fmla="*/ 3565649 h 5346128"/>
              <a:gd name="connsiteX775" fmla="*/ 4468966 w 5419032"/>
              <a:gd name="connsiteY775" fmla="*/ 3540394 h 5346128"/>
              <a:gd name="connsiteX776" fmla="*/ 4458470 w 5419032"/>
              <a:gd name="connsiteY776" fmla="*/ 3527767 h 5346128"/>
              <a:gd name="connsiteX777" fmla="*/ 4368200 w 5419032"/>
              <a:gd name="connsiteY777" fmla="*/ 3521453 h 5346128"/>
              <a:gd name="connsiteX778" fmla="*/ 4361902 w 5419032"/>
              <a:gd name="connsiteY778" fmla="*/ 3510929 h 5346128"/>
              <a:gd name="connsiteX779" fmla="*/ 4334612 w 5419032"/>
              <a:gd name="connsiteY779" fmla="*/ 3466731 h 5346128"/>
              <a:gd name="connsiteX780" fmla="*/ 4389194 w 5419032"/>
              <a:gd name="connsiteY780" fmla="*/ 3494091 h 5346128"/>
              <a:gd name="connsiteX781" fmla="*/ 4410185 w 5419032"/>
              <a:gd name="connsiteY781" fmla="*/ 3477254 h 5346128"/>
              <a:gd name="connsiteX782" fmla="*/ 4445874 w 5419032"/>
              <a:gd name="connsiteY782" fmla="*/ 3489881 h 5346128"/>
              <a:gd name="connsiteX783" fmla="*/ 4426980 w 5419032"/>
              <a:gd name="connsiteY783" fmla="*/ 3500405 h 5346128"/>
              <a:gd name="connsiteX784" fmla="*/ 4510952 w 5419032"/>
              <a:gd name="connsiteY784" fmla="*/ 3414114 h 5346128"/>
              <a:gd name="connsiteX785" fmla="*/ 4487859 w 5419032"/>
              <a:gd name="connsiteY785" fmla="*/ 3386753 h 5346128"/>
              <a:gd name="connsiteX786" fmla="*/ 4468966 w 5419032"/>
              <a:gd name="connsiteY786" fmla="*/ 3401486 h 5346128"/>
              <a:gd name="connsiteX787" fmla="*/ 4458470 w 5419032"/>
              <a:gd name="connsiteY787" fmla="*/ 3420428 h 5346128"/>
              <a:gd name="connsiteX788" fmla="*/ 4441674 w 5419032"/>
              <a:gd name="connsiteY788" fmla="*/ 3401486 h 5346128"/>
              <a:gd name="connsiteX789" fmla="*/ 4399690 w 5419032"/>
              <a:gd name="connsiteY789" fmla="*/ 3348869 h 5346128"/>
              <a:gd name="connsiteX790" fmla="*/ 4393392 w 5419032"/>
              <a:gd name="connsiteY790" fmla="*/ 3390963 h 5346128"/>
              <a:gd name="connsiteX791" fmla="*/ 4359802 w 5419032"/>
              <a:gd name="connsiteY791" fmla="*/ 3365707 h 5346128"/>
              <a:gd name="connsiteX792" fmla="*/ 4321130 w 5419032"/>
              <a:gd name="connsiteY792" fmla="*/ 3337293 h 5346128"/>
              <a:gd name="connsiteX793" fmla="*/ 4151312 w 5419032"/>
              <a:gd name="connsiteY793" fmla="*/ 3332272 h 5346128"/>
              <a:gd name="connsiteX794" fmla="*/ 4134149 w 5419032"/>
              <a:gd name="connsiteY794" fmla="*/ 3340795 h 5346128"/>
              <a:gd name="connsiteX795" fmla="*/ 4142730 w 5419032"/>
              <a:gd name="connsiteY795" fmla="*/ 3349317 h 5346128"/>
              <a:gd name="connsiteX796" fmla="*/ 4157748 w 5419032"/>
              <a:gd name="connsiteY796" fmla="*/ 3336533 h 5346128"/>
              <a:gd name="connsiteX797" fmla="*/ 4151312 w 5419032"/>
              <a:gd name="connsiteY797" fmla="*/ 3332272 h 5346128"/>
              <a:gd name="connsiteX798" fmla="*/ 4098420 w 5419032"/>
              <a:gd name="connsiteY798" fmla="*/ 3303941 h 5346128"/>
              <a:gd name="connsiteX799" fmla="*/ 4088072 w 5419032"/>
              <a:gd name="connsiteY799" fmla="*/ 3311254 h 5346128"/>
              <a:gd name="connsiteX800" fmla="*/ 4124160 w 5419032"/>
              <a:gd name="connsiteY800" fmla="*/ 3367672 h 5346128"/>
              <a:gd name="connsiteX801" fmla="*/ 4119914 w 5419032"/>
              <a:gd name="connsiteY801" fmla="*/ 3323791 h 5346128"/>
              <a:gd name="connsiteX802" fmla="*/ 4107178 w 5419032"/>
              <a:gd name="connsiteY802" fmla="*/ 3309164 h 5346128"/>
              <a:gd name="connsiteX803" fmla="*/ 4098420 w 5419032"/>
              <a:gd name="connsiteY803" fmla="*/ 3303941 h 5346128"/>
              <a:gd name="connsiteX804" fmla="*/ 4925754 w 5419032"/>
              <a:gd name="connsiteY804" fmla="*/ 3223451 h 5346128"/>
              <a:gd name="connsiteX805" fmla="*/ 4937856 w 5419032"/>
              <a:gd name="connsiteY805" fmla="*/ 3231610 h 5346128"/>
              <a:gd name="connsiteX806" fmla="*/ 4923737 w 5419032"/>
              <a:gd name="connsiteY806" fmla="*/ 3241807 h 5346128"/>
              <a:gd name="connsiteX807" fmla="*/ 4913650 w 5419032"/>
              <a:gd name="connsiteY807" fmla="*/ 3235688 h 5346128"/>
              <a:gd name="connsiteX808" fmla="*/ 4925754 w 5419032"/>
              <a:gd name="connsiteY808" fmla="*/ 3223451 h 5346128"/>
              <a:gd name="connsiteX809" fmla="*/ 5032706 w 5419032"/>
              <a:gd name="connsiteY809" fmla="*/ 3137382 h 5346128"/>
              <a:gd name="connsiteX810" fmla="*/ 5020454 w 5419032"/>
              <a:gd name="connsiteY810" fmla="*/ 3156586 h 5346128"/>
              <a:gd name="connsiteX811" fmla="*/ 5054544 w 5419032"/>
              <a:gd name="connsiteY811" fmla="*/ 3146206 h 5346128"/>
              <a:gd name="connsiteX812" fmla="*/ 5032706 w 5419032"/>
              <a:gd name="connsiteY812" fmla="*/ 3137382 h 5346128"/>
              <a:gd name="connsiteX813" fmla="*/ 5118916 w 5419032"/>
              <a:gd name="connsiteY813" fmla="*/ 3106285 h 5346128"/>
              <a:gd name="connsiteX814" fmla="*/ 5128172 w 5419032"/>
              <a:gd name="connsiteY814" fmla="*/ 3106762 h 5346128"/>
              <a:gd name="connsiteX815" fmla="*/ 5148944 w 5419032"/>
              <a:gd name="connsiteY815" fmla="*/ 3131675 h 5346128"/>
              <a:gd name="connsiteX816" fmla="*/ 5119649 w 5419032"/>
              <a:gd name="connsiteY816" fmla="*/ 3125643 h 5346128"/>
              <a:gd name="connsiteX817" fmla="*/ 5104270 w 5419032"/>
              <a:gd name="connsiteY817" fmla="*/ 3112342 h 5346128"/>
              <a:gd name="connsiteX818" fmla="*/ 5116851 w 5419032"/>
              <a:gd name="connsiteY818" fmla="*/ 3108154 h 5346128"/>
              <a:gd name="connsiteX819" fmla="*/ 5037108 w 5419032"/>
              <a:gd name="connsiteY819" fmla="*/ 3080913 h 5346128"/>
              <a:gd name="connsiteX820" fmla="*/ 5042600 w 5419032"/>
              <a:gd name="connsiteY820" fmla="*/ 3081391 h 5346128"/>
              <a:gd name="connsiteX821" fmla="*/ 5037108 w 5419032"/>
              <a:gd name="connsiteY821" fmla="*/ 3085105 h 5346128"/>
              <a:gd name="connsiteX822" fmla="*/ 5037108 w 5419032"/>
              <a:gd name="connsiteY822" fmla="*/ 3080913 h 5346128"/>
              <a:gd name="connsiteX823" fmla="*/ 5044991 w 5419032"/>
              <a:gd name="connsiteY823" fmla="*/ 3079772 h 5346128"/>
              <a:gd name="connsiteX824" fmla="*/ 5045696 w 5419032"/>
              <a:gd name="connsiteY824" fmla="*/ 3079937 h 5346128"/>
              <a:gd name="connsiteX825" fmla="*/ 5043142 w 5419032"/>
              <a:gd name="connsiteY825" fmla="*/ 3081438 h 5346128"/>
              <a:gd name="connsiteX826" fmla="*/ 5042600 w 5419032"/>
              <a:gd name="connsiteY826" fmla="*/ 3081391 h 5346128"/>
              <a:gd name="connsiteX827" fmla="*/ 4947558 w 5419032"/>
              <a:gd name="connsiteY827" fmla="*/ 3015248 h 5346128"/>
              <a:gd name="connsiteX828" fmla="*/ 4938904 w 5419032"/>
              <a:gd name="connsiteY828" fmla="*/ 3016034 h 5346128"/>
              <a:gd name="connsiteX829" fmla="*/ 4922122 w 5419032"/>
              <a:gd name="connsiteY829" fmla="*/ 3024425 h 5346128"/>
              <a:gd name="connsiteX830" fmla="*/ 4941002 w 5419032"/>
              <a:gd name="connsiteY830" fmla="*/ 3037011 h 5346128"/>
              <a:gd name="connsiteX831" fmla="*/ 4951492 w 5419032"/>
              <a:gd name="connsiteY831" fmla="*/ 3022327 h 5346128"/>
              <a:gd name="connsiteX832" fmla="*/ 4947558 w 5419032"/>
              <a:gd name="connsiteY832" fmla="*/ 3015248 h 5346128"/>
              <a:gd name="connsiteX833" fmla="*/ 4987241 w 5419032"/>
              <a:gd name="connsiteY833" fmla="*/ 3007119 h 5346128"/>
              <a:gd name="connsiteX834" fmla="*/ 4957522 w 5419032"/>
              <a:gd name="connsiteY834" fmla="*/ 3055757 h 5346128"/>
              <a:gd name="connsiteX835" fmla="*/ 4995732 w 5419032"/>
              <a:gd name="connsiteY835" fmla="*/ 3049413 h 5346128"/>
              <a:gd name="connsiteX836" fmla="*/ 4987241 w 5419032"/>
              <a:gd name="connsiteY836" fmla="*/ 3007119 h 5346128"/>
              <a:gd name="connsiteX837" fmla="*/ 4878594 w 5419032"/>
              <a:gd name="connsiteY837" fmla="*/ 2982453 h 5346128"/>
              <a:gd name="connsiteX838" fmla="*/ 4875682 w 5419032"/>
              <a:gd name="connsiteY838" fmla="*/ 2990802 h 5346128"/>
              <a:gd name="connsiteX839" fmla="*/ 4890174 w 5419032"/>
              <a:gd name="connsiteY839" fmla="*/ 3007119 h 5346128"/>
              <a:gd name="connsiteX840" fmla="*/ 4910875 w 5419032"/>
              <a:gd name="connsiteY840" fmla="*/ 2990802 h 5346128"/>
              <a:gd name="connsiteX841" fmla="*/ 4907996 w 5419032"/>
              <a:gd name="connsiteY841" fmla="*/ 2982453 h 5346128"/>
              <a:gd name="connsiteX842" fmla="*/ 4894314 w 5419032"/>
              <a:gd name="connsiteY842" fmla="*/ 2988763 h 5346128"/>
              <a:gd name="connsiteX843" fmla="*/ 4878594 w 5419032"/>
              <a:gd name="connsiteY843" fmla="*/ 2982453 h 5346128"/>
              <a:gd name="connsiteX844" fmla="*/ 4839524 w 5419032"/>
              <a:gd name="connsiteY844" fmla="*/ 2949693 h 5346128"/>
              <a:gd name="connsiteX845" fmla="*/ 4811990 w 5419032"/>
              <a:gd name="connsiteY845" fmla="*/ 2962280 h 5346128"/>
              <a:gd name="connsiteX846" fmla="*/ 4816226 w 5419032"/>
              <a:gd name="connsiteY846" fmla="*/ 2976964 h 5346128"/>
              <a:gd name="connsiteX847" fmla="*/ 4839524 w 5419032"/>
              <a:gd name="connsiteY847" fmla="*/ 2949693 h 5346128"/>
              <a:gd name="connsiteX848" fmla="*/ 4751047 w 5419032"/>
              <a:gd name="connsiteY848" fmla="*/ 2900556 h 5346128"/>
              <a:gd name="connsiteX849" fmla="*/ 4749430 w 5419032"/>
              <a:gd name="connsiteY849" fmla="*/ 2911595 h 5346128"/>
              <a:gd name="connsiteX850" fmla="*/ 4755894 w 5419032"/>
              <a:gd name="connsiteY850" fmla="*/ 2922366 h 5346128"/>
              <a:gd name="connsiteX851" fmla="*/ 4775278 w 5419032"/>
              <a:gd name="connsiteY851" fmla="*/ 2911595 h 5346128"/>
              <a:gd name="connsiteX852" fmla="*/ 4762354 w 5419032"/>
              <a:gd name="connsiteY852" fmla="*/ 2900826 h 5346128"/>
              <a:gd name="connsiteX853" fmla="*/ 4751047 w 5419032"/>
              <a:gd name="connsiteY853" fmla="*/ 2900556 h 5346128"/>
              <a:gd name="connsiteX854" fmla="*/ 5031293 w 5419032"/>
              <a:gd name="connsiteY854" fmla="*/ 2871551 h 5346128"/>
              <a:gd name="connsiteX855" fmla="*/ 5034878 w 5419032"/>
              <a:gd name="connsiteY855" fmla="*/ 2877844 h 5346128"/>
              <a:gd name="connsiteX856" fmla="*/ 5016440 w 5419032"/>
              <a:gd name="connsiteY856" fmla="*/ 2898823 h 5346128"/>
              <a:gd name="connsiteX857" fmla="*/ 5004149 w 5419032"/>
              <a:gd name="connsiteY857" fmla="*/ 2890431 h 5346128"/>
              <a:gd name="connsiteX858" fmla="*/ 5024636 w 5419032"/>
              <a:gd name="connsiteY858" fmla="*/ 2871551 h 5346128"/>
              <a:gd name="connsiteX859" fmla="*/ 5031293 w 5419032"/>
              <a:gd name="connsiteY859" fmla="*/ 2871551 h 5346128"/>
              <a:gd name="connsiteX860" fmla="*/ 4807980 w 5419032"/>
              <a:gd name="connsiteY860" fmla="*/ 2743588 h 5346128"/>
              <a:gd name="connsiteX861" fmla="*/ 4828802 w 5419032"/>
              <a:gd name="connsiteY861" fmla="*/ 2794418 h 5346128"/>
              <a:gd name="connsiteX862" fmla="*/ 4818392 w 5419032"/>
              <a:gd name="connsiteY862" fmla="*/ 2798654 h 5346128"/>
              <a:gd name="connsiteX863" fmla="*/ 4807980 w 5419032"/>
              <a:gd name="connsiteY863" fmla="*/ 2743588 h 5346128"/>
              <a:gd name="connsiteX864" fmla="*/ 4684088 w 5419032"/>
              <a:gd name="connsiteY864" fmla="*/ 2597040 h 5346128"/>
              <a:gd name="connsiteX865" fmla="*/ 4743020 w 5419032"/>
              <a:gd name="connsiteY865" fmla="*/ 2658365 h 5346128"/>
              <a:gd name="connsiteX866" fmla="*/ 4675670 w 5419032"/>
              <a:gd name="connsiteY866" fmla="*/ 2635104 h 5346128"/>
              <a:gd name="connsiteX867" fmla="*/ 4669356 w 5419032"/>
              <a:gd name="connsiteY867" fmla="*/ 2624530 h 5346128"/>
              <a:gd name="connsiteX868" fmla="*/ 4684088 w 5419032"/>
              <a:gd name="connsiteY868" fmla="*/ 2597040 h 5346128"/>
              <a:gd name="connsiteX869" fmla="*/ 4625410 w 5419032"/>
              <a:gd name="connsiteY869" fmla="*/ 2383036 h 5346128"/>
              <a:gd name="connsiteX870" fmla="*/ 4640236 w 5419032"/>
              <a:gd name="connsiteY870" fmla="*/ 2397567 h 5346128"/>
              <a:gd name="connsiteX871" fmla="*/ 4625410 w 5419032"/>
              <a:gd name="connsiteY871" fmla="*/ 2407946 h 5346128"/>
              <a:gd name="connsiteX872" fmla="*/ 4614820 w 5419032"/>
              <a:gd name="connsiteY872" fmla="*/ 2391338 h 5346128"/>
              <a:gd name="connsiteX873" fmla="*/ 4625410 w 5419032"/>
              <a:gd name="connsiteY873" fmla="*/ 2383036 h 5346128"/>
              <a:gd name="connsiteX874" fmla="*/ 4745238 w 5419032"/>
              <a:gd name="connsiteY874" fmla="*/ 2322183 h 5346128"/>
              <a:gd name="connsiteX875" fmla="*/ 4745414 w 5419032"/>
              <a:gd name="connsiteY875" fmla="*/ 2322278 h 5346128"/>
              <a:gd name="connsiteX876" fmla="*/ 4745414 w 5419032"/>
              <a:gd name="connsiteY876" fmla="*/ 2324058 h 5346128"/>
              <a:gd name="connsiteX877" fmla="*/ 4638336 w 5419032"/>
              <a:gd name="connsiteY877" fmla="*/ 2275798 h 5346128"/>
              <a:gd name="connsiteX878" fmla="*/ 4632368 w 5419032"/>
              <a:gd name="connsiteY878" fmla="*/ 2284712 h 5346128"/>
              <a:gd name="connsiteX879" fmla="*/ 4638596 w 5419032"/>
              <a:gd name="connsiteY879" fmla="*/ 2293103 h 5346128"/>
              <a:gd name="connsiteX880" fmla="*/ 4655204 w 5419032"/>
              <a:gd name="connsiteY880" fmla="*/ 2280518 h 5346128"/>
              <a:gd name="connsiteX881" fmla="*/ 4648977 w 5419032"/>
              <a:gd name="connsiteY881" fmla="*/ 2276323 h 5346128"/>
              <a:gd name="connsiteX882" fmla="*/ 4638336 w 5419032"/>
              <a:gd name="connsiteY882" fmla="*/ 2275798 h 5346128"/>
              <a:gd name="connsiteX883" fmla="*/ 4600714 w 5419032"/>
              <a:gd name="connsiteY883" fmla="*/ 2259809 h 5346128"/>
              <a:gd name="connsiteX884" fmla="*/ 4592100 w 5419032"/>
              <a:gd name="connsiteY884" fmla="*/ 2265955 h 5346128"/>
              <a:gd name="connsiteX885" fmla="*/ 4609330 w 5419032"/>
              <a:gd name="connsiteY885" fmla="*/ 2292583 h 5346128"/>
              <a:gd name="connsiteX886" fmla="*/ 4600714 w 5419032"/>
              <a:gd name="connsiteY886" fmla="*/ 2259809 h 5346128"/>
              <a:gd name="connsiteX887" fmla="*/ 4725182 w 5419032"/>
              <a:gd name="connsiteY887" fmla="*/ 2259645 h 5346128"/>
              <a:gd name="connsiteX888" fmla="*/ 4705280 w 5419032"/>
              <a:gd name="connsiteY888" fmla="*/ 2280794 h 5346128"/>
              <a:gd name="connsiteX889" fmla="*/ 4716634 w 5419032"/>
              <a:gd name="connsiteY889" fmla="*/ 2308348 h 5346128"/>
              <a:gd name="connsiteX890" fmla="*/ 4745210 w 5419032"/>
              <a:gd name="connsiteY890" fmla="*/ 2321899 h 5346128"/>
              <a:gd name="connsiteX891" fmla="*/ 4745238 w 5419032"/>
              <a:gd name="connsiteY891" fmla="*/ 2322183 h 5346128"/>
              <a:gd name="connsiteX892" fmla="*/ 4745124 w 5419032"/>
              <a:gd name="connsiteY892" fmla="*/ 2322121 h 5346128"/>
              <a:gd name="connsiteX893" fmla="*/ 4745124 w 5419032"/>
              <a:gd name="connsiteY893" fmla="*/ 2324213 h 5346128"/>
              <a:gd name="connsiteX894" fmla="*/ 4747689 w 5419032"/>
              <a:gd name="connsiteY894" fmla="*/ 2323498 h 5346128"/>
              <a:gd name="connsiteX895" fmla="*/ 4758284 w 5419032"/>
              <a:gd name="connsiteY895" fmla="*/ 2329182 h 5346128"/>
              <a:gd name="connsiteX896" fmla="*/ 4768286 w 5419032"/>
              <a:gd name="connsiteY896" fmla="*/ 2340944 h 5346128"/>
              <a:gd name="connsiteX897" fmla="*/ 4797766 w 5419032"/>
              <a:gd name="connsiteY897" fmla="*/ 2370224 h 5346128"/>
              <a:gd name="connsiteX898" fmla="*/ 4787238 w 5419032"/>
              <a:gd name="connsiteY898" fmla="*/ 2334669 h 5346128"/>
              <a:gd name="connsiteX899" fmla="*/ 4756147 w 5419032"/>
              <a:gd name="connsiteY899" fmla="*/ 2321141 h 5346128"/>
              <a:gd name="connsiteX900" fmla="*/ 4747689 w 5419032"/>
              <a:gd name="connsiteY900" fmla="*/ 2323498 h 5346128"/>
              <a:gd name="connsiteX901" fmla="*/ 4745414 w 5419032"/>
              <a:gd name="connsiteY901" fmla="*/ 2322278 h 5346128"/>
              <a:gd name="connsiteX902" fmla="*/ 4745414 w 5419032"/>
              <a:gd name="connsiteY902" fmla="*/ 2321997 h 5346128"/>
              <a:gd name="connsiteX903" fmla="*/ 4745210 w 5419032"/>
              <a:gd name="connsiteY903" fmla="*/ 2321899 h 5346128"/>
              <a:gd name="connsiteX904" fmla="*/ 4743830 w 5419032"/>
              <a:gd name="connsiteY904" fmla="*/ 2307318 h 5346128"/>
              <a:gd name="connsiteX905" fmla="*/ 4732740 w 5419032"/>
              <a:gd name="connsiteY905" fmla="*/ 2295214 h 5346128"/>
              <a:gd name="connsiteX906" fmla="*/ 4724290 w 5419032"/>
              <a:gd name="connsiteY906" fmla="*/ 2280794 h 5346128"/>
              <a:gd name="connsiteX907" fmla="*/ 4743302 w 5419032"/>
              <a:gd name="connsiteY907" fmla="*/ 2276676 h 5346128"/>
              <a:gd name="connsiteX908" fmla="*/ 4779212 w 5419032"/>
              <a:gd name="connsiteY908" fmla="*/ 2270495 h 5346128"/>
              <a:gd name="connsiteX909" fmla="*/ 4739078 w 5419032"/>
              <a:gd name="connsiteY909" fmla="*/ 2262253 h 5346128"/>
              <a:gd name="connsiteX910" fmla="*/ 4725182 w 5419032"/>
              <a:gd name="connsiteY910" fmla="*/ 2259645 h 5346128"/>
              <a:gd name="connsiteX911" fmla="*/ 4873238 w 5419032"/>
              <a:gd name="connsiteY911" fmla="*/ 2213478 h 5346128"/>
              <a:gd name="connsiteX912" fmla="*/ 4842145 w 5419032"/>
              <a:gd name="connsiteY912" fmla="*/ 2226383 h 5346128"/>
              <a:gd name="connsiteX913" fmla="*/ 4877604 w 5419032"/>
              <a:gd name="connsiteY913" fmla="*/ 2240982 h 5346128"/>
              <a:gd name="connsiteX914" fmla="*/ 4883864 w 5419032"/>
              <a:gd name="connsiteY914" fmla="*/ 2218040 h 5346128"/>
              <a:gd name="connsiteX915" fmla="*/ 4873238 w 5419032"/>
              <a:gd name="connsiteY915" fmla="*/ 2213478 h 5346128"/>
              <a:gd name="connsiteX916" fmla="*/ 5018744 w 5419032"/>
              <a:gd name="connsiteY916" fmla="*/ 2201917 h 5346128"/>
              <a:gd name="connsiteX917" fmla="*/ 5004149 w 5419032"/>
              <a:gd name="connsiteY917" fmla="*/ 2209044 h 5346128"/>
              <a:gd name="connsiteX918" fmla="*/ 5010294 w 5419032"/>
              <a:gd name="connsiteY918" fmla="*/ 2223831 h 5346128"/>
              <a:gd name="connsiteX919" fmla="*/ 5034878 w 5419032"/>
              <a:gd name="connsiteY919" fmla="*/ 2202708 h 5346128"/>
              <a:gd name="connsiteX920" fmla="*/ 5018744 w 5419032"/>
              <a:gd name="connsiteY920" fmla="*/ 2201917 h 5346128"/>
              <a:gd name="connsiteX921" fmla="*/ 4800453 w 5419032"/>
              <a:gd name="connsiteY921" fmla="*/ 2183773 h 5346128"/>
              <a:gd name="connsiteX922" fmla="*/ 4789964 w 5419032"/>
              <a:gd name="connsiteY922" fmla="*/ 2190067 h 5346128"/>
              <a:gd name="connsiteX923" fmla="*/ 4810941 w 5419032"/>
              <a:gd name="connsiteY923" fmla="*/ 2221532 h 5346128"/>
              <a:gd name="connsiteX924" fmla="*/ 4827724 w 5419032"/>
              <a:gd name="connsiteY924" fmla="*/ 2217337 h 5346128"/>
              <a:gd name="connsiteX925" fmla="*/ 4800453 w 5419032"/>
              <a:gd name="connsiteY925" fmla="*/ 2183773 h 5346128"/>
              <a:gd name="connsiteX926" fmla="*/ 314246 w 5419032"/>
              <a:gd name="connsiteY926" fmla="*/ 2157690 h 5346128"/>
              <a:gd name="connsiteX927" fmla="*/ 292612 w 5419032"/>
              <a:gd name="connsiteY927" fmla="*/ 2160919 h 5346128"/>
              <a:gd name="connsiteX928" fmla="*/ 335879 w 5419032"/>
              <a:gd name="connsiteY928" fmla="*/ 2173844 h 5346128"/>
              <a:gd name="connsiteX929" fmla="*/ 314246 w 5419032"/>
              <a:gd name="connsiteY929" fmla="*/ 2157690 h 5346128"/>
              <a:gd name="connsiteX930" fmla="*/ 5131541 w 5419032"/>
              <a:gd name="connsiteY930" fmla="*/ 2137992 h 5346128"/>
              <a:gd name="connsiteX931" fmla="*/ 5133639 w 5419032"/>
              <a:gd name="connsiteY931" fmla="*/ 2137992 h 5346128"/>
              <a:gd name="connsiteX932" fmla="*/ 5135861 w 5419032"/>
              <a:gd name="connsiteY932" fmla="*/ 2149085 h 5346128"/>
              <a:gd name="connsiteX933" fmla="*/ 5135157 w 5419032"/>
              <a:gd name="connsiteY933" fmla="*/ 2154268 h 5346128"/>
              <a:gd name="connsiteX934" fmla="*/ 5133213 w 5419032"/>
              <a:gd name="connsiteY934" fmla="*/ 2151512 h 5346128"/>
              <a:gd name="connsiteX935" fmla="*/ 5106359 w 5419032"/>
              <a:gd name="connsiteY935" fmla="*/ 2154754 h 5346128"/>
              <a:gd name="connsiteX936" fmla="*/ 5131541 w 5419032"/>
              <a:gd name="connsiteY936" fmla="*/ 2137992 h 5346128"/>
              <a:gd name="connsiteX937" fmla="*/ 5152440 w 5419032"/>
              <a:gd name="connsiteY937" fmla="*/ 2106412 h 5346128"/>
              <a:gd name="connsiteX938" fmla="*/ 5139724 w 5419032"/>
              <a:gd name="connsiteY938" fmla="*/ 2114974 h 5346128"/>
              <a:gd name="connsiteX939" fmla="*/ 5138141 w 5419032"/>
              <a:gd name="connsiteY939" fmla="*/ 2129229 h 5346128"/>
              <a:gd name="connsiteX940" fmla="*/ 5137908 w 5419032"/>
              <a:gd name="connsiteY940" fmla="*/ 2129247 h 5346128"/>
              <a:gd name="connsiteX941" fmla="*/ 5137908 w 5419032"/>
              <a:gd name="connsiteY941" fmla="*/ 2131322 h 5346128"/>
              <a:gd name="connsiteX942" fmla="*/ 5138141 w 5419032"/>
              <a:gd name="connsiteY942" fmla="*/ 2129229 h 5346128"/>
              <a:gd name="connsiteX943" fmla="*/ 5152440 w 5419032"/>
              <a:gd name="connsiteY943" fmla="*/ 2128207 h 5346128"/>
              <a:gd name="connsiteX944" fmla="*/ 5160744 w 5419032"/>
              <a:gd name="connsiteY944" fmla="*/ 2114715 h 5346128"/>
              <a:gd name="connsiteX945" fmla="*/ 5152440 w 5419032"/>
              <a:gd name="connsiteY945" fmla="*/ 2106412 h 5346128"/>
              <a:gd name="connsiteX946" fmla="*/ 138709 w 5419032"/>
              <a:gd name="connsiteY946" fmla="*/ 2095938 h 5346128"/>
              <a:gd name="connsiteX947" fmla="*/ 109058 w 5419032"/>
              <a:gd name="connsiteY947" fmla="*/ 2142089 h 5346128"/>
              <a:gd name="connsiteX948" fmla="*/ 159888 w 5419032"/>
              <a:gd name="connsiteY948" fmla="*/ 2129502 h 5346128"/>
              <a:gd name="connsiteX949" fmla="*/ 138709 w 5419032"/>
              <a:gd name="connsiteY949" fmla="*/ 2095938 h 5346128"/>
              <a:gd name="connsiteX950" fmla="*/ 216568 w 5419032"/>
              <a:gd name="connsiteY950" fmla="*/ 2091997 h 5346128"/>
              <a:gd name="connsiteX951" fmla="*/ 256642 w 5419032"/>
              <a:gd name="connsiteY951" fmla="*/ 2121826 h 5346128"/>
              <a:gd name="connsiteX952" fmla="*/ 262970 w 5419032"/>
              <a:gd name="connsiteY952" fmla="*/ 2109042 h 5346128"/>
              <a:gd name="connsiteX953" fmla="*/ 216568 w 5419032"/>
              <a:gd name="connsiteY953" fmla="*/ 2091997 h 5346128"/>
              <a:gd name="connsiteX954" fmla="*/ 552211 w 5419032"/>
              <a:gd name="connsiteY954" fmla="*/ 2057901 h 5346128"/>
              <a:gd name="connsiteX955" fmla="*/ 587873 w 5419032"/>
              <a:gd name="connsiteY955" fmla="*/ 2081501 h 5346128"/>
              <a:gd name="connsiteX956" fmla="*/ 581580 w 5419032"/>
              <a:gd name="connsiteY956" fmla="*/ 2057901 h 5346128"/>
              <a:gd name="connsiteX957" fmla="*/ 552211 w 5419032"/>
              <a:gd name="connsiteY957" fmla="*/ 2057901 h 5346128"/>
              <a:gd name="connsiteX958" fmla="*/ 568985 w 5419032"/>
              <a:gd name="connsiteY958" fmla="*/ 2004134 h 5346128"/>
              <a:gd name="connsiteX959" fmla="*/ 609284 w 5419032"/>
              <a:gd name="connsiteY959" fmla="*/ 2035272 h 5346128"/>
              <a:gd name="connsiteX960" fmla="*/ 611869 w 5419032"/>
              <a:gd name="connsiteY960" fmla="*/ 2036148 h 5346128"/>
              <a:gd name="connsiteX961" fmla="*/ 610474 w 5419032"/>
              <a:gd name="connsiteY961" fmla="*/ 2038614 h 5346128"/>
              <a:gd name="connsiteX962" fmla="*/ 603026 w 5419032"/>
              <a:gd name="connsiteY962" fmla="*/ 2041586 h 5346128"/>
              <a:gd name="connsiteX963" fmla="*/ 595809 w 5419032"/>
              <a:gd name="connsiteY963" fmla="*/ 2045883 h 5346128"/>
              <a:gd name="connsiteX964" fmla="*/ 591653 w 5419032"/>
              <a:gd name="connsiteY964" fmla="*/ 2042377 h 5346128"/>
              <a:gd name="connsiteX965" fmla="*/ 568985 w 5419032"/>
              <a:gd name="connsiteY965" fmla="*/ 2004134 h 5346128"/>
              <a:gd name="connsiteX966" fmla="*/ 611102 w 5419032"/>
              <a:gd name="connsiteY966" fmla="*/ 1978670 h 5346128"/>
              <a:gd name="connsiteX967" fmla="*/ 625634 w 5419032"/>
              <a:gd name="connsiteY967" fmla="*/ 1991127 h 5346128"/>
              <a:gd name="connsiteX968" fmla="*/ 611102 w 5419032"/>
              <a:gd name="connsiteY968" fmla="*/ 2001506 h 5346128"/>
              <a:gd name="connsiteX969" fmla="*/ 600722 w 5419032"/>
              <a:gd name="connsiteY969" fmla="*/ 1980746 h 5346128"/>
              <a:gd name="connsiteX970" fmla="*/ 611102 w 5419032"/>
              <a:gd name="connsiteY970" fmla="*/ 1978670 h 5346128"/>
              <a:gd name="connsiteX971" fmla="*/ 442469 w 5419032"/>
              <a:gd name="connsiteY971" fmla="*/ 1960870 h 5346128"/>
              <a:gd name="connsiteX972" fmla="*/ 445839 w 5419032"/>
              <a:gd name="connsiteY972" fmla="*/ 1961451 h 5346128"/>
              <a:gd name="connsiteX973" fmla="*/ 449940 w 5419032"/>
              <a:gd name="connsiteY973" fmla="*/ 1964980 h 5346128"/>
              <a:gd name="connsiteX974" fmla="*/ 450626 w 5419032"/>
              <a:gd name="connsiteY974" fmla="*/ 1971137 h 5346128"/>
              <a:gd name="connsiteX975" fmla="*/ 449839 w 5419032"/>
              <a:gd name="connsiteY975" fmla="*/ 1976635 h 5346128"/>
              <a:gd name="connsiteX976" fmla="*/ 445641 w 5419032"/>
              <a:gd name="connsiteY976" fmla="*/ 1968258 h 5346128"/>
              <a:gd name="connsiteX977" fmla="*/ 583916 w 5419032"/>
              <a:gd name="connsiteY977" fmla="*/ 1938573 h 5346128"/>
              <a:gd name="connsiteX978" fmla="*/ 594643 w 5419032"/>
              <a:gd name="connsiteY978" fmla="*/ 1955518 h 5346128"/>
              <a:gd name="connsiteX979" fmla="*/ 583916 w 5419032"/>
              <a:gd name="connsiteY979" fmla="*/ 1966107 h 5346128"/>
              <a:gd name="connsiteX980" fmla="*/ 573188 w 5419032"/>
              <a:gd name="connsiteY980" fmla="*/ 1947044 h 5346128"/>
              <a:gd name="connsiteX981" fmla="*/ 583916 w 5419032"/>
              <a:gd name="connsiteY981" fmla="*/ 1938573 h 5346128"/>
              <a:gd name="connsiteX982" fmla="*/ 607277 w 5419032"/>
              <a:gd name="connsiteY982" fmla="*/ 1815327 h 5346128"/>
              <a:gd name="connsiteX983" fmla="*/ 613832 w 5419032"/>
              <a:gd name="connsiteY983" fmla="*/ 1819588 h 5346128"/>
              <a:gd name="connsiteX984" fmla="*/ 598536 w 5419032"/>
              <a:gd name="connsiteY984" fmla="*/ 1832371 h 5346128"/>
              <a:gd name="connsiteX985" fmla="*/ 589796 w 5419032"/>
              <a:gd name="connsiteY985" fmla="*/ 1825979 h 5346128"/>
              <a:gd name="connsiteX986" fmla="*/ 607277 w 5419032"/>
              <a:gd name="connsiteY986" fmla="*/ 1815327 h 5346128"/>
              <a:gd name="connsiteX987" fmla="*/ 439284 w 5419032"/>
              <a:gd name="connsiteY987" fmla="*/ 1809930 h 5346128"/>
              <a:gd name="connsiteX988" fmla="*/ 445598 w 5419032"/>
              <a:gd name="connsiteY988" fmla="*/ 1817910 h 5346128"/>
              <a:gd name="connsiteX989" fmla="*/ 454017 w 5419032"/>
              <a:gd name="connsiteY989" fmla="*/ 1855597 h 5346128"/>
              <a:gd name="connsiteX990" fmla="*/ 491900 w 5419032"/>
              <a:gd name="connsiteY990" fmla="*/ 1863970 h 5346128"/>
              <a:gd name="connsiteX991" fmla="*/ 479273 w 5419032"/>
              <a:gd name="connsiteY991" fmla="*/ 1910030 h 5346128"/>
              <a:gd name="connsiteX992" fmla="*/ 439284 w 5419032"/>
              <a:gd name="connsiteY992" fmla="*/ 1920498 h 5346128"/>
              <a:gd name="connsiteX993" fmla="*/ 411923 w 5419032"/>
              <a:gd name="connsiteY993" fmla="*/ 1824193 h 5346128"/>
              <a:gd name="connsiteX994" fmla="*/ 420341 w 5419032"/>
              <a:gd name="connsiteY994" fmla="*/ 1815817 h 5346128"/>
              <a:gd name="connsiteX995" fmla="*/ 439284 w 5419032"/>
              <a:gd name="connsiteY995" fmla="*/ 1809930 h 5346128"/>
              <a:gd name="connsiteX996" fmla="*/ 577123 w 5419032"/>
              <a:gd name="connsiteY996" fmla="*/ 1774136 h 5346128"/>
              <a:gd name="connsiteX997" fmla="*/ 587611 w 5419032"/>
              <a:gd name="connsiteY997" fmla="*/ 1780363 h 5346128"/>
              <a:gd name="connsiteX998" fmla="*/ 579220 w 5419032"/>
              <a:gd name="connsiteY998" fmla="*/ 1796970 h 5346128"/>
              <a:gd name="connsiteX999" fmla="*/ 570829 w 5419032"/>
              <a:gd name="connsiteY999" fmla="*/ 1784516 h 5346128"/>
              <a:gd name="connsiteX1000" fmla="*/ 577123 w 5419032"/>
              <a:gd name="connsiteY1000" fmla="*/ 1774136 h 5346128"/>
              <a:gd name="connsiteX1001" fmla="*/ 560963 w 5419032"/>
              <a:gd name="connsiteY1001" fmla="*/ 1722796 h 5346128"/>
              <a:gd name="connsiteX1002" fmla="*/ 561127 w 5419032"/>
              <a:gd name="connsiteY1002" fmla="*/ 1722959 h 5346128"/>
              <a:gd name="connsiteX1003" fmla="*/ 560946 w 5419032"/>
              <a:gd name="connsiteY1003" fmla="*/ 1722875 h 5346128"/>
              <a:gd name="connsiteX1004" fmla="*/ 560534 w 5419032"/>
              <a:gd name="connsiteY1004" fmla="*/ 1722681 h 5346128"/>
              <a:gd name="connsiteX1005" fmla="*/ 560946 w 5419032"/>
              <a:gd name="connsiteY1005" fmla="*/ 1722875 h 5346128"/>
              <a:gd name="connsiteX1006" fmla="*/ 560913 w 5419032"/>
              <a:gd name="connsiteY1006" fmla="*/ 1723057 h 5346128"/>
              <a:gd name="connsiteX1007" fmla="*/ 559190 w 5419032"/>
              <a:gd name="connsiteY1007" fmla="*/ 1721346 h 5346128"/>
              <a:gd name="connsiteX1008" fmla="*/ 560534 w 5419032"/>
              <a:gd name="connsiteY1008" fmla="*/ 1722681 h 5346128"/>
              <a:gd name="connsiteX1009" fmla="*/ 559469 w 5419032"/>
              <a:gd name="connsiteY1009" fmla="*/ 1722184 h 5346128"/>
              <a:gd name="connsiteX1010" fmla="*/ 559334 w 5419032"/>
              <a:gd name="connsiteY1010" fmla="*/ 1721168 h 5346128"/>
              <a:gd name="connsiteX1011" fmla="*/ 561129 w 5419032"/>
              <a:gd name="connsiteY1011" fmla="*/ 1721935 h 5346128"/>
              <a:gd name="connsiteX1012" fmla="*/ 560963 w 5419032"/>
              <a:gd name="connsiteY1012" fmla="*/ 1722796 h 5346128"/>
              <a:gd name="connsiteX1013" fmla="*/ 558767 w 5419032"/>
              <a:gd name="connsiteY1013" fmla="*/ 1720926 h 5346128"/>
              <a:gd name="connsiteX1014" fmla="*/ 559096 w 5419032"/>
              <a:gd name="connsiteY1014" fmla="*/ 1721067 h 5346128"/>
              <a:gd name="connsiteX1015" fmla="*/ 559190 w 5419032"/>
              <a:gd name="connsiteY1015" fmla="*/ 1721346 h 5346128"/>
              <a:gd name="connsiteX1016" fmla="*/ 559029 w 5419032"/>
              <a:gd name="connsiteY1016" fmla="*/ 1720864 h 5346128"/>
              <a:gd name="connsiteX1017" fmla="*/ 559334 w 5419032"/>
              <a:gd name="connsiteY1017" fmla="*/ 1721168 h 5346128"/>
              <a:gd name="connsiteX1018" fmla="*/ 559096 w 5419032"/>
              <a:gd name="connsiteY1018" fmla="*/ 1721067 h 5346128"/>
              <a:gd name="connsiteX1019" fmla="*/ 573785 w 5419032"/>
              <a:gd name="connsiteY1019" fmla="*/ 1706013 h 5346128"/>
              <a:gd name="connsiteX1020" fmla="*/ 580221 w 5419032"/>
              <a:gd name="connsiteY1020" fmla="*/ 1725188 h 5346128"/>
              <a:gd name="connsiteX1021" fmla="*/ 564533 w 5419032"/>
              <a:gd name="connsiteY1021" fmla="*/ 1723390 h 5346128"/>
              <a:gd name="connsiteX1022" fmla="*/ 561129 w 5419032"/>
              <a:gd name="connsiteY1022" fmla="*/ 1721935 h 5346128"/>
              <a:gd name="connsiteX1023" fmla="*/ 563326 w 5419032"/>
              <a:gd name="connsiteY1023" fmla="*/ 1710541 h 5346128"/>
              <a:gd name="connsiteX1024" fmla="*/ 573785 w 5419032"/>
              <a:gd name="connsiteY1024" fmla="*/ 1706013 h 5346128"/>
              <a:gd name="connsiteX1025" fmla="*/ 487704 w 5419032"/>
              <a:gd name="connsiteY1025" fmla="*/ 1668484 h 5346128"/>
              <a:gd name="connsiteX1026" fmla="*/ 519695 w 5419032"/>
              <a:gd name="connsiteY1026" fmla="*/ 1703578 h 5346128"/>
              <a:gd name="connsiteX1027" fmla="*/ 559469 w 5419032"/>
              <a:gd name="connsiteY1027" fmla="*/ 1722184 h 5346128"/>
              <a:gd name="connsiteX1028" fmla="*/ 561650 w 5419032"/>
              <a:gd name="connsiteY1028" fmla="*/ 1728722 h 5346128"/>
              <a:gd name="connsiteX1029" fmla="*/ 561127 w 5419032"/>
              <a:gd name="connsiteY1029" fmla="*/ 1733436 h 5346128"/>
              <a:gd name="connsiteX1030" fmla="*/ 533855 w 5419032"/>
              <a:gd name="connsiteY1030" fmla="*/ 1821438 h 5346128"/>
              <a:gd name="connsiteX1031" fmla="*/ 548539 w 5419032"/>
              <a:gd name="connsiteY1031" fmla="*/ 1842390 h 5346128"/>
              <a:gd name="connsiteX1032" fmla="*/ 561127 w 5419032"/>
              <a:gd name="connsiteY1032" fmla="*/ 1863344 h 5346128"/>
              <a:gd name="connsiteX1033" fmla="*/ 540149 w 5419032"/>
              <a:gd name="connsiteY1033" fmla="*/ 1875916 h 5346128"/>
              <a:gd name="connsiteX1034" fmla="*/ 529660 w 5419032"/>
              <a:gd name="connsiteY1034" fmla="*/ 1859152 h 5346128"/>
              <a:gd name="connsiteX1035" fmla="*/ 491899 w 5419032"/>
              <a:gd name="connsiteY1035" fmla="*/ 1852866 h 5346128"/>
              <a:gd name="connsiteX1036" fmla="*/ 466726 w 5419032"/>
              <a:gd name="connsiteY1036" fmla="*/ 1848676 h 5346128"/>
              <a:gd name="connsiteX1037" fmla="*/ 493997 w 5419032"/>
              <a:gd name="connsiteY1037" fmla="*/ 1704103 h 5346128"/>
              <a:gd name="connsiteX1038" fmla="*/ 487704 w 5419032"/>
              <a:gd name="connsiteY1038" fmla="*/ 1668484 h 5346128"/>
              <a:gd name="connsiteX1039" fmla="*/ 587611 w 5419032"/>
              <a:gd name="connsiteY1039" fmla="*/ 1637018 h 5346128"/>
              <a:gd name="connsiteX1040" fmla="*/ 621700 w 5419032"/>
              <a:gd name="connsiteY1040" fmla="*/ 1668484 h 5346128"/>
              <a:gd name="connsiteX1041" fmla="*/ 587611 w 5419032"/>
              <a:gd name="connsiteY1041" fmla="*/ 1637018 h 5346128"/>
              <a:gd name="connsiteX1042" fmla="*/ 529814 w 5419032"/>
              <a:gd name="connsiteY1042" fmla="*/ 1630200 h 5346128"/>
              <a:gd name="connsiteX1043" fmla="*/ 540002 w 5419032"/>
              <a:gd name="connsiteY1043" fmla="*/ 1641214 h 5346128"/>
              <a:gd name="connsiteX1044" fmla="*/ 569255 w 5419032"/>
              <a:gd name="connsiteY1044" fmla="*/ 1685265 h 5346128"/>
              <a:gd name="connsiteX1045" fmla="*/ 510747 w 5419032"/>
              <a:gd name="connsiteY1045" fmla="*/ 1664288 h 5346128"/>
              <a:gd name="connsiteX1046" fmla="*/ 514925 w 5419032"/>
              <a:gd name="connsiteY1046" fmla="*/ 1634922 h 5346128"/>
              <a:gd name="connsiteX1047" fmla="*/ 529814 w 5419032"/>
              <a:gd name="connsiteY1047" fmla="*/ 1630200 h 5346128"/>
              <a:gd name="connsiteX1048" fmla="*/ 961396 w 5419032"/>
              <a:gd name="connsiteY1048" fmla="*/ 1608180 h 5346128"/>
              <a:gd name="connsiteX1049" fmla="*/ 944231 w 5419032"/>
              <a:gd name="connsiteY1049" fmla="*/ 1631015 h 5346128"/>
              <a:gd name="connsiteX1050" fmla="*/ 967832 w 5419032"/>
              <a:gd name="connsiteY1050" fmla="*/ 1616483 h 5346128"/>
              <a:gd name="connsiteX1051" fmla="*/ 961396 w 5419032"/>
              <a:gd name="connsiteY1051" fmla="*/ 1608180 h 5346128"/>
              <a:gd name="connsiteX1052" fmla="*/ 711641 w 5419032"/>
              <a:gd name="connsiteY1052" fmla="*/ 1604240 h 5346128"/>
              <a:gd name="connsiteX1053" fmla="*/ 720032 w 5419032"/>
              <a:gd name="connsiteY1053" fmla="*/ 1650129 h 5346128"/>
              <a:gd name="connsiteX1054" fmla="*/ 711641 w 5419032"/>
              <a:gd name="connsiteY1054" fmla="*/ 1604240 h 5346128"/>
              <a:gd name="connsiteX1055" fmla="*/ 898604 w 5419032"/>
              <a:gd name="connsiteY1055" fmla="*/ 1597437 h 5346128"/>
              <a:gd name="connsiteX1056" fmla="*/ 870809 w 5419032"/>
              <a:gd name="connsiteY1056" fmla="*/ 1599535 h 5346128"/>
              <a:gd name="connsiteX1057" fmla="*/ 923254 w 5419032"/>
              <a:gd name="connsiteY1057" fmla="*/ 1614214 h 5346128"/>
              <a:gd name="connsiteX1058" fmla="*/ 898604 w 5419032"/>
              <a:gd name="connsiteY1058" fmla="*/ 1597437 h 5346128"/>
              <a:gd name="connsiteX1059" fmla="*/ 839605 w 5419032"/>
              <a:gd name="connsiteY1059" fmla="*/ 1582783 h 5346128"/>
              <a:gd name="connsiteX1060" fmla="*/ 827018 w 5419032"/>
              <a:gd name="connsiteY1060" fmla="*/ 1595566 h 5346128"/>
              <a:gd name="connsiteX1061" fmla="*/ 847997 w 5419032"/>
              <a:gd name="connsiteY1061" fmla="*/ 1614734 h 5346128"/>
              <a:gd name="connsiteX1062" fmla="*/ 856388 w 5419032"/>
              <a:gd name="connsiteY1062" fmla="*/ 1593435 h 5346128"/>
              <a:gd name="connsiteX1063" fmla="*/ 839605 w 5419032"/>
              <a:gd name="connsiteY1063" fmla="*/ 1582783 h 5346128"/>
              <a:gd name="connsiteX1064" fmla="*/ 870809 w 5419032"/>
              <a:gd name="connsiteY1064" fmla="*/ 1562299 h 5346128"/>
              <a:gd name="connsiteX1065" fmla="*/ 912765 w 5419032"/>
              <a:gd name="connsiteY1065" fmla="*/ 1562299 h 5346128"/>
              <a:gd name="connsiteX1066" fmla="*/ 870809 w 5419032"/>
              <a:gd name="connsiteY1066" fmla="*/ 1562299 h 5346128"/>
              <a:gd name="connsiteX1067" fmla="*/ 516951 w 5419032"/>
              <a:gd name="connsiteY1067" fmla="*/ 1561866 h 5346128"/>
              <a:gd name="connsiteX1068" fmla="*/ 531643 w 5419032"/>
              <a:gd name="connsiteY1068" fmla="*/ 1572438 h 5346128"/>
              <a:gd name="connsiteX1069" fmla="*/ 569255 w 5419032"/>
              <a:gd name="connsiteY1069" fmla="*/ 1612108 h 5346128"/>
              <a:gd name="connsiteX1070" fmla="*/ 523284 w 5419032"/>
              <a:gd name="connsiteY1070" fmla="*/ 1591230 h 5346128"/>
              <a:gd name="connsiteX1071" fmla="*/ 510747 w 5419032"/>
              <a:gd name="connsiteY1071" fmla="*/ 1566173 h 5346128"/>
              <a:gd name="connsiteX1072" fmla="*/ 516951 w 5419032"/>
              <a:gd name="connsiteY1072" fmla="*/ 1561866 h 5346128"/>
              <a:gd name="connsiteX1073" fmla="*/ 5121466 w 5419032"/>
              <a:gd name="connsiteY1073" fmla="*/ 1544981 h 5346128"/>
              <a:gd name="connsiteX1074" fmla="*/ 5143700 w 5419032"/>
              <a:gd name="connsiteY1074" fmla="*/ 1546988 h 5346128"/>
              <a:gd name="connsiteX1075" fmla="*/ 5131596 w 5419032"/>
              <a:gd name="connsiteY1075" fmla="*/ 1562284 h 5346128"/>
              <a:gd name="connsiteX1076" fmla="*/ 5121259 w 5419032"/>
              <a:gd name="connsiteY1076" fmla="*/ 1555728 h 5346128"/>
              <a:gd name="connsiteX1077" fmla="*/ 5120888 w 5419032"/>
              <a:gd name="connsiteY1077" fmla="*/ 1543147 h 5346128"/>
              <a:gd name="connsiteX1078" fmla="*/ 5118790 w 5419032"/>
              <a:gd name="connsiteY1078" fmla="*/ 1545245 h 5346128"/>
              <a:gd name="connsiteX1079" fmla="*/ 5119403 w 5419032"/>
              <a:gd name="connsiteY1079" fmla="*/ 1543610 h 5346128"/>
              <a:gd name="connsiteX1080" fmla="*/ 5121512 w 5419032"/>
              <a:gd name="connsiteY1080" fmla="*/ 1542617 h 5346128"/>
              <a:gd name="connsiteX1081" fmla="*/ 5121466 w 5419032"/>
              <a:gd name="connsiteY1081" fmla="*/ 1544981 h 5346128"/>
              <a:gd name="connsiteX1082" fmla="*/ 5119493 w 5419032"/>
              <a:gd name="connsiteY1082" fmla="*/ 1544802 h 5346128"/>
              <a:gd name="connsiteX1083" fmla="*/ 5121512 w 5419032"/>
              <a:gd name="connsiteY1083" fmla="*/ 1542617 h 5346128"/>
              <a:gd name="connsiteX1084" fmla="*/ 5086208 w 5419032"/>
              <a:gd name="connsiteY1084" fmla="*/ 1503225 h 5346128"/>
              <a:gd name="connsiteX1085" fmla="*/ 5097811 w 5419032"/>
              <a:gd name="connsiteY1085" fmla="*/ 1515876 h 5346128"/>
              <a:gd name="connsiteX1086" fmla="*/ 5124950 w 5419032"/>
              <a:gd name="connsiteY1086" fmla="*/ 1528856 h 5346128"/>
              <a:gd name="connsiteX1087" fmla="*/ 5119403 w 5419032"/>
              <a:gd name="connsiteY1087" fmla="*/ 1543610 h 5346128"/>
              <a:gd name="connsiteX1088" fmla="*/ 5087323 w 5419032"/>
              <a:gd name="connsiteY1088" fmla="*/ 1553636 h 5346128"/>
              <a:gd name="connsiteX1089" fmla="*/ 5049562 w 5419032"/>
              <a:gd name="connsiteY1089" fmla="*/ 1538952 h 5346128"/>
              <a:gd name="connsiteX1090" fmla="*/ 5053758 w 5419032"/>
              <a:gd name="connsiteY1090" fmla="*/ 1517973 h 5346128"/>
              <a:gd name="connsiteX1091" fmla="*/ 5086208 w 5419032"/>
              <a:gd name="connsiteY1091" fmla="*/ 1503225 h 5346128"/>
              <a:gd name="connsiteX1092" fmla="*/ 1396580 w 5419032"/>
              <a:gd name="connsiteY1092" fmla="*/ 1473959 h 5346128"/>
              <a:gd name="connsiteX1093" fmla="*/ 1393939 w 5419032"/>
              <a:gd name="connsiteY1093" fmla="*/ 1484186 h 5346128"/>
              <a:gd name="connsiteX1094" fmla="*/ 1421056 w 5419032"/>
              <a:gd name="connsiteY1094" fmla="*/ 1507718 h 5346128"/>
              <a:gd name="connsiteX1095" fmla="*/ 1439829 w 5419032"/>
              <a:gd name="connsiteY1095" fmla="*/ 1494882 h 5346128"/>
              <a:gd name="connsiteX1096" fmla="*/ 1400198 w 5419032"/>
              <a:gd name="connsiteY1096" fmla="*/ 1475630 h 5346128"/>
              <a:gd name="connsiteX1097" fmla="*/ 1396580 w 5419032"/>
              <a:gd name="connsiteY1097" fmla="*/ 1473959 h 5346128"/>
              <a:gd name="connsiteX1098" fmla="*/ 4741324 w 5419032"/>
              <a:gd name="connsiteY1098" fmla="*/ 1434865 h 5346128"/>
              <a:gd name="connsiteX1099" fmla="*/ 4713657 w 5419032"/>
              <a:gd name="connsiteY1099" fmla="*/ 1439848 h 5346128"/>
              <a:gd name="connsiteX1100" fmla="*/ 4763770 w 5419032"/>
              <a:gd name="connsiteY1100" fmla="*/ 1469212 h 5346128"/>
              <a:gd name="connsiteX1101" fmla="*/ 4765858 w 5419032"/>
              <a:gd name="connsiteY1101" fmla="*/ 1444043 h 5346128"/>
              <a:gd name="connsiteX1102" fmla="*/ 4741324 w 5419032"/>
              <a:gd name="connsiteY1102" fmla="*/ 1434865 h 5346128"/>
              <a:gd name="connsiteX1103" fmla="*/ 925876 w 5419032"/>
              <a:gd name="connsiteY1103" fmla="*/ 1419291 h 5346128"/>
              <a:gd name="connsiteX1104" fmla="*/ 961277 w 5419032"/>
              <a:gd name="connsiteY1104" fmla="*/ 1442987 h 5346128"/>
              <a:gd name="connsiteX1105" fmla="*/ 925876 w 5419032"/>
              <a:gd name="connsiteY1105" fmla="*/ 1419291 h 5346128"/>
              <a:gd name="connsiteX1106" fmla="*/ 5312425 w 5419032"/>
              <a:gd name="connsiteY1106" fmla="*/ 1415012 h 5346128"/>
              <a:gd name="connsiteX1107" fmla="*/ 5339054 w 5419032"/>
              <a:gd name="connsiteY1107" fmla="*/ 1423801 h 5346128"/>
              <a:gd name="connsiteX1108" fmla="*/ 5290542 w 5419032"/>
              <a:gd name="connsiteY1108" fmla="*/ 1442975 h 5346128"/>
              <a:gd name="connsiteX1109" fmla="*/ 5312425 w 5419032"/>
              <a:gd name="connsiteY1109" fmla="*/ 1415012 h 5346128"/>
              <a:gd name="connsiteX1110" fmla="*/ 728241 w 5419032"/>
              <a:gd name="connsiteY1110" fmla="*/ 1373489 h 5346128"/>
              <a:gd name="connsiteX1111" fmla="*/ 755660 w 5419032"/>
              <a:gd name="connsiteY1111" fmla="*/ 1408514 h 5346128"/>
              <a:gd name="connsiteX1112" fmla="*/ 747224 w 5419032"/>
              <a:gd name="connsiteY1112" fmla="*/ 1416756 h 5346128"/>
              <a:gd name="connsiteX1113" fmla="*/ 715587 w 5419032"/>
              <a:gd name="connsiteY1113" fmla="*/ 1385851 h 5346128"/>
              <a:gd name="connsiteX1114" fmla="*/ 728241 w 5419032"/>
              <a:gd name="connsiteY1114" fmla="*/ 1373489 h 5346128"/>
              <a:gd name="connsiteX1115" fmla="*/ 1324690 w 5419032"/>
              <a:gd name="connsiteY1115" fmla="*/ 1366934 h 5346128"/>
              <a:gd name="connsiteX1116" fmla="*/ 1337563 w 5419032"/>
              <a:gd name="connsiteY1116" fmla="*/ 1412825 h 5346128"/>
              <a:gd name="connsiteX1117" fmla="*/ 1324690 w 5419032"/>
              <a:gd name="connsiteY1117" fmla="*/ 1366934 h 5346128"/>
              <a:gd name="connsiteX1118" fmla="*/ 1087948 w 5419032"/>
              <a:gd name="connsiteY1118" fmla="*/ 1359077 h 5346128"/>
              <a:gd name="connsiteX1119" fmla="*/ 1081897 w 5419032"/>
              <a:gd name="connsiteY1119" fmla="*/ 1365256 h 5346128"/>
              <a:gd name="connsiteX1120" fmla="*/ 1108119 w 5419032"/>
              <a:gd name="connsiteY1120" fmla="*/ 1387921 h 5346128"/>
              <a:gd name="connsiteX1121" fmla="*/ 1087948 w 5419032"/>
              <a:gd name="connsiteY1121" fmla="*/ 1359077 h 5346128"/>
              <a:gd name="connsiteX1122" fmla="*/ 5390187 w 5419032"/>
              <a:gd name="connsiteY1122" fmla="*/ 1339398 h 5346128"/>
              <a:gd name="connsiteX1123" fmla="*/ 5358720 w 5419032"/>
              <a:gd name="connsiteY1123" fmla="*/ 1381353 h 5346128"/>
              <a:gd name="connsiteX1124" fmla="*/ 5390187 w 5419032"/>
              <a:gd name="connsiteY1124" fmla="*/ 1339398 h 5346128"/>
              <a:gd name="connsiteX1125" fmla="*/ 1461207 w 5419032"/>
              <a:gd name="connsiteY1125" fmla="*/ 1203317 h 5346128"/>
              <a:gd name="connsiteX1126" fmla="*/ 1438517 w 5419032"/>
              <a:gd name="connsiteY1126" fmla="*/ 1204105 h 5346128"/>
              <a:gd name="connsiteX1127" fmla="*/ 1471149 w 5419032"/>
              <a:gd name="connsiteY1127" fmla="*/ 1227179 h 5346128"/>
              <a:gd name="connsiteX1128" fmla="*/ 1473189 w 5419032"/>
              <a:gd name="connsiteY1128" fmla="*/ 1216691 h 5346128"/>
              <a:gd name="connsiteX1129" fmla="*/ 1461207 w 5419032"/>
              <a:gd name="connsiteY1129" fmla="*/ 1203317 h 5346128"/>
              <a:gd name="connsiteX1130" fmla="*/ 816669 w 5419032"/>
              <a:gd name="connsiteY1130" fmla="*/ 1201746 h 5346128"/>
              <a:gd name="connsiteX1131" fmla="*/ 802092 w 5419032"/>
              <a:gd name="connsiteY1131" fmla="*/ 1231319 h 5346128"/>
              <a:gd name="connsiteX1132" fmla="*/ 816669 w 5419032"/>
              <a:gd name="connsiteY1132" fmla="*/ 1237656 h 5346128"/>
              <a:gd name="connsiteX1133" fmla="*/ 831245 w 5419032"/>
              <a:gd name="connsiteY1133" fmla="*/ 1224982 h 5346128"/>
              <a:gd name="connsiteX1134" fmla="*/ 816669 w 5419032"/>
              <a:gd name="connsiteY1134" fmla="*/ 1201746 h 5346128"/>
              <a:gd name="connsiteX1135" fmla="*/ 980941 w 5419032"/>
              <a:gd name="connsiteY1135" fmla="*/ 1197821 h 5346128"/>
              <a:gd name="connsiteX1136" fmla="*/ 965995 w 5419032"/>
              <a:gd name="connsiteY1136" fmla="*/ 1203066 h 5346128"/>
              <a:gd name="connsiteX1137" fmla="*/ 972288 w 5419032"/>
              <a:gd name="connsiteY1137" fmla="*/ 1238727 h 5346128"/>
              <a:gd name="connsiteX1138" fmla="*/ 972288 w 5419032"/>
              <a:gd name="connsiteY1138" fmla="*/ 1265996 h 5346128"/>
              <a:gd name="connsiteX1139" fmla="*/ 965995 w 5419032"/>
              <a:gd name="connsiteY1139" fmla="*/ 1282779 h 5346128"/>
              <a:gd name="connsiteX1140" fmla="*/ 980680 w 5419032"/>
              <a:gd name="connsiteY1140" fmla="*/ 1278583 h 5346128"/>
              <a:gd name="connsiteX1141" fmla="*/ 1022635 w 5419032"/>
              <a:gd name="connsiteY1141" fmla="*/ 1276485 h 5346128"/>
              <a:gd name="connsiteX1142" fmla="*/ 1026830 w 5419032"/>
              <a:gd name="connsiteY1142" fmla="*/ 1293268 h 5346128"/>
              <a:gd name="connsiteX1143" fmla="*/ 1020537 w 5419032"/>
              <a:gd name="connsiteY1143" fmla="*/ 1326831 h 5346128"/>
              <a:gd name="connsiteX1144" fmla="*/ 1068786 w 5419032"/>
              <a:gd name="connsiteY1144" fmla="*/ 1324733 h 5346128"/>
              <a:gd name="connsiteX1145" fmla="*/ 1016342 w 5419032"/>
              <a:gd name="connsiteY1145" fmla="*/ 1242922 h 5346128"/>
              <a:gd name="connsiteX1146" fmla="*/ 1039417 w 5419032"/>
              <a:gd name="connsiteY1146" fmla="*/ 1238727 h 5346128"/>
              <a:gd name="connsiteX1147" fmla="*/ 1026830 w 5419032"/>
              <a:gd name="connsiteY1147" fmla="*/ 1228238 h 5346128"/>
              <a:gd name="connsiteX1148" fmla="*/ 997462 w 5419032"/>
              <a:gd name="connsiteY1148" fmla="*/ 1211456 h 5346128"/>
              <a:gd name="connsiteX1149" fmla="*/ 980941 w 5419032"/>
              <a:gd name="connsiteY1149" fmla="*/ 1197821 h 5346128"/>
              <a:gd name="connsiteX1150" fmla="*/ 898623 w 5419032"/>
              <a:gd name="connsiteY1150" fmla="*/ 1154968 h 5346128"/>
              <a:gd name="connsiteX1151" fmla="*/ 909394 w 5419032"/>
              <a:gd name="connsiteY1151" fmla="*/ 1163793 h 5346128"/>
              <a:gd name="connsiteX1152" fmla="*/ 911548 w 5419032"/>
              <a:gd name="connsiteY1152" fmla="*/ 1178767 h 5346128"/>
              <a:gd name="connsiteX1153" fmla="*/ 898892 w 5419032"/>
              <a:gd name="connsiteY1153" fmla="*/ 1183848 h 5346128"/>
              <a:gd name="connsiteX1154" fmla="*/ 890020 w 5419032"/>
              <a:gd name="connsiteY1154" fmla="*/ 1176325 h 5346128"/>
              <a:gd name="connsiteX1155" fmla="*/ 890518 w 5419032"/>
              <a:gd name="connsiteY1155" fmla="*/ 1174053 h 5346128"/>
              <a:gd name="connsiteX1156" fmla="*/ 890518 w 5419032"/>
              <a:gd name="connsiteY1156" fmla="*/ 1161480 h 5346128"/>
              <a:gd name="connsiteX1157" fmla="*/ 890003 w 5419032"/>
              <a:gd name="connsiteY1157" fmla="*/ 1160424 h 5346128"/>
              <a:gd name="connsiteX1158" fmla="*/ 893036 w 5419032"/>
              <a:gd name="connsiteY1158" fmla="*/ 1155670 h 5346128"/>
              <a:gd name="connsiteX1159" fmla="*/ 898623 w 5419032"/>
              <a:gd name="connsiteY1159" fmla="*/ 1154968 h 5346128"/>
              <a:gd name="connsiteX1160" fmla="*/ 989080 w 5419032"/>
              <a:gd name="connsiteY1160" fmla="*/ 1149307 h 5346128"/>
              <a:gd name="connsiteX1161" fmla="*/ 1029454 w 5419032"/>
              <a:gd name="connsiteY1161" fmla="*/ 1205685 h 5346128"/>
              <a:gd name="connsiteX1162" fmla="*/ 989080 w 5419032"/>
              <a:gd name="connsiteY1162" fmla="*/ 1149307 h 5346128"/>
              <a:gd name="connsiteX1163" fmla="*/ 614786 w 5419032"/>
              <a:gd name="connsiteY1163" fmla="*/ 1138692 h 5346128"/>
              <a:gd name="connsiteX1164" fmla="*/ 624011 w 5419032"/>
              <a:gd name="connsiteY1164" fmla="*/ 1153360 h 5346128"/>
              <a:gd name="connsiteX1165" fmla="*/ 624672 w 5419032"/>
              <a:gd name="connsiteY1165" fmla="*/ 1154470 h 5346128"/>
              <a:gd name="connsiteX1166" fmla="*/ 622829 w 5419032"/>
              <a:gd name="connsiteY1166" fmla="*/ 1157713 h 5346128"/>
              <a:gd name="connsiteX1167" fmla="*/ 621554 w 5419032"/>
              <a:gd name="connsiteY1167" fmla="*/ 1161087 h 5346128"/>
              <a:gd name="connsiteX1168" fmla="*/ 609316 w 5419032"/>
              <a:gd name="connsiteY1168" fmla="*/ 1146555 h 5346128"/>
              <a:gd name="connsiteX1169" fmla="*/ 611611 w 5419032"/>
              <a:gd name="connsiteY1169" fmla="*/ 1140847 h 5346128"/>
              <a:gd name="connsiteX1170" fmla="*/ 978584 w 5419032"/>
              <a:gd name="connsiteY1170" fmla="*/ 1127835 h 5346128"/>
              <a:gd name="connsiteX1171" fmla="*/ 978592 w 5419032"/>
              <a:gd name="connsiteY1171" fmla="*/ 1128031 h 5346128"/>
              <a:gd name="connsiteX1172" fmla="*/ 974457 w 5419032"/>
              <a:gd name="connsiteY1172" fmla="*/ 1133191 h 5346128"/>
              <a:gd name="connsiteX1173" fmla="*/ 970261 w 5419032"/>
              <a:gd name="connsiteY1173" fmla="*/ 1138431 h 5346128"/>
              <a:gd name="connsiteX1174" fmla="*/ 974720 w 5419032"/>
              <a:gd name="connsiteY1174" fmla="*/ 1131358 h 5346128"/>
              <a:gd name="connsiteX1175" fmla="*/ 1131719 w 5419032"/>
              <a:gd name="connsiteY1175" fmla="*/ 1094556 h 5346128"/>
              <a:gd name="connsiteX1176" fmla="*/ 1159253 w 5419032"/>
              <a:gd name="connsiteY1176" fmla="*/ 1124383 h 5346128"/>
              <a:gd name="connsiteX1177" fmla="*/ 1131719 w 5419032"/>
              <a:gd name="connsiteY1177" fmla="*/ 1094556 h 5346128"/>
              <a:gd name="connsiteX1178" fmla="*/ 5215580 w 5419032"/>
              <a:gd name="connsiteY1178" fmla="*/ 1094449 h 5346128"/>
              <a:gd name="connsiteX1179" fmla="*/ 5184344 w 5419032"/>
              <a:gd name="connsiteY1179" fmla="*/ 1106905 h 5346128"/>
              <a:gd name="connsiteX1180" fmla="*/ 5217662 w 5419032"/>
              <a:gd name="connsiteY1180" fmla="*/ 1104829 h 5346128"/>
              <a:gd name="connsiteX1181" fmla="*/ 5215580 w 5419032"/>
              <a:gd name="connsiteY1181" fmla="*/ 1094449 h 5346128"/>
              <a:gd name="connsiteX1182" fmla="*/ 1329616 w 5419032"/>
              <a:gd name="connsiteY1182" fmla="*/ 1087295 h 5346128"/>
              <a:gd name="connsiteX1183" fmla="*/ 1316516 w 5419032"/>
              <a:gd name="connsiteY1183" fmla="*/ 1090834 h 5346128"/>
              <a:gd name="connsiteX1184" fmla="*/ 1312375 w 5419032"/>
              <a:gd name="connsiteY1184" fmla="*/ 1107616 h 5346128"/>
              <a:gd name="connsiteX1185" fmla="*/ 1326866 w 5419032"/>
              <a:gd name="connsiteY1185" fmla="*/ 1130691 h 5346128"/>
              <a:gd name="connsiteX1186" fmla="*/ 1339288 w 5419032"/>
              <a:gd name="connsiteY1186" fmla="*/ 1141179 h 5346128"/>
              <a:gd name="connsiteX1187" fmla="*/ 1351709 w 5419032"/>
              <a:gd name="connsiteY1187" fmla="*/ 1149570 h 5346128"/>
              <a:gd name="connsiteX1188" fmla="*/ 1366200 w 5419032"/>
              <a:gd name="connsiteY1188" fmla="*/ 1136984 h 5346128"/>
              <a:gd name="connsiteX1189" fmla="*/ 1333076 w 5419032"/>
              <a:gd name="connsiteY1189" fmla="*/ 1090834 h 5346128"/>
              <a:gd name="connsiteX1190" fmla="*/ 1329616 w 5419032"/>
              <a:gd name="connsiteY1190" fmla="*/ 1087295 h 5346128"/>
              <a:gd name="connsiteX1191" fmla="*/ 1045186 w 5419032"/>
              <a:gd name="connsiteY1191" fmla="*/ 1086368 h 5346128"/>
              <a:gd name="connsiteX1192" fmla="*/ 1072458 w 5419032"/>
              <a:gd name="connsiteY1192" fmla="*/ 1109202 h 5346128"/>
              <a:gd name="connsiteX1193" fmla="*/ 1076653 w 5419032"/>
              <a:gd name="connsiteY1193" fmla="*/ 1102974 h 5346128"/>
              <a:gd name="connsiteX1194" fmla="*/ 1045186 w 5419032"/>
              <a:gd name="connsiteY1194" fmla="*/ 1086368 h 5346128"/>
              <a:gd name="connsiteX1195" fmla="*/ 1421036 w 5419032"/>
              <a:gd name="connsiteY1195" fmla="*/ 1065388 h 5346128"/>
              <a:gd name="connsiteX1196" fmla="*/ 1412296 w 5419032"/>
              <a:gd name="connsiteY1196" fmla="*/ 1073691 h 5346128"/>
              <a:gd name="connsiteX1197" fmla="*/ 1436332 w 5419032"/>
              <a:gd name="connsiteY1197" fmla="*/ 1090300 h 5346128"/>
              <a:gd name="connsiteX1198" fmla="*/ 1421036 w 5419032"/>
              <a:gd name="connsiteY1198" fmla="*/ 1065388 h 5346128"/>
              <a:gd name="connsiteX1199" fmla="*/ 611913 w 5419032"/>
              <a:gd name="connsiteY1199" fmla="*/ 1065383 h 5346128"/>
              <a:gd name="connsiteX1200" fmla="*/ 607277 w 5419032"/>
              <a:gd name="connsiteY1200" fmla="*/ 1073250 h 5346128"/>
              <a:gd name="connsiteX1201" fmla="*/ 617578 w 5419032"/>
              <a:gd name="connsiteY1201" fmla="*/ 1083739 h 5346128"/>
              <a:gd name="connsiteX1202" fmla="*/ 636121 w 5419032"/>
              <a:gd name="connsiteY1202" fmla="*/ 1079543 h 5346128"/>
              <a:gd name="connsiteX1203" fmla="*/ 619639 w 5419032"/>
              <a:gd name="connsiteY1203" fmla="*/ 1066957 h 5346128"/>
              <a:gd name="connsiteX1204" fmla="*/ 611913 w 5419032"/>
              <a:gd name="connsiteY1204" fmla="*/ 1065383 h 5346128"/>
              <a:gd name="connsiteX1205" fmla="*/ 1287479 w 5419032"/>
              <a:gd name="connsiteY1205" fmla="*/ 1055640 h 5346128"/>
              <a:gd name="connsiteX1206" fmla="*/ 1243163 w 5419032"/>
              <a:gd name="connsiteY1206" fmla="*/ 1069704 h 5346128"/>
              <a:gd name="connsiteX1207" fmla="*/ 1327074 w 5419032"/>
              <a:gd name="connsiteY1207" fmla="*/ 1059090 h 5346128"/>
              <a:gd name="connsiteX1208" fmla="*/ 1287479 w 5419032"/>
              <a:gd name="connsiteY1208" fmla="*/ 1055640 h 5346128"/>
              <a:gd name="connsiteX1209" fmla="*/ 5175690 w 5419032"/>
              <a:gd name="connsiteY1209" fmla="*/ 1029993 h 5346128"/>
              <a:gd name="connsiteX1210" fmla="*/ 5158909 w 5419032"/>
              <a:gd name="connsiteY1210" fmla="*/ 1051172 h 5346128"/>
              <a:gd name="connsiteX1211" fmla="*/ 5171494 w 5419032"/>
              <a:gd name="connsiteY1211" fmla="*/ 1057526 h 5346128"/>
              <a:gd name="connsiteX1212" fmla="*/ 5198766 w 5419032"/>
              <a:gd name="connsiteY1212" fmla="*/ 1042700 h 5346128"/>
              <a:gd name="connsiteX1213" fmla="*/ 5175690 w 5419032"/>
              <a:gd name="connsiteY1213" fmla="*/ 1029993 h 5346128"/>
              <a:gd name="connsiteX1214" fmla="*/ 1150074 w 5419032"/>
              <a:gd name="connsiteY1214" fmla="*/ 984385 h 5346128"/>
              <a:gd name="connsiteX1215" fmla="*/ 1134341 w 5419032"/>
              <a:gd name="connsiteY1215" fmla="*/ 989945 h 5346128"/>
              <a:gd name="connsiteX1216" fmla="*/ 1161612 w 5419032"/>
              <a:gd name="connsiteY1216" fmla="*/ 996298 h 5346128"/>
              <a:gd name="connsiteX1217" fmla="*/ 1165808 w 5419032"/>
              <a:gd name="connsiteY1217" fmla="*/ 989945 h 5346128"/>
              <a:gd name="connsiteX1218" fmla="*/ 1150074 w 5419032"/>
              <a:gd name="connsiteY1218" fmla="*/ 984385 h 5346128"/>
              <a:gd name="connsiteX1219" fmla="*/ 1037723 w 5419032"/>
              <a:gd name="connsiteY1219" fmla="*/ 974920 h 5346128"/>
              <a:gd name="connsiteX1220" fmla="*/ 1025016 w 5419032"/>
              <a:gd name="connsiteY1220" fmla="*/ 985510 h 5346128"/>
              <a:gd name="connsiteX1221" fmla="*/ 1035606 w 5419032"/>
              <a:gd name="connsiteY1221" fmla="*/ 1002454 h 5346128"/>
              <a:gd name="connsiteX1222" fmla="*/ 1046196 w 5419032"/>
              <a:gd name="connsiteY1222" fmla="*/ 983392 h 5346128"/>
              <a:gd name="connsiteX1223" fmla="*/ 1037723 w 5419032"/>
              <a:gd name="connsiteY1223" fmla="*/ 974920 h 5346128"/>
              <a:gd name="connsiteX1224" fmla="*/ 1259122 w 5419032"/>
              <a:gd name="connsiteY1224" fmla="*/ 973314 h 5346128"/>
              <a:gd name="connsiteX1225" fmla="*/ 1193053 w 5419032"/>
              <a:gd name="connsiteY1225" fmla="*/ 990045 h 5346128"/>
              <a:gd name="connsiteX1226" fmla="*/ 1186786 w 5419032"/>
              <a:gd name="connsiteY1226" fmla="*/ 1006778 h 5346128"/>
              <a:gd name="connsiteX1227" fmla="*/ 1207677 w 5419032"/>
              <a:gd name="connsiteY1227" fmla="*/ 1010960 h 5346128"/>
              <a:gd name="connsiteX1228" fmla="*/ 1257816 w 5419032"/>
              <a:gd name="connsiteY1228" fmla="*/ 994229 h 5346128"/>
              <a:gd name="connsiteX1229" fmla="*/ 1243191 w 5419032"/>
              <a:gd name="connsiteY1229" fmla="*/ 1031875 h 5346128"/>
              <a:gd name="connsiteX1230" fmla="*/ 1278706 w 5419032"/>
              <a:gd name="connsiteY1230" fmla="*/ 1015144 h 5346128"/>
              <a:gd name="connsiteX1231" fmla="*/ 1293330 w 5419032"/>
              <a:gd name="connsiteY1231" fmla="*/ 1017234 h 5346128"/>
              <a:gd name="connsiteX1232" fmla="*/ 1376896 w 5419032"/>
              <a:gd name="connsiteY1232" fmla="*/ 1040241 h 5346128"/>
              <a:gd name="connsiteX1233" fmla="*/ 1324667 w 5419032"/>
              <a:gd name="connsiteY1233" fmla="*/ 1029785 h 5346128"/>
              <a:gd name="connsiteX1234" fmla="*/ 1307954 w 5419032"/>
              <a:gd name="connsiteY1234" fmla="*/ 1019327 h 5346128"/>
              <a:gd name="connsiteX1235" fmla="*/ 1259122 w 5419032"/>
              <a:gd name="connsiteY1235" fmla="*/ 973314 h 5346128"/>
              <a:gd name="connsiteX1236" fmla="*/ 5129714 w 5419032"/>
              <a:gd name="connsiteY1236" fmla="*/ 958659 h 5346128"/>
              <a:gd name="connsiteX1237" fmla="*/ 5114418 w 5419032"/>
              <a:gd name="connsiteY1237" fmla="*/ 969149 h 5346128"/>
              <a:gd name="connsiteX1238" fmla="*/ 5127530 w 5419032"/>
              <a:gd name="connsiteY1238" fmla="*/ 975442 h 5346128"/>
              <a:gd name="connsiteX1239" fmla="*/ 5138454 w 5419032"/>
              <a:gd name="connsiteY1239" fmla="*/ 964952 h 5346128"/>
              <a:gd name="connsiteX1240" fmla="*/ 5129714 w 5419032"/>
              <a:gd name="connsiteY1240" fmla="*/ 958659 h 5346128"/>
              <a:gd name="connsiteX1241" fmla="*/ 1341367 w 5419032"/>
              <a:gd name="connsiteY1241" fmla="*/ 948080 h 5346128"/>
              <a:gd name="connsiteX1242" fmla="*/ 1322942 w 5419032"/>
              <a:gd name="connsiteY1242" fmla="*/ 952458 h 5346128"/>
              <a:gd name="connsiteX1243" fmla="*/ 1329259 w 5419032"/>
              <a:gd name="connsiteY1243" fmla="*/ 979242 h 5346128"/>
              <a:gd name="connsiteX1244" fmla="*/ 1375585 w 5419032"/>
              <a:gd name="connsiteY1244" fmla="*/ 999845 h 5346128"/>
              <a:gd name="connsiteX1245" fmla="*/ 1356634 w 5419032"/>
              <a:gd name="connsiteY1245" fmla="*/ 960698 h 5346128"/>
              <a:gd name="connsiteX1246" fmla="*/ 1341367 w 5419032"/>
              <a:gd name="connsiteY1246" fmla="*/ 948080 h 5346128"/>
              <a:gd name="connsiteX1247" fmla="*/ 1328386 w 5419032"/>
              <a:gd name="connsiteY1247" fmla="*/ 918914 h 5346128"/>
              <a:gd name="connsiteX1248" fmla="*/ 1328386 w 5419032"/>
              <a:gd name="connsiteY1248" fmla="*/ 920911 h 5346128"/>
              <a:gd name="connsiteX1249" fmla="*/ 1328385 w 5419032"/>
              <a:gd name="connsiteY1249" fmla="*/ 920915 h 5346128"/>
              <a:gd name="connsiteX1250" fmla="*/ 1328385 w 5419032"/>
              <a:gd name="connsiteY1250" fmla="*/ 918915 h 5346128"/>
              <a:gd name="connsiteX1251" fmla="*/ 1060022 w 5419032"/>
              <a:gd name="connsiteY1251" fmla="*/ 903267 h 5346128"/>
              <a:gd name="connsiteX1252" fmla="*/ 1062593 w 5419032"/>
              <a:gd name="connsiteY1252" fmla="*/ 905835 h 5346128"/>
              <a:gd name="connsiteX1253" fmla="*/ 1059328 w 5419032"/>
              <a:gd name="connsiteY1253" fmla="*/ 903661 h 5346128"/>
              <a:gd name="connsiteX1254" fmla="*/ 1336966 w 5419032"/>
              <a:gd name="connsiteY1254" fmla="*/ 899689 h 5346128"/>
              <a:gd name="connsiteX1255" fmla="*/ 1331871 w 5419032"/>
              <a:gd name="connsiteY1255" fmla="*/ 905526 h 5346128"/>
              <a:gd name="connsiteX1256" fmla="*/ 1328823 w 5419032"/>
              <a:gd name="connsiteY1256" fmla="*/ 918977 h 5346128"/>
              <a:gd name="connsiteX1257" fmla="*/ 1328385 w 5419032"/>
              <a:gd name="connsiteY1257" fmla="*/ 918792 h 5346128"/>
              <a:gd name="connsiteX1258" fmla="*/ 1328385 w 5419032"/>
              <a:gd name="connsiteY1258" fmla="*/ 918915 h 5346128"/>
              <a:gd name="connsiteX1259" fmla="*/ 1327291 w 5419032"/>
              <a:gd name="connsiteY1259" fmla="*/ 920530 h 5346128"/>
              <a:gd name="connsiteX1260" fmla="*/ 1308556 w 5419032"/>
              <a:gd name="connsiteY1260" fmla="*/ 912048 h 5346128"/>
              <a:gd name="connsiteX1261" fmla="*/ 1287179 w 5419032"/>
              <a:gd name="connsiteY1261" fmla="*/ 918914 h 5346128"/>
              <a:gd name="connsiteX1262" fmla="*/ 1291300 w 5419032"/>
              <a:gd name="connsiteY1262" fmla="*/ 927363 h 5346128"/>
              <a:gd name="connsiteX1263" fmla="*/ 1320853 w 5419032"/>
              <a:gd name="connsiteY1263" fmla="*/ 930037 h 5346128"/>
              <a:gd name="connsiteX1264" fmla="*/ 1327291 w 5419032"/>
              <a:gd name="connsiteY1264" fmla="*/ 920530 h 5346128"/>
              <a:gd name="connsiteX1265" fmla="*/ 1328386 w 5419032"/>
              <a:gd name="connsiteY1265" fmla="*/ 921025 h 5346128"/>
              <a:gd name="connsiteX1266" fmla="*/ 1328386 w 5419032"/>
              <a:gd name="connsiteY1266" fmla="*/ 920911 h 5346128"/>
              <a:gd name="connsiteX1267" fmla="*/ 1328823 w 5419032"/>
              <a:gd name="connsiteY1267" fmla="*/ 918977 h 5346128"/>
              <a:gd name="connsiteX1268" fmla="*/ 1342130 w 5419032"/>
              <a:gd name="connsiteY1268" fmla="*/ 924589 h 5346128"/>
              <a:gd name="connsiteX1269" fmla="*/ 1336966 w 5419032"/>
              <a:gd name="connsiteY1269" fmla="*/ 899689 h 5346128"/>
              <a:gd name="connsiteX1270" fmla="*/ 5216730 w 5419032"/>
              <a:gd name="connsiteY1270" fmla="*/ 896268 h 5346128"/>
              <a:gd name="connsiteX1271" fmla="*/ 5209096 w 5419032"/>
              <a:gd name="connsiteY1271" fmla="*/ 901513 h 5346128"/>
              <a:gd name="connsiteX1272" fmla="*/ 5211202 w 5419032"/>
              <a:gd name="connsiteY1272" fmla="*/ 941369 h 5346128"/>
              <a:gd name="connsiteX1273" fmla="*/ 5249106 w 5419032"/>
              <a:gd name="connsiteY1273" fmla="*/ 949760 h 5346128"/>
              <a:gd name="connsiteX1274" fmla="*/ 5234364 w 5419032"/>
              <a:gd name="connsiteY1274" fmla="*/ 905707 h 5346128"/>
              <a:gd name="connsiteX1275" fmla="*/ 5225940 w 5419032"/>
              <a:gd name="connsiteY1275" fmla="*/ 897317 h 5346128"/>
              <a:gd name="connsiteX1276" fmla="*/ 5216730 w 5419032"/>
              <a:gd name="connsiteY1276" fmla="*/ 896268 h 5346128"/>
              <a:gd name="connsiteX1277" fmla="*/ 4887632 w 5419032"/>
              <a:gd name="connsiteY1277" fmla="*/ 893637 h 5346128"/>
              <a:gd name="connsiteX1278" fmla="*/ 4863124 w 5419032"/>
              <a:gd name="connsiteY1278" fmla="*/ 898094 h 5346128"/>
              <a:gd name="connsiteX1279" fmla="*/ 4909012 w 5419032"/>
              <a:gd name="connsiteY1279" fmla="*/ 906486 h 5346128"/>
              <a:gd name="connsiteX1280" fmla="*/ 4887632 w 5419032"/>
              <a:gd name="connsiteY1280" fmla="*/ 893637 h 5346128"/>
              <a:gd name="connsiteX1281" fmla="*/ 1235236 w 5419032"/>
              <a:gd name="connsiteY1281" fmla="*/ 884418 h 5346128"/>
              <a:gd name="connsiteX1282" fmla="*/ 1232228 w 5419032"/>
              <a:gd name="connsiteY1282" fmla="*/ 885226 h 5346128"/>
              <a:gd name="connsiteX1283" fmla="*/ 1188292 w 5419032"/>
              <a:gd name="connsiteY1283" fmla="*/ 897631 h 5346128"/>
              <a:gd name="connsiteX1284" fmla="*/ 1202938 w 5419032"/>
              <a:gd name="connsiteY1284" fmla="*/ 918306 h 5346128"/>
              <a:gd name="connsiteX1285" fmla="*/ 1163185 w 5419032"/>
              <a:gd name="connsiteY1285" fmla="*/ 926576 h 5346128"/>
              <a:gd name="connsiteX1286" fmla="*/ 1246873 w 5419032"/>
              <a:gd name="connsiteY1286" fmla="*/ 903834 h 5346128"/>
              <a:gd name="connsiteX1287" fmla="*/ 1255242 w 5419032"/>
              <a:gd name="connsiteY1287" fmla="*/ 889360 h 5346128"/>
              <a:gd name="connsiteX1288" fmla="*/ 1235236 w 5419032"/>
              <a:gd name="connsiteY1288" fmla="*/ 884418 h 5346128"/>
              <a:gd name="connsiteX1289" fmla="*/ 1287135 w 5419032"/>
              <a:gd name="connsiteY1289" fmla="*/ 876586 h 5346128"/>
              <a:gd name="connsiteX1290" fmla="*/ 1268074 w 5419032"/>
              <a:gd name="connsiteY1290" fmla="*/ 889459 h 5346128"/>
              <a:gd name="connsiteX1291" fmla="*/ 1280781 w 5419032"/>
              <a:gd name="connsiteY1291" fmla="*/ 900186 h 5346128"/>
              <a:gd name="connsiteX1292" fmla="*/ 1289253 w 5419032"/>
              <a:gd name="connsiteY1292" fmla="*/ 885169 h 5346128"/>
              <a:gd name="connsiteX1293" fmla="*/ 1287135 w 5419032"/>
              <a:gd name="connsiteY1293" fmla="*/ 876586 h 5346128"/>
              <a:gd name="connsiteX1294" fmla="*/ 1105497 w 5419032"/>
              <a:gd name="connsiteY1294" fmla="*/ 875945 h 5346128"/>
              <a:gd name="connsiteX1295" fmla="*/ 1089764 w 5419032"/>
              <a:gd name="connsiteY1295" fmla="*/ 880758 h 5346128"/>
              <a:gd name="connsiteX1296" fmla="*/ 1093960 w 5419032"/>
              <a:gd name="connsiteY1296" fmla="*/ 886837 h 5346128"/>
              <a:gd name="connsiteX1297" fmla="*/ 1121230 w 5419032"/>
              <a:gd name="connsiteY1297" fmla="*/ 878731 h 5346128"/>
              <a:gd name="connsiteX1298" fmla="*/ 1105497 w 5419032"/>
              <a:gd name="connsiteY1298" fmla="*/ 875945 h 5346128"/>
              <a:gd name="connsiteX1299" fmla="*/ 954015 w 5419032"/>
              <a:gd name="connsiteY1299" fmla="*/ 875609 h 5346128"/>
              <a:gd name="connsiteX1300" fmla="*/ 942920 w 5419032"/>
              <a:gd name="connsiteY1300" fmla="*/ 880410 h 5346128"/>
              <a:gd name="connsiteX1301" fmla="*/ 978321 w 5419032"/>
              <a:gd name="connsiteY1301" fmla="*/ 890789 h 5346128"/>
              <a:gd name="connsiteX1302" fmla="*/ 954015 w 5419032"/>
              <a:gd name="connsiteY1302" fmla="*/ 875609 h 5346128"/>
              <a:gd name="connsiteX1303" fmla="*/ 4879196 w 5419032"/>
              <a:gd name="connsiteY1303" fmla="*/ 867772 h 5346128"/>
              <a:gd name="connsiteX1304" fmla="*/ 4863064 w 5419032"/>
              <a:gd name="connsiteY1304" fmla="*/ 897566 h 5346128"/>
              <a:gd name="connsiteX1305" fmla="*/ 4898524 w 5419032"/>
              <a:gd name="connsiteY1305" fmla="*/ 868197 h 5346128"/>
              <a:gd name="connsiteX1306" fmla="*/ 4879196 w 5419032"/>
              <a:gd name="connsiteY1306" fmla="*/ 867772 h 5346128"/>
              <a:gd name="connsiteX1307" fmla="*/ 807877 w 5419032"/>
              <a:gd name="connsiteY1307" fmla="*/ 862161 h 5346128"/>
              <a:gd name="connsiteX1308" fmla="*/ 888773 w 5419032"/>
              <a:gd name="connsiteY1308" fmla="*/ 946373 h 5346128"/>
              <a:gd name="connsiteX1309" fmla="*/ 895819 w 5419032"/>
              <a:gd name="connsiteY1309" fmla="*/ 979922 h 5346128"/>
              <a:gd name="connsiteX1310" fmla="*/ 888419 w 5419032"/>
              <a:gd name="connsiteY1310" fmla="*/ 985463 h 5346128"/>
              <a:gd name="connsiteX1311" fmla="*/ 888177 w 5419032"/>
              <a:gd name="connsiteY1311" fmla="*/ 985878 h 5346128"/>
              <a:gd name="connsiteX1312" fmla="*/ 883956 w 5419032"/>
              <a:gd name="connsiteY1312" fmla="*/ 986961 h 5346128"/>
              <a:gd name="connsiteX1313" fmla="*/ 843964 w 5419032"/>
              <a:gd name="connsiteY1313" fmla="*/ 943821 h 5346128"/>
              <a:gd name="connsiteX1314" fmla="*/ 807877 w 5419032"/>
              <a:gd name="connsiteY1314" fmla="*/ 862161 h 5346128"/>
              <a:gd name="connsiteX1315" fmla="*/ 5124688 w 5419032"/>
              <a:gd name="connsiteY1315" fmla="*/ 857868 h 5346128"/>
              <a:gd name="connsiteX1316" fmla="*/ 5096500 w 5419032"/>
              <a:gd name="connsiteY1316" fmla="*/ 863941 h 5346128"/>
              <a:gd name="connsiteX1317" fmla="*/ 5201388 w 5419032"/>
              <a:gd name="connsiteY1317" fmla="*/ 889017 h 5346128"/>
              <a:gd name="connsiteX1318" fmla="*/ 5124688 w 5419032"/>
              <a:gd name="connsiteY1318" fmla="*/ 857868 h 5346128"/>
              <a:gd name="connsiteX1319" fmla="*/ 4800158 w 5419032"/>
              <a:gd name="connsiteY1319" fmla="*/ 845530 h 5346128"/>
              <a:gd name="connsiteX1320" fmla="*/ 4801956 w 5419032"/>
              <a:gd name="connsiteY1320" fmla="*/ 847307 h 5346128"/>
              <a:gd name="connsiteX1321" fmla="*/ 4801858 w 5419032"/>
              <a:gd name="connsiteY1321" fmla="*/ 847465 h 5346128"/>
              <a:gd name="connsiteX1322" fmla="*/ 4801328 w 5419032"/>
              <a:gd name="connsiteY1322" fmla="*/ 847405 h 5346128"/>
              <a:gd name="connsiteX1323" fmla="*/ 4801014 w 5419032"/>
              <a:gd name="connsiteY1323" fmla="*/ 847090 h 5346128"/>
              <a:gd name="connsiteX1324" fmla="*/ 4800114 w 5419032"/>
              <a:gd name="connsiteY1324" fmla="*/ 845541 h 5346128"/>
              <a:gd name="connsiteX1325" fmla="*/ 4693007 w 5419032"/>
              <a:gd name="connsiteY1325" fmla="*/ 842052 h 5346128"/>
              <a:gd name="connsiteX1326" fmla="*/ 4693235 w 5419032"/>
              <a:gd name="connsiteY1326" fmla="*/ 842447 h 5346128"/>
              <a:gd name="connsiteX1327" fmla="*/ 4693142 w 5419032"/>
              <a:gd name="connsiteY1327" fmla="*/ 843004 h 5346128"/>
              <a:gd name="connsiteX1328" fmla="*/ 4693007 w 5419032"/>
              <a:gd name="connsiteY1328" fmla="*/ 843079 h 5346128"/>
              <a:gd name="connsiteX1329" fmla="*/ 4692633 w 5419032"/>
              <a:gd name="connsiteY1329" fmla="*/ 841401 h 5346128"/>
              <a:gd name="connsiteX1330" fmla="*/ 4693007 w 5419032"/>
              <a:gd name="connsiteY1330" fmla="*/ 841710 h 5346128"/>
              <a:gd name="connsiteX1331" fmla="*/ 4693007 w 5419032"/>
              <a:gd name="connsiteY1331" fmla="*/ 842052 h 5346128"/>
              <a:gd name="connsiteX1332" fmla="*/ 4692546 w 5419032"/>
              <a:gd name="connsiteY1332" fmla="*/ 841253 h 5346128"/>
              <a:gd name="connsiteX1333" fmla="*/ 4692633 w 5419032"/>
              <a:gd name="connsiteY1333" fmla="*/ 841401 h 5346128"/>
              <a:gd name="connsiteX1334" fmla="*/ 4692546 w 5419032"/>
              <a:gd name="connsiteY1334" fmla="*/ 841332 h 5346128"/>
              <a:gd name="connsiteX1335" fmla="*/ 1209312 w 5419032"/>
              <a:gd name="connsiteY1335" fmla="*/ 803949 h 5346128"/>
              <a:gd name="connsiteX1336" fmla="*/ 1198586 w 5419032"/>
              <a:gd name="connsiteY1336" fmla="*/ 810241 h 5346128"/>
              <a:gd name="connsiteX1337" fmla="*/ 1209312 w 5419032"/>
              <a:gd name="connsiteY1337" fmla="*/ 820731 h 5346128"/>
              <a:gd name="connsiteX1338" fmla="*/ 1222186 w 5419032"/>
              <a:gd name="connsiteY1338" fmla="*/ 814437 h 5346128"/>
              <a:gd name="connsiteX1339" fmla="*/ 1209312 w 5419032"/>
              <a:gd name="connsiteY1339" fmla="*/ 803949 h 5346128"/>
              <a:gd name="connsiteX1340" fmla="*/ 5315858 w 5419032"/>
              <a:gd name="connsiteY1340" fmla="*/ 803156 h 5346128"/>
              <a:gd name="connsiteX1341" fmla="*/ 5326447 w 5419032"/>
              <a:gd name="connsiteY1341" fmla="*/ 813746 h 5346128"/>
              <a:gd name="connsiteX1342" fmla="*/ 5315858 w 5419032"/>
              <a:gd name="connsiteY1342" fmla="*/ 826453 h 5346128"/>
              <a:gd name="connsiteX1343" fmla="*/ 5303149 w 5419032"/>
              <a:gd name="connsiteY1343" fmla="*/ 820100 h 5346128"/>
              <a:gd name="connsiteX1344" fmla="*/ 5315858 w 5419032"/>
              <a:gd name="connsiteY1344" fmla="*/ 803156 h 5346128"/>
              <a:gd name="connsiteX1345" fmla="*/ 4888035 w 5419032"/>
              <a:gd name="connsiteY1345" fmla="*/ 799232 h 5346128"/>
              <a:gd name="connsiteX1346" fmla="*/ 4879643 w 5419032"/>
              <a:gd name="connsiteY1346" fmla="*/ 828601 h 5346128"/>
              <a:gd name="connsiteX1347" fmla="*/ 4888035 w 5419032"/>
              <a:gd name="connsiteY1347" fmla="*/ 830699 h 5346128"/>
              <a:gd name="connsiteX1348" fmla="*/ 4888035 w 5419032"/>
              <a:gd name="connsiteY1348" fmla="*/ 799232 h 5346128"/>
              <a:gd name="connsiteX1349" fmla="*/ 5147728 w 5419032"/>
              <a:gd name="connsiteY1349" fmla="*/ 792947 h 5346128"/>
              <a:gd name="connsiteX1350" fmla="*/ 5190845 w 5419032"/>
              <a:gd name="connsiteY1350" fmla="*/ 797086 h 5346128"/>
              <a:gd name="connsiteX1351" fmla="*/ 5211878 w 5419032"/>
              <a:gd name="connsiteY1351" fmla="*/ 811578 h 5346128"/>
              <a:gd name="connsiteX1352" fmla="*/ 5134682 w 5419032"/>
              <a:gd name="connsiteY1352" fmla="*/ 806337 h 5346128"/>
              <a:gd name="connsiteX1353" fmla="*/ 5120954 w 5419032"/>
              <a:gd name="connsiteY1353" fmla="*/ 809365 h 5346128"/>
              <a:gd name="connsiteX1354" fmla="*/ 5116232 w 5419032"/>
              <a:gd name="connsiteY1354" fmla="*/ 805594 h 5346128"/>
              <a:gd name="connsiteX1355" fmla="*/ 5118670 w 5419032"/>
              <a:gd name="connsiteY1355" fmla="*/ 801898 h 5346128"/>
              <a:gd name="connsiteX1356" fmla="*/ 5147728 w 5419032"/>
              <a:gd name="connsiteY1356" fmla="*/ 792947 h 5346128"/>
              <a:gd name="connsiteX1357" fmla="*/ 1145021 w 5419032"/>
              <a:gd name="connsiteY1357" fmla="*/ 786782 h 5346128"/>
              <a:gd name="connsiteX1358" fmla="*/ 1129097 w 5419032"/>
              <a:gd name="connsiteY1358" fmla="*/ 790847 h 5346128"/>
              <a:gd name="connsiteX1359" fmla="*/ 1186786 w 5419032"/>
              <a:gd name="connsiteY1359" fmla="*/ 795043 h 5346128"/>
              <a:gd name="connsiteX1360" fmla="*/ 1145021 w 5419032"/>
              <a:gd name="connsiteY1360" fmla="*/ 786782 h 5346128"/>
              <a:gd name="connsiteX1361" fmla="*/ 4811707 w 5419032"/>
              <a:gd name="connsiteY1361" fmla="*/ 777153 h 5346128"/>
              <a:gd name="connsiteX1362" fmla="*/ 4784952 w 5419032"/>
              <a:gd name="connsiteY1362" fmla="*/ 803703 h 5346128"/>
              <a:gd name="connsiteX1363" fmla="*/ 4803769 w 5419032"/>
              <a:gd name="connsiteY1363" fmla="*/ 818387 h 5346128"/>
              <a:gd name="connsiteX1364" fmla="*/ 4809780 w 5419032"/>
              <a:gd name="connsiteY1364" fmla="*/ 834646 h 5346128"/>
              <a:gd name="connsiteX1365" fmla="*/ 4803526 w 5419032"/>
              <a:gd name="connsiteY1365" fmla="*/ 844767 h 5346128"/>
              <a:gd name="connsiteX1366" fmla="*/ 4800158 w 5419032"/>
              <a:gd name="connsiteY1366" fmla="*/ 845530 h 5346128"/>
              <a:gd name="connsiteX1367" fmla="*/ 4800041 w 5419032"/>
              <a:gd name="connsiteY1367" fmla="*/ 845416 h 5346128"/>
              <a:gd name="connsiteX1368" fmla="*/ 4800114 w 5419032"/>
              <a:gd name="connsiteY1368" fmla="*/ 845541 h 5346128"/>
              <a:gd name="connsiteX1369" fmla="*/ 4799588 w 5419032"/>
              <a:gd name="connsiteY1369" fmla="*/ 845660 h 5346128"/>
              <a:gd name="connsiteX1370" fmla="*/ 4801014 w 5419032"/>
              <a:gd name="connsiteY1370" fmla="*/ 847090 h 5346128"/>
              <a:gd name="connsiteX1371" fmla="*/ 4801186 w 5419032"/>
              <a:gd name="connsiteY1371" fmla="*/ 847390 h 5346128"/>
              <a:gd name="connsiteX1372" fmla="*/ 4787362 w 5419032"/>
              <a:gd name="connsiteY1372" fmla="*/ 845838 h 5346128"/>
              <a:gd name="connsiteX1373" fmla="*/ 4766318 w 5419032"/>
              <a:gd name="connsiteY1373" fmla="*/ 816276 h 5346128"/>
              <a:gd name="connsiteX1374" fmla="*/ 4749718 w 5419032"/>
              <a:gd name="connsiteY1374" fmla="*/ 793900 h 5346128"/>
              <a:gd name="connsiteX1375" fmla="*/ 4728379 w 5419032"/>
              <a:gd name="connsiteY1375" fmla="*/ 812112 h 5346128"/>
              <a:gd name="connsiteX1376" fmla="*/ 4713624 w 5419032"/>
              <a:gd name="connsiteY1376" fmla="*/ 831627 h 5346128"/>
              <a:gd name="connsiteX1377" fmla="*/ 4693456 w 5419032"/>
              <a:gd name="connsiteY1377" fmla="*/ 842830 h 5346128"/>
              <a:gd name="connsiteX1378" fmla="*/ 4693235 w 5419032"/>
              <a:gd name="connsiteY1378" fmla="*/ 842447 h 5346128"/>
              <a:gd name="connsiteX1379" fmla="*/ 4695602 w 5419032"/>
              <a:gd name="connsiteY1379" fmla="*/ 828336 h 5346128"/>
              <a:gd name="connsiteX1380" fmla="*/ 4688856 w 5419032"/>
              <a:gd name="connsiteY1380" fmla="*/ 814438 h 5346128"/>
              <a:gd name="connsiteX1381" fmla="*/ 4678475 w 5419032"/>
              <a:gd name="connsiteY1381" fmla="*/ 818633 h 5346128"/>
              <a:gd name="connsiteX1382" fmla="*/ 4681849 w 5419032"/>
              <a:gd name="connsiteY1382" fmla="*/ 832531 h 5346128"/>
              <a:gd name="connsiteX1383" fmla="*/ 4692546 w 5419032"/>
              <a:gd name="connsiteY1383" fmla="*/ 841332 h 5346128"/>
              <a:gd name="connsiteX1384" fmla="*/ 4692546 w 5419032"/>
              <a:gd name="connsiteY1384" fmla="*/ 843335 h 5346128"/>
              <a:gd name="connsiteX1385" fmla="*/ 4693007 w 5419032"/>
              <a:gd name="connsiteY1385" fmla="*/ 843079 h 5346128"/>
              <a:gd name="connsiteX1386" fmla="*/ 4693007 w 5419032"/>
              <a:gd name="connsiteY1386" fmla="*/ 843807 h 5346128"/>
              <a:gd name="connsiteX1387" fmla="*/ 4693142 w 5419032"/>
              <a:gd name="connsiteY1387" fmla="*/ 843004 h 5346128"/>
              <a:gd name="connsiteX1388" fmla="*/ 4693456 w 5419032"/>
              <a:gd name="connsiteY1388" fmla="*/ 842830 h 5346128"/>
              <a:gd name="connsiteX1389" fmla="*/ 4701240 w 5419032"/>
              <a:gd name="connsiteY1389" fmla="*/ 856343 h 5346128"/>
              <a:gd name="connsiteX1390" fmla="*/ 4686224 w 5419032"/>
              <a:gd name="connsiteY1390" fmla="*/ 862068 h 5346128"/>
              <a:gd name="connsiteX1391" fmla="*/ 4667255 w 5419032"/>
              <a:gd name="connsiteY1391" fmla="*/ 882882 h 5346128"/>
              <a:gd name="connsiteX1392" fmla="*/ 4688332 w 5419032"/>
              <a:gd name="connsiteY1392" fmla="*/ 887045 h 5346128"/>
              <a:gd name="connsiteX1393" fmla="*/ 4753672 w 5419032"/>
              <a:gd name="connsiteY1393" fmla="*/ 837090 h 5346128"/>
              <a:gd name="connsiteX1394" fmla="*/ 4755779 w 5419032"/>
              <a:gd name="connsiteY1394" fmla="*/ 851660 h 5346128"/>
              <a:gd name="connsiteX1395" fmla="*/ 4722055 w 5419032"/>
              <a:gd name="connsiteY1395" fmla="*/ 897452 h 5346128"/>
              <a:gd name="connsiteX1396" fmla="*/ 4730486 w 5419032"/>
              <a:gd name="connsiteY1396" fmla="*/ 922429 h 5346128"/>
              <a:gd name="connsiteX1397" fmla="*/ 4772641 w 5419032"/>
              <a:gd name="connsiteY1397" fmla="*/ 934916 h 5346128"/>
              <a:gd name="connsiteX1398" fmla="*/ 4762102 w 5419032"/>
              <a:gd name="connsiteY1398" fmla="*/ 903696 h 5346128"/>
              <a:gd name="connsiteX1399" fmla="*/ 4745240 w 5419032"/>
              <a:gd name="connsiteY1399" fmla="*/ 895371 h 5346128"/>
              <a:gd name="connsiteX1400" fmla="*/ 4757886 w 5419032"/>
              <a:gd name="connsiteY1400" fmla="*/ 884963 h 5346128"/>
              <a:gd name="connsiteX1401" fmla="*/ 4776855 w 5419032"/>
              <a:gd name="connsiteY1401" fmla="*/ 901615 h 5346128"/>
              <a:gd name="connsiteX1402" fmla="*/ 4800041 w 5419032"/>
              <a:gd name="connsiteY1402" fmla="*/ 916184 h 5346128"/>
              <a:gd name="connsiteX1403" fmla="*/ 4829550 w 5419032"/>
              <a:gd name="connsiteY1403" fmla="*/ 866230 h 5346128"/>
              <a:gd name="connsiteX1404" fmla="*/ 4805837 w 5419032"/>
              <a:gd name="connsiteY1404" fmla="*/ 855400 h 5346128"/>
              <a:gd name="connsiteX1405" fmla="*/ 4801186 w 5419032"/>
              <a:gd name="connsiteY1405" fmla="*/ 847390 h 5346128"/>
              <a:gd name="connsiteX1406" fmla="*/ 4801328 w 5419032"/>
              <a:gd name="connsiteY1406" fmla="*/ 847405 h 5346128"/>
              <a:gd name="connsiteX1407" fmla="*/ 4801678 w 5419032"/>
              <a:gd name="connsiteY1407" fmla="*/ 847757 h 5346128"/>
              <a:gd name="connsiteX1408" fmla="*/ 4801858 w 5419032"/>
              <a:gd name="connsiteY1408" fmla="*/ 847465 h 5346128"/>
              <a:gd name="connsiteX1409" fmla="*/ 4802148 w 5419032"/>
              <a:gd name="connsiteY1409" fmla="*/ 847497 h 5346128"/>
              <a:gd name="connsiteX1410" fmla="*/ 4801956 w 5419032"/>
              <a:gd name="connsiteY1410" fmla="*/ 847307 h 5346128"/>
              <a:gd name="connsiteX1411" fmla="*/ 4803526 w 5419032"/>
              <a:gd name="connsiteY1411" fmla="*/ 844767 h 5346128"/>
              <a:gd name="connsiteX1412" fmla="*/ 4826308 w 5419032"/>
              <a:gd name="connsiteY1412" fmla="*/ 839596 h 5346128"/>
              <a:gd name="connsiteX1413" fmla="*/ 4853945 w 5419032"/>
              <a:gd name="connsiteY1413" fmla="*/ 778530 h 5346128"/>
              <a:gd name="connsiteX1414" fmla="*/ 4828858 w 5419032"/>
              <a:gd name="connsiteY1414" fmla="*/ 784823 h 5346128"/>
              <a:gd name="connsiteX1415" fmla="*/ 4811707 w 5419032"/>
              <a:gd name="connsiteY1415" fmla="*/ 777153 h 5346128"/>
              <a:gd name="connsiteX1416" fmla="*/ 5014026 w 5419032"/>
              <a:gd name="connsiteY1416" fmla="*/ 770394 h 5346128"/>
              <a:gd name="connsiteX1417" fmla="*/ 5003412 w 5419032"/>
              <a:gd name="connsiteY1417" fmla="*/ 782757 h 5346128"/>
              <a:gd name="connsiteX1418" fmla="*/ 5045868 w 5419032"/>
              <a:gd name="connsiteY1418" fmla="*/ 813663 h 5346128"/>
              <a:gd name="connsiteX1419" fmla="*/ 5014026 w 5419032"/>
              <a:gd name="connsiteY1419" fmla="*/ 770394 h 5346128"/>
              <a:gd name="connsiteX1420" fmla="*/ 5094696 w 5419032"/>
              <a:gd name="connsiteY1420" fmla="*/ 755025 h 5346128"/>
              <a:gd name="connsiteX1421" fmla="*/ 5099646 w 5419032"/>
              <a:gd name="connsiteY1421" fmla="*/ 755606 h 5346128"/>
              <a:gd name="connsiteX1422" fmla="*/ 5185655 w 5419032"/>
              <a:gd name="connsiteY1422" fmla="*/ 768011 h 5346128"/>
              <a:gd name="connsiteX1423" fmla="*/ 5091254 w 5419032"/>
              <a:gd name="connsiteY1423" fmla="*/ 784552 h 5346128"/>
              <a:gd name="connsiteX1424" fmla="*/ 5089564 w 5419032"/>
              <a:gd name="connsiteY1424" fmla="*/ 784765 h 5346128"/>
              <a:gd name="connsiteX1425" fmla="*/ 5084961 w 5419032"/>
              <a:gd name="connsiteY1425" fmla="*/ 778725 h 5346128"/>
              <a:gd name="connsiteX1426" fmla="*/ 5084961 w 5419032"/>
              <a:gd name="connsiteY1426" fmla="*/ 774215 h 5346128"/>
              <a:gd name="connsiteX1427" fmla="*/ 5094696 w 5419032"/>
              <a:gd name="connsiteY1427" fmla="*/ 755025 h 5346128"/>
              <a:gd name="connsiteX1428" fmla="*/ 844587 w 5419032"/>
              <a:gd name="connsiteY1428" fmla="*/ 742307 h 5346128"/>
              <a:gd name="connsiteX1429" fmla="*/ 894409 w 5419032"/>
              <a:gd name="connsiteY1429" fmla="*/ 765213 h 5346128"/>
              <a:gd name="connsiteX1430" fmla="*/ 844587 w 5419032"/>
              <a:gd name="connsiteY1430" fmla="*/ 742307 h 5346128"/>
              <a:gd name="connsiteX1431" fmla="*/ 4976245 w 5419032"/>
              <a:gd name="connsiteY1431" fmla="*/ 715327 h 5346128"/>
              <a:gd name="connsiteX1432" fmla="*/ 4993075 w 5419032"/>
              <a:gd name="connsiteY1432" fmla="*/ 740679 h 5346128"/>
              <a:gd name="connsiteX1433" fmla="*/ 4940478 w 5419032"/>
              <a:gd name="connsiteY1433" fmla="*/ 740679 h 5346128"/>
              <a:gd name="connsiteX1434" fmla="*/ 4974140 w 5419032"/>
              <a:gd name="connsiteY1434" fmla="*/ 759692 h 5346128"/>
              <a:gd name="connsiteX1435" fmla="*/ 4999386 w 5419032"/>
              <a:gd name="connsiteY1435" fmla="*/ 766029 h 5346128"/>
              <a:gd name="connsiteX1436" fmla="*/ 5024634 w 5419032"/>
              <a:gd name="connsiteY1436" fmla="*/ 715327 h 5346128"/>
              <a:gd name="connsiteX1437" fmla="*/ 4976245 w 5419032"/>
              <a:gd name="connsiteY1437" fmla="*/ 715327 h 5346128"/>
              <a:gd name="connsiteX1438" fmla="*/ 2865523 w 5419032"/>
              <a:gd name="connsiteY1438" fmla="*/ 705618 h 5346128"/>
              <a:gd name="connsiteX1439" fmla="*/ 2846644 w 5419032"/>
              <a:gd name="connsiteY1439" fmla="*/ 719778 h 5346128"/>
              <a:gd name="connsiteX1440" fmla="*/ 2876012 w 5419032"/>
              <a:gd name="connsiteY1440" fmla="*/ 715582 h 5346128"/>
              <a:gd name="connsiteX1441" fmla="*/ 2873914 w 5419032"/>
              <a:gd name="connsiteY1441" fmla="*/ 707190 h 5346128"/>
              <a:gd name="connsiteX1442" fmla="*/ 2865523 w 5419032"/>
              <a:gd name="connsiteY1442" fmla="*/ 705618 h 5346128"/>
              <a:gd name="connsiteX1443" fmla="*/ 1228412 w 5419032"/>
              <a:gd name="connsiteY1443" fmla="*/ 698278 h 5346128"/>
              <a:gd name="connsiteX1444" fmla="*/ 1181541 w 5419032"/>
              <a:gd name="connsiteY1444" fmla="*/ 717665 h 5346128"/>
              <a:gd name="connsiteX1445" fmla="*/ 1230544 w 5419032"/>
              <a:gd name="connsiteY1445" fmla="*/ 715510 h 5346128"/>
              <a:gd name="connsiteX1446" fmla="*/ 1228412 w 5419032"/>
              <a:gd name="connsiteY1446" fmla="*/ 698278 h 5346128"/>
              <a:gd name="connsiteX1447" fmla="*/ 4818545 w 5419032"/>
              <a:gd name="connsiteY1447" fmla="*/ 694349 h 5346128"/>
              <a:gd name="connsiteX1448" fmla="*/ 4835326 w 5419032"/>
              <a:gd name="connsiteY1448" fmla="*/ 729845 h 5346128"/>
              <a:gd name="connsiteX1449" fmla="*/ 4847914 w 5419032"/>
              <a:gd name="connsiteY1449" fmla="*/ 748642 h 5346128"/>
              <a:gd name="connsiteX1450" fmla="*/ 4864696 w 5419032"/>
              <a:gd name="connsiteY1450" fmla="*/ 740291 h 5346128"/>
              <a:gd name="connsiteX1451" fmla="*/ 4858402 w 5419032"/>
              <a:gd name="connsiteY1451" fmla="*/ 713141 h 5346128"/>
              <a:gd name="connsiteX1452" fmla="*/ 4818545 w 5419032"/>
              <a:gd name="connsiteY1452" fmla="*/ 694349 h 5346128"/>
              <a:gd name="connsiteX1453" fmla="*/ 1116510 w 5419032"/>
              <a:gd name="connsiteY1453" fmla="*/ 691072 h 5346128"/>
              <a:gd name="connsiteX1454" fmla="*/ 1054101 w 5419032"/>
              <a:gd name="connsiteY1454" fmla="*/ 715257 h 5346128"/>
              <a:gd name="connsiteX1455" fmla="*/ 1054101 w 5419032"/>
              <a:gd name="connsiteY1455" fmla="*/ 736518 h 5346128"/>
              <a:gd name="connsiteX1456" fmla="*/ 1068786 w 5419032"/>
              <a:gd name="connsiteY1456" fmla="*/ 736518 h 5346128"/>
              <a:gd name="connsiteX1457" fmla="*/ 1148501 w 5419032"/>
              <a:gd name="connsiteY1457" fmla="*/ 745028 h 5346128"/>
              <a:gd name="connsiteX1458" fmla="*/ 1156892 w 5419032"/>
              <a:gd name="connsiteY1458" fmla="*/ 753533 h 5346128"/>
              <a:gd name="connsiteX1459" fmla="*/ 1161087 w 5419032"/>
              <a:gd name="connsiteY1459" fmla="*/ 732266 h 5346128"/>
              <a:gd name="connsiteX1460" fmla="*/ 1152696 w 5419032"/>
              <a:gd name="connsiteY1460" fmla="*/ 708878 h 5346128"/>
              <a:gd name="connsiteX1461" fmla="*/ 1182065 w 5419032"/>
              <a:gd name="connsiteY1461" fmla="*/ 717383 h 5346128"/>
              <a:gd name="connsiteX1462" fmla="*/ 1182065 w 5419032"/>
              <a:gd name="connsiteY1462" fmla="*/ 706752 h 5346128"/>
              <a:gd name="connsiteX1463" fmla="*/ 1116510 w 5419032"/>
              <a:gd name="connsiteY1463" fmla="*/ 691072 h 5346128"/>
              <a:gd name="connsiteX1464" fmla="*/ 4541621 w 5419032"/>
              <a:gd name="connsiteY1464" fmla="*/ 683863 h 5346128"/>
              <a:gd name="connsiteX1465" fmla="*/ 4542454 w 5419032"/>
              <a:gd name="connsiteY1465" fmla="*/ 683863 h 5346128"/>
              <a:gd name="connsiteX1466" fmla="*/ 4542392 w 5419032"/>
              <a:gd name="connsiteY1466" fmla="*/ 684003 h 5346128"/>
              <a:gd name="connsiteX1467" fmla="*/ 4543657 w 5419032"/>
              <a:gd name="connsiteY1467" fmla="*/ 684003 h 5346128"/>
              <a:gd name="connsiteX1468" fmla="*/ 4543472 w 5419032"/>
              <a:gd name="connsiteY1468" fmla="*/ 684368 h 5346128"/>
              <a:gd name="connsiteX1469" fmla="*/ 4542153 w 5419032"/>
              <a:gd name="connsiteY1469" fmla="*/ 684840 h 5346128"/>
              <a:gd name="connsiteX1470" fmla="*/ 2718156 w 5419032"/>
              <a:gd name="connsiteY1470" fmla="*/ 673571 h 5346128"/>
              <a:gd name="connsiteX1471" fmla="*/ 2747524 w 5419032"/>
              <a:gd name="connsiteY1471" fmla="*/ 704585 h 5346128"/>
              <a:gd name="connsiteX1472" fmla="*/ 2768503 w 5419032"/>
              <a:gd name="connsiteY1472" fmla="*/ 694248 h 5346128"/>
              <a:gd name="connsiteX1473" fmla="*/ 2718156 w 5419032"/>
              <a:gd name="connsiteY1473" fmla="*/ 673571 h 5346128"/>
              <a:gd name="connsiteX1474" fmla="*/ 4667449 w 5419032"/>
              <a:gd name="connsiteY1474" fmla="*/ 664970 h 5346128"/>
              <a:gd name="connsiteX1475" fmla="*/ 4648789 w 5419032"/>
              <a:gd name="connsiteY1475" fmla="*/ 665232 h 5346128"/>
              <a:gd name="connsiteX1476" fmla="*/ 4615324 w 5419032"/>
              <a:gd name="connsiteY1476" fmla="*/ 673603 h 5346128"/>
              <a:gd name="connsiteX1477" fmla="*/ 4638331 w 5419032"/>
              <a:gd name="connsiteY1477" fmla="*/ 696629 h 5346128"/>
              <a:gd name="connsiteX1478" fmla="*/ 4663428 w 5419032"/>
              <a:gd name="connsiteY1478" fmla="*/ 736399 h 5346128"/>
              <a:gd name="connsiteX1479" fmla="*/ 4629965 w 5419032"/>
              <a:gd name="connsiteY1479" fmla="*/ 753152 h 5346128"/>
              <a:gd name="connsiteX1480" fmla="*/ 4791012 w 5419032"/>
              <a:gd name="connsiteY1480" fmla="*/ 746871 h 5346128"/>
              <a:gd name="connsiteX1481" fmla="*/ 4751274 w 5419032"/>
              <a:gd name="connsiteY1481" fmla="*/ 728027 h 5346128"/>
              <a:gd name="connsiteX1482" fmla="*/ 4709442 w 5419032"/>
              <a:gd name="connsiteY1482" fmla="*/ 744777 h 5346128"/>
              <a:gd name="connsiteX1483" fmla="*/ 4688528 w 5419032"/>
              <a:gd name="connsiteY1483" fmla="*/ 717560 h 5346128"/>
              <a:gd name="connsiteX1484" fmla="*/ 4705260 w 5419032"/>
              <a:gd name="connsiteY1484" fmla="*/ 705002 h 5346128"/>
              <a:gd name="connsiteX1485" fmla="*/ 4719900 w 5419032"/>
              <a:gd name="connsiteY1485" fmla="*/ 705002 h 5346128"/>
              <a:gd name="connsiteX1486" fmla="*/ 4713626 w 5419032"/>
              <a:gd name="connsiteY1486" fmla="*/ 686163 h 5346128"/>
              <a:gd name="connsiteX1487" fmla="*/ 4667449 w 5419032"/>
              <a:gd name="connsiteY1487" fmla="*/ 664970 h 5346128"/>
              <a:gd name="connsiteX1488" fmla="*/ 4816298 w 5419032"/>
              <a:gd name="connsiteY1488" fmla="*/ 652503 h 5346128"/>
              <a:gd name="connsiteX1489" fmla="*/ 4814144 w 5419032"/>
              <a:gd name="connsiteY1489" fmla="*/ 662634 h 5346128"/>
              <a:gd name="connsiteX1490" fmla="*/ 4828146 w 5419032"/>
              <a:gd name="connsiteY1490" fmla="*/ 667446 h 5346128"/>
              <a:gd name="connsiteX1491" fmla="*/ 4840498 w 5419032"/>
              <a:gd name="connsiteY1491" fmla="*/ 664988 h 5346128"/>
              <a:gd name="connsiteX1492" fmla="*/ 4842145 w 5419032"/>
              <a:gd name="connsiteY1492" fmla="*/ 666686 h 5346128"/>
              <a:gd name="connsiteX1493" fmla="*/ 4842145 w 5419032"/>
              <a:gd name="connsiteY1493" fmla="*/ 664660 h 5346128"/>
              <a:gd name="connsiteX1494" fmla="*/ 4840498 w 5419032"/>
              <a:gd name="connsiteY1494" fmla="*/ 664988 h 5346128"/>
              <a:gd name="connsiteX1495" fmla="*/ 4830838 w 5419032"/>
              <a:gd name="connsiteY1495" fmla="*/ 655035 h 5346128"/>
              <a:gd name="connsiteX1496" fmla="*/ 4816298 w 5419032"/>
              <a:gd name="connsiteY1496" fmla="*/ 652503 h 5346128"/>
              <a:gd name="connsiteX1497" fmla="*/ 4468860 w 5419032"/>
              <a:gd name="connsiteY1497" fmla="*/ 648435 h 5346128"/>
              <a:gd name="connsiteX1498" fmla="*/ 4391124 w 5419032"/>
              <a:gd name="connsiteY1498" fmla="*/ 686095 h 5346128"/>
              <a:gd name="connsiteX1499" fmla="*/ 4447851 w 5419032"/>
              <a:gd name="connsiteY1499" fmla="*/ 721662 h 5346128"/>
              <a:gd name="connsiteX1500" fmla="*/ 4468860 w 5419032"/>
              <a:gd name="connsiteY1500" fmla="*/ 723754 h 5346128"/>
              <a:gd name="connsiteX1501" fmla="*/ 4504312 w 5419032"/>
              <a:gd name="connsiteY1501" fmla="*/ 698386 h 5346128"/>
              <a:gd name="connsiteX1502" fmla="*/ 4542153 w 5419032"/>
              <a:gd name="connsiteY1502" fmla="*/ 684840 h 5346128"/>
              <a:gd name="connsiteX1503" fmla="*/ 4542712 w 5419032"/>
              <a:gd name="connsiteY1503" fmla="*/ 685864 h 5346128"/>
              <a:gd name="connsiteX1504" fmla="*/ 4527135 w 5419032"/>
              <a:gd name="connsiteY1504" fmla="*/ 716511 h 5346128"/>
              <a:gd name="connsiteX1505" fmla="*/ 4499478 w 5419032"/>
              <a:gd name="connsiteY1505" fmla="*/ 738196 h 5346128"/>
              <a:gd name="connsiteX1506" fmla="*/ 4495264 w 5419032"/>
              <a:gd name="connsiteY1506" fmla="*/ 754914 h 5346128"/>
              <a:gd name="connsiteX1507" fmla="*/ 4545836 w 5419032"/>
              <a:gd name="connsiteY1507" fmla="*/ 790438 h 5346128"/>
              <a:gd name="connsiteX1508" fmla="*/ 4585871 w 5419032"/>
              <a:gd name="connsiteY1508" fmla="*/ 794617 h 5346128"/>
              <a:gd name="connsiteX1509" fmla="*/ 4571121 w 5419032"/>
              <a:gd name="connsiteY1509" fmla="*/ 754914 h 5346128"/>
              <a:gd name="connsiteX1510" fmla="*/ 4569014 w 5419032"/>
              <a:gd name="connsiteY1510" fmla="*/ 744465 h 5346128"/>
              <a:gd name="connsiteX1511" fmla="*/ 4557688 w 5419032"/>
              <a:gd name="connsiteY1511" fmla="*/ 713378 h 5346128"/>
              <a:gd name="connsiteX1512" fmla="*/ 4542712 w 5419032"/>
              <a:gd name="connsiteY1512" fmla="*/ 685864 h 5346128"/>
              <a:gd name="connsiteX1513" fmla="*/ 4543472 w 5419032"/>
              <a:gd name="connsiteY1513" fmla="*/ 684368 h 5346128"/>
              <a:gd name="connsiteX1514" fmla="*/ 4544494 w 5419032"/>
              <a:gd name="connsiteY1514" fmla="*/ 684003 h 5346128"/>
              <a:gd name="connsiteX1515" fmla="*/ 4543657 w 5419032"/>
              <a:gd name="connsiteY1515" fmla="*/ 684003 h 5346128"/>
              <a:gd name="connsiteX1516" fmla="*/ 4543728 w 5419032"/>
              <a:gd name="connsiteY1516" fmla="*/ 683863 h 5346128"/>
              <a:gd name="connsiteX1517" fmla="*/ 4542454 w 5419032"/>
              <a:gd name="connsiteY1517" fmla="*/ 683863 h 5346128"/>
              <a:gd name="connsiteX1518" fmla="*/ 4545577 w 5419032"/>
              <a:gd name="connsiteY1518" fmla="*/ 676876 h 5346128"/>
              <a:gd name="connsiteX1519" fmla="*/ 4538190 w 5419032"/>
              <a:gd name="connsiteY1519" fmla="*/ 660989 h 5346128"/>
              <a:gd name="connsiteX1520" fmla="*/ 4504576 w 5419032"/>
              <a:gd name="connsiteY1520" fmla="*/ 665173 h 5346128"/>
              <a:gd name="connsiteX1521" fmla="*/ 4496172 w 5419032"/>
              <a:gd name="connsiteY1521" fmla="*/ 679818 h 5346128"/>
              <a:gd name="connsiteX1522" fmla="*/ 4473060 w 5419032"/>
              <a:gd name="connsiteY1522" fmla="*/ 663080 h 5346128"/>
              <a:gd name="connsiteX1523" fmla="*/ 4468860 w 5419032"/>
              <a:gd name="connsiteY1523" fmla="*/ 648435 h 5346128"/>
              <a:gd name="connsiteX1524" fmla="*/ 1104561 w 5419032"/>
              <a:gd name="connsiteY1524" fmla="*/ 645986 h 5346128"/>
              <a:gd name="connsiteX1525" fmla="*/ 1043477 w 5419032"/>
              <a:gd name="connsiteY1525" fmla="*/ 654532 h 5346128"/>
              <a:gd name="connsiteX1526" fmla="*/ 1028142 w 5419032"/>
              <a:gd name="connsiteY1526" fmla="*/ 659055 h 5346128"/>
              <a:gd name="connsiteX1527" fmla="*/ 1025148 w 5419032"/>
              <a:gd name="connsiteY1527" fmla="*/ 658056 h 5346128"/>
              <a:gd name="connsiteX1528" fmla="*/ 1040525 w 5419032"/>
              <a:gd name="connsiteY1528" fmla="*/ 649227 h 5346128"/>
              <a:gd name="connsiteX1529" fmla="*/ 1104561 w 5419032"/>
              <a:gd name="connsiteY1529" fmla="*/ 645986 h 5346128"/>
              <a:gd name="connsiteX1530" fmla="*/ 4364083 w 5419032"/>
              <a:gd name="connsiteY1530" fmla="*/ 645823 h 5346128"/>
              <a:gd name="connsiteX1531" fmla="*/ 4361741 w 5419032"/>
              <a:gd name="connsiteY1531" fmla="*/ 656595 h 5346128"/>
              <a:gd name="connsiteX1532" fmla="*/ 4395059 w 5419032"/>
              <a:gd name="connsiteY1532" fmla="*/ 666945 h 5346128"/>
              <a:gd name="connsiteX1533" fmla="*/ 4367989 w 5419032"/>
              <a:gd name="connsiteY1533" fmla="*/ 650385 h 5346128"/>
              <a:gd name="connsiteX1534" fmla="*/ 4364083 w 5419032"/>
              <a:gd name="connsiteY1534" fmla="*/ 645823 h 5346128"/>
              <a:gd name="connsiteX1535" fmla="*/ 2728644 w 5419032"/>
              <a:gd name="connsiteY1535" fmla="*/ 623541 h 5346128"/>
              <a:gd name="connsiteX1536" fmla="*/ 2714222 w 5419032"/>
              <a:gd name="connsiteY1536" fmla="*/ 633738 h 5346128"/>
              <a:gd name="connsiteX1537" fmla="*/ 2728644 w 5419032"/>
              <a:gd name="connsiteY1537" fmla="*/ 639858 h 5346128"/>
              <a:gd name="connsiteX1538" fmla="*/ 2741005 w 5419032"/>
              <a:gd name="connsiteY1538" fmla="*/ 629660 h 5346128"/>
              <a:gd name="connsiteX1539" fmla="*/ 2728644 w 5419032"/>
              <a:gd name="connsiteY1539" fmla="*/ 623541 h 5346128"/>
              <a:gd name="connsiteX1540" fmla="*/ 1485818 w 5419032"/>
              <a:gd name="connsiteY1540" fmla="*/ 603872 h 5346128"/>
              <a:gd name="connsiteX1541" fmla="*/ 1479465 w 5419032"/>
              <a:gd name="connsiteY1541" fmla="*/ 610428 h 5346128"/>
              <a:gd name="connsiteX1542" fmla="*/ 1494290 w 5419032"/>
              <a:gd name="connsiteY1542" fmla="*/ 623539 h 5346128"/>
              <a:gd name="connsiteX1543" fmla="*/ 1502762 w 5419032"/>
              <a:gd name="connsiteY1543" fmla="*/ 614799 h 5346128"/>
              <a:gd name="connsiteX1544" fmla="*/ 1485818 w 5419032"/>
              <a:gd name="connsiteY1544" fmla="*/ 603872 h 5346128"/>
              <a:gd name="connsiteX1545" fmla="*/ 1604569 w 5419032"/>
              <a:gd name="connsiteY1545" fmla="*/ 599580 h 5346128"/>
              <a:gd name="connsiteX1546" fmla="*/ 1603213 w 5419032"/>
              <a:gd name="connsiteY1546" fmla="*/ 604158 h 5346128"/>
              <a:gd name="connsiteX1547" fmla="*/ 1618038 w 5419032"/>
              <a:gd name="connsiteY1547" fmla="*/ 623544 h 5346128"/>
              <a:gd name="connsiteX1548" fmla="*/ 1628628 w 5419032"/>
              <a:gd name="connsiteY1548" fmla="*/ 610620 h 5346128"/>
              <a:gd name="connsiteX1549" fmla="*/ 1613803 w 5419032"/>
              <a:gd name="connsiteY1549" fmla="*/ 602004 h 5346128"/>
              <a:gd name="connsiteX1550" fmla="*/ 1604569 w 5419032"/>
              <a:gd name="connsiteY1550" fmla="*/ 599580 h 5346128"/>
              <a:gd name="connsiteX1551" fmla="*/ 4284138 w 5419032"/>
              <a:gd name="connsiteY1551" fmla="*/ 581077 h 5346128"/>
              <a:gd name="connsiteX1552" fmla="*/ 4267356 w 5419032"/>
              <a:gd name="connsiteY1552" fmla="*/ 587405 h 5346128"/>
              <a:gd name="connsiteX1553" fmla="*/ 4292530 w 5419032"/>
              <a:gd name="connsiteY1553" fmla="*/ 627480 h 5346128"/>
              <a:gd name="connsiteX1554" fmla="*/ 4284138 w 5419032"/>
              <a:gd name="connsiteY1554" fmla="*/ 581077 h 5346128"/>
              <a:gd name="connsiteX1555" fmla="*/ 1194652 w 5419032"/>
              <a:gd name="connsiteY1555" fmla="*/ 577655 h 5346128"/>
              <a:gd name="connsiteX1556" fmla="*/ 1176109 w 5419032"/>
              <a:gd name="connsiteY1556" fmla="*/ 613054 h 5346128"/>
              <a:gd name="connsiteX1557" fmla="*/ 1194652 w 5419032"/>
              <a:gd name="connsiteY1557" fmla="*/ 577655 h 5346128"/>
              <a:gd name="connsiteX1558" fmla="*/ 4332224 w 5419032"/>
              <a:gd name="connsiteY1558" fmla="*/ 573897 h 5346128"/>
              <a:gd name="connsiteX1559" fmla="*/ 4322053 w 5419032"/>
              <a:gd name="connsiteY1559" fmla="*/ 574820 h 5346128"/>
              <a:gd name="connsiteX1560" fmla="*/ 4311625 w 5419032"/>
              <a:gd name="connsiteY1560" fmla="*/ 604393 h 5346128"/>
              <a:gd name="connsiteX1561" fmla="*/ 4340826 w 5419032"/>
              <a:gd name="connsiteY1561" fmla="*/ 631855 h 5346128"/>
              <a:gd name="connsiteX1562" fmla="*/ 4395059 w 5419032"/>
              <a:gd name="connsiteY1562" fmla="*/ 606506 h 5346128"/>
              <a:gd name="connsiteX1563" fmla="*/ 4334569 w 5419032"/>
              <a:gd name="connsiteY1563" fmla="*/ 591719 h 5346128"/>
              <a:gd name="connsiteX1564" fmla="*/ 4332224 w 5419032"/>
              <a:gd name="connsiteY1564" fmla="*/ 573897 h 5346128"/>
              <a:gd name="connsiteX1565" fmla="*/ 2459740 w 5419032"/>
              <a:gd name="connsiteY1565" fmla="*/ 573262 h 5346128"/>
              <a:gd name="connsiteX1566" fmla="*/ 2427090 w 5419032"/>
              <a:gd name="connsiteY1566" fmla="*/ 593502 h 5346128"/>
              <a:gd name="connsiteX1567" fmla="*/ 2493956 w 5419032"/>
              <a:gd name="connsiteY1567" fmla="*/ 581047 h 5346128"/>
              <a:gd name="connsiteX1568" fmla="*/ 2459740 w 5419032"/>
              <a:gd name="connsiteY1568" fmla="*/ 573262 h 5346128"/>
              <a:gd name="connsiteX1569" fmla="*/ 1114413 w 5419032"/>
              <a:gd name="connsiteY1569" fmla="*/ 568475 h 5346128"/>
              <a:gd name="connsiteX1570" fmla="*/ 1106021 w 5419032"/>
              <a:gd name="connsiteY1570" fmla="*/ 593386 h 5346128"/>
              <a:gd name="connsiteX1571" fmla="*/ 1129097 w 5419032"/>
              <a:gd name="connsiteY1571" fmla="*/ 572627 h 5346128"/>
              <a:gd name="connsiteX1572" fmla="*/ 1114413 w 5419032"/>
              <a:gd name="connsiteY1572" fmla="*/ 568475 h 5346128"/>
              <a:gd name="connsiteX1573" fmla="*/ 1666651 w 5419032"/>
              <a:gd name="connsiteY1573" fmla="*/ 557986 h 5346128"/>
              <a:gd name="connsiteX1574" fmla="*/ 1641739 w 5419032"/>
              <a:gd name="connsiteY1574" fmla="*/ 574594 h 5346128"/>
              <a:gd name="connsiteX1575" fmla="*/ 1650043 w 5419032"/>
              <a:gd name="connsiteY1575" fmla="*/ 582899 h 5346128"/>
              <a:gd name="connsiteX1576" fmla="*/ 1666651 w 5419032"/>
              <a:gd name="connsiteY1576" fmla="*/ 557986 h 5346128"/>
              <a:gd name="connsiteX1577" fmla="*/ 4661772 w 5419032"/>
              <a:gd name="connsiteY1577" fmla="*/ 556686 h 5346128"/>
              <a:gd name="connsiteX1578" fmla="*/ 4659679 w 5419032"/>
              <a:gd name="connsiteY1578" fmla="*/ 558779 h 5346128"/>
              <a:gd name="connsiteX1579" fmla="*/ 4660623 w 5419032"/>
              <a:gd name="connsiteY1579" fmla="*/ 559251 h 5346128"/>
              <a:gd name="connsiteX1580" fmla="*/ 4652651 w 5419032"/>
              <a:gd name="connsiteY1580" fmla="*/ 577052 h 5346128"/>
              <a:gd name="connsiteX1581" fmla="*/ 4586452 w 5419032"/>
              <a:gd name="connsiteY1581" fmla="*/ 579701 h 5346128"/>
              <a:gd name="connsiteX1582" fmla="*/ 4601098 w 5419032"/>
              <a:gd name="connsiteY1582" fmla="*/ 629913 h 5346128"/>
              <a:gd name="connsiteX1583" fmla="*/ 4624111 w 5419032"/>
              <a:gd name="connsiteY1583" fmla="*/ 604806 h 5346128"/>
              <a:gd name="connsiteX1584" fmla="*/ 4624111 w 5419032"/>
              <a:gd name="connsiteY1584" fmla="*/ 623636 h 5346128"/>
              <a:gd name="connsiteX1585" fmla="*/ 4655494 w 5419032"/>
              <a:gd name="connsiteY1585" fmla="*/ 646650 h 5346128"/>
              <a:gd name="connsiteX1586" fmla="*/ 4718260 w 5419032"/>
              <a:gd name="connsiteY1586" fmla="*/ 621544 h 5346128"/>
              <a:gd name="connsiteX1587" fmla="*/ 4753828 w 5419032"/>
              <a:gd name="connsiteY1587" fmla="*/ 619452 h 5346128"/>
              <a:gd name="connsiteX1588" fmla="*/ 4760104 w 5419032"/>
              <a:gd name="connsiteY1588" fmla="*/ 629913 h 5346128"/>
              <a:gd name="connsiteX1589" fmla="*/ 4766380 w 5419032"/>
              <a:gd name="connsiteY1589" fmla="*/ 606899 h 5346128"/>
              <a:gd name="connsiteX1590" fmla="*/ 4755919 w 5419032"/>
              <a:gd name="connsiteY1590" fmla="*/ 596438 h 5346128"/>
              <a:gd name="connsiteX1591" fmla="*/ 4663862 w 5419032"/>
              <a:gd name="connsiteY1591" fmla="*/ 560870 h 5346128"/>
              <a:gd name="connsiteX1592" fmla="*/ 4660623 w 5419032"/>
              <a:gd name="connsiteY1592" fmla="*/ 559251 h 5346128"/>
              <a:gd name="connsiteX1593" fmla="*/ 1549704 w 5419032"/>
              <a:gd name="connsiteY1593" fmla="*/ 551323 h 5346128"/>
              <a:gd name="connsiteX1594" fmla="*/ 1540784 w 5419032"/>
              <a:gd name="connsiteY1594" fmla="*/ 553866 h 5346128"/>
              <a:gd name="connsiteX1595" fmla="*/ 1545045 w 5419032"/>
              <a:gd name="connsiteY1595" fmla="*/ 560047 h 5346128"/>
              <a:gd name="connsiteX1596" fmla="*/ 1574872 w 5419032"/>
              <a:gd name="connsiteY1596" fmla="*/ 557986 h 5346128"/>
              <a:gd name="connsiteX1597" fmla="*/ 1549704 w 5419032"/>
              <a:gd name="connsiteY1597" fmla="*/ 551323 h 5346128"/>
              <a:gd name="connsiteX1598" fmla="*/ 2944977 w 5419032"/>
              <a:gd name="connsiteY1598" fmla="*/ 550116 h 5346128"/>
              <a:gd name="connsiteX1599" fmla="*/ 2967640 w 5419032"/>
              <a:gd name="connsiteY1599" fmla="*/ 564394 h 5346128"/>
              <a:gd name="connsiteX1600" fmla="*/ 2973821 w 5419032"/>
              <a:gd name="connsiteY1600" fmla="*/ 554195 h 5346128"/>
              <a:gd name="connsiteX1601" fmla="*/ 2944977 w 5419032"/>
              <a:gd name="connsiteY1601" fmla="*/ 550116 h 5346128"/>
              <a:gd name="connsiteX1602" fmla="*/ 4628090 w 5419032"/>
              <a:gd name="connsiteY1602" fmla="*/ 532609 h 5346128"/>
              <a:gd name="connsiteX1603" fmla="*/ 4623950 w 5419032"/>
              <a:gd name="connsiteY1603" fmla="*/ 541225 h 5346128"/>
              <a:gd name="connsiteX1604" fmla="*/ 4652932 w 5419032"/>
              <a:gd name="connsiteY1604" fmla="*/ 558456 h 5346128"/>
              <a:gd name="connsiteX1605" fmla="*/ 4657072 w 5419032"/>
              <a:gd name="connsiteY1605" fmla="*/ 558995 h 5346128"/>
              <a:gd name="connsiteX1606" fmla="*/ 4658778 w 5419032"/>
              <a:gd name="connsiteY1606" fmla="*/ 557886 h 5346128"/>
              <a:gd name="connsiteX1607" fmla="*/ 4659142 w 5419032"/>
              <a:gd name="connsiteY1607" fmla="*/ 558456 h 5346128"/>
              <a:gd name="connsiteX1608" fmla="*/ 4661212 w 5419032"/>
              <a:gd name="connsiteY1608" fmla="*/ 556303 h 5346128"/>
              <a:gd name="connsiteX1609" fmla="*/ 4658778 w 5419032"/>
              <a:gd name="connsiteY1609" fmla="*/ 557886 h 5346128"/>
              <a:gd name="connsiteX1610" fmla="*/ 4655002 w 5419032"/>
              <a:gd name="connsiteY1610" fmla="*/ 551995 h 5346128"/>
              <a:gd name="connsiteX1611" fmla="*/ 4628090 w 5419032"/>
              <a:gd name="connsiteY1611" fmla="*/ 532609 h 5346128"/>
              <a:gd name="connsiteX1612" fmla="*/ 4470949 w 5419032"/>
              <a:gd name="connsiteY1612" fmla="*/ 515593 h 5346128"/>
              <a:gd name="connsiteX1613" fmla="*/ 4472492 w 5419032"/>
              <a:gd name="connsiteY1613" fmla="*/ 516584 h 5346128"/>
              <a:gd name="connsiteX1614" fmla="*/ 4470519 w 5419032"/>
              <a:gd name="connsiteY1614" fmla="*/ 516067 h 5346128"/>
              <a:gd name="connsiteX1615" fmla="*/ 4470410 w 5419032"/>
              <a:gd name="connsiteY1615" fmla="*/ 515790 h 5346128"/>
              <a:gd name="connsiteX1616" fmla="*/ 4531377 w 5419032"/>
              <a:gd name="connsiteY1616" fmla="*/ 509779 h 5346128"/>
              <a:gd name="connsiteX1617" fmla="*/ 4527180 w 5419032"/>
              <a:gd name="connsiteY1617" fmla="*/ 551689 h 5346128"/>
              <a:gd name="connsiteX1618" fmla="*/ 4472492 w 5419032"/>
              <a:gd name="connsiteY1618" fmla="*/ 516584 h 5346128"/>
              <a:gd name="connsiteX1619" fmla="*/ 4484750 w 5419032"/>
              <a:gd name="connsiteY1619" fmla="*/ 519798 h 5346128"/>
              <a:gd name="connsiteX1620" fmla="*/ 4531377 w 5419032"/>
              <a:gd name="connsiteY1620" fmla="*/ 509779 h 5346128"/>
              <a:gd name="connsiteX1621" fmla="*/ 991349 w 5419032"/>
              <a:gd name="connsiteY1621" fmla="*/ 509468 h 5346128"/>
              <a:gd name="connsiteX1622" fmla="*/ 1009786 w 5419032"/>
              <a:gd name="connsiteY1622" fmla="*/ 551423 h 5346128"/>
              <a:gd name="connsiteX1623" fmla="*/ 991349 w 5419032"/>
              <a:gd name="connsiteY1623" fmla="*/ 509468 h 5346128"/>
              <a:gd name="connsiteX1624" fmla="*/ 4612702 w 5419032"/>
              <a:gd name="connsiteY1624" fmla="*/ 493193 h 5346128"/>
              <a:gd name="connsiteX1625" fmla="*/ 4640236 w 5419032"/>
              <a:gd name="connsiteY1625" fmla="*/ 511877 h 5346128"/>
              <a:gd name="connsiteX1626" fmla="*/ 4612702 w 5419032"/>
              <a:gd name="connsiteY1626" fmla="*/ 493193 h 5346128"/>
              <a:gd name="connsiteX1627" fmla="*/ 1739810 w 5419032"/>
              <a:gd name="connsiteY1627" fmla="*/ 478010 h 5346128"/>
              <a:gd name="connsiteX1628" fmla="*/ 1731419 w 5419032"/>
              <a:gd name="connsiteY1628" fmla="*/ 480108 h 5346128"/>
              <a:gd name="connsiteX1629" fmla="*/ 1744005 w 5419032"/>
              <a:gd name="connsiteY1629" fmla="*/ 509475 h 5346128"/>
              <a:gd name="connsiteX1630" fmla="*/ 1739810 w 5419032"/>
              <a:gd name="connsiteY1630" fmla="*/ 478010 h 5346128"/>
              <a:gd name="connsiteX1631" fmla="*/ 2879421 w 5419032"/>
              <a:gd name="connsiteY1631" fmla="*/ 464295 h 5346128"/>
              <a:gd name="connsiteX1632" fmla="*/ 2903022 w 5419032"/>
              <a:gd name="connsiteY1632" fmla="*/ 482530 h 5346128"/>
              <a:gd name="connsiteX1633" fmla="*/ 2879421 w 5419032"/>
              <a:gd name="connsiteY1633" fmla="*/ 464295 h 5346128"/>
              <a:gd name="connsiteX1634" fmla="*/ 3471264 w 5419032"/>
              <a:gd name="connsiteY1634" fmla="*/ 463311 h 5346128"/>
              <a:gd name="connsiteX1635" fmla="*/ 3485448 w 5419032"/>
              <a:gd name="connsiteY1635" fmla="*/ 465676 h 5346128"/>
              <a:gd name="connsiteX1636" fmla="*/ 3503122 w 5419032"/>
              <a:gd name="connsiteY1636" fmla="*/ 469967 h 5346128"/>
              <a:gd name="connsiteX1637" fmla="*/ 3480464 w 5419032"/>
              <a:gd name="connsiteY1637" fmla="*/ 467085 h 5346128"/>
              <a:gd name="connsiteX1638" fmla="*/ 4271014 w 5419032"/>
              <a:gd name="connsiteY1638" fmla="*/ 462270 h 5346128"/>
              <a:gd name="connsiteX1639" fmla="*/ 4256226 w 5419032"/>
              <a:gd name="connsiteY1639" fmla="*/ 503477 h 5346128"/>
              <a:gd name="connsiteX1640" fmla="*/ 4245665 w 5419032"/>
              <a:gd name="connsiteY1640" fmla="*/ 495236 h 5346128"/>
              <a:gd name="connsiteX1641" fmla="*/ 4271014 w 5419032"/>
              <a:gd name="connsiteY1641" fmla="*/ 462270 h 5346128"/>
              <a:gd name="connsiteX1642" fmla="*/ 3463766 w 5419032"/>
              <a:gd name="connsiteY1642" fmla="*/ 460238 h 5346128"/>
              <a:gd name="connsiteX1643" fmla="*/ 3471264 w 5419032"/>
              <a:gd name="connsiteY1643" fmla="*/ 463311 h 5346128"/>
              <a:gd name="connsiteX1644" fmla="*/ 3465611 w 5419032"/>
              <a:gd name="connsiteY1644" fmla="*/ 462369 h 5346128"/>
              <a:gd name="connsiteX1645" fmla="*/ 1707189 w 5419032"/>
              <a:gd name="connsiteY1645" fmla="*/ 458591 h 5346128"/>
              <a:gd name="connsiteX1646" fmla="*/ 1703154 w 5419032"/>
              <a:gd name="connsiteY1646" fmla="*/ 461060 h 5346128"/>
              <a:gd name="connsiteX1647" fmla="*/ 1685442 w 5419032"/>
              <a:gd name="connsiteY1647" fmla="*/ 461538 h 5346128"/>
              <a:gd name="connsiteX1648" fmla="*/ 1685344 w 5419032"/>
              <a:gd name="connsiteY1648" fmla="*/ 461454 h 5346128"/>
              <a:gd name="connsiteX1649" fmla="*/ 1703154 w 5419032"/>
              <a:gd name="connsiteY1649" fmla="*/ 460013 h 5346128"/>
              <a:gd name="connsiteX1650" fmla="*/ 1714839 w 5419032"/>
              <a:gd name="connsiteY1650" fmla="*/ 453908 h 5346128"/>
              <a:gd name="connsiteX1651" fmla="*/ 1712071 w 5419032"/>
              <a:gd name="connsiteY1651" fmla="*/ 456870 h 5346128"/>
              <a:gd name="connsiteX1652" fmla="*/ 1707189 w 5419032"/>
              <a:gd name="connsiteY1652" fmla="*/ 458591 h 5346128"/>
              <a:gd name="connsiteX1653" fmla="*/ 3456328 w 5419032"/>
              <a:gd name="connsiteY1653" fmla="*/ 451641 h 5346128"/>
              <a:gd name="connsiteX1654" fmla="*/ 3463766 w 5419032"/>
              <a:gd name="connsiteY1654" fmla="*/ 460238 h 5346128"/>
              <a:gd name="connsiteX1655" fmla="*/ 3461939 w 5419032"/>
              <a:gd name="connsiteY1655" fmla="*/ 459489 h 5346128"/>
              <a:gd name="connsiteX1656" fmla="*/ 1718678 w 5419032"/>
              <a:gd name="connsiteY1656" fmla="*/ 451559 h 5346128"/>
              <a:gd name="connsiteX1657" fmla="*/ 1714839 w 5419032"/>
              <a:gd name="connsiteY1657" fmla="*/ 453908 h 5346128"/>
              <a:gd name="connsiteX1658" fmla="*/ 1717019 w 5419032"/>
              <a:gd name="connsiteY1658" fmla="*/ 451576 h 5346128"/>
              <a:gd name="connsiteX1659" fmla="*/ 3455639 w 5419032"/>
              <a:gd name="connsiteY1659" fmla="*/ 450678 h 5346128"/>
              <a:gd name="connsiteX1660" fmla="*/ 3456328 w 5419032"/>
              <a:gd name="connsiteY1660" fmla="*/ 451641 h 5346128"/>
              <a:gd name="connsiteX1661" fmla="*/ 3455611 w 5419032"/>
              <a:gd name="connsiteY1661" fmla="*/ 450812 h 5346128"/>
              <a:gd name="connsiteX1662" fmla="*/ 2027204 w 5419032"/>
              <a:gd name="connsiteY1662" fmla="*/ 434257 h 5346128"/>
              <a:gd name="connsiteX1663" fmla="*/ 2061293 w 5419032"/>
              <a:gd name="connsiteY1663" fmla="*/ 447129 h 5346128"/>
              <a:gd name="connsiteX1664" fmla="*/ 2027204 w 5419032"/>
              <a:gd name="connsiteY1664" fmla="*/ 434257 h 5346128"/>
              <a:gd name="connsiteX1665" fmla="*/ 2438608 w 5419032"/>
              <a:gd name="connsiteY1665" fmla="*/ 433763 h 5346128"/>
              <a:gd name="connsiteX1666" fmla="*/ 2412395 w 5419032"/>
              <a:gd name="connsiteY1666" fmla="*/ 434709 h 5346128"/>
              <a:gd name="connsiteX1667" fmla="*/ 2435433 w 5419032"/>
              <a:gd name="connsiteY1667" fmla="*/ 495287 h 5346128"/>
              <a:gd name="connsiteX1668" fmla="*/ 2450094 w 5419032"/>
              <a:gd name="connsiteY1668" fmla="*/ 503642 h 5346128"/>
              <a:gd name="connsiteX1669" fmla="*/ 2519208 w 5419032"/>
              <a:gd name="connsiteY1669" fmla="*/ 534975 h 5346128"/>
              <a:gd name="connsiteX1670" fmla="*/ 2609265 w 5419032"/>
              <a:gd name="connsiteY1670" fmla="*/ 614352 h 5346128"/>
              <a:gd name="connsiteX1671" fmla="*/ 2646964 w 5419032"/>
              <a:gd name="connsiteY1671" fmla="*/ 616442 h 5346128"/>
              <a:gd name="connsiteX1672" fmla="*/ 2670002 w 5419032"/>
              <a:gd name="connsiteY1672" fmla="*/ 633153 h 5346128"/>
              <a:gd name="connsiteX1673" fmla="*/ 2695135 w 5419032"/>
              <a:gd name="connsiteY1673" fmla="*/ 666574 h 5346128"/>
              <a:gd name="connsiteX1674" fmla="*/ 2716078 w 5419032"/>
              <a:gd name="connsiteY1674" fmla="*/ 662396 h 5346128"/>
              <a:gd name="connsiteX1675" fmla="*/ 2701417 w 5419032"/>
              <a:gd name="connsiteY1675" fmla="*/ 633153 h 5346128"/>
              <a:gd name="connsiteX1676" fmla="*/ 2695135 w 5419032"/>
              <a:gd name="connsiteY1676" fmla="*/ 603908 h 5346128"/>
              <a:gd name="connsiteX1677" fmla="*/ 2667906 w 5419032"/>
              <a:gd name="connsiteY1677" fmla="*/ 557953 h 5346128"/>
              <a:gd name="connsiteX1678" fmla="*/ 2506642 w 5419032"/>
              <a:gd name="connsiteY1678" fmla="*/ 468132 h 5346128"/>
              <a:gd name="connsiteX1679" fmla="*/ 2438608 w 5419032"/>
              <a:gd name="connsiteY1679" fmla="*/ 433763 h 5346128"/>
              <a:gd name="connsiteX1680" fmla="*/ 4038293 w 5419032"/>
              <a:gd name="connsiteY1680" fmla="*/ 428192 h 5346128"/>
              <a:gd name="connsiteX1681" fmla="*/ 4028095 w 5419032"/>
              <a:gd name="connsiteY1681" fmla="*/ 436683 h 5346128"/>
              <a:gd name="connsiteX1682" fmla="*/ 4060727 w 5419032"/>
              <a:gd name="connsiteY1682" fmla="*/ 472769 h 5346128"/>
              <a:gd name="connsiteX1683" fmla="*/ 4038293 w 5419032"/>
              <a:gd name="connsiteY1683" fmla="*/ 428192 h 5346128"/>
              <a:gd name="connsiteX1684" fmla="*/ 4522236 w 5419032"/>
              <a:gd name="connsiteY1684" fmla="*/ 422164 h 5346128"/>
              <a:gd name="connsiteX1685" fmla="*/ 4530801 w 5419032"/>
              <a:gd name="connsiteY1685" fmla="*/ 424292 h 5346128"/>
              <a:gd name="connsiteX1686" fmla="*/ 4521853 w 5419032"/>
              <a:gd name="connsiteY1686" fmla="*/ 428884 h 5346128"/>
              <a:gd name="connsiteX1687" fmla="*/ 4517182 w 5419032"/>
              <a:gd name="connsiteY1687" fmla="*/ 428884 h 5346128"/>
              <a:gd name="connsiteX1688" fmla="*/ 4512897 w 5419032"/>
              <a:gd name="connsiteY1688" fmla="*/ 424486 h 5346128"/>
              <a:gd name="connsiteX1689" fmla="*/ 3414614 w 5419032"/>
              <a:gd name="connsiteY1689" fmla="*/ 419773 h 5346128"/>
              <a:gd name="connsiteX1690" fmla="*/ 3402028 w 5419032"/>
              <a:gd name="connsiteY1690" fmla="*/ 430152 h 5346128"/>
              <a:gd name="connsiteX1691" fmla="*/ 3412517 w 5419032"/>
              <a:gd name="connsiteY1691" fmla="*/ 442608 h 5346128"/>
              <a:gd name="connsiteX1692" fmla="*/ 3418810 w 5419032"/>
              <a:gd name="connsiteY1692" fmla="*/ 430152 h 5346128"/>
              <a:gd name="connsiteX1693" fmla="*/ 3414614 w 5419032"/>
              <a:gd name="connsiteY1693" fmla="*/ 419773 h 5346128"/>
              <a:gd name="connsiteX1694" fmla="*/ 3553551 w 5419032"/>
              <a:gd name="connsiteY1694" fmla="*/ 418252 h 5346128"/>
              <a:gd name="connsiteX1695" fmla="*/ 3544845 w 5419032"/>
              <a:gd name="connsiteY1695" fmla="*/ 422124 h 5346128"/>
              <a:gd name="connsiteX1696" fmla="*/ 3529730 w 5419032"/>
              <a:gd name="connsiteY1696" fmla="*/ 428271 h 5346128"/>
              <a:gd name="connsiteX1697" fmla="*/ 3553484 w 5419032"/>
              <a:gd name="connsiteY1697" fmla="*/ 440562 h 5346128"/>
              <a:gd name="connsiteX1698" fmla="*/ 3557802 w 5419032"/>
              <a:gd name="connsiteY1698" fmla="*/ 432367 h 5346128"/>
              <a:gd name="connsiteX1699" fmla="*/ 3553551 w 5419032"/>
              <a:gd name="connsiteY1699" fmla="*/ 418252 h 5346128"/>
              <a:gd name="connsiteX1700" fmla="*/ 3449441 w 5419032"/>
              <a:gd name="connsiteY1700" fmla="*/ 415971 h 5346128"/>
              <a:gd name="connsiteX1701" fmla="*/ 3460890 w 5419032"/>
              <a:gd name="connsiteY1701" fmla="*/ 417841 h 5346128"/>
              <a:gd name="connsiteX1702" fmla="*/ 3467446 w 5419032"/>
              <a:gd name="connsiteY1702" fmla="*/ 421771 h 5346128"/>
              <a:gd name="connsiteX1703" fmla="*/ 3458050 w 5419032"/>
              <a:gd name="connsiteY1703" fmla="*/ 439054 h 5346128"/>
              <a:gd name="connsiteX1704" fmla="*/ 3455639 w 5419032"/>
              <a:gd name="connsiteY1704" fmla="*/ 450678 h 5346128"/>
              <a:gd name="connsiteX1705" fmla="*/ 3450890 w 5419032"/>
              <a:gd name="connsiteY1705" fmla="*/ 444035 h 5346128"/>
              <a:gd name="connsiteX1706" fmla="*/ 3450660 w 5419032"/>
              <a:gd name="connsiteY1706" fmla="*/ 417579 h 5346128"/>
              <a:gd name="connsiteX1707" fmla="*/ 3449160 w 5419032"/>
              <a:gd name="connsiteY1707" fmla="*/ 415600 h 5346128"/>
              <a:gd name="connsiteX1708" fmla="*/ 3449441 w 5419032"/>
              <a:gd name="connsiteY1708" fmla="*/ 415971 h 5346128"/>
              <a:gd name="connsiteX1709" fmla="*/ 3448635 w 5419032"/>
              <a:gd name="connsiteY1709" fmla="*/ 415838 h 5346128"/>
              <a:gd name="connsiteX1710" fmla="*/ 4518740 w 5419032"/>
              <a:gd name="connsiteY1710" fmla="*/ 400654 h 5346128"/>
              <a:gd name="connsiteX1711" fmla="*/ 4512512 w 5419032"/>
              <a:gd name="connsiteY1711" fmla="*/ 424091 h 5346128"/>
              <a:gd name="connsiteX1712" fmla="*/ 4512897 w 5419032"/>
              <a:gd name="connsiteY1712" fmla="*/ 424486 h 5346128"/>
              <a:gd name="connsiteX1713" fmla="*/ 4512738 w 5419032"/>
              <a:gd name="connsiteY1713" fmla="*/ 424525 h 5346128"/>
              <a:gd name="connsiteX1714" fmla="*/ 4519070 w 5419032"/>
              <a:gd name="connsiteY1714" fmla="*/ 466479 h 5346128"/>
              <a:gd name="connsiteX1715" fmla="*/ 4544396 w 5419032"/>
              <a:gd name="connsiteY1715" fmla="*/ 462284 h 5346128"/>
              <a:gd name="connsiteX1716" fmla="*/ 4531734 w 5419032"/>
              <a:gd name="connsiteY1716" fmla="*/ 424525 h 5346128"/>
              <a:gd name="connsiteX1717" fmla="*/ 4530801 w 5419032"/>
              <a:gd name="connsiteY1717" fmla="*/ 424292 h 5346128"/>
              <a:gd name="connsiteX1718" fmla="*/ 4531195 w 5419032"/>
              <a:gd name="connsiteY1718" fmla="*/ 424091 h 5346128"/>
              <a:gd name="connsiteX1719" fmla="*/ 4518740 w 5419032"/>
              <a:gd name="connsiteY1719" fmla="*/ 400654 h 5346128"/>
              <a:gd name="connsiteX1720" fmla="*/ 4226630 w 5419032"/>
              <a:gd name="connsiteY1720" fmla="*/ 398486 h 5346128"/>
              <a:gd name="connsiteX1721" fmla="*/ 4226932 w 5419032"/>
              <a:gd name="connsiteY1721" fmla="*/ 398486 h 5346128"/>
              <a:gd name="connsiteX1722" fmla="*/ 4227306 w 5419032"/>
              <a:gd name="connsiteY1722" fmla="*/ 399338 h 5346128"/>
              <a:gd name="connsiteX1723" fmla="*/ 4225234 w 5419032"/>
              <a:gd name="connsiteY1723" fmla="*/ 399338 h 5346128"/>
              <a:gd name="connsiteX1724" fmla="*/ 4226920 w 5419032"/>
              <a:gd name="connsiteY1724" fmla="*/ 398456 h 5346128"/>
              <a:gd name="connsiteX1725" fmla="*/ 4227238 w 5419032"/>
              <a:gd name="connsiteY1725" fmla="*/ 398486 h 5346128"/>
              <a:gd name="connsiteX1726" fmla="*/ 4226932 w 5419032"/>
              <a:gd name="connsiteY1726" fmla="*/ 398486 h 5346128"/>
              <a:gd name="connsiteX1727" fmla="*/ 4226869 w 5419032"/>
              <a:gd name="connsiteY1727" fmla="*/ 398340 h 5346128"/>
              <a:gd name="connsiteX1728" fmla="*/ 4226920 w 5419032"/>
              <a:gd name="connsiteY1728" fmla="*/ 398456 h 5346128"/>
              <a:gd name="connsiteX1729" fmla="*/ 4226708 w 5419032"/>
              <a:gd name="connsiteY1729" fmla="*/ 398438 h 5346128"/>
              <a:gd name="connsiteX1730" fmla="*/ 4212226 w 5419032"/>
              <a:gd name="connsiteY1730" fmla="*/ 397151 h 5346128"/>
              <a:gd name="connsiteX1731" fmla="*/ 4226708 w 5419032"/>
              <a:gd name="connsiteY1731" fmla="*/ 398438 h 5346128"/>
              <a:gd name="connsiteX1732" fmla="*/ 4226630 w 5419032"/>
              <a:gd name="connsiteY1732" fmla="*/ 398486 h 5346128"/>
              <a:gd name="connsiteX1733" fmla="*/ 4225084 w 5419032"/>
              <a:gd name="connsiteY1733" fmla="*/ 398486 h 5346128"/>
              <a:gd name="connsiteX1734" fmla="*/ 4197082 w 5419032"/>
              <a:gd name="connsiteY1734" fmla="*/ 425557 h 5346128"/>
              <a:gd name="connsiteX1735" fmla="*/ 4212226 w 5419032"/>
              <a:gd name="connsiteY1735" fmla="*/ 397151 h 5346128"/>
              <a:gd name="connsiteX1736" fmla="*/ 3276176 w 5419032"/>
              <a:gd name="connsiteY1736" fmla="*/ 378371 h 5346128"/>
              <a:gd name="connsiteX1737" fmla="*/ 3274064 w 5419032"/>
              <a:gd name="connsiteY1737" fmla="*/ 380458 h 5346128"/>
              <a:gd name="connsiteX1738" fmla="*/ 3276563 w 5419032"/>
              <a:gd name="connsiteY1738" fmla="*/ 380285 h 5346128"/>
              <a:gd name="connsiteX1739" fmla="*/ 3280401 w 5419032"/>
              <a:gd name="connsiteY1739" fmla="*/ 399231 h 5346128"/>
              <a:gd name="connsiteX1740" fmla="*/ 3297299 w 5419032"/>
              <a:gd name="connsiteY1740" fmla="*/ 422176 h 5346128"/>
              <a:gd name="connsiteX1741" fmla="*/ 3309973 w 5419032"/>
              <a:gd name="connsiteY1741" fmla="*/ 409660 h 5346128"/>
              <a:gd name="connsiteX1742" fmla="*/ 3295187 w 5419032"/>
              <a:gd name="connsiteY1742" fmla="*/ 380458 h 5346128"/>
              <a:gd name="connsiteX1743" fmla="*/ 3285418 w 5419032"/>
              <a:gd name="connsiteY1743" fmla="*/ 379676 h 5346128"/>
              <a:gd name="connsiteX1744" fmla="*/ 3276563 w 5419032"/>
              <a:gd name="connsiteY1744" fmla="*/ 380285 h 5346128"/>
              <a:gd name="connsiteX1745" fmla="*/ 3350451 w 5419032"/>
              <a:gd name="connsiteY1745" fmla="*/ 363331 h 5346128"/>
              <a:gd name="connsiteX1746" fmla="*/ 3362927 w 5419032"/>
              <a:gd name="connsiteY1746" fmla="*/ 366905 h 5346128"/>
              <a:gd name="connsiteX1747" fmla="*/ 3392291 w 5419032"/>
              <a:gd name="connsiteY1747" fmla="*/ 388646 h 5346128"/>
              <a:gd name="connsiteX1748" fmla="*/ 3372122 w 5419032"/>
              <a:gd name="connsiteY1748" fmla="*/ 389837 h 5346128"/>
              <a:gd name="connsiteX1749" fmla="*/ 3371838 w 5419032"/>
              <a:gd name="connsiteY1749" fmla="*/ 389709 h 5346128"/>
              <a:gd name="connsiteX1750" fmla="*/ 3370918 w 5419032"/>
              <a:gd name="connsiteY1750" fmla="*/ 388242 h 5346128"/>
              <a:gd name="connsiteX1751" fmla="*/ 3362524 w 5419032"/>
              <a:gd name="connsiteY1751" fmla="*/ 377765 h 5346128"/>
              <a:gd name="connsiteX1752" fmla="*/ 1182328 w 5419032"/>
              <a:gd name="connsiteY1752" fmla="*/ 354773 h 5346128"/>
              <a:gd name="connsiteX1753" fmla="*/ 1169741 w 5419032"/>
              <a:gd name="connsiteY1753" fmla="*/ 367360 h 5346128"/>
              <a:gd name="connsiteX1754" fmla="*/ 1197012 w 5419032"/>
              <a:gd name="connsiteY1754" fmla="*/ 396728 h 5346128"/>
              <a:gd name="connsiteX1755" fmla="*/ 1211697 w 5419032"/>
              <a:gd name="connsiteY1755" fmla="*/ 377849 h 5346128"/>
              <a:gd name="connsiteX1756" fmla="*/ 1182328 w 5419032"/>
              <a:gd name="connsiteY1756" fmla="*/ 354773 h 5346128"/>
              <a:gd name="connsiteX1757" fmla="*/ 4004350 w 5419032"/>
              <a:gd name="connsiteY1757" fmla="*/ 353457 h 5346128"/>
              <a:gd name="connsiteX1758" fmla="*/ 3965017 w 5419032"/>
              <a:gd name="connsiteY1758" fmla="*/ 386579 h 5346128"/>
              <a:gd name="connsiteX1759" fmla="*/ 4004350 w 5419032"/>
              <a:gd name="connsiteY1759" fmla="*/ 353457 h 5346128"/>
              <a:gd name="connsiteX1760" fmla="*/ 4562294 w 5419032"/>
              <a:gd name="connsiteY1760" fmla="*/ 352448 h 5346128"/>
              <a:gd name="connsiteX1761" fmla="*/ 4558400 w 5419032"/>
              <a:gd name="connsiteY1761" fmla="*/ 358802 h 5346128"/>
              <a:gd name="connsiteX1762" fmla="*/ 4577085 w 5419032"/>
              <a:gd name="connsiteY1762" fmla="*/ 403278 h 5346128"/>
              <a:gd name="connsiteX1763" fmla="*/ 4570856 w 5419032"/>
              <a:gd name="connsiteY1763" fmla="*/ 352448 h 5346128"/>
              <a:gd name="connsiteX1764" fmla="*/ 4562294 w 5419032"/>
              <a:gd name="connsiteY1764" fmla="*/ 352448 h 5346128"/>
              <a:gd name="connsiteX1765" fmla="*/ 4499944 w 5419032"/>
              <a:gd name="connsiteY1765" fmla="*/ 342936 h 5346128"/>
              <a:gd name="connsiteX1766" fmla="*/ 4486836 w 5419032"/>
              <a:gd name="connsiteY1766" fmla="*/ 348369 h 5346128"/>
              <a:gd name="connsiteX1767" fmla="*/ 4534036 w 5419032"/>
              <a:gd name="connsiteY1767" fmla="*/ 356700 h 5346128"/>
              <a:gd name="connsiteX1768" fmla="*/ 4499944 w 5419032"/>
              <a:gd name="connsiteY1768" fmla="*/ 342936 h 5346128"/>
              <a:gd name="connsiteX1769" fmla="*/ 4237656 w 5419032"/>
              <a:gd name="connsiteY1769" fmla="*/ 333784 h 5346128"/>
              <a:gd name="connsiteX1770" fmla="*/ 4252148 w 5419032"/>
              <a:gd name="connsiteY1770" fmla="*/ 346471 h 5346128"/>
              <a:gd name="connsiteX1771" fmla="*/ 4240212 w 5419032"/>
              <a:gd name="connsiteY1771" fmla="*/ 390186 h 5346128"/>
              <a:gd name="connsiteX1772" fmla="*/ 4226869 w 5419032"/>
              <a:gd name="connsiteY1772" fmla="*/ 398340 h 5346128"/>
              <a:gd name="connsiteX1773" fmla="*/ 4221451 w 5419032"/>
              <a:gd name="connsiteY1773" fmla="*/ 385957 h 5346128"/>
              <a:gd name="connsiteX1774" fmla="*/ 4225234 w 5419032"/>
              <a:gd name="connsiteY1774" fmla="*/ 342241 h 5346128"/>
              <a:gd name="connsiteX1775" fmla="*/ 4237656 w 5419032"/>
              <a:gd name="connsiteY1775" fmla="*/ 333784 h 5346128"/>
              <a:gd name="connsiteX1776" fmla="*/ 3225553 w 5419032"/>
              <a:gd name="connsiteY1776" fmla="*/ 327239 h 5346128"/>
              <a:gd name="connsiteX1777" fmla="*/ 3258510 w 5419032"/>
              <a:gd name="connsiteY1777" fmla="*/ 374734 h 5346128"/>
              <a:gd name="connsiteX1778" fmla="*/ 3273930 w 5419032"/>
              <a:gd name="connsiteY1778" fmla="*/ 377153 h 5346128"/>
              <a:gd name="connsiteX1779" fmla="*/ 3274556 w 5419032"/>
              <a:gd name="connsiteY1779" fmla="*/ 379682 h 5346128"/>
              <a:gd name="connsiteX1780" fmla="*/ 3276688 w 5419032"/>
              <a:gd name="connsiteY1780" fmla="*/ 377585 h 5346128"/>
              <a:gd name="connsiteX1781" fmla="*/ 3273930 w 5419032"/>
              <a:gd name="connsiteY1781" fmla="*/ 377153 h 5346128"/>
              <a:gd name="connsiteX1782" fmla="*/ 3270195 w 5419032"/>
              <a:gd name="connsiteY1782" fmla="*/ 362049 h 5346128"/>
              <a:gd name="connsiteX1783" fmla="*/ 3225553 w 5419032"/>
              <a:gd name="connsiteY1783" fmla="*/ 327239 h 5346128"/>
              <a:gd name="connsiteX1784" fmla="*/ 3971134 w 5419032"/>
              <a:gd name="connsiteY1784" fmla="*/ 309131 h 5346128"/>
              <a:gd name="connsiteX1785" fmla="*/ 3979874 w 5419032"/>
              <a:gd name="connsiteY1785" fmla="*/ 317521 h 5346128"/>
              <a:gd name="connsiteX1786" fmla="*/ 3962393 w 5419032"/>
              <a:gd name="connsiteY1786" fmla="*/ 323814 h 5346128"/>
              <a:gd name="connsiteX1787" fmla="*/ 3955838 w 5419032"/>
              <a:gd name="connsiteY1787" fmla="*/ 321716 h 5346128"/>
              <a:gd name="connsiteX1788" fmla="*/ 3971134 w 5419032"/>
              <a:gd name="connsiteY1788" fmla="*/ 309131 h 5346128"/>
              <a:gd name="connsiteX1789" fmla="*/ 4129998 w 5419032"/>
              <a:gd name="connsiteY1789" fmla="*/ 301002 h 5346128"/>
              <a:gd name="connsiteX1790" fmla="*/ 4132073 w 5419032"/>
              <a:gd name="connsiteY1790" fmla="*/ 315687 h 5346128"/>
              <a:gd name="connsiteX1791" fmla="*/ 4109238 w 5419032"/>
              <a:gd name="connsiteY1791" fmla="*/ 324078 h 5346128"/>
              <a:gd name="connsiteX1792" fmla="*/ 4129998 w 5419032"/>
              <a:gd name="connsiteY1792" fmla="*/ 301002 h 5346128"/>
              <a:gd name="connsiteX1793" fmla="*/ 4036307 w 5419032"/>
              <a:gd name="connsiteY1793" fmla="*/ 300800 h 5346128"/>
              <a:gd name="connsiteX1794" fmla="*/ 4037830 w 5419032"/>
              <a:gd name="connsiteY1794" fmla="*/ 300800 h 5346128"/>
              <a:gd name="connsiteX1795" fmla="*/ 4037856 w 5419032"/>
              <a:gd name="connsiteY1795" fmla="*/ 301004 h 5346128"/>
              <a:gd name="connsiteX1796" fmla="*/ 4036219 w 5419032"/>
              <a:gd name="connsiteY1796" fmla="*/ 301004 h 5346128"/>
              <a:gd name="connsiteX1797" fmla="*/ 4037812 w 5419032"/>
              <a:gd name="connsiteY1797" fmla="*/ 300661 h 5346128"/>
              <a:gd name="connsiteX1798" fmla="*/ 4038438 w 5419032"/>
              <a:gd name="connsiteY1798" fmla="*/ 300800 h 5346128"/>
              <a:gd name="connsiteX1799" fmla="*/ 4037830 w 5419032"/>
              <a:gd name="connsiteY1799" fmla="*/ 300800 h 5346128"/>
              <a:gd name="connsiteX1800" fmla="*/ 4037734 w 5419032"/>
              <a:gd name="connsiteY1800" fmla="*/ 300046 h 5346128"/>
              <a:gd name="connsiteX1801" fmla="*/ 4037812 w 5419032"/>
              <a:gd name="connsiteY1801" fmla="*/ 300661 h 5346128"/>
              <a:gd name="connsiteX1802" fmla="*/ 4036891 w 5419032"/>
              <a:gd name="connsiteY1802" fmla="*/ 300457 h 5346128"/>
              <a:gd name="connsiteX1803" fmla="*/ 4019263 w 5419032"/>
              <a:gd name="connsiteY1803" fmla="*/ 294446 h 5346128"/>
              <a:gd name="connsiteX1804" fmla="*/ 4019263 w 5419032"/>
              <a:gd name="connsiteY1804" fmla="*/ 296563 h 5346128"/>
              <a:gd name="connsiteX1805" fmla="*/ 4036891 w 5419032"/>
              <a:gd name="connsiteY1805" fmla="*/ 300457 h 5346128"/>
              <a:gd name="connsiteX1806" fmla="*/ 4035767 w 5419032"/>
              <a:gd name="connsiteY1806" fmla="*/ 301004 h 5346128"/>
              <a:gd name="connsiteX1807" fmla="*/ 4036219 w 5419032"/>
              <a:gd name="connsiteY1807" fmla="*/ 301004 h 5346128"/>
              <a:gd name="connsiteX1808" fmla="*/ 4029651 w 5419032"/>
              <a:gd name="connsiteY1808" fmla="*/ 316154 h 5346128"/>
              <a:gd name="connsiteX1809" fmla="*/ 4015002 w 5419032"/>
              <a:gd name="connsiteY1809" fmla="*/ 315625 h 5346128"/>
              <a:gd name="connsiteX1810" fmla="*/ 4019263 w 5419032"/>
              <a:gd name="connsiteY1810" fmla="*/ 294446 h 5346128"/>
              <a:gd name="connsiteX1811" fmla="*/ 4018770 w 5419032"/>
              <a:gd name="connsiteY1811" fmla="*/ 294009 h 5346128"/>
              <a:gd name="connsiteX1812" fmla="*/ 4016711 w 5419032"/>
              <a:gd name="connsiteY1812" fmla="*/ 296084 h 5346128"/>
              <a:gd name="connsiteX1813" fmla="*/ 4015744 w 5419032"/>
              <a:gd name="connsiteY1813" fmla="*/ 294887 h 5346128"/>
              <a:gd name="connsiteX1814" fmla="*/ 4001934 w 5419032"/>
              <a:gd name="connsiteY1814" fmla="*/ 281196 h 5346128"/>
              <a:gd name="connsiteX1815" fmla="*/ 4007697 w 5419032"/>
              <a:gd name="connsiteY1815" fmla="*/ 284926 h 5346128"/>
              <a:gd name="connsiteX1816" fmla="*/ 4015744 w 5419032"/>
              <a:gd name="connsiteY1816" fmla="*/ 294887 h 5346128"/>
              <a:gd name="connsiteX1817" fmla="*/ 4003578 w 5419032"/>
              <a:gd name="connsiteY1817" fmla="*/ 298419 h 5346128"/>
              <a:gd name="connsiteX1818" fmla="*/ 3989928 w 5419032"/>
              <a:gd name="connsiteY1818" fmla="*/ 291933 h 5346128"/>
              <a:gd name="connsiteX1819" fmla="*/ 3994048 w 5419032"/>
              <a:gd name="connsiteY1819" fmla="*/ 281554 h 5346128"/>
              <a:gd name="connsiteX1820" fmla="*/ 4001934 w 5419032"/>
              <a:gd name="connsiteY1820" fmla="*/ 281196 h 5346128"/>
              <a:gd name="connsiteX1821" fmla="*/ 1547421 w 5419032"/>
              <a:gd name="connsiteY1821" fmla="*/ 278623 h 5346128"/>
              <a:gd name="connsiteX1822" fmla="*/ 1540755 w 5419032"/>
              <a:gd name="connsiteY1822" fmla="*/ 282082 h 5346128"/>
              <a:gd name="connsiteX1823" fmla="*/ 1528271 w 5419032"/>
              <a:gd name="connsiteY1823" fmla="*/ 282082 h 5346128"/>
              <a:gd name="connsiteX1824" fmla="*/ 1515788 w 5419032"/>
              <a:gd name="connsiteY1824" fmla="*/ 296698 h 5346128"/>
              <a:gd name="connsiteX1825" fmla="*/ 1571965 w 5419032"/>
              <a:gd name="connsiteY1825" fmla="*/ 323843 h 5346128"/>
              <a:gd name="connsiteX1826" fmla="*/ 1601096 w 5419032"/>
              <a:gd name="connsiteY1826" fmla="*/ 305050 h 5346128"/>
              <a:gd name="connsiteX1827" fmla="*/ 1574047 w 5419032"/>
              <a:gd name="connsiteY1827" fmla="*/ 286258 h 5346128"/>
              <a:gd name="connsiteX1828" fmla="*/ 1547421 w 5419032"/>
              <a:gd name="connsiteY1828" fmla="*/ 278623 h 5346128"/>
              <a:gd name="connsiteX1829" fmla="*/ 4062912 w 5419032"/>
              <a:gd name="connsiteY1829" fmla="*/ 264294 h 5346128"/>
              <a:gd name="connsiteX1830" fmla="*/ 4073353 w 5419032"/>
              <a:gd name="connsiteY1830" fmla="*/ 270772 h 5346128"/>
              <a:gd name="connsiteX1831" fmla="*/ 4071264 w 5419032"/>
              <a:gd name="connsiteY1831" fmla="*/ 283729 h 5346128"/>
              <a:gd name="connsiteX1832" fmla="*/ 4037734 w 5419032"/>
              <a:gd name="connsiteY1832" fmla="*/ 300046 h 5346128"/>
              <a:gd name="connsiteX1833" fmla="*/ 4035897 w 5419032"/>
              <a:gd name="connsiteY1833" fmla="*/ 285550 h 5346128"/>
              <a:gd name="connsiteX1834" fmla="*/ 4062912 w 5419032"/>
              <a:gd name="connsiteY1834" fmla="*/ 264294 h 5346128"/>
              <a:gd name="connsiteX1835" fmla="*/ 3536659 w 5419032"/>
              <a:gd name="connsiteY1835" fmla="*/ 262989 h 5346128"/>
              <a:gd name="connsiteX1836" fmla="*/ 3528418 w 5419032"/>
              <a:gd name="connsiteY1836" fmla="*/ 271460 h 5346128"/>
              <a:gd name="connsiteX1837" fmla="*/ 3557262 w 5419032"/>
              <a:gd name="connsiteY1837" fmla="*/ 286286 h 5346128"/>
              <a:gd name="connsiteX1838" fmla="*/ 3536659 w 5419032"/>
              <a:gd name="connsiteY1838" fmla="*/ 262989 h 5346128"/>
              <a:gd name="connsiteX1839" fmla="*/ 4126117 w 5419032"/>
              <a:gd name="connsiteY1839" fmla="*/ 259456 h 5346128"/>
              <a:gd name="connsiteX1840" fmla="*/ 4138345 w 5419032"/>
              <a:gd name="connsiteY1840" fmla="*/ 271068 h 5346128"/>
              <a:gd name="connsiteX1841" fmla="*/ 4144638 w 5419032"/>
              <a:gd name="connsiteY1841" fmla="*/ 279372 h 5346128"/>
              <a:gd name="connsiteX1842" fmla="*/ 4092194 w 5419032"/>
              <a:gd name="connsiteY1842" fmla="*/ 275220 h 5346128"/>
              <a:gd name="connsiteX1843" fmla="*/ 4126117 w 5419032"/>
              <a:gd name="connsiteY1843" fmla="*/ 259456 h 5346128"/>
              <a:gd name="connsiteX1844" fmla="*/ 4315082 w 5419032"/>
              <a:gd name="connsiteY1844" fmla="*/ 253803 h 5346128"/>
              <a:gd name="connsiteX1845" fmla="*/ 4335009 w 5419032"/>
              <a:gd name="connsiteY1845" fmla="*/ 261745 h 5346128"/>
              <a:gd name="connsiteX1846" fmla="*/ 4335741 w 5419032"/>
              <a:gd name="connsiteY1846" fmla="*/ 262382 h 5346128"/>
              <a:gd name="connsiteX1847" fmla="*/ 4338318 w 5419032"/>
              <a:gd name="connsiteY1847" fmla="*/ 272992 h 5346128"/>
              <a:gd name="connsiteX1848" fmla="*/ 4335469 w 5419032"/>
              <a:gd name="connsiteY1848" fmla="*/ 277729 h 5346128"/>
              <a:gd name="connsiteX1849" fmla="*/ 4323996 w 5419032"/>
              <a:gd name="connsiteY1849" fmla="*/ 275246 h 5346128"/>
              <a:gd name="connsiteX1850" fmla="*/ 4315082 w 5419032"/>
              <a:gd name="connsiteY1850" fmla="*/ 253803 h 5346128"/>
              <a:gd name="connsiteX1851" fmla="*/ 3099687 w 5419032"/>
              <a:gd name="connsiteY1851" fmla="*/ 252507 h 5346128"/>
              <a:gd name="connsiteX1852" fmla="*/ 3133434 w 5419032"/>
              <a:gd name="connsiteY1852" fmla="*/ 298397 h 5346128"/>
              <a:gd name="connsiteX1853" fmla="*/ 3146090 w 5419032"/>
              <a:gd name="connsiteY1853" fmla="*/ 290053 h 5346128"/>
              <a:gd name="connsiteX1854" fmla="*/ 3112342 w 5419032"/>
              <a:gd name="connsiteY1854" fmla="*/ 252507 h 5346128"/>
              <a:gd name="connsiteX1855" fmla="*/ 3099687 w 5419032"/>
              <a:gd name="connsiteY1855" fmla="*/ 252507 h 5346128"/>
              <a:gd name="connsiteX1856" fmla="*/ 1868559 w 5419032"/>
              <a:gd name="connsiteY1856" fmla="*/ 249873 h 5346128"/>
              <a:gd name="connsiteX1857" fmla="*/ 1960337 w 5419032"/>
              <a:gd name="connsiteY1857" fmla="*/ 329588 h 5346128"/>
              <a:gd name="connsiteX1858" fmla="*/ 1916534 w 5419032"/>
              <a:gd name="connsiteY1858" fmla="*/ 304415 h 5346128"/>
              <a:gd name="connsiteX1859" fmla="*/ 1868559 w 5419032"/>
              <a:gd name="connsiteY1859" fmla="*/ 249873 h 5346128"/>
              <a:gd name="connsiteX1860" fmla="*/ 4201452 w 5419032"/>
              <a:gd name="connsiteY1860" fmla="*/ 235450 h 5346128"/>
              <a:gd name="connsiteX1861" fmla="*/ 4218058 w 5419032"/>
              <a:gd name="connsiteY1861" fmla="*/ 243908 h 5346128"/>
              <a:gd name="connsiteX1862" fmla="*/ 4180693 w 5419032"/>
              <a:gd name="connsiteY1862" fmla="*/ 296775 h 5346128"/>
              <a:gd name="connsiteX1863" fmla="*/ 4170312 w 5419032"/>
              <a:gd name="connsiteY1863" fmla="*/ 284087 h 5346128"/>
              <a:gd name="connsiteX1864" fmla="*/ 4201452 w 5419032"/>
              <a:gd name="connsiteY1864" fmla="*/ 235450 h 5346128"/>
              <a:gd name="connsiteX1865" fmla="*/ 3511374 w 5419032"/>
              <a:gd name="connsiteY1865" fmla="*/ 229202 h 5346128"/>
              <a:gd name="connsiteX1866" fmla="*/ 3483840 w 5419032"/>
              <a:gd name="connsiteY1866" fmla="*/ 244029 h 5346128"/>
              <a:gd name="connsiteX1867" fmla="*/ 3490194 w 5419032"/>
              <a:gd name="connsiteY1867" fmla="*/ 252500 h 5346128"/>
              <a:gd name="connsiteX1868" fmla="*/ 3511374 w 5419032"/>
              <a:gd name="connsiteY1868" fmla="*/ 229202 h 5346128"/>
              <a:gd name="connsiteX1869" fmla="*/ 3425402 w 5419032"/>
              <a:gd name="connsiteY1869" fmla="*/ 226654 h 5346128"/>
              <a:gd name="connsiteX1870" fmla="*/ 3413040 w 5419032"/>
              <a:gd name="connsiteY1870" fmla="*/ 239577 h 5346128"/>
              <a:gd name="connsiteX1871" fmla="*/ 3431584 w 5419032"/>
              <a:gd name="connsiteY1871" fmla="*/ 248193 h 5346128"/>
              <a:gd name="connsiteX1872" fmla="*/ 3437764 w 5419032"/>
              <a:gd name="connsiteY1872" fmla="*/ 237423 h 5346128"/>
              <a:gd name="connsiteX1873" fmla="*/ 3425402 w 5419032"/>
              <a:gd name="connsiteY1873" fmla="*/ 226654 h 5346128"/>
              <a:gd name="connsiteX1874" fmla="*/ 3927580 w 5419032"/>
              <a:gd name="connsiteY1874" fmla="*/ 223340 h 5346128"/>
              <a:gd name="connsiteX1875" fmla="*/ 3945350 w 5419032"/>
              <a:gd name="connsiteY1875" fmla="*/ 252494 h 5346128"/>
              <a:gd name="connsiteX1876" fmla="*/ 3902084 w 5419032"/>
              <a:gd name="connsiteY1876" fmla="*/ 231670 h 5346128"/>
              <a:gd name="connsiteX1877" fmla="*/ 3927580 w 5419032"/>
              <a:gd name="connsiteY1877" fmla="*/ 223340 h 5346128"/>
              <a:gd name="connsiteX1878" fmla="*/ 3794718 w 5419032"/>
              <a:gd name="connsiteY1878" fmla="*/ 218401 h 5346128"/>
              <a:gd name="connsiteX1879" fmla="*/ 3806955 w 5419032"/>
              <a:gd name="connsiteY1879" fmla="*/ 230857 h 5346128"/>
              <a:gd name="connsiteX1880" fmla="*/ 3798797 w 5419032"/>
              <a:gd name="connsiteY1880" fmla="*/ 243312 h 5346128"/>
              <a:gd name="connsiteX1881" fmla="*/ 3790640 w 5419032"/>
              <a:gd name="connsiteY1881" fmla="*/ 232933 h 5346128"/>
              <a:gd name="connsiteX1882" fmla="*/ 3794718 w 5419032"/>
              <a:gd name="connsiteY1882" fmla="*/ 218401 h 5346128"/>
              <a:gd name="connsiteX1883" fmla="*/ 3585320 w 5419032"/>
              <a:gd name="connsiteY1883" fmla="*/ 192640 h 5346128"/>
              <a:gd name="connsiteX1884" fmla="*/ 3566440 w 5419032"/>
              <a:gd name="connsiteY1884" fmla="*/ 204105 h 5346128"/>
              <a:gd name="connsiteX1885" fmla="*/ 3597907 w 5419032"/>
              <a:gd name="connsiteY1885" fmla="*/ 201959 h 5346128"/>
              <a:gd name="connsiteX1886" fmla="*/ 3593712 w 5419032"/>
              <a:gd name="connsiteY1886" fmla="*/ 195523 h 5346128"/>
              <a:gd name="connsiteX1887" fmla="*/ 3585320 w 5419032"/>
              <a:gd name="connsiteY1887" fmla="*/ 192640 h 5346128"/>
              <a:gd name="connsiteX1888" fmla="*/ 4136307 w 5419032"/>
              <a:gd name="connsiteY1888" fmla="*/ 158093 h 5346128"/>
              <a:gd name="connsiteX1889" fmla="*/ 4170860 w 5419032"/>
              <a:gd name="connsiteY1889" fmla="*/ 166615 h 5346128"/>
              <a:gd name="connsiteX1890" fmla="*/ 4168700 w 5419032"/>
              <a:gd name="connsiteY1890" fmla="*/ 175137 h 5346128"/>
              <a:gd name="connsiteX1891" fmla="*/ 4134149 w 5419032"/>
              <a:gd name="connsiteY1891" fmla="*/ 166615 h 5346128"/>
              <a:gd name="connsiteX1892" fmla="*/ 4136307 w 5419032"/>
              <a:gd name="connsiteY1892" fmla="*/ 158093 h 5346128"/>
              <a:gd name="connsiteX1893" fmla="*/ 3041998 w 5419032"/>
              <a:gd name="connsiteY1893" fmla="*/ 157355 h 5346128"/>
              <a:gd name="connsiteX1894" fmla="*/ 3119355 w 5419032"/>
              <a:gd name="connsiteY1894" fmla="*/ 184772 h 5346128"/>
              <a:gd name="connsiteX1895" fmla="*/ 3041998 w 5419032"/>
              <a:gd name="connsiteY1895" fmla="*/ 157355 h 5346128"/>
              <a:gd name="connsiteX1896" fmla="*/ 3734393 w 5419032"/>
              <a:gd name="connsiteY1896" fmla="*/ 156820 h 5346128"/>
              <a:gd name="connsiteX1897" fmla="*/ 3750520 w 5419032"/>
              <a:gd name="connsiteY1897" fmla="*/ 162139 h 5346128"/>
              <a:gd name="connsiteX1898" fmla="*/ 3763106 w 5419032"/>
              <a:gd name="connsiteY1898" fmla="*/ 201581 h 5346128"/>
              <a:gd name="connsiteX1899" fmla="*/ 3750520 w 5419032"/>
              <a:gd name="connsiteY1899" fmla="*/ 222340 h 5346128"/>
              <a:gd name="connsiteX1900" fmla="*/ 3729542 w 5419032"/>
              <a:gd name="connsiteY1900" fmla="*/ 203658 h 5346128"/>
              <a:gd name="connsiteX1901" fmla="*/ 3700173 w 5419032"/>
              <a:gd name="connsiteY1901" fmla="*/ 176669 h 5346128"/>
              <a:gd name="connsiteX1902" fmla="*/ 3734393 w 5419032"/>
              <a:gd name="connsiteY1902" fmla="*/ 156820 h 5346128"/>
              <a:gd name="connsiteX1903" fmla="*/ 3454833 w 5419032"/>
              <a:gd name="connsiteY1903" fmla="*/ 141244 h 5346128"/>
              <a:gd name="connsiteX1904" fmla="*/ 3448442 w 5419032"/>
              <a:gd name="connsiteY1904" fmla="*/ 149486 h 5346128"/>
              <a:gd name="connsiteX1905" fmla="*/ 3482530 w 5419032"/>
              <a:gd name="connsiteY1905" fmla="*/ 157727 h 5346128"/>
              <a:gd name="connsiteX1906" fmla="*/ 3454833 w 5419032"/>
              <a:gd name="connsiteY1906" fmla="*/ 141244 h 5346128"/>
              <a:gd name="connsiteX1907" fmla="*/ 3874781 w 5419032"/>
              <a:gd name="connsiteY1907" fmla="*/ 139738 h 5346128"/>
              <a:gd name="connsiteX1908" fmla="*/ 3901853 w 5419032"/>
              <a:gd name="connsiteY1908" fmla="*/ 172574 h 5346128"/>
              <a:gd name="connsiteX1909" fmla="*/ 3893524 w 5419032"/>
              <a:gd name="connsiteY1909" fmla="*/ 186938 h 5346128"/>
              <a:gd name="connsiteX1910" fmla="*/ 3874781 w 5419032"/>
              <a:gd name="connsiteY1910" fmla="*/ 139738 h 5346128"/>
              <a:gd name="connsiteX1911" fmla="*/ 3786101 w 5419032"/>
              <a:gd name="connsiteY1911" fmla="*/ 126624 h 5346128"/>
              <a:gd name="connsiteX1912" fmla="*/ 3777629 w 5419032"/>
              <a:gd name="connsiteY1912" fmla="*/ 164646 h 5346128"/>
              <a:gd name="connsiteX1913" fmla="*/ 3786101 w 5419032"/>
              <a:gd name="connsiteY1913" fmla="*/ 126624 h 5346128"/>
              <a:gd name="connsiteX1914" fmla="*/ 4224476 w 5419032"/>
              <a:gd name="connsiteY1914" fmla="*/ 122693 h 5346128"/>
              <a:gd name="connsiteX1915" fmla="*/ 4258704 w 5419032"/>
              <a:gd name="connsiteY1915" fmla="*/ 149964 h 5346128"/>
              <a:gd name="connsiteX1916" fmla="*/ 4218058 w 5419032"/>
              <a:gd name="connsiteY1916" fmla="*/ 128986 h 5346128"/>
              <a:gd name="connsiteX1917" fmla="*/ 4224476 w 5419032"/>
              <a:gd name="connsiteY1917" fmla="*/ 122693 h 5346128"/>
              <a:gd name="connsiteX1918" fmla="*/ 3427180 w 5419032"/>
              <a:gd name="connsiteY1918" fmla="*/ 83095 h 5346128"/>
              <a:gd name="connsiteX1919" fmla="*/ 3427293 w 5419032"/>
              <a:gd name="connsiteY1919" fmla="*/ 83473 h 5346128"/>
              <a:gd name="connsiteX1920" fmla="*/ 3425478 w 5419032"/>
              <a:gd name="connsiteY1920" fmla="*/ 86495 h 5346128"/>
              <a:gd name="connsiteX1921" fmla="*/ 3408690 w 5419032"/>
              <a:gd name="connsiteY1921" fmla="*/ 67635 h 5346128"/>
              <a:gd name="connsiteX1922" fmla="*/ 3431774 w 5419032"/>
              <a:gd name="connsiteY1922" fmla="*/ 76017 h 5346128"/>
              <a:gd name="connsiteX1923" fmla="*/ 3430609 w 5419032"/>
              <a:gd name="connsiteY1923" fmla="*/ 77954 h 5346128"/>
              <a:gd name="connsiteX1924" fmla="*/ 3429674 w 5419032"/>
              <a:gd name="connsiteY1924" fmla="*/ 78112 h 5346128"/>
              <a:gd name="connsiteX1925" fmla="*/ 3427180 w 5419032"/>
              <a:gd name="connsiteY1925" fmla="*/ 83095 h 5346128"/>
              <a:gd name="connsiteX1926" fmla="*/ 3425304 w 5419032"/>
              <a:gd name="connsiteY1926" fmla="*/ 76816 h 5346128"/>
              <a:gd name="connsiteX1927" fmla="*/ 3425304 w 5419032"/>
              <a:gd name="connsiteY1927" fmla="*/ 78892 h 5346128"/>
              <a:gd name="connsiteX1928" fmla="*/ 3419057 w 5419032"/>
              <a:gd name="connsiteY1928" fmla="*/ 107955 h 5346128"/>
              <a:gd name="connsiteX1929" fmla="*/ 3427387 w 5419032"/>
              <a:gd name="connsiteY1929" fmla="*/ 124562 h 5346128"/>
              <a:gd name="connsiteX1930" fmla="*/ 3435716 w 5419032"/>
              <a:gd name="connsiteY1930" fmla="*/ 118334 h 5346128"/>
              <a:gd name="connsiteX1931" fmla="*/ 3435716 w 5419032"/>
              <a:gd name="connsiteY1931" fmla="*/ 99652 h 5346128"/>
              <a:gd name="connsiteX1932" fmla="*/ 3428948 w 5419032"/>
              <a:gd name="connsiteY1932" fmla="*/ 89012 h 5346128"/>
              <a:gd name="connsiteX1933" fmla="*/ 3427293 w 5419032"/>
              <a:gd name="connsiteY1933" fmla="*/ 83473 h 5346128"/>
              <a:gd name="connsiteX1934" fmla="*/ 3430609 w 5419032"/>
              <a:gd name="connsiteY1934" fmla="*/ 77954 h 5346128"/>
              <a:gd name="connsiteX1935" fmla="*/ 3445152 w 5419032"/>
              <a:gd name="connsiteY1935" fmla="*/ 75493 h 5346128"/>
              <a:gd name="connsiteX1936" fmla="*/ 3459054 w 5419032"/>
              <a:gd name="connsiteY1936" fmla="*/ 82304 h 5346128"/>
              <a:gd name="connsiteX1937" fmla="*/ 3650016 w 5419032"/>
              <a:gd name="connsiteY1937" fmla="*/ 193363 h 5346128"/>
              <a:gd name="connsiteX1938" fmla="*/ 3704575 w 5419032"/>
              <a:gd name="connsiteY1938" fmla="*/ 218510 h 5346128"/>
              <a:gd name="connsiteX1939" fmla="*/ 3723462 w 5419032"/>
              <a:gd name="connsiteY1939" fmla="*/ 226891 h 5346128"/>
              <a:gd name="connsiteX1940" fmla="*/ 3876651 w 5419032"/>
              <a:gd name="connsiteY1940" fmla="*/ 340047 h 5346128"/>
              <a:gd name="connsiteX1941" fmla="*/ 3952196 w 5419032"/>
              <a:gd name="connsiteY1941" fmla="*/ 340047 h 5346128"/>
              <a:gd name="connsiteX1942" fmla="*/ 4029840 w 5419032"/>
              <a:gd name="connsiteY1942" fmla="*/ 356811 h 5346128"/>
              <a:gd name="connsiteX1943" fmla="*/ 4010953 w 5419032"/>
              <a:gd name="connsiteY1943" fmla="*/ 409197 h 5346128"/>
              <a:gd name="connsiteX1944" fmla="*/ 4023544 w 5419032"/>
              <a:gd name="connsiteY1944" fmla="*/ 407102 h 5346128"/>
              <a:gd name="connsiteX1945" fmla="*/ 4107482 w 5419032"/>
              <a:gd name="connsiteY1945" fmla="*/ 361002 h 5346128"/>
              <a:gd name="connsiteX1946" fmla="*/ 4176732 w 5419032"/>
              <a:gd name="connsiteY1946" fmla="*/ 344237 h 5346128"/>
              <a:gd name="connsiteX1947" fmla="*/ 4201915 w 5419032"/>
              <a:gd name="connsiteY1947" fmla="*/ 358906 h 5346128"/>
              <a:gd name="connsiteX1948" fmla="*/ 4193521 w 5419032"/>
              <a:gd name="connsiteY1948" fmla="*/ 392433 h 5346128"/>
              <a:gd name="connsiteX1949" fmla="*/ 4159945 w 5419032"/>
              <a:gd name="connsiteY1949" fmla="*/ 423866 h 5346128"/>
              <a:gd name="connsiteX1950" fmla="*/ 4287952 w 5419032"/>
              <a:gd name="connsiteY1950" fmla="*/ 384052 h 5346128"/>
              <a:gd name="connsiteX1951" fmla="*/ 4313134 w 5419032"/>
              <a:gd name="connsiteY1951" fmla="*/ 398720 h 5346128"/>
              <a:gd name="connsiteX1952" fmla="*/ 4275362 w 5419032"/>
              <a:gd name="connsiteY1952" fmla="*/ 451107 h 5346128"/>
              <a:gd name="connsiteX1953" fmla="*/ 4185126 w 5419032"/>
              <a:gd name="connsiteY1953" fmla="*/ 486730 h 5346128"/>
              <a:gd name="connsiteX1954" fmla="*/ 4264869 w 5419032"/>
              <a:gd name="connsiteY1954" fmla="*/ 537022 h 5346128"/>
              <a:gd name="connsiteX1955" fmla="*/ 4320478 w 5419032"/>
              <a:gd name="connsiteY1955" fmla="*/ 542521 h 5346128"/>
              <a:gd name="connsiteX1956" fmla="*/ 4340328 w 5419032"/>
              <a:gd name="connsiteY1956" fmla="*/ 546405 h 5346128"/>
              <a:gd name="connsiteX1957" fmla="*/ 4345660 w 5419032"/>
              <a:gd name="connsiteY1957" fmla="*/ 548546 h 5346128"/>
              <a:gd name="connsiteX1958" fmla="*/ 4362804 w 5419032"/>
              <a:gd name="connsiteY1958" fmla="*/ 548802 h 5346128"/>
              <a:gd name="connsiteX1959" fmla="*/ 4376090 w 5419032"/>
              <a:gd name="connsiteY1959" fmla="*/ 549594 h 5346128"/>
              <a:gd name="connsiteX1960" fmla="*/ 4390187 w 5419032"/>
              <a:gd name="connsiteY1960" fmla="*/ 544716 h 5346128"/>
              <a:gd name="connsiteX1961" fmla="*/ 4393712 w 5419032"/>
              <a:gd name="connsiteY1961" fmla="*/ 542401 h 5346128"/>
              <a:gd name="connsiteX1962" fmla="*/ 4412812 w 5419032"/>
              <a:gd name="connsiteY1962" fmla="*/ 536496 h 5346128"/>
              <a:gd name="connsiteX1963" fmla="*/ 4428551 w 5419032"/>
              <a:gd name="connsiteY1963" fmla="*/ 539117 h 5346128"/>
              <a:gd name="connsiteX1964" fmla="*/ 4403893 w 5419032"/>
              <a:gd name="connsiteY1964" fmla="*/ 535711 h 5346128"/>
              <a:gd name="connsiteX1965" fmla="*/ 4393712 w 5419032"/>
              <a:gd name="connsiteY1965" fmla="*/ 542401 h 5346128"/>
              <a:gd name="connsiteX1966" fmla="*/ 4390778 w 5419032"/>
              <a:gd name="connsiteY1966" fmla="*/ 543307 h 5346128"/>
              <a:gd name="connsiteX1967" fmla="*/ 4367630 w 5419032"/>
              <a:gd name="connsiteY1967" fmla="*/ 548873 h 5346128"/>
              <a:gd name="connsiteX1968" fmla="*/ 4362804 w 5419032"/>
              <a:gd name="connsiteY1968" fmla="*/ 548802 h 5346128"/>
              <a:gd name="connsiteX1969" fmla="*/ 4348087 w 5419032"/>
              <a:gd name="connsiteY1969" fmla="*/ 547925 h 5346128"/>
              <a:gd name="connsiteX1970" fmla="*/ 4340328 w 5419032"/>
              <a:gd name="connsiteY1970" fmla="*/ 546405 h 5346128"/>
              <a:gd name="connsiteX1971" fmla="*/ 4325266 w 5419032"/>
              <a:gd name="connsiteY1971" fmla="*/ 540360 h 5346128"/>
              <a:gd name="connsiteX1972" fmla="*/ 4306838 w 5419032"/>
              <a:gd name="connsiteY1972" fmla="*/ 522352 h 5346128"/>
              <a:gd name="connsiteX1973" fmla="*/ 4296346 w 5419032"/>
              <a:gd name="connsiteY1973" fmla="*/ 497207 h 5346128"/>
              <a:gd name="connsiteX1974" fmla="*/ 4323626 w 5419032"/>
              <a:gd name="connsiteY1974" fmla="*/ 484634 h 5346128"/>
              <a:gd name="connsiteX1975" fmla="*/ 4449535 w 5419032"/>
              <a:gd name="connsiteY1975" fmla="*/ 501398 h 5346128"/>
              <a:gd name="connsiteX1976" fmla="*/ 4468422 w 5419032"/>
              <a:gd name="connsiteY1976" fmla="*/ 513971 h 5346128"/>
              <a:gd name="connsiteX1977" fmla="*/ 4470125 w 5419032"/>
              <a:gd name="connsiteY1977" fmla="*/ 515065 h 5346128"/>
              <a:gd name="connsiteX1978" fmla="*/ 4470410 w 5419032"/>
              <a:gd name="connsiteY1978" fmla="*/ 515790 h 5346128"/>
              <a:gd name="connsiteX1979" fmla="*/ 4469121 w 5419032"/>
              <a:gd name="connsiteY1979" fmla="*/ 516263 h 5346128"/>
              <a:gd name="connsiteX1980" fmla="*/ 4468480 w 5419032"/>
              <a:gd name="connsiteY1980" fmla="*/ 514388 h 5346128"/>
              <a:gd name="connsiteX1981" fmla="*/ 4468480 w 5419032"/>
              <a:gd name="connsiteY1981" fmla="*/ 516498 h 5346128"/>
              <a:gd name="connsiteX1982" fmla="*/ 4469121 w 5419032"/>
              <a:gd name="connsiteY1982" fmla="*/ 516263 h 5346128"/>
              <a:gd name="connsiteX1983" fmla="*/ 4476226 w 5419032"/>
              <a:gd name="connsiteY1983" fmla="*/ 537062 h 5346128"/>
              <a:gd name="connsiteX1984" fmla="*/ 4531226 w 5419032"/>
              <a:gd name="connsiteY1984" fmla="*/ 560790 h 5346128"/>
              <a:gd name="connsiteX1985" fmla="*/ 4550051 w 5419032"/>
              <a:gd name="connsiteY1985" fmla="*/ 558680 h 5346128"/>
              <a:gd name="connsiteX1986" fmla="*/ 4539592 w 5419032"/>
              <a:gd name="connsiteY1986" fmla="*/ 533371 h 5346128"/>
              <a:gd name="connsiteX1987" fmla="*/ 4527044 w 5419032"/>
              <a:gd name="connsiteY1987" fmla="*/ 533371 h 5346128"/>
              <a:gd name="connsiteX1988" fmla="*/ 4518678 w 5419032"/>
              <a:gd name="connsiteY1988" fmla="*/ 527044 h 5346128"/>
              <a:gd name="connsiteX1989" fmla="*/ 4545867 w 5419032"/>
              <a:gd name="connsiteY1989" fmla="*/ 480642 h 5346128"/>
              <a:gd name="connsiteX1990" fmla="*/ 4508744 w 5419032"/>
              <a:gd name="connsiteY1990" fmla="*/ 501733 h 5346128"/>
              <a:gd name="connsiteX1991" fmla="*/ 4470949 w 5419032"/>
              <a:gd name="connsiteY1991" fmla="*/ 515593 h 5346128"/>
              <a:gd name="connsiteX1992" fmla="*/ 4470125 w 5419032"/>
              <a:gd name="connsiteY1992" fmla="*/ 515065 h 5346128"/>
              <a:gd name="connsiteX1993" fmla="*/ 4457929 w 5419032"/>
              <a:gd name="connsiteY1993" fmla="*/ 484110 h 5346128"/>
              <a:gd name="connsiteX1994" fmla="*/ 4439043 w 5419032"/>
              <a:gd name="connsiteY1994" fmla="*/ 455297 h 5346128"/>
              <a:gd name="connsiteX1995" fmla="*/ 4455831 w 5419032"/>
              <a:gd name="connsiteY1995" fmla="*/ 411292 h 5346128"/>
              <a:gd name="connsiteX1996" fmla="*/ 4415960 w 5419032"/>
              <a:gd name="connsiteY1996" fmla="*/ 365192 h 5346128"/>
              <a:gd name="connsiteX1997" fmla="*/ 4439043 w 5419032"/>
              <a:gd name="connsiteY1997" fmla="*/ 335856 h 5346128"/>
              <a:gd name="connsiteX1998" fmla="*/ 4378188 w 5419032"/>
              <a:gd name="connsiteY1998" fmla="*/ 296042 h 5346128"/>
              <a:gd name="connsiteX1999" fmla="*/ 4323626 w 5419032"/>
              <a:gd name="connsiteY1999" fmla="*/ 325378 h 5346128"/>
              <a:gd name="connsiteX2000" fmla="*/ 4332020 w 5419032"/>
              <a:gd name="connsiteY2000" fmla="*/ 283469 h 5346128"/>
              <a:gd name="connsiteX2001" fmla="*/ 4335469 w 5419032"/>
              <a:gd name="connsiteY2001" fmla="*/ 277729 h 5346128"/>
              <a:gd name="connsiteX2002" fmla="*/ 4342352 w 5419032"/>
              <a:gd name="connsiteY2002" fmla="*/ 279218 h 5346128"/>
              <a:gd name="connsiteX2003" fmla="*/ 4341630 w 5419032"/>
              <a:gd name="connsiteY2003" fmla="*/ 267504 h 5346128"/>
              <a:gd name="connsiteX2004" fmla="*/ 4335741 w 5419032"/>
              <a:gd name="connsiteY2004" fmla="*/ 262382 h 5346128"/>
              <a:gd name="connsiteX2005" fmla="*/ 4333136 w 5419032"/>
              <a:gd name="connsiteY2005" fmla="*/ 251644 h 5346128"/>
              <a:gd name="connsiteX2006" fmla="*/ 4290052 w 5419032"/>
              <a:gd name="connsiteY2006" fmla="*/ 208032 h 5346128"/>
              <a:gd name="connsiteX2007" fmla="*/ 4264869 w 5419032"/>
              <a:gd name="connsiteY2007" fmla="*/ 149359 h 5346128"/>
              <a:gd name="connsiteX2008" fmla="*/ 4323626 w 5419032"/>
              <a:gd name="connsiteY2008" fmla="*/ 168218 h 5346128"/>
              <a:gd name="connsiteX2009" fmla="*/ 4472619 w 5419032"/>
              <a:gd name="connsiteY2009" fmla="*/ 285565 h 5346128"/>
              <a:gd name="connsiteX2010" fmla="*/ 4489405 w 5419032"/>
              <a:gd name="connsiteY2010" fmla="*/ 291851 h 5346128"/>
              <a:gd name="connsiteX2011" fmla="*/ 4590134 w 5419032"/>
              <a:gd name="connsiteY2011" fmla="*/ 333760 h 5346128"/>
              <a:gd name="connsiteX2012" fmla="*/ 4661480 w 5419032"/>
              <a:gd name="connsiteY2012" fmla="*/ 384052 h 5346128"/>
              <a:gd name="connsiteX2013" fmla="*/ 4739124 w 5419032"/>
              <a:gd name="connsiteY2013" fmla="*/ 459489 h 5346128"/>
              <a:gd name="connsiteX2014" fmla="*/ 4776898 w 5419032"/>
              <a:gd name="connsiteY2014" fmla="*/ 503493 h 5346128"/>
              <a:gd name="connsiteX2015" fmla="*/ 4831458 w 5419032"/>
              <a:gd name="connsiteY2015" fmla="*/ 530734 h 5346128"/>
              <a:gd name="connsiteX2016" fmla="*/ 4867132 w 5419032"/>
              <a:gd name="connsiteY2016" fmla="*/ 553785 h 5346128"/>
              <a:gd name="connsiteX2017" fmla="*/ 4907004 w 5419032"/>
              <a:gd name="connsiteY2017" fmla="*/ 581026 h 5346128"/>
              <a:gd name="connsiteX2018" fmla="*/ 4921694 w 5419032"/>
              <a:gd name="connsiteY2018" fmla="*/ 599885 h 5346128"/>
              <a:gd name="connsiteX2019" fmla="*/ 4918283 w 5419032"/>
              <a:gd name="connsiteY2019" fmla="*/ 631579 h 5346128"/>
              <a:gd name="connsiteX2020" fmla="*/ 4918147 w 5419032"/>
              <a:gd name="connsiteY2020" fmla="*/ 632028 h 5346128"/>
              <a:gd name="connsiteX2021" fmla="*/ 4917496 w 5419032"/>
              <a:gd name="connsiteY2021" fmla="*/ 633412 h 5346128"/>
              <a:gd name="connsiteX2022" fmla="*/ 4912696 w 5419032"/>
              <a:gd name="connsiteY2022" fmla="*/ 647673 h 5346128"/>
              <a:gd name="connsiteX2023" fmla="*/ 4900708 w 5419032"/>
              <a:gd name="connsiteY2023" fmla="*/ 658559 h 5346128"/>
              <a:gd name="connsiteX2024" fmla="*/ 4850345 w 5419032"/>
              <a:gd name="connsiteY2024" fmla="*/ 673227 h 5346128"/>
              <a:gd name="connsiteX2025" fmla="*/ 4910840 w 5419032"/>
              <a:gd name="connsiteY2025" fmla="*/ 653189 h 5346128"/>
              <a:gd name="connsiteX2026" fmla="*/ 4912696 w 5419032"/>
              <a:gd name="connsiteY2026" fmla="*/ 647673 h 5346128"/>
              <a:gd name="connsiteX2027" fmla="*/ 4913726 w 5419032"/>
              <a:gd name="connsiteY2027" fmla="*/ 646738 h 5346128"/>
              <a:gd name="connsiteX2028" fmla="*/ 4918147 w 5419032"/>
              <a:gd name="connsiteY2028" fmla="*/ 632028 h 5346128"/>
              <a:gd name="connsiteX2029" fmla="*/ 4927725 w 5419032"/>
              <a:gd name="connsiteY2029" fmla="*/ 611671 h 5346128"/>
              <a:gd name="connsiteX2030" fmla="*/ 4948972 w 5419032"/>
              <a:gd name="connsiteY2030" fmla="*/ 610363 h 5346128"/>
              <a:gd name="connsiteX2031" fmla="*/ 5020322 w 5419032"/>
              <a:gd name="connsiteY2031" fmla="*/ 635508 h 5346128"/>
              <a:gd name="connsiteX2032" fmla="*/ 5035010 w 5419032"/>
              <a:gd name="connsiteY2032" fmla="*/ 669037 h 5346128"/>
              <a:gd name="connsiteX2033" fmla="*/ 5030814 w 5419032"/>
              <a:gd name="connsiteY2033" fmla="*/ 673227 h 5346128"/>
              <a:gd name="connsiteX2034" fmla="*/ 5041306 w 5419032"/>
              <a:gd name="connsiteY2034" fmla="*/ 677417 h 5346128"/>
              <a:gd name="connsiteX2035" fmla="*/ 5081177 w 5419032"/>
              <a:gd name="connsiteY2035" fmla="*/ 700468 h 5346128"/>
              <a:gd name="connsiteX2036" fmla="*/ 5089571 w 5419032"/>
              <a:gd name="connsiteY2036" fmla="*/ 725614 h 5346128"/>
              <a:gd name="connsiteX2037" fmla="*/ 5078030 w 5419032"/>
              <a:gd name="connsiteY2037" fmla="*/ 769625 h 5346128"/>
              <a:gd name="connsiteX2038" fmla="*/ 5084961 w 5419032"/>
              <a:gd name="connsiteY2038" fmla="*/ 778725 h 5346128"/>
              <a:gd name="connsiteX2039" fmla="*/ 5084961 w 5419032"/>
              <a:gd name="connsiteY2039" fmla="*/ 781709 h 5346128"/>
              <a:gd name="connsiteX2040" fmla="*/ 5087912 w 5419032"/>
              <a:gd name="connsiteY2040" fmla="*/ 784971 h 5346128"/>
              <a:gd name="connsiteX2041" fmla="*/ 5089564 w 5419032"/>
              <a:gd name="connsiteY2041" fmla="*/ 784765 h 5346128"/>
              <a:gd name="connsiteX2042" fmla="*/ 5090752 w 5419032"/>
              <a:gd name="connsiteY2042" fmla="*/ 786324 h 5346128"/>
              <a:gd name="connsiteX2043" fmla="*/ 5110555 w 5419032"/>
              <a:gd name="connsiteY2043" fmla="*/ 801059 h 5346128"/>
              <a:gd name="connsiteX2044" fmla="*/ 5116232 w 5419032"/>
              <a:gd name="connsiteY2044" fmla="*/ 805594 h 5346128"/>
              <a:gd name="connsiteX2045" fmla="*/ 5112520 w 5419032"/>
              <a:gd name="connsiteY2045" fmla="*/ 811226 h 5346128"/>
              <a:gd name="connsiteX2046" fmla="*/ 5110922 w 5419032"/>
              <a:gd name="connsiteY2046" fmla="*/ 811578 h 5346128"/>
              <a:gd name="connsiteX2047" fmla="*/ 5110922 w 5419032"/>
              <a:gd name="connsiteY2047" fmla="*/ 813648 h 5346128"/>
              <a:gd name="connsiteX2048" fmla="*/ 5112520 w 5419032"/>
              <a:gd name="connsiteY2048" fmla="*/ 811226 h 5346128"/>
              <a:gd name="connsiteX2049" fmla="*/ 5120954 w 5419032"/>
              <a:gd name="connsiteY2049" fmla="*/ 809365 h 5346128"/>
              <a:gd name="connsiteX2050" fmla="*/ 5121049 w 5419032"/>
              <a:gd name="connsiteY2050" fmla="*/ 809440 h 5346128"/>
              <a:gd name="connsiteX2051" fmla="*/ 5160921 w 5419032"/>
              <a:gd name="connsiteY2051" fmla="*/ 826204 h 5346128"/>
              <a:gd name="connsiteX2052" fmla="*/ 5219676 w 5419032"/>
              <a:gd name="connsiteY2052" fmla="*/ 845065 h 5346128"/>
              <a:gd name="connsiteX2053" fmla="*/ 5339290 w 5419032"/>
              <a:gd name="connsiteY2053" fmla="*/ 866021 h 5346128"/>
              <a:gd name="connsiteX2054" fmla="*/ 5307814 w 5419032"/>
              <a:gd name="connsiteY2054" fmla="*/ 849255 h 5346128"/>
              <a:gd name="connsiteX2055" fmla="*/ 5330896 w 5419032"/>
              <a:gd name="connsiteY2055" fmla="*/ 828301 h 5346128"/>
              <a:gd name="connsiteX2056" fmla="*/ 5419032 w 5419032"/>
              <a:gd name="connsiteY2056" fmla="*/ 838778 h 5346128"/>
              <a:gd name="connsiteX2057" fmla="*/ 5419032 w 5419032"/>
              <a:gd name="connsiteY2057" fmla="*/ 901644 h 5346128"/>
              <a:gd name="connsiteX2058" fmla="*/ 5301518 w 5419032"/>
              <a:gd name="connsiteY2058" fmla="*/ 1079757 h 5346128"/>
              <a:gd name="connsiteX2059" fmla="*/ 5276334 w 5419032"/>
              <a:gd name="connsiteY2059" fmla="*/ 1125858 h 5346128"/>
              <a:gd name="connsiteX2060" fmla="*/ 5305714 w 5419032"/>
              <a:gd name="connsiteY2060" fmla="*/ 1155194 h 5346128"/>
              <a:gd name="connsiteX2061" fmla="*/ 5312008 w 5419032"/>
              <a:gd name="connsiteY2061" fmla="*/ 1182435 h 5346128"/>
              <a:gd name="connsiteX2062" fmla="*/ 5223874 w 5419032"/>
              <a:gd name="connsiteY2062" fmla="*/ 1335403 h 5346128"/>
              <a:gd name="connsiteX2063" fmla="*/ 5198691 w 5419032"/>
              <a:gd name="connsiteY2063" fmla="*/ 1387789 h 5346128"/>
              <a:gd name="connsiteX2064" fmla="*/ 5173509 w 5419032"/>
              <a:gd name="connsiteY2064" fmla="*/ 1427605 h 5346128"/>
              <a:gd name="connsiteX2065" fmla="*/ 5144131 w 5419032"/>
              <a:gd name="connsiteY2065" fmla="*/ 1479991 h 5346128"/>
              <a:gd name="connsiteX2066" fmla="*/ 5089571 w 5419032"/>
              <a:gd name="connsiteY2066" fmla="*/ 1498852 h 5346128"/>
              <a:gd name="connsiteX2067" fmla="*/ 5053897 w 5419032"/>
              <a:gd name="connsiteY2067" fmla="*/ 1452752 h 5346128"/>
              <a:gd name="connsiteX2068" fmla="*/ 5037108 w 5419032"/>
              <a:gd name="connsiteY2068" fmla="*/ 1509331 h 5346128"/>
              <a:gd name="connsiteX2069" fmla="*/ 5001436 w 5419032"/>
              <a:gd name="connsiteY2069" fmla="*/ 1521902 h 5346128"/>
              <a:gd name="connsiteX2070" fmla="*/ 5001436 w 5419032"/>
              <a:gd name="connsiteY2070" fmla="*/ 1490470 h 5346128"/>
              <a:gd name="connsiteX2071" fmla="*/ 4972056 w 5419032"/>
              <a:gd name="connsiteY2071" fmla="*/ 1444371 h 5346128"/>
              <a:gd name="connsiteX2072" fmla="*/ 4879723 w 5419032"/>
              <a:gd name="connsiteY2072" fmla="*/ 1459037 h 5346128"/>
              <a:gd name="connsiteX2073" fmla="*/ 4846148 w 5419032"/>
              <a:gd name="connsiteY2073" fmla="*/ 1448563 h 5346128"/>
              <a:gd name="connsiteX2074" fmla="*/ 4812571 w 5419032"/>
              <a:gd name="connsiteY2074" fmla="*/ 1433894 h 5346128"/>
              <a:gd name="connsiteX2075" fmla="*/ 4795784 w 5419032"/>
              <a:gd name="connsiteY2075" fmla="*/ 1461131 h 5346128"/>
              <a:gd name="connsiteX2076" fmla="*/ 4823064 w 5419032"/>
              <a:gd name="connsiteY2076" fmla="*/ 1519807 h 5346128"/>
              <a:gd name="connsiteX2077" fmla="*/ 4959464 w 5419032"/>
              <a:gd name="connsiteY2077" fmla="*/ 1622474 h 5346128"/>
              <a:gd name="connsiteX2078" fmla="*/ 5009830 w 5419032"/>
              <a:gd name="connsiteY2078" fmla="*/ 1683233 h 5346128"/>
              <a:gd name="connsiteX2079" fmla="*/ 5230170 w 5419032"/>
              <a:gd name="connsiteY2079" fmla="*/ 1894921 h 5346128"/>
              <a:gd name="connsiteX2080" fmla="*/ 5314108 w 5419032"/>
              <a:gd name="connsiteY2080" fmla="*/ 1989206 h 5346128"/>
              <a:gd name="connsiteX2081" fmla="*/ 5293124 w 5419032"/>
              <a:gd name="connsiteY2081" fmla="*/ 2058353 h 5346128"/>
              <a:gd name="connsiteX2082" fmla="*/ 5238562 w 5419032"/>
              <a:gd name="connsiteY2082" fmla="*/ 2066745 h 5346128"/>
              <a:gd name="connsiteX2083" fmla="*/ 5184002 w 5419032"/>
              <a:gd name="connsiteY2083" fmla="*/ 2114942 h 5346128"/>
              <a:gd name="connsiteX2084" fmla="*/ 5171412 w 5419032"/>
              <a:gd name="connsiteY2084" fmla="*/ 2156850 h 5346128"/>
              <a:gd name="connsiteX2085" fmla="*/ 5163510 w 5419032"/>
              <a:gd name="connsiteY2085" fmla="*/ 2168079 h 5346128"/>
              <a:gd name="connsiteX2086" fmla="*/ 5159720 w 5419032"/>
              <a:gd name="connsiteY2086" fmla="*/ 2169565 h 5346128"/>
              <a:gd name="connsiteX2087" fmla="*/ 5140048 w 5419032"/>
              <a:gd name="connsiteY2087" fmla="*/ 2161089 h 5346128"/>
              <a:gd name="connsiteX2088" fmla="*/ 5139796 w 5419032"/>
              <a:gd name="connsiteY2088" fmla="*/ 2160847 h 5346128"/>
              <a:gd name="connsiteX2089" fmla="*/ 5137591 w 5419032"/>
              <a:gd name="connsiteY2089" fmla="*/ 2157718 h 5346128"/>
              <a:gd name="connsiteX2090" fmla="*/ 5135861 w 5419032"/>
              <a:gd name="connsiteY2090" fmla="*/ 2149085 h 5346128"/>
              <a:gd name="connsiteX2091" fmla="*/ 5138151 w 5419032"/>
              <a:gd name="connsiteY2091" fmla="*/ 2132261 h 5346128"/>
              <a:gd name="connsiteX2092" fmla="*/ 5138454 w 5419032"/>
              <a:gd name="connsiteY2092" fmla="*/ 2132102 h 5346128"/>
              <a:gd name="connsiteX2093" fmla="*/ 5138454 w 5419032"/>
              <a:gd name="connsiteY2093" fmla="*/ 2130024 h 5346128"/>
              <a:gd name="connsiteX2094" fmla="*/ 5138151 w 5419032"/>
              <a:gd name="connsiteY2094" fmla="*/ 2132261 h 5346128"/>
              <a:gd name="connsiteX2095" fmla="*/ 5120717 w 5419032"/>
              <a:gd name="connsiteY2095" fmla="*/ 2141442 h 5346128"/>
              <a:gd name="connsiteX2096" fmla="*/ 5104567 w 5419032"/>
              <a:gd name="connsiteY2096" fmla="*/ 2144555 h 5346128"/>
              <a:gd name="connsiteX2097" fmla="*/ 5085506 w 5419032"/>
              <a:gd name="connsiteY2097" fmla="*/ 2161162 h 5346128"/>
              <a:gd name="connsiteX2098" fmla="*/ 5096096 w 5419032"/>
              <a:gd name="connsiteY2098" fmla="*/ 2173617 h 5346128"/>
              <a:gd name="connsiteX2099" fmla="*/ 5113040 w 5419032"/>
              <a:gd name="connsiteY2099" fmla="*/ 2161162 h 5346128"/>
              <a:gd name="connsiteX2100" fmla="*/ 5134219 w 5419032"/>
              <a:gd name="connsiteY2100" fmla="*/ 2161162 h 5346128"/>
              <a:gd name="connsiteX2101" fmla="*/ 5135157 w 5419032"/>
              <a:gd name="connsiteY2101" fmla="*/ 2154268 h 5346128"/>
              <a:gd name="connsiteX2102" fmla="*/ 5137591 w 5419032"/>
              <a:gd name="connsiteY2102" fmla="*/ 2157718 h 5346128"/>
              <a:gd name="connsiteX2103" fmla="*/ 5137836 w 5419032"/>
              <a:gd name="connsiteY2103" fmla="*/ 2158944 h 5346128"/>
              <a:gd name="connsiteX2104" fmla="*/ 5139796 w 5419032"/>
              <a:gd name="connsiteY2104" fmla="*/ 2160847 h 5346128"/>
              <a:gd name="connsiteX2105" fmla="*/ 5139934 w 5419032"/>
              <a:gd name="connsiteY2105" fmla="*/ 2161040 h 5346128"/>
              <a:gd name="connsiteX2106" fmla="*/ 5140048 w 5419032"/>
              <a:gd name="connsiteY2106" fmla="*/ 2161089 h 5346128"/>
              <a:gd name="connsiteX2107" fmla="*/ 5146920 w 5419032"/>
              <a:gd name="connsiteY2107" fmla="*/ 2167752 h 5346128"/>
              <a:gd name="connsiteX2108" fmla="*/ 5155411 w 5419032"/>
              <a:gd name="connsiteY2108" fmla="*/ 2171254 h 5346128"/>
              <a:gd name="connsiteX2109" fmla="*/ 5159720 w 5419032"/>
              <a:gd name="connsiteY2109" fmla="*/ 2169565 h 5346128"/>
              <a:gd name="connsiteX2110" fmla="*/ 5172232 w 5419032"/>
              <a:gd name="connsiteY2110" fmla="*/ 2174955 h 5346128"/>
              <a:gd name="connsiteX2111" fmla="*/ 5204988 w 5419032"/>
              <a:gd name="connsiteY2111" fmla="*/ 2259519 h 5346128"/>
              <a:gd name="connsiteX2112" fmla="*/ 5173509 w 5419032"/>
              <a:gd name="connsiteY2112" fmla="*/ 2330758 h 5346128"/>
              <a:gd name="connsiteX2113" fmla="*/ 5139934 w 5419032"/>
              <a:gd name="connsiteY2113" fmla="*/ 2383140 h 5346128"/>
              <a:gd name="connsiteX2114" fmla="*/ 5009830 w 5419032"/>
              <a:gd name="connsiteY2114" fmla="*/ 2584287 h 5346128"/>
              <a:gd name="connsiteX2115" fmla="*/ 4982548 w 5419032"/>
              <a:gd name="connsiteY2115" fmla="*/ 2578001 h 5346128"/>
              <a:gd name="connsiteX2116" fmla="*/ 4951072 w 5419032"/>
              <a:gd name="connsiteY2116" fmla="*/ 2584287 h 5346128"/>
              <a:gd name="connsiteX2117" fmla="*/ 4890215 w 5419032"/>
              <a:gd name="connsiteY2117" fmla="*/ 2624100 h 5346128"/>
              <a:gd name="connsiteX2118" fmla="*/ 4783192 w 5419032"/>
              <a:gd name="connsiteY2118" fmla="*/ 2533999 h 5346128"/>
              <a:gd name="connsiteX2119" fmla="*/ 4686662 w 5419032"/>
              <a:gd name="connsiteY2119" fmla="*/ 2345424 h 5346128"/>
              <a:gd name="connsiteX2120" fmla="*/ 4606920 w 5419032"/>
              <a:gd name="connsiteY2120" fmla="*/ 2341234 h 5346128"/>
              <a:gd name="connsiteX2121" fmla="*/ 4598526 w 5419032"/>
              <a:gd name="connsiteY2121" fmla="*/ 2406187 h 5346128"/>
              <a:gd name="connsiteX2122" fmla="*/ 4600626 w 5419032"/>
              <a:gd name="connsiteY2122" fmla="*/ 2429236 h 5346128"/>
              <a:gd name="connsiteX2123" fmla="*/ 4583838 w 5419032"/>
              <a:gd name="connsiteY2123" fmla="*/ 2487905 h 5346128"/>
              <a:gd name="connsiteX2124" fmla="*/ 4581739 w 5419032"/>
              <a:gd name="connsiteY2124" fmla="*/ 2489999 h 5346128"/>
              <a:gd name="connsiteX2125" fmla="*/ 4585936 w 5419032"/>
              <a:gd name="connsiteY2125" fmla="*/ 2489999 h 5346128"/>
              <a:gd name="connsiteX2126" fmla="*/ 4621610 w 5419032"/>
              <a:gd name="connsiteY2126" fmla="*/ 2536096 h 5346128"/>
              <a:gd name="connsiteX2127" fmla="*/ 4640496 w 5419032"/>
              <a:gd name="connsiteY2127" fmla="*/ 2563334 h 5346128"/>
              <a:gd name="connsiteX2128" fmla="*/ 4659382 w 5419032"/>
              <a:gd name="connsiteY2128" fmla="*/ 2605240 h 5346128"/>
              <a:gd name="connsiteX2129" fmla="*/ 4701352 w 5419032"/>
              <a:gd name="connsiteY2129" fmla="*/ 2655535 h 5346128"/>
              <a:gd name="connsiteX2130" fmla="*/ 4793686 w 5419032"/>
              <a:gd name="connsiteY2130" fmla="*/ 2754019 h 5346128"/>
              <a:gd name="connsiteX2131" fmla="*/ 4820966 w 5419032"/>
              <a:gd name="connsiteY2131" fmla="*/ 2810596 h 5346128"/>
              <a:gd name="connsiteX2132" fmla="*/ 4814670 w 5419032"/>
              <a:gd name="connsiteY2132" fmla="*/ 2871365 h 5346128"/>
              <a:gd name="connsiteX2133" fmla="*/ 4871329 w 5419032"/>
              <a:gd name="connsiteY2133" fmla="*/ 2909084 h 5346128"/>
              <a:gd name="connsiteX2134" fmla="*/ 4856640 w 5419032"/>
              <a:gd name="connsiteY2134" fmla="*/ 2856697 h 5346128"/>
              <a:gd name="connsiteX2135" fmla="*/ 4865034 w 5419032"/>
              <a:gd name="connsiteY2135" fmla="*/ 2818978 h 5346128"/>
              <a:gd name="connsiteX2136" fmla="*/ 4902806 w 5419032"/>
              <a:gd name="connsiteY2136" fmla="*/ 2839933 h 5346128"/>
              <a:gd name="connsiteX2137" fmla="*/ 4942678 w 5419032"/>
              <a:gd name="connsiteY2137" fmla="*/ 2877652 h 5346128"/>
              <a:gd name="connsiteX2138" fmla="*/ 4951072 w 5419032"/>
              <a:gd name="connsiteY2138" fmla="*/ 2886034 h 5346128"/>
              <a:gd name="connsiteX2139" fmla="*/ 5051798 w 5419032"/>
              <a:gd name="connsiteY2139" fmla="*/ 2917465 h 5346128"/>
              <a:gd name="connsiteX2140" fmla="*/ 5112654 w 5419032"/>
              <a:gd name="connsiteY2140" fmla="*/ 2925847 h 5346128"/>
              <a:gd name="connsiteX2141" fmla="*/ 5108457 w 5419032"/>
              <a:gd name="connsiteY2141" fmla="*/ 2980330 h 5346128"/>
              <a:gd name="connsiteX2142" fmla="*/ 5137836 w 5419032"/>
              <a:gd name="connsiteY2142" fmla="*/ 2986617 h 5346128"/>
              <a:gd name="connsiteX2143" fmla="*/ 5156723 w 5419032"/>
              <a:gd name="connsiteY2143" fmla="*/ 3009668 h 5346128"/>
              <a:gd name="connsiteX2144" fmla="*/ 5131541 w 5419032"/>
              <a:gd name="connsiteY2144" fmla="*/ 3030623 h 5346128"/>
              <a:gd name="connsiteX2145" fmla="*/ 5064849 w 5419032"/>
              <a:gd name="connsiteY2145" fmla="*/ 3059795 h 5346128"/>
              <a:gd name="connsiteX2146" fmla="*/ 5055700 w 5419032"/>
              <a:gd name="connsiteY2146" fmla="*/ 3069885 h 5346128"/>
              <a:gd name="connsiteX2147" fmla="*/ 5051798 w 5419032"/>
              <a:gd name="connsiteY2147" fmla="*/ 3072532 h 5346128"/>
              <a:gd name="connsiteX2148" fmla="*/ 5045240 w 5419032"/>
              <a:gd name="connsiteY2148" fmla="*/ 3079604 h 5346128"/>
              <a:gd name="connsiteX2149" fmla="*/ 5044991 w 5419032"/>
              <a:gd name="connsiteY2149" fmla="*/ 3079772 h 5346128"/>
              <a:gd name="connsiteX2150" fmla="*/ 5003412 w 5419032"/>
              <a:gd name="connsiteY2150" fmla="*/ 3070052 h 5346128"/>
              <a:gd name="connsiteX2151" fmla="*/ 5049300 w 5419032"/>
              <a:gd name="connsiteY2151" fmla="*/ 3080780 h 5346128"/>
              <a:gd name="connsiteX2152" fmla="*/ 5045696 w 5419032"/>
              <a:gd name="connsiteY2152" fmla="*/ 3079937 h 5346128"/>
              <a:gd name="connsiteX2153" fmla="*/ 5047602 w 5419032"/>
              <a:gd name="connsiteY2153" fmla="*/ 3078818 h 5346128"/>
              <a:gd name="connsiteX2154" fmla="*/ 5055700 w 5419032"/>
              <a:gd name="connsiteY2154" fmla="*/ 3069885 h 5346128"/>
              <a:gd name="connsiteX2155" fmla="*/ 5067537 w 5419032"/>
              <a:gd name="connsiteY2155" fmla="*/ 3061858 h 5346128"/>
              <a:gd name="connsiteX2156" fmla="*/ 5114752 w 5419032"/>
              <a:gd name="connsiteY2156" fmla="*/ 3068341 h 5346128"/>
              <a:gd name="connsiteX2157" fmla="*/ 5128918 w 5419032"/>
              <a:gd name="connsiteY2157" fmla="*/ 3097219 h 5346128"/>
              <a:gd name="connsiteX2158" fmla="*/ 5118916 w 5419032"/>
              <a:gd name="connsiteY2158" fmla="*/ 3106285 h 5346128"/>
              <a:gd name="connsiteX2159" fmla="*/ 5113590 w 5419032"/>
              <a:gd name="connsiteY2159" fmla="*/ 3106010 h 5346128"/>
              <a:gd name="connsiteX2160" fmla="*/ 5097811 w 5419032"/>
              <a:gd name="connsiteY2160" fmla="*/ 3108598 h 5346128"/>
              <a:gd name="connsiteX2161" fmla="*/ 5099941 w 5419032"/>
              <a:gd name="connsiteY2161" fmla="*/ 3108598 h 5346128"/>
              <a:gd name="connsiteX2162" fmla="*/ 5104270 w 5419032"/>
              <a:gd name="connsiteY2162" fmla="*/ 3112342 h 5346128"/>
              <a:gd name="connsiteX2163" fmla="*/ 5104261 w 5419032"/>
              <a:gd name="connsiteY2163" fmla="*/ 3112345 h 5346128"/>
              <a:gd name="connsiteX2164" fmla="*/ 5114752 w 5419032"/>
              <a:gd name="connsiteY2164" fmla="*/ 3158446 h 5346128"/>
              <a:gd name="connsiteX2165" fmla="*/ 5104261 w 5419032"/>
              <a:gd name="connsiteY2165" fmla="*/ 3183592 h 5346128"/>
              <a:gd name="connsiteX2166" fmla="*/ 4951072 w 5419032"/>
              <a:gd name="connsiteY2166" fmla="*/ 3200356 h 5346128"/>
              <a:gd name="connsiteX2167" fmla="*/ 4886018 w 5419032"/>
              <a:gd name="connsiteY2167" fmla="*/ 3200356 h 5346128"/>
              <a:gd name="connsiteX2168" fmla="*/ 4812571 w 5419032"/>
              <a:gd name="connsiteY2168" fmla="*/ 3208739 h 5346128"/>
              <a:gd name="connsiteX2169" fmla="*/ 4657286 w 5419032"/>
              <a:gd name="connsiteY2169" fmla="*/ 3181497 h 5346128"/>
              <a:gd name="connsiteX2170" fmla="*/ 4734929 w 5419032"/>
              <a:gd name="connsiteY2170" fmla="*/ 3323989 h 5346128"/>
              <a:gd name="connsiteX2171" fmla="*/ 4745101 w 5419032"/>
              <a:gd name="connsiteY2171" fmla="*/ 3382907 h 5346128"/>
              <a:gd name="connsiteX2172" fmla="*/ 4744634 w 5419032"/>
              <a:gd name="connsiteY2172" fmla="*/ 3383448 h 5346128"/>
              <a:gd name="connsiteX2173" fmla="*/ 4744886 w 5419032"/>
              <a:gd name="connsiteY2173" fmla="*/ 3389893 h 5346128"/>
              <a:gd name="connsiteX2174" fmla="*/ 4743290 w 5419032"/>
              <a:gd name="connsiteY2174" fmla="*/ 3405189 h 5346128"/>
              <a:gd name="connsiteX2175" fmla="*/ 4703452 w 5419032"/>
              <a:gd name="connsiteY2175" fmla="*/ 3428763 h 5346128"/>
              <a:gd name="connsiteX2176" fmla="*/ 4686662 w 5419032"/>
              <a:gd name="connsiteY2176" fmla="*/ 3435050 h 5346128"/>
              <a:gd name="connsiteX2177" fmla="*/ 4653088 w 5419032"/>
              <a:gd name="connsiteY2177" fmla="*/ 3466482 h 5346128"/>
              <a:gd name="connsiteX2178" fmla="*/ 4590134 w 5419032"/>
              <a:gd name="connsiteY2178" fmla="*/ 3420381 h 5346128"/>
              <a:gd name="connsiteX2179" fmla="*/ 4569149 w 5419032"/>
              <a:gd name="connsiteY2179" fmla="*/ 3416191 h 5346128"/>
              <a:gd name="connsiteX2180" fmla="*/ 4569149 w 5419032"/>
              <a:gd name="connsiteY2180" fmla="*/ 3430860 h 5346128"/>
              <a:gd name="connsiteX2181" fmla="*/ 4653088 w 5419032"/>
              <a:gd name="connsiteY2181" fmla="*/ 3533537 h 5346128"/>
              <a:gd name="connsiteX2182" fmla="*/ 4669876 w 5419032"/>
              <a:gd name="connsiteY2182" fmla="*/ 3539824 h 5346128"/>
              <a:gd name="connsiteX2183" fmla="*/ 4709746 w 5419032"/>
              <a:gd name="connsiteY2183" fmla="*/ 3497915 h 5346128"/>
              <a:gd name="connsiteX2184" fmla="*/ 4741224 w 5419032"/>
              <a:gd name="connsiteY2184" fmla="*/ 3468577 h 5346128"/>
              <a:gd name="connsiteX2185" fmla="*/ 4745420 w 5419032"/>
              <a:gd name="connsiteY2185" fmla="*/ 3403617 h 5346128"/>
              <a:gd name="connsiteX2186" fmla="*/ 4744886 w 5419032"/>
              <a:gd name="connsiteY2186" fmla="*/ 3389893 h 5346128"/>
              <a:gd name="connsiteX2187" fmla="*/ 4745420 w 5419032"/>
              <a:gd name="connsiteY2187" fmla="*/ 3384759 h 5346128"/>
              <a:gd name="connsiteX2188" fmla="*/ 4745101 w 5419032"/>
              <a:gd name="connsiteY2188" fmla="*/ 3382907 h 5346128"/>
              <a:gd name="connsiteX2189" fmla="*/ 4758012 w 5419032"/>
              <a:gd name="connsiteY2189" fmla="*/ 3367994 h 5346128"/>
              <a:gd name="connsiteX2190" fmla="*/ 4791588 w 5419032"/>
              <a:gd name="connsiteY2190" fmla="*/ 3386854 h 5346128"/>
              <a:gd name="connsiteX2191" fmla="*/ 4852443 w 5419032"/>
              <a:gd name="connsiteY2191" fmla="*/ 3464387 h 5346128"/>
              <a:gd name="connsiteX2192" fmla="*/ 4846148 w 5419032"/>
              <a:gd name="connsiteY2192" fmla="*/ 3604784 h 5346128"/>
              <a:gd name="connsiteX2193" fmla="*/ 4648890 w 5419032"/>
              <a:gd name="connsiteY2193" fmla="*/ 3747277 h 5346128"/>
              <a:gd name="connsiteX2194" fmla="*/ 4485209 w 5419032"/>
              <a:gd name="connsiteY2194" fmla="*/ 3751468 h 5346128"/>
              <a:gd name="connsiteX2195" fmla="*/ 4460027 w 5419032"/>
              <a:gd name="connsiteY2195" fmla="*/ 3732608 h 5346128"/>
              <a:gd name="connsiteX2196" fmla="*/ 4481011 w 5419032"/>
              <a:gd name="connsiteY2196" fmla="*/ 3707463 h 5346128"/>
              <a:gd name="connsiteX2197" fmla="*/ 4495703 w 5419032"/>
              <a:gd name="connsiteY2197" fmla="*/ 3688603 h 5346128"/>
              <a:gd name="connsiteX2198" fmla="*/ 4455831 w 5419032"/>
              <a:gd name="connsiteY2198" fmla="*/ 3722131 h 5346128"/>
              <a:gd name="connsiteX2199" fmla="*/ 4376090 w 5419032"/>
              <a:gd name="connsiteY2199" fmla="*/ 3764041 h 5346128"/>
              <a:gd name="connsiteX2200" fmla="*/ 4348808 w 5419032"/>
              <a:gd name="connsiteY2200" fmla="*/ 3751468 h 5346128"/>
              <a:gd name="connsiteX2201" fmla="*/ 4353006 w 5419032"/>
              <a:gd name="connsiteY2201" fmla="*/ 3722131 h 5346128"/>
              <a:gd name="connsiteX2202" fmla="*/ 4388680 w 5419032"/>
              <a:gd name="connsiteY2202" fmla="*/ 3684413 h 5346128"/>
              <a:gd name="connsiteX2203" fmla="*/ 4245982 w 5419032"/>
              <a:gd name="connsiteY2203" fmla="*/ 3682318 h 5346128"/>
              <a:gd name="connsiteX2204" fmla="*/ 4210310 w 5419032"/>
              <a:gd name="connsiteY2204" fmla="*/ 3684413 h 5346128"/>
              <a:gd name="connsiteX2205" fmla="*/ 4176732 w 5419032"/>
              <a:gd name="connsiteY2205" fmla="*/ 3659266 h 5346128"/>
              <a:gd name="connsiteX2206" fmla="*/ 4206112 w 5419032"/>
              <a:gd name="connsiteY2206" fmla="*/ 3634121 h 5346128"/>
              <a:gd name="connsiteX2207" fmla="*/ 4162044 w 5419032"/>
              <a:gd name="connsiteY2207" fmla="*/ 3642503 h 5346128"/>
              <a:gd name="connsiteX2208" fmla="*/ 4111680 w 5419032"/>
              <a:gd name="connsiteY2208" fmla="*/ 3669743 h 5346128"/>
              <a:gd name="connsiteX2209" fmla="*/ 4090873 w 5419032"/>
              <a:gd name="connsiteY2209" fmla="*/ 3666176 h 5346128"/>
              <a:gd name="connsiteX2210" fmla="*/ 4090096 w 5419032"/>
              <a:gd name="connsiteY2210" fmla="*/ 3665293 h 5346128"/>
              <a:gd name="connsiteX2211" fmla="*/ 4089108 w 5419032"/>
              <a:gd name="connsiteY2211" fmla="*/ 3665872 h 5346128"/>
              <a:gd name="connsiteX2212" fmla="*/ 4072924 w 5419032"/>
              <a:gd name="connsiteY2212" fmla="*/ 3663098 h 5346128"/>
              <a:gd name="connsiteX2213" fmla="*/ 3954295 w 5419032"/>
              <a:gd name="connsiteY2213" fmla="*/ 3640408 h 5346128"/>
              <a:gd name="connsiteX2214" fmla="*/ 3864060 w 5419032"/>
              <a:gd name="connsiteY2214" fmla="*/ 3629930 h 5346128"/>
              <a:gd name="connsiteX2215" fmla="*/ 3912325 w 5419032"/>
              <a:gd name="connsiteY2215" fmla="*/ 3715844 h 5346128"/>
              <a:gd name="connsiteX2216" fmla="*/ 4002560 w 5419032"/>
              <a:gd name="connsiteY2216" fmla="*/ 3789186 h 5346128"/>
              <a:gd name="connsiteX2217" fmla="*/ 4013052 w 5419032"/>
              <a:gd name="connsiteY2217" fmla="*/ 3801759 h 5346128"/>
              <a:gd name="connsiteX2218" fmla="*/ 4082302 w 5419032"/>
              <a:gd name="connsiteY2218" fmla="*/ 3826906 h 5346128"/>
              <a:gd name="connsiteX2219" fmla="*/ 4180930 w 5419032"/>
              <a:gd name="connsiteY2219" fmla="*/ 3942156 h 5346128"/>
              <a:gd name="connsiteX2220" fmla="*/ 4183028 w 5419032"/>
              <a:gd name="connsiteY2220" fmla="*/ 3946347 h 5346128"/>
              <a:gd name="connsiteX2221" fmla="*/ 4204012 w 5419032"/>
              <a:gd name="connsiteY2221" fmla="*/ 4025977 h 5346128"/>
              <a:gd name="connsiteX2222" fmla="*/ 4189324 w 5419032"/>
              <a:gd name="connsiteY2222" fmla="*/ 4057408 h 5346128"/>
              <a:gd name="connsiteX2223" fmla="*/ 4141058 w 5419032"/>
              <a:gd name="connsiteY2223" fmla="*/ 4160087 h 5346128"/>
              <a:gd name="connsiteX2224" fmla="*/ 4099088 w 5419032"/>
              <a:gd name="connsiteY2224" fmla="*/ 4216664 h 5346128"/>
              <a:gd name="connsiteX2225" fmla="*/ 3998363 w 5419032"/>
              <a:gd name="connsiteY2225" fmla="*/ 4388495 h 5346128"/>
              <a:gd name="connsiteX2226" fmla="*/ 3960590 w 5419032"/>
              <a:gd name="connsiteY2226" fmla="*/ 4430404 h 5346128"/>
              <a:gd name="connsiteX2227" fmla="*/ 3822090 w 5419032"/>
              <a:gd name="connsiteY2227" fmla="*/ 4524700 h 5346128"/>
              <a:gd name="connsiteX2228" fmla="*/ 3656310 w 5419032"/>
              <a:gd name="connsiteY2228" fmla="*/ 4558228 h 5346128"/>
              <a:gd name="connsiteX2229" fmla="*/ 3496826 w 5419032"/>
              <a:gd name="connsiteY2229" fmla="*/ 4526795 h 5346128"/>
              <a:gd name="connsiteX2230" fmla="*/ 3421280 w 5419032"/>
              <a:gd name="connsiteY2230" fmla="*/ 4489077 h 5346128"/>
              <a:gd name="connsiteX2231" fmla="*/ 3482136 w 5419032"/>
              <a:gd name="connsiteY2231" fmla="*/ 4556133 h 5346128"/>
              <a:gd name="connsiteX2232" fmla="*/ 3456956 w 5419032"/>
              <a:gd name="connsiteY2232" fmla="*/ 4629475 h 5346128"/>
              <a:gd name="connsiteX2233" fmla="*/ 3356229 w 5419032"/>
              <a:gd name="connsiteY2233" fmla="*/ 4690243 h 5346128"/>
              <a:gd name="connsiteX2234" fmla="*/ 3188350 w 5419032"/>
              <a:gd name="connsiteY2234" fmla="*/ 4744727 h 5346128"/>
              <a:gd name="connsiteX2235" fmla="*/ 3100214 w 5419032"/>
              <a:gd name="connsiteY2235" fmla="*/ 4782444 h 5346128"/>
              <a:gd name="connsiteX2236" fmla="*/ 3047752 w 5419032"/>
              <a:gd name="connsiteY2236" fmla="*/ 4801304 h 5346128"/>
              <a:gd name="connsiteX2237" fmla="*/ 3102314 w 5419032"/>
              <a:gd name="connsiteY2237" fmla="*/ 4849499 h 5346128"/>
              <a:gd name="connsiteX2238" fmla="*/ 3161070 w 5419032"/>
              <a:gd name="connsiteY2238" fmla="*/ 4937510 h 5346128"/>
              <a:gd name="connsiteX2239" fmla="*/ 3100214 w 5419032"/>
              <a:gd name="connsiteY2239" fmla="*/ 5000375 h 5346128"/>
              <a:gd name="connsiteX2240" fmla="*/ 2940730 w 5419032"/>
              <a:gd name="connsiteY2240" fmla="*/ 5035998 h 5346128"/>
              <a:gd name="connsiteX2241" fmla="*/ 2867284 w 5419032"/>
              <a:gd name="connsiteY2241" fmla="*/ 5117722 h 5346128"/>
              <a:gd name="connsiteX2242" fmla="*/ 2831610 w 5419032"/>
              <a:gd name="connsiteY2242" fmla="*/ 5168012 h 5346128"/>
              <a:gd name="connsiteX2243" fmla="*/ 2793836 w 5419032"/>
              <a:gd name="connsiteY2243" fmla="*/ 5174300 h 5346128"/>
              <a:gd name="connsiteX2244" fmla="*/ 2684715 w 5419032"/>
              <a:gd name="connsiteY2244" fmla="*/ 5136581 h 5346128"/>
              <a:gd name="connsiteX2245" fmla="*/ 2548314 w 5419032"/>
              <a:gd name="connsiteY2245" fmla="*/ 5059048 h 5346128"/>
              <a:gd name="connsiteX2246" fmla="*/ 2462278 w 5419032"/>
              <a:gd name="connsiteY2246" fmla="*/ 5008757 h 5346128"/>
              <a:gd name="connsiteX2247" fmla="*/ 2455982 w 5419032"/>
              <a:gd name="connsiteY2247" fmla="*/ 5019234 h 5346128"/>
              <a:gd name="connsiteX2248" fmla="*/ 2516838 w 5419032"/>
              <a:gd name="connsiteY2248" fmla="*/ 5096767 h 5346128"/>
              <a:gd name="connsiteX2249" fmla="*/ 2550414 w 5419032"/>
              <a:gd name="connsiteY2249" fmla="*/ 5132391 h 5346128"/>
              <a:gd name="connsiteX2250" fmla="*/ 2567201 w 5419032"/>
              <a:gd name="connsiteY2250" fmla="*/ 5182681 h 5346128"/>
              <a:gd name="connsiteX2251" fmla="*/ 2613367 w 5419032"/>
              <a:gd name="connsiteY2251" fmla="*/ 5186873 h 5346128"/>
              <a:gd name="connsiteX2252" fmla="*/ 2728784 w 5419032"/>
              <a:gd name="connsiteY2252" fmla="*/ 5318888 h 5346128"/>
              <a:gd name="connsiteX2253" fmla="*/ 2703602 w 5419032"/>
              <a:gd name="connsiteY2253" fmla="*/ 5346128 h 5346128"/>
              <a:gd name="connsiteX2254" fmla="*/ 2577693 w 5419032"/>
              <a:gd name="connsiteY2254" fmla="*/ 5300028 h 5346128"/>
              <a:gd name="connsiteX2255" fmla="*/ 2462278 w 5419032"/>
              <a:gd name="connsiteY2255" fmla="*/ 5253928 h 5346128"/>
              <a:gd name="connsiteX2256" fmla="*/ 2399323 w 5419032"/>
              <a:gd name="connsiteY2256" fmla="*/ 5266501 h 5346128"/>
              <a:gd name="connsiteX2257" fmla="*/ 2372043 w 5419032"/>
              <a:gd name="connsiteY2257" fmla="*/ 5249737 h 5346128"/>
              <a:gd name="connsiteX2258" fmla="*/ 2323777 w 5419032"/>
              <a:gd name="connsiteY2258" fmla="*/ 5201541 h 5346128"/>
              <a:gd name="connsiteX2259" fmla="*/ 2317482 w 5419032"/>
              <a:gd name="connsiteY2259" fmla="*/ 5205732 h 5346128"/>
              <a:gd name="connsiteX2260" fmla="*/ 2321678 w 5419032"/>
              <a:gd name="connsiteY2260" fmla="*/ 5203636 h 5346128"/>
              <a:gd name="connsiteX2261" fmla="*/ 2330073 w 5419032"/>
              <a:gd name="connsiteY2261" fmla="*/ 5207827 h 5346128"/>
              <a:gd name="connsiteX2262" fmla="*/ 2317482 w 5419032"/>
              <a:gd name="connsiteY2262" fmla="*/ 5276978 h 5346128"/>
              <a:gd name="connsiteX2263" fmla="*/ 2283906 w 5419032"/>
              <a:gd name="connsiteY2263" fmla="*/ 5291646 h 5346128"/>
              <a:gd name="connsiteX2264" fmla="*/ 2239839 w 5419032"/>
              <a:gd name="connsiteY2264" fmla="*/ 5264406 h 5346128"/>
              <a:gd name="connsiteX2265" fmla="*/ 2267119 w 5419032"/>
              <a:gd name="connsiteY2265" fmla="*/ 5228782 h 5346128"/>
              <a:gd name="connsiteX2266" fmla="*/ 2187377 w 5419032"/>
              <a:gd name="connsiteY2266" fmla="*/ 5258118 h 5346128"/>
              <a:gd name="connsiteX2267" fmla="*/ 2145407 w 5419032"/>
              <a:gd name="connsiteY2267" fmla="*/ 5230877 h 5346128"/>
              <a:gd name="connsiteX2268" fmla="*/ 2128619 w 5419032"/>
              <a:gd name="connsiteY2268" fmla="*/ 5207827 h 5346128"/>
              <a:gd name="connsiteX2269" fmla="*/ 1975431 w 5419032"/>
              <a:gd name="connsiteY2269" fmla="*/ 5147057 h 5346128"/>
              <a:gd name="connsiteX2270" fmla="*/ 1952348 w 5419032"/>
              <a:gd name="connsiteY2270" fmla="*/ 5130295 h 5346128"/>
              <a:gd name="connsiteX2271" fmla="*/ 1948151 w 5419032"/>
              <a:gd name="connsiteY2271" fmla="*/ 5155440 h 5346128"/>
              <a:gd name="connsiteX2272" fmla="*/ 1918772 w 5419032"/>
              <a:gd name="connsiteY2272" fmla="*/ 5182681 h 5346128"/>
              <a:gd name="connsiteX2273" fmla="*/ 1797060 w 5419032"/>
              <a:gd name="connsiteY2273" fmla="*/ 5084194 h 5346128"/>
              <a:gd name="connsiteX2274" fmla="*/ 1818045 w 5419032"/>
              <a:gd name="connsiteY2274" fmla="*/ 5073717 h 5346128"/>
              <a:gd name="connsiteX2275" fmla="*/ 1820908 w 5419032"/>
              <a:gd name="connsiteY2275" fmla="*/ 5077021 h 5346128"/>
              <a:gd name="connsiteX2276" fmla="*/ 1819801 w 5419032"/>
              <a:gd name="connsiteY2276" fmla="*/ 5084354 h 5346128"/>
              <a:gd name="connsiteX2277" fmla="*/ 1825869 w 5419032"/>
              <a:gd name="connsiteY2277" fmla="*/ 5095036 h 5346128"/>
              <a:gd name="connsiteX2278" fmla="*/ 1884965 w 5419032"/>
              <a:gd name="connsiteY2278" fmla="*/ 5142976 h 5346128"/>
              <a:gd name="connsiteX2279" fmla="*/ 1899738 w 5419032"/>
              <a:gd name="connsiteY2279" fmla="*/ 5132554 h 5346128"/>
              <a:gd name="connsiteX2280" fmla="*/ 1876522 w 5419032"/>
              <a:gd name="connsiteY2280" fmla="*/ 5092952 h 5346128"/>
              <a:gd name="connsiteX2281" fmla="*/ 1832596 w 5419032"/>
              <a:gd name="connsiteY2281" fmla="*/ 5082400 h 5346128"/>
              <a:gd name="connsiteX2282" fmla="*/ 1821424 w 5419032"/>
              <a:gd name="connsiteY2282" fmla="*/ 5073595 h 5346128"/>
              <a:gd name="connsiteX2283" fmla="*/ 1821648 w 5419032"/>
              <a:gd name="connsiteY2283" fmla="*/ 5072108 h 5346128"/>
              <a:gd name="connsiteX2284" fmla="*/ 1819538 w 5419032"/>
              <a:gd name="connsiteY2284" fmla="*/ 5072108 h 5346128"/>
              <a:gd name="connsiteX2285" fmla="*/ 1821424 w 5419032"/>
              <a:gd name="connsiteY2285" fmla="*/ 5073595 h 5346128"/>
              <a:gd name="connsiteX2286" fmla="*/ 1820958 w 5419032"/>
              <a:gd name="connsiteY2286" fmla="*/ 5076681 h 5346128"/>
              <a:gd name="connsiteX2287" fmla="*/ 1820143 w 5419032"/>
              <a:gd name="connsiteY2287" fmla="*/ 5075812 h 5346128"/>
              <a:gd name="connsiteX2288" fmla="*/ 1769779 w 5419032"/>
              <a:gd name="connsiteY2288" fmla="*/ 5056952 h 5346128"/>
              <a:gd name="connsiteX2289" fmla="*/ 1768944 w 5419032"/>
              <a:gd name="connsiteY2289" fmla="*/ 5055979 h 5346128"/>
              <a:gd name="connsiteX2290" fmla="*/ 1774160 w 5419032"/>
              <a:gd name="connsiteY2290" fmla="*/ 5048850 h 5346128"/>
              <a:gd name="connsiteX2291" fmla="*/ 1763671 w 5419032"/>
              <a:gd name="connsiteY2291" fmla="*/ 5038304 h 5346128"/>
              <a:gd name="connsiteX2292" fmla="*/ 1757975 w 5419032"/>
              <a:gd name="connsiteY2292" fmla="*/ 5043200 h 5346128"/>
              <a:gd name="connsiteX2293" fmla="*/ 1757189 w 5419032"/>
              <a:gd name="connsiteY2293" fmla="*/ 5042285 h 5346128"/>
              <a:gd name="connsiteX2294" fmla="*/ 1704726 w 5419032"/>
              <a:gd name="connsiteY2294" fmla="*/ 4935415 h 5346128"/>
              <a:gd name="connsiteX2295" fmla="*/ 1633379 w 5419032"/>
              <a:gd name="connsiteY2295" fmla="*/ 4960559 h 5346128"/>
              <a:gd name="connsiteX2296" fmla="*/ 1627270 w 5419032"/>
              <a:gd name="connsiteY2296" fmla="*/ 4956900 h 5346128"/>
              <a:gd name="connsiteX2297" fmla="*/ 1626858 w 5419032"/>
              <a:gd name="connsiteY2297" fmla="*/ 4956075 h 5346128"/>
              <a:gd name="connsiteX2298" fmla="*/ 1627317 w 5419032"/>
              <a:gd name="connsiteY2298" fmla="*/ 4954896 h 5346128"/>
              <a:gd name="connsiteX2299" fmla="*/ 1625219 w 5419032"/>
              <a:gd name="connsiteY2299" fmla="*/ 4952798 h 5346128"/>
              <a:gd name="connsiteX2300" fmla="*/ 1626858 w 5419032"/>
              <a:gd name="connsiteY2300" fmla="*/ 4956075 h 5346128"/>
              <a:gd name="connsiteX2301" fmla="*/ 1626675 w 5419032"/>
              <a:gd name="connsiteY2301" fmla="*/ 4956544 h 5346128"/>
              <a:gd name="connsiteX2302" fmla="*/ 1622887 w 5419032"/>
              <a:gd name="connsiteY2302" fmla="*/ 4954275 h 5346128"/>
              <a:gd name="connsiteX2303" fmla="*/ 1604001 w 5419032"/>
              <a:gd name="connsiteY2303" fmla="*/ 4885123 h 5346128"/>
              <a:gd name="connsiteX2304" fmla="*/ 1597705 w 5419032"/>
              <a:gd name="connsiteY2304" fmla="*/ 4903982 h 5346128"/>
              <a:gd name="connsiteX2305" fmla="*/ 1566228 w 5419032"/>
              <a:gd name="connsiteY2305" fmla="*/ 4937510 h 5346128"/>
              <a:gd name="connsiteX2306" fmla="*/ 1543144 w 5419032"/>
              <a:gd name="connsiteY2306" fmla="*/ 4889315 h 5346128"/>
              <a:gd name="connsiteX2307" fmla="*/ 1530553 w 5419032"/>
              <a:gd name="connsiteY2307" fmla="*/ 4872550 h 5346128"/>
              <a:gd name="connsiteX2308" fmla="*/ 1490682 w 5419032"/>
              <a:gd name="connsiteY2308" fmla="*/ 4862073 h 5346128"/>
              <a:gd name="connsiteX2309" fmla="*/ 1457106 w 5419032"/>
              <a:gd name="connsiteY2309" fmla="*/ 4836927 h 5346128"/>
              <a:gd name="connsiteX2310" fmla="*/ 1496977 w 5419032"/>
              <a:gd name="connsiteY2310" fmla="*/ 4807590 h 5346128"/>
              <a:gd name="connsiteX2311" fmla="*/ 1499999 w 5419032"/>
              <a:gd name="connsiteY2311" fmla="*/ 4807968 h 5346128"/>
              <a:gd name="connsiteX2312" fmla="*/ 1500453 w 5419032"/>
              <a:gd name="connsiteY2312" fmla="*/ 4808245 h 5346128"/>
              <a:gd name="connsiteX2313" fmla="*/ 1513765 w 5419032"/>
              <a:gd name="connsiteY2313" fmla="*/ 4809687 h 5346128"/>
              <a:gd name="connsiteX2314" fmla="*/ 1499999 w 5419032"/>
              <a:gd name="connsiteY2314" fmla="*/ 4807968 h 5346128"/>
              <a:gd name="connsiteX2315" fmla="*/ 1489109 w 5419032"/>
              <a:gd name="connsiteY2315" fmla="*/ 4801304 h 5346128"/>
              <a:gd name="connsiteX2316" fmla="*/ 1473895 w 5419032"/>
              <a:gd name="connsiteY2316" fmla="*/ 4774062 h 5346128"/>
              <a:gd name="connsiteX2317" fmla="*/ 1387856 w 5419032"/>
              <a:gd name="connsiteY2317" fmla="*/ 4656716 h 5346128"/>
              <a:gd name="connsiteX2318" fmla="*/ 1347986 w 5419032"/>
              <a:gd name="connsiteY2318" fmla="*/ 4675576 h 5346128"/>
              <a:gd name="connsiteX2319" fmla="*/ 1343660 w 5419032"/>
              <a:gd name="connsiteY2319" fmla="*/ 4679030 h 5346128"/>
              <a:gd name="connsiteX2320" fmla="*/ 1340971 w 5419032"/>
              <a:gd name="connsiteY2320" fmla="*/ 4678642 h 5346128"/>
              <a:gd name="connsiteX2321" fmla="*/ 1340971 w 5419032"/>
              <a:gd name="connsiteY2321" fmla="*/ 4676264 h 5346128"/>
              <a:gd name="connsiteX2322" fmla="*/ 1338873 w 5419032"/>
              <a:gd name="connsiteY2322" fmla="*/ 4678340 h 5346128"/>
              <a:gd name="connsiteX2323" fmla="*/ 1340971 w 5419032"/>
              <a:gd name="connsiteY2323" fmla="*/ 4678642 h 5346128"/>
              <a:gd name="connsiteX2324" fmla="*/ 1340971 w 5419032"/>
              <a:gd name="connsiteY2324" fmla="*/ 4681179 h 5346128"/>
              <a:gd name="connsiteX2325" fmla="*/ 1337494 w 5419032"/>
              <a:gd name="connsiteY2325" fmla="*/ 4683957 h 5346128"/>
              <a:gd name="connsiteX2326" fmla="*/ 1310214 w 5419032"/>
              <a:gd name="connsiteY2326" fmla="*/ 4683957 h 5346128"/>
              <a:gd name="connsiteX2327" fmla="*/ 1224175 w 5419032"/>
              <a:gd name="connsiteY2327" fmla="*/ 4610616 h 5346128"/>
              <a:gd name="connsiteX2328" fmla="*/ 1224175 w 5419032"/>
              <a:gd name="connsiteY2328" fmla="*/ 4585469 h 5346128"/>
              <a:gd name="connsiteX2329" fmla="*/ 1243062 w 5419032"/>
              <a:gd name="connsiteY2329" fmla="*/ 4551941 h 5346128"/>
              <a:gd name="connsiteX2330" fmla="*/ 1252964 w 5419032"/>
              <a:gd name="connsiteY2330" fmla="*/ 4551975 h 5346128"/>
              <a:gd name="connsiteX2331" fmla="*/ 1254621 w 5419032"/>
              <a:gd name="connsiteY2331" fmla="*/ 4553005 h 5346128"/>
              <a:gd name="connsiteX2332" fmla="*/ 1267010 w 5419032"/>
              <a:gd name="connsiteY2332" fmla="*/ 4565379 h 5346128"/>
              <a:gd name="connsiteX2333" fmla="*/ 1272441 w 5419032"/>
              <a:gd name="connsiteY2333" fmla="*/ 4572896 h 5346128"/>
              <a:gd name="connsiteX2334" fmla="*/ 1343789 w 5419032"/>
              <a:gd name="connsiteY2334" fmla="*/ 4595946 h 5346128"/>
              <a:gd name="connsiteX2335" fmla="*/ 1352183 w 5419032"/>
              <a:gd name="connsiteY2335" fmla="*/ 4577088 h 5346128"/>
              <a:gd name="connsiteX2336" fmla="*/ 1324903 w 5419032"/>
              <a:gd name="connsiteY2336" fmla="*/ 4589660 h 5346128"/>
              <a:gd name="connsiteX2337" fmla="*/ 1293425 w 5419032"/>
              <a:gd name="connsiteY2337" fmla="*/ 4591756 h 5346128"/>
              <a:gd name="connsiteX2338" fmla="*/ 1267010 w 5419032"/>
              <a:gd name="connsiteY2338" fmla="*/ 4565379 h 5346128"/>
              <a:gd name="connsiteX2339" fmla="*/ 1260899 w 5419032"/>
              <a:gd name="connsiteY2339" fmla="*/ 4556918 h 5346128"/>
              <a:gd name="connsiteX2340" fmla="*/ 1254621 w 5419032"/>
              <a:gd name="connsiteY2340" fmla="*/ 4553005 h 5346128"/>
              <a:gd name="connsiteX2341" fmla="*/ 1217880 w 5419032"/>
              <a:gd name="connsiteY2341" fmla="*/ 4516319 h 5346128"/>
              <a:gd name="connsiteX2342" fmla="*/ 1216181 w 5419032"/>
              <a:gd name="connsiteY2342" fmla="*/ 4509529 h 5346128"/>
              <a:gd name="connsiteX2343" fmla="*/ 1222077 w 5419032"/>
              <a:gd name="connsiteY2343" fmla="*/ 4495364 h 5346128"/>
              <a:gd name="connsiteX2344" fmla="*/ 1216045 w 5419032"/>
              <a:gd name="connsiteY2344" fmla="*/ 4508984 h 5346128"/>
              <a:gd name="connsiteX2345" fmla="*/ 1216181 w 5419032"/>
              <a:gd name="connsiteY2345" fmla="*/ 4509529 h 5346128"/>
              <a:gd name="connsiteX2346" fmla="*/ 1214962 w 5419032"/>
              <a:gd name="connsiteY2346" fmla="*/ 4512454 h 5346128"/>
              <a:gd name="connsiteX2347" fmla="*/ 1219979 w 5419032"/>
              <a:gd name="connsiteY2347" fmla="*/ 4551941 h 5346128"/>
              <a:gd name="connsiteX2348" fmla="*/ 1211585 w 5419032"/>
              <a:gd name="connsiteY2348" fmla="*/ 4587565 h 5346128"/>
              <a:gd name="connsiteX2349" fmla="*/ 1169615 w 5419032"/>
              <a:gd name="connsiteY2349" fmla="*/ 4593851 h 5346128"/>
              <a:gd name="connsiteX2350" fmla="*/ 1133941 w 5419032"/>
              <a:gd name="connsiteY2350" fmla="*/ 4562419 h 5346128"/>
              <a:gd name="connsiteX2351" fmla="*/ 1118051 w 5419032"/>
              <a:gd name="connsiteY2351" fmla="*/ 4531182 h 5346128"/>
              <a:gd name="connsiteX2352" fmla="*/ 1122534 w 5419032"/>
              <a:gd name="connsiteY2352" fmla="*/ 4524068 h 5346128"/>
              <a:gd name="connsiteX2353" fmla="*/ 1118854 w 5419032"/>
              <a:gd name="connsiteY2353" fmla="*/ 4516463 h 5346128"/>
              <a:gd name="connsiteX2354" fmla="*/ 1101348 w 5419032"/>
              <a:gd name="connsiteY2354" fmla="*/ 4505358 h 5346128"/>
              <a:gd name="connsiteX2355" fmla="*/ 1070987 w 5419032"/>
              <a:gd name="connsiteY2355" fmla="*/ 4474409 h 5346128"/>
              <a:gd name="connsiteX2356" fmla="*/ 1060494 w 5419032"/>
              <a:gd name="connsiteY2356" fmla="*/ 4398972 h 5346128"/>
              <a:gd name="connsiteX2357" fmla="*/ 1008033 w 5419032"/>
              <a:gd name="connsiteY2357" fmla="*/ 4348680 h 5346128"/>
              <a:gd name="connsiteX2358" fmla="*/ 995442 w 5419032"/>
              <a:gd name="connsiteY2358" fmla="*/ 4310962 h 5346128"/>
              <a:gd name="connsiteX2359" fmla="*/ 961866 w 5419032"/>
              <a:gd name="connsiteY2359" fmla="*/ 4348680 h 5346128"/>
              <a:gd name="connsiteX2360" fmla="*/ 930389 w 5419032"/>
              <a:gd name="connsiteY2360" fmla="*/ 4319343 h 5346128"/>
              <a:gd name="connsiteX2361" fmla="*/ 911503 w 5419032"/>
              <a:gd name="connsiteY2361" fmla="*/ 4294198 h 5346128"/>
              <a:gd name="connsiteX2362" fmla="*/ 903108 w 5419032"/>
              <a:gd name="connsiteY2362" fmla="*/ 4258575 h 5346128"/>
              <a:gd name="connsiteX2363" fmla="*/ 921733 w 5419032"/>
              <a:gd name="connsiteY2363" fmla="*/ 4228975 h 5346128"/>
              <a:gd name="connsiteX2364" fmla="*/ 931514 w 5419032"/>
              <a:gd name="connsiteY2364" fmla="*/ 4220068 h 5346128"/>
              <a:gd name="connsiteX2365" fmla="*/ 951374 w 5419032"/>
              <a:gd name="connsiteY2365" fmla="*/ 4222952 h 5346128"/>
              <a:gd name="connsiteX2366" fmla="*/ 932914 w 5419032"/>
              <a:gd name="connsiteY2366" fmla="*/ 4218793 h 5346128"/>
              <a:gd name="connsiteX2367" fmla="*/ 931514 w 5419032"/>
              <a:gd name="connsiteY2367" fmla="*/ 4220068 h 5346128"/>
              <a:gd name="connsiteX2368" fmla="*/ 929045 w 5419032"/>
              <a:gd name="connsiteY2368" fmla="*/ 4219710 h 5346128"/>
              <a:gd name="connsiteX2369" fmla="*/ 863237 w 5419032"/>
              <a:gd name="connsiteY2369" fmla="*/ 4241810 h 5346128"/>
              <a:gd name="connsiteX2370" fmla="*/ 739428 w 5419032"/>
              <a:gd name="connsiteY2370" fmla="*/ 4227142 h 5346128"/>
              <a:gd name="connsiteX2371" fmla="*/ 676473 w 5419032"/>
              <a:gd name="connsiteY2371" fmla="*/ 4206188 h 5346128"/>
              <a:gd name="connsiteX2372" fmla="*/ 649193 w 5419032"/>
              <a:gd name="connsiteY2372" fmla="*/ 4178946 h 5346128"/>
              <a:gd name="connsiteX2373" fmla="*/ 634503 w 5419032"/>
              <a:gd name="connsiteY2373" fmla="*/ 4132846 h 5346128"/>
              <a:gd name="connsiteX2374" fmla="*/ 567353 w 5419032"/>
              <a:gd name="connsiteY2374" fmla="*/ 4103508 h 5346128"/>
              <a:gd name="connsiteX2375" fmla="*/ 525382 w 5419032"/>
              <a:gd name="connsiteY2375" fmla="*/ 4093031 h 5346128"/>
              <a:gd name="connsiteX2376" fmla="*/ 529580 w 5419032"/>
              <a:gd name="connsiteY2376" fmla="*/ 4057408 h 5346128"/>
              <a:gd name="connsiteX2377" fmla="*/ 533777 w 5419032"/>
              <a:gd name="connsiteY2377" fmla="*/ 4038549 h 5346128"/>
              <a:gd name="connsiteX2378" fmla="*/ 464527 w 5419032"/>
              <a:gd name="connsiteY2378" fmla="*/ 3977779 h 5346128"/>
              <a:gd name="connsiteX2379" fmla="*/ 445641 w 5419032"/>
              <a:gd name="connsiteY2379" fmla="*/ 3961017 h 5346128"/>
              <a:gd name="connsiteX2380" fmla="*/ 401572 w 5419032"/>
              <a:gd name="connsiteY2380" fmla="*/ 3885579 h 5346128"/>
              <a:gd name="connsiteX2381" fmla="*/ 391080 w 5419032"/>
              <a:gd name="connsiteY2381" fmla="*/ 3879291 h 5346128"/>
              <a:gd name="connsiteX2382" fmla="*/ 388982 w 5419032"/>
              <a:gd name="connsiteY2382" fmla="*/ 3906533 h 5346128"/>
              <a:gd name="connsiteX2383" fmla="*/ 357504 w 5419032"/>
              <a:gd name="connsiteY2383" fmla="*/ 3891865 h 5346128"/>
              <a:gd name="connsiteX2384" fmla="*/ 328125 w 5419032"/>
              <a:gd name="connsiteY2384" fmla="*/ 3801759 h 5346128"/>
              <a:gd name="connsiteX2385" fmla="*/ 315534 w 5419032"/>
              <a:gd name="connsiteY2385" fmla="*/ 3764041 h 5346128"/>
              <a:gd name="connsiteX2386" fmla="*/ 326028 w 5419032"/>
              <a:gd name="connsiteY2386" fmla="*/ 3795473 h 5346128"/>
              <a:gd name="connsiteX2387" fmla="*/ 313436 w 5419032"/>
              <a:gd name="connsiteY2387" fmla="*/ 3822714 h 5346128"/>
              <a:gd name="connsiteX2388" fmla="*/ 292452 w 5419032"/>
              <a:gd name="connsiteY2388" fmla="*/ 3810141 h 5346128"/>
              <a:gd name="connsiteX2389" fmla="*/ 248384 w 5419032"/>
              <a:gd name="connsiteY2389" fmla="*/ 3753563 h 5346128"/>
              <a:gd name="connsiteX2390" fmla="*/ 239989 w 5419032"/>
              <a:gd name="connsiteY2390" fmla="*/ 3732608 h 5346128"/>
              <a:gd name="connsiteX2391" fmla="*/ 162346 w 5419032"/>
              <a:gd name="connsiteY2391" fmla="*/ 3615262 h 5346128"/>
              <a:gd name="connsiteX2392" fmla="*/ 153952 w 5419032"/>
              <a:gd name="connsiteY2392" fmla="*/ 3592211 h 5346128"/>
              <a:gd name="connsiteX2393" fmla="*/ 177036 w 5419032"/>
              <a:gd name="connsiteY2393" fmla="*/ 3569161 h 5346128"/>
              <a:gd name="connsiteX2394" fmla="*/ 214808 w 5419032"/>
              <a:gd name="connsiteY2394" fmla="*/ 3583830 h 5346128"/>
              <a:gd name="connsiteX2395" fmla="*/ 239989 w 5419032"/>
              <a:gd name="connsiteY2395" fmla="*/ 3598497 h 5346128"/>
              <a:gd name="connsiteX2396" fmla="*/ 311338 w 5419032"/>
              <a:gd name="connsiteY2396" fmla="*/ 3617357 h 5346128"/>
              <a:gd name="connsiteX2397" fmla="*/ 433049 w 5419032"/>
              <a:gd name="connsiteY2397" fmla="*/ 3717940 h 5346128"/>
              <a:gd name="connsiteX2398" fmla="*/ 434734 w 5419032"/>
              <a:gd name="connsiteY2398" fmla="*/ 3718781 h 5346128"/>
              <a:gd name="connsiteX2399" fmla="*/ 435148 w 5419032"/>
              <a:gd name="connsiteY2399" fmla="*/ 3720035 h 5346128"/>
              <a:gd name="connsiteX2400" fmla="*/ 438639 w 5419032"/>
              <a:gd name="connsiteY2400" fmla="*/ 3721639 h 5346128"/>
              <a:gd name="connsiteX2401" fmla="*/ 433976 w 5419032"/>
              <a:gd name="connsiteY2401" fmla="*/ 3723236 h 5346128"/>
              <a:gd name="connsiteX2402" fmla="*/ 432393 w 5419032"/>
              <a:gd name="connsiteY2402" fmla="*/ 3722458 h 5346128"/>
              <a:gd name="connsiteX2403" fmla="*/ 430279 w 5419032"/>
              <a:gd name="connsiteY2403" fmla="*/ 3724503 h 5346128"/>
              <a:gd name="connsiteX2404" fmla="*/ 433976 w 5419032"/>
              <a:gd name="connsiteY2404" fmla="*/ 3723236 h 5346128"/>
              <a:gd name="connsiteX2405" fmla="*/ 448254 w 5419032"/>
              <a:gd name="connsiteY2405" fmla="*/ 3730255 h 5346128"/>
              <a:gd name="connsiteX2406" fmla="*/ 495834 w 5419032"/>
              <a:gd name="connsiteY2406" fmla="*/ 3724503 h 5346128"/>
              <a:gd name="connsiteX2407" fmla="*/ 463849 w 5419032"/>
              <a:gd name="connsiteY2407" fmla="*/ 3712998 h 5346128"/>
              <a:gd name="connsiteX2408" fmla="*/ 439716 w 5419032"/>
              <a:gd name="connsiteY2408" fmla="*/ 3721268 h 5346128"/>
              <a:gd name="connsiteX2409" fmla="*/ 434734 w 5419032"/>
              <a:gd name="connsiteY2409" fmla="*/ 3718781 h 5346128"/>
              <a:gd name="connsiteX2410" fmla="*/ 428360 w 5419032"/>
              <a:gd name="connsiteY2410" fmla="*/ 3699473 h 5346128"/>
              <a:gd name="connsiteX2411" fmla="*/ 454035 w 5419032"/>
              <a:gd name="connsiteY2411" fmla="*/ 3648790 h 5346128"/>
              <a:gd name="connsiteX2412" fmla="*/ 405770 w 5419032"/>
              <a:gd name="connsiteY2412" fmla="*/ 3613166 h 5346128"/>
              <a:gd name="connsiteX2413" fmla="*/ 406585 w 5419032"/>
              <a:gd name="connsiteY2413" fmla="*/ 3610993 h 5346128"/>
              <a:gd name="connsiteX2414" fmla="*/ 407990 w 5419032"/>
              <a:gd name="connsiteY2414" fmla="*/ 3611076 h 5346128"/>
              <a:gd name="connsiteX2415" fmla="*/ 418478 w 5419032"/>
              <a:gd name="connsiteY2415" fmla="*/ 3600664 h 5346128"/>
              <a:gd name="connsiteX2416" fmla="*/ 414410 w 5419032"/>
              <a:gd name="connsiteY2416" fmla="*/ 3592843 h 5346128"/>
              <a:gd name="connsiteX2417" fmla="*/ 415409 w 5419032"/>
              <a:gd name="connsiteY2417" fmla="*/ 3591328 h 5346128"/>
              <a:gd name="connsiteX2418" fmla="*/ 418361 w 5419032"/>
              <a:gd name="connsiteY2418" fmla="*/ 3573352 h 5346128"/>
              <a:gd name="connsiteX2419" fmla="*/ 305042 w 5419032"/>
              <a:gd name="connsiteY2419" fmla="*/ 3472768 h 5346128"/>
              <a:gd name="connsiteX2420" fmla="*/ 281960 w 5419032"/>
              <a:gd name="connsiteY2420" fmla="*/ 3441337 h 5346128"/>
              <a:gd name="connsiteX2421" fmla="*/ 267269 w 5419032"/>
              <a:gd name="connsiteY2421" fmla="*/ 3422477 h 5346128"/>
              <a:gd name="connsiteX2422" fmla="*/ 244186 w 5419032"/>
              <a:gd name="connsiteY2422" fmla="*/ 3393140 h 5346128"/>
              <a:gd name="connsiteX2423" fmla="*/ 284057 w 5419032"/>
              <a:gd name="connsiteY2423" fmla="*/ 3376376 h 5346128"/>
              <a:gd name="connsiteX2424" fmla="*/ 456134 w 5419032"/>
              <a:gd name="connsiteY2424" fmla="*/ 3487437 h 5346128"/>
              <a:gd name="connsiteX2425" fmla="*/ 590435 w 5419032"/>
              <a:gd name="connsiteY2425" fmla="*/ 3583830 h 5346128"/>
              <a:gd name="connsiteX2426" fmla="*/ 693261 w 5419032"/>
              <a:gd name="connsiteY2426" fmla="*/ 3583830 h 5346128"/>
              <a:gd name="connsiteX2427" fmla="*/ 575746 w 5419032"/>
              <a:gd name="connsiteY2427" fmla="*/ 3535632 h 5346128"/>
              <a:gd name="connsiteX2428" fmla="*/ 569450 w 5419032"/>
              <a:gd name="connsiteY2428" fmla="*/ 3393140 h 5346128"/>
              <a:gd name="connsiteX2429" fmla="*/ 508595 w 5419032"/>
              <a:gd name="connsiteY2429" fmla="*/ 3342849 h 5346128"/>
              <a:gd name="connsiteX2430" fmla="*/ 470822 w 5419032"/>
              <a:gd name="connsiteY2430" fmla="*/ 3282079 h 5346128"/>
              <a:gd name="connsiteX2431" fmla="*/ 449839 w 5419032"/>
              <a:gd name="connsiteY2431" fmla="*/ 3242265 h 5346128"/>
              <a:gd name="connsiteX2432" fmla="*/ 349110 w 5419032"/>
              <a:gd name="connsiteY2432" fmla="*/ 3076723 h 5346128"/>
              <a:gd name="connsiteX2433" fmla="*/ 284057 w 5419032"/>
              <a:gd name="connsiteY2433" fmla="*/ 2936325 h 5346128"/>
              <a:gd name="connsiteX2434" fmla="*/ 284057 w 5419032"/>
              <a:gd name="connsiteY2434" fmla="*/ 2735159 h 5346128"/>
              <a:gd name="connsiteX2435" fmla="*/ 252581 w 5419032"/>
              <a:gd name="connsiteY2435" fmla="*/ 2661822 h 5346128"/>
              <a:gd name="connsiteX2436" fmla="*/ 143461 w 5419032"/>
              <a:gd name="connsiteY2436" fmla="*/ 2582192 h 5346128"/>
              <a:gd name="connsiteX2437" fmla="*/ 99393 w 5419032"/>
              <a:gd name="connsiteY2437" fmla="*/ 2460665 h 5346128"/>
              <a:gd name="connsiteX2438" fmla="*/ 168642 w 5419032"/>
              <a:gd name="connsiteY2438" fmla="*/ 2297234 h 5346128"/>
              <a:gd name="connsiteX2439" fmla="*/ 158150 w 5419032"/>
              <a:gd name="connsiteY2439" fmla="*/ 2257423 h 5346128"/>
              <a:gd name="connsiteX2440" fmla="*/ 126672 w 5419032"/>
              <a:gd name="connsiteY2440" fmla="*/ 2240659 h 5346128"/>
              <a:gd name="connsiteX2441" fmla="*/ 137165 w 5419032"/>
              <a:gd name="connsiteY2441" fmla="*/ 2205041 h 5346128"/>
              <a:gd name="connsiteX2442" fmla="*/ 162346 w 5419032"/>
              <a:gd name="connsiteY2442" fmla="*/ 2196659 h 5346128"/>
              <a:gd name="connsiteX2443" fmla="*/ 172838 w 5419032"/>
              <a:gd name="connsiteY2443" fmla="*/ 2177801 h 5346128"/>
              <a:gd name="connsiteX2444" fmla="*/ 153952 w 5419032"/>
              <a:gd name="connsiteY2444" fmla="*/ 2167327 h 5346128"/>
              <a:gd name="connsiteX2445" fmla="*/ 126672 w 5419032"/>
              <a:gd name="connsiteY2445" fmla="*/ 2171516 h 5346128"/>
              <a:gd name="connsiteX2446" fmla="*/ 72112 w 5419032"/>
              <a:gd name="connsiteY2446" fmla="*/ 2135896 h 5346128"/>
              <a:gd name="connsiteX2447" fmla="*/ 17551 w 5419032"/>
              <a:gd name="connsiteY2447" fmla="*/ 2016440 h 5346128"/>
              <a:gd name="connsiteX2448" fmla="*/ 30141 w 5419032"/>
              <a:gd name="connsiteY2448" fmla="*/ 1800601 h 5346128"/>
              <a:gd name="connsiteX2449" fmla="*/ 107786 w 5419032"/>
              <a:gd name="connsiteY2449" fmla="*/ 1771258 h 5346128"/>
              <a:gd name="connsiteX2450" fmla="*/ 225300 w 5419032"/>
              <a:gd name="connsiteY2450" fmla="*/ 1838329 h 5346128"/>
              <a:gd name="connsiteX2451" fmla="*/ 309239 w 5419032"/>
              <a:gd name="connsiteY2451" fmla="*/ 1888630 h 5346128"/>
              <a:gd name="connsiteX2452" fmla="*/ 374292 w 5419032"/>
              <a:gd name="connsiteY2452" fmla="*/ 1928454 h 5346128"/>
              <a:gd name="connsiteX2453" fmla="*/ 378490 w 5419032"/>
              <a:gd name="connsiteY2453" fmla="*/ 1888630 h 5346128"/>
              <a:gd name="connsiteX2454" fmla="*/ 405770 w 5419032"/>
              <a:gd name="connsiteY2454" fmla="*/ 1867673 h 5346128"/>
              <a:gd name="connsiteX2455" fmla="*/ 420460 w 5419032"/>
              <a:gd name="connsiteY2455" fmla="*/ 1892825 h 5346128"/>
              <a:gd name="connsiteX2456" fmla="*/ 439345 w 5419032"/>
              <a:gd name="connsiteY2456" fmla="*/ 1953591 h 5346128"/>
              <a:gd name="connsiteX2457" fmla="*/ 442469 w 5419032"/>
              <a:gd name="connsiteY2457" fmla="*/ 1960870 h 5346128"/>
              <a:gd name="connsiteX2458" fmla="*/ 434970 w 5419032"/>
              <a:gd name="connsiteY2458" fmla="*/ 1959579 h 5346128"/>
              <a:gd name="connsiteX2459" fmla="*/ 470163 w 5419032"/>
              <a:gd name="connsiteY2459" fmla="*/ 2000215 h 5346128"/>
              <a:gd name="connsiteX2460" fmla="*/ 453603 w 5419032"/>
              <a:gd name="connsiteY2460" fmla="*/ 1968136 h 5346128"/>
              <a:gd name="connsiteX2461" fmla="*/ 449940 w 5419032"/>
              <a:gd name="connsiteY2461" fmla="*/ 1964980 h 5346128"/>
              <a:gd name="connsiteX2462" fmla="*/ 449839 w 5419032"/>
              <a:gd name="connsiteY2462" fmla="*/ 1964069 h 5346128"/>
              <a:gd name="connsiteX2463" fmla="*/ 468724 w 5419032"/>
              <a:gd name="connsiteY2463" fmla="*/ 1938931 h 5346128"/>
              <a:gd name="connsiteX2464" fmla="*/ 514890 w 5419032"/>
              <a:gd name="connsiteY2464" fmla="*/ 1924264 h 5346128"/>
              <a:gd name="connsiteX2465" fmla="*/ 506495 w 5419032"/>
              <a:gd name="connsiteY2465" fmla="*/ 1964069 h 5346128"/>
              <a:gd name="connsiteX2466" fmla="*/ 512791 w 5419032"/>
              <a:gd name="connsiteY2466" fmla="*/ 2003870 h 5346128"/>
              <a:gd name="connsiteX2467" fmla="*/ 554761 w 5419032"/>
              <a:gd name="connsiteY2467" fmla="*/ 2049976 h 5346128"/>
              <a:gd name="connsiteX2468" fmla="*/ 579944 w 5419032"/>
              <a:gd name="connsiteY2468" fmla="*/ 2056265 h 5346128"/>
              <a:gd name="connsiteX2469" fmla="*/ 590698 w 5419032"/>
              <a:gd name="connsiteY2469" fmla="*/ 2048927 h 5346128"/>
              <a:gd name="connsiteX2470" fmla="*/ 595809 w 5419032"/>
              <a:gd name="connsiteY2470" fmla="*/ 2045883 h 5346128"/>
              <a:gd name="connsiteX2471" fmla="*/ 602920 w 5419032"/>
              <a:gd name="connsiteY2471" fmla="*/ 2051882 h 5346128"/>
              <a:gd name="connsiteX2472" fmla="*/ 602920 w 5419032"/>
              <a:gd name="connsiteY2472" fmla="*/ 2053957 h 5346128"/>
              <a:gd name="connsiteX2473" fmla="*/ 609284 w 5419032"/>
              <a:gd name="connsiteY2473" fmla="*/ 2040723 h 5346128"/>
              <a:gd name="connsiteX2474" fmla="*/ 610474 w 5419032"/>
              <a:gd name="connsiteY2474" fmla="*/ 2038614 h 5346128"/>
              <a:gd name="connsiteX2475" fmla="*/ 613519 w 5419032"/>
              <a:gd name="connsiteY2475" fmla="*/ 2037400 h 5346128"/>
              <a:gd name="connsiteX2476" fmla="*/ 663882 w 5419032"/>
              <a:gd name="connsiteY2476" fmla="*/ 1863481 h 5346128"/>
              <a:gd name="connsiteX2477" fmla="*/ 651292 w 5419032"/>
              <a:gd name="connsiteY2477" fmla="*/ 1911688 h 5346128"/>
              <a:gd name="connsiteX2478" fmla="*/ 636602 w 5419032"/>
              <a:gd name="connsiteY2478" fmla="*/ 1932643 h 5346128"/>
              <a:gd name="connsiteX2479" fmla="*/ 617716 w 5419032"/>
              <a:gd name="connsiteY2479" fmla="*/ 1922168 h 5346128"/>
              <a:gd name="connsiteX2480" fmla="*/ 615617 w 5419032"/>
              <a:gd name="connsiteY2480" fmla="*/ 1844616 h 5346128"/>
              <a:gd name="connsiteX2481" fmla="*/ 628207 w 5419032"/>
              <a:gd name="connsiteY2481" fmla="*/ 1813177 h 5346128"/>
              <a:gd name="connsiteX2482" fmla="*/ 638701 w 5419032"/>
              <a:gd name="connsiteY2482" fmla="*/ 1796408 h 5346128"/>
              <a:gd name="connsiteX2483" fmla="*/ 680670 w 5419032"/>
              <a:gd name="connsiteY2483" fmla="*/ 1752394 h 5346128"/>
              <a:gd name="connsiteX2484" fmla="*/ 703753 w 5419032"/>
              <a:gd name="connsiteY2484" fmla="*/ 1720955 h 5346128"/>
              <a:gd name="connsiteX2485" fmla="*/ 718443 w 5419032"/>
              <a:gd name="connsiteY2485" fmla="*/ 1612000 h 5346128"/>
              <a:gd name="connsiteX2486" fmla="*/ 712148 w 5419032"/>
              <a:gd name="connsiteY2486" fmla="*/ 1601529 h 5346128"/>
              <a:gd name="connsiteX2487" fmla="*/ 783495 w 5419032"/>
              <a:gd name="connsiteY2487" fmla="*/ 1542855 h 5346128"/>
              <a:gd name="connsiteX2488" fmla="*/ 829661 w 5419032"/>
              <a:gd name="connsiteY2488" fmla="*/ 1526093 h 5346128"/>
              <a:gd name="connsiteX2489" fmla="*/ 814973 w 5419032"/>
              <a:gd name="connsiteY2489" fmla="*/ 1477895 h 5346128"/>
              <a:gd name="connsiteX2490" fmla="*/ 716344 w 5419032"/>
              <a:gd name="connsiteY2490" fmla="*/ 1316543 h 5346128"/>
              <a:gd name="connsiteX2491" fmla="*/ 657587 w 5419032"/>
              <a:gd name="connsiteY2491" fmla="*/ 1209675 h 5346128"/>
              <a:gd name="connsiteX2492" fmla="*/ 624672 w 5419032"/>
              <a:gd name="connsiteY2492" fmla="*/ 1154470 h 5346128"/>
              <a:gd name="connsiteX2493" fmla="*/ 625633 w 5419032"/>
              <a:gd name="connsiteY2493" fmla="*/ 1152784 h 5346128"/>
              <a:gd name="connsiteX2494" fmla="*/ 615435 w 5419032"/>
              <a:gd name="connsiteY2494" fmla="*/ 1138252 h 5346128"/>
              <a:gd name="connsiteX2495" fmla="*/ 614786 w 5419032"/>
              <a:gd name="connsiteY2495" fmla="*/ 1138692 h 5346128"/>
              <a:gd name="connsiteX2496" fmla="*/ 606240 w 5419032"/>
              <a:gd name="connsiteY2496" fmla="*/ 1125104 h 5346128"/>
              <a:gd name="connsiteX2497" fmla="*/ 584139 w 5419032"/>
              <a:gd name="connsiteY2497" fmla="*/ 1098616 h 5346128"/>
              <a:gd name="connsiteX2498" fmla="*/ 531678 w 5419032"/>
              <a:gd name="connsiteY2498" fmla="*/ 1000131 h 5346128"/>
              <a:gd name="connsiteX2499" fmla="*/ 529580 w 5419032"/>
              <a:gd name="connsiteY2499" fmla="*/ 998036 h 5346128"/>
              <a:gd name="connsiteX2500" fmla="*/ 502299 w 5419032"/>
              <a:gd name="connsiteY2500" fmla="*/ 1002226 h 5346128"/>
              <a:gd name="connsiteX2501" fmla="*/ 487610 w 5419032"/>
              <a:gd name="connsiteY2501" fmla="*/ 970795 h 5346128"/>
              <a:gd name="connsiteX2502" fmla="*/ 468724 w 5419032"/>
              <a:gd name="connsiteY2502" fmla="*/ 866021 h 5346128"/>
              <a:gd name="connsiteX2503" fmla="*/ 468724 w 5419032"/>
              <a:gd name="connsiteY2503" fmla="*/ 811537 h 5346128"/>
              <a:gd name="connsiteX2504" fmla="*/ 529580 w 5419032"/>
              <a:gd name="connsiteY2504" fmla="*/ 834587 h 5346128"/>
              <a:gd name="connsiteX2505" fmla="*/ 607224 w 5419032"/>
              <a:gd name="connsiteY2505" fmla="*/ 945648 h 5346128"/>
              <a:gd name="connsiteX2506" fmla="*/ 613519 w 5419032"/>
              <a:gd name="connsiteY2506" fmla="*/ 951936 h 5346128"/>
              <a:gd name="connsiteX2507" fmla="*/ 737330 w 5419032"/>
              <a:gd name="connsiteY2507" fmla="*/ 1018990 h 5346128"/>
              <a:gd name="connsiteX2508" fmla="*/ 760412 w 5419032"/>
              <a:gd name="connsiteY2508" fmla="*/ 1029467 h 5346128"/>
              <a:gd name="connsiteX2509" fmla="*/ 821267 w 5419032"/>
              <a:gd name="connsiteY2509" fmla="*/ 1104904 h 5346128"/>
              <a:gd name="connsiteX2510" fmla="*/ 831760 w 5419032"/>
              <a:gd name="connsiteY2510" fmla="*/ 1113285 h 5346128"/>
              <a:gd name="connsiteX2511" fmla="*/ 882812 w 5419032"/>
              <a:gd name="connsiteY2511" fmla="*/ 1145699 h 5346128"/>
              <a:gd name="connsiteX2512" fmla="*/ 890003 w 5419032"/>
              <a:gd name="connsiteY2512" fmla="*/ 1160424 h 5346128"/>
              <a:gd name="connsiteX2513" fmla="*/ 887853 w 5419032"/>
              <a:gd name="connsiteY2513" fmla="*/ 1163793 h 5346128"/>
              <a:gd name="connsiteX2514" fmla="*/ 887853 w 5419032"/>
              <a:gd name="connsiteY2514" fmla="*/ 1174488 h 5346128"/>
              <a:gd name="connsiteX2515" fmla="*/ 890020 w 5419032"/>
              <a:gd name="connsiteY2515" fmla="*/ 1176325 h 5346128"/>
              <a:gd name="connsiteX2516" fmla="*/ 886878 w 5419032"/>
              <a:gd name="connsiteY2516" fmla="*/ 1190652 h 5346128"/>
              <a:gd name="connsiteX2517" fmla="*/ 921995 w 5419032"/>
              <a:gd name="connsiteY2517" fmla="*/ 1218057 h 5346128"/>
              <a:gd name="connsiteX2518" fmla="*/ 938783 w 5419032"/>
              <a:gd name="connsiteY2518" fmla="*/ 1121666 h 5346128"/>
              <a:gd name="connsiteX2519" fmla="*/ 947642 w 5419032"/>
              <a:gd name="connsiteY2519" fmla="*/ 1109399 h 5346128"/>
              <a:gd name="connsiteX2520" fmla="*/ 959472 w 5419032"/>
              <a:gd name="connsiteY2520" fmla="*/ 1101138 h 5346128"/>
              <a:gd name="connsiteX2521" fmla="*/ 964129 w 5419032"/>
              <a:gd name="connsiteY2521" fmla="*/ 1102087 h 5346128"/>
              <a:gd name="connsiteX2522" fmla="*/ 971171 w 5419032"/>
              <a:gd name="connsiteY2522" fmla="*/ 1106883 h 5346128"/>
              <a:gd name="connsiteX2523" fmla="*/ 971516 w 5419032"/>
              <a:gd name="connsiteY2523" fmla="*/ 1107475 h 5346128"/>
              <a:gd name="connsiteX2524" fmla="*/ 975367 w 5419032"/>
              <a:gd name="connsiteY2524" fmla="*/ 1115140 h 5346128"/>
              <a:gd name="connsiteX2525" fmla="*/ 978615 w 5419032"/>
              <a:gd name="connsiteY2525" fmla="*/ 1127805 h 5346128"/>
              <a:gd name="connsiteX2526" fmla="*/ 978584 w 5419032"/>
              <a:gd name="connsiteY2526" fmla="*/ 1127835 h 5346128"/>
              <a:gd name="connsiteX2527" fmla="*/ 978583 w 5419032"/>
              <a:gd name="connsiteY2527" fmla="*/ 1127774 h 5346128"/>
              <a:gd name="connsiteX2528" fmla="*/ 953409 w 5419032"/>
              <a:gd name="connsiteY2528" fmla="*/ 1140230 h 5346128"/>
              <a:gd name="connsiteX2529" fmla="*/ 970191 w 5419032"/>
              <a:gd name="connsiteY2529" fmla="*/ 1150609 h 5346128"/>
              <a:gd name="connsiteX2530" fmla="*/ 979106 w 5419032"/>
              <a:gd name="connsiteY2530" fmla="*/ 1141526 h 5346128"/>
              <a:gd name="connsiteX2531" fmla="*/ 978592 w 5419032"/>
              <a:gd name="connsiteY2531" fmla="*/ 1128031 h 5346128"/>
              <a:gd name="connsiteX2532" fmla="*/ 978654 w 5419032"/>
              <a:gd name="connsiteY2532" fmla="*/ 1127954 h 5346128"/>
              <a:gd name="connsiteX2533" fmla="*/ 978615 w 5419032"/>
              <a:gd name="connsiteY2533" fmla="*/ 1127805 h 5346128"/>
              <a:gd name="connsiteX2534" fmla="*/ 980752 w 5419032"/>
              <a:gd name="connsiteY2534" fmla="*/ 1125858 h 5346128"/>
              <a:gd name="connsiteX2535" fmla="*/ 975367 w 5419032"/>
              <a:gd name="connsiteY2535" fmla="*/ 1115140 h 5346128"/>
              <a:gd name="connsiteX2536" fmla="*/ 974883 w 5419032"/>
              <a:gd name="connsiteY2536" fmla="*/ 1113253 h 5346128"/>
              <a:gd name="connsiteX2537" fmla="*/ 971516 w 5419032"/>
              <a:gd name="connsiteY2537" fmla="*/ 1107475 h 5346128"/>
              <a:gd name="connsiteX2538" fmla="*/ 971244 w 5419032"/>
              <a:gd name="connsiteY2538" fmla="*/ 1106933 h 5346128"/>
              <a:gd name="connsiteX2539" fmla="*/ 971171 w 5419032"/>
              <a:gd name="connsiteY2539" fmla="*/ 1106883 h 5346128"/>
              <a:gd name="connsiteX2540" fmla="*/ 968947 w 5419032"/>
              <a:gd name="connsiteY2540" fmla="*/ 1103070 h 5346128"/>
              <a:gd name="connsiteX2541" fmla="*/ 964129 w 5419032"/>
              <a:gd name="connsiteY2541" fmla="*/ 1102087 h 5346128"/>
              <a:gd name="connsiteX2542" fmla="*/ 961341 w 5419032"/>
              <a:gd name="connsiteY2542" fmla="*/ 1100189 h 5346128"/>
              <a:gd name="connsiteX2543" fmla="*/ 950652 w 5419032"/>
              <a:gd name="connsiteY2543" fmla="*/ 1105230 h 5346128"/>
              <a:gd name="connsiteX2544" fmla="*/ 947642 w 5419032"/>
              <a:gd name="connsiteY2544" fmla="*/ 1109399 h 5346128"/>
              <a:gd name="connsiteX2545" fmla="*/ 945078 w 5419032"/>
              <a:gd name="connsiteY2545" fmla="*/ 1111190 h 5346128"/>
              <a:gd name="connsiteX2546" fmla="*/ 909403 w 5419032"/>
              <a:gd name="connsiteY2546" fmla="*/ 1111190 h 5346128"/>
              <a:gd name="connsiteX2547" fmla="*/ 905207 w 5419032"/>
              <a:gd name="connsiteY2547" fmla="*/ 1075567 h 5346128"/>
              <a:gd name="connsiteX2548" fmla="*/ 938783 w 5419032"/>
              <a:gd name="connsiteY2548" fmla="*/ 1031562 h 5346128"/>
              <a:gd name="connsiteX2549" fmla="*/ 882124 w 5419032"/>
              <a:gd name="connsiteY2549" fmla="*/ 1027372 h 5346128"/>
              <a:gd name="connsiteX2550" fmla="*/ 876615 w 5419032"/>
              <a:gd name="connsiteY2550" fmla="*/ 1005631 h 5346128"/>
              <a:gd name="connsiteX2551" fmla="*/ 888177 w 5419032"/>
              <a:gd name="connsiteY2551" fmla="*/ 985878 h 5346128"/>
              <a:gd name="connsiteX2552" fmla="*/ 896614 w 5419032"/>
              <a:gd name="connsiteY2552" fmla="*/ 983712 h 5346128"/>
              <a:gd name="connsiteX2553" fmla="*/ 897032 w 5419032"/>
              <a:gd name="connsiteY2553" fmla="*/ 985699 h 5346128"/>
              <a:gd name="connsiteX2554" fmla="*/ 897032 w 5419032"/>
              <a:gd name="connsiteY2554" fmla="*/ 983605 h 5346128"/>
              <a:gd name="connsiteX2555" fmla="*/ 896614 w 5419032"/>
              <a:gd name="connsiteY2555" fmla="*/ 983712 h 5346128"/>
              <a:gd name="connsiteX2556" fmla="*/ 895819 w 5419032"/>
              <a:gd name="connsiteY2556" fmla="*/ 979922 h 5346128"/>
              <a:gd name="connsiteX2557" fmla="*/ 896813 w 5419032"/>
              <a:gd name="connsiteY2557" fmla="*/ 979177 h 5346128"/>
              <a:gd name="connsiteX2558" fmla="*/ 882124 w 5419032"/>
              <a:gd name="connsiteY2558" fmla="*/ 878593 h 5346128"/>
              <a:gd name="connsiteX2559" fmla="*/ 901010 w 5419032"/>
              <a:gd name="connsiteY2559" fmla="*/ 805249 h 5346128"/>
              <a:gd name="connsiteX2560" fmla="*/ 995442 w 5419032"/>
              <a:gd name="connsiteY2560" fmla="*/ 826204 h 5346128"/>
              <a:gd name="connsiteX2561" fmla="*/ 1056298 w 5419032"/>
              <a:gd name="connsiteY2561" fmla="*/ 901644 h 5346128"/>
              <a:gd name="connsiteX2562" fmla="*/ 1059328 w 5419032"/>
              <a:gd name="connsiteY2562" fmla="*/ 903661 h 5346128"/>
              <a:gd name="connsiteX2563" fmla="*/ 1058094 w 5419032"/>
              <a:gd name="connsiteY2563" fmla="*/ 904363 h 5346128"/>
              <a:gd name="connsiteX2564" fmla="*/ 1057784 w 5419032"/>
              <a:gd name="connsiteY2564" fmla="*/ 903621 h 5346128"/>
              <a:gd name="connsiteX2565" fmla="*/ 1055675 w 5419032"/>
              <a:gd name="connsiteY2565" fmla="*/ 905739 h 5346128"/>
              <a:gd name="connsiteX2566" fmla="*/ 1058094 w 5419032"/>
              <a:gd name="connsiteY2566" fmla="*/ 904363 h 5346128"/>
              <a:gd name="connsiteX2567" fmla="*/ 1065429 w 5419032"/>
              <a:gd name="connsiteY2567" fmla="*/ 921888 h 5346128"/>
              <a:gd name="connsiteX2568" fmla="*/ 1093640 w 5419032"/>
              <a:gd name="connsiteY2568" fmla="*/ 929037 h 5346128"/>
              <a:gd name="connsiteX2569" fmla="*/ 1070110 w 5419032"/>
              <a:gd name="connsiteY2569" fmla="*/ 897532 h 5346128"/>
              <a:gd name="connsiteX2570" fmla="*/ 1060022 w 5419032"/>
              <a:gd name="connsiteY2570" fmla="*/ 903267 h 5346128"/>
              <a:gd name="connsiteX2571" fmla="*/ 1059445 w 5419032"/>
              <a:gd name="connsiteY2571" fmla="*/ 902692 h 5346128"/>
              <a:gd name="connsiteX2572" fmla="*/ 1056298 w 5419032"/>
              <a:gd name="connsiteY2572" fmla="*/ 899549 h 5346128"/>
              <a:gd name="connsiteX2573" fmla="*/ 1024821 w 5419032"/>
              <a:gd name="connsiteY2573" fmla="*/ 842969 h 5346128"/>
              <a:gd name="connsiteX2574" fmla="*/ 1031116 w 5419032"/>
              <a:gd name="connsiteY2574" fmla="*/ 813632 h 5346128"/>
              <a:gd name="connsiteX2575" fmla="*/ 1075183 w 5419032"/>
              <a:gd name="connsiteY2575" fmla="*/ 782198 h 5346128"/>
              <a:gd name="connsiteX2576" fmla="*/ 1052101 w 5419032"/>
              <a:gd name="connsiteY2576" fmla="*/ 780102 h 5346128"/>
              <a:gd name="connsiteX2577" fmla="*/ 1010132 w 5419032"/>
              <a:gd name="connsiteY2577" fmla="*/ 733996 h 5346128"/>
              <a:gd name="connsiteX2578" fmla="*/ 1022722 w 5419032"/>
              <a:gd name="connsiteY2578" fmla="*/ 660654 h 5346128"/>
              <a:gd name="connsiteX2579" fmla="*/ 1028142 w 5419032"/>
              <a:gd name="connsiteY2579" fmla="*/ 659055 h 5346128"/>
              <a:gd name="connsiteX2580" fmla="*/ 1050862 w 5419032"/>
              <a:gd name="connsiteY2580" fmla="*/ 666637 h 5346128"/>
              <a:gd name="connsiteX2581" fmla="*/ 1138275 w 5419032"/>
              <a:gd name="connsiteY2581" fmla="*/ 639889 h 5346128"/>
              <a:gd name="connsiteX2582" fmla="*/ 1068739 w 5419032"/>
              <a:gd name="connsiteY2582" fmla="*/ 633687 h 5346128"/>
              <a:gd name="connsiteX2583" fmla="*/ 1020276 w 5419032"/>
              <a:gd name="connsiteY2583" fmla="*/ 656430 h 5346128"/>
              <a:gd name="connsiteX2584" fmla="*/ 1025148 w 5419032"/>
              <a:gd name="connsiteY2584" fmla="*/ 658056 h 5346128"/>
              <a:gd name="connsiteX2585" fmla="*/ 1020623 w 5419032"/>
              <a:gd name="connsiteY2585" fmla="*/ 660654 h 5346128"/>
              <a:gd name="connsiteX2586" fmla="*/ 993343 w 5419032"/>
              <a:gd name="connsiteY2586" fmla="*/ 616649 h 5346128"/>
              <a:gd name="connsiteX2587" fmla="*/ 1052101 w 5419032"/>
              <a:gd name="connsiteY2587" fmla="*/ 568453 h 5346128"/>
              <a:gd name="connsiteX2588" fmla="*/ 1010132 w 5419032"/>
              <a:gd name="connsiteY2588" fmla="*/ 549594 h 5346128"/>
              <a:gd name="connsiteX2589" fmla="*/ 1012230 w 5419032"/>
              <a:gd name="connsiteY2589" fmla="*/ 361002 h 5346128"/>
              <a:gd name="connsiteX2590" fmla="*/ 1077282 w 5419032"/>
              <a:gd name="connsiteY2590" fmla="*/ 312805 h 5346128"/>
              <a:gd name="connsiteX2591" fmla="*/ 1115055 w 5419032"/>
              <a:gd name="connsiteY2591" fmla="*/ 300233 h 5346128"/>
              <a:gd name="connsiteX2592" fmla="*/ 1169615 w 5419032"/>
              <a:gd name="connsiteY2592" fmla="*/ 323282 h 5346128"/>
              <a:gd name="connsiteX2593" fmla="*/ 1169615 w 5419032"/>
              <a:gd name="connsiteY2593" fmla="*/ 325378 h 5346128"/>
              <a:gd name="connsiteX2594" fmla="*/ 1219979 w 5419032"/>
              <a:gd name="connsiteY2594" fmla="*/ 342142 h 5346128"/>
              <a:gd name="connsiteX2595" fmla="*/ 1249358 w 5419032"/>
              <a:gd name="connsiteY2595" fmla="*/ 358906 h 5346128"/>
              <a:gd name="connsiteX2596" fmla="*/ 1278737 w 5419032"/>
              <a:gd name="connsiteY2596" fmla="*/ 321187 h 5346128"/>
              <a:gd name="connsiteX2597" fmla="*/ 1310214 w 5419032"/>
              <a:gd name="connsiteY2597" fmla="*/ 231083 h 5346128"/>
              <a:gd name="connsiteX2598" fmla="*/ 1368971 w 5419032"/>
              <a:gd name="connsiteY2598" fmla="*/ 149359 h 5346128"/>
              <a:gd name="connsiteX2599" fmla="*/ 1404644 w 5419032"/>
              <a:gd name="connsiteY2599" fmla="*/ 143072 h 5346128"/>
              <a:gd name="connsiteX2600" fmla="*/ 1461304 w 5419032"/>
              <a:gd name="connsiteY2600" fmla="*/ 168218 h 5346128"/>
              <a:gd name="connsiteX2601" fmla="*/ 1480190 w 5419032"/>
              <a:gd name="connsiteY2601" fmla="*/ 178695 h 5346128"/>
              <a:gd name="connsiteX2602" fmla="*/ 1635478 w 5419032"/>
              <a:gd name="connsiteY2602" fmla="*/ 289756 h 5346128"/>
              <a:gd name="connsiteX2603" fmla="*/ 1627083 w 5419032"/>
              <a:gd name="connsiteY2603" fmla="*/ 354716 h 5346128"/>
              <a:gd name="connsiteX2604" fmla="*/ 1612393 w 5419032"/>
              <a:gd name="connsiteY2604" fmla="*/ 358906 h 5346128"/>
              <a:gd name="connsiteX2605" fmla="*/ 1702628 w 5419032"/>
              <a:gd name="connsiteY2605" fmla="*/ 373574 h 5346128"/>
              <a:gd name="connsiteX2606" fmla="*/ 1719416 w 5419032"/>
              <a:gd name="connsiteY2606" fmla="*/ 392433 h 5346128"/>
              <a:gd name="connsiteX2607" fmla="*/ 1700530 w 5419032"/>
              <a:gd name="connsiteY2607" fmla="*/ 409197 h 5346128"/>
              <a:gd name="connsiteX2608" fmla="*/ 1627083 w 5419032"/>
              <a:gd name="connsiteY2608" fmla="*/ 413388 h 5346128"/>
              <a:gd name="connsiteX2609" fmla="*/ 1662758 w 5419032"/>
              <a:gd name="connsiteY2609" fmla="*/ 428057 h 5346128"/>
              <a:gd name="connsiteX2610" fmla="*/ 1719416 w 5419032"/>
              <a:gd name="connsiteY2610" fmla="*/ 449012 h 5346128"/>
              <a:gd name="connsiteX2611" fmla="*/ 1717019 w 5419032"/>
              <a:gd name="connsiteY2611" fmla="*/ 451576 h 5346128"/>
              <a:gd name="connsiteX2612" fmla="*/ 1693597 w 5419032"/>
              <a:gd name="connsiteY2612" fmla="*/ 451817 h 5346128"/>
              <a:gd name="connsiteX2613" fmla="*/ 1679782 w 5419032"/>
              <a:gd name="connsiteY2613" fmla="*/ 458162 h 5346128"/>
              <a:gd name="connsiteX2614" fmla="*/ 1679462 w 5419032"/>
              <a:gd name="connsiteY2614" fmla="*/ 457974 h 5346128"/>
              <a:gd name="connsiteX2615" fmla="*/ 1675827 w 5419032"/>
              <a:gd name="connsiteY2615" fmla="*/ 459978 h 5346128"/>
              <a:gd name="connsiteX2616" fmla="*/ 1679782 w 5419032"/>
              <a:gd name="connsiteY2616" fmla="*/ 458162 h 5346128"/>
              <a:gd name="connsiteX2617" fmla="*/ 1685196 w 5419032"/>
              <a:gd name="connsiteY2617" fmla="*/ 461326 h 5346128"/>
              <a:gd name="connsiteX2618" fmla="*/ 1685344 w 5419032"/>
              <a:gd name="connsiteY2618" fmla="*/ 461454 h 5346128"/>
              <a:gd name="connsiteX2619" fmla="*/ 1683742 w 5419032"/>
              <a:gd name="connsiteY2619" fmla="*/ 461584 h 5346128"/>
              <a:gd name="connsiteX2620" fmla="*/ 1685442 w 5419032"/>
              <a:gd name="connsiteY2620" fmla="*/ 461538 h 5346128"/>
              <a:gd name="connsiteX2621" fmla="*/ 1699779 w 5419032"/>
              <a:gd name="connsiteY2621" fmla="*/ 473927 h 5346128"/>
              <a:gd name="connsiteX2622" fmla="*/ 1719095 w 5419032"/>
              <a:gd name="connsiteY2622" fmla="*/ 451554 h 5346128"/>
              <a:gd name="connsiteX2623" fmla="*/ 1718678 w 5419032"/>
              <a:gd name="connsiteY2623" fmla="*/ 451559 h 5346128"/>
              <a:gd name="connsiteX2624" fmla="*/ 1719416 w 5419032"/>
              <a:gd name="connsiteY2624" fmla="*/ 451107 h 5346128"/>
              <a:gd name="connsiteX2625" fmla="*/ 1752992 w 5419032"/>
              <a:gd name="connsiteY2625" fmla="*/ 411292 h 5346128"/>
              <a:gd name="connsiteX2626" fmla="*/ 1778173 w 5419032"/>
              <a:gd name="connsiteY2626" fmla="*/ 379860 h 5346128"/>
              <a:gd name="connsiteX2627" fmla="*/ 1790765 w 5419032"/>
              <a:gd name="connsiteY2627" fmla="*/ 417579 h 5346128"/>
              <a:gd name="connsiteX2628" fmla="*/ 1799159 w 5419032"/>
              <a:gd name="connsiteY2628" fmla="*/ 342142 h 5346128"/>
              <a:gd name="connsiteX2629" fmla="*/ 1870507 w 5419032"/>
              <a:gd name="connsiteY2629" fmla="*/ 279278 h 5346128"/>
              <a:gd name="connsiteX2630" fmla="*/ 1910379 w 5419032"/>
              <a:gd name="connsiteY2630" fmla="*/ 316997 h 5346128"/>
              <a:gd name="connsiteX2631" fmla="*/ 1954447 w 5419032"/>
              <a:gd name="connsiteY2631" fmla="*/ 346333 h 5346128"/>
              <a:gd name="connsiteX2632" fmla="*/ 2004808 w 5419032"/>
              <a:gd name="connsiteY2632" fmla="*/ 361002 h 5346128"/>
              <a:gd name="connsiteX2633" fmla="*/ 2013203 w 5419032"/>
              <a:gd name="connsiteY2633" fmla="*/ 421771 h 5346128"/>
              <a:gd name="connsiteX2634" fmla="*/ 2013203 w 5419032"/>
              <a:gd name="connsiteY2634" fmla="*/ 484634 h 5346128"/>
              <a:gd name="connsiteX2635" fmla="*/ 2099241 w 5419032"/>
              <a:gd name="connsiteY2635" fmla="*/ 545403 h 5346128"/>
              <a:gd name="connsiteX2636" fmla="*/ 2128619 w 5419032"/>
              <a:gd name="connsiteY2636" fmla="*/ 583122 h 5346128"/>
              <a:gd name="connsiteX2637" fmla="*/ 2153800 w 5419032"/>
              <a:gd name="connsiteY2637" fmla="*/ 589407 h 5346128"/>
              <a:gd name="connsiteX2638" fmla="*/ 2157998 w 5419032"/>
              <a:gd name="connsiteY2638" fmla="*/ 566357 h 5346128"/>
              <a:gd name="connsiteX2639" fmla="*/ 2187377 w 5419032"/>
              <a:gd name="connsiteY2639" fmla="*/ 524448 h 5346128"/>
              <a:gd name="connsiteX2640" fmla="*/ 2223052 w 5419032"/>
              <a:gd name="connsiteY2640" fmla="*/ 532830 h 5346128"/>
              <a:gd name="connsiteX2641" fmla="*/ 2252430 w 5419032"/>
              <a:gd name="connsiteY2641" fmla="*/ 545403 h 5346128"/>
              <a:gd name="connsiteX2642" fmla="*/ 2250331 w 5419032"/>
              <a:gd name="connsiteY2642" fmla="*/ 534926 h 5346128"/>
              <a:gd name="connsiteX2643" fmla="*/ 2214657 w 5419032"/>
              <a:gd name="connsiteY2643" fmla="*/ 493016 h 5346128"/>
              <a:gd name="connsiteX2644" fmla="*/ 2267119 w 5419032"/>
              <a:gd name="connsiteY2644" fmla="*/ 417579 h 5346128"/>
              <a:gd name="connsiteX2645" fmla="*/ 2279709 w 5419032"/>
              <a:gd name="connsiteY2645" fmla="*/ 415484 h 5346128"/>
              <a:gd name="connsiteX2646" fmla="*/ 2292300 w 5419032"/>
              <a:gd name="connsiteY2646" fmla="*/ 413388 h 5346128"/>
              <a:gd name="connsiteX2647" fmla="*/ 2332171 w 5419032"/>
              <a:gd name="connsiteY2647" fmla="*/ 331665 h 5346128"/>
              <a:gd name="connsiteX2648" fmla="*/ 2455982 w 5419032"/>
              <a:gd name="connsiteY2648" fmla="*/ 327474 h 5346128"/>
              <a:gd name="connsiteX2649" fmla="*/ 2615465 w 5419032"/>
              <a:gd name="connsiteY2649" fmla="*/ 388242 h 5346128"/>
              <a:gd name="connsiteX2650" fmla="*/ 2655337 w 5419032"/>
              <a:gd name="connsiteY2650" fmla="*/ 396624 h 5346128"/>
              <a:gd name="connsiteX2651" fmla="*/ 2724587 w 5419032"/>
              <a:gd name="connsiteY2651" fmla="*/ 423866 h 5346128"/>
              <a:gd name="connsiteX2652" fmla="*/ 2827412 w 5419032"/>
              <a:gd name="connsiteY2652" fmla="*/ 488826 h 5346128"/>
              <a:gd name="connsiteX2653" fmla="*/ 2825312 w 5419032"/>
              <a:gd name="connsiteY2653" fmla="*/ 474157 h 5346128"/>
              <a:gd name="connsiteX2654" fmla="*/ 2835806 w 5419032"/>
              <a:gd name="connsiteY2654" fmla="*/ 434342 h 5346128"/>
              <a:gd name="connsiteX2655" fmla="*/ 2871480 w 5419032"/>
              <a:gd name="connsiteY2655" fmla="*/ 457393 h 5346128"/>
              <a:gd name="connsiteX2656" fmla="*/ 2955419 w 5419032"/>
              <a:gd name="connsiteY2656" fmla="*/ 511875 h 5346128"/>
              <a:gd name="connsiteX2657" fmla="*/ 2959616 w 5419032"/>
              <a:gd name="connsiteY2657" fmla="*/ 451107 h 5346128"/>
              <a:gd name="connsiteX2658" fmla="*/ 3012078 w 5419032"/>
              <a:gd name="connsiteY2658" fmla="*/ 264610 h 5346128"/>
              <a:gd name="connsiteX2659" fmla="*/ 3028867 w 5419032"/>
              <a:gd name="connsiteY2659" fmla="*/ 241560 h 5346128"/>
              <a:gd name="connsiteX2660" fmla="*/ 3137986 w 5419032"/>
              <a:gd name="connsiteY2660" fmla="*/ 224796 h 5346128"/>
              <a:gd name="connsiteX2661" fmla="*/ 3188350 w 5419032"/>
              <a:gd name="connsiteY2661" fmla="*/ 249941 h 5346128"/>
              <a:gd name="connsiteX2662" fmla="*/ 3217729 w 5419032"/>
              <a:gd name="connsiteY2662" fmla="*/ 283469 h 5346128"/>
              <a:gd name="connsiteX2663" fmla="*/ 3272289 w 5419032"/>
              <a:gd name="connsiteY2663" fmla="*/ 285565 h 5346128"/>
              <a:gd name="connsiteX2664" fmla="*/ 3321341 w 5419032"/>
              <a:gd name="connsiteY2664" fmla="*/ 328522 h 5346128"/>
              <a:gd name="connsiteX2665" fmla="*/ 3350451 w 5419032"/>
              <a:gd name="connsiteY2665" fmla="*/ 363331 h 5346128"/>
              <a:gd name="connsiteX2666" fmla="*/ 3350108 w 5419032"/>
              <a:gd name="connsiteY2666" fmla="*/ 363231 h 5346128"/>
              <a:gd name="connsiteX2667" fmla="*/ 3365881 w 5419032"/>
              <a:gd name="connsiteY2667" fmla="*/ 386989 h 5346128"/>
              <a:gd name="connsiteX2668" fmla="*/ 3364872 w 5419032"/>
              <a:gd name="connsiteY2668" fmla="*/ 386528 h 5346128"/>
              <a:gd name="connsiteX2669" fmla="*/ 3366981 w 5419032"/>
              <a:gd name="connsiteY2669" fmla="*/ 388646 h 5346128"/>
              <a:gd name="connsiteX2670" fmla="*/ 3365881 w 5419032"/>
              <a:gd name="connsiteY2670" fmla="*/ 386989 h 5346128"/>
              <a:gd name="connsiteX2671" fmla="*/ 3371838 w 5419032"/>
              <a:gd name="connsiteY2671" fmla="*/ 389709 h 5346128"/>
              <a:gd name="connsiteX2672" fmla="*/ 3379312 w 5419032"/>
              <a:gd name="connsiteY2672" fmla="*/ 401602 h 5346128"/>
              <a:gd name="connsiteX2673" fmla="*/ 3394001 w 5419032"/>
              <a:gd name="connsiteY2673" fmla="*/ 400815 h 5346128"/>
              <a:gd name="connsiteX2674" fmla="*/ 3427839 w 5419032"/>
              <a:gd name="connsiteY2674" fmla="*/ 391910 h 5346128"/>
              <a:gd name="connsiteX2675" fmla="*/ 3438278 w 5419032"/>
              <a:gd name="connsiteY2675" fmla="*/ 401787 h 5346128"/>
              <a:gd name="connsiteX2676" fmla="*/ 3446464 w 5419032"/>
              <a:gd name="connsiteY2676" fmla="*/ 415484 h 5346128"/>
              <a:gd name="connsiteX2677" fmla="*/ 3448635 w 5419032"/>
              <a:gd name="connsiteY2677" fmla="*/ 415838 h 5346128"/>
              <a:gd name="connsiteX2678" fmla="*/ 3445821 w 5419032"/>
              <a:gd name="connsiteY2678" fmla="*/ 417122 h 5346128"/>
              <a:gd name="connsiteX2679" fmla="*/ 3446611 w 5419032"/>
              <a:gd name="connsiteY2679" fmla="*/ 415610 h 5346128"/>
              <a:gd name="connsiteX2680" fmla="*/ 3444532 w 5419032"/>
              <a:gd name="connsiteY2680" fmla="*/ 417708 h 5346128"/>
              <a:gd name="connsiteX2681" fmla="*/ 3445821 w 5419032"/>
              <a:gd name="connsiteY2681" fmla="*/ 417122 h 5346128"/>
              <a:gd name="connsiteX2682" fmla="*/ 3434759 w 5419032"/>
              <a:gd name="connsiteY2682" fmla="*/ 438294 h 5346128"/>
              <a:gd name="connsiteX2683" fmla="*/ 3473624 w 5419032"/>
              <a:gd name="connsiteY2683" fmla="*/ 470153 h 5346128"/>
              <a:gd name="connsiteX2684" fmla="*/ 3506872 w 5419032"/>
              <a:gd name="connsiteY2684" fmla="*/ 480642 h 5346128"/>
              <a:gd name="connsiteX2685" fmla="*/ 3521418 w 5419032"/>
              <a:gd name="connsiteY2685" fmla="*/ 489034 h 5346128"/>
              <a:gd name="connsiteX2686" fmla="*/ 3525574 w 5419032"/>
              <a:gd name="connsiteY2686" fmla="*/ 459664 h 5346128"/>
              <a:gd name="connsiteX2687" fmla="*/ 3506872 w 5419032"/>
              <a:gd name="connsiteY2687" fmla="*/ 457566 h 5346128"/>
              <a:gd name="connsiteX2688" fmla="*/ 3461156 w 5419032"/>
              <a:gd name="connsiteY2688" fmla="*/ 434491 h 5346128"/>
              <a:gd name="connsiteX2689" fmla="*/ 3490248 w 5419032"/>
              <a:gd name="connsiteY2689" fmla="*/ 436589 h 5346128"/>
              <a:gd name="connsiteX2690" fmla="*/ 3481936 w 5419032"/>
              <a:gd name="connsiteY2690" fmla="*/ 398829 h 5346128"/>
              <a:gd name="connsiteX2691" fmla="*/ 3453592 w 5419032"/>
              <a:gd name="connsiteY2691" fmla="*/ 413579 h 5346128"/>
              <a:gd name="connsiteX2692" fmla="*/ 3449160 w 5419032"/>
              <a:gd name="connsiteY2692" fmla="*/ 415600 h 5346128"/>
              <a:gd name="connsiteX2693" fmla="*/ 3439742 w 5419032"/>
              <a:gd name="connsiteY2693" fmla="*/ 403173 h 5346128"/>
              <a:gd name="connsiteX2694" fmla="*/ 3438278 w 5419032"/>
              <a:gd name="connsiteY2694" fmla="*/ 401787 h 5346128"/>
              <a:gd name="connsiteX2695" fmla="*/ 3436757 w 5419032"/>
              <a:gd name="connsiteY2695" fmla="*/ 399244 h 5346128"/>
              <a:gd name="connsiteX2696" fmla="*/ 3425478 w 5419032"/>
              <a:gd name="connsiteY2696" fmla="*/ 386147 h 5346128"/>
              <a:gd name="connsiteX2697" fmla="*/ 3398198 w 5419032"/>
              <a:gd name="connsiteY2697" fmla="*/ 367287 h 5346128"/>
              <a:gd name="connsiteX2698" fmla="*/ 3414986 w 5419032"/>
              <a:gd name="connsiteY2698" fmla="*/ 348429 h 5346128"/>
              <a:gd name="connsiteX2699" fmla="*/ 3383509 w 5419032"/>
              <a:gd name="connsiteY2699" fmla="*/ 310710 h 5346128"/>
              <a:gd name="connsiteX2700" fmla="*/ 3307963 w 5419032"/>
              <a:gd name="connsiteY2700" fmla="*/ 214318 h 5346128"/>
              <a:gd name="connsiteX2701" fmla="*/ 3335244 w 5419032"/>
              <a:gd name="connsiteY2701" fmla="*/ 184982 h 5346128"/>
              <a:gd name="connsiteX2702" fmla="*/ 3360426 w 5419032"/>
              <a:gd name="connsiteY2702" fmla="*/ 195460 h 5346128"/>
              <a:gd name="connsiteX2703" fmla="*/ 3400297 w 5419032"/>
              <a:gd name="connsiteY2703" fmla="*/ 176600 h 5346128"/>
              <a:gd name="connsiteX2704" fmla="*/ 3385607 w 5419032"/>
              <a:gd name="connsiteY2704" fmla="*/ 149359 h 5346128"/>
              <a:gd name="connsiteX2705" fmla="*/ 3364622 w 5419032"/>
              <a:gd name="connsiteY2705" fmla="*/ 132595 h 5346128"/>
              <a:gd name="connsiteX2706" fmla="*/ 3349933 w 5419032"/>
              <a:gd name="connsiteY2706" fmla="*/ 92781 h 5346128"/>
              <a:gd name="connsiteX2707" fmla="*/ 3385607 w 5419032"/>
              <a:gd name="connsiteY2707" fmla="*/ 71826 h 5346128"/>
              <a:gd name="connsiteX2708" fmla="*/ 3408690 w 5419032"/>
              <a:gd name="connsiteY2708" fmla="*/ 67635 h 5346128"/>
              <a:gd name="connsiteX2709" fmla="*/ 3256318 w 5419032"/>
              <a:gd name="connsiteY2709" fmla="*/ 36707 h 5346128"/>
              <a:gd name="connsiteX2710" fmla="*/ 3257165 w 5419032"/>
              <a:gd name="connsiteY2710" fmla="*/ 36707 h 5346128"/>
              <a:gd name="connsiteX2711" fmla="*/ 3257186 w 5419032"/>
              <a:gd name="connsiteY2711" fmla="*/ 36997 h 5346128"/>
              <a:gd name="connsiteX2712" fmla="*/ 3257164 w 5419032"/>
              <a:gd name="connsiteY2712" fmla="*/ 36688 h 5346128"/>
              <a:gd name="connsiteX2713" fmla="*/ 3257282 w 5419032"/>
              <a:gd name="connsiteY2713" fmla="*/ 36707 h 5346128"/>
              <a:gd name="connsiteX2714" fmla="*/ 3257165 w 5419032"/>
              <a:gd name="connsiteY2714" fmla="*/ 36707 h 5346128"/>
              <a:gd name="connsiteX2715" fmla="*/ 3255220 w 5419032"/>
              <a:gd name="connsiteY2715" fmla="*/ 36385 h 5346128"/>
              <a:gd name="connsiteX2716" fmla="*/ 3255473 w 5419032"/>
              <a:gd name="connsiteY2716" fmla="*/ 36425 h 5346128"/>
              <a:gd name="connsiteX2717" fmla="*/ 3256318 w 5419032"/>
              <a:gd name="connsiteY2717" fmla="*/ 36707 h 5346128"/>
              <a:gd name="connsiteX2718" fmla="*/ 3255184 w 5419032"/>
              <a:gd name="connsiteY2718" fmla="*/ 36707 h 5346128"/>
              <a:gd name="connsiteX2719" fmla="*/ 3255234 w 5419032"/>
              <a:gd name="connsiteY2719" fmla="*/ 36269 h 5346128"/>
              <a:gd name="connsiteX2720" fmla="*/ 3257131 w 5419032"/>
              <a:gd name="connsiteY2720" fmla="*/ 36269 h 5346128"/>
              <a:gd name="connsiteX2721" fmla="*/ 3257164 w 5419032"/>
              <a:gd name="connsiteY2721" fmla="*/ 36688 h 5346128"/>
              <a:gd name="connsiteX2722" fmla="*/ 3255473 w 5419032"/>
              <a:gd name="connsiteY2722" fmla="*/ 36425 h 5346128"/>
              <a:gd name="connsiteX2723" fmla="*/ 3255225 w 5419032"/>
              <a:gd name="connsiteY2723" fmla="*/ 36341 h 5346128"/>
              <a:gd name="connsiteX2724" fmla="*/ 3924559 w 5419032"/>
              <a:gd name="connsiteY2724" fmla="*/ 17804 h 5346128"/>
              <a:gd name="connsiteX2725" fmla="*/ 3928680 w 5419032"/>
              <a:gd name="connsiteY2725" fmla="*/ 26107 h 5346128"/>
              <a:gd name="connsiteX2726" fmla="*/ 3920438 w 5419032"/>
              <a:gd name="connsiteY2726" fmla="*/ 42716 h 5346128"/>
              <a:gd name="connsiteX2727" fmla="*/ 3908076 w 5419032"/>
              <a:gd name="connsiteY2727" fmla="*/ 28185 h 5346128"/>
              <a:gd name="connsiteX2728" fmla="*/ 3924559 w 5419032"/>
              <a:gd name="connsiteY2728" fmla="*/ 17804 h 5346128"/>
              <a:gd name="connsiteX2729" fmla="*/ 3278333 w 5419032"/>
              <a:gd name="connsiteY2729" fmla="*/ 17135 h 5346128"/>
              <a:gd name="connsiteX2730" fmla="*/ 3316494 w 5419032"/>
              <a:gd name="connsiteY2730" fmla="*/ 40521 h 5346128"/>
              <a:gd name="connsiteX2731" fmla="*/ 3312253 w 5419032"/>
              <a:gd name="connsiteY2731" fmla="*/ 87297 h 5346128"/>
              <a:gd name="connsiteX2732" fmla="*/ 3259186 w 5419032"/>
              <a:gd name="connsiteY2732" fmla="*/ 63079 h 5346128"/>
              <a:gd name="connsiteX2733" fmla="*/ 3257186 w 5419032"/>
              <a:gd name="connsiteY2733" fmla="*/ 36997 h 5346128"/>
              <a:gd name="connsiteX2734" fmla="*/ 3299532 w 5419032"/>
              <a:gd name="connsiteY2734" fmla="*/ 51152 h 5346128"/>
              <a:gd name="connsiteX2735" fmla="*/ 3278333 w 5419032"/>
              <a:gd name="connsiteY2735" fmla="*/ 17135 h 5346128"/>
              <a:gd name="connsiteX2736" fmla="*/ 3248890 w 5419032"/>
              <a:gd name="connsiteY2736" fmla="*/ 13872 h 5346128"/>
              <a:gd name="connsiteX2737" fmla="*/ 3256758 w 5419032"/>
              <a:gd name="connsiteY2737" fmla="*/ 22954 h 5346128"/>
              <a:gd name="connsiteX2738" fmla="*/ 3255234 w 5419032"/>
              <a:gd name="connsiteY2738" fmla="*/ 36269 h 5346128"/>
              <a:gd name="connsiteX2739" fmla="*/ 3255010 w 5419032"/>
              <a:gd name="connsiteY2739" fmla="*/ 36269 h 5346128"/>
              <a:gd name="connsiteX2740" fmla="*/ 3255225 w 5419032"/>
              <a:gd name="connsiteY2740" fmla="*/ 36341 h 5346128"/>
              <a:gd name="connsiteX2741" fmla="*/ 3255220 w 5419032"/>
              <a:gd name="connsiteY2741" fmla="*/ 36385 h 5346128"/>
              <a:gd name="connsiteX2742" fmla="*/ 3242335 w 5419032"/>
              <a:gd name="connsiteY2742" fmla="*/ 34372 h 5346128"/>
              <a:gd name="connsiteX2743" fmla="*/ 3232108 w 5419032"/>
              <a:gd name="connsiteY2743" fmla="*/ 24251 h 5346128"/>
              <a:gd name="connsiteX2744" fmla="*/ 3248890 w 5419032"/>
              <a:gd name="connsiteY2744" fmla="*/ 13872 h 5346128"/>
              <a:gd name="connsiteX2745" fmla="*/ 3190155 w 5419032"/>
              <a:gd name="connsiteY2745" fmla="*/ 235 h 5346128"/>
              <a:gd name="connsiteX2746" fmla="*/ 3154753 w 5419032"/>
              <a:gd name="connsiteY2746" fmla="*/ 14919 h 5346128"/>
              <a:gd name="connsiteX2747" fmla="*/ 3190155 w 5419032"/>
              <a:gd name="connsiteY2747" fmla="*/ 235 h 534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Lst>
            <a:rect l="l" t="t" r="r" b="b"/>
            <a:pathLst>
              <a:path w="5419032" h="5346128">
                <a:moveTo>
                  <a:pt x="2361535" y="5306796"/>
                </a:moveTo>
                <a:cubicBezTo>
                  <a:pt x="2353144" y="5327773"/>
                  <a:pt x="2342655" y="5327773"/>
                  <a:pt x="2319580" y="5325675"/>
                </a:cubicBezTo>
                <a:cubicBezTo>
                  <a:pt x="2338460" y="5317284"/>
                  <a:pt x="2346851" y="5313089"/>
                  <a:pt x="2361535" y="5306796"/>
                </a:cubicBezTo>
                <a:close/>
                <a:moveTo>
                  <a:pt x="2336437" y="5256391"/>
                </a:moveTo>
                <a:cubicBezTo>
                  <a:pt x="2342618" y="5256391"/>
                  <a:pt x="2350858" y="5258431"/>
                  <a:pt x="2350858" y="5260471"/>
                </a:cubicBezTo>
                <a:cubicBezTo>
                  <a:pt x="2354980" y="5270668"/>
                  <a:pt x="2346737" y="5272707"/>
                  <a:pt x="2338498" y="5272707"/>
                </a:cubicBezTo>
                <a:cubicBezTo>
                  <a:pt x="2334376" y="5272707"/>
                  <a:pt x="2328195" y="5272707"/>
                  <a:pt x="2326135" y="5264549"/>
                </a:cubicBezTo>
                <a:cubicBezTo>
                  <a:pt x="2326135" y="5258431"/>
                  <a:pt x="2330256" y="5254352"/>
                  <a:pt x="2336437" y="5256391"/>
                </a:cubicBezTo>
                <a:close/>
                <a:moveTo>
                  <a:pt x="2216598" y="5201383"/>
                </a:moveTo>
                <a:cubicBezTo>
                  <a:pt x="2210161" y="5201383"/>
                  <a:pt x="2205871" y="5203481"/>
                  <a:pt x="2201581" y="5205578"/>
                </a:cubicBezTo>
                <a:cubicBezTo>
                  <a:pt x="2205871" y="5209774"/>
                  <a:pt x="2208016" y="5213969"/>
                  <a:pt x="2212306" y="5218165"/>
                </a:cubicBezTo>
                <a:cubicBezTo>
                  <a:pt x="2218744" y="5220263"/>
                  <a:pt x="2223034" y="5218165"/>
                  <a:pt x="2225180" y="5209774"/>
                </a:cubicBezTo>
                <a:cubicBezTo>
                  <a:pt x="2225180" y="5203481"/>
                  <a:pt x="2223034" y="5199285"/>
                  <a:pt x="2216598" y="5201383"/>
                </a:cubicBezTo>
                <a:close/>
                <a:moveTo>
                  <a:pt x="1977402" y="5179772"/>
                </a:moveTo>
                <a:cubicBezTo>
                  <a:pt x="1980646" y="5179184"/>
                  <a:pt x="1984019" y="5179837"/>
                  <a:pt x="1987652" y="5182969"/>
                </a:cubicBezTo>
                <a:cubicBezTo>
                  <a:pt x="1989728" y="5185057"/>
                  <a:pt x="2002183" y="5182969"/>
                  <a:pt x="1993880" y="5189234"/>
                </a:cubicBezTo>
                <a:cubicBezTo>
                  <a:pt x="1985575" y="5195498"/>
                  <a:pt x="1975197" y="5197586"/>
                  <a:pt x="1985575" y="5208026"/>
                </a:cubicBezTo>
                <a:cubicBezTo>
                  <a:pt x="1993880" y="5214291"/>
                  <a:pt x="1998032" y="5203850"/>
                  <a:pt x="2004259" y="5201762"/>
                </a:cubicBezTo>
                <a:cubicBezTo>
                  <a:pt x="2010487" y="5199674"/>
                  <a:pt x="2016714" y="5201762"/>
                  <a:pt x="2016714" y="5208026"/>
                </a:cubicBezTo>
                <a:cubicBezTo>
                  <a:pt x="2014638" y="5218467"/>
                  <a:pt x="2010487" y="5226819"/>
                  <a:pt x="2000107" y="5224731"/>
                </a:cubicBezTo>
                <a:cubicBezTo>
                  <a:pt x="1989728" y="5220554"/>
                  <a:pt x="1979349" y="5216378"/>
                  <a:pt x="1968968" y="5212202"/>
                </a:cubicBezTo>
                <a:cubicBezTo>
                  <a:pt x="1958588" y="5205939"/>
                  <a:pt x="1941982" y="5203850"/>
                  <a:pt x="1948209" y="5185057"/>
                </a:cubicBezTo>
                <a:cubicBezTo>
                  <a:pt x="1959108" y="5194454"/>
                  <a:pt x="1967672" y="5181534"/>
                  <a:pt x="1977402" y="5179772"/>
                </a:cubicBezTo>
                <a:close/>
                <a:moveTo>
                  <a:pt x="2436923" y="5165946"/>
                </a:moveTo>
                <a:cubicBezTo>
                  <a:pt x="2428308" y="5163886"/>
                  <a:pt x="2421846" y="5168007"/>
                  <a:pt x="2426154" y="5174187"/>
                </a:cubicBezTo>
                <a:cubicBezTo>
                  <a:pt x="2428308" y="5180369"/>
                  <a:pt x="2432616" y="5186549"/>
                  <a:pt x="2439078" y="5190671"/>
                </a:cubicBezTo>
                <a:cubicBezTo>
                  <a:pt x="2443385" y="5192730"/>
                  <a:pt x="2452002" y="5190671"/>
                  <a:pt x="2452002" y="5182428"/>
                </a:cubicBezTo>
                <a:cubicBezTo>
                  <a:pt x="2452002" y="5172127"/>
                  <a:pt x="2443385" y="5170067"/>
                  <a:pt x="2436923" y="5165946"/>
                </a:cubicBezTo>
                <a:close/>
                <a:moveTo>
                  <a:pt x="2234883" y="5153396"/>
                </a:moveTo>
                <a:cubicBezTo>
                  <a:pt x="2230686" y="5157622"/>
                  <a:pt x="2226491" y="5161847"/>
                  <a:pt x="2226491" y="5163960"/>
                </a:cubicBezTo>
                <a:cubicBezTo>
                  <a:pt x="2228589" y="5178744"/>
                  <a:pt x="2249567" y="5176633"/>
                  <a:pt x="2255860" y="5191419"/>
                </a:cubicBezTo>
                <a:cubicBezTo>
                  <a:pt x="2260056" y="5187196"/>
                  <a:pt x="2268447" y="5180858"/>
                  <a:pt x="2268447" y="5178744"/>
                </a:cubicBezTo>
                <a:cubicBezTo>
                  <a:pt x="2262154" y="5163960"/>
                  <a:pt x="2245372" y="5163960"/>
                  <a:pt x="2234883" y="5153396"/>
                </a:cubicBezTo>
                <a:close/>
                <a:moveTo>
                  <a:pt x="2330069" y="5112170"/>
                </a:moveTo>
                <a:cubicBezTo>
                  <a:pt x="2323888" y="5110130"/>
                  <a:pt x="2319767" y="5112170"/>
                  <a:pt x="2317706" y="5118288"/>
                </a:cubicBezTo>
                <a:cubicBezTo>
                  <a:pt x="2315647" y="5124406"/>
                  <a:pt x="2319767" y="5128486"/>
                  <a:pt x="2325949" y="5128486"/>
                </a:cubicBezTo>
                <a:cubicBezTo>
                  <a:pt x="2332129" y="5128486"/>
                  <a:pt x="2336250" y="5126447"/>
                  <a:pt x="2344491" y="5126447"/>
                </a:cubicBezTo>
                <a:cubicBezTo>
                  <a:pt x="2338311" y="5120327"/>
                  <a:pt x="2334190" y="5116249"/>
                  <a:pt x="2330069" y="5112170"/>
                </a:cubicBezTo>
                <a:close/>
                <a:moveTo>
                  <a:pt x="2152578" y="5082326"/>
                </a:moveTo>
                <a:cubicBezTo>
                  <a:pt x="2147957" y="5083807"/>
                  <a:pt x="2143630" y="5094467"/>
                  <a:pt x="2140483" y="5099204"/>
                </a:cubicBezTo>
                <a:cubicBezTo>
                  <a:pt x="2132092" y="5118156"/>
                  <a:pt x="2148874" y="5107627"/>
                  <a:pt x="2155167" y="5109733"/>
                </a:cubicBezTo>
                <a:cubicBezTo>
                  <a:pt x="2171949" y="5120262"/>
                  <a:pt x="2192928" y="5128685"/>
                  <a:pt x="2226491" y="5145531"/>
                </a:cubicBezTo>
                <a:cubicBezTo>
                  <a:pt x="2205514" y="5118156"/>
                  <a:pt x="2203417" y="5101310"/>
                  <a:pt x="2226491" y="5088676"/>
                </a:cubicBezTo>
                <a:cubicBezTo>
                  <a:pt x="2201319" y="5076041"/>
                  <a:pt x="2180340" y="5116050"/>
                  <a:pt x="2157265" y="5084465"/>
                </a:cubicBezTo>
                <a:cubicBezTo>
                  <a:pt x="2155692" y="5082358"/>
                  <a:pt x="2154119" y="5081833"/>
                  <a:pt x="2152578" y="5082326"/>
                </a:cubicBezTo>
                <a:close/>
                <a:moveTo>
                  <a:pt x="1820958" y="5076681"/>
                </a:moveTo>
                <a:lnTo>
                  <a:pt x="1832308" y="5088778"/>
                </a:lnTo>
                <a:cubicBezTo>
                  <a:pt x="1847948" y="5097028"/>
                  <a:pt x="1871557" y="5094671"/>
                  <a:pt x="1881000" y="5113530"/>
                </a:cubicBezTo>
                <a:cubicBezTo>
                  <a:pt x="1868409" y="5097814"/>
                  <a:pt x="1846373" y="5098600"/>
                  <a:pt x="1830832" y="5088483"/>
                </a:cubicBezTo>
                <a:lnTo>
                  <a:pt x="1820908" y="5077021"/>
                </a:lnTo>
                <a:close/>
                <a:moveTo>
                  <a:pt x="2619823" y="5068175"/>
                </a:moveTo>
                <a:cubicBezTo>
                  <a:pt x="2636539" y="5099641"/>
                  <a:pt x="2665794" y="5089152"/>
                  <a:pt x="2686689" y="5093348"/>
                </a:cubicBezTo>
                <a:cubicBezTo>
                  <a:pt x="2665794" y="5089152"/>
                  <a:pt x="2649077" y="5068175"/>
                  <a:pt x="2619823" y="5068175"/>
                </a:cubicBezTo>
                <a:close/>
                <a:moveTo>
                  <a:pt x="2028126" y="5068175"/>
                </a:moveTo>
                <a:cubicBezTo>
                  <a:pt x="2000982" y="5068175"/>
                  <a:pt x="2019774" y="5086718"/>
                  <a:pt x="2011422" y="5092898"/>
                </a:cubicBezTo>
                <a:cubicBezTo>
                  <a:pt x="2009334" y="5094959"/>
                  <a:pt x="2003070" y="5117622"/>
                  <a:pt x="2003070" y="5123804"/>
                </a:cubicBezTo>
                <a:cubicBezTo>
                  <a:pt x="2009334" y="5140286"/>
                  <a:pt x="2023952" y="5140286"/>
                  <a:pt x="2034391" y="5136166"/>
                </a:cubicBezTo>
                <a:cubicBezTo>
                  <a:pt x="2055271" y="5127924"/>
                  <a:pt x="2053183" y="5107322"/>
                  <a:pt x="2055271" y="5088778"/>
                </a:cubicBezTo>
                <a:cubicBezTo>
                  <a:pt x="2057359" y="5072296"/>
                  <a:pt x="2044830" y="5070235"/>
                  <a:pt x="2028126" y="5068175"/>
                </a:cubicBezTo>
                <a:close/>
                <a:moveTo>
                  <a:pt x="3565723" y="5065303"/>
                </a:moveTo>
                <a:lnTo>
                  <a:pt x="3578092" y="5067116"/>
                </a:lnTo>
                <a:cubicBezTo>
                  <a:pt x="3581264" y="5069733"/>
                  <a:pt x="3582850" y="5074441"/>
                  <a:pt x="3582850" y="5081765"/>
                </a:cubicBezTo>
                <a:cubicBezTo>
                  <a:pt x="3582850" y="5102692"/>
                  <a:pt x="3578621" y="5125712"/>
                  <a:pt x="3614570" y="5113156"/>
                </a:cubicBezTo>
                <a:cubicBezTo>
                  <a:pt x="3616685" y="5113156"/>
                  <a:pt x="3623028" y="5121527"/>
                  <a:pt x="3625144" y="5123619"/>
                </a:cubicBezTo>
                <a:cubicBezTo>
                  <a:pt x="3603997" y="5134083"/>
                  <a:pt x="3629373" y="5171753"/>
                  <a:pt x="3603997" y="5169659"/>
                </a:cubicBezTo>
                <a:cubicBezTo>
                  <a:pt x="3589195" y="5169659"/>
                  <a:pt x="3572276" y="5159196"/>
                  <a:pt x="3555359" y="5165475"/>
                </a:cubicBezTo>
                <a:cubicBezTo>
                  <a:pt x="3559589" y="5136177"/>
                  <a:pt x="3498264" y="5108971"/>
                  <a:pt x="3555359" y="5077580"/>
                </a:cubicBezTo>
                <a:cubicBezTo>
                  <a:pt x="3557474" y="5076533"/>
                  <a:pt x="3559060" y="5074441"/>
                  <a:pt x="3560646" y="5072086"/>
                </a:cubicBezTo>
                <a:lnTo>
                  <a:pt x="3565469" y="5065644"/>
                </a:lnTo>
                <a:lnTo>
                  <a:pt x="3566151" y="5065629"/>
                </a:lnTo>
                <a:lnTo>
                  <a:pt x="3565478" y="5065629"/>
                </a:lnTo>
                <a:close/>
                <a:moveTo>
                  <a:pt x="3564080" y="5065023"/>
                </a:moveTo>
                <a:lnTo>
                  <a:pt x="3565932" y="5065023"/>
                </a:lnTo>
                <a:lnTo>
                  <a:pt x="3565723" y="5065303"/>
                </a:lnTo>
                <a:lnTo>
                  <a:pt x="3564076" y="5065061"/>
                </a:lnTo>
                <a:close/>
                <a:moveTo>
                  <a:pt x="2166181" y="5058779"/>
                </a:moveTo>
                <a:cubicBezTo>
                  <a:pt x="2130519" y="5052442"/>
                  <a:pt x="2101150" y="5060891"/>
                  <a:pt x="2084368" y="5079902"/>
                </a:cubicBezTo>
                <a:cubicBezTo>
                  <a:pt x="2071781" y="5092575"/>
                  <a:pt x="2090661" y="5113700"/>
                  <a:pt x="2103248" y="5128486"/>
                </a:cubicBezTo>
                <a:cubicBezTo>
                  <a:pt x="2115835" y="5101026"/>
                  <a:pt x="2130519" y="5075678"/>
                  <a:pt x="2166181" y="5058779"/>
                </a:cubicBezTo>
                <a:close/>
                <a:moveTo>
                  <a:pt x="1719880" y="5038041"/>
                </a:moveTo>
                <a:cubicBezTo>
                  <a:pt x="1723290" y="5038304"/>
                  <a:pt x="1726961" y="5040414"/>
                  <a:pt x="1730107" y="5042523"/>
                </a:cubicBezTo>
                <a:cubicBezTo>
                  <a:pt x="1737449" y="5049905"/>
                  <a:pt x="1743743" y="5052015"/>
                  <a:pt x="1749249" y="5050696"/>
                </a:cubicBezTo>
                <a:lnTo>
                  <a:pt x="1757975" y="5043200"/>
                </a:lnTo>
                <a:lnTo>
                  <a:pt x="1768944" y="5055979"/>
                </a:lnTo>
                <a:lnTo>
                  <a:pt x="1762294" y="5065065"/>
                </a:lnTo>
                <a:cubicBezTo>
                  <a:pt x="1748332" y="5073369"/>
                  <a:pt x="1729058" y="5061506"/>
                  <a:pt x="1713325" y="5061506"/>
                </a:cubicBezTo>
                <a:cubicBezTo>
                  <a:pt x="1713325" y="5057287"/>
                  <a:pt x="1711227" y="5050960"/>
                  <a:pt x="1711227" y="5044632"/>
                </a:cubicBezTo>
                <a:cubicBezTo>
                  <a:pt x="1713325" y="5039359"/>
                  <a:pt x="1716472" y="5037777"/>
                  <a:pt x="1719880" y="5038041"/>
                </a:cubicBezTo>
                <a:close/>
                <a:moveTo>
                  <a:pt x="1828330" y="5027885"/>
                </a:moveTo>
                <a:lnTo>
                  <a:pt x="1828692" y="5028043"/>
                </a:lnTo>
                <a:lnTo>
                  <a:pt x="1827064" y="5029652"/>
                </a:lnTo>
                <a:lnTo>
                  <a:pt x="1826634" y="5029630"/>
                </a:lnTo>
                <a:lnTo>
                  <a:pt x="1826640" y="5029592"/>
                </a:lnTo>
                <a:close/>
                <a:moveTo>
                  <a:pt x="2068453" y="5011797"/>
                </a:moveTo>
                <a:cubicBezTo>
                  <a:pt x="2066436" y="5012846"/>
                  <a:pt x="2064923" y="5015469"/>
                  <a:pt x="2063914" y="5019664"/>
                </a:cubicBezTo>
                <a:cubicBezTo>
                  <a:pt x="2063914" y="5025957"/>
                  <a:pt x="2067949" y="5030154"/>
                  <a:pt x="2074000" y="5030154"/>
                </a:cubicBezTo>
                <a:cubicBezTo>
                  <a:pt x="2078034" y="5028055"/>
                  <a:pt x="2082068" y="5028055"/>
                  <a:pt x="2090137" y="5025957"/>
                </a:cubicBezTo>
                <a:cubicBezTo>
                  <a:pt x="2084086" y="5019664"/>
                  <a:pt x="2080051" y="5015469"/>
                  <a:pt x="2076017" y="5013371"/>
                </a:cubicBezTo>
                <a:cubicBezTo>
                  <a:pt x="2072991" y="5011273"/>
                  <a:pt x="2070469" y="5010749"/>
                  <a:pt x="2068453" y="5011797"/>
                </a:cubicBezTo>
                <a:close/>
                <a:moveTo>
                  <a:pt x="3475374" y="5010486"/>
                </a:moveTo>
                <a:cubicBezTo>
                  <a:pt x="3481708" y="5021091"/>
                  <a:pt x="3490151" y="5033817"/>
                  <a:pt x="3498596" y="5046543"/>
                </a:cubicBezTo>
                <a:cubicBezTo>
                  <a:pt x="3509152" y="5018970"/>
                  <a:pt x="3530262" y="5016849"/>
                  <a:pt x="3555596" y="5021091"/>
                </a:cubicBezTo>
                <a:cubicBezTo>
                  <a:pt x="3552430" y="5032226"/>
                  <a:pt x="3562325" y="5042167"/>
                  <a:pt x="3564800" y="5053600"/>
                </a:cubicBezTo>
                <a:lnTo>
                  <a:pt x="3564080" y="5065023"/>
                </a:lnTo>
                <a:lnTo>
                  <a:pt x="3563818" y="5065023"/>
                </a:lnTo>
                <a:lnTo>
                  <a:pt x="3564076" y="5065061"/>
                </a:lnTo>
                <a:lnTo>
                  <a:pt x="3564040" y="5065629"/>
                </a:lnTo>
                <a:lnTo>
                  <a:pt x="3565478" y="5065629"/>
                </a:lnTo>
                <a:lnTo>
                  <a:pt x="3565469" y="5065644"/>
                </a:lnTo>
                <a:lnTo>
                  <a:pt x="3553254" y="5065896"/>
                </a:lnTo>
                <a:cubicBezTo>
                  <a:pt x="3537916" y="5060726"/>
                  <a:pt x="3518124" y="5046013"/>
                  <a:pt x="3519708" y="5082597"/>
                </a:cubicBezTo>
                <a:cubicBezTo>
                  <a:pt x="3502818" y="5069871"/>
                  <a:pt x="3485931" y="5078355"/>
                  <a:pt x="3469041" y="5080476"/>
                </a:cubicBezTo>
                <a:cubicBezTo>
                  <a:pt x="3488041" y="5061388"/>
                  <a:pt x="3445819" y="5048663"/>
                  <a:pt x="3464818" y="5027453"/>
                </a:cubicBezTo>
                <a:cubicBezTo>
                  <a:pt x="3466930" y="5023211"/>
                  <a:pt x="3462708" y="5012606"/>
                  <a:pt x="3475374" y="5010486"/>
                </a:cubicBezTo>
                <a:close/>
                <a:moveTo>
                  <a:pt x="1637368" y="5010486"/>
                </a:moveTo>
                <a:cubicBezTo>
                  <a:pt x="1643923" y="5010486"/>
                  <a:pt x="1648295" y="5014681"/>
                  <a:pt x="1646109" y="5020975"/>
                </a:cubicBezTo>
                <a:cubicBezTo>
                  <a:pt x="1646109" y="5029366"/>
                  <a:pt x="1639554" y="5031463"/>
                  <a:pt x="1635183" y="5027268"/>
                </a:cubicBezTo>
                <a:cubicBezTo>
                  <a:pt x="1628627" y="5025170"/>
                  <a:pt x="1626442" y="5018877"/>
                  <a:pt x="1622072" y="5014681"/>
                </a:cubicBezTo>
                <a:cubicBezTo>
                  <a:pt x="1626442" y="5014681"/>
                  <a:pt x="1632998" y="5012584"/>
                  <a:pt x="1637368" y="5010486"/>
                </a:cubicBezTo>
                <a:close/>
                <a:moveTo>
                  <a:pt x="1805189" y="4985860"/>
                </a:moveTo>
                <a:cubicBezTo>
                  <a:pt x="1800916" y="4986915"/>
                  <a:pt x="1797712" y="4990078"/>
                  <a:pt x="1794507" y="4994298"/>
                </a:cubicBezTo>
                <a:cubicBezTo>
                  <a:pt x="1785961" y="5009062"/>
                  <a:pt x="1798780" y="5015389"/>
                  <a:pt x="1809462" y="5019607"/>
                </a:cubicBezTo>
                <a:lnTo>
                  <a:pt x="1826985" y="5027295"/>
                </a:lnTo>
                <a:lnTo>
                  <a:pt x="1826640" y="5029592"/>
                </a:lnTo>
                <a:lnTo>
                  <a:pt x="1826604" y="5029628"/>
                </a:lnTo>
                <a:lnTo>
                  <a:pt x="1826634" y="5029630"/>
                </a:lnTo>
                <a:lnTo>
                  <a:pt x="1826555" y="5030154"/>
                </a:lnTo>
                <a:lnTo>
                  <a:pt x="1827064" y="5029652"/>
                </a:lnTo>
                <a:lnTo>
                  <a:pt x="1828834" y="5029742"/>
                </a:lnTo>
                <a:lnTo>
                  <a:pt x="1829717" y="5042477"/>
                </a:lnTo>
                <a:cubicBezTo>
                  <a:pt x="1831794" y="5045887"/>
                  <a:pt x="1835947" y="5047459"/>
                  <a:pt x="1843211" y="5046410"/>
                </a:cubicBezTo>
                <a:cubicBezTo>
                  <a:pt x="1847364" y="5046410"/>
                  <a:pt x="1851516" y="5042215"/>
                  <a:pt x="1851516" y="5042215"/>
                </a:cubicBezTo>
                <a:cubicBezTo>
                  <a:pt x="1849439" y="5035922"/>
                  <a:pt x="1846326" y="5032251"/>
                  <a:pt x="1842174" y="5030415"/>
                </a:cubicBezTo>
                <a:lnTo>
                  <a:pt x="1828834" y="5029742"/>
                </a:lnTo>
                <a:lnTo>
                  <a:pt x="1828680" y="5027531"/>
                </a:lnTo>
                <a:lnTo>
                  <a:pt x="1828330" y="5027885"/>
                </a:lnTo>
                <a:lnTo>
                  <a:pt x="1826985" y="5027295"/>
                </a:lnTo>
                <a:lnTo>
                  <a:pt x="1827624" y="5023035"/>
                </a:lnTo>
                <a:cubicBezTo>
                  <a:pt x="1827624" y="5020662"/>
                  <a:pt x="1827624" y="5018552"/>
                  <a:pt x="1828692" y="5017498"/>
                </a:cubicBezTo>
                <a:cubicBezTo>
                  <a:pt x="1843649" y="5002734"/>
                  <a:pt x="1837240" y="4998515"/>
                  <a:pt x="1822282" y="4990079"/>
                </a:cubicBezTo>
                <a:cubicBezTo>
                  <a:pt x="1814805" y="4985860"/>
                  <a:pt x="1809462" y="4984806"/>
                  <a:pt x="1805189" y="4985860"/>
                </a:cubicBezTo>
                <a:close/>
                <a:moveTo>
                  <a:pt x="1626675" y="4956544"/>
                </a:moveTo>
                <a:lnTo>
                  <a:pt x="1627270" y="4956900"/>
                </a:lnTo>
                <a:lnTo>
                  <a:pt x="1627317" y="4956993"/>
                </a:lnTo>
                <a:cubicBezTo>
                  <a:pt x="1623121" y="4969580"/>
                  <a:pt x="1648295" y="4977971"/>
                  <a:pt x="1633610" y="4992655"/>
                </a:cubicBezTo>
                <a:cubicBezTo>
                  <a:pt x="1631512" y="4994753"/>
                  <a:pt x="1625219" y="4992655"/>
                  <a:pt x="1625219" y="4992655"/>
                </a:cubicBezTo>
                <a:cubicBezTo>
                  <a:pt x="1621023" y="4986362"/>
                  <a:pt x="1619450" y="4980068"/>
                  <a:pt x="1619974" y="4973775"/>
                </a:cubicBezTo>
                <a:close/>
                <a:moveTo>
                  <a:pt x="1912734" y="4952798"/>
                </a:moveTo>
                <a:cubicBezTo>
                  <a:pt x="1910616" y="4952798"/>
                  <a:pt x="1906380" y="4954846"/>
                  <a:pt x="1906380" y="4956894"/>
                </a:cubicBezTo>
                <a:cubicBezTo>
                  <a:pt x="1900026" y="4969187"/>
                  <a:pt x="1912734" y="4971235"/>
                  <a:pt x="1916969" y="4977381"/>
                </a:cubicBezTo>
                <a:lnTo>
                  <a:pt x="1925578" y="4984042"/>
                </a:lnTo>
                <a:lnTo>
                  <a:pt x="1925441" y="4985576"/>
                </a:lnTo>
                <a:lnTo>
                  <a:pt x="1924993" y="4985576"/>
                </a:lnTo>
                <a:lnTo>
                  <a:pt x="1926839" y="4986112"/>
                </a:lnTo>
                <a:lnTo>
                  <a:pt x="1919959" y="4999536"/>
                </a:lnTo>
                <a:cubicBezTo>
                  <a:pt x="1903264" y="5023258"/>
                  <a:pt x="1886567" y="4989230"/>
                  <a:pt x="1869872" y="4985576"/>
                </a:cubicBezTo>
                <a:cubicBezTo>
                  <a:pt x="1869872" y="4996017"/>
                  <a:pt x="1871992" y="5008545"/>
                  <a:pt x="1871992" y="5021073"/>
                </a:cubicBezTo>
                <a:cubicBezTo>
                  <a:pt x="1874112" y="5029425"/>
                  <a:pt x="1874112" y="5041953"/>
                  <a:pt x="1886832" y="5035689"/>
                </a:cubicBezTo>
                <a:cubicBezTo>
                  <a:pt x="1914393" y="5023161"/>
                  <a:pt x="1952555" y="5029425"/>
                  <a:pt x="1969516" y="4989752"/>
                </a:cubicBezTo>
                <a:cubicBezTo>
                  <a:pt x="1959975" y="4994972"/>
                  <a:pt x="1952555" y="4993927"/>
                  <a:pt x="1945664" y="4991579"/>
                </a:cubicBezTo>
                <a:lnTo>
                  <a:pt x="1926839" y="4986112"/>
                </a:lnTo>
                <a:lnTo>
                  <a:pt x="1927113" y="4985576"/>
                </a:lnTo>
                <a:lnTo>
                  <a:pt x="1927560" y="4985576"/>
                </a:lnTo>
                <a:lnTo>
                  <a:pt x="1925578" y="4984042"/>
                </a:lnTo>
                <a:lnTo>
                  <a:pt x="1926237" y="4976614"/>
                </a:lnTo>
                <a:cubicBezTo>
                  <a:pt x="1926501" y="4973284"/>
                  <a:pt x="1926501" y="4970211"/>
                  <a:pt x="1925441" y="4969187"/>
                </a:cubicBezTo>
                <a:cubicBezTo>
                  <a:pt x="1919088" y="4965089"/>
                  <a:pt x="1923323" y="4952798"/>
                  <a:pt x="1912734" y="4952798"/>
                </a:cubicBezTo>
                <a:close/>
                <a:moveTo>
                  <a:pt x="2005583" y="4948305"/>
                </a:moveTo>
                <a:cubicBezTo>
                  <a:pt x="2001183" y="4947915"/>
                  <a:pt x="1996229" y="4948305"/>
                  <a:pt x="1990493" y="4949867"/>
                </a:cubicBezTo>
                <a:cubicBezTo>
                  <a:pt x="2003008" y="4962362"/>
                  <a:pt x="2011351" y="4979020"/>
                  <a:pt x="2030124" y="4972773"/>
                </a:cubicBezTo>
                <a:cubicBezTo>
                  <a:pt x="2034295" y="4972773"/>
                  <a:pt x="2036382" y="4962362"/>
                  <a:pt x="2036382" y="4962362"/>
                </a:cubicBezTo>
                <a:cubicBezTo>
                  <a:pt x="2026995" y="4957676"/>
                  <a:pt x="2018782" y="4949477"/>
                  <a:pt x="2005583" y="4948305"/>
                </a:cubicBezTo>
                <a:close/>
                <a:moveTo>
                  <a:pt x="2218437" y="4931819"/>
                </a:moveTo>
                <a:cubicBezTo>
                  <a:pt x="2216377" y="4931819"/>
                  <a:pt x="2208136" y="4933905"/>
                  <a:pt x="2208136" y="4935991"/>
                </a:cubicBezTo>
                <a:cubicBezTo>
                  <a:pt x="2212257" y="4950593"/>
                  <a:pt x="2216377" y="4965195"/>
                  <a:pt x="2236981" y="4977709"/>
                </a:cubicBezTo>
                <a:cubicBezTo>
                  <a:pt x="2228739" y="4958936"/>
                  <a:pt x="2224619" y="4944335"/>
                  <a:pt x="2218437" y="4931819"/>
                </a:cubicBezTo>
                <a:close/>
                <a:moveTo>
                  <a:pt x="2449378" y="4931295"/>
                </a:moveTo>
                <a:cubicBezTo>
                  <a:pt x="2447193" y="4931295"/>
                  <a:pt x="2442823" y="4935491"/>
                  <a:pt x="2442823" y="4939686"/>
                </a:cubicBezTo>
                <a:cubicBezTo>
                  <a:pt x="2442823" y="4950175"/>
                  <a:pt x="2453748" y="4948077"/>
                  <a:pt x="2460304" y="4948077"/>
                </a:cubicBezTo>
                <a:cubicBezTo>
                  <a:pt x="2462489" y="4948077"/>
                  <a:pt x="2469046" y="4948077"/>
                  <a:pt x="2466860" y="4941784"/>
                </a:cubicBezTo>
                <a:cubicBezTo>
                  <a:pt x="2462489" y="4935491"/>
                  <a:pt x="2458120" y="4929197"/>
                  <a:pt x="2449378" y="4931295"/>
                </a:cubicBezTo>
                <a:close/>
                <a:moveTo>
                  <a:pt x="2347258" y="4929461"/>
                </a:moveTo>
                <a:cubicBezTo>
                  <a:pt x="2338810" y="4931559"/>
                  <a:pt x="2328247" y="4925265"/>
                  <a:pt x="2326135" y="4939950"/>
                </a:cubicBezTo>
                <a:cubicBezTo>
                  <a:pt x="2326135" y="4948341"/>
                  <a:pt x="2334585" y="4952535"/>
                  <a:pt x="2343035" y="4956731"/>
                </a:cubicBezTo>
                <a:cubicBezTo>
                  <a:pt x="2353595" y="4956731"/>
                  <a:pt x="2359933" y="4948341"/>
                  <a:pt x="2362046" y="4939950"/>
                </a:cubicBezTo>
                <a:cubicBezTo>
                  <a:pt x="2364159" y="4931559"/>
                  <a:pt x="2355709" y="4929461"/>
                  <a:pt x="2347258" y="4929461"/>
                </a:cubicBezTo>
                <a:close/>
                <a:moveTo>
                  <a:pt x="2403091" y="4920807"/>
                </a:moveTo>
                <a:cubicBezTo>
                  <a:pt x="2379890" y="4918709"/>
                  <a:pt x="2388327" y="4939686"/>
                  <a:pt x="2384108" y="4948077"/>
                </a:cubicBezTo>
                <a:cubicBezTo>
                  <a:pt x="2379890" y="4962762"/>
                  <a:pt x="2392546" y="4966958"/>
                  <a:pt x="2405200" y="4964860"/>
                </a:cubicBezTo>
                <a:cubicBezTo>
                  <a:pt x="2411528" y="4964860"/>
                  <a:pt x="2424183" y="4971153"/>
                  <a:pt x="2419964" y="4954370"/>
                </a:cubicBezTo>
                <a:cubicBezTo>
                  <a:pt x="2407310" y="4945979"/>
                  <a:pt x="2428402" y="4922905"/>
                  <a:pt x="2403091" y="4920807"/>
                </a:cubicBezTo>
                <a:close/>
                <a:moveTo>
                  <a:pt x="1792599" y="4877114"/>
                </a:moveTo>
                <a:cubicBezTo>
                  <a:pt x="1784369" y="4877016"/>
                  <a:pt x="1777624" y="4887242"/>
                  <a:pt x="1769691" y="4885669"/>
                </a:cubicBezTo>
                <a:cubicBezTo>
                  <a:pt x="1769691" y="4885669"/>
                  <a:pt x="1765460" y="4894060"/>
                  <a:pt x="1765460" y="4898256"/>
                </a:cubicBezTo>
                <a:cubicBezTo>
                  <a:pt x="1771807" y="4912940"/>
                  <a:pt x="1782384" y="4891962"/>
                  <a:pt x="1795078" y="4904549"/>
                </a:cubicBezTo>
                <a:cubicBezTo>
                  <a:pt x="1780268" y="4912940"/>
                  <a:pt x="1767575" y="4919233"/>
                  <a:pt x="1754881" y="4927624"/>
                </a:cubicBezTo>
                <a:cubicBezTo>
                  <a:pt x="1744303" y="4933918"/>
                  <a:pt x="1740071" y="4946505"/>
                  <a:pt x="1752766" y="4956993"/>
                </a:cubicBezTo>
                <a:cubicBezTo>
                  <a:pt x="1759113" y="4963287"/>
                  <a:pt x="1824698" y="4950700"/>
                  <a:pt x="1826813" y="4942309"/>
                </a:cubicBezTo>
                <a:cubicBezTo>
                  <a:pt x="1833160" y="4917135"/>
                  <a:pt x="1818350" y="4898256"/>
                  <a:pt x="1801425" y="4881474"/>
                </a:cubicBezTo>
                <a:cubicBezTo>
                  <a:pt x="1798252" y="4878326"/>
                  <a:pt x="1795343" y="4877147"/>
                  <a:pt x="1792599" y="4877114"/>
                </a:cubicBezTo>
                <a:close/>
                <a:moveTo>
                  <a:pt x="3297068" y="4861849"/>
                </a:moveTo>
                <a:cubicBezTo>
                  <a:pt x="3305411" y="4868267"/>
                  <a:pt x="3324184" y="4859710"/>
                  <a:pt x="3330442" y="4876824"/>
                </a:cubicBezTo>
                <a:cubicBezTo>
                  <a:pt x="3324184" y="4885380"/>
                  <a:pt x="3317926" y="4900354"/>
                  <a:pt x="3313754" y="4898215"/>
                </a:cubicBezTo>
                <a:cubicBezTo>
                  <a:pt x="3301239" y="4896076"/>
                  <a:pt x="3301239" y="4874684"/>
                  <a:pt x="3284552" y="4876824"/>
                </a:cubicBezTo>
                <a:cubicBezTo>
                  <a:pt x="3284552" y="4868267"/>
                  <a:pt x="3294983" y="4859710"/>
                  <a:pt x="3297068" y="4861849"/>
                </a:cubicBezTo>
                <a:close/>
                <a:moveTo>
                  <a:pt x="2305075" y="4859943"/>
                </a:moveTo>
                <a:cubicBezTo>
                  <a:pt x="2289752" y="4857240"/>
                  <a:pt x="2278935" y="4875396"/>
                  <a:pt x="2264513" y="4883123"/>
                </a:cubicBezTo>
                <a:cubicBezTo>
                  <a:pt x="2285879" y="4887243"/>
                  <a:pt x="2305108" y="4887243"/>
                  <a:pt x="2322202" y="4870760"/>
                </a:cubicBezTo>
                <a:cubicBezTo>
                  <a:pt x="2315792" y="4864064"/>
                  <a:pt x="2310183" y="4860845"/>
                  <a:pt x="2305075" y="4859943"/>
                </a:cubicBezTo>
                <a:close/>
                <a:moveTo>
                  <a:pt x="1830743" y="4851842"/>
                </a:moveTo>
                <a:cubicBezTo>
                  <a:pt x="1847460" y="4872649"/>
                  <a:pt x="1816116" y="4912183"/>
                  <a:pt x="1859997" y="4922587"/>
                </a:cubicBezTo>
                <a:cubicBezTo>
                  <a:pt x="1859997" y="4922587"/>
                  <a:pt x="1859997" y="4926747"/>
                  <a:pt x="1859997" y="4928828"/>
                </a:cubicBezTo>
                <a:cubicBezTo>
                  <a:pt x="1851638" y="4939231"/>
                  <a:pt x="1839101" y="4947554"/>
                  <a:pt x="1864176" y="4947554"/>
                </a:cubicBezTo>
                <a:cubicBezTo>
                  <a:pt x="1882982" y="4947554"/>
                  <a:pt x="1882982" y="4937151"/>
                  <a:pt x="1882982" y="4924667"/>
                </a:cubicBezTo>
                <a:cubicBezTo>
                  <a:pt x="1878803" y="4891376"/>
                  <a:pt x="1855818" y="4870570"/>
                  <a:pt x="1830743" y="4851842"/>
                </a:cubicBezTo>
                <a:close/>
                <a:moveTo>
                  <a:pt x="1406788" y="4833487"/>
                </a:moveTo>
                <a:cubicBezTo>
                  <a:pt x="1415180" y="4839716"/>
                  <a:pt x="1421474" y="4841791"/>
                  <a:pt x="1421474" y="4850095"/>
                </a:cubicBezTo>
                <a:cubicBezTo>
                  <a:pt x="1419376" y="4854247"/>
                  <a:pt x="1415180" y="4858399"/>
                  <a:pt x="1410984" y="4856323"/>
                </a:cubicBezTo>
                <a:cubicBezTo>
                  <a:pt x="1400495" y="4856323"/>
                  <a:pt x="1402593" y="4848019"/>
                  <a:pt x="1404691" y="4841791"/>
                </a:cubicBezTo>
                <a:cubicBezTo>
                  <a:pt x="1404691" y="4839716"/>
                  <a:pt x="1406788" y="4835564"/>
                  <a:pt x="1406788" y="4833487"/>
                </a:cubicBezTo>
                <a:close/>
                <a:moveTo>
                  <a:pt x="1897928" y="4780036"/>
                </a:moveTo>
                <a:cubicBezTo>
                  <a:pt x="1889537" y="4775799"/>
                  <a:pt x="1893732" y="4786390"/>
                  <a:pt x="1891635" y="4788507"/>
                </a:cubicBezTo>
                <a:cubicBezTo>
                  <a:pt x="1891635" y="4794861"/>
                  <a:pt x="1891635" y="4801216"/>
                  <a:pt x="1900026" y="4803333"/>
                </a:cubicBezTo>
                <a:cubicBezTo>
                  <a:pt x="1906320" y="4803333"/>
                  <a:pt x="1910515" y="4799097"/>
                  <a:pt x="1908418" y="4792743"/>
                </a:cubicBezTo>
                <a:cubicBezTo>
                  <a:pt x="1908418" y="4788507"/>
                  <a:pt x="1902124" y="4782153"/>
                  <a:pt x="1897928" y="4780036"/>
                </a:cubicBezTo>
                <a:close/>
                <a:moveTo>
                  <a:pt x="1830027" y="4778421"/>
                </a:moveTo>
                <a:cubicBezTo>
                  <a:pt x="1836364" y="4793281"/>
                  <a:pt x="1827916" y="4814508"/>
                  <a:pt x="1849039" y="4820876"/>
                </a:cubicBezTo>
                <a:cubicBezTo>
                  <a:pt x="1851152" y="4822998"/>
                  <a:pt x="1859601" y="4814508"/>
                  <a:pt x="1861713" y="4810263"/>
                </a:cubicBezTo>
                <a:cubicBezTo>
                  <a:pt x="1865938" y="4789035"/>
                  <a:pt x="1846928" y="4784789"/>
                  <a:pt x="1830027" y="4778421"/>
                </a:cubicBezTo>
                <a:close/>
                <a:moveTo>
                  <a:pt x="2140760" y="4752275"/>
                </a:moveTo>
                <a:cubicBezTo>
                  <a:pt x="2130877" y="4752805"/>
                  <a:pt x="2120730" y="4754923"/>
                  <a:pt x="2111115" y="4752805"/>
                </a:cubicBezTo>
                <a:cubicBezTo>
                  <a:pt x="2136754" y="4771866"/>
                  <a:pt x="2136754" y="4771866"/>
                  <a:pt x="2168803" y="4761276"/>
                </a:cubicBezTo>
                <a:cubicBezTo>
                  <a:pt x="2160257" y="4752805"/>
                  <a:pt x="2150642" y="4751745"/>
                  <a:pt x="2140760" y="4752275"/>
                </a:cubicBezTo>
                <a:close/>
                <a:moveTo>
                  <a:pt x="1446057" y="4751618"/>
                </a:moveTo>
                <a:cubicBezTo>
                  <a:pt x="1456709" y="4749577"/>
                  <a:pt x="1463100" y="4757735"/>
                  <a:pt x="1465231" y="4765893"/>
                </a:cubicBezTo>
                <a:cubicBezTo>
                  <a:pt x="1467362" y="4776090"/>
                  <a:pt x="1456709" y="4778129"/>
                  <a:pt x="1454578" y="4784249"/>
                </a:cubicBezTo>
                <a:cubicBezTo>
                  <a:pt x="1439665" y="4786287"/>
                  <a:pt x="1437533" y="4780170"/>
                  <a:pt x="1439665" y="4772011"/>
                </a:cubicBezTo>
                <a:cubicBezTo>
                  <a:pt x="1439665" y="4763853"/>
                  <a:pt x="1433273" y="4753656"/>
                  <a:pt x="1446057" y="4751618"/>
                </a:cubicBezTo>
                <a:close/>
                <a:moveTo>
                  <a:pt x="2191279" y="4750888"/>
                </a:moveTo>
                <a:cubicBezTo>
                  <a:pt x="2187158" y="4765713"/>
                  <a:pt x="2197460" y="4769949"/>
                  <a:pt x="2205701" y="4776303"/>
                </a:cubicBezTo>
                <a:cubicBezTo>
                  <a:pt x="2207761" y="4778421"/>
                  <a:pt x="2216002" y="4776303"/>
                  <a:pt x="2213943" y="4769949"/>
                </a:cubicBezTo>
                <a:cubicBezTo>
                  <a:pt x="2207761" y="4763596"/>
                  <a:pt x="2203641" y="4753006"/>
                  <a:pt x="2191279" y="4750888"/>
                </a:cubicBezTo>
                <a:close/>
                <a:moveTo>
                  <a:pt x="2041134" y="4722765"/>
                </a:moveTo>
                <a:cubicBezTo>
                  <a:pt x="2037037" y="4722438"/>
                  <a:pt x="2032448" y="4723354"/>
                  <a:pt x="2027204" y="4725977"/>
                </a:cubicBezTo>
                <a:cubicBezTo>
                  <a:pt x="2041888" y="4734368"/>
                  <a:pt x="2054475" y="4740661"/>
                  <a:pt x="2069159" y="4746954"/>
                </a:cubicBezTo>
                <a:cubicBezTo>
                  <a:pt x="2061293" y="4735942"/>
                  <a:pt x="2053426" y="4723748"/>
                  <a:pt x="2041134" y="4722765"/>
                </a:cubicBezTo>
                <a:close/>
                <a:moveTo>
                  <a:pt x="2572622" y="4678464"/>
                </a:moveTo>
                <a:cubicBezTo>
                  <a:pt x="2569946" y="4677945"/>
                  <a:pt x="2567014" y="4678205"/>
                  <a:pt x="2563445" y="4679760"/>
                </a:cubicBezTo>
                <a:cubicBezTo>
                  <a:pt x="2569563" y="4694292"/>
                  <a:pt x="2577720" y="4698444"/>
                  <a:pt x="2600156" y="4690141"/>
                </a:cubicBezTo>
                <a:cubicBezTo>
                  <a:pt x="2586390" y="4688584"/>
                  <a:pt x="2580654" y="4680020"/>
                  <a:pt x="2572622" y="4678464"/>
                </a:cubicBezTo>
                <a:close/>
                <a:moveTo>
                  <a:pt x="1494412" y="4677466"/>
                </a:moveTo>
                <a:cubicBezTo>
                  <a:pt x="1494412" y="4688056"/>
                  <a:pt x="1494412" y="4694410"/>
                  <a:pt x="1492273" y="4700764"/>
                </a:cubicBezTo>
                <a:cubicBezTo>
                  <a:pt x="1492273" y="4715589"/>
                  <a:pt x="1496551" y="4728296"/>
                  <a:pt x="1513665" y="4730415"/>
                </a:cubicBezTo>
                <a:cubicBezTo>
                  <a:pt x="1517944" y="4732533"/>
                  <a:pt x="1526501" y="4730415"/>
                  <a:pt x="1528639" y="4726179"/>
                </a:cubicBezTo>
                <a:cubicBezTo>
                  <a:pt x="1532917" y="4711354"/>
                  <a:pt x="1517944" y="4707117"/>
                  <a:pt x="1511525" y="4698645"/>
                </a:cubicBezTo>
                <a:cubicBezTo>
                  <a:pt x="1505108" y="4692291"/>
                  <a:pt x="1500830" y="4685938"/>
                  <a:pt x="1494412" y="4677466"/>
                </a:cubicBezTo>
                <a:close/>
                <a:moveTo>
                  <a:pt x="2055698" y="4676154"/>
                </a:moveTo>
                <a:cubicBezTo>
                  <a:pt x="2046684" y="4675892"/>
                  <a:pt x="2035351" y="4677990"/>
                  <a:pt x="2021960" y="4677990"/>
                </a:cubicBezTo>
                <a:cubicBezTo>
                  <a:pt x="2038442" y="4688479"/>
                  <a:pt x="2050805" y="4684283"/>
                  <a:pt x="2056985" y="4698968"/>
                </a:cubicBezTo>
                <a:cubicBezTo>
                  <a:pt x="2063166" y="4711554"/>
                  <a:pt x="2079649" y="4696870"/>
                  <a:pt x="2075527" y="4688479"/>
                </a:cubicBezTo>
                <a:cubicBezTo>
                  <a:pt x="2071407" y="4679039"/>
                  <a:pt x="2064711" y="4676417"/>
                  <a:pt x="2055698" y="4676154"/>
                </a:cubicBezTo>
                <a:close/>
                <a:moveTo>
                  <a:pt x="1385778" y="4675421"/>
                </a:moveTo>
                <a:cubicBezTo>
                  <a:pt x="1391186" y="4676264"/>
                  <a:pt x="1396562" y="4678859"/>
                  <a:pt x="1401807" y="4684567"/>
                </a:cubicBezTo>
                <a:cubicBezTo>
                  <a:pt x="1412296" y="4697024"/>
                  <a:pt x="1410198" y="4699099"/>
                  <a:pt x="1403905" y="4707402"/>
                </a:cubicBezTo>
                <a:cubicBezTo>
                  <a:pt x="1382927" y="4736465"/>
                  <a:pt x="1364046" y="4697024"/>
                  <a:pt x="1340971" y="4707402"/>
                </a:cubicBezTo>
                <a:cubicBezTo>
                  <a:pt x="1331531" y="4710517"/>
                  <a:pt x="1338611" y="4698451"/>
                  <a:pt x="1340971" y="4686969"/>
                </a:cubicBezTo>
                <a:lnTo>
                  <a:pt x="1340971" y="4681179"/>
                </a:lnTo>
                <a:lnTo>
                  <a:pt x="1343660" y="4679030"/>
                </a:lnTo>
                <a:lnTo>
                  <a:pt x="1353721" y="4680481"/>
                </a:lnTo>
                <a:cubicBezTo>
                  <a:pt x="1364014" y="4679054"/>
                  <a:pt x="1374962" y="4673735"/>
                  <a:pt x="1385778" y="4675421"/>
                </a:cubicBezTo>
                <a:close/>
                <a:moveTo>
                  <a:pt x="1714211" y="4640223"/>
                </a:moveTo>
                <a:cubicBezTo>
                  <a:pt x="1704705" y="4640159"/>
                  <a:pt x="1696641" y="4651963"/>
                  <a:pt x="1687661" y="4660769"/>
                </a:cubicBezTo>
                <a:lnTo>
                  <a:pt x="1674917" y="4668790"/>
                </a:lnTo>
                <a:lnTo>
                  <a:pt x="1675303" y="4667780"/>
                </a:lnTo>
                <a:lnTo>
                  <a:pt x="1673205" y="4669866"/>
                </a:lnTo>
                <a:lnTo>
                  <a:pt x="1674917" y="4668790"/>
                </a:lnTo>
                <a:lnTo>
                  <a:pt x="1668420" y="4685780"/>
                </a:lnTo>
                <a:cubicBezTo>
                  <a:pt x="1670191" y="4701824"/>
                  <a:pt x="1692609" y="4713173"/>
                  <a:pt x="1687890" y="4730392"/>
                </a:cubicBezTo>
                <a:cubicBezTo>
                  <a:pt x="1715161" y="4726217"/>
                  <a:pt x="1710966" y="4745001"/>
                  <a:pt x="1708868" y="4761698"/>
                </a:cubicBezTo>
                <a:cubicBezTo>
                  <a:pt x="1706770" y="4797178"/>
                  <a:pt x="1738236" y="4824309"/>
                  <a:pt x="1773898" y="4822222"/>
                </a:cubicBezTo>
                <a:cubicBezTo>
                  <a:pt x="1796974" y="4822222"/>
                  <a:pt x="1792779" y="4805526"/>
                  <a:pt x="1794877" y="4795091"/>
                </a:cubicBezTo>
                <a:cubicBezTo>
                  <a:pt x="1799072" y="4776307"/>
                  <a:pt x="1782289" y="4786743"/>
                  <a:pt x="1775996" y="4788830"/>
                </a:cubicBezTo>
                <a:cubicBezTo>
                  <a:pt x="1744530" y="4793004"/>
                  <a:pt x="1759214" y="4753350"/>
                  <a:pt x="1738236" y="4749175"/>
                </a:cubicBezTo>
                <a:cubicBezTo>
                  <a:pt x="1727748" y="4747088"/>
                  <a:pt x="1731943" y="4742915"/>
                  <a:pt x="1736139" y="4738740"/>
                </a:cubicBezTo>
                <a:cubicBezTo>
                  <a:pt x="1771800" y="4707433"/>
                  <a:pt x="1748725" y="4674040"/>
                  <a:pt x="1729845" y="4651083"/>
                </a:cubicBezTo>
                <a:cubicBezTo>
                  <a:pt x="1724077" y="4643256"/>
                  <a:pt x="1718964" y="4640256"/>
                  <a:pt x="1714211" y="4640223"/>
                </a:cubicBezTo>
                <a:close/>
                <a:moveTo>
                  <a:pt x="1571009" y="4630751"/>
                </a:moveTo>
                <a:cubicBezTo>
                  <a:pt x="1558659" y="4632318"/>
                  <a:pt x="1546572" y="4642769"/>
                  <a:pt x="1538161" y="4661580"/>
                </a:cubicBezTo>
                <a:cubicBezTo>
                  <a:pt x="1584411" y="4640679"/>
                  <a:pt x="1597025" y="4657400"/>
                  <a:pt x="1603333" y="4701293"/>
                </a:cubicBezTo>
                <a:cubicBezTo>
                  <a:pt x="1607538" y="4728466"/>
                  <a:pt x="1618048" y="4763998"/>
                  <a:pt x="1657992" y="4749368"/>
                </a:cubicBezTo>
                <a:cubicBezTo>
                  <a:pt x="1660095" y="4705474"/>
                  <a:pt x="1624356" y="4684573"/>
                  <a:pt x="1605434" y="4653220"/>
                </a:cubicBezTo>
                <a:cubicBezTo>
                  <a:pt x="1595975" y="4636499"/>
                  <a:pt x="1583361" y="4629184"/>
                  <a:pt x="1571009" y="4630751"/>
                </a:cubicBezTo>
                <a:close/>
                <a:moveTo>
                  <a:pt x="1446711" y="4606871"/>
                </a:moveTo>
                <a:cubicBezTo>
                  <a:pt x="1438474" y="4610918"/>
                  <a:pt x="1434597" y="4628289"/>
                  <a:pt x="1423742" y="4617235"/>
                </a:cubicBezTo>
                <a:cubicBezTo>
                  <a:pt x="1417540" y="4629868"/>
                  <a:pt x="1429945" y="4629868"/>
                  <a:pt x="1434080" y="4634081"/>
                </a:cubicBezTo>
                <a:cubicBezTo>
                  <a:pt x="1442350" y="4642504"/>
                  <a:pt x="1446485" y="4655138"/>
                  <a:pt x="1452687" y="4665666"/>
                </a:cubicBezTo>
                <a:cubicBezTo>
                  <a:pt x="1467160" y="4650927"/>
                  <a:pt x="1442350" y="4640398"/>
                  <a:pt x="1450621" y="4627764"/>
                </a:cubicBezTo>
                <a:cubicBezTo>
                  <a:pt x="1454756" y="4621446"/>
                  <a:pt x="1471295" y="4621446"/>
                  <a:pt x="1456823" y="4608811"/>
                </a:cubicBezTo>
                <a:cubicBezTo>
                  <a:pt x="1452687" y="4605653"/>
                  <a:pt x="1449457" y="4605521"/>
                  <a:pt x="1446711" y="4606871"/>
                </a:cubicBezTo>
                <a:close/>
                <a:moveTo>
                  <a:pt x="1639335" y="4557390"/>
                </a:moveTo>
                <a:cubicBezTo>
                  <a:pt x="1628774" y="4555025"/>
                  <a:pt x="1615043" y="4562383"/>
                  <a:pt x="1588640" y="4577099"/>
                </a:cubicBezTo>
                <a:cubicBezTo>
                  <a:pt x="1584414" y="4579201"/>
                  <a:pt x="1578077" y="4577099"/>
                  <a:pt x="1575965" y="4579201"/>
                </a:cubicBezTo>
                <a:cubicBezTo>
                  <a:pt x="1573852" y="4579201"/>
                  <a:pt x="1569628" y="4579201"/>
                  <a:pt x="1571739" y="4585509"/>
                </a:cubicBezTo>
                <a:cubicBezTo>
                  <a:pt x="1578077" y="4609159"/>
                  <a:pt x="1610555" y="4641088"/>
                  <a:pt x="1643329" y="4657347"/>
                </a:cubicBezTo>
                <a:lnTo>
                  <a:pt x="1673545" y="4666957"/>
                </a:lnTo>
                <a:lnTo>
                  <a:pt x="1673133" y="4669600"/>
                </a:lnTo>
                <a:cubicBezTo>
                  <a:pt x="1673133" y="4669600"/>
                  <a:pt x="1675245" y="4667498"/>
                  <a:pt x="1675245" y="4667498"/>
                </a:cubicBezTo>
                <a:lnTo>
                  <a:pt x="1673545" y="4666957"/>
                </a:lnTo>
                <a:lnTo>
                  <a:pt x="1675509" y="4654358"/>
                </a:lnTo>
                <a:cubicBezTo>
                  <a:pt x="1675774" y="4649628"/>
                  <a:pt x="1674189" y="4645423"/>
                  <a:pt x="1666796" y="4642270"/>
                </a:cubicBezTo>
                <a:cubicBezTo>
                  <a:pt x="1656234" y="4635964"/>
                  <a:pt x="1647784" y="4635964"/>
                  <a:pt x="1654121" y="4617042"/>
                </a:cubicBezTo>
                <a:cubicBezTo>
                  <a:pt x="1664683" y="4587611"/>
                  <a:pt x="1677357" y="4638065"/>
                  <a:pt x="1683695" y="4612838"/>
                </a:cubicBezTo>
                <a:cubicBezTo>
                  <a:pt x="1681583" y="4608633"/>
                  <a:pt x="1675245" y="4602327"/>
                  <a:pt x="1671020" y="4596020"/>
                </a:cubicBezTo>
                <a:cubicBezTo>
                  <a:pt x="1657290" y="4571843"/>
                  <a:pt x="1649897" y="4559755"/>
                  <a:pt x="1639335" y="4557390"/>
                </a:cubicBezTo>
                <a:close/>
                <a:moveTo>
                  <a:pt x="1308194" y="4515837"/>
                </a:moveTo>
                <a:cubicBezTo>
                  <a:pt x="1304916" y="4514625"/>
                  <a:pt x="1300851" y="4514490"/>
                  <a:pt x="1295607" y="4516106"/>
                </a:cubicBezTo>
                <a:cubicBezTo>
                  <a:pt x="1303998" y="4529030"/>
                  <a:pt x="1310292" y="4539801"/>
                  <a:pt x="1327074" y="4537646"/>
                </a:cubicBezTo>
                <a:cubicBezTo>
                  <a:pt x="1320781" y="4532800"/>
                  <a:pt x="1318027" y="4519473"/>
                  <a:pt x="1308194" y="4515837"/>
                </a:cubicBezTo>
                <a:close/>
                <a:moveTo>
                  <a:pt x="1456678" y="4514888"/>
                </a:moveTo>
                <a:cubicBezTo>
                  <a:pt x="1425357" y="4514888"/>
                  <a:pt x="1429535" y="4537662"/>
                  <a:pt x="1421182" y="4554221"/>
                </a:cubicBezTo>
                <a:cubicBezTo>
                  <a:pt x="1414918" y="4566643"/>
                  <a:pt x="1414918" y="4572853"/>
                  <a:pt x="1425357" y="4574924"/>
                </a:cubicBezTo>
                <a:cubicBezTo>
                  <a:pt x="1435799" y="4576995"/>
                  <a:pt x="1442063" y="4593555"/>
                  <a:pt x="1456678" y="4583204"/>
                </a:cubicBezTo>
                <a:cubicBezTo>
                  <a:pt x="1471295" y="4572853"/>
                  <a:pt x="1460855" y="4562504"/>
                  <a:pt x="1456678" y="4558362"/>
                </a:cubicBezTo>
                <a:cubicBezTo>
                  <a:pt x="1442063" y="4543871"/>
                  <a:pt x="1454592" y="4531451"/>
                  <a:pt x="1456678" y="4514888"/>
                </a:cubicBezTo>
                <a:close/>
                <a:moveTo>
                  <a:pt x="1488802" y="4504400"/>
                </a:moveTo>
                <a:cubicBezTo>
                  <a:pt x="1490885" y="4537965"/>
                  <a:pt x="1497131" y="4565235"/>
                  <a:pt x="1511708" y="4588311"/>
                </a:cubicBezTo>
                <a:cubicBezTo>
                  <a:pt x="1526284" y="4615581"/>
                  <a:pt x="1517955" y="4607190"/>
                  <a:pt x="1501296" y="4600897"/>
                </a:cubicBezTo>
                <a:cubicBezTo>
                  <a:pt x="1495049" y="4598799"/>
                  <a:pt x="1480473" y="4607190"/>
                  <a:pt x="1480473" y="4607190"/>
                </a:cubicBezTo>
                <a:cubicBezTo>
                  <a:pt x="1482556" y="4621875"/>
                  <a:pt x="1501296" y="4632363"/>
                  <a:pt x="1488802" y="4649146"/>
                </a:cubicBezTo>
                <a:cubicBezTo>
                  <a:pt x="1495049" y="4649146"/>
                  <a:pt x="1509625" y="4651244"/>
                  <a:pt x="1509625" y="4651244"/>
                </a:cubicBezTo>
                <a:cubicBezTo>
                  <a:pt x="1515872" y="4626070"/>
                  <a:pt x="1551272" y="4615581"/>
                  <a:pt x="1545026" y="4596702"/>
                </a:cubicBezTo>
                <a:cubicBezTo>
                  <a:pt x="1536696" y="4563138"/>
                  <a:pt x="1538778" y="4519084"/>
                  <a:pt x="1488802" y="4504400"/>
                </a:cubicBezTo>
                <a:close/>
                <a:moveTo>
                  <a:pt x="1362087" y="4498804"/>
                </a:moveTo>
                <a:cubicBezTo>
                  <a:pt x="1356150" y="4496487"/>
                  <a:pt x="1348592" y="4497002"/>
                  <a:pt x="1338873" y="4500092"/>
                </a:cubicBezTo>
                <a:cubicBezTo>
                  <a:pt x="1349670" y="4510394"/>
                  <a:pt x="1353990" y="4522756"/>
                  <a:pt x="1369107" y="4522756"/>
                </a:cubicBezTo>
                <a:cubicBezTo>
                  <a:pt x="1371265" y="4522756"/>
                  <a:pt x="1375585" y="4516574"/>
                  <a:pt x="1375585" y="4514515"/>
                </a:cubicBezTo>
                <a:cubicBezTo>
                  <a:pt x="1372345" y="4506273"/>
                  <a:pt x="1368027" y="4501123"/>
                  <a:pt x="1362087" y="4498804"/>
                </a:cubicBezTo>
                <a:close/>
                <a:moveTo>
                  <a:pt x="1836438" y="4487356"/>
                </a:moveTo>
                <a:cubicBezTo>
                  <a:pt x="1830047" y="4487356"/>
                  <a:pt x="1827916" y="4493710"/>
                  <a:pt x="1827916" y="4500064"/>
                </a:cubicBezTo>
                <a:cubicBezTo>
                  <a:pt x="1827916" y="4506417"/>
                  <a:pt x="1827916" y="4514889"/>
                  <a:pt x="1838569" y="4514889"/>
                </a:cubicBezTo>
                <a:cubicBezTo>
                  <a:pt x="1844961" y="4512772"/>
                  <a:pt x="1844961" y="4506417"/>
                  <a:pt x="1844961" y="4500064"/>
                </a:cubicBezTo>
                <a:cubicBezTo>
                  <a:pt x="1844961" y="4495828"/>
                  <a:pt x="1844961" y="4489475"/>
                  <a:pt x="1836438" y="4487356"/>
                </a:cubicBezTo>
                <a:close/>
                <a:moveTo>
                  <a:pt x="4084744" y="4482476"/>
                </a:moveTo>
                <a:lnTo>
                  <a:pt x="4084766" y="4482753"/>
                </a:lnTo>
                <a:lnTo>
                  <a:pt x="4084327" y="4482898"/>
                </a:lnTo>
                <a:close/>
                <a:moveTo>
                  <a:pt x="4085871" y="4482387"/>
                </a:moveTo>
                <a:lnTo>
                  <a:pt x="4084817" y="4483422"/>
                </a:lnTo>
                <a:lnTo>
                  <a:pt x="4084766" y="4482753"/>
                </a:lnTo>
                <a:close/>
                <a:moveTo>
                  <a:pt x="4086408" y="4480800"/>
                </a:moveTo>
                <a:lnTo>
                  <a:pt x="4087681" y="4481786"/>
                </a:lnTo>
                <a:lnTo>
                  <a:pt x="4085871" y="4482387"/>
                </a:lnTo>
                <a:lnTo>
                  <a:pt x="4086949" y="4481325"/>
                </a:lnTo>
                <a:lnTo>
                  <a:pt x="4086236" y="4480974"/>
                </a:lnTo>
                <a:close/>
                <a:moveTo>
                  <a:pt x="4084563" y="4480151"/>
                </a:moveTo>
                <a:lnTo>
                  <a:pt x="4086236" y="4480974"/>
                </a:lnTo>
                <a:lnTo>
                  <a:pt x="4084744" y="4482476"/>
                </a:lnTo>
                <a:close/>
                <a:moveTo>
                  <a:pt x="4107492" y="4478178"/>
                </a:moveTo>
                <a:cubicBezTo>
                  <a:pt x="4113479" y="4479751"/>
                  <a:pt x="4116602" y="4486044"/>
                  <a:pt x="4113479" y="4501778"/>
                </a:cubicBezTo>
                <a:lnTo>
                  <a:pt x="4087681" y="4481786"/>
                </a:lnTo>
                <a:lnTo>
                  <a:pt x="4096788" y="4478769"/>
                </a:lnTo>
                <a:cubicBezTo>
                  <a:pt x="4100788" y="4477785"/>
                  <a:pt x="4104500" y="4477392"/>
                  <a:pt x="4107492" y="4478178"/>
                </a:cubicBezTo>
                <a:close/>
                <a:moveTo>
                  <a:pt x="1492273" y="4471926"/>
                </a:moveTo>
                <a:cubicBezTo>
                  <a:pt x="1504981" y="4478280"/>
                  <a:pt x="1496509" y="4495223"/>
                  <a:pt x="1513453" y="4495223"/>
                </a:cubicBezTo>
                <a:cubicBezTo>
                  <a:pt x="1515570" y="4495223"/>
                  <a:pt x="1519807" y="4488869"/>
                  <a:pt x="1519807" y="4486751"/>
                </a:cubicBezTo>
                <a:cubicBezTo>
                  <a:pt x="1515570" y="4476161"/>
                  <a:pt x="1511335" y="4467689"/>
                  <a:pt x="1492273" y="4471926"/>
                </a:cubicBezTo>
                <a:close/>
                <a:moveTo>
                  <a:pt x="1312056" y="4462445"/>
                </a:moveTo>
                <a:cubicBezTo>
                  <a:pt x="1309911" y="4462445"/>
                  <a:pt x="1303474" y="4466378"/>
                  <a:pt x="1303474" y="4468345"/>
                </a:cubicBezTo>
                <a:cubicBezTo>
                  <a:pt x="1303474" y="4478178"/>
                  <a:pt x="1309911" y="4478178"/>
                  <a:pt x="1320638" y="4478178"/>
                </a:cubicBezTo>
                <a:cubicBezTo>
                  <a:pt x="1322783" y="4476212"/>
                  <a:pt x="1327074" y="4474245"/>
                  <a:pt x="1327074" y="4474245"/>
                </a:cubicBezTo>
                <a:cubicBezTo>
                  <a:pt x="1324928" y="4468345"/>
                  <a:pt x="1320638" y="4462445"/>
                  <a:pt x="1312056" y="4462445"/>
                </a:cubicBezTo>
                <a:close/>
                <a:moveTo>
                  <a:pt x="1036828" y="4459823"/>
                </a:moveTo>
                <a:cubicBezTo>
                  <a:pt x="1062066" y="4467689"/>
                  <a:pt x="1077842" y="4487356"/>
                  <a:pt x="1097460" y="4502893"/>
                </a:cubicBezTo>
                <a:lnTo>
                  <a:pt x="1101348" y="4505358"/>
                </a:lnTo>
                <a:lnTo>
                  <a:pt x="1108759" y="4512913"/>
                </a:lnTo>
                <a:lnTo>
                  <a:pt x="1118051" y="4531182"/>
                </a:lnTo>
                <a:lnTo>
                  <a:pt x="1116751" y="4533244"/>
                </a:lnTo>
                <a:cubicBezTo>
                  <a:pt x="1108338" y="4541635"/>
                  <a:pt x="1102028" y="4543732"/>
                  <a:pt x="1093615" y="4535342"/>
                </a:cubicBezTo>
                <a:cubicBezTo>
                  <a:pt x="1070480" y="4514365"/>
                  <a:pt x="1047344" y="4495484"/>
                  <a:pt x="1024208" y="4474507"/>
                </a:cubicBezTo>
                <a:cubicBezTo>
                  <a:pt x="1028414" y="4470311"/>
                  <a:pt x="1032621" y="4464018"/>
                  <a:pt x="1036828" y="4459823"/>
                </a:cubicBezTo>
                <a:close/>
                <a:moveTo>
                  <a:pt x="3354042" y="4453580"/>
                </a:moveTo>
                <a:cubicBezTo>
                  <a:pt x="3369714" y="4463132"/>
                  <a:pt x="3381859" y="4481042"/>
                  <a:pt x="3400175" y="4486714"/>
                </a:cubicBezTo>
                <a:lnTo>
                  <a:pt x="3418715" y="4487455"/>
                </a:lnTo>
                <a:lnTo>
                  <a:pt x="3418818" y="4487544"/>
                </a:lnTo>
                <a:cubicBezTo>
                  <a:pt x="3418818" y="4487544"/>
                  <a:pt x="3420909" y="4487544"/>
                  <a:pt x="3420909" y="4487544"/>
                </a:cubicBezTo>
                <a:lnTo>
                  <a:pt x="3418715" y="4487455"/>
                </a:lnTo>
                <a:lnTo>
                  <a:pt x="3390348" y="4463397"/>
                </a:lnTo>
                <a:cubicBezTo>
                  <a:pt x="3380161" y="4456233"/>
                  <a:pt x="3368668" y="4451456"/>
                  <a:pt x="3354042" y="4453580"/>
                </a:cubicBezTo>
                <a:close/>
                <a:moveTo>
                  <a:pt x="4065643" y="4451956"/>
                </a:moveTo>
                <a:cubicBezTo>
                  <a:pt x="4075230" y="4453005"/>
                  <a:pt x="4080557" y="4457200"/>
                  <a:pt x="4083220" y="4462969"/>
                </a:cubicBezTo>
                <a:lnTo>
                  <a:pt x="4084563" y="4480151"/>
                </a:lnTo>
                <a:lnTo>
                  <a:pt x="4082687" y="4479227"/>
                </a:lnTo>
                <a:cubicBezTo>
                  <a:pt x="4074166" y="4472933"/>
                  <a:pt x="4057122" y="4475030"/>
                  <a:pt x="4052860" y="4460347"/>
                </a:cubicBezTo>
                <a:cubicBezTo>
                  <a:pt x="4052860" y="4451956"/>
                  <a:pt x="4061382" y="4451956"/>
                  <a:pt x="4065643" y="4451956"/>
                </a:cubicBezTo>
                <a:close/>
                <a:moveTo>
                  <a:pt x="1434220" y="4451956"/>
                </a:moveTo>
                <a:cubicBezTo>
                  <a:pt x="1423659" y="4470729"/>
                  <a:pt x="1410984" y="4476986"/>
                  <a:pt x="1415210" y="4493673"/>
                </a:cubicBezTo>
                <a:cubicBezTo>
                  <a:pt x="1415210" y="4495759"/>
                  <a:pt x="1427884" y="4497845"/>
                  <a:pt x="1432107" y="4495759"/>
                </a:cubicBezTo>
                <a:cubicBezTo>
                  <a:pt x="1449007" y="4485330"/>
                  <a:pt x="1438445" y="4472814"/>
                  <a:pt x="1434220" y="4451956"/>
                </a:cubicBezTo>
                <a:close/>
                <a:moveTo>
                  <a:pt x="3349933" y="4445072"/>
                </a:moveTo>
                <a:lnTo>
                  <a:pt x="3354470" y="4448173"/>
                </a:lnTo>
                <a:lnTo>
                  <a:pt x="3354394" y="4449526"/>
                </a:lnTo>
                <a:close/>
                <a:moveTo>
                  <a:pt x="1361817" y="4418004"/>
                </a:moveTo>
                <a:cubicBezTo>
                  <a:pt x="1358146" y="4418708"/>
                  <a:pt x="1354083" y="4420756"/>
                  <a:pt x="1349362" y="4424341"/>
                </a:cubicBezTo>
                <a:cubicBezTo>
                  <a:pt x="1361949" y="4420244"/>
                  <a:pt x="1370340" y="4436633"/>
                  <a:pt x="1391318" y="4442779"/>
                </a:cubicBezTo>
                <a:cubicBezTo>
                  <a:pt x="1380304" y="4425877"/>
                  <a:pt x="1372831" y="4415891"/>
                  <a:pt x="1361817" y="4418004"/>
                </a:cubicBezTo>
                <a:close/>
                <a:moveTo>
                  <a:pt x="3328509" y="4416556"/>
                </a:moveTo>
                <a:cubicBezTo>
                  <a:pt x="3326370" y="4416556"/>
                  <a:pt x="3319952" y="4422676"/>
                  <a:pt x="3319952" y="4424715"/>
                </a:cubicBezTo>
                <a:cubicBezTo>
                  <a:pt x="3322092" y="4441030"/>
                  <a:pt x="3339205" y="4441030"/>
                  <a:pt x="3347762" y="4447149"/>
                </a:cubicBezTo>
                <a:cubicBezTo>
                  <a:pt x="3349901" y="4449188"/>
                  <a:pt x="3352040" y="4451228"/>
                  <a:pt x="3354180" y="4453268"/>
                </a:cubicBezTo>
                <a:lnTo>
                  <a:pt x="3354394" y="4449526"/>
                </a:lnTo>
                <a:lnTo>
                  <a:pt x="3358327" y="4453454"/>
                </a:lnTo>
                <a:cubicBezTo>
                  <a:pt x="3356229" y="4452407"/>
                  <a:pt x="3355704" y="4450311"/>
                  <a:pt x="3354917" y="4448477"/>
                </a:cubicBezTo>
                <a:lnTo>
                  <a:pt x="3354470" y="4448173"/>
                </a:lnTo>
                <a:lnTo>
                  <a:pt x="3354983" y="4439214"/>
                </a:lnTo>
                <a:cubicBezTo>
                  <a:pt x="3352174" y="4427647"/>
                  <a:pt x="3339739" y="4422676"/>
                  <a:pt x="3328509" y="4416556"/>
                </a:cubicBezTo>
                <a:close/>
                <a:moveTo>
                  <a:pt x="1484407" y="4407379"/>
                </a:moveTo>
                <a:cubicBezTo>
                  <a:pt x="1496768" y="4422292"/>
                  <a:pt x="1505010" y="4441467"/>
                  <a:pt x="1527674" y="4430814"/>
                </a:cubicBezTo>
                <a:cubicBezTo>
                  <a:pt x="1517372" y="4415900"/>
                  <a:pt x="1505010" y="4407379"/>
                  <a:pt x="1484407" y="4407379"/>
                </a:cubicBezTo>
                <a:close/>
                <a:moveTo>
                  <a:pt x="1442451" y="4365423"/>
                </a:moveTo>
                <a:cubicBezTo>
                  <a:pt x="1444512" y="4378010"/>
                  <a:pt x="1442451" y="4392694"/>
                  <a:pt x="1458933" y="4396889"/>
                </a:cubicBezTo>
                <a:cubicBezTo>
                  <a:pt x="1460994" y="4396889"/>
                  <a:pt x="1465115" y="4390596"/>
                  <a:pt x="1465115" y="4388498"/>
                </a:cubicBezTo>
                <a:cubicBezTo>
                  <a:pt x="1471295" y="4367521"/>
                  <a:pt x="1452753" y="4371716"/>
                  <a:pt x="1442451" y="4365423"/>
                </a:cubicBezTo>
                <a:close/>
                <a:moveTo>
                  <a:pt x="3271966" y="4334744"/>
                </a:moveTo>
                <a:cubicBezTo>
                  <a:pt x="3261477" y="4336842"/>
                  <a:pt x="3248890" y="4343135"/>
                  <a:pt x="3236304" y="4343135"/>
                </a:cubicBezTo>
                <a:cubicBezTo>
                  <a:pt x="3219522" y="4343135"/>
                  <a:pt x="3211131" y="4347330"/>
                  <a:pt x="3206935" y="4362015"/>
                </a:cubicBezTo>
                <a:cubicBezTo>
                  <a:pt x="3202740" y="4370406"/>
                  <a:pt x="3200642" y="4378797"/>
                  <a:pt x="3209033" y="4378797"/>
                </a:cubicBezTo>
                <a:cubicBezTo>
                  <a:pt x="3221620" y="4378797"/>
                  <a:pt x="3232108" y="4393481"/>
                  <a:pt x="3244695" y="4378797"/>
                </a:cubicBezTo>
                <a:cubicBezTo>
                  <a:pt x="3250988" y="4368308"/>
                  <a:pt x="3261477" y="4368308"/>
                  <a:pt x="3271966" y="4372503"/>
                </a:cubicBezTo>
                <a:cubicBezTo>
                  <a:pt x="3280356" y="4376699"/>
                  <a:pt x="3282454" y="4395579"/>
                  <a:pt x="3295042" y="4380894"/>
                </a:cubicBezTo>
                <a:cubicBezTo>
                  <a:pt x="3305531" y="4370406"/>
                  <a:pt x="3303433" y="4357819"/>
                  <a:pt x="3299237" y="4347330"/>
                </a:cubicBezTo>
                <a:cubicBezTo>
                  <a:pt x="3295042" y="4336842"/>
                  <a:pt x="3284552" y="4332645"/>
                  <a:pt x="3271966" y="4334744"/>
                </a:cubicBezTo>
                <a:close/>
                <a:moveTo>
                  <a:pt x="1230052" y="4327401"/>
                </a:moveTo>
                <a:cubicBezTo>
                  <a:pt x="1249016" y="4342316"/>
                  <a:pt x="1251124" y="4365751"/>
                  <a:pt x="1274301" y="4378535"/>
                </a:cubicBezTo>
                <a:cubicBezTo>
                  <a:pt x="1289052" y="4338055"/>
                  <a:pt x="1282731" y="4329531"/>
                  <a:pt x="1230052" y="4327401"/>
                </a:cubicBezTo>
                <a:close/>
                <a:moveTo>
                  <a:pt x="1324539" y="4316683"/>
                </a:moveTo>
                <a:cubicBezTo>
                  <a:pt x="1321630" y="4316360"/>
                  <a:pt x="1317051" y="4318306"/>
                  <a:pt x="1309728" y="4324014"/>
                </a:cubicBezTo>
                <a:cubicBezTo>
                  <a:pt x="1292986" y="4336470"/>
                  <a:pt x="1311820" y="4351001"/>
                  <a:pt x="1318098" y="4359305"/>
                </a:cubicBezTo>
                <a:cubicBezTo>
                  <a:pt x="1328562" y="4375913"/>
                  <a:pt x="1347396" y="4390444"/>
                  <a:pt x="1307633" y="4380064"/>
                </a:cubicBezTo>
                <a:cubicBezTo>
                  <a:pt x="1305541" y="4380064"/>
                  <a:pt x="1299263" y="4392520"/>
                  <a:pt x="1307633" y="4394595"/>
                </a:cubicBezTo>
                <a:cubicBezTo>
                  <a:pt x="1324375" y="4400824"/>
                  <a:pt x="1341118" y="4425734"/>
                  <a:pt x="1357860" y="4400824"/>
                </a:cubicBezTo>
                <a:cubicBezTo>
                  <a:pt x="1372509" y="4380064"/>
                  <a:pt x="1385066" y="4396672"/>
                  <a:pt x="1401808" y="4390444"/>
                </a:cubicBezTo>
                <a:cubicBezTo>
                  <a:pt x="1366231" y="4388368"/>
                  <a:pt x="1362045" y="4351001"/>
                  <a:pt x="1334839" y="4340622"/>
                </a:cubicBezTo>
                <a:cubicBezTo>
                  <a:pt x="1326992" y="4339065"/>
                  <a:pt x="1333271" y="4317657"/>
                  <a:pt x="1324539" y="4316683"/>
                </a:cubicBezTo>
                <a:close/>
                <a:moveTo>
                  <a:pt x="3252431" y="4310686"/>
                </a:moveTo>
                <a:cubicBezTo>
                  <a:pt x="3245219" y="4310686"/>
                  <a:pt x="3238008" y="4314946"/>
                  <a:pt x="3230798" y="4323468"/>
                </a:cubicBezTo>
                <a:cubicBezTo>
                  <a:pt x="3245219" y="4323468"/>
                  <a:pt x="3259642" y="4323468"/>
                  <a:pt x="3274064" y="4323468"/>
                </a:cubicBezTo>
                <a:cubicBezTo>
                  <a:pt x="3266854" y="4314946"/>
                  <a:pt x="3259642" y="4310686"/>
                  <a:pt x="3252431" y="4310686"/>
                </a:cubicBezTo>
                <a:close/>
                <a:moveTo>
                  <a:pt x="1121084" y="4285446"/>
                </a:moveTo>
                <a:cubicBezTo>
                  <a:pt x="1148229" y="4321411"/>
                  <a:pt x="1150317" y="4321411"/>
                  <a:pt x="1121084" y="4338337"/>
                </a:cubicBezTo>
                <a:cubicBezTo>
                  <a:pt x="1116908" y="4340453"/>
                  <a:pt x="1110643" y="4342569"/>
                  <a:pt x="1104379" y="4342569"/>
                </a:cubicBezTo>
                <a:cubicBezTo>
                  <a:pt x="1089764" y="4346801"/>
                  <a:pt x="1104379" y="4353147"/>
                  <a:pt x="1104379" y="4359494"/>
                </a:cubicBezTo>
                <a:cubicBezTo>
                  <a:pt x="1106468" y="4370073"/>
                  <a:pt x="1112732" y="4378535"/>
                  <a:pt x="1125261" y="4378535"/>
                </a:cubicBezTo>
                <a:cubicBezTo>
                  <a:pt x="1127348" y="4378535"/>
                  <a:pt x="1129437" y="4372188"/>
                  <a:pt x="1131525" y="4370073"/>
                </a:cubicBezTo>
                <a:cubicBezTo>
                  <a:pt x="1139877" y="4338337"/>
                  <a:pt x="1144053" y="4336221"/>
                  <a:pt x="1173285" y="4353147"/>
                </a:cubicBezTo>
                <a:cubicBezTo>
                  <a:pt x="1181638" y="4359494"/>
                  <a:pt x="1189990" y="4367957"/>
                  <a:pt x="1202518" y="4351032"/>
                </a:cubicBezTo>
                <a:cubicBezTo>
                  <a:pt x="1162845" y="4348916"/>
                  <a:pt x="1169109" y="4291793"/>
                  <a:pt x="1121084" y="4285446"/>
                </a:cubicBezTo>
                <a:close/>
                <a:moveTo>
                  <a:pt x="1328740" y="4263926"/>
                </a:moveTo>
                <a:cubicBezTo>
                  <a:pt x="1321107" y="4267284"/>
                  <a:pt x="1315166" y="4281763"/>
                  <a:pt x="1313963" y="4287643"/>
                </a:cubicBezTo>
                <a:cubicBezTo>
                  <a:pt x="1313963" y="4308550"/>
                  <a:pt x="1337494" y="4308550"/>
                  <a:pt x="1354607" y="4316912"/>
                </a:cubicBezTo>
                <a:cubicBezTo>
                  <a:pt x="1352469" y="4304369"/>
                  <a:pt x="1352469" y="4293915"/>
                  <a:pt x="1348189" y="4285553"/>
                </a:cubicBezTo>
                <a:cubicBezTo>
                  <a:pt x="1344446" y="4274053"/>
                  <a:pt x="1340569" y="4267781"/>
                  <a:pt x="1336826" y="4265005"/>
                </a:cubicBezTo>
                <a:cubicBezTo>
                  <a:pt x="1334018" y="4262923"/>
                  <a:pt x="1331285" y="4262806"/>
                  <a:pt x="1328740" y="4263926"/>
                </a:cubicBezTo>
                <a:close/>
                <a:moveTo>
                  <a:pt x="1207762" y="4258175"/>
                </a:moveTo>
                <a:cubicBezTo>
                  <a:pt x="1188884" y="4253980"/>
                  <a:pt x="1197274" y="4277054"/>
                  <a:pt x="1182590" y="4272859"/>
                </a:cubicBezTo>
                <a:cubicBezTo>
                  <a:pt x="1176297" y="4270762"/>
                  <a:pt x="1184688" y="4281251"/>
                  <a:pt x="1184688" y="4281251"/>
                </a:cubicBezTo>
                <a:cubicBezTo>
                  <a:pt x="1211958" y="4281251"/>
                  <a:pt x="1224545" y="4316912"/>
                  <a:pt x="1260207" y="4314814"/>
                </a:cubicBezTo>
                <a:cubicBezTo>
                  <a:pt x="1241327" y="4291739"/>
                  <a:pt x="1239230" y="4264468"/>
                  <a:pt x="1207762" y="4258175"/>
                </a:cubicBezTo>
                <a:close/>
                <a:moveTo>
                  <a:pt x="714323" y="4235148"/>
                </a:moveTo>
                <a:cubicBezTo>
                  <a:pt x="730902" y="4243729"/>
                  <a:pt x="745410" y="4254457"/>
                  <a:pt x="761988" y="4265184"/>
                </a:cubicBezTo>
                <a:cubicBezTo>
                  <a:pt x="753698" y="4271620"/>
                  <a:pt x="749554" y="4280201"/>
                  <a:pt x="739192" y="4280201"/>
                </a:cubicBezTo>
                <a:cubicBezTo>
                  <a:pt x="718468" y="4278057"/>
                  <a:pt x="710178" y="4263037"/>
                  <a:pt x="701888" y="4248020"/>
                </a:cubicBezTo>
                <a:cubicBezTo>
                  <a:pt x="697744" y="4243729"/>
                  <a:pt x="710178" y="4233002"/>
                  <a:pt x="714323" y="4235148"/>
                </a:cubicBezTo>
                <a:close/>
                <a:moveTo>
                  <a:pt x="1081372" y="4195766"/>
                </a:moveTo>
                <a:cubicBezTo>
                  <a:pt x="1066688" y="4195766"/>
                  <a:pt x="1052004" y="4193669"/>
                  <a:pt x="1052004" y="4210452"/>
                </a:cubicBezTo>
                <a:cubicBezTo>
                  <a:pt x="1049906" y="4233526"/>
                  <a:pt x="1037319" y="4260797"/>
                  <a:pt x="1058297" y="4279677"/>
                </a:cubicBezTo>
                <a:cubicBezTo>
                  <a:pt x="1064590" y="4283873"/>
                  <a:pt x="1079274" y="4298557"/>
                  <a:pt x="1087666" y="4281775"/>
                </a:cubicBezTo>
                <a:cubicBezTo>
                  <a:pt x="1100253" y="4262895"/>
                  <a:pt x="1077177" y="4275482"/>
                  <a:pt x="1072981" y="4269188"/>
                </a:cubicBezTo>
                <a:cubicBezTo>
                  <a:pt x="1068786" y="4258700"/>
                  <a:pt x="1077177" y="4256602"/>
                  <a:pt x="1083470" y="4254504"/>
                </a:cubicBezTo>
                <a:cubicBezTo>
                  <a:pt x="1091862" y="4246112"/>
                  <a:pt x="1100253" y="4271286"/>
                  <a:pt x="1110742" y="4256602"/>
                </a:cubicBezTo>
                <a:cubicBezTo>
                  <a:pt x="1106546" y="4241917"/>
                  <a:pt x="1083470" y="4246112"/>
                  <a:pt x="1079274" y="4229330"/>
                </a:cubicBezTo>
                <a:cubicBezTo>
                  <a:pt x="1093960" y="4218842"/>
                  <a:pt x="1104448" y="4233526"/>
                  <a:pt x="1121230" y="4233526"/>
                </a:cubicBezTo>
                <a:cubicBezTo>
                  <a:pt x="1108644" y="4195766"/>
                  <a:pt x="1108644" y="4197864"/>
                  <a:pt x="1081372" y="4195766"/>
                </a:cubicBezTo>
                <a:close/>
                <a:moveTo>
                  <a:pt x="771165" y="4189735"/>
                </a:moveTo>
                <a:cubicBezTo>
                  <a:pt x="760677" y="4191818"/>
                  <a:pt x="750188" y="4200147"/>
                  <a:pt x="754383" y="4206394"/>
                </a:cubicBezTo>
                <a:cubicBezTo>
                  <a:pt x="760677" y="4223054"/>
                  <a:pt x="775361" y="4225135"/>
                  <a:pt x="792144" y="4225135"/>
                </a:cubicBezTo>
                <a:cubicBezTo>
                  <a:pt x="802632" y="4225135"/>
                  <a:pt x="813121" y="4218888"/>
                  <a:pt x="813121" y="4212641"/>
                </a:cubicBezTo>
                <a:cubicBezTo>
                  <a:pt x="808926" y="4191818"/>
                  <a:pt x="781655" y="4202228"/>
                  <a:pt x="771165" y="4189735"/>
                </a:cubicBezTo>
                <a:close/>
                <a:moveTo>
                  <a:pt x="1259880" y="4189473"/>
                </a:moveTo>
                <a:cubicBezTo>
                  <a:pt x="1254016" y="4189473"/>
                  <a:pt x="1247387" y="4191046"/>
                  <a:pt x="1239230" y="4192095"/>
                </a:cubicBezTo>
                <a:cubicBezTo>
                  <a:pt x="1251466" y="4198389"/>
                  <a:pt x="1261665" y="4202584"/>
                  <a:pt x="1271861" y="4206780"/>
                </a:cubicBezTo>
                <a:cubicBezTo>
                  <a:pt x="1271861" y="4202584"/>
                  <a:pt x="1275941" y="4198389"/>
                  <a:pt x="1275941" y="4196291"/>
                </a:cubicBezTo>
                <a:cubicBezTo>
                  <a:pt x="1270842" y="4191046"/>
                  <a:pt x="1265743" y="4189473"/>
                  <a:pt x="1259880" y="4189473"/>
                </a:cubicBezTo>
                <a:close/>
                <a:moveTo>
                  <a:pt x="925876" y="4147779"/>
                </a:moveTo>
                <a:cubicBezTo>
                  <a:pt x="940641" y="4168851"/>
                  <a:pt x="934313" y="4194136"/>
                  <a:pt x="959622" y="4206780"/>
                </a:cubicBezTo>
                <a:cubicBezTo>
                  <a:pt x="955404" y="4183600"/>
                  <a:pt x="974387" y="4154100"/>
                  <a:pt x="925876" y="4147779"/>
                </a:cubicBezTo>
                <a:close/>
                <a:moveTo>
                  <a:pt x="1177608" y="4137290"/>
                </a:moveTo>
                <a:cubicBezTo>
                  <a:pt x="1188198" y="4153773"/>
                  <a:pt x="1200905" y="4166135"/>
                  <a:pt x="1232674" y="4166135"/>
                </a:cubicBezTo>
                <a:cubicBezTo>
                  <a:pt x="1207259" y="4155833"/>
                  <a:pt x="1200905" y="4137290"/>
                  <a:pt x="1177608" y="4137290"/>
                </a:cubicBezTo>
                <a:close/>
                <a:moveTo>
                  <a:pt x="1028531" y="4126849"/>
                </a:moveTo>
                <a:cubicBezTo>
                  <a:pt x="1003474" y="4116314"/>
                  <a:pt x="1038971" y="4162670"/>
                  <a:pt x="1009739" y="4147921"/>
                </a:cubicBezTo>
                <a:cubicBezTo>
                  <a:pt x="999297" y="4175312"/>
                  <a:pt x="1041060" y="4152135"/>
                  <a:pt x="1036882" y="4166885"/>
                </a:cubicBezTo>
                <a:cubicBezTo>
                  <a:pt x="1032707" y="4160563"/>
                  <a:pt x="1055676" y="4137385"/>
                  <a:pt x="1028531" y="4126849"/>
                </a:cubicBezTo>
                <a:close/>
                <a:moveTo>
                  <a:pt x="1079097" y="4118166"/>
                </a:moveTo>
                <a:cubicBezTo>
                  <a:pt x="1076243" y="4117903"/>
                  <a:pt x="1072610" y="4120009"/>
                  <a:pt x="1068458" y="4122114"/>
                </a:cubicBezTo>
                <a:cubicBezTo>
                  <a:pt x="1037319" y="4134748"/>
                  <a:pt x="1056003" y="4157912"/>
                  <a:pt x="1049775" y="4183180"/>
                </a:cubicBezTo>
                <a:cubicBezTo>
                  <a:pt x="1068458" y="4168440"/>
                  <a:pt x="1070533" y="4162123"/>
                  <a:pt x="1062230" y="4151594"/>
                </a:cubicBezTo>
                <a:cubicBezTo>
                  <a:pt x="1056003" y="4141066"/>
                  <a:pt x="1060155" y="4130536"/>
                  <a:pt x="1072610" y="4136854"/>
                </a:cubicBezTo>
                <a:cubicBezTo>
                  <a:pt x="1087141" y="4145277"/>
                  <a:pt x="1087141" y="4136854"/>
                  <a:pt x="1085065" y="4128431"/>
                </a:cubicBezTo>
                <a:cubicBezTo>
                  <a:pt x="1084028" y="4121061"/>
                  <a:pt x="1081951" y="4118429"/>
                  <a:pt x="1079097" y="4118166"/>
                </a:cubicBezTo>
                <a:close/>
                <a:moveTo>
                  <a:pt x="815028" y="4108446"/>
                </a:moveTo>
                <a:cubicBezTo>
                  <a:pt x="808592" y="4110544"/>
                  <a:pt x="804301" y="4112642"/>
                  <a:pt x="800009" y="4112642"/>
                </a:cubicBezTo>
                <a:cubicBezTo>
                  <a:pt x="804301" y="4116837"/>
                  <a:pt x="806446" y="4123130"/>
                  <a:pt x="810738" y="4125228"/>
                </a:cubicBezTo>
                <a:cubicBezTo>
                  <a:pt x="817174" y="4129424"/>
                  <a:pt x="821464" y="4127326"/>
                  <a:pt x="823610" y="4118935"/>
                </a:cubicBezTo>
                <a:cubicBezTo>
                  <a:pt x="823610" y="4114739"/>
                  <a:pt x="821464" y="4108446"/>
                  <a:pt x="815028" y="4108446"/>
                </a:cubicBezTo>
                <a:close/>
                <a:moveTo>
                  <a:pt x="609375" y="4108446"/>
                </a:moveTo>
                <a:cubicBezTo>
                  <a:pt x="603081" y="4127219"/>
                  <a:pt x="617766" y="4143906"/>
                  <a:pt x="598885" y="4152250"/>
                </a:cubicBezTo>
                <a:cubicBezTo>
                  <a:pt x="594690" y="4154336"/>
                  <a:pt x="584201" y="4152250"/>
                  <a:pt x="582103" y="4150163"/>
                </a:cubicBezTo>
                <a:cubicBezTo>
                  <a:pt x="575811" y="4129305"/>
                  <a:pt x="588397" y="4120963"/>
                  <a:pt x="609375" y="4108446"/>
                </a:cubicBezTo>
                <a:close/>
                <a:moveTo>
                  <a:pt x="719242" y="4099208"/>
                </a:moveTo>
                <a:cubicBezTo>
                  <a:pt x="712131" y="4101821"/>
                  <a:pt x="705282" y="4109138"/>
                  <a:pt x="705282" y="4110184"/>
                </a:cubicBezTo>
                <a:cubicBezTo>
                  <a:pt x="698961" y="4124818"/>
                  <a:pt x="679997" y="4124818"/>
                  <a:pt x="661033" y="4137362"/>
                </a:cubicBezTo>
                <a:cubicBezTo>
                  <a:pt x="696854" y="4151997"/>
                  <a:pt x="726353" y="4135272"/>
                  <a:pt x="751639" y="4151997"/>
                </a:cubicBezTo>
                <a:cubicBezTo>
                  <a:pt x="762175" y="4158269"/>
                  <a:pt x="779032" y="4149907"/>
                  <a:pt x="776926" y="4135272"/>
                </a:cubicBezTo>
                <a:cubicBezTo>
                  <a:pt x="776926" y="4120636"/>
                  <a:pt x="768497" y="4118546"/>
                  <a:pt x="753747" y="4124818"/>
                </a:cubicBezTo>
                <a:cubicBezTo>
                  <a:pt x="747426" y="4129000"/>
                  <a:pt x="734782" y="4129000"/>
                  <a:pt x="734782" y="4116456"/>
                </a:cubicBezTo>
                <a:cubicBezTo>
                  <a:pt x="733729" y="4098685"/>
                  <a:pt x="726353" y="4096594"/>
                  <a:pt x="719242" y="4099208"/>
                </a:cubicBezTo>
                <a:close/>
                <a:moveTo>
                  <a:pt x="701401" y="4058100"/>
                </a:moveTo>
                <a:cubicBezTo>
                  <a:pt x="693120" y="4058100"/>
                  <a:pt x="680700" y="4068589"/>
                  <a:pt x="680700" y="4083273"/>
                </a:cubicBezTo>
                <a:cubicBezTo>
                  <a:pt x="680700" y="4087469"/>
                  <a:pt x="691050" y="4097958"/>
                  <a:pt x="695190" y="4097958"/>
                </a:cubicBezTo>
                <a:cubicBezTo>
                  <a:pt x="703470" y="4095860"/>
                  <a:pt x="713822" y="4089567"/>
                  <a:pt x="720032" y="4085371"/>
                </a:cubicBezTo>
                <a:cubicBezTo>
                  <a:pt x="715891" y="4074882"/>
                  <a:pt x="713822" y="4056003"/>
                  <a:pt x="701401" y="4058100"/>
                </a:cubicBezTo>
                <a:close/>
                <a:moveTo>
                  <a:pt x="802430" y="4046825"/>
                </a:moveTo>
                <a:cubicBezTo>
                  <a:pt x="800312" y="4051061"/>
                  <a:pt x="798194" y="4055297"/>
                  <a:pt x="798194" y="4057415"/>
                </a:cubicBezTo>
                <a:cubicBezTo>
                  <a:pt x="796077" y="4074359"/>
                  <a:pt x="806667" y="4072241"/>
                  <a:pt x="823610" y="4070122"/>
                </a:cubicBezTo>
                <a:cubicBezTo>
                  <a:pt x="819374" y="4059533"/>
                  <a:pt x="810902" y="4053180"/>
                  <a:pt x="802430" y="4046825"/>
                </a:cubicBezTo>
                <a:close/>
                <a:moveTo>
                  <a:pt x="864570" y="4027421"/>
                </a:moveTo>
                <a:cubicBezTo>
                  <a:pt x="861713" y="4026372"/>
                  <a:pt x="858080" y="4026896"/>
                  <a:pt x="854968" y="4027945"/>
                </a:cubicBezTo>
                <a:cubicBezTo>
                  <a:pt x="850815" y="4027945"/>
                  <a:pt x="848739" y="4030042"/>
                  <a:pt x="844587" y="4032140"/>
                </a:cubicBezTo>
                <a:cubicBezTo>
                  <a:pt x="848739" y="4038433"/>
                  <a:pt x="852892" y="4042629"/>
                  <a:pt x="863271" y="4044727"/>
                </a:cubicBezTo>
                <a:cubicBezTo>
                  <a:pt x="867423" y="4046825"/>
                  <a:pt x="869499" y="4040531"/>
                  <a:pt x="869499" y="4036336"/>
                </a:cubicBezTo>
                <a:cubicBezTo>
                  <a:pt x="869499" y="4031091"/>
                  <a:pt x="867423" y="4028470"/>
                  <a:pt x="864570" y="4027421"/>
                </a:cubicBezTo>
                <a:close/>
                <a:moveTo>
                  <a:pt x="580728" y="4022400"/>
                </a:moveTo>
                <a:cubicBezTo>
                  <a:pt x="572906" y="4023180"/>
                  <a:pt x="569777" y="4030979"/>
                  <a:pt x="571341" y="4038777"/>
                </a:cubicBezTo>
                <a:cubicBezTo>
                  <a:pt x="581771" y="4069973"/>
                  <a:pt x="621402" y="4055415"/>
                  <a:pt x="636002" y="4078292"/>
                </a:cubicBezTo>
                <a:cubicBezTo>
                  <a:pt x="646432" y="4069973"/>
                  <a:pt x="633917" y="4042936"/>
                  <a:pt x="661033" y="4053335"/>
                </a:cubicBezTo>
                <a:cubicBezTo>
                  <a:pt x="656862" y="4047097"/>
                  <a:pt x="652690" y="4040857"/>
                  <a:pt x="650603" y="4040857"/>
                </a:cubicBezTo>
                <a:cubicBezTo>
                  <a:pt x="625572" y="4055415"/>
                  <a:pt x="608887" y="4030459"/>
                  <a:pt x="590114" y="4024220"/>
                </a:cubicBezTo>
                <a:cubicBezTo>
                  <a:pt x="586463" y="4022660"/>
                  <a:pt x="583336" y="4022140"/>
                  <a:pt x="580728" y="4022400"/>
                </a:cubicBezTo>
                <a:close/>
                <a:moveTo>
                  <a:pt x="486296" y="4015522"/>
                </a:moveTo>
                <a:cubicBezTo>
                  <a:pt x="490976" y="4016407"/>
                  <a:pt x="495755" y="4018505"/>
                  <a:pt x="499886" y="4022177"/>
                </a:cubicBezTo>
                <a:cubicBezTo>
                  <a:pt x="504018" y="4026372"/>
                  <a:pt x="510216" y="4026372"/>
                  <a:pt x="514348" y="4030568"/>
                </a:cubicBezTo>
                <a:cubicBezTo>
                  <a:pt x="518480" y="4032666"/>
                  <a:pt x="520545" y="4036861"/>
                  <a:pt x="524678" y="4043154"/>
                </a:cubicBezTo>
                <a:cubicBezTo>
                  <a:pt x="499886" y="4049447"/>
                  <a:pt x="479227" y="4047350"/>
                  <a:pt x="466830" y="4030568"/>
                </a:cubicBezTo>
                <a:cubicBezTo>
                  <a:pt x="459083" y="4021128"/>
                  <a:pt x="472254" y="4012867"/>
                  <a:pt x="486296" y="4015522"/>
                </a:cubicBezTo>
                <a:close/>
                <a:moveTo>
                  <a:pt x="611211" y="3983892"/>
                </a:moveTo>
                <a:cubicBezTo>
                  <a:pt x="604656" y="3988044"/>
                  <a:pt x="598100" y="3992196"/>
                  <a:pt x="598100" y="4000500"/>
                </a:cubicBezTo>
                <a:cubicBezTo>
                  <a:pt x="598100" y="4002576"/>
                  <a:pt x="602471" y="4006728"/>
                  <a:pt x="604656" y="4006728"/>
                </a:cubicBezTo>
                <a:cubicBezTo>
                  <a:pt x="615581" y="4008803"/>
                  <a:pt x="617767" y="4000500"/>
                  <a:pt x="615581" y="3992196"/>
                </a:cubicBezTo>
                <a:cubicBezTo>
                  <a:pt x="615581" y="3990121"/>
                  <a:pt x="613396" y="3983892"/>
                  <a:pt x="611211" y="3983892"/>
                </a:cubicBezTo>
                <a:close/>
                <a:moveTo>
                  <a:pt x="447561" y="3982580"/>
                </a:moveTo>
                <a:cubicBezTo>
                  <a:pt x="455666" y="3982580"/>
                  <a:pt x="461745" y="3982580"/>
                  <a:pt x="461745" y="3992413"/>
                </a:cubicBezTo>
                <a:cubicBezTo>
                  <a:pt x="461745" y="3994381"/>
                  <a:pt x="457692" y="3996347"/>
                  <a:pt x="455666" y="3998314"/>
                </a:cubicBezTo>
                <a:cubicBezTo>
                  <a:pt x="445535" y="3998314"/>
                  <a:pt x="441481" y="3992413"/>
                  <a:pt x="439456" y="3986514"/>
                </a:cubicBezTo>
                <a:cubicBezTo>
                  <a:pt x="441481" y="3984547"/>
                  <a:pt x="445535" y="3982580"/>
                  <a:pt x="447561" y="3982580"/>
                </a:cubicBezTo>
                <a:close/>
                <a:moveTo>
                  <a:pt x="676690" y="3947181"/>
                </a:moveTo>
                <a:cubicBezTo>
                  <a:pt x="672524" y="3953278"/>
                  <a:pt x="676690" y="3959375"/>
                  <a:pt x="674607" y="3965471"/>
                </a:cubicBezTo>
                <a:cubicBezTo>
                  <a:pt x="666277" y="3987826"/>
                  <a:pt x="680854" y="3983762"/>
                  <a:pt x="691266" y="3973600"/>
                </a:cubicBezTo>
                <a:cubicBezTo>
                  <a:pt x="701677" y="3961407"/>
                  <a:pt x="687100" y="3955311"/>
                  <a:pt x="676690" y="3947181"/>
                </a:cubicBezTo>
                <a:close/>
                <a:moveTo>
                  <a:pt x="388424" y="3923582"/>
                </a:moveTo>
                <a:cubicBezTo>
                  <a:pt x="405367" y="3942564"/>
                  <a:pt x="399014" y="3957327"/>
                  <a:pt x="390542" y="3972092"/>
                </a:cubicBezTo>
                <a:cubicBezTo>
                  <a:pt x="377834" y="3957327"/>
                  <a:pt x="377834" y="3942564"/>
                  <a:pt x="388424" y="3923582"/>
                </a:cubicBezTo>
                <a:close/>
                <a:moveTo>
                  <a:pt x="623866" y="3910470"/>
                </a:moveTo>
                <a:cubicBezTo>
                  <a:pt x="621756" y="3910470"/>
                  <a:pt x="617539" y="3916787"/>
                  <a:pt x="617539" y="3918894"/>
                </a:cubicBezTo>
                <a:cubicBezTo>
                  <a:pt x="628083" y="3935739"/>
                  <a:pt x="611211" y="3979959"/>
                  <a:pt x="659722" y="3961007"/>
                </a:cubicBezTo>
                <a:cubicBezTo>
                  <a:pt x="653394" y="3944162"/>
                  <a:pt x="630193" y="3937846"/>
                  <a:pt x="634412" y="3916787"/>
                </a:cubicBezTo>
                <a:cubicBezTo>
                  <a:pt x="634412" y="3914682"/>
                  <a:pt x="628083" y="3910470"/>
                  <a:pt x="623866" y="3910470"/>
                </a:cubicBezTo>
                <a:close/>
                <a:moveTo>
                  <a:pt x="690138" y="3904697"/>
                </a:moveTo>
                <a:cubicBezTo>
                  <a:pt x="681485" y="3904798"/>
                  <a:pt x="672832" y="3914895"/>
                  <a:pt x="657099" y="3906818"/>
                </a:cubicBezTo>
                <a:cubicBezTo>
                  <a:pt x="675979" y="3926203"/>
                  <a:pt x="688566" y="3924050"/>
                  <a:pt x="701153" y="3917588"/>
                </a:cubicBezTo>
                <a:cubicBezTo>
                  <a:pt x="709544" y="3913280"/>
                  <a:pt x="701153" y="3911126"/>
                  <a:pt x="699055" y="3908972"/>
                </a:cubicBezTo>
                <a:cubicBezTo>
                  <a:pt x="695908" y="3905741"/>
                  <a:pt x="693022" y="3904665"/>
                  <a:pt x="690138" y="3904697"/>
                </a:cubicBezTo>
                <a:close/>
                <a:moveTo>
                  <a:pt x="664092" y="3883666"/>
                </a:moveTo>
                <a:cubicBezTo>
                  <a:pt x="662017" y="3883666"/>
                  <a:pt x="657864" y="3885705"/>
                  <a:pt x="655788" y="3885705"/>
                </a:cubicBezTo>
                <a:cubicBezTo>
                  <a:pt x="659940" y="3891823"/>
                  <a:pt x="664092" y="3895902"/>
                  <a:pt x="670320" y="3899981"/>
                </a:cubicBezTo>
                <a:cubicBezTo>
                  <a:pt x="672396" y="3899981"/>
                  <a:pt x="678624" y="3895902"/>
                  <a:pt x="678624" y="3893863"/>
                </a:cubicBezTo>
                <a:cubicBezTo>
                  <a:pt x="680700" y="3883666"/>
                  <a:pt x="674471" y="3881626"/>
                  <a:pt x="664092" y="3883666"/>
                </a:cubicBezTo>
                <a:close/>
                <a:moveTo>
                  <a:pt x="713914" y="3864581"/>
                </a:moveTo>
                <a:cubicBezTo>
                  <a:pt x="711838" y="3864581"/>
                  <a:pt x="707687" y="3871137"/>
                  <a:pt x="707687" y="3873322"/>
                </a:cubicBezTo>
                <a:cubicBezTo>
                  <a:pt x="705611" y="3882063"/>
                  <a:pt x="711838" y="3882063"/>
                  <a:pt x="718065" y="3882063"/>
                </a:cubicBezTo>
                <a:cubicBezTo>
                  <a:pt x="722218" y="3882063"/>
                  <a:pt x="728446" y="3884247"/>
                  <a:pt x="730522" y="3877693"/>
                </a:cubicBezTo>
                <a:cubicBezTo>
                  <a:pt x="726370" y="3871137"/>
                  <a:pt x="722218" y="3864581"/>
                  <a:pt x="713914" y="3864581"/>
                </a:cubicBezTo>
                <a:close/>
                <a:moveTo>
                  <a:pt x="492087" y="3839670"/>
                </a:moveTo>
                <a:cubicBezTo>
                  <a:pt x="487968" y="3854202"/>
                  <a:pt x="496208" y="3858354"/>
                  <a:pt x="506510" y="3864582"/>
                </a:cubicBezTo>
                <a:cubicBezTo>
                  <a:pt x="508570" y="3864582"/>
                  <a:pt x="516812" y="3864582"/>
                  <a:pt x="512691" y="3858354"/>
                </a:cubicBezTo>
                <a:cubicBezTo>
                  <a:pt x="508570" y="3850050"/>
                  <a:pt x="504449" y="3841747"/>
                  <a:pt x="492087" y="3839670"/>
                </a:cubicBezTo>
                <a:close/>
                <a:moveTo>
                  <a:pt x="858542" y="3759693"/>
                </a:moveTo>
                <a:cubicBezTo>
                  <a:pt x="839718" y="3761769"/>
                  <a:pt x="818802" y="3763845"/>
                  <a:pt x="789521" y="3767997"/>
                </a:cubicBezTo>
                <a:cubicBezTo>
                  <a:pt x="822985" y="3784604"/>
                  <a:pt x="850176" y="3770072"/>
                  <a:pt x="873182" y="3780452"/>
                </a:cubicBezTo>
                <a:cubicBezTo>
                  <a:pt x="875274" y="3776301"/>
                  <a:pt x="877365" y="3772149"/>
                  <a:pt x="877365" y="3770072"/>
                </a:cubicBezTo>
                <a:cubicBezTo>
                  <a:pt x="871091" y="3765920"/>
                  <a:pt x="864816" y="3759693"/>
                  <a:pt x="858542" y="3759693"/>
                </a:cubicBezTo>
                <a:close/>
                <a:moveTo>
                  <a:pt x="564995" y="3745270"/>
                </a:moveTo>
                <a:cubicBezTo>
                  <a:pt x="556473" y="3768148"/>
                  <a:pt x="547949" y="3782705"/>
                  <a:pt x="535167" y="3797263"/>
                </a:cubicBezTo>
                <a:cubicBezTo>
                  <a:pt x="547949" y="3805582"/>
                  <a:pt x="558603" y="3784786"/>
                  <a:pt x="569255" y="3799343"/>
                </a:cubicBezTo>
                <a:cubicBezTo>
                  <a:pt x="569255" y="3801423"/>
                  <a:pt x="573517" y="3799343"/>
                  <a:pt x="575648" y="3797263"/>
                </a:cubicBezTo>
                <a:cubicBezTo>
                  <a:pt x="567125" y="3784786"/>
                  <a:pt x="575648" y="3776467"/>
                  <a:pt x="586300" y="3768148"/>
                </a:cubicBezTo>
                <a:cubicBezTo>
                  <a:pt x="579908" y="3761908"/>
                  <a:pt x="573517" y="3753590"/>
                  <a:pt x="564995" y="3745270"/>
                </a:cubicBezTo>
                <a:close/>
                <a:moveTo>
                  <a:pt x="463183" y="3722393"/>
                </a:moveTo>
                <a:cubicBezTo>
                  <a:pt x="466495" y="3722655"/>
                  <a:pt x="469773" y="3723703"/>
                  <a:pt x="472921" y="3726322"/>
                </a:cubicBezTo>
                <a:lnTo>
                  <a:pt x="450815" y="3723379"/>
                </a:lnTo>
                <a:lnTo>
                  <a:pt x="453247" y="3723178"/>
                </a:lnTo>
                <a:cubicBezTo>
                  <a:pt x="456527" y="3722655"/>
                  <a:pt x="459871" y="3722131"/>
                  <a:pt x="463183" y="3722393"/>
                </a:cubicBezTo>
                <a:close/>
                <a:moveTo>
                  <a:pt x="439716" y="3721268"/>
                </a:moveTo>
                <a:lnTo>
                  <a:pt x="441444" y="3722131"/>
                </a:lnTo>
                <a:lnTo>
                  <a:pt x="450815" y="3723379"/>
                </a:lnTo>
                <a:lnTo>
                  <a:pt x="443706" y="3723965"/>
                </a:lnTo>
                <a:lnTo>
                  <a:pt x="438639" y="3721639"/>
                </a:lnTo>
                <a:close/>
                <a:moveTo>
                  <a:pt x="4329503" y="3705938"/>
                </a:moveTo>
                <a:cubicBezTo>
                  <a:pt x="4310872" y="3726697"/>
                  <a:pt x="4319154" y="3749532"/>
                  <a:pt x="4298452" y="3755760"/>
                </a:cubicBezTo>
                <a:cubicBezTo>
                  <a:pt x="4294310" y="3755760"/>
                  <a:pt x="4290170" y="3755760"/>
                  <a:pt x="4290170" y="3749532"/>
                </a:cubicBezTo>
                <a:cubicBezTo>
                  <a:pt x="4290170" y="3728773"/>
                  <a:pt x="4298452" y="3716318"/>
                  <a:pt x="4329503" y="3705938"/>
                </a:cubicBezTo>
                <a:close/>
                <a:moveTo>
                  <a:pt x="302576" y="3692827"/>
                </a:moveTo>
                <a:cubicBezTo>
                  <a:pt x="300478" y="3692827"/>
                  <a:pt x="292088" y="3694957"/>
                  <a:pt x="292088" y="3697088"/>
                </a:cubicBezTo>
                <a:cubicBezTo>
                  <a:pt x="289990" y="3714132"/>
                  <a:pt x="304674" y="3720524"/>
                  <a:pt x="315163" y="3726916"/>
                </a:cubicBezTo>
                <a:cubicBezTo>
                  <a:pt x="321457" y="3712001"/>
                  <a:pt x="315163" y="3701349"/>
                  <a:pt x="302576" y="3692827"/>
                </a:cubicBezTo>
                <a:close/>
                <a:moveTo>
                  <a:pt x="4140970" y="3692439"/>
                </a:moveTo>
                <a:cubicBezTo>
                  <a:pt x="4146562" y="3692439"/>
                  <a:pt x="4152421" y="3693959"/>
                  <a:pt x="4157748" y="3694972"/>
                </a:cubicBezTo>
                <a:cubicBezTo>
                  <a:pt x="4151357" y="3711182"/>
                  <a:pt x="4140704" y="3711182"/>
                  <a:pt x="4130052" y="3709156"/>
                </a:cubicBezTo>
                <a:cubicBezTo>
                  <a:pt x="4127921" y="3709156"/>
                  <a:pt x="4123660" y="3699025"/>
                  <a:pt x="4125790" y="3699025"/>
                </a:cubicBezTo>
                <a:cubicBezTo>
                  <a:pt x="4130052" y="3693959"/>
                  <a:pt x="4135378" y="3692439"/>
                  <a:pt x="4140970" y="3692439"/>
                </a:cubicBezTo>
                <a:close/>
                <a:moveTo>
                  <a:pt x="758335" y="3685438"/>
                </a:moveTo>
                <a:cubicBezTo>
                  <a:pt x="750906" y="3684660"/>
                  <a:pt x="742945" y="3687255"/>
                  <a:pt x="734455" y="3691407"/>
                </a:cubicBezTo>
                <a:cubicBezTo>
                  <a:pt x="751436" y="3685178"/>
                  <a:pt x="759928" y="3705938"/>
                  <a:pt x="779032" y="3699710"/>
                </a:cubicBezTo>
                <a:cubicBezTo>
                  <a:pt x="772664" y="3690368"/>
                  <a:pt x="765765" y="3686216"/>
                  <a:pt x="758335" y="3685438"/>
                </a:cubicBezTo>
                <a:close/>
                <a:moveTo>
                  <a:pt x="4323554" y="3684960"/>
                </a:moveTo>
                <a:cubicBezTo>
                  <a:pt x="4329906" y="3684960"/>
                  <a:pt x="4334142" y="3684960"/>
                  <a:pt x="4342615" y="3687000"/>
                </a:cubicBezTo>
                <a:cubicBezTo>
                  <a:pt x="4336260" y="3693118"/>
                  <a:pt x="4332024" y="3697197"/>
                  <a:pt x="4327789" y="3699237"/>
                </a:cubicBezTo>
                <a:cubicBezTo>
                  <a:pt x="4321436" y="3703316"/>
                  <a:pt x="4317198" y="3701277"/>
                  <a:pt x="4315082" y="3695157"/>
                </a:cubicBezTo>
                <a:cubicBezTo>
                  <a:pt x="4315082" y="3689039"/>
                  <a:pt x="4317198" y="3684960"/>
                  <a:pt x="4323554" y="3684960"/>
                </a:cubicBezTo>
                <a:close/>
                <a:moveTo>
                  <a:pt x="4551558" y="3669653"/>
                </a:moveTo>
                <a:cubicBezTo>
                  <a:pt x="4543329" y="3670145"/>
                  <a:pt x="4542537" y="3679191"/>
                  <a:pt x="4539364" y="3687058"/>
                </a:cubicBezTo>
                <a:cubicBezTo>
                  <a:pt x="4539364" y="3691253"/>
                  <a:pt x="4528791" y="3695449"/>
                  <a:pt x="4537250" y="3701742"/>
                </a:cubicBezTo>
                <a:cubicBezTo>
                  <a:pt x="4545708" y="3705938"/>
                  <a:pt x="4556282" y="3703840"/>
                  <a:pt x="4562626" y="3695449"/>
                </a:cubicBezTo>
                <a:cubicBezTo>
                  <a:pt x="4568970" y="3682862"/>
                  <a:pt x="4583773" y="3687058"/>
                  <a:pt x="4594346" y="3678667"/>
                </a:cubicBezTo>
                <a:cubicBezTo>
                  <a:pt x="4581658" y="3676569"/>
                  <a:pt x="4571086" y="3676569"/>
                  <a:pt x="4562626" y="3672374"/>
                </a:cubicBezTo>
                <a:cubicBezTo>
                  <a:pt x="4557868" y="3670275"/>
                  <a:pt x="4554300" y="3669490"/>
                  <a:pt x="4551558" y="3669653"/>
                </a:cubicBezTo>
                <a:close/>
                <a:moveTo>
                  <a:pt x="509993" y="3666079"/>
                </a:moveTo>
                <a:cubicBezTo>
                  <a:pt x="493211" y="3663982"/>
                  <a:pt x="486919" y="3682862"/>
                  <a:pt x="472234" y="3682862"/>
                </a:cubicBezTo>
                <a:cubicBezTo>
                  <a:pt x="472234" y="3701742"/>
                  <a:pt x="491113" y="3703840"/>
                  <a:pt x="501602" y="3708035"/>
                </a:cubicBezTo>
                <a:cubicBezTo>
                  <a:pt x="520483" y="3716426"/>
                  <a:pt x="524678" y="3695449"/>
                  <a:pt x="535167" y="3687058"/>
                </a:cubicBezTo>
                <a:cubicBezTo>
                  <a:pt x="530971" y="3672374"/>
                  <a:pt x="522580" y="3668177"/>
                  <a:pt x="509993" y="3666079"/>
                </a:cubicBezTo>
                <a:close/>
                <a:moveTo>
                  <a:pt x="4089108" y="3665872"/>
                </a:moveTo>
                <a:lnTo>
                  <a:pt x="4090873" y="3666176"/>
                </a:lnTo>
                <a:lnTo>
                  <a:pt x="4097962" y="3674209"/>
                </a:lnTo>
                <a:cubicBezTo>
                  <a:pt x="4099010" y="3678404"/>
                  <a:pt x="4099535" y="3683124"/>
                  <a:pt x="4102682" y="3686271"/>
                </a:cubicBezTo>
                <a:cubicBezTo>
                  <a:pt x="4100584" y="3694662"/>
                  <a:pt x="4092194" y="3692564"/>
                  <a:pt x="4087998" y="3692564"/>
                </a:cubicBezTo>
                <a:cubicBezTo>
                  <a:pt x="4083802" y="3690466"/>
                  <a:pt x="4071216" y="3696760"/>
                  <a:pt x="4075412" y="3684173"/>
                </a:cubicBezTo>
                <a:cubicBezTo>
                  <a:pt x="4076460" y="3681026"/>
                  <a:pt x="4076460" y="3676306"/>
                  <a:pt x="4078033" y="3672374"/>
                </a:cubicBezTo>
                <a:close/>
                <a:moveTo>
                  <a:pt x="200119" y="3665293"/>
                </a:moveTo>
                <a:cubicBezTo>
                  <a:pt x="206555" y="3665293"/>
                  <a:pt x="208702" y="3669664"/>
                  <a:pt x="208702" y="3676220"/>
                </a:cubicBezTo>
                <a:cubicBezTo>
                  <a:pt x="208702" y="3682774"/>
                  <a:pt x="202265" y="3684960"/>
                  <a:pt x="195829" y="3682774"/>
                </a:cubicBezTo>
                <a:cubicBezTo>
                  <a:pt x="191537" y="3680589"/>
                  <a:pt x="189392" y="3674034"/>
                  <a:pt x="185101" y="3669664"/>
                </a:cubicBezTo>
                <a:cubicBezTo>
                  <a:pt x="189392" y="3669664"/>
                  <a:pt x="193684" y="3665293"/>
                  <a:pt x="200119" y="3665293"/>
                </a:cubicBezTo>
                <a:close/>
                <a:moveTo>
                  <a:pt x="3888973" y="3649560"/>
                </a:moveTo>
                <a:cubicBezTo>
                  <a:pt x="3907851" y="3657754"/>
                  <a:pt x="3909949" y="3667998"/>
                  <a:pt x="3905754" y="3680289"/>
                </a:cubicBezTo>
                <a:cubicBezTo>
                  <a:pt x="3903656" y="3682338"/>
                  <a:pt x="3897363" y="3682338"/>
                  <a:pt x="3893167" y="3682338"/>
                </a:cubicBezTo>
                <a:cubicBezTo>
                  <a:pt x="3893167" y="3672095"/>
                  <a:pt x="3891071" y="3661851"/>
                  <a:pt x="3888973" y="3649560"/>
                </a:cubicBezTo>
                <a:close/>
                <a:moveTo>
                  <a:pt x="4443570" y="3590124"/>
                </a:moveTo>
                <a:cubicBezTo>
                  <a:pt x="4458254" y="3594494"/>
                  <a:pt x="4466645" y="3607605"/>
                  <a:pt x="4485526" y="3598865"/>
                </a:cubicBezTo>
                <a:cubicBezTo>
                  <a:pt x="4466645" y="3590124"/>
                  <a:pt x="4462450" y="3587937"/>
                  <a:pt x="4443570" y="3590124"/>
                </a:cubicBezTo>
                <a:close/>
                <a:moveTo>
                  <a:pt x="4388502" y="3581645"/>
                </a:moveTo>
                <a:cubicBezTo>
                  <a:pt x="4398991" y="3594232"/>
                  <a:pt x="4409480" y="3608916"/>
                  <a:pt x="4430458" y="3598427"/>
                </a:cubicBezTo>
                <a:cubicBezTo>
                  <a:pt x="4419970" y="3583742"/>
                  <a:pt x="4407382" y="3577450"/>
                  <a:pt x="4388502" y="3581645"/>
                </a:cubicBezTo>
                <a:close/>
                <a:moveTo>
                  <a:pt x="4335258" y="3567288"/>
                </a:moveTo>
                <a:cubicBezTo>
                  <a:pt x="4328738" y="3566362"/>
                  <a:pt x="4322476" y="3566757"/>
                  <a:pt x="4317260" y="3568876"/>
                </a:cubicBezTo>
                <a:cubicBezTo>
                  <a:pt x="4323520" y="3573112"/>
                  <a:pt x="4327693" y="3577348"/>
                  <a:pt x="4331868" y="3581584"/>
                </a:cubicBezTo>
                <a:cubicBezTo>
                  <a:pt x="4304740" y="3573112"/>
                  <a:pt x="4277612" y="3585820"/>
                  <a:pt x="4252572" y="3596410"/>
                </a:cubicBezTo>
                <a:cubicBezTo>
                  <a:pt x="4233794" y="3607000"/>
                  <a:pt x="4248399" y="3619707"/>
                  <a:pt x="4252572" y="3632415"/>
                </a:cubicBezTo>
                <a:cubicBezTo>
                  <a:pt x="4256746" y="3640887"/>
                  <a:pt x="4263006" y="3643005"/>
                  <a:pt x="4267180" y="3634534"/>
                </a:cubicBezTo>
                <a:cubicBezTo>
                  <a:pt x="4288046" y="3592174"/>
                  <a:pt x="4321434" y="3615473"/>
                  <a:pt x="4348561" y="3615473"/>
                </a:cubicBezTo>
                <a:cubicBezTo>
                  <a:pt x="4369428" y="3615473"/>
                  <a:pt x="4381947" y="3613354"/>
                  <a:pt x="4379862" y="3600646"/>
                </a:cubicBezTo>
                <a:cubicBezTo>
                  <a:pt x="4376731" y="3584761"/>
                  <a:pt x="4354820" y="3570069"/>
                  <a:pt x="4335258" y="3567288"/>
                </a:cubicBezTo>
                <a:close/>
                <a:moveTo>
                  <a:pt x="4147414" y="3553326"/>
                </a:moveTo>
                <a:cubicBezTo>
                  <a:pt x="4141167" y="3553063"/>
                  <a:pt x="4135962" y="3557783"/>
                  <a:pt x="4132838" y="3573516"/>
                </a:cubicBezTo>
                <a:cubicBezTo>
                  <a:pt x="4147414" y="3569320"/>
                  <a:pt x="4157826" y="3565125"/>
                  <a:pt x="4168239" y="3563027"/>
                </a:cubicBezTo>
                <a:cubicBezTo>
                  <a:pt x="4160950" y="3558832"/>
                  <a:pt x="4153660" y="3553587"/>
                  <a:pt x="4147414" y="3553326"/>
                </a:cubicBezTo>
                <a:close/>
                <a:moveTo>
                  <a:pt x="380194" y="3551729"/>
                </a:moveTo>
                <a:cubicBezTo>
                  <a:pt x="381767" y="3552770"/>
                  <a:pt x="382816" y="3554852"/>
                  <a:pt x="382816" y="3556935"/>
                </a:cubicBezTo>
                <a:cubicBezTo>
                  <a:pt x="381243" y="3575676"/>
                  <a:pt x="400909" y="3578019"/>
                  <a:pt x="411725" y="3587681"/>
                </a:cubicBezTo>
                <a:lnTo>
                  <a:pt x="414410" y="3592843"/>
                </a:lnTo>
                <a:lnTo>
                  <a:pt x="412066" y="3596402"/>
                </a:lnTo>
                <a:lnTo>
                  <a:pt x="406585" y="3610993"/>
                </a:lnTo>
                <a:lnTo>
                  <a:pt x="385209" y="3609742"/>
                </a:lnTo>
                <a:cubicBezTo>
                  <a:pt x="369966" y="3601835"/>
                  <a:pt x="373901" y="3577237"/>
                  <a:pt x="366034" y="3563182"/>
                </a:cubicBezTo>
                <a:cubicBezTo>
                  <a:pt x="366034" y="3561099"/>
                  <a:pt x="370229" y="3556935"/>
                  <a:pt x="374425" y="3552770"/>
                </a:cubicBezTo>
                <a:cubicBezTo>
                  <a:pt x="376522" y="3550688"/>
                  <a:pt x="378620" y="3550688"/>
                  <a:pt x="380194" y="3551729"/>
                </a:cubicBezTo>
                <a:close/>
                <a:moveTo>
                  <a:pt x="4579924" y="3548605"/>
                </a:moveTo>
                <a:cubicBezTo>
                  <a:pt x="4601015" y="3563028"/>
                  <a:pt x="4613671" y="3563028"/>
                  <a:pt x="4626326" y="3556847"/>
                </a:cubicBezTo>
                <a:cubicBezTo>
                  <a:pt x="4628436" y="3556847"/>
                  <a:pt x="4626326" y="3552726"/>
                  <a:pt x="4626326" y="3548605"/>
                </a:cubicBezTo>
                <a:cubicBezTo>
                  <a:pt x="4615780" y="3548605"/>
                  <a:pt x="4603124" y="3548605"/>
                  <a:pt x="4579924" y="3548605"/>
                </a:cubicBezTo>
                <a:close/>
                <a:moveTo>
                  <a:pt x="4539935" y="3538217"/>
                </a:moveTo>
                <a:cubicBezTo>
                  <a:pt x="4527152" y="3534183"/>
                  <a:pt x="4529282" y="3554353"/>
                  <a:pt x="4514370" y="3554353"/>
                </a:cubicBezTo>
                <a:cubicBezTo>
                  <a:pt x="4527152" y="3556371"/>
                  <a:pt x="4537806" y="3560404"/>
                  <a:pt x="4546326" y="3552337"/>
                </a:cubicBezTo>
                <a:cubicBezTo>
                  <a:pt x="4548458" y="3550319"/>
                  <a:pt x="4544197" y="3538217"/>
                  <a:pt x="4539935" y="3538217"/>
                </a:cubicBezTo>
                <a:close/>
                <a:moveTo>
                  <a:pt x="4035816" y="3535603"/>
                </a:moveTo>
                <a:cubicBezTo>
                  <a:pt x="4063177" y="3539755"/>
                  <a:pt x="4082118" y="3570893"/>
                  <a:pt x="4115794" y="3554287"/>
                </a:cubicBezTo>
                <a:cubicBezTo>
                  <a:pt x="4090538" y="3521071"/>
                  <a:pt x="4058968" y="3545983"/>
                  <a:pt x="4035816" y="3535603"/>
                </a:cubicBezTo>
                <a:close/>
                <a:moveTo>
                  <a:pt x="4187155" y="3506650"/>
                </a:moveTo>
                <a:cubicBezTo>
                  <a:pt x="4161682" y="3544196"/>
                  <a:pt x="4161682" y="3544196"/>
                  <a:pt x="4206260" y="3552539"/>
                </a:cubicBezTo>
                <a:cubicBezTo>
                  <a:pt x="4206260" y="3535852"/>
                  <a:pt x="4185032" y="3531679"/>
                  <a:pt x="4187155" y="3506650"/>
                </a:cubicBezTo>
                <a:close/>
                <a:moveTo>
                  <a:pt x="654470" y="3495584"/>
                </a:moveTo>
                <a:cubicBezTo>
                  <a:pt x="641649" y="3495389"/>
                  <a:pt x="630294" y="3520258"/>
                  <a:pt x="617766" y="3512487"/>
                </a:cubicBezTo>
                <a:cubicBezTo>
                  <a:pt x="632382" y="3520777"/>
                  <a:pt x="642823" y="3539428"/>
                  <a:pt x="661616" y="3524921"/>
                </a:cubicBezTo>
                <a:cubicBezTo>
                  <a:pt x="667880" y="3520777"/>
                  <a:pt x="674144" y="3514559"/>
                  <a:pt x="667880" y="3506269"/>
                </a:cubicBezTo>
                <a:cubicBezTo>
                  <a:pt x="663181" y="3498498"/>
                  <a:pt x="658744" y="3495649"/>
                  <a:pt x="654470" y="3495584"/>
                </a:cubicBezTo>
                <a:close/>
                <a:moveTo>
                  <a:pt x="4334748" y="3493539"/>
                </a:moveTo>
                <a:cubicBezTo>
                  <a:pt x="4345236" y="3497846"/>
                  <a:pt x="4343140" y="3506464"/>
                  <a:pt x="4343140" y="3512926"/>
                </a:cubicBezTo>
                <a:cubicBezTo>
                  <a:pt x="4341042" y="3519387"/>
                  <a:pt x="4334748" y="3523694"/>
                  <a:pt x="4330552" y="3521541"/>
                </a:cubicBezTo>
                <a:cubicBezTo>
                  <a:pt x="4326357" y="3519387"/>
                  <a:pt x="4326357" y="3510770"/>
                  <a:pt x="4324259" y="3504309"/>
                </a:cubicBezTo>
                <a:cubicBezTo>
                  <a:pt x="4324259" y="3497846"/>
                  <a:pt x="4328454" y="3495693"/>
                  <a:pt x="4334748" y="3493539"/>
                </a:cubicBezTo>
                <a:close/>
                <a:moveTo>
                  <a:pt x="4546328" y="3485672"/>
                </a:moveTo>
                <a:cubicBezTo>
                  <a:pt x="4542231" y="3494063"/>
                  <a:pt x="4534036" y="3504552"/>
                  <a:pt x="4536084" y="3508747"/>
                </a:cubicBezTo>
                <a:cubicBezTo>
                  <a:pt x="4538132" y="3517139"/>
                  <a:pt x="4548376" y="3521335"/>
                  <a:pt x="4556571" y="3527627"/>
                </a:cubicBezTo>
                <a:cubicBezTo>
                  <a:pt x="4560668" y="3521335"/>
                  <a:pt x="4566814" y="3512944"/>
                  <a:pt x="4564766" y="3508747"/>
                </a:cubicBezTo>
                <a:cubicBezTo>
                  <a:pt x="4560668" y="3500356"/>
                  <a:pt x="4552474" y="3494063"/>
                  <a:pt x="4546328" y="3485672"/>
                </a:cubicBezTo>
                <a:close/>
                <a:moveTo>
                  <a:pt x="4099186" y="3467317"/>
                </a:moveTo>
                <a:cubicBezTo>
                  <a:pt x="4099186" y="3469356"/>
                  <a:pt x="4095035" y="3469356"/>
                  <a:pt x="4090882" y="3471396"/>
                </a:cubicBezTo>
                <a:cubicBezTo>
                  <a:pt x="4097110" y="3475475"/>
                  <a:pt x="4101262" y="3481593"/>
                  <a:pt x="4107490" y="3483633"/>
                </a:cubicBezTo>
                <a:cubicBezTo>
                  <a:pt x="4107490" y="3485672"/>
                  <a:pt x="4113717" y="3481593"/>
                  <a:pt x="4115794" y="3479553"/>
                </a:cubicBezTo>
                <a:cubicBezTo>
                  <a:pt x="4115794" y="3469356"/>
                  <a:pt x="4109566" y="3467317"/>
                  <a:pt x="4099186" y="3467317"/>
                </a:cubicBezTo>
                <a:close/>
                <a:moveTo>
                  <a:pt x="337815" y="3449801"/>
                </a:moveTo>
                <a:cubicBezTo>
                  <a:pt x="334877" y="3449383"/>
                  <a:pt x="331709" y="3449898"/>
                  <a:pt x="328011" y="3451958"/>
                </a:cubicBezTo>
                <a:cubicBezTo>
                  <a:pt x="336463" y="3464320"/>
                  <a:pt x="344911" y="3472560"/>
                  <a:pt x="366035" y="3462260"/>
                </a:cubicBezTo>
                <a:cubicBezTo>
                  <a:pt x="353360" y="3460715"/>
                  <a:pt x="346627" y="3451057"/>
                  <a:pt x="337815" y="3449801"/>
                </a:cubicBezTo>
                <a:close/>
                <a:moveTo>
                  <a:pt x="4346657" y="3414290"/>
                </a:moveTo>
                <a:cubicBezTo>
                  <a:pt x="4350810" y="3414290"/>
                  <a:pt x="4354962" y="3416329"/>
                  <a:pt x="4357038" y="3416329"/>
                </a:cubicBezTo>
                <a:cubicBezTo>
                  <a:pt x="4352886" y="3422448"/>
                  <a:pt x="4350810" y="3428567"/>
                  <a:pt x="4340430" y="3430606"/>
                </a:cubicBezTo>
                <a:cubicBezTo>
                  <a:pt x="4338353" y="3428567"/>
                  <a:pt x="4334202" y="3426527"/>
                  <a:pt x="4334202" y="3424487"/>
                </a:cubicBezTo>
                <a:cubicBezTo>
                  <a:pt x="4332124" y="3414290"/>
                  <a:pt x="4338353" y="3412251"/>
                  <a:pt x="4346657" y="3414290"/>
                </a:cubicBezTo>
                <a:close/>
                <a:moveTo>
                  <a:pt x="4057229" y="3399936"/>
                </a:moveTo>
                <a:cubicBezTo>
                  <a:pt x="4046615" y="3397828"/>
                  <a:pt x="4052984" y="3414701"/>
                  <a:pt x="4048739" y="3423138"/>
                </a:cubicBezTo>
                <a:cubicBezTo>
                  <a:pt x="4042372" y="3440012"/>
                  <a:pt x="4063598" y="3444230"/>
                  <a:pt x="4072090" y="3444230"/>
                </a:cubicBezTo>
                <a:cubicBezTo>
                  <a:pt x="4086949" y="3446340"/>
                  <a:pt x="4074212" y="3425247"/>
                  <a:pt x="4086949" y="3421029"/>
                </a:cubicBezTo>
                <a:cubicBezTo>
                  <a:pt x="4084826" y="3404155"/>
                  <a:pt x="4067844" y="3399936"/>
                  <a:pt x="4057229" y="3399936"/>
                </a:cubicBezTo>
                <a:close/>
                <a:moveTo>
                  <a:pt x="4127388" y="3396302"/>
                </a:moveTo>
                <a:cubicBezTo>
                  <a:pt x="4121754" y="3394449"/>
                  <a:pt x="4115096" y="3395509"/>
                  <a:pt x="4107925" y="3399745"/>
                </a:cubicBezTo>
                <a:cubicBezTo>
                  <a:pt x="4116120" y="3412453"/>
                  <a:pt x="4126364" y="3418806"/>
                  <a:pt x="4140704" y="3410335"/>
                </a:cubicBezTo>
                <a:cubicBezTo>
                  <a:pt x="4137632" y="3402921"/>
                  <a:pt x="4133022" y="3398156"/>
                  <a:pt x="4127388" y="3396302"/>
                </a:cubicBezTo>
                <a:close/>
                <a:moveTo>
                  <a:pt x="4172232" y="3394221"/>
                </a:moveTo>
                <a:cubicBezTo>
                  <a:pt x="4164804" y="3394751"/>
                  <a:pt x="4155251" y="3397391"/>
                  <a:pt x="4144638" y="3395279"/>
                </a:cubicBezTo>
                <a:cubicBezTo>
                  <a:pt x="4163742" y="3405839"/>
                  <a:pt x="4165865" y="3422739"/>
                  <a:pt x="4182846" y="3420628"/>
                </a:cubicBezTo>
                <a:cubicBezTo>
                  <a:pt x="4184968" y="3420628"/>
                  <a:pt x="4189215" y="3410065"/>
                  <a:pt x="4187093" y="3405839"/>
                </a:cubicBezTo>
                <a:cubicBezTo>
                  <a:pt x="4184968" y="3395279"/>
                  <a:pt x="4179662" y="3393694"/>
                  <a:pt x="4172232" y="3394221"/>
                </a:cubicBezTo>
                <a:close/>
                <a:moveTo>
                  <a:pt x="604458" y="3358837"/>
                </a:moveTo>
                <a:cubicBezTo>
                  <a:pt x="600198" y="3358769"/>
                  <a:pt x="595478" y="3359713"/>
                  <a:pt x="590233" y="3361866"/>
                </a:cubicBezTo>
                <a:cubicBezTo>
                  <a:pt x="600722" y="3383406"/>
                  <a:pt x="619602" y="3374789"/>
                  <a:pt x="632189" y="3381252"/>
                </a:cubicBezTo>
                <a:cubicBezTo>
                  <a:pt x="625895" y="3368328"/>
                  <a:pt x="617242" y="3359039"/>
                  <a:pt x="604458" y="3358837"/>
                </a:cubicBezTo>
                <a:close/>
                <a:moveTo>
                  <a:pt x="4638363" y="3342762"/>
                </a:moveTo>
                <a:cubicBezTo>
                  <a:pt x="4628060" y="3342762"/>
                  <a:pt x="4634242" y="3355470"/>
                  <a:pt x="4628060" y="3357587"/>
                </a:cubicBezTo>
                <a:cubicBezTo>
                  <a:pt x="4623940" y="3359704"/>
                  <a:pt x="4621879" y="3366059"/>
                  <a:pt x="4628060" y="3368177"/>
                </a:cubicBezTo>
                <a:cubicBezTo>
                  <a:pt x="4636300" y="3370295"/>
                  <a:pt x="4642482" y="3361823"/>
                  <a:pt x="4646603" y="3357587"/>
                </a:cubicBezTo>
                <a:cubicBezTo>
                  <a:pt x="4650724" y="3349115"/>
                  <a:pt x="4640422" y="3346997"/>
                  <a:pt x="4638363" y="3342762"/>
                </a:cubicBezTo>
                <a:close/>
                <a:moveTo>
                  <a:pt x="4321130" y="3337293"/>
                </a:moveTo>
                <a:cubicBezTo>
                  <a:pt x="4317030" y="3337687"/>
                  <a:pt x="4313619" y="3339923"/>
                  <a:pt x="4311520" y="3344660"/>
                </a:cubicBezTo>
                <a:cubicBezTo>
                  <a:pt x="4301022" y="3372020"/>
                  <a:pt x="4273731" y="3365707"/>
                  <a:pt x="4263236" y="3382542"/>
                </a:cubicBezTo>
                <a:cubicBezTo>
                  <a:pt x="4277931" y="3401486"/>
                  <a:pt x="4309420" y="3390963"/>
                  <a:pt x="4315718" y="3420428"/>
                </a:cubicBezTo>
                <a:cubicBezTo>
                  <a:pt x="4301022" y="3420428"/>
                  <a:pt x="4286326" y="3422532"/>
                  <a:pt x="4271632" y="3424637"/>
                </a:cubicBezTo>
                <a:cubicBezTo>
                  <a:pt x="4269533" y="3428846"/>
                  <a:pt x="4267433" y="3433056"/>
                  <a:pt x="4267433" y="3437265"/>
                </a:cubicBezTo>
                <a:cubicBezTo>
                  <a:pt x="4282128" y="3433056"/>
                  <a:pt x="4294724" y="3435160"/>
                  <a:pt x="4296824" y="3447788"/>
                </a:cubicBezTo>
                <a:cubicBezTo>
                  <a:pt x="4298923" y="3464625"/>
                  <a:pt x="4277931" y="3460416"/>
                  <a:pt x="4273731" y="3460416"/>
                </a:cubicBezTo>
                <a:cubicBezTo>
                  <a:pt x="4250640" y="3458311"/>
                  <a:pt x="4227548" y="3451999"/>
                  <a:pt x="4206555" y="3443579"/>
                </a:cubicBezTo>
                <a:cubicBezTo>
                  <a:pt x="4193959" y="3439370"/>
                  <a:pt x="4185562" y="3439370"/>
                  <a:pt x="4175066" y="3443579"/>
                </a:cubicBezTo>
                <a:cubicBezTo>
                  <a:pt x="4183462" y="3458311"/>
                  <a:pt x="4160370" y="3473044"/>
                  <a:pt x="4177165" y="3487777"/>
                </a:cubicBezTo>
                <a:cubicBezTo>
                  <a:pt x="4191859" y="3500405"/>
                  <a:pt x="4191859" y="3481464"/>
                  <a:pt x="4200257" y="3477254"/>
                </a:cubicBezTo>
                <a:cubicBezTo>
                  <a:pt x="4204455" y="3475150"/>
                  <a:pt x="4212852" y="3466731"/>
                  <a:pt x="4212852" y="3473044"/>
                </a:cubicBezTo>
                <a:cubicBezTo>
                  <a:pt x="4223348" y="3515138"/>
                  <a:pt x="4265335" y="3498301"/>
                  <a:pt x="4290526" y="3515138"/>
                </a:cubicBezTo>
                <a:cubicBezTo>
                  <a:pt x="4330414" y="3540394"/>
                  <a:pt x="4380796" y="3548813"/>
                  <a:pt x="4426980" y="3565649"/>
                </a:cubicBezTo>
                <a:cubicBezTo>
                  <a:pt x="4431178" y="3540394"/>
                  <a:pt x="4460568" y="3557232"/>
                  <a:pt x="4468966" y="3540394"/>
                </a:cubicBezTo>
                <a:cubicBezTo>
                  <a:pt x="4468966" y="3538290"/>
                  <a:pt x="4475263" y="3517243"/>
                  <a:pt x="4458470" y="3527767"/>
                </a:cubicBezTo>
                <a:cubicBezTo>
                  <a:pt x="4426980" y="3546709"/>
                  <a:pt x="4399690" y="3494091"/>
                  <a:pt x="4368200" y="3521453"/>
                </a:cubicBezTo>
                <a:cubicBezTo>
                  <a:pt x="4366100" y="3517243"/>
                  <a:pt x="4359802" y="3515138"/>
                  <a:pt x="4361902" y="3510929"/>
                </a:cubicBezTo>
                <a:cubicBezTo>
                  <a:pt x="4364002" y="3491987"/>
                  <a:pt x="4340909" y="3485673"/>
                  <a:pt x="4334612" y="3466731"/>
                </a:cubicBezTo>
                <a:cubicBezTo>
                  <a:pt x="4357702" y="3473044"/>
                  <a:pt x="4376597" y="3477254"/>
                  <a:pt x="4389194" y="3494091"/>
                </a:cubicBezTo>
                <a:cubicBezTo>
                  <a:pt x="4393392" y="3485673"/>
                  <a:pt x="4395492" y="3464625"/>
                  <a:pt x="4410185" y="3477254"/>
                </a:cubicBezTo>
                <a:cubicBezTo>
                  <a:pt x="4420681" y="3487777"/>
                  <a:pt x="4437476" y="3479358"/>
                  <a:pt x="4445874" y="3489881"/>
                </a:cubicBezTo>
                <a:cubicBezTo>
                  <a:pt x="4441674" y="3498301"/>
                  <a:pt x="4429080" y="3489881"/>
                  <a:pt x="4426980" y="3500405"/>
                </a:cubicBezTo>
                <a:cubicBezTo>
                  <a:pt x="4506752" y="3508824"/>
                  <a:pt x="4523547" y="3487777"/>
                  <a:pt x="4510952" y="3414114"/>
                </a:cubicBezTo>
                <a:cubicBezTo>
                  <a:pt x="4506752" y="3397276"/>
                  <a:pt x="4498356" y="3390963"/>
                  <a:pt x="4487859" y="3386753"/>
                </a:cubicBezTo>
                <a:cubicBezTo>
                  <a:pt x="4481561" y="3382542"/>
                  <a:pt x="4473164" y="3393066"/>
                  <a:pt x="4468966" y="3401486"/>
                </a:cubicBezTo>
                <a:cubicBezTo>
                  <a:pt x="4466868" y="3407799"/>
                  <a:pt x="4473164" y="3422532"/>
                  <a:pt x="4458470" y="3420428"/>
                </a:cubicBezTo>
                <a:cubicBezTo>
                  <a:pt x="4450073" y="3420428"/>
                  <a:pt x="4445874" y="3412009"/>
                  <a:pt x="4441674" y="3401486"/>
                </a:cubicBezTo>
                <a:cubicBezTo>
                  <a:pt x="4433278" y="3382542"/>
                  <a:pt x="4418583" y="3365707"/>
                  <a:pt x="4399690" y="3348869"/>
                </a:cubicBezTo>
                <a:cubicBezTo>
                  <a:pt x="4393392" y="3363601"/>
                  <a:pt x="4418583" y="3384648"/>
                  <a:pt x="4393392" y="3390963"/>
                </a:cubicBezTo>
                <a:cubicBezTo>
                  <a:pt x="4374498" y="3397276"/>
                  <a:pt x="4368200" y="3378334"/>
                  <a:pt x="4359802" y="3365707"/>
                </a:cubicBezTo>
                <a:cubicBezTo>
                  <a:pt x="4351930" y="3351499"/>
                  <a:pt x="4333431" y="3336108"/>
                  <a:pt x="4321130" y="3337293"/>
                </a:cubicBezTo>
                <a:close/>
                <a:moveTo>
                  <a:pt x="4151312" y="3332272"/>
                </a:moveTo>
                <a:cubicBezTo>
                  <a:pt x="4140585" y="3332272"/>
                  <a:pt x="4134149" y="3332272"/>
                  <a:pt x="4134149" y="3340795"/>
                </a:cubicBezTo>
                <a:cubicBezTo>
                  <a:pt x="4134149" y="3345056"/>
                  <a:pt x="4138438" y="3349317"/>
                  <a:pt x="4142730" y="3349317"/>
                </a:cubicBezTo>
                <a:cubicBezTo>
                  <a:pt x="4151312" y="3349317"/>
                  <a:pt x="4155603" y="3342926"/>
                  <a:pt x="4157748" y="3336533"/>
                </a:cubicBezTo>
                <a:cubicBezTo>
                  <a:pt x="4157748" y="3336533"/>
                  <a:pt x="4151312" y="3332272"/>
                  <a:pt x="4151312" y="3332272"/>
                </a:cubicBezTo>
                <a:close/>
                <a:moveTo>
                  <a:pt x="4098420" y="3303941"/>
                </a:moveTo>
                <a:cubicBezTo>
                  <a:pt x="4094971" y="3303941"/>
                  <a:pt x="4091258" y="3306029"/>
                  <a:pt x="4088072" y="3311254"/>
                </a:cubicBezTo>
                <a:cubicBezTo>
                  <a:pt x="4081704" y="3323791"/>
                  <a:pt x="4102932" y="3361404"/>
                  <a:pt x="4124160" y="3367672"/>
                </a:cubicBezTo>
                <a:cubicBezTo>
                  <a:pt x="4111423" y="3346778"/>
                  <a:pt x="4109300" y="3346778"/>
                  <a:pt x="4119914" y="3323791"/>
                </a:cubicBezTo>
                <a:cubicBezTo>
                  <a:pt x="4126282" y="3307075"/>
                  <a:pt x="4109300" y="3315434"/>
                  <a:pt x="4107178" y="3309164"/>
                </a:cubicBezTo>
                <a:cubicBezTo>
                  <a:pt x="4105056" y="3306029"/>
                  <a:pt x="4101870" y="3303941"/>
                  <a:pt x="4098420" y="3303941"/>
                </a:cubicBezTo>
                <a:close/>
                <a:moveTo>
                  <a:pt x="4925754" y="3223451"/>
                </a:moveTo>
                <a:cubicBezTo>
                  <a:pt x="4931804" y="3223451"/>
                  <a:pt x="4937856" y="3223451"/>
                  <a:pt x="4937856" y="3231610"/>
                </a:cubicBezTo>
                <a:cubicBezTo>
                  <a:pt x="4937856" y="3239767"/>
                  <a:pt x="4931804" y="3239767"/>
                  <a:pt x="4923737" y="3241807"/>
                </a:cubicBezTo>
                <a:cubicBezTo>
                  <a:pt x="4921720" y="3239767"/>
                  <a:pt x="4913650" y="3237728"/>
                  <a:pt x="4913650" y="3235688"/>
                </a:cubicBezTo>
                <a:cubicBezTo>
                  <a:pt x="4911633" y="3225490"/>
                  <a:pt x="4917685" y="3223451"/>
                  <a:pt x="4925754" y="3223451"/>
                </a:cubicBezTo>
                <a:close/>
                <a:moveTo>
                  <a:pt x="5032706" y="3137382"/>
                </a:moveTo>
                <a:cubicBezTo>
                  <a:pt x="5026846" y="3138420"/>
                  <a:pt x="5022586" y="3144130"/>
                  <a:pt x="5020454" y="3156586"/>
                </a:cubicBezTo>
                <a:cubicBezTo>
                  <a:pt x="5033239" y="3154509"/>
                  <a:pt x="5043891" y="3150357"/>
                  <a:pt x="5054544" y="3146206"/>
                </a:cubicBezTo>
                <a:cubicBezTo>
                  <a:pt x="5046022" y="3139978"/>
                  <a:pt x="5038566" y="3136344"/>
                  <a:pt x="5032706" y="3137382"/>
                </a:cubicBezTo>
                <a:close/>
                <a:moveTo>
                  <a:pt x="5118916" y="3106285"/>
                </a:moveTo>
                <a:lnTo>
                  <a:pt x="5128172" y="3106762"/>
                </a:lnTo>
                <a:cubicBezTo>
                  <a:pt x="5137227" y="3109123"/>
                  <a:pt x="5144684" y="3115942"/>
                  <a:pt x="5148944" y="3131675"/>
                </a:cubicBezTo>
                <a:cubicBezTo>
                  <a:pt x="5137227" y="3131675"/>
                  <a:pt x="5127640" y="3129577"/>
                  <a:pt x="5119649" y="3125643"/>
                </a:cubicBezTo>
                <a:lnTo>
                  <a:pt x="5104270" y="3112342"/>
                </a:lnTo>
                <a:lnTo>
                  <a:pt x="5116851" y="3108154"/>
                </a:lnTo>
                <a:close/>
                <a:moveTo>
                  <a:pt x="5037108" y="3080913"/>
                </a:moveTo>
                <a:lnTo>
                  <a:pt x="5042600" y="3081391"/>
                </a:lnTo>
                <a:lnTo>
                  <a:pt x="5037108" y="3085105"/>
                </a:lnTo>
                <a:cubicBezTo>
                  <a:pt x="5037108" y="3085105"/>
                  <a:pt x="5037108" y="3083009"/>
                  <a:pt x="5037108" y="3080913"/>
                </a:cubicBezTo>
                <a:close/>
                <a:moveTo>
                  <a:pt x="5044991" y="3079772"/>
                </a:moveTo>
                <a:lnTo>
                  <a:pt x="5045696" y="3079937"/>
                </a:lnTo>
                <a:lnTo>
                  <a:pt x="5043142" y="3081438"/>
                </a:lnTo>
                <a:lnTo>
                  <a:pt x="5042600" y="3081391"/>
                </a:lnTo>
                <a:close/>
                <a:moveTo>
                  <a:pt x="4947558" y="3015248"/>
                </a:moveTo>
                <a:cubicBezTo>
                  <a:pt x="4944674" y="3015510"/>
                  <a:pt x="4941002" y="3017083"/>
                  <a:pt x="4938904" y="3016034"/>
                </a:cubicBezTo>
                <a:cubicBezTo>
                  <a:pt x="4930514" y="3016034"/>
                  <a:pt x="4922122" y="3013936"/>
                  <a:pt x="4922122" y="3024425"/>
                </a:cubicBezTo>
                <a:cubicBezTo>
                  <a:pt x="4922122" y="3037011"/>
                  <a:pt x="4934710" y="3037011"/>
                  <a:pt x="4941002" y="3037011"/>
                </a:cubicBezTo>
                <a:cubicBezTo>
                  <a:pt x="4951492" y="3041207"/>
                  <a:pt x="4951492" y="3026523"/>
                  <a:pt x="4951492" y="3022327"/>
                </a:cubicBezTo>
                <a:cubicBezTo>
                  <a:pt x="4952541" y="3016034"/>
                  <a:pt x="4950443" y="3014985"/>
                  <a:pt x="4947558" y="3015248"/>
                </a:cubicBezTo>
                <a:close/>
                <a:moveTo>
                  <a:pt x="4987241" y="3007119"/>
                </a:moveTo>
                <a:cubicBezTo>
                  <a:pt x="4963890" y="3013462"/>
                  <a:pt x="4970258" y="3040953"/>
                  <a:pt x="4957522" y="3055757"/>
                </a:cubicBezTo>
                <a:cubicBezTo>
                  <a:pt x="4968136" y="3038838"/>
                  <a:pt x="4987241" y="3072674"/>
                  <a:pt x="4995732" y="3049413"/>
                </a:cubicBezTo>
                <a:cubicBezTo>
                  <a:pt x="5002100" y="3032495"/>
                  <a:pt x="4976627" y="3024036"/>
                  <a:pt x="4987241" y="3007119"/>
                </a:cubicBezTo>
                <a:close/>
                <a:moveTo>
                  <a:pt x="4878594" y="2982453"/>
                </a:moveTo>
                <a:cubicBezTo>
                  <a:pt x="4877234" y="2983282"/>
                  <a:pt x="4876200" y="2985704"/>
                  <a:pt x="4875682" y="2990802"/>
                </a:cubicBezTo>
                <a:cubicBezTo>
                  <a:pt x="4873612" y="3003040"/>
                  <a:pt x="4879822" y="3007119"/>
                  <a:pt x="4890174" y="3007119"/>
                </a:cubicBezTo>
                <a:cubicBezTo>
                  <a:pt x="4900524" y="3005079"/>
                  <a:pt x="4912945" y="3007119"/>
                  <a:pt x="4910875" y="2990802"/>
                </a:cubicBezTo>
                <a:cubicBezTo>
                  <a:pt x="4910357" y="2985704"/>
                  <a:pt x="4909322" y="2983282"/>
                  <a:pt x="4907996" y="2982453"/>
                </a:cubicBezTo>
                <a:cubicBezTo>
                  <a:pt x="4904018" y="2979967"/>
                  <a:pt x="4897418" y="2991822"/>
                  <a:pt x="4894314" y="2988763"/>
                </a:cubicBezTo>
                <a:cubicBezTo>
                  <a:pt x="4889656" y="2991822"/>
                  <a:pt x="4882669" y="2979967"/>
                  <a:pt x="4878594" y="2982453"/>
                </a:cubicBezTo>
                <a:close/>
                <a:moveTo>
                  <a:pt x="4839524" y="2949693"/>
                </a:moveTo>
                <a:cubicBezTo>
                  <a:pt x="4828934" y="2958084"/>
                  <a:pt x="4814108" y="2945498"/>
                  <a:pt x="4811990" y="2962280"/>
                </a:cubicBezTo>
                <a:cubicBezTo>
                  <a:pt x="4811990" y="2966474"/>
                  <a:pt x="4814108" y="2972767"/>
                  <a:pt x="4816226" y="2976964"/>
                </a:cubicBezTo>
                <a:cubicBezTo>
                  <a:pt x="4826816" y="2972767"/>
                  <a:pt x="4833170" y="2966474"/>
                  <a:pt x="4839524" y="2949693"/>
                </a:cubicBezTo>
                <a:close/>
                <a:moveTo>
                  <a:pt x="4751047" y="2900556"/>
                </a:moveTo>
                <a:cubicBezTo>
                  <a:pt x="4748892" y="2902979"/>
                  <a:pt x="4748354" y="2907288"/>
                  <a:pt x="4749430" y="2911595"/>
                </a:cubicBezTo>
                <a:cubicBezTo>
                  <a:pt x="4749430" y="2913751"/>
                  <a:pt x="4745124" y="2924520"/>
                  <a:pt x="4755894" y="2922366"/>
                </a:cubicBezTo>
                <a:cubicBezTo>
                  <a:pt x="4762354" y="2920212"/>
                  <a:pt x="4768818" y="2915904"/>
                  <a:pt x="4775278" y="2911595"/>
                </a:cubicBezTo>
                <a:cubicBezTo>
                  <a:pt x="4770972" y="2907288"/>
                  <a:pt x="4766663" y="2902979"/>
                  <a:pt x="4762354" y="2900826"/>
                </a:cubicBezTo>
                <a:cubicBezTo>
                  <a:pt x="4756970" y="2897594"/>
                  <a:pt x="4753200" y="2898133"/>
                  <a:pt x="4751047" y="2900556"/>
                </a:cubicBezTo>
                <a:close/>
                <a:moveTo>
                  <a:pt x="5031293" y="2871551"/>
                </a:moveTo>
                <a:cubicBezTo>
                  <a:pt x="5033342" y="2872075"/>
                  <a:pt x="5034878" y="2873649"/>
                  <a:pt x="5034878" y="2877844"/>
                </a:cubicBezTo>
                <a:cubicBezTo>
                  <a:pt x="5028732" y="2884138"/>
                  <a:pt x="5030780" y="2900921"/>
                  <a:pt x="5016440" y="2898823"/>
                </a:cubicBezTo>
                <a:cubicBezTo>
                  <a:pt x="5010294" y="2896724"/>
                  <a:pt x="5002100" y="2898823"/>
                  <a:pt x="5004149" y="2890431"/>
                </a:cubicBezTo>
                <a:cubicBezTo>
                  <a:pt x="5004149" y="2877844"/>
                  <a:pt x="5012344" y="2871551"/>
                  <a:pt x="5024636" y="2871551"/>
                </a:cubicBezTo>
                <a:cubicBezTo>
                  <a:pt x="5026684" y="2871551"/>
                  <a:pt x="5029245" y="2871027"/>
                  <a:pt x="5031293" y="2871551"/>
                </a:cubicBezTo>
                <a:close/>
                <a:moveTo>
                  <a:pt x="4807980" y="2743588"/>
                </a:moveTo>
                <a:cubicBezTo>
                  <a:pt x="4820474" y="2762649"/>
                  <a:pt x="4832966" y="2775356"/>
                  <a:pt x="4828802" y="2794418"/>
                </a:cubicBezTo>
                <a:cubicBezTo>
                  <a:pt x="4828802" y="2796535"/>
                  <a:pt x="4818392" y="2798654"/>
                  <a:pt x="4818392" y="2798654"/>
                </a:cubicBezTo>
                <a:cubicBezTo>
                  <a:pt x="4805897" y="2783828"/>
                  <a:pt x="4797567" y="2766884"/>
                  <a:pt x="4807980" y="2743588"/>
                </a:cubicBezTo>
                <a:close/>
                <a:moveTo>
                  <a:pt x="4684088" y="2597040"/>
                </a:moveTo>
                <a:cubicBezTo>
                  <a:pt x="4707239" y="2609728"/>
                  <a:pt x="4745124" y="2609728"/>
                  <a:pt x="4743020" y="2658365"/>
                </a:cubicBezTo>
                <a:cubicBezTo>
                  <a:pt x="4721972" y="2641448"/>
                  <a:pt x="4705136" y="2620301"/>
                  <a:pt x="4675670" y="2635104"/>
                </a:cubicBezTo>
                <a:cubicBezTo>
                  <a:pt x="4669356" y="2639334"/>
                  <a:pt x="4665146" y="2624530"/>
                  <a:pt x="4669356" y="2624530"/>
                </a:cubicBezTo>
                <a:cubicBezTo>
                  <a:pt x="4688298" y="2622416"/>
                  <a:pt x="4675670" y="2592811"/>
                  <a:pt x="4684088" y="2597040"/>
                </a:cubicBezTo>
                <a:close/>
                <a:moveTo>
                  <a:pt x="4625410" y="2383036"/>
                </a:moveTo>
                <a:cubicBezTo>
                  <a:pt x="4633882" y="2383036"/>
                  <a:pt x="4640236" y="2385112"/>
                  <a:pt x="4640236" y="2397567"/>
                </a:cubicBezTo>
                <a:cubicBezTo>
                  <a:pt x="4636000" y="2399644"/>
                  <a:pt x="4629646" y="2403796"/>
                  <a:pt x="4625410" y="2407946"/>
                </a:cubicBezTo>
                <a:cubicBezTo>
                  <a:pt x="4621174" y="2403796"/>
                  <a:pt x="4614820" y="2397567"/>
                  <a:pt x="4614820" y="2391338"/>
                </a:cubicBezTo>
                <a:cubicBezTo>
                  <a:pt x="4612702" y="2383036"/>
                  <a:pt x="4621174" y="2383036"/>
                  <a:pt x="4625410" y="2383036"/>
                </a:cubicBezTo>
                <a:close/>
                <a:moveTo>
                  <a:pt x="4745238" y="2322183"/>
                </a:moveTo>
                <a:lnTo>
                  <a:pt x="4745414" y="2322278"/>
                </a:lnTo>
                <a:lnTo>
                  <a:pt x="4745414" y="2324058"/>
                </a:lnTo>
                <a:close/>
                <a:moveTo>
                  <a:pt x="4638336" y="2275798"/>
                </a:moveTo>
                <a:cubicBezTo>
                  <a:pt x="4635482" y="2276846"/>
                  <a:pt x="4633406" y="2279469"/>
                  <a:pt x="4632368" y="2284712"/>
                </a:cubicBezTo>
                <a:cubicBezTo>
                  <a:pt x="4634444" y="2286811"/>
                  <a:pt x="4636520" y="2291005"/>
                  <a:pt x="4638596" y="2293103"/>
                </a:cubicBezTo>
                <a:cubicBezTo>
                  <a:pt x="4646900" y="2295201"/>
                  <a:pt x="4651052" y="2288909"/>
                  <a:pt x="4655204" y="2280518"/>
                </a:cubicBezTo>
                <a:cubicBezTo>
                  <a:pt x="4657281" y="2274224"/>
                  <a:pt x="4651052" y="2276323"/>
                  <a:pt x="4648977" y="2276323"/>
                </a:cubicBezTo>
                <a:cubicBezTo>
                  <a:pt x="4644824" y="2275274"/>
                  <a:pt x="4641191" y="2274750"/>
                  <a:pt x="4638336" y="2275798"/>
                </a:cubicBezTo>
                <a:close/>
                <a:moveTo>
                  <a:pt x="4600714" y="2259809"/>
                </a:moveTo>
                <a:cubicBezTo>
                  <a:pt x="4600714" y="2259809"/>
                  <a:pt x="4592100" y="2263905"/>
                  <a:pt x="4592100" y="2265955"/>
                </a:cubicBezTo>
                <a:cubicBezTo>
                  <a:pt x="4587791" y="2280294"/>
                  <a:pt x="4600714" y="2282342"/>
                  <a:pt x="4609330" y="2292583"/>
                </a:cubicBezTo>
                <a:cubicBezTo>
                  <a:pt x="4617948" y="2276197"/>
                  <a:pt x="4611484" y="2265955"/>
                  <a:pt x="4600714" y="2259809"/>
                </a:cubicBezTo>
                <a:close/>
                <a:moveTo>
                  <a:pt x="4725182" y="2259645"/>
                </a:moveTo>
                <a:cubicBezTo>
                  <a:pt x="4713201" y="2261482"/>
                  <a:pt x="4706864" y="2274613"/>
                  <a:pt x="4705280" y="2280794"/>
                </a:cubicBezTo>
                <a:cubicBezTo>
                  <a:pt x="4704224" y="2293155"/>
                  <a:pt x="4708978" y="2301912"/>
                  <a:pt x="4716634" y="2308348"/>
                </a:cubicBezTo>
                <a:lnTo>
                  <a:pt x="4745210" y="2321899"/>
                </a:lnTo>
                <a:lnTo>
                  <a:pt x="4745238" y="2322183"/>
                </a:lnTo>
                <a:lnTo>
                  <a:pt x="4745124" y="2322121"/>
                </a:lnTo>
                <a:cubicBezTo>
                  <a:pt x="4745124" y="2322121"/>
                  <a:pt x="4745124" y="2324213"/>
                  <a:pt x="4745124" y="2324213"/>
                </a:cubicBezTo>
                <a:lnTo>
                  <a:pt x="4747689" y="2323498"/>
                </a:lnTo>
                <a:lnTo>
                  <a:pt x="4758284" y="2329182"/>
                </a:lnTo>
                <a:cubicBezTo>
                  <a:pt x="4763022" y="2331008"/>
                  <a:pt x="4767234" y="2333624"/>
                  <a:pt x="4768286" y="2340944"/>
                </a:cubicBezTo>
                <a:cubicBezTo>
                  <a:pt x="4770392" y="2357674"/>
                  <a:pt x="4787238" y="2376497"/>
                  <a:pt x="4797766" y="2370224"/>
                </a:cubicBezTo>
                <a:cubicBezTo>
                  <a:pt x="4814612" y="2359766"/>
                  <a:pt x="4789344" y="2347216"/>
                  <a:pt x="4787238" y="2334669"/>
                </a:cubicBezTo>
                <a:cubicBezTo>
                  <a:pt x="4782500" y="2300163"/>
                  <a:pt x="4768286" y="2313886"/>
                  <a:pt x="4756147" y="2321141"/>
                </a:cubicBezTo>
                <a:lnTo>
                  <a:pt x="4747689" y="2323498"/>
                </a:lnTo>
                <a:lnTo>
                  <a:pt x="4745414" y="2322278"/>
                </a:lnTo>
                <a:lnTo>
                  <a:pt x="4745414" y="2321997"/>
                </a:lnTo>
                <a:lnTo>
                  <a:pt x="4745210" y="2321899"/>
                </a:lnTo>
                <a:lnTo>
                  <a:pt x="4743830" y="2307318"/>
                </a:lnTo>
                <a:cubicBezTo>
                  <a:pt x="4741190" y="2302427"/>
                  <a:pt x="4736964" y="2298306"/>
                  <a:pt x="4732740" y="2295214"/>
                </a:cubicBezTo>
                <a:cubicBezTo>
                  <a:pt x="4728516" y="2289035"/>
                  <a:pt x="4717954" y="2289035"/>
                  <a:pt x="4724290" y="2280794"/>
                </a:cubicBezTo>
                <a:cubicBezTo>
                  <a:pt x="4728516" y="2272553"/>
                  <a:pt x="4741190" y="2272553"/>
                  <a:pt x="4743302" y="2276676"/>
                </a:cubicBezTo>
                <a:cubicBezTo>
                  <a:pt x="4764426" y="2305517"/>
                  <a:pt x="4764426" y="2274613"/>
                  <a:pt x="4779212" y="2270495"/>
                </a:cubicBezTo>
                <a:cubicBezTo>
                  <a:pt x="4762314" y="2266373"/>
                  <a:pt x="4749639" y="2266373"/>
                  <a:pt x="4739078" y="2262253"/>
                </a:cubicBezTo>
                <a:cubicBezTo>
                  <a:pt x="4733796" y="2259677"/>
                  <a:pt x="4729176" y="2259034"/>
                  <a:pt x="4725182" y="2259645"/>
                </a:cubicBezTo>
                <a:close/>
                <a:moveTo>
                  <a:pt x="4873238" y="2213478"/>
                </a:moveTo>
                <a:cubicBezTo>
                  <a:pt x="4862874" y="2214258"/>
                  <a:pt x="4853095" y="2227948"/>
                  <a:pt x="4842145" y="2226383"/>
                </a:cubicBezTo>
                <a:cubicBezTo>
                  <a:pt x="4852575" y="2236813"/>
                  <a:pt x="4860918" y="2249326"/>
                  <a:pt x="4877604" y="2240982"/>
                </a:cubicBezTo>
                <a:cubicBezTo>
                  <a:pt x="4885948" y="2236813"/>
                  <a:pt x="4888035" y="2222211"/>
                  <a:pt x="4883864" y="2218040"/>
                </a:cubicBezTo>
                <a:cubicBezTo>
                  <a:pt x="4880212" y="2214390"/>
                  <a:pt x="4876692" y="2213217"/>
                  <a:pt x="4873238" y="2213478"/>
                </a:cubicBezTo>
                <a:close/>
                <a:moveTo>
                  <a:pt x="5018744" y="2201917"/>
                </a:moveTo>
                <a:cubicBezTo>
                  <a:pt x="5013368" y="2201122"/>
                  <a:pt x="5008248" y="2201650"/>
                  <a:pt x="5004149" y="2209044"/>
                </a:cubicBezTo>
                <a:cubicBezTo>
                  <a:pt x="5002100" y="2211156"/>
                  <a:pt x="5006197" y="2221717"/>
                  <a:pt x="5010294" y="2223831"/>
                </a:cubicBezTo>
                <a:cubicBezTo>
                  <a:pt x="5028732" y="2232280"/>
                  <a:pt x="5028732" y="2213267"/>
                  <a:pt x="5034878" y="2202708"/>
                </a:cubicBezTo>
                <a:cubicBezTo>
                  <a:pt x="5029757" y="2204820"/>
                  <a:pt x="5024122" y="2202708"/>
                  <a:pt x="5018744" y="2201917"/>
                </a:cubicBezTo>
                <a:close/>
                <a:moveTo>
                  <a:pt x="4800453" y="2183773"/>
                </a:moveTo>
                <a:cubicBezTo>
                  <a:pt x="4796257" y="2185871"/>
                  <a:pt x="4785768" y="2183773"/>
                  <a:pt x="4789964" y="2190067"/>
                </a:cubicBezTo>
                <a:cubicBezTo>
                  <a:pt x="4796257" y="2200555"/>
                  <a:pt x="4785768" y="2225728"/>
                  <a:pt x="4810941" y="2221532"/>
                </a:cubicBezTo>
                <a:cubicBezTo>
                  <a:pt x="4817236" y="2219434"/>
                  <a:pt x="4821430" y="2217337"/>
                  <a:pt x="4827724" y="2217337"/>
                </a:cubicBezTo>
                <a:cubicBezTo>
                  <a:pt x="4804648" y="2217337"/>
                  <a:pt x="4821430" y="2183773"/>
                  <a:pt x="4800453" y="2183773"/>
                </a:cubicBezTo>
                <a:close/>
                <a:moveTo>
                  <a:pt x="314246" y="2157690"/>
                </a:moveTo>
                <a:cubicBezTo>
                  <a:pt x="307035" y="2156613"/>
                  <a:pt x="299823" y="2158767"/>
                  <a:pt x="292612" y="2160919"/>
                </a:cubicBezTo>
                <a:cubicBezTo>
                  <a:pt x="304975" y="2182460"/>
                  <a:pt x="319396" y="2175997"/>
                  <a:pt x="335879" y="2173844"/>
                </a:cubicBezTo>
                <a:cubicBezTo>
                  <a:pt x="328668" y="2163075"/>
                  <a:pt x="321457" y="2158767"/>
                  <a:pt x="314246" y="2157690"/>
                </a:cubicBezTo>
                <a:close/>
                <a:moveTo>
                  <a:pt x="5131541" y="2137992"/>
                </a:moveTo>
                <a:cubicBezTo>
                  <a:pt x="5131541" y="2137992"/>
                  <a:pt x="5133639" y="2137992"/>
                  <a:pt x="5133639" y="2137992"/>
                </a:cubicBezTo>
                <a:lnTo>
                  <a:pt x="5135861" y="2149085"/>
                </a:lnTo>
                <a:lnTo>
                  <a:pt x="5135157" y="2154268"/>
                </a:lnTo>
                <a:lnTo>
                  <a:pt x="5133213" y="2151512"/>
                </a:lnTo>
                <a:cubicBezTo>
                  <a:pt x="5126032" y="2144932"/>
                  <a:pt x="5117376" y="2146898"/>
                  <a:pt x="5106359" y="2154754"/>
                </a:cubicBezTo>
                <a:cubicBezTo>
                  <a:pt x="5114752" y="2146373"/>
                  <a:pt x="5125244" y="2146373"/>
                  <a:pt x="5131541" y="2137992"/>
                </a:cubicBezTo>
                <a:close/>
                <a:moveTo>
                  <a:pt x="5152440" y="2106412"/>
                </a:moveTo>
                <a:cubicBezTo>
                  <a:pt x="5146212" y="2107451"/>
                  <a:pt x="5142061" y="2110563"/>
                  <a:pt x="5139724" y="2114974"/>
                </a:cubicBezTo>
                <a:lnTo>
                  <a:pt x="5138141" y="2129229"/>
                </a:lnTo>
                <a:lnTo>
                  <a:pt x="5137908" y="2129247"/>
                </a:lnTo>
                <a:lnTo>
                  <a:pt x="5137908" y="2131322"/>
                </a:lnTo>
                <a:lnTo>
                  <a:pt x="5138141" y="2129229"/>
                </a:lnTo>
                <a:lnTo>
                  <a:pt x="5152440" y="2128207"/>
                </a:lnTo>
                <a:cubicBezTo>
                  <a:pt x="5156592" y="2126133"/>
                  <a:pt x="5159704" y="2121980"/>
                  <a:pt x="5160744" y="2114715"/>
                </a:cubicBezTo>
                <a:cubicBezTo>
                  <a:pt x="5160744" y="2112640"/>
                  <a:pt x="5154516" y="2106412"/>
                  <a:pt x="5152440" y="2106412"/>
                </a:cubicBezTo>
                <a:close/>
                <a:moveTo>
                  <a:pt x="138709" y="2095938"/>
                </a:moveTo>
                <a:cubicBezTo>
                  <a:pt x="130237" y="2108525"/>
                  <a:pt x="121764" y="2123211"/>
                  <a:pt x="109058" y="2142089"/>
                </a:cubicBezTo>
                <a:cubicBezTo>
                  <a:pt x="130237" y="2135797"/>
                  <a:pt x="151416" y="2148383"/>
                  <a:pt x="159888" y="2129502"/>
                </a:cubicBezTo>
                <a:cubicBezTo>
                  <a:pt x="164124" y="2119014"/>
                  <a:pt x="155652" y="2102231"/>
                  <a:pt x="138709" y="2095938"/>
                </a:cubicBezTo>
                <a:close/>
                <a:moveTo>
                  <a:pt x="216568" y="2091997"/>
                </a:moveTo>
                <a:cubicBezTo>
                  <a:pt x="229223" y="2111173"/>
                  <a:pt x="237660" y="2126088"/>
                  <a:pt x="256642" y="2121826"/>
                </a:cubicBezTo>
                <a:cubicBezTo>
                  <a:pt x="265079" y="2119696"/>
                  <a:pt x="265079" y="2109042"/>
                  <a:pt x="262970" y="2109042"/>
                </a:cubicBezTo>
                <a:cubicBezTo>
                  <a:pt x="250315" y="2102652"/>
                  <a:pt x="235550" y="2098389"/>
                  <a:pt x="216568" y="2091997"/>
                </a:cubicBezTo>
                <a:close/>
                <a:moveTo>
                  <a:pt x="552211" y="2057901"/>
                </a:moveTo>
                <a:cubicBezTo>
                  <a:pt x="562699" y="2066482"/>
                  <a:pt x="575286" y="2072918"/>
                  <a:pt x="587873" y="2081501"/>
                </a:cubicBezTo>
                <a:cubicBezTo>
                  <a:pt x="594166" y="2070773"/>
                  <a:pt x="579481" y="2066482"/>
                  <a:pt x="581580" y="2057901"/>
                </a:cubicBezTo>
                <a:cubicBezTo>
                  <a:pt x="571090" y="2057901"/>
                  <a:pt x="560602" y="2057901"/>
                  <a:pt x="552211" y="2057901"/>
                </a:cubicBezTo>
                <a:close/>
                <a:moveTo>
                  <a:pt x="568985" y="2004134"/>
                </a:moveTo>
                <a:cubicBezTo>
                  <a:pt x="583831" y="2010361"/>
                  <a:pt x="585952" y="2035272"/>
                  <a:pt x="609284" y="2035272"/>
                </a:cubicBezTo>
                <a:cubicBezTo>
                  <a:pt x="611404" y="2034755"/>
                  <a:pt x="612067" y="2035143"/>
                  <a:pt x="611869" y="2036148"/>
                </a:cubicBezTo>
                <a:lnTo>
                  <a:pt x="610474" y="2038614"/>
                </a:lnTo>
                <a:lnTo>
                  <a:pt x="603026" y="2041586"/>
                </a:lnTo>
                <a:lnTo>
                  <a:pt x="595809" y="2045883"/>
                </a:lnTo>
                <a:lnTo>
                  <a:pt x="591653" y="2042377"/>
                </a:lnTo>
                <a:cubicBezTo>
                  <a:pt x="575746" y="2036050"/>
                  <a:pt x="551488" y="2035272"/>
                  <a:pt x="568985" y="2004134"/>
                </a:cubicBezTo>
                <a:close/>
                <a:moveTo>
                  <a:pt x="611102" y="1978670"/>
                </a:moveTo>
                <a:cubicBezTo>
                  <a:pt x="617329" y="1980746"/>
                  <a:pt x="621481" y="1986974"/>
                  <a:pt x="625634" y="1991127"/>
                </a:cubicBezTo>
                <a:cubicBezTo>
                  <a:pt x="619405" y="1997353"/>
                  <a:pt x="615253" y="1999430"/>
                  <a:pt x="611102" y="2001506"/>
                </a:cubicBezTo>
                <a:cubicBezTo>
                  <a:pt x="606950" y="1995279"/>
                  <a:pt x="602797" y="1989050"/>
                  <a:pt x="600722" y="1980746"/>
                </a:cubicBezTo>
                <a:cubicBezTo>
                  <a:pt x="602797" y="1980746"/>
                  <a:pt x="609026" y="1976594"/>
                  <a:pt x="611102" y="1978670"/>
                </a:cubicBezTo>
                <a:close/>
                <a:moveTo>
                  <a:pt x="442469" y="1960870"/>
                </a:moveTo>
                <a:lnTo>
                  <a:pt x="445839" y="1961451"/>
                </a:lnTo>
                <a:lnTo>
                  <a:pt x="449940" y="1964980"/>
                </a:lnTo>
                <a:lnTo>
                  <a:pt x="450626" y="1971137"/>
                </a:lnTo>
                <a:cubicBezTo>
                  <a:pt x="450888" y="1973493"/>
                  <a:pt x="450888" y="1975588"/>
                  <a:pt x="449839" y="1976635"/>
                </a:cubicBezTo>
                <a:cubicBezTo>
                  <a:pt x="443543" y="1976635"/>
                  <a:pt x="445641" y="1972446"/>
                  <a:pt x="445641" y="1968258"/>
                </a:cubicBezTo>
                <a:close/>
                <a:moveTo>
                  <a:pt x="583916" y="1938573"/>
                </a:moveTo>
                <a:cubicBezTo>
                  <a:pt x="588207" y="1944925"/>
                  <a:pt x="592497" y="1949162"/>
                  <a:pt x="594643" y="1955518"/>
                </a:cubicBezTo>
                <a:cubicBezTo>
                  <a:pt x="596788" y="1957633"/>
                  <a:pt x="588207" y="1961871"/>
                  <a:pt x="583916" y="1966107"/>
                </a:cubicBezTo>
                <a:cubicBezTo>
                  <a:pt x="579625" y="1959752"/>
                  <a:pt x="575334" y="1953399"/>
                  <a:pt x="573188" y="1947044"/>
                </a:cubicBezTo>
                <a:cubicBezTo>
                  <a:pt x="573188" y="1944925"/>
                  <a:pt x="579625" y="1942809"/>
                  <a:pt x="583916" y="1938573"/>
                </a:cubicBezTo>
                <a:close/>
                <a:moveTo>
                  <a:pt x="607277" y="1815327"/>
                </a:moveTo>
                <a:cubicBezTo>
                  <a:pt x="607277" y="1815327"/>
                  <a:pt x="613832" y="1819588"/>
                  <a:pt x="613832" y="1819588"/>
                </a:cubicBezTo>
                <a:cubicBezTo>
                  <a:pt x="609463" y="1825979"/>
                  <a:pt x="607277" y="1832371"/>
                  <a:pt x="598536" y="1832371"/>
                </a:cubicBezTo>
                <a:cubicBezTo>
                  <a:pt x="594166" y="1832371"/>
                  <a:pt x="589796" y="1828111"/>
                  <a:pt x="589796" y="1825979"/>
                </a:cubicBezTo>
                <a:cubicBezTo>
                  <a:pt x="587611" y="1815327"/>
                  <a:pt x="596352" y="1815327"/>
                  <a:pt x="607277" y="1815327"/>
                </a:cubicBezTo>
                <a:close/>
                <a:moveTo>
                  <a:pt x="439284" y="1809930"/>
                </a:moveTo>
                <a:cubicBezTo>
                  <a:pt x="441388" y="1810452"/>
                  <a:pt x="443493" y="1812677"/>
                  <a:pt x="445598" y="1817910"/>
                </a:cubicBezTo>
                <a:cubicBezTo>
                  <a:pt x="451912" y="1830474"/>
                  <a:pt x="454017" y="1840941"/>
                  <a:pt x="454017" y="1855597"/>
                </a:cubicBezTo>
                <a:cubicBezTo>
                  <a:pt x="449808" y="1887001"/>
                  <a:pt x="458226" y="1901657"/>
                  <a:pt x="491900" y="1863970"/>
                </a:cubicBezTo>
                <a:cubicBezTo>
                  <a:pt x="485587" y="1887001"/>
                  <a:pt x="485587" y="1899562"/>
                  <a:pt x="479273" y="1910030"/>
                </a:cubicBezTo>
                <a:cubicBezTo>
                  <a:pt x="470854" y="1926780"/>
                  <a:pt x="439284" y="1922593"/>
                  <a:pt x="439284" y="1920498"/>
                </a:cubicBezTo>
                <a:cubicBezTo>
                  <a:pt x="451912" y="1880720"/>
                  <a:pt x="411923" y="1857690"/>
                  <a:pt x="411923" y="1824193"/>
                </a:cubicBezTo>
                <a:cubicBezTo>
                  <a:pt x="411923" y="1813724"/>
                  <a:pt x="420341" y="1813724"/>
                  <a:pt x="420341" y="1815817"/>
                </a:cubicBezTo>
                <a:cubicBezTo>
                  <a:pt x="426656" y="1822098"/>
                  <a:pt x="432970" y="1808359"/>
                  <a:pt x="439284" y="1809930"/>
                </a:cubicBezTo>
                <a:close/>
                <a:moveTo>
                  <a:pt x="577123" y="1774136"/>
                </a:moveTo>
                <a:cubicBezTo>
                  <a:pt x="583416" y="1776211"/>
                  <a:pt x="587611" y="1780363"/>
                  <a:pt x="587611" y="1780363"/>
                </a:cubicBezTo>
                <a:cubicBezTo>
                  <a:pt x="587611" y="1792819"/>
                  <a:pt x="585514" y="1796970"/>
                  <a:pt x="579220" y="1796970"/>
                </a:cubicBezTo>
                <a:cubicBezTo>
                  <a:pt x="570829" y="1794895"/>
                  <a:pt x="570829" y="1788668"/>
                  <a:pt x="570829" y="1784516"/>
                </a:cubicBezTo>
                <a:cubicBezTo>
                  <a:pt x="570829" y="1780363"/>
                  <a:pt x="566633" y="1772059"/>
                  <a:pt x="577123" y="1774136"/>
                </a:cubicBezTo>
                <a:close/>
                <a:moveTo>
                  <a:pt x="560963" y="1722796"/>
                </a:moveTo>
                <a:lnTo>
                  <a:pt x="561127" y="1722959"/>
                </a:lnTo>
                <a:lnTo>
                  <a:pt x="560946" y="1722875"/>
                </a:lnTo>
                <a:close/>
                <a:moveTo>
                  <a:pt x="560534" y="1722681"/>
                </a:moveTo>
                <a:lnTo>
                  <a:pt x="560946" y="1722875"/>
                </a:lnTo>
                <a:lnTo>
                  <a:pt x="560913" y="1723057"/>
                </a:lnTo>
                <a:close/>
                <a:moveTo>
                  <a:pt x="559190" y="1721346"/>
                </a:moveTo>
                <a:lnTo>
                  <a:pt x="560534" y="1722681"/>
                </a:lnTo>
                <a:lnTo>
                  <a:pt x="559469" y="1722184"/>
                </a:lnTo>
                <a:close/>
                <a:moveTo>
                  <a:pt x="559334" y="1721168"/>
                </a:moveTo>
                <a:lnTo>
                  <a:pt x="561129" y="1721935"/>
                </a:lnTo>
                <a:lnTo>
                  <a:pt x="560963" y="1722796"/>
                </a:lnTo>
                <a:close/>
                <a:moveTo>
                  <a:pt x="558767" y="1720926"/>
                </a:moveTo>
                <a:lnTo>
                  <a:pt x="559096" y="1721067"/>
                </a:lnTo>
                <a:lnTo>
                  <a:pt x="559190" y="1721346"/>
                </a:lnTo>
                <a:close/>
                <a:moveTo>
                  <a:pt x="559029" y="1720864"/>
                </a:moveTo>
                <a:lnTo>
                  <a:pt x="559334" y="1721168"/>
                </a:lnTo>
                <a:lnTo>
                  <a:pt x="559096" y="1721067"/>
                </a:lnTo>
                <a:close/>
                <a:moveTo>
                  <a:pt x="573785" y="1706013"/>
                </a:moveTo>
                <a:cubicBezTo>
                  <a:pt x="582367" y="1710274"/>
                  <a:pt x="582367" y="1720926"/>
                  <a:pt x="580221" y="1725188"/>
                </a:cubicBezTo>
                <a:cubicBezTo>
                  <a:pt x="573785" y="1734775"/>
                  <a:pt x="569762" y="1727585"/>
                  <a:pt x="564533" y="1723390"/>
                </a:cubicBezTo>
                <a:lnTo>
                  <a:pt x="561129" y="1721935"/>
                </a:lnTo>
                <a:lnTo>
                  <a:pt x="563326" y="1710541"/>
                </a:lnTo>
                <a:cubicBezTo>
                  <a:pt x="564667" y="1707078"/>
                  <a:pt x="567348" y="1704946"/>
                  <a:pt x="573785" y="1706013"/>
                </a:cubicBezTo>
                <a:close/>
                <a:moveTo>
                  <a:pt x="487704" y="1668484"/>
                </a:moveTo>
                <a:cubicBezTo>
                  <a:pt x="497144" y="1682103"/>
                  <a:pt x="507633" y="1694150"/>
                  <a:pt x="519695" y="1703578"/>
                </a:cubicBezTo>
                <a:lnTo>
                  <a:pt x="559469" y="1722184"/>
                </a:lnTo>
                <a:lnTo>
                  <a:pt x="561650" y="1728722"/>
                </a:lnTo>
                <a:cubicBezTo>
                  <a:pt x="562176" y="1731342"/>
                  <a:pt x="562176" y="1733436"/>
                  <a:pt x="561127" y="1733436"/>
                </a:cubicBezTo>
                <a:cubicBezTo>
                  <a:pt x="517073" y="1752293"/>
                  <a:pt x="561127" y="1796294"/>
                  <a:pt x="533855" y="1821438"/>
                </a:cubicBezTo>
                <a:cubicBezTo>
                  <a:pt x="519171" y="1836104"/>
                  <a:pt x="540149" y="1836104"/>
                  <a:pt x="548539" y="1842390"/>
                </a:cubicBezTo>
                <a:cubicBezTo>
                  <a:pt x="554833" y="1846581"/>
                  <a:pt x="565322" y="1852866"/>
                  <a:pt x="561127" y="1863344"/>
                </a:cubicBezTo>
                <a:cubicBezTo>
                  <a:pt x="559029" y="1869628"/>
                  <a:pt x="548539" y="1873820"/>
                  <a:pt x="540149" y="1875916"/>
                </a:cubicBezTo>
                <a:cubicBezTo>
                  <a:pt x="519171" y="1882202"/>
                  <a:pt x="540149" y="1859152"/>
                  <a:pt x="529660" y="1859152"/>
                </a:cubicBezTo>
                <a:cubicBezTo>
                  <a:pt x="517073" y="1859152"/>
                  <a:pt x="510780" y="1819341"/>
                  <a:pt x="491899" y="1852866"/>
                </a:cubicBezTo>
                <a:cubicBezTo>
                  <a:pt x="483508" y="1865439"/>
                  <a:pt x="475117" y="1846581"/>
                  <a:pt x="466726" y="1848676"/>
                </a:cubicBezTo>
                <a:cubicBezTo>
                  <a:pt x="483508" y="1802580"/>
                  <a:pt x="449945" y="1746006"/>
                  <a:pt x="493997" y="1704103"/>
                </a:cubicBezTo>
                <a:cubicBezTo>
                  <a:pt x="504487" y="1693626"/>
                  <a:pt x="470922" y="1687339"/>
                  <a:pt x="487704" y="1668484"/>
                </a:cubicBezTo>
                <a:close/>
                <a:moveTo>
                  <a:pt x="587611" y="1637018"/>
                </a:moveTo>
                <a:cubicBezTo>
                  <a:pt x="606786" y="1641212"/>
                  <a:pt x="613177" y="1655898"/>
                  <a:pt x="621700" y="1668484"/>
                </a:cubicBezTo>
                <a:cubicBezTo>
                  <a:pt x="602525" y="1664288"/>
                  <a:pt x="594003" y="1655898"/>
                  <a:pt x="587611" y="1637018"/>
                </a:cubicBezTo>
                <a:close/>
                <a:moveTo>
                  <a:pt x="529814" y="1630200"/>
                </a:moveTo>
                <a:cubicBezTo>
                  <a:pt x="533732" y="1631251"/>
                  <a:pt x="536867" y="1634922"/>
                  <a:pt x="540002" y="1641214"/>
                </a:cubicBezTo>
                <a:cubicBezTo>
                  <a:pt x="546270" y="1657995"/>
                  <a:pt x="558807" y="1670581"/>
                  <a:pt x="569255" y="1685265"/>
                </a:cubicBezTo>
                <a:cubicBezTo>
                  <a:pt x="540002" y="1699950"/>
                  <a:pt x="531643" y="1666386"/>
                  <a:pt x="510747" y="1664288"/>
                </a:cubicBezTo>
                <a:cubicBezTo>
                  <a:pt x="508657" y="1664288"/>
                  <a:pt x="502389" y="1643313"/>
                  <a:pt x="514925" y="1634922"/>
                </a:cubicBezTo>
                <a:cubicBezTo>
                  <a:pt x="521196" y="1630725"/>
                  <a:pt x="525897" y="1629152"/>
                  <a:pt x="529814" y="1630200"/>
                </a:cubicBezTo>
                <a:close/>
                <a:moveTo>
                  <a:pt x="961396" y="1608180"/>
                </a:moveTo>
                <a:cubicBezTo>
                  <a:pt x="944231" y="1608180"/>
                  <a:pt x="952813" y="1624788"/>
                  <a:pt x="944231" y="1631015"/>
                </a:cubicBezTo>
                <a:cubicBezTo>
                  <a:pt x="957103" y="1633091"/>
                  <a:pt x="965686" y="1628940"/>
                  <a:pt x="967832" y="1616483"/>
                </a:cubicBezTo>
                <a:cubicBezTo>
                  <a:pt x="967832" y="1614408"/>
                  <a:pt x="963540" y="1608180"/>
                  <a:pt x="961396" y="1608180"/>
                </a:cubicBezTo>
                <a:close/>
                <a:moveTo>
                  <a:pt x="711641" y="1604240"/>
                </a:moveTo>
                <a:cubicBezTo>
                  <a:pt x="722130" y="1616754"/>
                  <a:pt x="730521" y="1631356"/>
                  <a:pt x="720032" y="1650129"/>
                </a:cubicBezTo>
                <a:cubicBezTo>
                  <a:pt x="699055" y="1637614"/>
                  <a:pt x="705348" y="1620927"/>
                  <a:pt x="711641" y="1604240"/>
                </a:cubicBezTo>
                <a:close/>
                <a:moveTo>
                  <a:pt x="898604" y="1597437"/>
                </a:moveTo>
                <a:cubicBezTo>
                  <a:pt x="889690" y="1596389"/>
                  <a:pt x="880249" y="1598486"/>
                  <a:pt x="870809" y="1599535"/>
                </a:cubicBezTo>
                <a:cubicBezTo>
                  <a:pt x="883396" y="1622604"/>
                  <a:pt x="902276" y="1616312"/>
                  <a:pt x="923254" y="1614214"/>
                </a:cubicBezTo>
                <a:cubicBezTo>
                  <a:pt x="915912" y="1602681"/>
                  <a:pt x="907521" y="1598486"/>
                  <a:pt x="898604" y="1597437"/>
                </a:cubicBezTo>
                <a:close/>
                <a:moveTo>
                  <a:pt x="839605" y="1582783"/>
                </a:moveTo>
                <a:cubicBezTo>
                  <a:pt x="833312" y="1580652"/>
                  <a:pt x="824921" y="1589173"/>
                  <a:pt x="827018" y="1595566"/>
                </a:cubicBezTo>
                <a:cubicBezTo>
                  <a:pt x="831214" y="1601958"/>
                  <a:pt x="841703" y="1608345"/>
                  <a:pt x="847997" y="1614734"/>
                </a:cubicBezTo>
                <a:cubicBezTo>
                  <a:pt x="850095" y="1608345"/>
                  <a:pt x="854290" y="1601958"/>
                  <a:pt x="856388" y="1593435"/>
                </a:cubicBezTo>
                <a:cubicBezTo>
                  <a:pt x="852192" y="1591305"/>
                  <a:pt x="845899" y="1584914"/>
                  <a:pt x="839605" y="1582783"/>
                </a:cubicBezTo>
                <a:close/>
                <a:moveTo>
                  <a:pt x="870809" y="1562299"/>
                </a:moveTo>
                <a:cubicBezTo>
                  <a:pt x="885494" y="1591143"/>
                  <a:pt x="898081" y="1591143"/>
                  <a:pt x="912765" y="1562299"/>
                </a:cubicBezTo>
                <a:cubicBezTo>
                  <a:pt x="898081" y="1562299"/>
                  <a:pt x="885494" y="1562299"/>
                  <a:pt x="870809" y="1562299"/>
                </a:cubicBezTo>
                <a:close/>
                <a:moveTo>
                  <a:pt x="516951" y="1561866"/>
                </a:moveTo>
                <a:cubicBezTo>
                  <a:pt x="523024" y="1560692"/>
                  <a:pt x="528509" y="1567739"/>
                  <a:pt x="531643" y="1572438"/>
                </a:cubicBezTo>
                <a:cubicBezTo>
                  <a:pt x="542091" y="1589142"/>
                  <a:pt x="567166" y="1587054"/>
                  <a:pt x="569255" y="1612108"/>
                </a:cubicBezTo>
                <a:cubicBezTo>
                  <a:pt x="556719" y="1599582"/>
                  <a:pt x="537912" y="1597493"/>
                  <a:pt x="523284" y="1591230"/>
                </a:cubicBezTo>
                <a:cubicBezTo>
                  <a:pt x="508657" y="1587054"/>
                  <a:pt x="502389" y="1578701"/>
                  <a:pt x="510747" y="1566173"/>
                </a:cubicBezTo>
                <a:cubicBezTo>
                  <a:pt x="512837" y="1563564"/>
                  <a:pt x="514926" y="1562258"/>
                  <a:pt x="516951" y="1561866"/>
                </a:cubicBezTo>
                <a:close/>
                <a:moveTo>
                  <a:pt x="5121466" y="1544981"/>
                </a:moveTo>
                <a:lnTo>
                  <a:pt x="5143700" y="1546988"/>
                </a:lnTo>
                <a:cubicBezTo>
                  <a:pt x="5139664" y="1551357"/>
                  <a:pt x="5135632" y="1560098"/>
                  <a:pt x="5131596" y="1562284"/>
                </a:cubicBezTo>
                <a:cubicBezTo>
                  <a:pt x="5124538" y="1562284"/>
                  <a:pt x="5122016" y="1559551"/>
                  <a:pt x="5121259" y="1555728"/>
                </a:cubicBezTo>
                <a:close/>
                <a:moveTo>
                  <a:pt x="5120888" y="1543147"/>
                </a:moveTo>
                <a:lnTo>
                  <a:pt x="5118790" y="1545245"/>
                </a:lnTo>
                <a:lnTo>
                  <a:pt x="5119403" y="1543610"/>
                </a:lnTo>
                <a:close/>
                <a:moveTo>
                  <a:pt x="5121512" y="1542617"/>
                </a:moveTo>
                <a:lnTo>
                  <a:pt x="5121466" y="1544981"/>
                </a:lnTo>
                <a:lnTo>
                  <a:pt x="5119493" y="1544802"/>
                </a:lnTo>
                <a:cubicBezTo>
                  <a:pt x="5119493" y="1544802"/>
                  <a:pt x="5121512" y="1542617"/>
                  <a:pt x="5121512" y="1542617"/>
                </a:cubicBezTo>
                <a:close/>
                <a:moveTo>
                  <a:pt x="5086208" y="1503225"/>
                </a:moveTo>
                <a:cubicBezTo>
                  <a:pt x="5089813" y="1503946"/>
                  <a:pt x="5093615" y="1507486"/>
                  <a:pt x="5097811" y="1515876"/>
                </a:cubicBezTo>
                <a:cubicBezTo>
                  <a:pt x="5100958" y="1523743"/>
                  <a:pt x="5122984" y="1518631"/>
                  <a:pt x="5124950" y="1528856"/>
                </a:cubicBezTo>
                <a:lnTo>
                  <a:pt x="5119403" y="1543610"/>
                </a:lnTo>
                <a:lnTo>
                  <a:pt x="5087323" y="1553636"/>
                </a:lnTo>
                <a:cubicBezTo>
                  <a:pt x="5072638" y="1553636"/>
                  <a:pt x="5055856" y="1555734"/>
                  <a:pt x="5049562" y="1538952"/>
                </a:cubicBezTo>
                <a:cubicBezTo>
                  <a:pt x="5045366" y="1532658"/>
                  <a:pt x="5045366" y="1513778"/>
                  <a:pt x="5053758" y="1517973"/>
                </a:cubicBezTo>
                <a:cubicBezTo>
                  <a:pt x="5066344" y="1524268"/>
                  <a:pt x="5075392" y="1501061"/>
                  <a:pt x="5086208" y="1503225"/>
                </a:cubicBezTo>
                <a:close/>
                <a:moveTo>
                  <a:pt x="1396580" y="1473959"/>
                </a:moveTo>
                <a:cubicBezTo>
                  <a:pt x="1393939" y="1474960"/>
                  <a:pt x="1393939" y="1482582"/>
                  <a:pt x="1393939" y="1484186"/>
                </a:cubicBezTo>
                <a:cubicBezTo>
                  <a:pt x="1393939" y="1505577"/>
                  <a:pt x="1412712" y="1499162"/>
                  <a:pt x="1421056" y="1507718"/>
                </a:cubicBezTo>
                <a:cubicBezTo>
                  <a:pt x="1425229" y="1509859"/>
                  <a:pt x="1435657" y="1509859"/>
                  <a:pt x="1439829" y="1494882"/>
                </a:cubicBezTo>
                <a:cubicBezTo>
                  <a:pt x="1429399" y="1488465"/>
                  <a:pt x="1412712" y="1488465"/>
                  <a:pt x="1400198" y="1475630"/>
                </a:cubicBezTo>
                <a:cubicBezTo>
                  <a:pt x="1398634" y="1474024"/>
                  <a:pt x="1397460" y="1473623"/>
                  <a:pt x="1396580" y="1473959"/>
                </a:cubicBezTo>
                <a:close/>
                <a:moveTo>
                  <a:pt x="4741324" y="1434865"/>
                </a:moveTo>
                <a:cubicBezTo>
                  <a:pt x="4732450" y="1435652"/>
                  <a:pt x="4723053" y="1438799"/>
                  <a:pt x="4713657" y="1439848"/>
                </a:cubicBezTo>
                <a:cubicBezTo>
                  <a:pt x="4732450" y="1448239"/>
                  <a:pt x="4744978" y="1462919"/>
                  <a:pt x="4763770" y="1469212"/>
                </a:cubicBezTo>
                <a:cubicBezTo>
                  <a:pt x="4763770" y="1460822"/>
                  <a:pt x="4770034" y="1448239"/>
                  <a:pt x="4765858" y="1444043"/>
                </a:cubicBezTo>
                <a:cubicBezTo>
                  <a:pt x="4758550" y="1435652"/>
                  <a:pt x="4750197" y="1434078"/>
                  <a:pt x="4741324" y="1434865"/>
                </a:cubicBezTo>
                <a:close/>
                <a:moveTo>
                  <a:pt x="925876" y="1419291"/>
                </a:moveTo>
                <a:cubicBezTo>
                  <a:pt x="934205" y="1436523"/>
                  <a:pt x="946699" y="1438678"/>
                  <a:pt x="961277" y="1442987"/>
                </a:cubicBezTo>
                <a:cubicBezTo>
                  <a:pt x="955029" y="1419291"/>
                  <a:pt x="944617" y="1412829"/>
                  <a:pt x="925876" y="1419291"/>
                </a:cubicBezTo>
                <a:close/>
                <a:moveTo>
                  <a:pt x="5312425" y="1415012"/>
                </a:moveTo>
                <a:cubicBezTo>
                  <a:pt x="5318490" y="1412615"/>
                  <a:pt x="5325344" y="1416345"/>
                  <a:pt x="5339054" y="1423801"/>
                </a:cubicBezTo>
                <a:cubicBezTo>
                  <a:pt x="5320071" y="1425930"/>
                  <a:pt x="5307416" y="1430192"/>
                  <a:pt x="5290542" y="1442975"/>
                </a:cubicBezTo>
                <a:cubicBezTo>
                  <a:pt x="5301088" y="1425930"/>
                  <a:pt x="5306362" y="1417409"/>
                  <a:pt x="5312425" y="1415012"/>
                </a:cubicBezTo>
                <a:close/>
                <a:moveTo>
                  <a:pt x="728241" y="1373489"/>
                </a:moveTo>
                <a:cubicBezTo>
                  <a:pt x="736677" y="1383790"/>
                  <a:pt x="747224" y="1396152"/>
                  <a:pt x="755660" y="1408514"/>
                </a:cubicBezTo>
                <a:cubicBezTo>
                  <a:pt x="761988" y="1416756"/>
                  <a:pt x="751442" y="1416756"/>
                  <a:pt x="747224" y="1416756"/>
                </a:cubicBezTo>
                <a:cubicBezTo>
                  <a:pt x="728241" y="1414696"/>
                  <a:pt x="719804" y="1402333"/>
                  <a:pt x="715587" y="1385851"/>
                </a:cubicBezTo>
                <a:cubicBezTo>
                  <a:pt x="713477" y="1379669"/>
                  <a:pt x="715587" y="1373489"/>
                  <a:pt x="728241" y="1373489"/>
                </a:cubicBezTo>
                <a:close/>
                <a:moveTo>
                  <a:pt x="1324690" y="1366934"/>
                </a:moveTo>
                <a:cubicBezTo>
                  <a:pt x="1322545" y="1387793"/>
                  <a:pt x="1313963" y="1400309"/>
                  <a:pt x="1337563" y="1412825"/>
                </a:cubicBezTo>
                <a:cubicBezTo>
                  <a:pt x="1333272" y="1396137"/>
                  <a:pt x="1331126" y="1385708"/>
                  <a:pt x="1324690" y="1366934"/>
                </a:cubicBezTo>
                <a:close/>
                <a:moveTo>
                  <a:pt x="1087948" y="1359077"/>
                </a:moveTo>
                <a:cubicBezTo>
                  <a:pt x="1085931" y="1359077"/>
                  <a:pt x="1081897" y="1363197"/>
                  <a:pt x="1081897" y="1365256"/>
                </a:cubicBezTo>
                <a:cubicBezTo>
                  <a:pt x="1081897" y="1381740"/>
                  <a:pt x="1094000" y="1385860"/>
                  <a:pt x="1108119" y="1387921"/>
                </a:cubicBezTo>
                <a:cubicBezTo>
                  <a:pt x="1102068" y="1377619"/>
                  <a:pt x="1108119" y="1359077"/>
                  <a:pt x="1087948" y="1359077"/>
                </a:cubicBezTo>
                <a:close/>
                <a:moveTo>
                  <a:pt x="5390187" y="1339398"/>
                </a:moveTo>
                <a:cubicBezTo>
                  <a:pt x="5379699" y="1354082"/>
                  <a:pt x="5369208" y="1366669"/>
                  <a:pt x="5358720" y="1381353"/>
                </a:cubicBezTo>
                <a:cubicBezTo>
                  <a:pt x="5348231" y="1351984"/>
                  <a:pt x="5371306" y="1347789"/>
                  <a:pt x="5390187" y="1339398"/>
                </a:cubicBezTo>
                <a:close/>
                <a:moveTo>
                  <a:pt x="1461207" y="1203317"/>
                </a:moveTo>
                <a:cubicBezTo>
                  <a:pt x="1455853" y="1200957"/>
                  <a:pt x="1448714" y="1200957"/>
                  <a:pt x="1438517" y="1204105"/>
                </a:cubicBezTo>
                <a:cubicBezTo>
                  <a:pt x="1450754" y="1212496"/>
                  <a:pt x="1452794" y="1229277"/>
                  <a:pt x="1471149" y="1227179"/>
                </a:cubicBezTo>
                <a:cubicBezTo>
                  <a:pt x="1471149" y="1227179"/>
                  <a:pt x="1475228" y="1218789"/>
                  <a:pt x="1473189" y="1216691"/>
                </a:cubicBezTo>
                <a:cubicBezTo>
                  <a:pt x="1470130" y="1210398"/>
                  <a:pt x="1466561" y="1205678"/>
                  <a:pt x="1461207" y="1203317"/>
                </a:cubicBezTo>
                <a:close/>
                <a:moveTo>
                  <a:pt x="816669" y="1201746"/>
                </a:moveTo>
                <a:cubicBezTo>
                  <a:pt x="800009" y="1203858"/>
                  <a:pt x="829163" y="1229206"/>
                  <a:pt x="802092" y="1231319"/>
                </a:cubicBezTo>
                <a:cubicBezTo>
                  <a:pt x="800009" y="1231319"/>
                  <a:pt x="810422" y="1235543"/>
                  <a:pt x="816669" y="1237656"/>
                </a:cubicBezTo>
                <a:cubicBezTo>
                  <a:pt x="822916" y="1237656"/>
                  <a:pt x="835410" y="1239768"/>
                  <a:pt x="831245" y="1224982"/>
                </a:cubicBezTo>
                <a:cubicBezTo>
                  <a:pt x="822916" y="1218644"/>
                  <a:pt x="827080" y="1201746"/>
                  <a:pt x="816669" y="1201746"/>
                </a:cubicBezTo>
                <a:close/>
                <a:moveTo>
                  <a:pt x="980941" y="1197821"/>
                </a:moveTo>
                <a:cubicBezTo>
                  <a:pt x="974386" y="1197296"/>
                  <a:pt x="968093" y="1199919"/>
                  <a:pt x="965995" y="1203066"/>
                </a:cubicBezTo>
                <a:cubicBezTo>
                  <a:pt x="955506" y="1213554"/>
                  <a:pt x="953409" y="1228238"/>
                  <a:pt x="972288" y="1238727"/>
                </a:cubicBezTo>
                <a:cubicBezTo>
                  <a:pt x="989071" y="1245020"/>
                  <a:pt x="997462" y="1257606"/>
                  <a:pt x="972288" y="1265996"/>
                </a:cubicBezTo>
                <a:cubicBezTo>
                  <a:pt x="968093" y="1268094"/>
                  <a:pt x="957604" y="1274387"/>
                  <a:pt x="965995" y="1282779"/>
                </a:cubicBezTo>
                <a:cubicBezTo>
                  <a:pt x="976484" y="1293268"/>
                  <a:pt x="974386" y="1280681"/>
                  <a:pt x="980680" y="1278583"/>
                </a:cubicBezTo>
                <a:cubicBezTo>
                  <a:pt x="993267" y="1268094"/>
                  <a:pt x="1007951" y="1270192"/>
                  <a:pt x="1022635" y="1276485"/>
                </a:cubicBezTo>
                <a:cubicBezTo>
                  <a:pt x="1026830" y="1278583"/>
                  <a:pt x="1031026" y="1282779"/>
                  <a:pt x="1026830" y="1293268"/>
                </a:cubicBezTo>
                <a:cubicBezTo>
                  <a:pt x="1024733" y="1303757"/>
                  <a:pt x="1003755" y="1312147"/>
                  <a:pt x="1020537" y="1326831"/>
                </a:cubicBezTo>
                <a:cubicBezTo>
                  <a:pt x="1037319" y="1339418"/>
                  <a:pt x="1052004" y="1326831"/>
                  <a:pt x="1068786" y="1324733"/>
                </a:cubicBezTo>
                <a:cubicBezTo>
                  <a:pt x="1041515" y="1299561"/>
                  <a:pt x="1035222" y="1265996"/>
                  <a:pt x="1016342" y="1242922"/>
                </a:cubicBezTo>
                <a:cubicBezTo>
                  <a:pt x="1026830" y="1228238"/>
                  <a:pt x="1035222" y="1251313"/>
                  <a:pt x="1039417" y="1238727"/>
                </a:cubicBezTo>
                <a:cubicBezTo>
                  <a:pt x="1043613" y="1226140"/>
                  <a:pt x="1033124" y="1226140"/>
                  <a:pt x="1026830" y="1228238"/>
                </a:cubicBezTo>
                <a:cubicBezTo>
                  <a:pt x="1012146" y="1228238"/>
                  <a:pt x="1001658" y="1224042"/>
                  <a:pt x="997462" y="1211456"/>
                </a:cubicBezTo>
                <a:cubicBezTo>
                  <a:pt x="994316" y="1202016"/>
                  <a:pt x="987497" y="1198345"/>
                  <a:pt x="980941" y="1197821"/>
                </a:cubicBezTo>
                <a:close/>
                <a:moveTo>
                  <a:pt x="898623" y="1154968"/>
                </a:moveTo>
                <a:cubicBezTo>
                  <a:pt x="902392" y="1156305"/>
                  <a:pt x="906163" y="1160585"/>
                  <a:pt x="909394" y="1163793"/>
                </a:cubicBezTo>
                <a:cubicBezTo>
                  <a:pt x="913701" y="1168071"/>
                  <a:pt x="918010" y="1176628"/>
                  <a:pt x="911548" y="1178767"/>
                </a:cubicBezTo>
                <a:cubicBezTo>
                  <a:pt x="907239" y="1181975"/>
                  <a:pt x="902932" y="1184114"/>
                  <a:pt x="898892" y="1183848"/>
                </a:cubicBezTo>
                <a:lnTo>
                  <a:pt x="890020" y="1176325"/>
                </a:lnTo>
                <a:lnTo>
                  <a:pt x="890518" y="1174053"/>
                </a:lnTo>
                <a:cubicBezTo>
                  <a:pt x="890518" y="1169862"/>
                  <a:pt x="890518" y="1165670"/>
                  <a:pt x="890518" y="1161480"/>
                </a:cubicBezTo>
                <a:lnTo>
                  <a:pt x="890003" y="1160424"/>
                </a:lnTo>
                <a:lnTo>
                  <a:pt x="893036" y="1155670"/>
                </a:lnTo>
                <a:cubicBezTo>
                  <a:pt x="894854" y="1154367"/>
                  <a:pt x="896739" y="1154299"/>
                  <a:pt x="898623" y="1154968"/>
                </a:cubicBezTo>
                <a:close/>
                <a:moveTo>
                  <a:pt x="989080" y="1149307"/>
                </a:moveTo>
                <a:cubicBezTo>
                  <a:pt x="967832" y="1193157"/>
                  <a:pt x="1016704" y="1188981"/>
                  <a:pt x="1029454" y="1205685"/>
                </a:cubicBezTo>
                <a:cubicBezTo>
                  <a:pt x="1029454" y="1178540"/>
                  <a:pt x="1016704" y="1157660"/>
                  <a:pt x="989080" y="1149307"/>
                </a:cubicBezTo>
                <a:close/>
                <a:moveTo>
                  <a:pt x="614786" y="1138692"/>
                </a:moveTo>
                <a:lnTo>
                  <a:pt x="624011" y="1153360"/>
                </a:lnTo>
                <a:lnTo>
                  <a:pt x="624672" y="1154470"/>
                </a:lnTo>
                <a:lnTo>
                  <a:pt x="622829" y="1157713"/>
                </a:lnTo>
                <a:cubicBezTo>
                  <a:pt x="622064" y="1159530"/>
                  <a:pt x="621554" y="1161087"/>
                  <a:pt x="621554" y="1161087"/>
                </a:cubicBezTo>
                <a:cubicBezTo>
                  <a:pt x="613396" y="1156935"/>
                  <a:pt x="607277" y="1154859"/>
                  <a:pt x="609316" y="1146555"/>
                </a:cubicBezTo>
                <a:cubicBezTo>
                  <a:pt x="609316" y="1144479"/>
                  <a:pt x="610336" y="1142403"/>
                  <a:pt x="611611" y="1140847"/>
                </a:cubicBezTo>
                <a:close/>
                <a:moveTo>
                  <a:pt x="978584" y="1127835"/>
                </a:moveTo>
                <a:lnTo>
                  <a:pt x="978592" y="1128031"/>
                </a:lnTo>
                <a:lnTo>
                  <a:pt x="974457" y="1133191"/>
                </a:lnTo>
                <a:cubicBezTo>
                  <a:pt x="973408" y="1135287"/>
                  <a:pt x="972359" y="1137383"/>
                  <a:pt x="970261" y="1138431"/>
                </a:cubicBezTo>
                <a:cubicBezTo>
                  <a:pt x="971310" y="1135287"/>
                  <a:pt x="972883" y="1133191"/>
                  <a:pt x="974720" y="1131358"/>
                </a:cubicBezTo>
                <a:close/>
                <a:moveTo>
                  <a:pt x="1131719" y="1094556"/>
                </a:moveTo>
                <a:cubicBezTo>
                  <a:pt x="1140191" y="1103077"/>
                  <a:pt x="1146545" y="1111599"/>
                  <a:pt x="1159253" y="1124383"/>
                </a:cubicBezTo>
                <a:cubicBezTo>
                  <a:pt x="1157135" y="1100947"/>
                  <a:pt x="1150781" y="1090294"/>
                  <a:pt x="1131719" y="1094556"/>
                </a:cubicBezTo>
                <a:close/>
                <a:moveTo>
                  <a:pt x="5215580" y="1094449"/>
                </a:moveTo>
                <a:cubicBezTo>
                  <a:pt x="5203085" y="1090297"/>
                  <a:pt x="5194756" y="1100677"/>
                  <a:pt x="5184344" y="1106905"/>
                </a:cubicBezTo>
                <a:cubicBezTo>
                  <a:pt x="5196836" y="1111057"/>
                  <a:pt x="5209332" y="1115208"/>
                  <a:pt x="5217662" y="1104829"/>
                </a:cubicBezTo>
                <a:cubicBezTo>
                  <a:pt x="5219744" y="1102753"/>
                  <a:pt x="5217662" y="1094449"/>
                  <a:pt x="5215580" y="1094449"/>
                </a:cubicBezTo>
                <a:close/>
                <a:moveTo>
                  <a:pt x="1329616" y="1087295"/>
                </a:moveTo>
                <a:cubicBezTo>
                  <a:pt x="1325832" y="1086114"/>
                  <a:pt x="1321173" y="1090834"/>
                  <a:pt x="1316516" y="1090834"/>
                </a:cubicBezTo>
                <a:cubicBezTo>
                  <a:pt x="1302024" y="1095030"/>
                  <a:pt x="1304095" y="1099225"/>
                  <a:pt x="1312375" y="1107616"/>
                </a:cubicBezTo>
                <a:cubicBezTo>
                  <a:pt x="1314445" y="1118105"/>
                  <a:pt x="1291674" y="1143277"/>
                  <a:pt x="1326866" y="1130691"/>
                </a:cubicBezTo>
                <a:cubicBezTo>
                  <a:pt x="1337217" y="1126495"/>
                  <a:pt x="1341357" y="1132789"/>
                  <a:pt x="1339288" y="1141179"/>
                </a:cubicBezTo>
                <a:cubicBezTo>
                  <a:pt x="1331007" y="1166352"/>
                  <a:pt x="1345498" y="1147473"/>
                  <a:pt x="1351709" y="1149570"/>
                </a:cubicBezTo>
                <a:cubicBezTo>
                  <a:pt x="1368270" y="1155864"/>
                  <a:pt x="1370340" y="1145375"/>
                  <a:pt x="1366200" y="1136984"/>
                </a:cubicBezTo>
                <a:cubicBezTo>
                  <a:pt x="1357918" y="1120202"/>
                  <a:pt x="1345498" y="1107616"/>
                  <a:pt x="1333076" y="1090834"/>
                </a:cubicBezTo>
                <a:cubicBezTo>
                  <a:pt x="1332041" y="1088737"/>
                  <a:pt x="1330877" y="1087688"/>
                  <a:pt x="1329616" y="1087295"/>
                </a:cubicBezTo>
                <a:close/>
                <a:moveTo>
                  <a:pt x="1045186" y="1086368"/>
                </a:moveTo>
                <a:cubicBezTo>
                  <a:pt x="1051479" y="1096747"/>
                  <a:pt x="1055675" y="1111278"/>
                  <a:pt x="1072458" y="1109202"/>
                </a:cubicBezTo>
                <a:cubicBezTo>
                  <a:pt x="1074555" y="1109202"/>
                  <a:pt x="1076653" y="1105051"/>
                  <a:pt x="1076653" y="1102974"/>
                </a:cubicBezTo>
                <a:cubicBezTo>
                  <a:pt x="1072458" y="1088444"/>
                  <a:pt x="1057773" y="1088444"/>
                  <a:pt x="1045186" y="1086368"/>
                </a:cubicBezTo>
                <a:close/>
                <a:moveTo>
                  <a:pt x="1421036" y="1065388"/>
                </a:moveTo>
                <a:cubicBezTo>
                  <a:pt x="1418851" y="1065388"/>
                  <a:pt x="1412296" y="1071616"/>
                  <a:pt x="1412296" y="1073691"/>
                </a:cubicBezTo>
                <a:cubicBezTo>
                  <a:pt x="1412296" y="1088224"/>
                  <a:pt x="1429776" y="1081997"/>
                  <a:pt x="1436332" y="1090300"/>
                </a:cubicBezTo>
                <a:cubicBezTo>
                  <a:pt x="1438517" y="1075768"/>
                  <a:pt x="1434147" y="1067465"/>
                  <a:pt x="1421036" y="1065388"/>
                </a:cubicBezTo>
                <a:close/>
                <a:moveTo>
                  <a:pt x="611913" y="1065383"/>
                </a:moveTo>
                <a:cubicBezTo>
                  <a:pt x="609852" y="1066432"/>
                  <a:pt x="608308" y="1069054"/>
                  <a:pt x="607277" y="1073250"/>
                </a:cubicBezTo>
                <a:cubicBezTo>
                  <a:pt x="607277" y="1079543"/>
                  <a:pt x="611398" y="1083739"/>
                  <a:pt x="617578" y="1083739"/>
                </a:cubicBezTo>
                <a:cubicBezTo>
                  <a:pt x="621699" y="1081641"/>
                  <a:pt x="627880" y="1081641"/>
                  <a:pt x="636121" y="1079543"/>
                </a:cubicBezTo>
                <a:cubicBezTo>
                  <a:pt x="627880" y="1073250"/>
                  <a:pt x="623760" y="1069054"/>
                  <a:pt x="619639" y="1066957"/>
                </a:cubicBezTo>
                <a:cubicBezTo>
                  <a:pt x="616549" y="1064859"/>
                  <a:pt x="613974" y="1064334"/>
                  <a:pt x="611913" y="1065383"/>
                </a:cubicBezTo>
                <a:close/>
                <a:moveTo>
                  <a:pt x="1287479" y="1055640"/>
                </a:moveTo>
                <a:cubicBezTo>
                  <a:pt x="1273582" y="1053252"/>
                  <a:pt x="1258897" y="1053783"/>
                  <a:pt x="1243163" y="1069704"/>
                </a:cubicBezTo>
                <a:cubicBezTo>
                  <a:pt x="1276728" y="1082440"/>
                  <a:pt x="1301900" y="1059090"/>
                  <a:pt x="1327074" y="1059090"/>
                </a:cubicBezTo>
                <a:cubicBezTo>
                  <a:pt x="1314488" y="1063335"/>
                  <a:pt x="1301377" y="1058028"/>
                  <a:pt x="1287479" y="1055640"/>
                </a:cubicBezTo>
                <a:close/>
                <a:moveTo>
                  <a:pt x="5175690" y="1029993"/>
                </a:moveTo>
                <a:cubicBezTo>
                  <a:pt x="5161006" y="1029993"/>
                  <a:pt x="5163104" y="1042700"/>
                  <a:pt x="5158909" y="1051172"/>
                </a:cubicBezTo>
                <a:cubicBezTo>
                  <a:pt x="5156811" y="1057526"/>
                  <a:pt x="5167300" y="1057526"/>
                  <a:pt x="5171494" y="1057526"/>
                </a:cubicBezTo>
                <a:cubicBezTo>
                  <a:pt x="5179886" y="1053291"/>
                  <a:pt x="5190374" y="1049055"/>
                  <a:pt x="5198766" y="1042700"/>
                </a:cubicBezTo>
                <a:cubicBezTo>
                  <a:pt x="5192472" y="1034230"/>
                  <a:pt x="5186178" y="1029993"/>
                  <a:pt x="5175690" y="1029993"/>
                </a:cubicBezTo>
                <a:close/>
                <a:moveTo>
                  <a:pt x="1150074" y="984385"/>
                </a:moveTo>
                <a:cubicBezTo>
                  <a:pt x="1144830" y="984650"/>
                  <a:pt x="1139586" y="986768"/>
                  <a:pt x="1134341" y="989945"/>
                </a:cubicBezTo>
                <a:cubicBezTo>
                  <a:pt x="1144830" y="983591"/>
                  <a:pt x="1146928" y="1009006"/>
                  <a:pt x="1161612" y="996298"/>
                </a:cubicBezTo>
                <a:cubicBezTo>
                  <a:pt x="1163710" y="994180"/>
                  <a:pt x="1165808" y="989945"/>
                  <a:pt x="1165808" y="989945"/>
                </a:cubicBezTo>
                <a:cubicBezTo>
                  <a:pt x="1160563" y="985709"/>
                  <a:pt x="1155319" y="984120"/>
                  <a:pt x="1150074" y="984385"/>
                </a:cubicBezTo>
                <a:close/>
                <a:moveTo>
                  <a:pt x="1037723" y="974920"/>
                </a:moveTo>
                <a:cubicBezTo>
                  <a:pt x="1029251" y="974920"/>
                  <a:pt x="1022898" y="974920"/>
                  <a:pt x="1025016" y="985510"/>
                </a:cubicBezTo>
                <a:cubicBezTo>
                  <a:pt x="1025016" y="991865"/>
                  <a:pt x="1031370" y="996099"/>
                  <a:pt x="1035606" y="1002454"/>
                </a:cubicBezTo>
                <a:cubicBezTo>
                  <a:pt x="1039841" y="993981"/>
                  <a:pt x="1044077" y="989746"/>
                  <a:pt x="1046196" y="983392"/>
                </a:cubicBezTo>
                <a:cubicBezTo>
                  <a:pt x="1050431" y="974920"/>
                  <a:pt x="1044077" y="974920"/>
                  <a:pt x="1037723" y="974920"/>
                </a:cubicBezTo>
                <a:close/>
                <a:moveTo>
                  <a:pt x="1259122" y="973314"/>
                </a:moveTo>
                <a:cubicBezTo>
                  <a:pt x="1237446" y="968084"/>
                  <a:pt x="1212900" y="973314"/>
                  <a:pt x="1193053" y="990045"/>
                </a:cubicBezTo>
                <a:cubicBezTo>
                  <a:pt x="1190963" y="994229"/>
                  <a:pt x="1186786" y="1002594"/>
                  <a:pt x="1186786" y="1006778"/>
                </a:cubicBezTo>
                <a:cubicBezTo>
                  <a:pt x="1190963" y="1013051"/>
                  <a:pt x="1205587" y="1013051"/>
                  <a:pt x="1207677" y="1010960"/>
                </a:cubicBezTo>
                <a:cubicBezTo>
                  <a:pt x="1220211" y="983771"/>
                  <a:pt x="1241103" y="1002594"/>
                  <a:pt x="1257816" y="994229"/>
                </a:cubicBezTo>
                <a:cubicBezTo>
                  <a:pt x="1259905" y="1013051"/>
                  <a:pt x="1228568" y="1015144"/>
                  <a:pt x="1243191" y="1031875"/>
                </a:cubicBezTo>
                <a:cubicBezTo>
                  <a:pt x="1249459" y="1036058"/>
                  <a:pt x="1272440" y="1036058"/>
                  <a:pt x="1278706" y="1015144"/>
                </a:cubicBezTo>
                <a:cubicBezTo>
                  <a:pt x="1280796" y="1008869"/>
                  <a:pt x="1289152" y="1010960"/>
                  <a:pt x="1293330" y="1017234"/>
                </a:cubicBezTo>
                <a:cubicBezTo>
                  <a:pt x="1312133" y="1038150"/>
                  <a:pt x="1330935" y="1044425"/>
                  <a:pt x="1376896" y="1040241"/>
                </a:cubicBezTo>
                <a:cubicBezTo>
                  <a:pt x="1353916" y="1025601"/>
                  <a:pt x="1339291" y="1031875"/>
                  <a:pt x="1324667" y="1029785"/>
                </a:cubicBezTo>
                <a:cubicBezTo>
                  <a:pt x="1320489" y="1027691"/>
                  <a:pt x="1312133" y="1036058"/>
                  <a:pt x="1307954" y="1019327"/>
                </a:cubicBezTo>
                <a:cubicBezTo>
                  <a:pt x="1299598" y="994229"/>
                  <a:pt x="1280796" y="978543"/>
                  <a:pt x="1259122" y="973314"/>
                </a:cubicBezTo>
                <a:close/>
                <a:moveTo>
                  <a:pt x="5129714" y="958659"/>
                </a:moveTo>
                <a:cubicBezTo>
                  <a:pt x="5120973" y="956561"/>
                  <a:pt x="5114418" y="962854"/>
                  <a:pt x="5114418" y="969149"/>
                </a:cubicBezTo>
                <a:cubicBezTo>
                  <a:pt x="5112232" y="977540"/>
                  <a:pt x="5120973" y="975442"/>
                  <a:pt x="5127530" y="975442"/>
                </a:cubicBezTo>
                <a:cubicBezTo>
                  <a:pt x="5131900" y="975442"/>
                  <a:pt x="5138454" y="973344"/>
                  <a:pt x="5138454" y="964952"/>
                </a:cubicBezTo>
                <a:cubicBezTo>
                  <a:pt x="5136270" y="962854"/>
                  <a:pt x="5134084" y="958659"/>
                  <a:pt x="5129714" y="958659"/>
                </a:cubicBezTo>
                <a:close/>
                <a:moveTo>
                  <a:pt x="1341367" y="948080"/>
                </a:moveTo>
                <a:cubicBezTo>
                  <a:pt x="1335577" y="946278"/>
                  <a:pt x="1329259" y="947307"/>
                  <a:pt x="1322942" y="952458"/>
                </a:cubicBezTo>
                <a:cubicBezTo>
                  <a:pt x="1306096" y="964819"/>
                  <a:pt x="1327153" y="971001"/>
                  <a:pt x="1329259" y="979242"/>
                </a:cubicBezTo>
                <a:cubicBezTo>
                  <a:pt x="1337681" y="997784"/>
                  <a:pt x="1354527" y="999845"/>
                  <a:pt x="1375585" y="999845"/>
                </a:cubicBezTo>
                <a:cubicBezTo>
                  <a:pt x="1367162" y="985423"/>
                  <a:pt x="1362950" y="973060"/>
                  <a:pt x="1356634" y="960698"/>
                </a:cubicBezTo>
                <a:cubicBezTo>
                  <a:pt x="1352422" y="954518"/>
                  <a:pt x="1347158" y="949883"/>
                  <a:pt x="1341367" y="948080"/>
                </a:cubicBezTo>
                <a:close/>
                <a:moveTo>
                  <a:pt x="1328386" y="918914"/>
                </a:moveTo>
                <a:lnTo>
                  <a:pt x="1328386" y="920911"/>
                </a:lnTo>
                <a:lnTo>
                  <a:pt x="1328385" y="920915"/>
                </a:lnTo>
                <a:lnTo>
                  <a:pt x="1328385" y="918915"/>
                </a:lnTo>
                <a:close/>
                <a:moveTo>
                  <a:pt x="1060022" y="903267"/>
                </a:moveTo>
                <a:lnTo>
                  <a:pt x="1062593" y="905835"/>
                </a:lnTo>
                <a:lnTo>
                  <a:pt x="1059328" y="903661"/>
                </a:lnTo>
                <a:close/>
                <a:moveTo>
                  <a:pt x="1336966" y="899689"/>
                </a:moveTo>
                <a:cubicBezTo>
                  <a:pt x="1335894" y="899689"/>
                  <a:pt x="1333748" y="901810"/>
                  <a:pt x="1331871" y="905526"/>
                </a:cubicBezTo>
                <a:lnTo>
                  <a:pt x="1328823" y="918977"/>
                </a:lnTo>
                <a:lnTo>
                  <a:pt x="1328385" y="918792"/>
                </a:lnTo>
                <a:lnTo>
                  <a:pt x="1328385" y="918915"/>
                </a:lnTo>
                <a:lnTo>
                  <a:pt x="1327291" y="920530"/>
                </a:lnTo>
                <a:lnTo>
                  <a:pt x="1308556" y="912048"/>
                </a:lnTo>
                <a:cubicBezTo>
                  <a:pt x="1301601" y="910465"/>
                  <a:pt x="1294390" y="911521"/>
                  <a:pt x="1287179" y="918914"/>
                </a:cubicBezTo>
                <a:cubicBezTo>
                  <a:pt x="1285118" y="918914"/>
                  <a:pt x="1289239" y="927363"/>
                  <a:pt x="1291300" y="927363"/>
                </a:cubicBezTo>
                <a:cubicBezTo>
                  <a:pt x="1300571" y="927363"/>
                  <a:pt x="1312160" y="935680"/>
                  <a:pt x="1320853" y="930037"/>
                </a:cubicBezTo>
                <a:lnTo>
                  <a:pt x="1327291" y="920530"/>
                </a:lnTo>
                <a:lnTo>
                  <a:pt x="1328386" y="921025"/>
                </a:lnTo>
                <a:lnTo>
                  <a:pt x="1328386" y="920911"/>
                </a:lnTo>
                <a:lnTo>
                  <a:pt x="1328823" y="918977"/>
                </a:lnTo>
                <a:lnTo>
                  <a:pt x="1342130" y="924589"/>
                </a:lnTo>
                <a:cubicBezTo>
                  <a:pt x="1365595" y="931728"/>
                  <a:pt x="1333212" y="897831"/>
                  <a:pt x="1336966" y="899689"/>
                </a:cubicBezTo>
                <a:close/>
                <a:moveTo>
                  <a:pt x="5216730" y="896268"/>
                </a:moveTo>
                <a:cubicBezTo>
                  <a:pt x="5214360" y="897841"/>
                  <a:pt x="5212254" y="900464"/>
                  <a:pt x="5209096" y="901513"/>
                </a:cubicBezTo>
                <a:cubicBezTo>
                  <a:pt x="5181722" y="918294"/>
                  <a:pt x="5206991" y="930880"/>
                  <a:pt x="5211202" y="941369"/>
                </a:cubicBezTo>
                <a:cubicBezTo>
                  <a:pt x="5221730" y="962346"/>
                  <a:pt x="5236472" y="964444"/>
                  <a:pt x="5249106" y="949760"/>
                </a:cubicBezTo>
                <a:cubicBezTo>
                  <a:pt x="5251211" y="926686"/>
                  <a:pt x="5196462" y="939272"/>
                  <a:pt x="5234364" y="905707"/>
                </a:cubicBezTo>
                <a:cubicBezTo>
                  <a:pt x="5234364" y="905707"/>
                  <a:pt x="5230154" y="899415"/>
                  <a:pt x="5225940" y="897317"/>
                </a:cubicBezTo>
                <a:cubicBezTo>
                  <a:pt x="5221730" y="894171"/>
                  <a:pt x="5219098" y="894693"/>
                  <a:pt x="5216730" y="896268"/>
                </a:cubicBezTo>
                <a:close/>
                <a:moveTo>
                  <a:pt x="4887632" y="893637"/>
                </a:moveTo>
                <a:cubicBezTo>
                  <a:pt x="4879810" y="892849"/>
                  <a:pt x="4871466" y="894947"/>
                  <a:pt x="4863124" y="898094"/>
                </a:cubicBezTo>
                <a:cubicBezTo>
                  <a:pt x="4875638" y="908584"/>
                  <a:pt x="4890239" y="921170"/>
                  <a:pt x="4909012" y="906486"/>
                </a:cubicBezTo>
                <a:cubicBezTo>
                  <a:pt x="4902753" y="898094"/>
                  <a:pt x="4895454" y="894424"/>
                  <a:pt x="4887632" y="893637"/>
                </a:cubicBezTo>
                <a:close/>
                <a:moveTo>
                  <a:pt x="1235236" y="884418"/>
                </a:moveTo>
                <a:cubicBezTo>
                  <a:pt x="1233404" y="884451"/>
                  <a:pt x="1232228" y="884709"/>
                  <a:pt x="1232228" y="885226"/>
                </a:cubicBezTo>
                <a:cubicBezTo>
                  <a:pt x="1219675" y="905901"/>
                  <a:pt x="1200844" y="889360"/>
                  <a:pt x="1188292" y="897631"/>
                </a:cubicBezTo>
                <a:cubicBezTo>
                  <a:pt x="1192476" y="903834"/>
                  <a:pt x="1196661" y="910036"/>
                  <a:pt x="1202938" y="918306"/>
                </a:cubicBezTo>
                <a:cubicBezTo>
                  <a:pt x="1188292" y="920374"/>
                  <a:pt x="1173647" y="910036"/>
                  <a:pt x="1163185" y="926576"/>
                </a:cubicBezTo>
                <a:cubicBezTo>
                  <a:pt x="1225951" y="936914"/>
                  <a:pt x="1225951" y="936914"/>
                  <a:pt x="1246873" y="903834"/>
                </a:cubicBezTo>
                <a:cubicBezTo>
                  <a:pt x="1251057" y="899699"/>
                  <a:pt x="1261519" y="893497"/>
                  <a:pt x="1255242" y="889360"/>
                </a:cubicBezTo>
                <a:cubicBezTo>
                  <a:pt x="1252103" y="886259"/>
                  <a:pt x="1240727" y="884321"/>
                  <a:pt x="1235236" y="884418"/>
                </a:cubicBezTo>
                <a:close/>
                <a:moveTo>
                  <a:pt x="1287135" y="876586"/>
                </a:moveTo>
                <a:cubicBezTo>
                  <a:pt x="1280781" y="878732"/>
                  <a:pt x="1274427" y="885169"/>
                  <a:pt x="1268074" y="889459"/>
                </a:cubicBezTo>
                <a:cubicBezTo>
                  <a:pt x="1272309" y="893749"/>
                  <a:pt x="1276546" y="895895"/>
                  <a:pt x="1280781" y="900186"/>
                </a:cubicBezTo>
                <a:cubicBezTo>
                  <a:pt x="1285017" y="895895"/>
                  <a:pt x="1287135" y="889459"/>
                  <a:pt x="1289253" y="885169"/>
                </a:cubicBezTo>
                <a:cubicBezTo>
                  <a:pt x="1295607" y="876586"/>
                  <a:pt x="1287135" y="876586"/>
                  <a:pt x="1287135" y="876586"/>
                </a:cubicBezTo>
                <a:close/>
                <a:moveTo>
                  <a:pt x="1105497" y="875945"/>
                </a:moveTo>
                <a:cubicBezTo>
                  <a:pt x="1100253" y="875692"/>
                  <a:pt x="1095008" y="876705"/>
                  <a:pt x="1089764" y="880758"/>
                </a:cubicBezTo>
                <a:cubicBezTo>
                  <a:pt x="1089764" y="880758"/>
                  <a:pt x="1091862" y="884810"/>
                  <a:pt x="1093960" y="886837"/>
                </a:cubicBezTo>
                <a:cubicBezTo>
                  <a:pt x="1106546" y="894942"/>
                  <a:pt x="1112839" y="882783"/>
                  <a:pt x="1121230" y="878731"/>
                </a:cubicBezTo>
                <a:cubicBezTo>
                  <a:pt x="1115986" y="877719"/>
                  <a:pt x="1110742" y="876198"/>
                  <a:pt x="1105497" y="875945"/>
                </a:cubicBezTo>
                <a:close/>
                <a:moveTo>
                  <a:pt x="954015" y="875609"/>
                </a:moveTo>
                <a:cubicBezTo>
                  <a:pt x="950728" y="876259"/>
                  <a:pt x="947085" y="877814"/>
                  <a:pt x="942920" y="880410"/>
                </a:cubicBezTo>
                <a:cubicBezTo>
                  <a:pt x="953332" y="882485"/>
                  <a:pt x="959579" y="894941"/>
                  <a:pt x="978321" y="890789"/>
                </a:cubicBezTo>
                <a:cubicBezTo>
                  <a:pt x="970511" y="879891"/>
                  <a:pt x="963874" y="873662"/>
                  <a:pt x="954015" y="875609"/>
                </a:cubicBezTo>
                <a:close/>
                <a:moveTo>
                  <a:pt x="4879196" y="867772"/>
                </a:moveTo>
                <a:cubicBezTo>
                  <a:pt x="4862673" y="868853"/>
                  <a:pt x="4855241" y="875540"/>
                  <a:pt x="4863064" y="897566"/>
                </a:cubicBezTo>
                <a:cubicBezTo>
                  <a:pt x="4869322" y="884980"/>
                  <a:pt x="4877665" y="876589"/>
                  <a:pt x="4898524" y="868197"/>
                </a:cubicBezTo>
                <a:cubicBezTo>
                  <a:pt x="4891222" y="867671"/>
                  <a:pt x="4884704" y="867410"/>
                  <a:pt x="4879196" y="867772"/>
                </a:cubicBezTo>
                <a:close/>
                <a:moveTo>
                  <a:pt x="807877" y="862161"/>
                </a:moveTo>
                <a:cubicBezTo>
                  <a:pt x="842902" y="887286"/>
                  <a:pt x="874345" y="911234"/>
                  <a:pt x="888773" y="946373"/>
                </a:cubicBezTo>
                <a:lnTo>
                  <a:pt x="895819" y="979922"/>
                </a:lnTo>
                <a:lnTo>
                  <a:pt x="888419" y="985463"/>
                </a:lnTo>
                <a:lnTo>
                  <a:pt x="888177" y="985878"/>
                </a:lnTo>
                <a:lnTo>
                  <a:pt x="883956" y="986961"/>
                </a:lnTo>
                <a:cubicBezTo>
                  <a:pt x="859519" y="986876"/>
                  <a:pt x="873680" y="936492"/>
                  <a:pt x="843964" y="943821"/>
                </a:cubicBezTo>
                <a:cubicBezTo>
                  <a:pt x="869437" y="901943"/>
                  <a:pt x="812122" y="897756"/>
                  <a:pt x="807877" y="862161"/>
                </a:cubicBezTo>
                <a:close/>
                <a:moveTo>
                  <a:pt x="5124688" y="857868"/>
                </a:moveTo>
                <a:cubicBezTo>
                  <a:pt x="5115772" y="857541"/>
                  <a:pt x="5106464" y="859239"/>
                  <a:pt x="5096500" y="863941"/>
                </a:cubicBezTo>
                <a:cubicBezTo>
                  <a:pt x="5132162" y="866030"/>
                  <a:pt x="5157334" y="912002"/>
                  <a:pt x="5201388" y="889017"/>
                </a:cubicBezTo>
                <a:cubicBezTo>
                  <a:pt x="5174640" y="878045"/>
                  <a:pt x="5151434" y="858848"/>
                  <a:pt x="5124688" y="857868"/>
                </a:cubicBezTo>
                <a:close/>
                <a:moveTo>
                  <a:pt x="4800158" y="845530"/>
                </a:moveTo>
                <a:lnTo>
                  <a:pt x="4801956" y="847307"/>
                </a:lnTo>
                <a:lnTo>
                  <a:pt x="4801858" y="847465"/>
                </a:lnTo>
                <a:lnTo>
                  <a:pt x="4801328" y="847405"/>
                </a:lnTo>
                <a:lnTo>
                  <a:pt x="4801014" y="847090"/>
                </a:lnTo>
                <a:lnTo>
                  <a:pt x="4800114" y="845541"/>
                </a:lnTo>
                <a:close/>
                <a:moveTo>
                  <a:pt x="4693007" y="842052"/>
                </a:moveTo>
                <a:lnTo>
                  <a:pt x="4693235" y="842447"/>
                </a:lnTo>
                <a:lnTo>
                  <a:pt x="4693142" y="843004"/>
                </a:lnTo>
                <a:lnTo>
                  <a:pt x="4693007" y="843079"/>
                </a:lnTo>
                <a:close/>
                <a:moveTo>
                  <a:pt x="4692633" y="841401"/>
                </a:moveTo>
                <a:lnTo>
                  <a:pt x="4693007" y="841710"/>
                </a:lnTo>
                <a:lnTo>
                  <a:pt x="4693007" y="842052"/>
                </a:lnTo>
                <a:close/>
                <a:moveTo>
                  <a:pt x="4692546" y="841253"/>
                </a:moveTo>
                <a:lnTo>
                  <a:pt x="4692633" y="841401"/>
                </a:lnTo>
                <a:lnTo>
                  <a:pt x="4692546" y="841332"/>
                </a:lnTo>
                <a:close/>
                <a:moveTo>
                  <a:pt x="1209312" y="803949"/>
                </a:moveTo>
                <a:cubicBezTo>
                  <a:pt x="1207168" y="806047"/>
                  <a:pt x="1198586" y="801851"/>
                  <a:pt x="1198586" y="810241"/>
                </a:cubicBezTo>
                <a:cubicBezTo>
                  <a:pt x="1198586" y="814437"/>
                  <a:pt x="1205023" y="818632"/>
                  <a:pt x="1209312" y="820731"/>
                </a:cubicBezTo>
                <a:cubicBezTo>
                  <a:pt x="1215749" y="822828"/>
                  <a:pt x="1222186" y="820731"/>
                  <a:pt x="1222186" y="814437"/>
                </a:cubicBezTo>
                <a:cubicBezTo>
                  <a:pt x="1222186" y="806047"/>
                  <a:pt x="1215749" y="803949"/>
                  <a:pt x="1209312" y="803949"/>
                </a:cubicBezTo>
                <a:close/>
                <a:moveTo>
                  <a:pt x="5315858" y="803156"/>
                </a:moveTo>
                <a:cubicBezTo>
                  <a:pt x="5322212" y="803156"/>
                  <a:pt x="5328566" y="805274"/>
                  <a:pt x="5326447" y="813746"/>
                </a:cubicBezTo>
                <a:cubicBezTo>
                  <a:pt x="5324328" y="817981"/>
                  <a:pt x="5320094" y="824336"/>
                  <a:pt x="5315858" y="826453"/>
                </a:cubicBezTo>
                <a:cubicBezTo>
                  <a:pt x="5309503" y="830689"/>
                  <a:pt x="5305268" y="824336"/>
                  <a:pt x="5303149" y="820100"/>
                </a:cubicBezTo>
                <a:cubicBezTo>
                  <a:pt x="5301032" y="809509"/>
                  <a:pt x="5311622" y="807392"/>
                  <a:pt x="5315858" y="803156"/>
                </a:cubicBezTo>
                <a:close/>
                <a:moveTo>
                  <a:pt x="4888035" y="799232"/>
                </a:moveTo>
                <a:cubicBezTo>
                  <a:pt x="4892230" y="811818"/>
                  <a:pt x="4867057" y="813917"/>
                  <a:pt x="4879643" y="828601"/>
                </a:cubicBezTo>
                <a:cubicBezTo>
                  <a:pt x="4881741" y="830699"/>
                  <a:pt x="4885937" y="830699"/>
                  <a:pt x="4888035" y="830699"/>
                </a:cubicBezTo>
                <a:cubicBezTo>
                  <a:pt x="4898524" y="820210"/>
                  <a:pt x="4892230" y="809721"/>
                  <a:pt x="4888035" y="799232"/>
                </a:cubicBezTo>
                <a:close/>
                <a:moveTo>
                  <a:pt x="5147728" y="792947"/>
                </a:moveTo>
                <a:cubicBezTo>
                  <a:pt x="5161924" y="794499"/>
                  <a:pt x="5177174" y="800191"/>
                  <a:pt x="5190845" y="797086"/>
                </a:cubicBezTo>
                <a:cubicBezTo>
                  <a:pt x="5195051" y="797086"/>
                  <a:pt x="5201361" y="803297"/>
                  <a:pt x="5211878" y="811578"/>
                </a:cubicBezTo>
                <a:cubicBezTo>
                  <a:pt x="5183484" y="811578"/>
                  <a:pt x="5158639" y="804590"/>
                  <a:pt x="5134682" y="806337"/>
                </a:cubicBezTo>
                <a:lnTo>
                  <a:pt x="5120954" y="809365"/>
                </a:lnTo>
                <a:lnTo>
                  <a:pt x="5116232" y="805594"/>
                </a:lnTo>
                <a:lnTo>
                  <a:pt x="5118670" y="801898"/>
                </a:lnTo>
                <a:cubicBezTo>
                  <a:pt x="5127026" y="792947"/>
                  <a:pt x="5137082" y="791781"/>
                  <a:pt x="5147728" y="792947"/>
                </a:cubicBezTo>
                <a:close/>
                <a:moveTo>
                  <a:pt x="1145021" y="786782"/>
                </a:moveTo>
                <a:cubicBezTo>
                  <a:pt x="1140180" y="786652"/>
                  <a:pt x="1134972" y="787701"/>
                  <a:pt x="1129097" y="790847"/>
                </a:cubicBezTo>
                <a:cubicBezTo>
                  <a:pt x="1148326" y="797141"/>
                  <a:pt x="1161145" y="830705"/>
                  <a:pt x="1186786" y="795043"/>
                </a:cubicBezTo>
                <a:cubicBezTo>
                  <a:pt x="1170761" y="798189"/>
                  <a:pt x="1159543" y="787175"/>
                  <a:pt x="1145021" y="786782"/>
                </a:cubicBezTo>
                <a:close/>
                <a:moveTo>
                  <a:pt x="4811707" y="777153"/>
                </a:moveTo>
                <a:cubicBezTo>
                  <a:pt x="4797496" y="776563"/>
                  <a:pt x="4791225" y="794264"/>
                  <a:pt x="4784952" y="803703"/>
                </a:cubicBezTo>
                <a:cubicBezTo>
                  <a:pt x="4776590" y="822584"/>
                  <a:pt x="4797496" y="809996"/>
                  <a:pt x="4803769" y="818387"/>
                </a:cubicBezTo>
                <a:cubicBezTo>
                  <a:pt x="4810042" y="824682"/>
                  <a:pt x="4811086" y="829927"/>
                  <a:pt x="4809780" y="834646"/>
                </a:cubicBezTo>
                <a:lnTo>
                  <a:pt x="4803526" y="844767"/>
                </a:lnTo>
                <a:lnTo>
                  <a:pt x="4800158" y="845530"/>
                </a:lnTo>
                <a:lnTo>
                  <a:pt x="4800041" y="845416"/>
                </a:lnTo>
                <a:lnTo>
                  <a:pt x="4800114" y="845541"/>
                </a:lnTo>
                <a:lnTo>
                  <a:pt x="4799588" y="845660"/>
                </a:lnTo>
                <a:lnTo>
                  <a:pt x="4801014" y="847090"/>
                </a:lnTo>
                <a:lnTo>
                  <a:pt x="4801186" y="847390"/>
                </a:lnTo>
                <a:lnTo>
                  <a:pt x="4787362" y="845838"/>
                </a:lnTo>
                <a:cubicBezTo>
                  <a:pt x="4775012" y="841253"/>
                  <a:pt x="4769479" y="828765"/>
                  <a:pt x="4766318" y="816276"/>
                </a:cubicBezTo>
                <a:cubicBezTo>
                  <a:pt x="4762102" y="798584"/>
                  <a:pt x="4756306" y="792859"/>
                  <a:pt x="4749718" y="793900"/>
                </a:cubicBezTo>
                <a:cubicBezTo>
                  <a:pt x="4743132" y="794941"/>
                  <a:pt x="4735756" y="802746"/>
                  <a:pt x="4728379" y="812112"/>
                </a:cubicBezTo>
                <a:cubicBezTo>
                  <a:pt x="4723110" y="818357"/>
                  <a:pt x="4718894" y="825643"/>
                  <a:pt x="4713624" y="831627"/>
                </a:cubicBezTo>
                <a:lnTo>
                  <a:pt x="4693456" y="842830"/>
                </a:lnTo>
                <a:lnTo>
                  <a:pt x="4693235" y="842447"/>
                </a:lnTo>
                <a:lnTo>
                  <a:pt x="4695602" y="828336"/>
                </a:lnTo>
                <a:cubicBezTo>
                  <a:pt x="4695602" y="823354"/>
                  <a:pt x="4694045" y="818633"/>
                  <a:pt x="4688856" y="814438"/>
                </a:cubicBezTo>
                <a:cubicBezTo>
                  <a:pt x="4686780" y="812340"/>
                  <a:pt x="4678475" y="816536"/>
                  <a:pt x="4678475" y="818633"/>
                </a:cubicBezTo>
                <a:cubicBezTo>
                  <a:pt x="4676400" y="824927"/>
                  <a:pt x="4678475" y="829122"/>
                  <a:pt x="4681849" y="832531"/>
                </a:cubicBezTo>
                <a:lnTo>
                  <a:pt x="4692546" y="841332"/>
                </a:lnTo>
                <a:lnTo>
                  <a:pt x="4692546" y="843335"/>
                </a:lnTo>
                <a:lnTo>
                  <a:pt x="4693007" y="843079"/>
                </a:lnTo>
                <a:lnTo>
                  <a:pt x="4693007" y="843807"/>
                </a:lnTo>
                <a:lnTo>
                  <a:pt x="4693142" y="843004"/>
                </a:lnTo>
                <a:lnTo>
                  <a:pt x="4693456" y="842830"/>
                </a:lnTo>
                <a:lnTo>
                  <a:pt x="4701240" y="856343"/>
                </a:lnTo>
                <a:cubicBezTo>
                  <a:pt x="4700977" y="860506"/>
                  <a:pt x="4696762" y="863107"/>
                  <a:pt x="4686224" y="862068"/>
                </a:cubicBezTo>
                <a:cubicBezTo>
                  <a:pt x="4669362" y="862068"/>
                  <a:pt x="4665146" y="870393"/>
                  <a:pt x="4667255" y="882882"/>
                </a:cubicBezTo>
                <a:cubicBezTo>
                  <a:pt x="4669362" y="903696"/>
                  <a:pt x="4682008" y="887045"/>
                  <a:pt x="4688332" y="887045"/>
                </a:cubicBezTo>
                <a:cubicBezTo>
                  <a:pt x="4726272" y="893289"/>
                  <a:pt x="4730486" y="855823"/>
                  <a:pt x="4753672" y="837090"/>
                </a:cubicBezTo>
                <a:cubicBezTo>
                  <a:pt x="4755779" y="845416"/>
                  <a:pt x="4757886" y="849578"/>
                  <a:pt x="4755779" y="851660"/>
                </a:cubicBezTo>
                <a:cubicBezTo>
                  <a:pt x="4749457" y="870393"/>
                  <a:pt x="4736808" y="884963"/>
                  <a:pt x="4722055" y="897452"/>
                </a:cubicBezTo>
                <a:cubicBezTo>
                  <a:pt x="4705194" y="909940"/>
                  <a:pt x="4722055" y="918265"/>
                  <a:pt x="4730486" y="922429"/>
                </a:cubicBezTo>
                <a:cubicBezTo>
                  <a:pt x="4743132" y="930754"/>
                  <a:pt x="4757886" y="947405"/>
                  <a:pt x="4772641" y="934916"/>
                </a:cubicBezTo>
                <a:cubicBezTo>
                  <a:pt x="4787394" y="922429"/>
                  <a:pt x="4751563" y="920347"/>
                  <a:pt x="4762102" y="903696"/>
                </a:cubicBezTo>
                <a:cubicBezTo>
                  <a:pt x="4762102" y="901615"/>
                  <a:pt x="4743132" y="909940"/>
                  <a:pt x="4745240" y="895371"/>
                </a:cubicBezTo>
                <a:cubicBezTo>
                  <a:pt x="4745240" y="891207"/>
                  <a:pt x="4753672" y="887045"/>
                  <a:pt x="4757886" y="884963"/>
                </a:cubicBezTo>
                <a:cubicBezTo>
                  <a:pt x="4770532" y="882882"/>
                  <a:pt x="4774748" y="889126"/>
                  <a:pt x="4776855" y="901615"/>
                </a:cubicBezTo>
                <a:cubicBezTo>
                  <a:pt x="4778964" y="914104"/>
                  <a:pt x="4793718" y="928673"/>
                  <a:pt x="4800041" y="916184"/>
                </a:cubicBezTo>
                <a:cubicBezTo>
                  <a:pt x="4808472" y="897452"/>
                  <a:pt x="4825333" y="884963"/>
                  <a:pt x="4829550" y="866230"/>
                </a:cubicBezTo>
                <a:cubicBezTo>
                  <a:pt x="4831130" y="855303"/>
                  <a:pt x="4814927" y="860766"/>
                  <a:pt x="4805837" y="855400"/>
                </a:cubicBezTo>
                <a:lnTo>
                  <a:pt x="4801186" y="847390"/>
                </a:lnTo>
                <a:lnTo>
                  <a:pt x="4801328" y="847405"/>
                </a:lnTo>
                <a:lnTo>
                  <a:pt x="4801678" y="847757"/>
                </a:lnTo>
                <a:lnTo>
                  <a:pt x="4801858" y="847465"/>
                </a:lnTo>
                <a:lnTo>
                  <a:pt x="4802148" y="847497"/>
                </a:lnTo>
                <a:lnTo>
                  <a:pt x="4801956" y="847307"/>
                </a:lnTo>
                <a:lnTo>
                  <a:pt x="4803526" y="844767"/>
                </a:lnTo>
                <a:lnTo>
                  <a:pt x="4826308" y="839596"/>
                </a:lnTo>
                <a:cubicBezTo>
                  <a:pt x="4846104" y="828090"/>
                  <a:pt x="4847672" y="802131"/>
                  <a:pt x="4853945" y="778530"/>
                </a:cubicBezTo>
                <a:cubicBezTo>
                  <a:pt x="4845583" y="786922"/>
                  <a:pt x="4835128" y="789020"/>
                  <a:pt x="4828858" y="784823"/>
                </a:cubicBezTo>
                <a:cubicBezTo>
                  <a:pt x="4822063" y="779579"/>
                  <a:pt x="4816444" y="777350"/>
                  <a:pt x="4811707" y="777153"/>
                </a:cubicBezTo>
                <a:close/>
                <a:moveTo>
                  <a:pt x="5014026" y="770394"/>
                </a:moveTo>
                <a:cubicBezTo>
                  <a:pt x="5014026" y="770394"/>
                  <a:pt x="5003412" y="778637"/>
                  <a:pt x="5003412" y="782757"/>
                </a:cubicBezTo>
                <a:cubicBezTo>
                  <a:pt x="5007656" y="805420"/>
                  <a:pt x="5033129" y="790999"/>
                  <a:pt x="5045868" y="813663"/>
                </a:cubicBezTo>
                <a:cubicBezTo>
                  <a:pt x="5047990" y="776576"/>
                  <a:pt x="5026762" y="778637"/>
                  <a:pt x="5014026" y="770394"/>
                </a:cubicBezTo>
                <a:close/>
                <a:moveTo>
                  <a:pt x="5094696" y="755025"/>
                </a:moveTo>
                <a:cubicBezTo>
                  <a:pt x="5095975" y="754056"/>
                  <a:pt x="5097548" y="754056"/>
                  <a:pt x="5099646" y="755606"/>
                </a:cubicBezTo>
                <a:cubicBezTo>
                  <a:pt x="5126917" y="772147"/>
                  <a:pt x="5160482" y="755606"/>
                  <a:pt x="5185655" y="768011"/>
                </a:cubicBezTo>
                <a:cubicBezTo>
                  <a:pt x="5158384" y="803160"/>
                  <a:pt x="5122721" y="759740"/>
                  <a:pt x="5091254" y="784552"/>
                </a:cubicBezTo>
                <a:lnTo>
                  <a:pt x="5089564" y="784765"/>
                </a:lnTo>
                <a:lnTo>
                  <a:pt x="5084961" y="778725"/>
                </a:lnTo>
                <a:lnTo>
                  <a:pt x="5084961" y="774215"/>
                </a:lnTo>
                <a:cubicBezTo>
                  <a:pt x="5089682" y="769562"/>
                  <a:pt x="5090862" y="757932"/>
                  <a:pt x="5094696" y="755025"/>
                </a:cubicBezTo>
                <a:close/>
                <a:moveTo>
                  <a:pt x="844587" y="742307"/>
                </a:moveTo>
                <a:cubicBezTo>
                  <a:pt x="865347" y="740225"/>
                  <a:pt x="873650" y="761048"/>
                  <a:pt x="894409" y="765213"/>
                </a:cubicBezTo>
                <a:cubicBezTo>
                  <a:pt x="863271" y="775626"/>
                  <a:pt x="863271" y="775626"/>
                  <a:pt x="844587" y="742307"/>
                </a:cubicBezTo>
                <a:close/>
                <a:moveTo>
                  <a:pt x="4976245" y="715327"/>
                </a:moveTo>
                <a:cubicBezTo>
                  <a:pt x="4982555" y="723776"/>
                  <a:pt x="4986764" y="730113"/>
                  <a:pt x="4993075" y="740679"/>
                </a:cubicBezTo>
                <a:cubicBezTo>
                  <a:pt x="4974140" y="740679"/>
                  <a:pt x="4957310" y="740679"/>
                  <a:pt x="4940478" y="740679"/>
                </a:cubicBezTo>
                <a:cubicBezTo>
                  <a:pt x="4946789" y="770253"/>
                  <a:pt x="4972037" y="734338"/>
                  <a:pt x="4974140" y="759692"/>
                </a:cubicBezTo>
                <a:cubicBezTo>
                  <a:pt x="4976245" y="791378"/>
                  <a:pt x="4990970" y="761805"/>
                  <a:pt x="4999386" y="766029"/>
                </a:cubicBezTo>
                <a:cubicBezTo>
                  <a:pt x="5001490" y="744905"/>
                  <a:pt x="5030946" y="738568"/>
                  <a:pt x="5024634" y="715327"/>
                </a:cubicBezTo>
                <a:cubicBezTo>
                  <a:pt x="5009906" y="715327"/>
                  <a:pt x="4993075" y="715327"/>
                  <a:pt x="4976245" y="715327"/>
                </a:cubicBezTo>
                <a:close/>
                <a:moveTo>
                  <a:pt x="2865523" y="705618"/>
                </a:moveTo>
                <a:cubicBezTo>
                  <a:pt x="2858050" y="706797"/>
                  <a:pt x="2852937" y="715058"/>
                  <a:pt x="2846644" y="719778"/>
                </a:cubicBezTo>
                <a:cubicBezTo>
                  <a:pt x="2857132" y="715582"/>
                  <a:pt x="2869719" y="732364"/>
                  <a:pt x="2876012" y="715582"/>
                </a:cubicBezTo>
                <a:cubicBezTo>
                  <a:pt x="2878110" y="713484"/>
                  <a:pt x="2876012" y="707190"/>
                  <a:pt x="2873914" y="707190"/>
                </a:cubicBezTo>
                <a:cubicBezTo>
                  <a:pt x="2870767" y="705618"/>
                  <a:pt x="2868014" y="705225"/>
                  <a:pt x="2865523" y="705618"/>
                </a:cubicBezTo>
                <a:close/>
                <a:moveTo>
                  <a:pt x="1228412" y="698278"/>
                </a:moveTo>
                <a:cubicBezTo>
                  <a:pt x="1213498" y="704741"/>
                  <a:pt x="1194324" y="704741"/>
                  <a:pt x="1181541" y="717665"/>
                </a:cubicBezTo>
                <a:cubicBezTo>
                  <a:pt x="1198585" y="724126"/>
                  <a:pt x="1215630" y="728434"/>
                  <a:pt x="1230544" y="715510"/>
                </a:cubicBezTo>
                <a:cubicBezTo>
                  <a:pt x="1232674" y="713357"/>
                  <a:pt x="1230544" y="704741"/>
                  <a:pt x="1228412" y="698278"/>
                </a:cubicBezTo>
                <a:close/>
                <a:moveTo>
                  <a:pt x="4818545" y="694349"/>
                </a:moveTo>
                <a:cubicBezTo>
                  <a:pt x="4808057" y="719405"/>
                  <a:pt x="4850012" y="704789"/>
                  <a:pt x="4835326" y="729845"/>
                </a:cubicBezTo>
                <a:cubicBezTo>
                  <a:pt x="4826936" y="744467"/>
                  <a:pt x="4839522" y="746556"/>
                  <a:pt x="4847914" y="748642"/>
                </a:cubicBezTo>
                <a:cubicBezTo>
                  <a:pt x="4854207" y="750731"/>
                  <a:pt x="4864696" y="750731"/>
                  <a:pt x="4864696" y="740291"/>
                </a:cubicBezTo>
                <a:cubicBezTo>
                  <a:pt x="4864696" y="731933"/>
                  <a:pt x="4870989" y="719405"/>
                  <a:pt x="4858402" y="713141"/>
                </a:cubicBezTo>
                <a:cubicBezTo>
                  <a:pt x="4845816" y="706876"/>
                  <a:pt x="4831132" y="700612"/>
                  <a:pt x="4818545" y="694349"/>
                </a:cubicBezTo>
                <a:close/>
                <a:moveTo>
                  <a:pt x="1116510" y="691072"/>
                </a:moveTo>
                <a:cubicBezTo>
                  <a:pt x="1090813" y="692933"/>
                  <a:pt x="1065639" y="701438"/>
                  <a:pt x="1054101" y="715257"/>
                </a:cubicBezTo>
                <a:cubicBezTo>
                  <a:pt x="1047808" y="723761"/>
                  <a:pt x="1047808" y="730139"/>
                  <a:pt x="1054101" y="736518"/>
                </a:cubicBezTo>
                <a:cubicBezTo>
                  <a:pt x="1058297" y="742902"/>
                  <a:pt x="1064590" y="740777"/>
                  <a:pt x="1068786" y="736518"/>
                </a:cubicBezTo>
                <a:cubicBezTo>
                  <a:pt x="1098155" y="702500"/>
                  <a:pt x="1125426" y="706752"/>
                  <a:pt x="1148501" y="745028"/>
                </a:cubicBezTo>
                <a:cubicBezTo>
                  <a:pt x="1150599" y="747155"/>
                  <a:pt x="1146403" y="759911"/>
                  <a:pt x="1156892" y="753533"/>
                </a:cubicBezTo>
                <a:cubicBezTo>
                  <a:pt x="1158990" y="751407"/>
                  <a:pt x="1171576" y="738649"/>
                  <a:pt x="1161087" y="732266"/>
                </a:cubicBezTo>
                <a:cubicBezTo>
                  <a:pt x="1146403" y="725888"/>
                  <a:pt x="1146403" y="715257"/>
                  <a:pt x="1152696" y="708878"/>
                </a:cubicBezTo>
                <a:cubicBezTo>
                  <a:pt x="1165283" y="696121"/>
                  <a:pt x="1171576" y="715257"/>
                  <a:pt x="1182065" y="717383"/>
                </a:cubicBezTo>
                <a:cubicBezTo>
                  <a:pt x="1182065" y="713131"/>
                  <a:pt x="1184163" y="706752"/>
                  <a:pt x="1182065" y="706752"/>
                </a:cubicBezTo>
                <a:cubicBezTo>
                  <a:pt x="1168430" y="693996"/>
                  <a:pt x="1142208" y="689212"/>
                  <a:pt x="1116510" y="691072"/>
                </a:cubicBezTo>
                <a:close/>
                <a:moveTo>
                  <a:pt x="4541621" y="683863"/>
                </a:moveTo>
                <a:lnTo>
                  <a:pt x="4542454" y="683863"/>
                </a:lnTo>
                <a:lnTo>
                  <a:pt x="4542392" y="684003"/>
                </a:lnTo>
                <a:lnTo>
                  <a:pt x="4543657" y="684003"/>
                </a:lnTo>
                <a:lnTo>
                  <a:pt x="4543472" y="684368"/>
                </a:lnTo>
                <a:lnTo>
                  <a:pt x="4542153" y="684840"/>
                </a:lnTo>
                <a:close/>
                <a:moveTo>
                  <a:pt x="2718156" y="673571"/>
                </a:moveTo>
                <a:cubicBezTo>
                  <a:pt x="2730742" y="688045"/>
                  <a:pt x="2741231" y="694248"/>
                  <a:pt x="2747524" y="704585"/>
                </a:cubicBezTo>
                <a:cubicBezTo>
                  <a:pt x="2762209" y="723192"/>
                  <a:pt x="2770600" y="710787"/>
                  <a:pt x="2768503" y="694248"/>
                </a:cubicBezTo>
                <a:cubicBezTo>
                  <a:pt x="2764307" y="669436"/>
                  <a:pt x="2743328" y="675638"/>
                  <a:pt x="2718156" y="673571"/>
                </a:cubicBezTo>
                <a:close/>
                <a:moveTo>
                  <a:pt x="4667449" y="664970"/>
                </a:moveTo>
                <a:cubicBezTo>
                  <a:pt x="4661730" y="663792"/>
                  <a:pt x="4655586" y="663662"/>
                  <a:pt x="4648789" y="665232"/>
                </a:cubicBezTo>
                <a:cubicBezTo>
                  <a:pt x="4638331" y="669418"/>
                  <a:pt x="4625782" y="665232"/>
                  <a:pt x="4615324" y="673603"/>
                </a:cubicBezTo>
                <a:cubicBezTo>
                  <a:pt x="4623691" y="679884"/>
                  <a:pt x="4619508" y="694536"/>
                  <a:pt x="4638331" y="696629"/>
                </a:cubicBezTo>
                <a:cubicBezTo>
                  <a:pt x="4659246" y="698722"/>
                  <a:pt x="4648789" y="728027"/>
                  <a:pt x="4663428" y="736399"/>
                </a:cubicBezTo>
                <a:cubicBezTo>
                  <a:pt x="4652972" y="744777"/>
                  <a:pt x="4636238" y="732213"/>
                  <a:pt x="4629965" y="753152"/>
                </a:cubicBezTo>
                <a:cubicBezTo>
                  <a:pt x="4682252" y="763617"/>
                  <a:pt x="4734542" y="778270"/>
                  <a:pt x="4791012" y="746871"/>
                </a:cubicBezTo>
                <a:cubicBezTo>
                  <a:pt x="4770098" y="748964"/>
                  <a:pt x="4763822" y="713374"/>
                  <a:pt x="4751274" y="728027"/>
                </a:cubicBezTo>
                <a:cubicBezTo>
                  <a:pt x="4738724" y="746871"/>
                  <a:pt x="4721991" y="738498"/>
                  <a:pt x="4709442" y="744777"/>
                </a:cubicBezTo>
                <a:cubicBezTo>
                  <a:pt x="4682252" y="759430"/>
                  <a:pt x="4696894" y="728027"/>
                  <a:pt x="4688528" y="717560"/>
                </a:cubicBezTo>
                <a:cubicBezTo>
                  <a:pt x="4678070" y="702909"/>
                  <a:pt x="4694803" y="705002"/>
                  <a:pt x="4705260" y="705002"/>
                </a:cubicBezTo>
                <a:cubicBezTo>
                  <a:pt x="4711534" y="702909"/>
                  <a:pt x="4715716" y="719654"/>
                  <a:pt x="4719900" y="705002"/>
                </a:cubicBezTo>
                <a:cubicBezTo>
                  <a:pt x="4721991" y="698722"/>
                  <a:pt x="4724084" y="688257"/>
                  <a:pt x="4713626" y="686163"/>
                </a:cubicBezTo>
                <a:cubicBezTo>
                  <a:pt x="4697939" y="681454"/>
                  <a:pt x="4684606" y="668503"/>
                  <a:pt x="4667449" y="664970"/>
                </a:cubicBezTo>
                <a:close/>
                <a:moveTo>
                  <a:pt x="4816298" y="652503"/>
                </a:moveTo>
                <a:cubicBezTo>
                  <a:pt x="4814144" y="652503"/>
                  <a:pt x="4811990" y="660607"/>
                  <a:pt x="4814144" y="662634"/>
                </a:cubicBezTo>
                <a:cubicBezTo>
                  <a:pt x="4818452" y="666686"/>
                  <a:pt x="4823298" y="667700"/>
                  <a:pt x="4828146" y="667446"/>
                </a:cubicBezTo>
                <a:lnTo>
                  <a:pt x="4840498" y="664988"/>
                </a:lnTo>
                <a:lnTo>
                  <a:pt x="4842145" y="666686"/>
                </a:lnTo>
                <a:cubicBezTo>
                  <a:pt x="4842145" y="666686"/>
                  <a:pt x="4842145" y="664660"/>
                  <a:pt x="4842145" y="664660"/>
                </a:cubicBezTo>
                <a:lnTo>
                  <a:pt x="4840498" y="664988"/>
                </a:lnTo>
                <a:lnTo>
                  <a:pt x="4830838" y="655035"/>
                </a:lnTo>
                <a:cubicBezTo>
                  <a:pt x="4827068" y="651996"/>
                  <a:pt x="4822760" y="650476"/>
                  <a:pt x="4816298" y="652503"/>
                </a:cubicBezTo>
                <a:close/>
                <a:moveTo>
                  <a:pt x="4468860" y="648435"/>
                </a:moveTo>
                <a:cubicBezTo>
                  <a:pt x="4428942" y="640067"/>
                  <a:pt x="4422640" y="679818"/>
                  <a:pt x="4391124" y="686095"/>
                </a:cubicBezTo>
                <a:cubicBezTo>
                  <a:pt x="4414234" y="700741"/>
                  <a:pt x="4431044" y="713293"/>
                  <a:pt x="4447851" y="721662"/>
                </a:cubicBezTo>
                <a:cubicBezTo>
                  <a:pt x="4452052" y="723754"/>
                  <a:pt x="4460457" y="736308"/>
                  <a:pt x="4468860" y="723754"/>
                </a:cubicBezTo>
                <a:cubicBezTo>
                  <a:pt x="4478314" y="710154"/>
                  <a:pt x="4490920" y="703356"/>
                  <a:pt x="4504312" y="698386"/>
                </a:cubicBezTo>
                <a:lnTo>
                  <a:pt x="4542153" y="684840"/>
                </a:lnTo>
                <a:lnTo>
                  <a:pt x="4542712" y="685864"/>
                </a:lnTo>
                <a:lnTo>
                  <a:pt x="4527135" y="716511"/>
                </a:lnTo>
                <a:cubicBezTo>
                  <a:pt x="4519496" y="725654"/>
                  <a:pt x="4510016" y="732967"/>
                  <a:pt x="4499478" y="738196"/>
                </a:cubicBezTo>
                <a:cubicBezTo>
                  <a:pt x="4488944" y="746556"/>
                  <a:pt x="4486836" y="746556"/>
                  <a:pt x="4495264" y="754914"/>
                </a:cubicBezTo>
                <a:cubicBezTo>
                  <a:pt x="4512121" y="767451"/>
                  <a:pt x="4526871" y="784168"/>
                  <a:pt x="4545836" y="790438"/>
                </a:cubicBezTo>
                <a:cubicBezTo>
                  <a:pt x="4556371" y="794617"/>
                  <a:pt x="4571121" y="817603"/>
                  <a:pt x="4585871" y="794617"/>
                </a:cubicBezTo>
                <a:cubicBezTo>
                  <a:pt x="4596408" y="775811"/>
                  <a:pt x="4604836" y="759093"/>
                  <a:pt x="4571121" y="754914"/>
                </a:cubicBezTo>
                <a:cubicBezTo>
                  <a:pt x="4571121" y="754914"/>
                  <a:pt x="4571121" y="748644"/>
                  <a:pt x="4569014" y="744465"/>
                </a:cubicBezTo>
                <a:cubicBezTo>
                  <a:pt x="4564799" y="734012"/>
                  <a:pt x="4561638" y="723564"/>
                  <a:pt x="4557688" y="713378"/>
                </a:cubicBezTo>
                <a:lnTo>
                  <a:pt x="4542712" y="685864"/>
                </a:lnTo>
                <a:lnTo>
                  <a:pt x="4543472" y="684368"/>
                </a:lnTo>
                <a:lnTo>
                  <a:pt x="4544494" y="684003"/>
                </a:lnTo>
                <a:lnTo>
                  <a:pt x="4543657" y="684003"/>
                </a:lnTo>
                <a:lnTo>
                  <a:pt x="4543728" y="683863"/>
                </a:lnTo>
                <a:lnTo>
                  <a:pt x="4542454" y="683863"/>
                </a:lnTo>
                <a:lnTo>
                  <a:pt x="4545577" y="676876"/>
                </a:lnTo>
                <a:cubicBezTo>
                  <a:pt x="4550796" y="669226"/>
                  <a:pt x="4558674" y="660989"/>
                  <a:pt x="4538190" y="660989"/>
                </a:cubicBezTo>
                <a:cubicBezTo>
                  <a:pt x="4529788" y="660989"/>
                  <a:pt x="4512979" y="637974"/>
                  <a:pt x="4504576" y="665173"/>
                </a:cubicBezTo>
                <a:cubicBezTo>
                  <a:pt x="4502474" y="671449"/>
                  <a:pt x="4512979" y="686095"/>
                  <a:pt x="4496172" y="679818"/>
                </a:cubicBezTo>
                <a:cubicBezTo>
                  <a:pt x="4485667" y="677726"/>
                  <a:pt x="4470961" y="673541"/>
                  <a:pt x="4473060" y="663080"/>
                </a:cubicBezTo>
                <a:cubicBezTo>
                  <a:pt x="4473060" y="656803"/>
                  <a:pt x="4496172" y="654712"/>
                  <a:pt x="4468860" y="648435"/>
                </a:cubicBezTo>
                <a:close/>
                <a:moveTo>
                  <a:pt x="1104561" y="645986"/>
                </a:moveTo>
                <a:cubicBezTo>
                  <a:pt x="1085676" y="653843"/>
                  <a:pt x="1064429" y="651094"/>
                  <a:pt x="1043477" y="654532"/>
                </a:cubicBezTo>
                <a:lnTo>
                  <a:pt x="1028142" y="659055"/>
                </a:lnTo>
                <a:lnTo>
                  <a:pt x="1025148" y="658056"/>
                </a:lnTo>
                <a:lnTo>
                  <a:pt x="1040525" y="649227"/>
                </a:lnTo>
                <a:cubicBezTo>
                  <a:pt x="1061281" y="642841"/>
                  <a:pt x="1084102" y="649129"/>
                  <a:pt x="1104561" y="645986"/>
                </a:cubicBezTo>
                <a:close/>
                <a:moveTo>
                  <a:pt x="4364083" y="645823"/>
                </a:moveTo>
                <a:cubicBezTo>
                  <a:pt x="4360960" y="645338"/>
                  <a:pt x="4360180" y="655042"/>
                  <a:pt x="4361741" y="656595"/>
                </a:cubicBezTo>
                <a:cubicBezTo>
                  <a:pt x="4365905" y="677296"/>
                  <a:pt x="4380482" y="664876"/>
                  <a:pt x="4395059" y="666945"/>
                </a:cubicBezTo>
                <a:cubicBezTo>
                  <a:pt x="4386730" y="654525"/>
                  <a:pt x="4374236" y="662805"/>
                  <a:pt x="4367989" y="650385"/>
                </a:cubicBezTo>
                <a:cubicBezTo>
                  <a:pt x="4366427" y="647279"/>
                  <a:pt x="4365126" y="645986"/>
                  <a:pt x="4364083" y="645823"/>
                </a:cubicBezTo>
                <a:close/>
                <a:moveTo>
                  <a:pt x="2728644" y="623541"/>
                </a:moveTo>
                <a:cubicBezTo>
                  <a:pt x="2720403" y="623541"/>
                  <a:pt x="2714222" y="625581"/>
                  <a:pt x="2714222" y="633738"/>
                </a:cubicBezTo>
                <a:cubicBezTo>
                  <a:pt x="2716282" y="639858"/>
                  <a:pt x="2722462" y="639858"/>
                  <a:pt x="2728644" y="639858"/>
                </a:cubicBezTo>
                <a:cubicBezTo>
                  <a:pt x="2736886" y="641896"/>
                  <a:pt x="2743068" y="637818"/>
                  <a:pt x="2741005" y="629660"/>
                </a:cubicBezTo>
                <a:cubicBezTo>
                  <a:pt x="2738946" y="625581"/>
                  <a:pt x="2730704" y="623541"/>
                  <a:pt x="2728644" y="623541"/>
                </a:cubicBezTo>
                <a:close/>
                <a:moveTo>
                  <a:pt x="1485818" y="603872"/>
                </a:moveTo>
                <a:cubicBezTo>
                  <a:pt x="1483700" y="606057"/>
                  <a:pt x="1475228" y="603872"/>
                  <a:pt x="1479465" y="610428"/>
                </a:cubicBezTo>
                <a:cubicBezTo>
                  <a:pt x="1481582" y="616984"/>
                  <a:pt x="1485818" y="623539"/>
                  <a:pt x="1494290" y="623539"/>
                </a:cubicBezTo>
                <a:cubicBezTo>
                  <a:pt x="1498526" y="621354"/>
                  <a:pt x="1500644" y="616984"/>
                  <a:pt x="1502762" y="614799"/>
                </a:cubicBezTo>
                <a:cubicBezTo>
                  <a:pt x="1500644" y="603872"/>
                  <a:pt x="1492171" y="603872"/>
                  <a:pt x="1485818" y="603872"/>
                </a:cubicBezTo>
                <a:close/>
                <a:moveTo>
                  <a:pt x="1604569" y="599580"/>
                </a:moveTo>
                <a:cubicBezTo>
                  <a:pt x="1603742" y="600119"/>
                  <a:pt x="1603213" y="601465"/>
                  <a:pt x="1603213" y="604158"/>
                </a:cubicBezTo>
                <a:cubicBezTo>
                  <a:pt x="1601095" y="614928"/>
                  <a:pt x="1609567" y="619236"/>
                  <a:pt x="1618038" y="623544"/>
                </a:cubicBezTo>
                <a:cubicBezTo>
                  <a:pt x="1626509" y="623544"/>
                  <a:pt x="1628628" y="619236"/>
                  <a:pt x="1628628" y="610620"/>
                </a:cubicBezTo>
                <a:cubicBezTo>
                  <a:pt x="1628628" y="599850"/>
                  <a:pt x="1626509" y="595543"/>
                  <a:pt x="1613803" y="602004"/>
                </a:cubicBezTo>
                <a:cubicBezTo>
                  <a:pt x="1612214" y="603620"/>
                  <a:pt x="1607051" y="597966"/>
                  <a:pt x="1604569" y="599580"/>
                </a:cubicBezTo>
                <a:close/>
                <a:moveTo>
                  <a:pt x="4284138" y="581077"/>
                </a:moveTo>
                <a:cubicBezTo>
                  <a:pt x="4282040" y="578968"/>
                  <a:pt x="4267356" y="585296"/>
                  <a:pt x="4267356" y="587405"/>
                </a:cubicBezTo>
                <a:cubicBezTo>
                  <a:pt x="4265258" y="602169"/>
                  <a:pt x="4271552" y="614824"/>
                  <a:pt x="4292530" y="627480"/>
                </a:cubicBezTo>
                <a:cubicBezTo>
                  <a:pt x="4292530" y="608497"/>
                  <a:pt x="4296725" y="593733"/>
                  <a:pt x="4284138" y="581077"/>
                </a:cubicBezTo>
                <a:close/>
                <a:moveTo>
                  <a:pt x="1194652" y="577655"/>
                </a:moveTo>
                <a:cubicBezTo>
                  <a:pt x="1167868" y="581819"/>
                  <a:pt x="1165808" y="594314"/>
                  <a:pt x="1176109" y="613054"/>
                </a:cubicBezTo>
                <a:cubicBezTo>
                  <a:pt x="1174049" y="598478"/>
                  <a:pt x="1188471" y="592232"/>
                  <a:pt x="1194652" y="577655"/>
                </a:cubicBezTo>
                <a:close/>
                <a:moveTo>
                  <a:pt x="4332224" y="573897"/>
                </a:moveTo>
                <a:cubicBezTo>
                  <a:pt x="4330398" y="573105"/>
                  <a:pt x="4327269" y="573237"/>
                  <a:pt x="4322053" y="574820"/>
                </a:cubicBezTo>
                <a:cubicBezTo>
                  <a:pt x="4303282" y="581157"/>
                  <a:pt x="4303282" y="589607"/>
                  <a:pt x="4311625" y="604393"/>
                </a:cubicBezTo>
                <a:cubicBezTo>
                  <a:pt x="4317882" y="617067"/>
                  <a:pt x="4322053" y="633966"/>
                  <a:pt x="4340826" y="631855"/>
                </a:cubicBezTo>
                <a:cubicBezTo>
                  <a:pt x="4359600" y="629742"/>
                  <a:pt x="4386716" y="644527"/>
                  <a:pt x="4395059" y="606506"/>
                </a:cubicBezTo>
                <a:cubicBezTo>
                  <a:pt x="4363772" y="640303"/>
                  <a:pt x="4349172" y="614955"/>
                  <a:pt x="4334569" y="591719"/>
                </a:cubicBezTo>
                <a:cubicBezTo>
                  <a:pt x="4331440" y="586967"/>
                  <a:pt x="4337698" y="576273"/>
                  <a:pt x="4332224" y="573897"/>
                </a:cubicBezTo>
                <a:close/>
                <a:moveTo>
                  <a:pt x="2459740" y="573262"/>
                </a:moveTo>
                <a:cubicBezTo>
                  <a:pt x="2447986" y="571187"/>
                  <a:pt x="2436494" y="573781"/>
                  <a:pt x="2427090" y="593502"/>
                </a:cubicBezTo>
                <a:cubicBezTo>
                  <a:pt x="2454254" y="603882"/>
                  <a:pt x="2473060" y="591426"/>
                  <a:pt x="2493956" y="581047"/>
                </a:cubicBezTo>
                <a:cubicBezTo>
                  <a:pt x="2483508" y="582084"/>
                  <a:pt x="2471493" y="575338"/>
                  <a:pt x="2459740" y="573262"/>
                </a:cubicBezTo>
                <a:close/>
                <a:moveTo>
                  <a:pt x="1114413" y="568475"/>
                </a:moveTo>
                <a:cubicBezTo>
                  <a:pt x="1097630" y="572627"/>
                  <a:pt x="1106021" y="583005"/>
                  <a:pt x="1106021" y="593386"/>
                </a:cubicBezTo>
                <a:cubicBezTo>
                  <a:pt x="1116510" y="589235"/>
                  <a:pt x="1122804" y="583005"/>
                  <a:pt x="1129097" y="572627"/>
                </a:cubicBezTo>
                <a:cubicBezTo>
                  <a:pt x="1122804" y="570551"/>
                  <a:pt x="1118608" y="568475"/>
                  <a:pt x="1114413" y="568475"/>
                </a:cubicBezTo>
                <a:close/>
                <a:moveTo>
                  <a:pt x="1666651" y="557986"/>
                </a:moveTo>
                <a:cubicBezTo>
                  <a:pt x="1656271" y="560061"/>
                  <a:pt x="1641739" y="562138"/>
                  <a:pt x="1641739" y="574594"/>
                </a:cubicBezTo>
                <a:cubicBezTo>
                  <a:pt x="1641739" y="578746"/>
                  <a:pt x="1647967" y="580822"/>
                  <a:pt x="1650043" y="582899"/>
                </a:cubicBezTo>
                <a:cubicBezTo>
                  <a:pt x="1656271" y="574594"/>
                  <a:pt x="1660423" y="566290"/>
                  <a:pt x="1666651" y="557986"/>
                </a:cubicBezTo>
                <a:close/>
                <a:moveTo>
                  <a:pt x="4661772" y="556686"/>
                </a:moveTo>
                <a:lnTo>
                  <a:pt x="4659679" y="558779"/>
                </a:lnTo>
                <a:lnTo>
                  <a:pt x="4660623" y="559251"/>
                </a:lnTo>
                <a:lnTo>
                  <a:pt x="4652651" y="577052"/>
                </a:lnTo>
                <a:cubicBezTo>
                  <a:pt x="4640586" y="592646"/>
                  <a:pt x="4619403" y="593822"/>
                  <a:pt x="4586452" y="579701"/>
                </a:cubicBezTo>
                <a:cubicBezTo>
                  <a:pt x="4590636" y="598530"/>
                  <a:pt x="4575991" y="617360"/>
                  <a:pt x="4601098" y="629913"/>
                </a:cubicBezTo>
                <a:cubicBezTo>
                  <a:pt x="4607374" y="619452"/>
                  <a:pt x="4603190" y="598530"/>
                  <a:pt x="4624111" y="604806"/>
                </a:cubicBezTo>
                <a:cubicBezTo>
                  <a:pt x="4659679" y="615268"/>
                  <a:pt x="4603190" y="615268"/>
                  <a:pt x="4624111" y="623636"/>
                </a:cubicBezTo>
                <a:cubicBezTo>
                  <a:pt x="4634572" y="629913"/>
                  <a:pt x="4638757" y="655019"/>
                  <a:pt x="4655494" y="646650"/>
                </a:cubicBezTo>
                <a:cubicBezTo>
                  <a:pt x="4676416" y="636190"/>
                  <a:pt x="4701523" y="640374"/>
                  <a:pt x="4718260" y="621544"/>
                </a:cubicBezTo>
                <a:cubicBezTo>
                  <a:pt x="4728720" y="611083"/>
                  <a:pt x="4743368" y="611083"/>
                  <a:pt x="4753828" y="619452"/>
                </a:cubicBezTo>
                <a:cubicBezTo>
                  <a:pt x="4758012" y="619452"/>
                  <a:pt x="4745458" y="634097"/>
                  <a:pt x="4760104" y="629913"/>
                </a:cubicBezTo>
                <a:cubicBezTo>
                  <a:pt x="4772657" y="627820"/>
                  <a:pt x="4766380" y="615268"/>
                  <a:pt x="4766380" y="606899"/>
                </a:cubicBezTo>
                <a:cubicBezTo>
                  <a:pt x="4766380" y="600623"/>
                  <a:pt x="4762196" y="594346"/>
                  <a:pt x="4755919" y="596438"/>
                </a:cubicBezTo>
                <a:cubicBezTo>
                  <a:pt x="4707798" y="625729"/>
                  <a:pt x="4686878" y="594346"/>
                  <a:pt x="4663862" y="560870"/>
                </a:cubicBezTo>
                <a:lnTo>
                  <a:pt x="4660623" y="559251"/>
                </a:lnTo>
                <a:close/>
                <a:moveTo>
                  <a:pt x="1549704" y="551323"/>
                </a:moveTo>
                <a:cubicBezTo>
                  <a:pt x="1546908" y="550776"/>
                  <a:pt x="1543979" y="551291"/>
                  <a:pt x="1540784" y="553866"/>
                </a:cubicBezTo>
                <a:cubicBezTo>
                  <a:pt x="1540784" y="555926"/>
                  <a:pt x="1542913" y="557986"/>
                  <a:pt x="1545045" y="560047"/>
                </a:cubicBezTo>
                <a:cubicBezTo>
                  <a:pt x="1555698" y="572409"/>
                  <a:pt x="1566351" y="572409"/>
                  <a:pt x="1574872" y="557986"/>
                </a:cubicBezTo>
                <a:cubicBezTo>
                  <a:pt x="1565284" y="564167"/>
                  <a:pt x="1558095" y="552965"/>
                  <a:pt x="1549704" y="551323"/>
                </a:cubicBezTo>
                <a:close/>
                <a:moveTo>
                  <a:pt x="2944977" y="550116"/>
                </a:moveTo>
                <a:cubicBezTo>
                  <a:pt x="2951158" y="558275"/>
                  <a:pt x="2957339" y="568472"/>
                  <a:pt x="2967640" y="564394"/>
                </a:cubicBezTo>
                <a:cubicBezTo>
                  <a:pt x="2969700" y="562354"/>
                  <a:pt x="2971760" y="556234"/>
                  <a:pt x="2973821" y="554195"/>
                </a:cubicBezTo>
                <a:cubicBezTo>
                  <a:pt x="2963520" y="552156"/>
                  <a:pt x="2955278" y="552156"/>
                  <a:pt x="2944977" y="550116"/>
                </a:cubicBezTo>
                <a:close/>
                <a:moveTo>
                  <a:pt x="4628090" y="532609"/>
                </a:moveTo>
                <a:cubicBezTo>
                  <a:pt x="4626020" y="534763"/>
                  <a:pt x="4621879" y="539071"/>
                  <a:pt x="4623950" y="541225"/>
                </a:cubicBezTo>
                <a:cubicBezTo>
                  <a:pt x="4628090" y="556303"/>
                  <a:pt x="4642582" y="556303"/>
                  <a:pt x="4652932" y="558456"/>
                </a:cubicBezTo>
                <a:cubicBezTo>
                  <a:pt x="4653966" y="559534"/>
                  <a:pt x="4655520" y="559534"/>
                  <a:pt x="4657072" y="558995"/>
                </a:cubicBezTo>
                <a:lnTo>
                  <a:pt x="4658778" y="557886"/>
                </a:lnTo>
                <a:lnTo>
                  <a:pt x="4659142" y="558456"/>
                </a:lnTo>
                <a:cubicBezTo>
                  <a:pt x="4659142" y="558456"/>
                  <a:pt x="4661212" y="556303"/>
                  <a:pt x="4661212" y="556303"/>
                </a:cubicBezTo>
                <a:lnTo>
                  <a:pt x="4658778" y="557886"/>
                </a:lnTo>
                <a:lnTo>
                  <a:pt x="4655002" y="551995"/>
                </a:lnTo>
                <a:cubicBezTo>
                  <a:pt x="4644650" y="545533"/>
                  <a:pt x="4642582" y="530455"/>
                  <a:pt x="4628090" y="532609"/>
                </a:cubicBezTo>
                <a:close/>
                <a:moveTo>
                  <a:pt x="4470949" y="515593"/>
                </a:moveTo>
                <a:lnTo>
                  <a:pt x="4472492" y="516584"/>
                </a:lnTo>
                <a:lnTo>
                  <a:pt x="4470519" y="516067"/>
                </a:lnTo>
                <a:lnTo>
                  <a:pt x="4470410" y="515790"/>
                </a:lnTo>
                <a:close/>
                <a:moveTo>
                  <a:pt x="4531377" y="509779"/>
                </a:moveTo>
                <a:cubicBezTo>
                  <a:pt x="4501997" y="522352"/>
                  <a:pt x="4518785" y="537022"/>
                  <a:pt x="4527180" y="551689"/>
                </a:cubicBezTo>
                <a:lnTo>
                  <a:pt x="4472492" y="516584"/>
                </a:lnTo>
                <a:lnTo>
                  <a:pt x="4484750" y="519798"/>
                </a:lnTo>
                <a:cubicBezTo>
                  <a:pt x="4499112" y="518817"/>
                  <a:pt x="4514066" y="506636"/>
                  <a:pt x="4531377" y="509779"/>
                </a:cubicBezTo>
                <a:close/>
                <a:moveTo>
                  <a:pt x="991349" y="509468"/>
                </a:moveTo>
                <a:cubicBezTo>
                  <a:pt x="999544" y="522055"/>
                  <a:pt x="993397" y="536738"/>
                  <a:pt x="1009786" y="551423"/>
                </a:cubicBezTo>
                <a:cubicBezTo>
                  <a:pt x="977008" y="540934"/>
                  <a:pt x="991349" y="522055"/>
                  <a:pt x="991349" y="509468"/>
                </a:cubicBezTo>
                <a:close/>
                <a:moveTo>
                  <a:pt x="4612702" y="493193"/>
                </a:moveTo>
                <a:cubicBezTo>
                  <a:pt x="4616939" y="505649"/>
                  <a:pt x="4621174" y="516029"/>
                  <a:pt x="4640236" y="511877"/>
                </a:cubicBezTo>
                <a:cubicBezTo>
                  <a:pt x="4631765" y="503573"/>
                  <a:pt x="4629646" y="491118"/>
                  <a:pt x="4612702" y="493193"/>
                </a:cubicBezTo>
                <a:close/>
                <a:moveTo>
                  <a:pt x="1739810" y="478010"/>
                </a:moveTo>
                <a:cubicBezTo>
                  <a:pt x="1737712" y="478010"/>
                  <a:pt x="1733516" y="478010"/>
                  <a:pt x="1731419" y="480108"/>
                </a:cubicBezTo>
                <a:cubicBezTo>
                  <a:pt x="1723028" y="492694"/>
                  <a:pt x="1739810" y="498987"/>
                  <a:pt x="1744005" y="509475"/>
                </a:cubicBezTo>
                <a:cubicBezTo>
                  <a:pt x="1741907" y="498987"/>
                  <a:pt x="1754494" y="486401"/>
                  <a:pt x="1739810" y="478010"/>
                </a:cubicBezTo>
                <a:close/>
                <a:moveTo>
                  <a:pt x="2879421" y="464295"/>
                </a:moveTo>
                <a:cubicBezTo>
                  <a:pt x="2896585" y="462267"/>
                  <a:pt x="2903022" y="468347"/>
                  <a:pt x="2903022" y="482530"/>
                </a:cubicBezTo>
                <a:cubicBezTo>
                  <a:pt x="2888004" y="484556"/>
                  <a:pt x="2885858" y="470373"/>
                  <a:pt x="2879421" y="464295"/>
                </a:cubicBezTo>
                <a:close/>
                <a:moveTo>
                  <a:pt x="3471264" y="463311"/>
                </a:moveTo>
                <a:lnTo>
                  <a:pt x="3485448" y="465676"/>
                </a:lnTo>
                <a:cubicBezTo>
                  <a:pt x="3492367" y="466430"/>
                  <a:pt x="3498925" y="467346"/>
                  <a:pt x="3503122" y="469967"/>
                </a:cubicBezTo>
                <a:cubicBezTo>
                  <a:pt x="3495253" y="469441"/>
                  <a:pt x="3487514" y="468656"/>
                  <a:pt x="3480464" y="467085"/>
                </a:cubicBezTo>
                <a:close/>
                <a:moveTo>
                  <a:pt x="4271014" y="462270"/>
                </a:moveTo>
                <a:cubicBezTo>
                  <a:pt x="4266790" y="476692"/>
                  <a:pt x="4273126" y="497296"/>
                  <a:pt x="4256226" y="503477"/>
                </a:cubicBezTo>
                <a:cubicBezTo>
                  <a:pt x="4254115" y="505536"/>
                  <a:pt x="4247779" y="499355"/>
                  <a:pt x="4245665" y="495236"/>
                </a:cubicBezTo>
                <a:cubicBezTo>
                  <a:pt x="4235104" y="470511"/>
                  <a:pt x="4271014" y="478753"/>
                  <a:pt x="4271014" y="462270"/>
                </a:cubicBezTo>
                <a:close/>
                <a:moveTo>
                  <a:pt x="3463766" y="460238"/>
                </a:moveTo>
                <a:lnTo>
                  <a:pt x="3471264" y="463311"/>
                </a:lnTo>
                <a:lnTo>
                  <a:pt x="3465611" y="462369"/>
                </a:lnTo>
                <a:close/>
                <a:moveTo>
                  <a:pt x="1707189" y="458591"/>
                </a:moveTo>
                <a:lnTo>
                  <a:pt x="1703154" y="461060"/>
                </a:lnTo>
                <a:lnTo>
                  <a:pt x="1685442" y="461538"/>
                </a:lnTo>
                <a:lnTo>
                  <a:pt x="1685344" y="461454"/>
                </a:lnTo>
                <a:lnTo>
                  <a:pt x="1703154" y="460013"/>
                </a:lnTo>
                <a:close/>
                <a:moveTo>
                  <a:pt x="1714839" y="453908"/>
                </a:moveTo>
                <a:lnTo>
                  <a:pt x="1712071" y="456870"/>
                </a:lnTo>
                <a:lnTo>
                  <a:pt x="1707189" y="458591"/>
                </a:lnTo>
                <a:close/>
                <a:moveTo>
                  <a:pt x="3456328" y="451641"/>
                </a:moveTo>
                <a:lnTo>
                  <a:pt x="3463766" y="460238"/>
                </a:lnTo>
                <a:lnTo>
                  <a:pt x="3461939" y="459489"/>
                </a:lnTo>
                <a:close/>
                <a:moveTo>
                  <a:pt x="1718678" y="451559"/>
                </a:moveTo>
                <a:lnTo>
                  <a:pt x="1714839" y="453908"/>
                </a:lnTo>
                <a:lnTo>
                  <a:pt x="1717019" y="451576"/>
                </a:lnTo>
                <a:close/>
                <a:moveTo>
                  <a:pt x="3455639" y="450678"/>
                </a:moveTo>
                <a:lnTo>
                  <a:pt x="3456328" y="451641"/>
                </a:lnTo>
                <a:lnTo>
                  <a:pt x="3455611" y="450812"/>
                </a:lnTo>
                <a:close/>
                <a:moveTo>
                  <a:pt x="2027204" y="434257"/>
                </a:moveTo>
                <a:cubicBezTo>
                  <a:pt x="2044248" y="432112"/>
                  <a:pt x="2050639" y="444984"/>
                  <a:pt x="2061293" y="447129"/>
                </a:cubicBezTo>
                <a:cubicBezTo>
                  <a:pt x="2046379" y="455711"/>
                  <a:pt x="2035726" y="449275"/>
                  <a:pt x="2027204" y="434257"/>
                </a:cubicBezTo>
                <a:close/>
                <a:moveTo>
                  <a:pt x="2438608" y="433763"/>
                </a:moveTo>
                <a:cubicBezTo>
                  <a:pt x="2430459" y="432099"/>
                  <a:pt x="2421820" y="432099"/>
                  <a:pt x="2412395" y="434709"/>
                </a:cubicBezTo>
                <a:cubicBezTo>
                  <a:pt x="2406112" y="459776"/>
                  <a:pt x="2466848" y="457688"/>
                  <a:pt x="2435433" y="495287"/>
                </a:cubicBezTo>
                <a:cubicBezTo>
                  <a:pt x="2431244" y="501553"/>
                  <a:pt x="2441717" y="507820"/>
                  <a:pt x="2450094" y="503642"/>
                </a:cubicBezTo>
                <a:cubicBezTo>
                  <a:pt x="2483603" y="489020"/>
                  <a:pt x="2506642" y="518264"/>
                  <a:pt x="2519208" y="534975"/>
                </a:cubicBezTo>
                <a:cubicBezTo>
                  <a:pt x="2542246" y="570486"/>
                  <a:pt x="2577850" y="589286"/>
                  <a:pt x="2609265" y="614352"/>
                </a:cubicBezTo>
                <a:cubicBezTo>
                  <a:pt x="2621831" y="624797"/>
                  <a:pt x="2632303" y="635241"/>
                  <a:pt x="2646964" y="616442"/>
                </a:cubicBezTo>
                <a:cubicBezTo>
                  <a:pt x="2651152" y="612263"/>
                  <a:pt x="2680474" y="599731"/>
                  <a:pt x="2670002" y="633153"/>
                </a:cubicBezTo>
                <a:cubicBezTo>
                  <a:pt x="2663719" y="649863"/>
                  <a:pt x="2682567" y="660307"/>
                  <a:pt x="2695135" y="666574"/>
                </a:cubicBezTo>
                <a:cubicBezTo>
                  <a:pt x="2699322" y="670752"/>
                  <a:pt x="2709796" y="668663"/>
                  <a:pt x="2716078" y="662396"/>
                </a:cubicBezTo>
                <a:cubicBezTo>
                  <a:pt x="2728644" y="645685"/>
                  <a:pt x="2699322" y="647775"/>
                  <a:pt x="2701417" y="633153"/>
                </a:cubicBezTo>
                <a:cubicBezTo>
                  <a:pt x="2701417" y="626886"/>
                  <a:pt x="2697229" y="614352"/>
                  <a:pt x="2695135" y="603908"/>
                </a:cubicBezTo>
                <a:cubicBezTo>
                  <a:pt x="2693040" y="585108"/>
                  <a:pt x="2686757" y="570486"/>
                  <a:pt x="2667906" y="557953"/>
                </a:cubicBezTo>
                <a:cubicBezTo>
                  <a:pt x="2613454" y="528708"/>
                  <a:pt x="2563189" y="491109"/>
                  <a:pt x="2506642" y="468132"/>
                </a:cubicBezTo>
                <a:cubicBezTo>
                  <a:pt x="2483080" y="458731"/>
                  <a:pt x="2463053" y="438757"/>
                  <a:pt x="2438608" y="433763"/>
                </a:cubicBezTo>
                <a:close/>
                <a:moveTo>
                  <a:pt x="4038293" y="428192"/>
                </a:moveTo>
                <a:cubicBezTo>
                  <a:pt x="4034213" y="430315"/>
                  <a:pt x="4030134" y="432438"/>
                  <a:pt x="4028095" y="436683"/>
                </a:cubicBezTo>
                <a:cubicBezTo>
                  <a:pt x="4024016" y="460033"/>
                  <a:pt x="4046450" y="462156"/>
                  <a:pt x="4060727" y="472769"/>
                </a:cubicBezTo>
                <a:cubicBezTo>
                  <a:pt x="4052569" y="457910"/>
                  <a:pt x="4046450" y="443052"/>
                  <a:pt x="4038293" y="428192"/>
                </a:cubicBezTo>
                <a:close/>
                <a:moveTo>
                  <a:pt x="4522236" y="422164"/>
                </a:moveTo>
                <a:lnTo>
                  <a:pt x="4530801" y="424292"/>
                </a:lnTo>
                <a:lnTo>
                  <a:pt x="4521853" y="428884"/>
                </a:lnTo>
                <a:cubicBezTo>
                  <a:pt x="4520296" y="429416"/>
                  <a:pt x="4518740" y="429550"/>
                  <a:pt x="4517182" y="428884"/>
                </a:cubicBezTo>
                <a:lnTo>
                  <a:pt x="4512897" y="424486"/>
                </a:lnTo>
                <a:close/>
                <a:moveTo>
                  <a:pt x="3414614" y="419773"/>
                </a:moveTo>
                <a:cubicBezTo>
                  <a:pt x="3410419" y="419773"/>
                  <a:pt x="3404125" y="426000"/>
                  <a:pt x="3402028" y="430152"/>
                </a:cubicBezTo>
                <a:cubicBezTo>
                  <a:pt x="3399930" y="436379"/>
                  <a:pt x="3402028" y="440531"/>
                  <a:pt x="3412517" y="442608"/>
                </a:cubicBezTo>
                <a:cubicBezTo>
                  <a:pt x="3416712" y="442608"/>
                  <a:pt x="3418810" y="436379"/>
                  <a:pt x="3418810" y="430152"/>
                </a:cubicBezTo>
                <a:cubicBezTo>
                  <a:pt x="3418810" y="426000"/>
                  <a:pt x="3420907" y="417696"/>
                  <a:pt x="3414614" y="419773"/>
                </a:cubicBezTo>
                <a:close/>
                <a:moveTo>
                  <a:pt x="3553551" y="418252"/>
                </a:moveTo>
                <a:cubicBezTo>
                  <a:pt x="3551865" y="418027"/>
                  <a:pt x="3549164" y="419052"/>
                  <a:pt x="3544845" y="422124"/>
                </a:cubicBezTo>
                <a:cubicBezTo>
                  <a:pt x="3540526" y="424173"/>
                  <a:pt x="3534048" y="426221"/>
                  <a:pt x="3529730" y="428271"/>
                </a:cubicBezTo>
                <a:cubicBezTo>
                  <a:pt x="3538368" y="434416"/>
                  <a:pt x="3544845" y="438512"/>
                  <a:pt x="3553484" y="440562"/>
                </a:cubicBezTo>
                <a:cubicBezTo>
                  <a:pt x="3559962" y="442610"/>
                  <a:pt x="3566440" y="438512"/>
                  <a:pt x="3557802" y="432367"/>
                </a:cubicBezTo>
                <a:cubicBezTo>
                  <a:pt x="3554563" y="430830"/>
                  <a:pt x="3558612" y="418923"/>
                  <a:pt x="3553551" y="418252"/>
                </a:cubicBezTo>
                <a:close/>
                <a:moveTo>
                  <a:pt x="3449441" y="415971"/>
                </a:moveTo>
                <a:lnTo>
                  <a:pt x="3460890" y="417841"/>
                </a:lnTo>
                <a:cubicBezTo>
                  <a:pt x="3465874" y="417579"/>
                  <a:pt x="3469546" y="417579"/>
                  <a:pt x="3467446" y="421771"/>
                </a:cubicBezTo>
                <a:cubicBezTo>
                  <a:pt x="3462988" y="428580"/>
                  <a:pt x="3459940" y="434278"/>
                  <a:pt x="3458050" y="439054"/>
                </a:cubicBezTo>
                <a:lnTo>
                  <a:pt x="3455639" y="450678"/>
                </a:lnTo>
                <a:lnTo>
                  <a:pt x="3450890" y="444035"/>
                </a:lnTo>
                <a:cubicBezTo>
                  <a:pt x="3448823" y="437225"/>
                  <a:pt x="3448562" y="428580"/>
                  <a:pt x="3450660" y="417579"/>
                </a:cubicBezTo>
                <a:close/>
                <a:moveTo>
                  <a:pt x="3449160" y="415600"/>
                </a:moveTo>
                <a:lnTo>
                  <a:pt x="3449441" y="415971"/>
                </a:lnTo>
                <a:lnTo>
                  <a:pt x="3448635" y="415838"/>
                </a:lnTo>
                <a:close/>
                <a:moveTo>
                  <a:pt x="4518740" y="400654"/>
                </a:moveTo>
                <a:cubicBezTo>
                  <a:pt x="4510436" y="400654"/>
                  <a:pt x="4514588" y="415568"/>
                  <a:pt x="4512512" y="424091"/>
                </a:cubicBezTo>
                <a:lnTo>
                  <a:pt x="4512897" y="424486"/>
                </a:lnTo>
                <a:lnTo>
                  <a:pt x="4512738" y="424525"/>
                </a:lnTo>
                <a:cubicBezTo>
                  <a:pt x="4478970" y="441307"/>
                  <a:pt x="4516959" y="451796"/>
                  <a:pt x="4519070" y="466479"/>
                </a:cubicBezTo>
                <a:cubicBezTo>
                  <a:pt x="4519070" y="472773"/>
                  <a:pt x="4535955" y="470675"/>
                  <a:pt x="4544396" y="462284"/>
                </a:cubicBezTo>
                <a:cubicBezTo>
                  <a:pt x="4565502" y="439209"/>
                  <a:pt x="4519070" y="443405"/>
                  <a:pt x="4531734" y="424525"/>
                </a:cubicBezTo>
                <a:lnTo>
                  <a:pt x="4530801" y="424292"/>
                </a:lnTo>
                <a:lnTo>
                  <a:pt x="4531195" y="424091"/>
                </a:lnTo>
                <a:cubicBezTo>
                  <a:pt x="4535348" y="411306"/>
                  <a:pt x="4527044" y="400654"/>
                  <a:pt x="4518740" y="400654"/>
                </a:cubicBezTo>
                <a:close/>
                <a:moveTo>
                  <a:pt x="4226630" y="398486"/>
                </a:moveTo>
                <a:lnTo>
                  <a:pt x="4226932" y="398486"/>
                </a:lnTo>
                <a:lnTo>
                  <a:pt x="4227306" y="399338"/>
                </a:lnTo>
                <a:lnTo>
                  <a:pt x="4225234" y="399338"/>
                </a:lnTo>
                <a:close/>
                <a:moveTo>
                  <a:pt x="4226920" y="398456"/>
                </a:moveTo>
                <a:lnTo>
                  <a:pt x="4227238" y="398486"/>
                </a:lnTo>
                <a:lnTo>
                  <a:pt x="4226932" y="398486"/>
                </a:lnTo>
                <a:close/>
                <a:moveTo>
                  <a:pt x="4226869" y="398340"/>
                </a:moveTo>
                <a:lnTo>
                  <a:pt x="4226920" y="398456"/>
                </a:lnTo>
                <a:lnTo>
                  <a:pt x="4226708" y="398438"/>
                </a:lnTo>
                <a:close/>
                <a:moveTo>
                  <a:pt x="4212226" y="397151"/>
                </a:moveTo>
                <a:lnTo>
                  <a:pt x="4226708" y="398438"/>
                </a:lnTo>
                <a:lnTo>
                  <a:pt x="4226630" y="398486"/>
                </a:lnTo>
                <a:lnTo>
                  <a:pt x="4225084" y="398486"/>
                </a:lnTo>
                <a:cubicBezTo>
                  <a:pt x="4216467" y="404732"/>
                  <a:pt x="4218622" y="421391"/>
                  <a:pt x="4197082" y="425557"/>
                </a:cubicBezTo>
                <a:cubicBezTo>
                  <a:pt x="4205158" y="414624"/>
                  <a:pt x="4202330" y="400177"/>
                  <a:pt x="4212226" y="397151"/>
                </a:cubicBezTo>
                <a:close/>
                <a:moveTo>
                  <a:pt x="3276176" y="378371"/>
                </a:moveTo>
                <a:lnTo>
                  <a:pt x="3274064" y="380458"/>
                </a:lnTo>
                <a:lnTo>
                  <a:pt x="3276563" y="380285"/>
                </a:lnTo>
                <a:lnTo>
                  <a:pt x="3280401" y="399231"/>
                </a:lnTo>
                <a:cubicBezTo>
                  <a:pt x="3286737" y="407573"/>
                  <a:pt x="3286737" y="420089"/>
                  <a:pt x="3297299" y="422176"/>
                </a:cubicBezTo>
                <a:cubicBezTo>
                  <a:pt x="3301524" y="424260"/>
                  <a:pt x="3307861" y="415917"/>
                  <a:pt x="3309973" y="409660"/>
                </a:cubicBezTo>
                <a:cubicBezTo>
                  <a:pt x="3312086" y="399231"/>
                  <a:pt x="3303636" y="388801"/>
                  <a:pt x="3295187" y="380458"/>
                </a:cubicBezTo>
                <a:cubicBezTo>
                  <a:pt x="3293075" y="379414"/>
                  <a:pt x="3289378" y="379414"/>
                  <a:pt x="3285418" y="379676"/>
                </a:cubicBezTo>
                <a:lnTo>
                  <a:pt x="3276563" y="380285"/>
                </a:lnTo>
                <a:close/>
                <a:moveTo>
                  <a:pt x="3350451" y="363331"/>
                </a:moveTo>
                <a:lnTo>
                  <a:pt x="3362927" y="366905"/>
                </a:lnTo>
                <a:cubicBezTo>
                  <a:pt x="3378054" y="367599"/>
                  <a:pt x="3397037" y="363231"/>
                  <a:pt x="3392291" y="388646"/>
                </a:cubicBezTo>
                <a:cubicBezTo>
                  <a:pt x="3389127" y="404532"/>
                  <a:pt x="3380032" y="395398"/>
                  <a:pt x="3372122" y="389837"/>
                </a:cubicBezTo>
                <a:lnTo>
                  <a:pt x="3371838" y="389709"/>
                </a:lnTo>
                <a:lnTo>
                  <a:pt x="3370918" y="388242"/>
                </a:lnTo>
                <a:cubicBezTo>
                  <a:pt x="3368819" y="384052"/>
                  <a:pt x="3364622" y="381956"/>
                  <a:pt x="3362524" y="377765"/>
                </a:cubicBezTo>
                <a:close/>
                <a:moveTo>
                  <a:pt x="1182328" y="354773"/>
                </a:moveTo>
                <a:cubicBezTo>
                  <a:pt x="1178132" y="358969"/>
                  <a:pt x="1169741" y="363164"/>
                  <a:pt x="1169741" y="367360"/>
                </a:cubicBezTo>
                <a:cubicBezTo>
                  <a:pt x="1169741" y="384142"/>
                  <a:pt x="1182328" y="394630"/>
                  <a:pt x="1197012" y="396728"/>
                </a:cubicBezTo>
                <a:cubicBezTo>
                  <a:pt x="1207502" y="396728"/>
                  <a:pt x="1201207" y="379947"/>
                  <a:pt x="1211697" y="377849"/>
                </a:cubicBezTo>
                <a:cubicBezTo>
                  <a:pt x="1209599" y="358969"/>
                  <a:pt x="1190719" y="363164"/>
                  <a:pt x="1182328" y="354773"/>
                </a:cubicBezTo>
                <a:close/>
                <a:moveTo>
                  <a:pt x="4004350" y="353457"/>
                </a:moveTo>
                <a:cubicBezTo>
                  <a:pt x="3991928" y="363807"/>
                  <a:pt x="3979508" y="374158"/>
                  <a:pt x="3965017" y="386579"/>
                </a:cubicBezTo>
                <a:cubicBezTo>
                  <a:pt x="3989858" y="392790"/>
                  <a:pt x="3998139" y="376228"/>
                  <a:pt x="4004350" y="353457"/>
                </a:cubicBezTo>
                <a:close/>
                <a:moveTo>
                  <a:pt x="4562294" y="352448"/>
                </a:moveTo>
                <a:cubicBezTo>
                  <a:pt x="4559438" y="354037"/>
                  <a:pt x="4557362" y="356685"/>
                  <a:pt x="4558400" y="358802"/>
                </a:cubicBezTo>
                <a:cubicBezTo>
                  <a:pt x="4560475" y="371510"/>
                  <a:pt x="4566704" y="382099"/>
                  <a:pt x="4577085" y="403278"/>
                </a:cubicBezTo>
                <a:cubicBezTo>
                  <a:pt x="4575008" y="377864"/>
                  <a:pt x="4581235" y="363038"/>
                  <a:pt x="4570856" y="352448"/>
                </a:cubicBezTo>
                <a:cubicBezTo>
                  <a:pt x="4568779" y="350330"/>
                  <a:pt x="4565147" y="350860"/>
                  <a:pt x="4562294" y="352448"/>
                </a:cubicBezTo>
                <a:close/>
                <a:moveTo>
                  <a:pt x="4499944" y="342936"/>
                </a:moveTo>
                <a:cubicBezTo>
                  <a:pt x="4495954" y="343164"/>
                  <a:pt x="4491664" y="344726"/>
                  <a:pt x="4486836" y="348369"/>
                </a:cubicBezTo>
                <a:cubicBezTo>
                  <a:pt x="4510436" y="369195"/>
                  <a:pt x="4510436" y="369195"/>
                  <a:pt x="4534036" y="356700"/>
                </a:cubicBezTo>
                <a:cubicBezTo>
                  <a:pt x="4521164" y="353576"/>
                  <a:pt x="4511911" y="342254"/>
                  <a:pt x="4499944" y="342936"/>
                </a:cubicBezTo>
                <a:close/>
                <a:moveTo>
                  <a:pt x="4237656" y="333784"/>
                </a:moveTo>
                <a:cubicBezTo>
                  <a:pt x="4245937" y="333784"/>
                  <a:pt x="4252148" y="335898"/>
                  <a:pt x="4252148" y="346471"/>
                </a:cubicBezTo>
                <a:cubicBezTo>
                  <a:pt x="4249042" y="360745"/>
                  <a:pt x="4250596" y="378588"/>
                  <a:pt x="4240212" y="390186"/>
                </a:cubicBezTo>
                <a:lnTo>
                  <a:pt x="4226869" y="398340"/>
                </a:lnTo>
                <a:lnTo>
                  <a:pt x="4221451" y="385957"/>
                </a:lnTo>
                <a:cubicBezTo>
                  <a:pt x="4219802" y="371980"/>
                  <a:pt x="4228341" y="356516"/>
                  <a:pt x="4225234" y="342241"/>
                </a:cubicBezTo>
                <a:cubicBezTo>
                  <a:pt x="4225234" y="335898"/>
                  <a:pt x="4231446" y="333784"/>
                  <a:pt x="4237656" y="333784"/>
                </a:cubicBezTo>
                <a:close/>
                <a:moveTo>
                  <a:pt x="3225553" y="327239"/>
                </a:moveTo>
                <a:cubicBezTo>
                  <a:pt x="3233542" y="353985"/>
                  <a:pt x="3242731" y="368932"/>
                  <a:pt x="3258510" y="374734"/>
                </a:cubicBezTo>
                <a:lnTo>
                  <a:pt x="3273930" y="377153"/>
                </a:lnTo>
                <a:lnTo>
                  <a:pt x="3274556" y="379682"/>
                </a:lnTo>
                <a:lnTo>
                  <a:pt x="3276688" y="377585"/>
                </a:lnTo>
                <a:lnTo>
                  <a:pt x="3273930" y="377153"/>
                </a:lnTo>
                <a:lnTo>
                  <a:pt x="3270195" y="362049"/>
                </a:lnTo>
                <a:cubicBezTo>
                  <a:pt x="3263104" y="346906"/>
                  <a:pt x="3247924" y="338252"/>
                  <a:pt x="3225553" y="327239"/>
                </a:cubicBezTo>
                <a:close/>
                <a:moveTo>
                  <a:pt x="3971134" y="309131"/>
                </a:moveTo>
                <a:cubicBezTo>
                  <a:pt x="3977689" y="304935"/>
                  <a:pt x="3982061" y="313326"/>
                  <a:pt x="3979874" y="317521"/>
                </a:cubicBezTo>
                <a:cubicBezTo>
                  <a:pt x="3977689" y="325912"/>
                  <a:pt x="3973320" y="325912"/>
                  <a:pt x="3962393" y="323814"/>
                </a:cubicBezTo>
                <a:cubicBezTo>
                  <a:pt x="3962393" y="323814"/>
                  <a:pt x="3958024" y="321716"/>
                  <a:pt x="3955838" y="321716"/>
                </a:cubicBezTo>
                <a:cubicBezTo>
                  <a:pt x="3960208" y="317521"/>
                  <a:pt x="3964578" y="311228"/>
                  <a:pt x="3971134" y="309131"/>
                </a:cubicBezTo>
                <a:close/>
                <a:moveTo>
                  <a:pt x="4129998" y="301002"/>
                </a:moveTo>
                <a:cubicBezTo>
                  <a:pt x="4129998" y="307296"/>
                  <a:pt x="4134149" y="311492"/>
                  <a:pt x="4132073" y="315687"/>
                </a:cubicBezTo>
                <a:cubicBezTo>
                  <a:pt x="4129998" y="332469"/>
                  <a:pt x="4117541" y="324078"/>
                  <a:pt x="4109238" y="324078"/>
                </a:cubicBezTo>
                <a:cubicBezTo>
                  <a:pt x="4113390" y="313590"/>
                  <a:pt x="4119618" y="305199"/>
                  <a:pt x="4129998" y="301002"/>
                </a:cubicBezTo>
                <a:close/>
                <a:moveTo>
                  <a:pt x="4036307" y="300800"/>
                </a:moveTo>
                <a:lnTo>
                  <a:pt x="4037830" y="300800"/>
                </a:lnTo>
                <a:lnTo>
                  <a:pt x="4037856" y="301004"/>
                </a:lnTo>
                <a:lnTo>
                  <a:pt x="4036219" y="301004"/>
                </a:lnTo>
                <a:close/>
                <a:moveTo>
                  <a:pt x="4037812" y="300661"/>
                </a:moveTo>
                <a:lnTo>
                  <a:pt x="4038438" y="300800"/>
                </a:lnTo>
                <a:lnTo>
                  <a:pt x="4037830" y="300800"/>
                </a:lnTo>
                <a:close/>
                <a:moveTo>
                  <a:pt x="4037734" y="300046"/>
                </a:moveTo>
                <a:lnTo>
                  <a:pt x="4037812" y="300661"/>
                </a:lnTo>
                <a:lnTo>
                  <a:pt x="4036891" y="300457"/>
                </a:lnTo>
                <a:close/>
                <a:moveTo>
                  <a:pt x="4019263" y="294446"/>
                </a:moveTo>
                <a:lnTo>
                  <a:pt x="4019263" y="296563"/>
                </a:lnTo>
                <a:lnTo>
                  <a:pt x="4036891" y="300457"/>
                </a:lnTo>
                <a:lnTo>
                  <a:pt x="4035767" y="301004"/>
                </a:lnTo>
                <a:lnTo>
                  <a:pt x="4036219" y="301004"/>
                </a:lnTo>
                <a:lnTo>
                  <a:pt x="4029651" y="316154"/>
                </a:lnTo>
                <a:cubicBezTo>
                  <a:pt x="4025654" y="318802"/>
                  <a:pt x="4020328" y="318802"/>
                  <a:pt x="4015002" y="315625"/>
                </a:cubicBezTo>
                <a:cubicBezTo>
                  <a:pt x="4004350" y="309272"/>
                  <a:pt x="4019263" y="302918"/>
                  <a:pt x="4019263" y="294446"/>
                </a:cubicBezTo>
                <a:close/>
                <a:moveTo>
                  <a:pt x="4018770" y="294009"/>
                </a:moveTo>
                <a:cubicBezTo>
                  <a:pt x="4018770" y="294009"/>
                  <a:pt x="4018770" y="296084"/>
                  <a:pt x="4016711" y="296084"/>
                </a:cubicBezTo>
                <a:lnTo>
                  <a:pt x="4015744" y="294887"/>
                </a:lnTo>
                <a:close/>
                <a:moveTo>
                  <a:pt x="4001934" y="281196"/>
                </a:moveTo>
                <a:cubicBezTo>
                  <a:pt x="4004156" y="281876"/>
                  <a:pt x="4006023" y="283240"/>
                  <a:pt x="4007697" y="284926"/>
                </a:cubicBezTo>
                <a:lnTo>
                  <a:pt x="4015744" y="294887"/>
                </a:lnTo>
                <a:lnTo>
                  <a:pt x="4003578" y="298419"/>
                </a:lnTo>
                <a:cubicBezTo>
                  <a:pt x="3998683" y="298679"/>
                  <a:pt x="3994048" y="297123"/>
                  <a:pt x="3989928" y="291933"/>
                </a:cubicBezTo>
                <a:cubicBezTo>
                  <a:pt x="3989928" y="291933"/>
                  <a:pt x="3991986" y="281554"/>
                  <a:pt x="3994048" y="281554"/>
                </a:cubicBezTo>
                <a:cubicBezTo>
                  <a:pt x="3997137" y="280515"/>
                  <a:pt x="3999713" y="280515"/>
                  <a:pt x="4001934" y="281196"/>
                </a:cubicBezTo>
                <a:close/>
                <a:moveTo>
                  <a:pt x="1547421" y="278623"/>
                </a:moveTo>
                <a:cubicBezTo>
                  <a:pt x="1545047" y="278166"/>
                  <a:pt x="1542836" y="278950"/>
                  <a:pt x="1540755" y="282082"/>
                </a:cubicBezTo>
                <a:cubicBezTo>
                  <a:pt x="1532433" y="290435"/>
                  <a:pt x="1530351" y="284170"/>
                  <a:pt x="1528271" y="282082"/>
                </a:cubicBezTo>
                <a:cubicBezTo>
                  <a:pt x="1511627" y="277906"/>
                  <a:pt x="1505384" y="286258"/>
                  <a:pt x="1515788" y="296698"/>
                </a:cubicBezTo>
                <a:cubicBezTo>
                  <a:pt x="1532433" y="309227"/>
                  <a:pt x="1553240" y="319667"/>
                  <a:pt x="1571965" y="323843"/>
                </a:cubicBezTo>
                <a:cubicBezTo>
                  <a:pt x="1580289" y="325931"/>
                  <a:pt x="1601096" y="321755"/>
                  <a:pt x="1601096" y="305050"/>
                </a:cubicBezTo>
                <a:cubicBezTo>
                  <a:pt x="1601096" y="286258"/>
                  <a:pt x="1586531" y="279994"/>
                  <a:pt x="1574047" y="286258"/>
                </a:cubicBezTo>
                <a:cubicBezTo>
                  <a:pt x="1563124" y="292522"/>
                  <a:pt x="1554540" y="279994"/>
                  <a:pt x="1547421" y="278623"/>
                </a:cubicBezTo>
                <a:close/>
                <a:moveTo>
                  <a:pt x="4062912" y="264294"/>
                </a:moveTo>
                <a:cubicBezTo>
                  <a:pt x="4067089" y="266452"/>
                  <a:pt x="4071264" y="266452"/>
                  <a:pt x="4073353" y="270772"/>
                </a:cubicBezTo>
                <a:cubicBezTo>
                  <a:pt x="4081706" y="277250"/>
                  <a:pt x="4073353" y="281569"/>
                  <a:pt x="4071264" y="283729"/>
                </a:cubicBezTo>
                <a:lnTo>
                  <a:pt x="4037734" y="300046"/>
                </a:lnTo>
                <a:lnTo>
                  <a:pt x="4035897" y="285550"/>
                </a:lnTo>
                <a:cubicBezTo>
                  <a:pt x="4040205" y="274820"/>
                  <a:pt x="4059780" y="275631"/>
                  <a:pt x="4062912" y="264294"/>
                </a:cubicBezTo>
                <a:close/>
                <a:moveTo>
                  <a:pt x="3536659" y="262989"/>
                </a:moveTo>
                <a:cubicBezTo>
                  <a:pt x="3534599" y="262989"/>
                  <a:pt x="3528418" y="269344"/>
                  <a:pt x="3528418" y="271460"/>
                </a:cubicBezTo>
                <a:cubicBezTo>
                  <a:pt x="3532539" y="282051"/>
                  <a:pt x="3536659" y="290523"/>
                  <a:pt x="3557262" y="286286"/>
                </a:cubicBezTo>
                <a:cubicBezTo>
                  <a:pt x="3542840" y="279933"/>
                  <a:pt x="3551081" y="262989"/>
                  <a:pt x="3536659" y="262989"/>
                </a:cubicBezTo>
                <a:close/>
                <a:moveTo>
                  <a:pt x="4126117" y="259456"/>
                </a:moveTo>
                <a:cubicBezTo>
                  <a:pt x="4130084" y="260429"/>
                  <a:pt x="4134149" y="263802"/>
                  <a:pt x="4138345" y="271068"/>
                </a:cubicBezTo>
                <a:cubicBezTo>
                  <a:pt x="4140443" y="273144"/>
                  <a:pt x="4155126" y="271068"/>
                  <a:pt x="4144638" y="279372"/>
                </a:cubicBezTo>
                <a:cubicBezTo>
                  <a:pt x="4127856" y="291827"/>
                  <a:pt x="4108976" y="273144"/>
                  <a:pt x="4092194" y="275220"/>
                </a:cubicBezTo>
                <a:cubicBezTo>
                  <a:pt x="4103206" y="275220"/>
                  <a:pt x="4114219" y="256536"/>
                  <a:pt x="4126117" y="259456"/>
                </a:cubicBezTo>
                <a:close/>
                <a:moveTo>
                  <a:pt x="4315082" y="253803"/>
                </a:moveTo>
                <a:cubicBezTo>
                  <a:pt x="4321374" y="258039"/>
                  <a:pt x="4329242" y="259098"/>
                  <a:pt x="4335009" y="261745"/>
                </a:cubicBezTo>
                <a:lnTo>
                  <a:pt x="4335741" y="262382"/>
                </a:lnTo>
                <a:lnTo>
                  <a:pt x="4338318" y="272992"/>
                </a:lnTo>
                <a:lnTo>
                  <a:pt x="4335469" y="277729"/>
                </a:lnTo>
                <a:lnTo>
                  <a:pt x="4323996" y="275246"/>
                </a:lnTo>
                <a:cubicBezTo>
                  <a:pt x="4319276" y="271276"/>
                  <a:pt x="4316130" y="264392"/>
                  <a:pt x="4315082" y="253803"/>
                </a:cubicBezTo>
                <a:close/>
                <a:moveTo>
                  <a:pt x="3099687" y="252507"/>
                </a:moveTo>
                <a:cubicBezTo>
                  <a:pt x="3110233" y="273366"/>
                  <a:pt x="3110233" y="294224"/>
                  <a:pt x="3133434" y="298397"/>
                </a:cubicBezTo>
                <a:cubicBezTo>
                  <a:pt x="3139761" y="298397"/>
                  <a:pt x="3148198" y="298397"/>
                  <a:pt x="3146090" y="290053"/>
                </a:cubicBezTo>
                <a:cubicBezTo>
                  <a:pt x="3141870" y="273366"/>
                  <a:pt x="3127106" y="262936"/>
                  <a:pt x="3112342" y="252507"/>
                </a:cubicBezTo>
                <a:cubicBezTo>
                  <a:pt x="3110233" y="252507"/>
                  <a:pt x="3108124" y="252507"/>
                  <a:pt x="3099687" y="252507"/>
                </a:cubicBezTo>
                <a:close/>
                <a:moveTo>
                  <a:pt x="1868559" y="249873"/>
                </a:moveTo>
                <a:cubicBezTo>
                  <a:pt x="1922792" y="260362"/>
                  <a:pt x="1937393" y="300220"/>
                  <a:pt x="1960337" y="329588"/>
                </a:cubicBezTo>
                <a:cubicBezTo>
                  <a:pt x="1931135" y="333784"/>
                  <a:pt x="1933220" y="331686"/>
                  <a:pt x="1916534" y="304415"/>
                </a:cubicBezTo>
                <a:cubicBezTo>
                  <a:pt x="1906106" y="285536"/>
                  <a:pt x="1889417" y="272948"/>
                  <a:pt x="1868559" y="249873"/>
                </a:cubicBezTo>
                <a:close/>
                <a:moveTo>
                  <a:pt x="4201452" y="235450"/>
                </a:moveTo>
                <a:cubicBezTo>
                  <a:pt x="4207680" y="239679"/>
                  <a:pt x="4213908" y="241793"/>
                  <a:pt x="4218058" y="243908"/>
                </a:cubicBezTo>
                <a:cubicBezTo>
                  <a:pt x="4205604" y="269285"/>
                  <a:pt x="4199375" y="288317"/>
                  <a:pt x="4180693" y="296775"/>
                </a:cubicBezTo>
                <a:cubicBezTo>
                  <a:pt x="4172390" y="301005"/>
                  <a:pt x="4170312" y="292547"/>
                  <a:pt x="4170312" y="284087"/>
                </a:cubicBezTo>
                <a:cubicBezTo>
                  <a:pt x="4168237" y="260827"/>
                  <a:pt x="4199375" y="258712"/>
                  <a:pt x="4201452" y="235450"/>
                </a:cubicBezTo>
                <a:close/>
                <a:moveTo>
                  <a:pt x="3511374" y="229202"/>
                </a:moveTo>
                <a:cubicBezTo>
                  <a:pt x="3492312" y="224968"/>
                  <a:pt x="3485958" y="233438"/>
                  <a:pt x="3483840" y="244029"/>
                </a:cubicBezTo>
                <a:cubicBezTo>
                  <a:pt x="3483840" y="246147"/>
                  <a:pt x="3488076" y="252500"/>
                  <a:pt x="3490194" y="252500"/>
                </a:cubicBezTo>
                <a:cubicBezTo>
                  <a:pt x="3507138" y="250383"/>
                  <a:pt x="3498666" y="235558"/>
                  <a:pt x="3511374" y="229202"/>
                </a:cubicBezTo>
                <a:close/>
                <a:moveTo>
                  <a:pt x="3425402" y="226654"/>
                </a:moveTo>
                <a:cubicBezTo>
                  <a:pt x="3419222" y="228808"/>
                  <a:pt x="3417162" y="235269"/>
                  <a:pt x="3413040" y="239577"/>
                </a:cubicBezTo>
                <a:cubicBezTo>
                  <a:pt x="3419222" y="241731"/>
                  <a:pt x="3423342" y="246039"/>
                  <a:pt x="3431584" y="248193"/>
                </a:cubicBezTo>
                <a:cubicBezTo>
                  <a:pt x="3441886" y="252500"/>
                  <a:pt x="3433644" y="241731"/>
                  <a:pt x="3437764" y="237423"/>
                </a:cubicBezTo>
                <a:cubicBezTo>
                  <a:pt x="3437764" y="228808"/>
                  <a:pt x="3433644" y="222346"/>
                  <a:pt x="3425402" y="226654"/>
                </a:cubicBezTo>
                <a:close/>
                <a:moveTo>
                  <a:pt x="3927580" y="223340"/>
                </a:moveTo>
                <a:cubicBezTo>
                  <a:pt x="3932988" y="225943"/>
                  <a:pt x="3937109" y="234794"/>
                  <a:pt x="3945350" y="252494"/>
                </a:cubicBezTo>
                <a:cubicBezTo>
                  <a:pt x="3926808" y="244164"/>
                  <a:pt x="3914446" y="237917"/>
                  <a:pt x="3902084" y="231670"/>
                </a:cubicBezTo>
                <a:cubicBezTo>
                  <a:pt x="3915476" y="224382"/>
                  <a:pt x="3922172" y="220737"/>
                  <a:pt x="3927580" y="223340"/>
                </a:cubicBezTo>
                <a:close/>
                <a:moveTo>
                  <a:pt x="3794718" y="218401"/>
                </a:moveTo>
                <a:cubicBezTo>
                  <a:pt x="3798797" y="222554"/>
                  <a:pt x="3804916" y="226706"/>
                  <a:pt x="3806955" y="230857"/>
                </a:cubicBezTo>
                <a:cubicBezTo>
                  <a:pt x="3808994" y="237085"/>
                  <a:pt x="3806955" y="241237"/>
                  <a:pt x="3798797" y="243312"/>
                </a:cubicBezTo>
                <a:cubicBezTo>
                  <a:pt x="3792678" y="243312"/>
                  <a:pt x="3790640" y="239161"/>
                  <a:pt x="3790640" y="232933"/>
                </a:cubicBezTo>
                <a:cubicBezTo>
                  <a:pt x="3790640" y="228780"/>
                  <a:pt x="3792678" y="224629"/>
                  <a:pt x="3794718" y="218401"/>
                </a:cubicBezTo>
                <a:close/>
                <a:moveTo>
                  <a:pt x="3585320" y="192640"/>
                </a:moveTo>
                <a:cubicBezTo>
                  <a:pt x="3577848" y="192842"/>
                  <a:pt x="3572734" y="200887"/>
                  <a:pt x="3566440" y="204105"/>
                </a:cubicBezTo>
                <a:cubicBezTo>
                  <a:pt x="3576929" y="208395"/>
                  <a:pt x="3587418" y="210541"/>
                  <a:pt x="3597907" y="201959"/>
                </a:cubicBezTo>
                <a:cubicBezTo>
                  <a:pt x="3597907" y="201959"/>
                  <a:pt x="3595810" y="197667"/>
                  <a:pt x="3593712" y="195523"/>
                </a:cubicBezTo>
                <a:cubicBezTo>
                  <a:pt x="3590564" y="193378"/>
                  <a:pt x="3587812" y="192573"/>
                  <a:pt x="3585320" y="192640"/>
                </a:cubicBezTo>
                <a:close/>
                <a:moveTo>
                  <a:pt x="4136307" y="158093"/>
                </a:moveTo>
                <a:cubicBezTo>
                  <a:pt x="4147106" y="160223"/>
                  <a:pt x="4160062" y="164485"/>
                  <a:pt x="4170860" y="166615"/>
                </a:cubicBezTo>
                <a:cubicBezTo>
                  <a:pt x="4170860" y="170875"/>
                  <a:pt x="4168700" y="173007"/>
                  <a:pt x="4168700" y="175137"/>
                </a:cubicBezTo>
                <a:cubicBezTo>
                  <a:pt x="4157902" y="173007"/>
                  <a:pt x="4144946" y="170875"/>
                  <a:pt x="4134149" y="166615"/>
                </a:cubicBezTo>
                <a:cubicBezTo>
                  <a:pt x="4134149" y="164485"/>
                  <a:pt x="4134149" y="160223"/>
                  <a:pt x="4136307" y="158093"/>
                </a:cubicBezTo>
                <a:close/>
                <a:moveTo>
                  <a:pt x="3041998" y="157355"/>
                </a:moveTo>
                <a:cubicBezTo>
                  <a:pt x="3060815" y="182665"/>
                  <a:pt x="3104719" y="148917"/>
                  <a:pt x="3119355" y="184772"/>
                </a:cubicBezTo>
                <a:cubicBezTo>
                  <a:pt x="3058723" y="197428"/>
                  <a:pt x="3058723" y="197428"/>
                  <a:pt x="3041998" y="157355"/>
                </a:cubicBezTo>
                <a:close/>
                <a:moveTo>
                  <a:pt x="3734393" y="156820"/>
                </a:moveTo>
                <a:cubicBezTo>
                  <a:pt x="3738982" y="156948"/>
                  <a:pt x="3744226" y="158506"/>
                  <a:pt x="3750520" y="162139"/>
                </a:cubicBezTo>
                <a:cubicBezTo>
                  <a:pt x="3773596" y="174594"/>
                  <a:pt x="3761008" y="187050"/>
                  <a:pt x="3763106" y="201581"/>
                </a:cubicBezTo>
                <a:cubicBezTo>
                  <a:pt x="3765204" y="211960"/>
                  <a:pt x="3754715" y="222340"/>
                  <a:pt x="3750520" y="222340"/>
                </a:cubicBezTo>
                <a:cubicBezTo>
                  <a:pt x="3742128" y="218188"/>
                  <a:pt x="3727444" y="207808"/>
                  <a:pt x="3729542" y="203658"/>
                </a:cubicBezTo>
                <a:cubicBezTo>
                  <a:pt x="3740031" y="174594"/>
                  <a:pt x="3719052" y="178746"/>
                  <a:pt x="3700173" y="176669"/>
                </a:cubicBezTo>
                <a:cubicBezTo>
                  <a:pt x="3712760" y="168885"/>
                  <a:pt x="3720626" y="156430"/>
                  <a:pt x="3734393" y="156820"/>
                </a:cubicBezTo>
                <a:close/>
                <a:moveTo>
                  <a:pt x="3454833" y="141244"/>
                </a:moveTo>
                <a:cubicBezTo>
                  <a:pt x="3452701" y="141244"/>
                  <a:pt x="3448442" y="149486"/>
                  <a:pt x="3448442" y="149486"/>
                </a:cubicBezTo>
                <a:cubicBezTo>
                  <a:pt x="3456963" y="159787"/>
                  <a:pt x="3467616" y="165968"/>
                  <a:pt x="3482530" y="157727"/>
                </a:cubicBezTo>
                <a:cubicBezTo>
                  <a:pt x="3465486" y="161848"/>
                  <a:pt x="3471877" y="137124"/>
                  <a:pt x="3454833" y="141244"/>
                </a:cubicBezTo>
                <a:close/>
                <a:moveTo>
                  <a:pt x="3874781" y="139738"/>
                </a:moveTo>
                <a:cubicBezTo>
                  <a:pt x="3889358" y="152051"/>
                  <a:pt x="3906018" y="154103"/>
                  <a:pt x="3901853" y="172574"/>
                </a:cubicBezTo>
                <a:cubicBezTo>
                  <a:pt x="3899770" y="178729"/>
                  <a:pt x="3895604" y="182834"/>
                  <a:pt x="3893524" y="186938"/>
                </a:cubicBezTo>
                <a:cubicBezTo>
                  <a:pt x="3893524" y="170521"/>
                  <a:pt x="3870616" y="166417"/>
                  <a:pt x="3874781" y="139738"/>
                </a:cubicBezTo>
                <a:close/>
                <a:moveTo>
                  <a:pt x="3786101" y="126624"/>
                </a:moveTo>
                <a:cubicBezTo>
                  <a:pt x="3794573" y="143523"/>
                  <a:pt x="3779748" y="147747"/>
                  <a:pt x="3777629" y="164646"/>
                </a:cubicBezTo>
                <a:cubicBezTo>
                  <a:pt x="3767039" y="143523"/>
                  <a:pt x="3775510" y="135073"/>
                  <a:pt x="3786101" y="126624"/>
                </a:cubicBezTo>
                <a:close/>
                <a:moveTo>
                  <a:pt x="4224476" y="122693"/>
                </a:moveTo>
                <a:cubicBezTo>
                  <a:pt x="4243730" y="122693"/>
                  <a:pt x="4245868" y="141573"/>
                  <a:pt x="4258704" y="149964"/>
                </a:cubicBezTo>
                <a:cubicBezTo>
                  <a:pt x="4239452" y="154160"/>
                  <a:pt x="4233034" y="135279"/>
                  <a:pt x="4218058" y="128986"/>
                </a:cubicBezTo>
                <a:cubicBezTo>
                  <a:pt x="4220198" y="126888"/>
                  <a:pt x="4222337" y="122693"/>
                  <a:pt x="4224476" y="122693"/>
                </a:cubicBezTo>
                <a:close/>
                <a:moveTo>
                  <a:pt x="3427180" y="83095"/>
                </a:moveTo>
                <a:lnTo>
                  <a:pt x="3427293" y="83473"/>
                </a:lnTo>
                <a:lnTo>
                  <a:pt x="3425478" y="86495"/>
                </a:lnTo>
                <a:close/>
                <a:moveTo>
                  <a:pt x="3408690" y="67635"/>
                </a:moveTo>
                <a:cubicBezTo>
                  <a:pt x="3416559" y="66063"/>
                  <a:pt x="3424428" y="66588"/>
                  <a:pt x="3431774" y="76017"/>
                </a:cubicBezTo>
                <a:lnTo>
                  <a:pt x="3430609" y="77954"/>
                </a:lnTo>
                <a:lnTo>
                  <a:pt x="3429674" y="78112"/>
                </a:lnTo>
                <a:lnTo>
                  <a:pt x="3427180" y="83095"/>
                </a:lnTo>
                <a:lnTo>
                  <a:pt x="3425304" y="76816"/>
                </a:lnTo>
                <a:cubicBezTo>
                  <a:pt x="3425304" y="76816"/>
                  <a:pt x="3425304" y="78892"/>
                  <a:pt x="3425304" y="78892"/>
                </a:cubicBezTo>
                <a:cubicBezTo>
                  <a:pt x="3416975" y="87196"/>
                  <a:pt x="3419057" y="97575"/>
                  <a:pt x="3419057" y="107955"/>
                </a:cubicBezTo>
                <a:cubicBezTo>
                  <a:pt x="3419057" y="114182"/>
                  <a:pt x="3416975" y="124562"/>
                  <a:pt x="3427387" y="124562"/>
                </a:cubicBezTo>
                <a:cubicBezTo>
                  <a:pt x="3431551" y="126638"/>
                  <a:pt x="3437798" y="124562"/>
                  <a:pt x="3435716" y="118334"/>
                </a:cubicBezTo>
                <a:cubicBezTo>
                  <a:pt x="3435716" y="112106"/>
                  <a:pt x="3452375" y="105879"/>
                  <a:pt x="3435716" y="99652"/>
                </a:cubicBezTo>
                <a:cubicBezTo>
                  <a:pt x="3430510" y="97575"/>
                  <a:pt x="3429468" y="93424"/>
                  <a:pt x="3428948" y="89012"/>
                </a:cubicBezTo>
                <a:lnTo>
                  <a:pt x="3427293" y="83473"/>
                </a:lnTo>
                <a:lnTo>
                  <a:pt x="3430609" y="77954"/>
                </a:lnTo>
                <a:lnTo>
                  <a:pt x="3445152" y="75493"/>
                </a:lnTo>
                <a:cubicBezTo>
                  <a:pt x="3450135" y="76540"/>
                  <a:pt x="3454856" y="79160"/>
                  <a:pt x="3459054" y="82304"/>
                </a:cubicBezTo>
                <a:cubicBezTo>
                  <a:pt x="3519910" y="126307"/>
                  <a:pt x="3589159" y="153550"/>
                  <a:pt x="3650016" y="193363"/>
                </a:cubicBezTo>
                <a:cubicBezTo>
                  <a:pt x="3666803" y="203841"/>
                  <a:pt x="3683591" y="216414"/>
                  <a:pt x="3704575" y="218510"/>
                </a:cubicBezTo>
                <a:cubicBezTo>
                  <a:pt x="3710871" y="218510"/>
                  <a:pt x="3721364" y="220605"/>
                  <a:pt x="3723462" y="226891"/>
                </a:cubicBezTo>
                <a:cubicBezTo>
                  <a:pt x="3754940" y="291851"/>
                  <a:pt x="3834681" y="287661"/>
                  <a:pt x="3876651" y="340047"/>
                </a:cubicBezTo>
                <a:cubicBezTo>
                  <a:pt x="3893439" y="358906"/>
                  <a:pt x="3922817" y="367287"/>
                  <a:pt x="3952196" y="340047"/>
                </a:cubicBezTo>
                <a:cubicBezTo>
                  <a:pt x="3977378" y="316997"/>
                  <a:pt x="4010953" y="327474"/>
                  <a:pt x="4029840" y="356811"/>
                </a:cubicBezTo>
                <a:cubicBezTo>
                  <a:pt x="4046626" y="381956"/>
                  <a:pt x="4038234" y="400815"/>
                  <a:pt x="4010953" y="409197"/>
                </a:cubicBezTo>
                <a:cubicBezTo>
                  <a:pt x="4015150" y="409197"/>
                  <a:pt x="4019348" y="407102"/>
                  <a:pt x="4023544" y="407102"/>
                </a:cubicBezTo>
                <a:cubicBezTo>
                  <a:pt x="4055022" y="398720"/>
                  <a:pt x="4088596" y="400815"/>
                  <a:pt x="4107482" y="361002"/>
                </a:cubicBezTo>
                <a:cubicBezTo>
                  <a:pt x="4117976" y="342142"/>
                  <a:pt x="4151552" y="344237"/>
                  <a:pt x="4176732" y="344237"/>
                </a:cubicBezTo>
                <a:cubicBezTo>
                  <a:pt x="4187225" y="344237"/>
                  <a:pt x="4197718" y="346333"/>
                  <a:pt x="4201915" y="358906"/>
                </a:cubicBezTo>
                <a:cubicBezTo>
                  <a:pt x="4204012" y="371478"/>
                  <a:pt x="4201915" y="390337"/>
                  <a:pt x="4193521" y="392433"/>
                </a:cubicBezTo>
                <a:cubicBezTo>
                  <a:pt x="4170438" y="394529"/>
                  <a:pt x="4172536" y="419675"/>
                  <a:pt x="4159945" y="423866"/>
                </a:cubicBezTo>
                <a:cubicBezTo>
                  <a:pt x="4206112" y="436438"/>
                  <a:pt x="4250180" y="421771"/>
                  <a:pt x="4287952" y="384052"/>
                </a:cubicBezTo>
                <a:cubicBezTo>
                  <a:pt x="4300544" y="369383"/>
                  <a:pt x="4313134" y="381956"/>
                  <a:pt x="4313134" y="398720"/>
                </a:cubicBezTo>
                <a:cubicBezTo>
                  <a:pt x="4311036" y="421771"/>
                  <a:pt x="4298446" y="442724"/>
                  <a:pt x="4275362" y="451107"/>
                </a:cubicBezTo>
                <a:cubicBezTo>
                  <a:pt x="4245982" y="459489"/>
                  <a:pt x="4218702" y="476252"/>
                  <a:pt x="4185126" y="486730"/>
                </a:cubicBezTo>
                <a:cubicBezTo>
                  <a:pt x="4201915" y="522352"/>
                  <a:pt x="4227096" y="543307"/>
                  <a:pt x="4264869" y="537022"/>
                </a:cubicBezTo>
                <a:cubicBezTo>
                  <a:pt x="4283754" y="534926"/>
                  <a:pt x="4302116" y="538592"/>
                  <a:pt x="4320478" y="542521"/>
                </a:cubicBezTo>
                <a:lnTo>
                  <a:pt x="4340328" y="546405"/>
                </a:lnTo>
                <a:lnTo>
                  <a:pt x="4345660" y="548546"/>
                </a:lnTo>
                <a:lnTo>
                  <a:pt x="4362804" y="548802"/>
                </a:lnTo>
                <a:lnTo>
                  <a:pt x="4376090" y="549594"/>
                </a:lnTo>
                <a:cubicBezTo>
                  <a:pt x="4380810" y="549594"/>
                  <a:pt x="4385532" y="547499"/>
                  <a:pt x="4390187" y="544716"/>
                </a:cubicBezTo>
                <a:lnTo>
                  <a:pt x="4393712" y="542401"/>
                </a:lnTo>
                <a:lnTo>
                  <a:pt x="4412812" y="536496"/>
                </a:lnTo>
                <a:cubicBezTo>
                  <a:pt x="4419108" y="535449"/>
                  <a:pt x="4424354" y="535974"/>
                  <a:pt x="4428551" y="539117"/>
                </a:cubicBezTo>
                <a:cubicBezTo>
                  <a:pt x="4421206" y="527591"/>
                  <a:pt x="4412812" y="530211"/>
                  <a:pt x="4403893" y="535711"/>
                </a:cubicBezTo>
                <a:lnTo>
                  <a:pt x="4393712" y="542401"/>
                </a:lnTo>
                <a:lnTo>
                  <a:pt x="4390778" y="543307"/>
                </a:lnTo>
                <a:cubicBezTo>
                  <a:pt x="4382909" y="545927"/>
                  <a:pt x="4375172" y="547892"/>
                  <a:pt x="4367630" y="548873"/>
                </a:cubicBezTo>
                <a:lnTo>
                  <a:pt x="4362804" y="548802"/>
                </a:lnTo>
                <a:lnTo>
                  <a:pt x="4348087" y="547925"/>
                </a:lnTo>
                <a:lnTo>
                  <a:pt x="4340328" y="546405"/>
                </a:lnTo>
                <a:lnTo>
                  <a:pt x="4325266" y="540360"/>
                </a:lnTo>
                <a:cubicBezTo>
                  <a:pt x="4318773" y="536104"/>
                  <a:pt x="4312610" y="530211"/>
                  <a:pt x="4306838" y="522352"/>
                </a:cubicBezTo>
                <a:cubicBezTo>
                  <a:pt x="4300544" y="513971"/>
                  <a:pt x="4287952" y="509779"/>
                  <a:pt x="4296346" y="497207"/>
                </a:cubicBezTo>
                <a:cubicBezTo>
                  <a:pt x="4302642" y="486730"/>
                  <a:pt x="4317330" y="480444"/>
                  <a:pt x="4323626" y="484634"/>
                </a:cubicBezTo>
                <a:cubicBezTo>
                  <a:pt x="4363498" y="511875"/>
                  <a:pt x="4407566" y="501398"/>
                  <a:pt x="4449535" y="501398"/>
                </a:cubicBezTo>
                <a:cubicBezTo>
                  <a:pt x="4457931" y="501398"/>
                  <a:pt x="4462126" y="509779"/>
                  <a:pt x="4468422" y="513971"/>
                </a:cubicBezTo>
                <a:lnTo>
                  <a:pt x="4470125" y="515065"/>
                </a:lnTo>
                <a:lnTo>
                  <a:pt x="4470410" y="515790"/>
                </a:lnTo>
                <a:lnTo>
                  <a:pt x="4469121" y="516263"/>
                </a:lnTo>
                <a:lnTo>
                  <a:pt x="4468480" y="514388"/>
                </a:lnTo>
                <a:cubicBezTo>
                  <a:pt x="4468480" y="514388"/>
                  <a:pt x="4468480" y="516498"/>
                  <a:pt x="4468480" y="516498"/>
                </a:cubicBezTo>
                <a:lnTo>
                  <a:pt x="4469121" y="516263"/>
                </a:lnTo>
                <a:lnTo>
                  <a:pt x="4476226" y="537062"/>
                </a:lnTo>
                <a:cubicBezTo>
                  <a:pt x="4486912" y="555650"/>
                  <a:pt x="4506128" y="562372"/>
                  <a:pt x="4531226" y="560790"/>
                </a:cubicBezTo>
                <a:cubicBezTo>
                  <a:pt x="4537502" y="558680"/>
                  <a:pt x="4547958" y="577663"/>
                  <a:pt x="4550051" y="558680"/>
                </a:cubicBezTo>
                <a:cubicBezTo>
                  <a:pt x="4550051" y="550245"/>
                  <a:pt x="4556325" y="535480"/>
                  <a:pt x="4539592" y="533371"/>
                </a:cubicBezTo>
                <a:cubicBezTo>
                  <a:pt x="4535410" y="533371"/>
                  <a:pt x="4531226" y="533371"/>
                  <a:pt x="4527044" y="533371"/>
                </a:cubicBezTo>
                <a:cubicBezTo>
                  <a:pt x="4522861" y="531261"/>
                  <a:pt x="4516586" y="535480"/>
                  <a:pt x="4518678" y="527044"/>
                </a:cubicBezTo>
                <a:cubicBezTo>
                  <a:pt x="4547958" y="522825"/>
                  <a:pt x="4556325" y="508061"/>
                  <a:pt x="4545867" y="480642"/>
                </a:cubicBezTo>
                <a:cubicBezTo>
                  <a:pt x="4534364" y="489078"/>
                  <a:pt x="4521816" y="495933"/>
                  <a:pt x="4508744" y="501733"/>
                </a:cubicBezTo>
                <a:lnTo>
                  <a:pt x="4470949" y="515593"/>
                </a:lnTo>
                <a:lnTo>
                  <a:pt x="4470125" y="515065"/>
                </a:lnTo>
                <a:lnTo>
                  <a:pt x="4457929" y="484110"/>
                </a:lnTo>
                <a:cubicBezTo>
                  <a:pt x="4453733" y="473632"/>
                  <a:pt x="4448486" y="463679"/>
                  <a:pt x="4439043" y="455297"/>
                </a:cubicBezTo>
                <a:cubicBezTo>
                  <a:pt x="4415960" y="434342"/>
                  <a:pt x="4432748" y="419675"/>
                  <a:pt x="4455831" y="411292"/>
                </a:cubicBezTo>
                <a:cubicBezTo>
                  <a:pt x="4445339" y="392433"/>
                  <a:pt x="4418059" y="388242"/>
                  <a:pt x="4415960" y="365192"/>
                </a:cubicBezTo>
                <a:cubicBezTo>
                  <a:pt x="4413862" y="352620"/>
                  <a:pt x="4428551" y="344237"/>
                  <a:pt x="4439043" y="335856"/>
                </a:cubicBezTo>
                <a:cubicBezTo>
                  <a:pt x="4401270" y="325378"/>
                  <a:pt x="4401270" y="325378"/>
                  <a:pt x="4378188" y="296042"/>
                </a:cubicBezTo>
                <a:cubicBezTo>
                  <a:pt x="4359302" y="306519"/>
                  <a:pt x="4355104" y="346333"/>
                  <a:pt x="4323626" y="325378"/>
                </a:cubicBezTo>
                <a:cubicBezTo>
                  <a:pt x="4298446" y="310710"/>
                  <a:pt x="4325726" y="296042"/>
                  <a:pt x="4332020" y="283469"/>
                </a:cubicBezTo>
                <a:lnTo>
                  <a:pt x="4335469" y="277729"/>
                </a:lnTo>
                <a:lnTo>
                  <a:pt x="4342352" y="279218"/>
                </a:lnTo>
                <a:cubicBezTo>
                  <a:pt x="4343401" y="273923"/>
                  <a:pt x="4343007" y="270217"/>
                  <a:pt x="4341630" y="267504"/>
                </a:cubicBezTo>
                <a:lnTo>
                  <a:pt x="4335741" y="262382"/>
                </a:lnTo>
                <a:lnTo>
                  <a:pt x="4333136" y="251644"/>
                </a:lnTo>
                <a:cubicBezTo>
                  <a:pt x="4323495" y="233570"/>
                  <a:pt x="4302642" y="223748"/>
                  <a:pt x="4290052" y="208032"/>
                </a:cubicBezTo>
                <a:cubicBezTo>
                  <a:pt x="4275362" y="191267"/>
                  <a:pt x="4237590" y="178695"/>
                  <a:pt x="4264869" y="149359"/>
                </a:cubicBezTo>
                <a:cubicBezTo>
                  <a:pt x="4290052" y="122117"/>
                  <a:pt x="4308938" y="155645"/>
                  <a:pt x="4323626" y="168218"/>
                </a:cubicBezTo>
                <a:cubicBezTo>
                  <a:pt x="4369792" y="212222"/>
                  <a:pt x="4434846" y="231083"/>
                  <a:pt x="4472619" y="285565"/>
                </a:cubicBezTo>
                <a:cubicBezTo>
                  <a:pt x="4476815" y="289756"/>
                  <a:pt x="4483111" y="293947"/>
                  <a:pt x="4489405" y="291851"/>
                </a:cubicBezTo>
                <a:cubicBezTo>
                  <a:pt x="4535573" y="275087"/>
                  <a:pt x="4560755" y="304423"/>
                  <a:pt x="4590134" y="333760"/>
                </a:cubicBezTo>
                <a:cubicBezTo>
                  <a:pt x="4611118" y="352620"/>
                  <a:pt x="4615316" y="396624"/>
                  <a:pt x="4661480" y="384052"/>
                </a:cubicBezTo>
                <a:cubicBezTo>
                  <a:pt x="4678270" y="417579"/>
                  <a:pt x="4716042" y="432247"/>
                  <a:pt x="4739124" y="459489"/>
                </a:cubicBezTo>
                <a:cubicBezTo>
                  <a:pt x="4751716" y="474157"/>
                  <a:pt x="4766406" y="486730"/>
                  <a:pt x="4776898" y="503493"/>
                </a:cubicBezTo>
                <a:cubicBezTo>
                  <a:pt x="4791588" y="520257"/>
                  <a:pt x="4804178" y="539117"/>
                  <a:pt x="4831458" y="530734"/>
                </a:cubicBezTo>
                <a:cubicBezTo>
                  <a:pt x="4848246" y="526544"/>
                  <a:pt x="4860836" y="541212"/>
                  <a:pt x="4867132" y="553785"/>
                </a:cubicBezTo>
                <a:cubicBezTo>
                  <a:pt x="4877625" y="570548"/>
                  <a:pt x="4883920" y="585217"/>
                  <a:pt x="4907004" y="581026"/>
                </a:cubicBezTo>
                <a:cubicBezTo>
                  <a:pt x="4917496" y="578930"/>
                  <a:pt x="4925890" y="589407"/>
                  <a:pt x="4921694" y="599885"/>
                </a:cubicBezTo>
                <a:cubicBezTo>
                  <a:pt x="4918544" y="609315"/>
                  <a:pt x="4919594" y="620839"/>
                  <a:pt x="4918283" y="631579"/>
                </a:cubicBezTo>
                <a:lnTo>
                  <a:pt x="4918147" y="632028"/>
                </a:lnTo>
                <a:lnTo>
                  <a:pt x="4917496" y="633412"/>
                </a:lnTo>
                <a:lnTo>
                  <a:pt x="4912696" y="647673"/>
                </a:lnTo>
                <a:lnTo>
                  <a:pt x="4900708" y="658559"/>
                </a:lnTo>
                <a:cubicBezTo>
                  <a:pt x="4886018" y="666941"/>
                  <a:pt x="4869232" y="675322"/>
                  <a:pt x="4850345" y="673227"/>
                </a:cubicBezTo>
                <a:cubicBezTo>
                  <a:pt x="4875528" y="679514"/>
                  <a:pt x="4899528" y="670477"/>
                  <a:pt x="4910840" y="653189"/>
                </a:cubicBezTo>
                <a:lnTo>
                  <a:pt x="4912696" y="647673"/>
                </a:lnTo>
                <a:lnTo>
                  <a:pt x="4913726" y="646738"/>
                </a:lnTo>
                <a:lnTo>
                  <a:pt x="4918147" y="632028"/>
                </a:lnTo>
                <a:lnTo>
                  <a:pt x="4927725" y="611671"/>
                </a:lnTo>
                <a:cubicBezTo>
                  <a:pt x="4933234" y="607743"/>
                  <a:pt x="4940580" y="607220"/>
                  <a:pt x="4948972" y="610363"/>
                </a:cubicBezTo>
                <a:cubicBezTo>
                  <a:pt x="4972056" y="618744"/>
                  <a:pt x="4997238" y="627126"/>
                  <a:pt x="5020322" y="635508"/>
                </a:cubicBezTo>
                <a:cubicBezTo>
                  <a:pt x="5032912" y="641794"/>
                  <a:pt x="5051798" y="648081"/>
                  <a:pt x="5035010" y="669037"/>
                </a:cubicBezTo>
                <a:cubicBezTo>
                  <a:pt x="5032912" y="669037"/>
                  <a:pt x="5028716" y="671132"/>
                  <a:pt x="5030814" y="673227"/>
                </a:cubicBezTo>
                <a:cubicBezTo>
                  <a:pt x="5032912" y="675322"/>
                  <a:pt x="5039208" y="675322"/>
                  <a:pt x="5041306" y="677417"/>
                </a:cubicBezTo>
                <a:cubicBezTo>
                  <a:pt x="5055995" y="685799"/>
                  <a:pt x="5070685" y="689991"/>
                  <a:pt x="5081177" y="700468"/>
                </a:cubicBezTo>
                <a:cubicBezTo>
                  <a:pt x="5091669" y="706754"/>
                  <a:pt x="5097965" y="715137"/>
                  <a:pt x="5089571" y="725614"/>
                </a:cubicBezTo>
                <a:cubicBezTo>
                  <a:pt x="5074882" y="743429"/>
                  <a:pt x="5072783" y="757575"/>
                  <a:pt x="5078030" y="769625"/>
                </a:cubicBezTo>
                <a:lnTo>
                  <a:pt x="5084961" y="778725"/>
                </a:lnTo>
                <a:lnTo>
                  <a:pt x="5084961" y="781709"/>
                </a:lnTo>
                <a:cubicBezTo>
                  <a:pt x="5085748" y="783130"/>
                  <a:pt x="5086796" y="784357"/>
                  <a:pt x="5087912" y="784971"/>
                </a:cubicBezTo>
                <a:lnTo>
                  <a:pt x="5089564" y="784765"/>
                </a:lnTo>
                <a:lnTo>
                  <a:pt x="5090752" y="786324"/>
                </a:lnTo>
                <a:cubicBezTo>
                  <a:pt x="5096390" y="791498"/>
                  <a:pt x="5103210" y="796343"/>
                  <a:pt x="5110555" y="801059"/>
                </a:cubicBezTo>
                <a:lnTo>
                  <a:pt x="5116232" y="805594"/>
                </a:lnTo>
                <a:lnTo>
                  <a:pt x="5112520" y="811226"/>
                </a:lnTo>
                <a:lnTo>
                  <a:pt x="5110922" y="811578"/>
                </a:lnTo>
                <a:cubicBezTo>
                  <a:pt x="5110922" y="811578"/>
                  <a:pt x="5110922" y="813648"/>
                  <a:pt x="5110922" y="813648"/>
                </a:cubicBezTo>
                <a:lnTo>
                  <a:pt x="5112520" y="811226"/>
                </a:lnTo>
                <a:lnTo>
                  <a:pt x="5120954" y="809365"/>
                </a:lnTo>
                <a:lnTo>
                  <a:pt x="5121049" y="809440"/>
                </a:lnTo>
                <a:cubicBezTo>
                  <a:pt x="5131541" y="817824"/>
                  <a:pt x="5144131" y="828301"/>
                  <a:pt x="5160921" y="826204"/>
                </a:cubicBezTo>
                <a:cubicBezTo>
                  <a:pt x="5186101" y="819919"/>
                  <a:pt x="5200790" y="836682"/>
                  <a:pt x="5219676" y="845065"/>
                </a:cubicBezTo>
                <a:cubicBezTo>
                  <a:pt x="5255350" y="861829"/>
                  <a:pt x="5293124" y="882784"/>
                  <a:pt x="5339290" y="866021"/>
                </a:cubicBezTo>
                <a:cubicBezTo>
                  <a:pt x="5326698" y="859734"/>
                  <a:pt x="5309912" y="868116"/>
                  <a:pt x="5307814" y="849255"/>
                </a:cubicBezTo>
                <a:cubicBezTo>
                  <a:pt x="5305714" y="834587"/>
                  <a:pt x="5318306" y="830396"/>
                  <a:pt x="5330896" y="828301"/>
                </a:cubicBezTo>
                <a:cubicBezTo>
                  <a:pt x="5360275" y="819919"/>
                  <a:pt x="5391752" y="811537"/>
                  <a:pt x="5419032" y="838778"/>
                </a:cubicBezTo>
                <a:cubicBezTo>
                  <a:pt x="5419032" y="859734"/>
                  <a:pt x="5419032" y="880688"/>
                  <a:pt x="5419032" y="901644"/>
                </a:cubicBezTo>
                <a:cubicBezTo>
                  <a:pt x="5383358" y="964509"/>
                  <a:pt x="5362372" y="1035753"/>
                  <a:pt x="5301518" y="1079757"/>
                </a:cubicBezTo>
                <a:cubicBezTo>
                  <a:pt x="5284728" y="1092330"/>
                  <a:pt x="5278434" y="1106999"/>
                  <a:pt x="5276334" y="1125858"/>
                </a:cubicBezTo>
                <a:cubicBezTo>
                  <a:pt x="5274236" y="1151003"/>
                  <a:pt x="5291024" y="1151003"/>
                  <a:pt x="5305714" y="1155194"/>
                </a:cubicBezTo>
                <a:cubicBezTo>
                  <a:pt x="5318306" y="1159385"/>
                  <a:pt x="5318306" y="1178243"/>
                  <a:pt x="5312008" y="1182435"/>
                </a:cubicBezTo>
                <a:cubicBezTo>
                  <a:pt x="5251154" y="1215962"/>
                  <a:pt x="5261646" y="1289302"/>
                  <a:pt x="5223874" y="1335403"/>
                </a:cubicBezTo>
                <a:cubicBezTo>
                  <a:pt x="5213380" y="1350070"/>
                  <a:pt x="5202888" y="1368929"/>
                  <a:pt x="5198691" y="1387789"/>
                </a:cubicBezTo>
                <a:cubicBezTo>
                  <a:pt x="5194494" y="1404555"/>
                  <a:pt x="5188199" y="1417126"/>
                  <a:pt x="5173509" y="1427605"/>
                </a:cubicBezTo>
                <a:cubicBezTo>
                  <a:pt x="5152526" y="1438083"/>
                  <a:pt x="5146230" y="1456942"/>
                  <a:pt x="5144131" y="1479991"/>
                </a:cubicBezTo>
                <a:cubicBezTo>
                  <a:pt x="5139934" y="1517711"/>
                  <a:pt x="5121049" y="1523998"/>
                  <a:pt x="5089571" y="1498852"/>
                </a:cubicBezTo>
                <a:cubicBezTo>
                  <a:pt x="5074882" y="1486277"/>
                  <a:pt x="5047602" y="1484182"/>
                  <a:pt x="5053897" y="1452752"/>
                </a:cubicBezTo>
                <a:cubicBezTo>
                  <a:pt x="5047602" y="1473704"/>
                  <a:pt x="5047602" y="1492565"/>
                  <a:pt x="5037108" y="1509331"/>
                </a:cubicBezTo>
                <a:cubicBezTo>
                  <a:pt x="5026616" y="1521902"/>
                  <a:pt x="5016124" y="1528188"/>
                  <a:pt x="5001436" y="1521902"/>
                </a:cubicBezTo>
                <a:cubicBezTo>
                  <a:pt x="4984648" y="1513521"/>
                  <a:pt x="4995140" y="1500948"/>
                  <a:pt x="5001436" y="1490470"/>
                </a:cubicBezTo>
                <a:cubicBezTo>
                  <a:pt x="5020322" y="1444371"/>
                  <a:pt x="5020322" y="1446469"/>
                  <a:pt x="4972056" y="1444371"/>
                </a:cubicBezTo>
                <a:cubicBezTo>
                  <a:pt x="4940580" y="1442275"/>
                  <a:pt x="4909102" y="1431796"/>
                  <a:pt x="4879723" y="1459037"/>
                </a:cubicBezTo>
                <a:cubicBezTo>
                  <a:pt x="4869232" y="1467417"/>
                  <a:pt x="4848246" y="1465323"/>
                  <a:pt x="4846148" y="1448563"/>
                </a:cubicBezTo>
                <a:cubicBezTo>
                  <a:pt x="4841950" y="1419222"/>
                  <a:pt x="4823064" y="1431796"/>
                  <a:pt x="4812571" y="1433894"/>
                </a:cubicBezTo>
                <a:cubicBezTo>
                  <a:pt x="4795784" y="1433894"/>
                  <a:pt x="4795784" y="1448563"/>
                  <a:pt x="4795784" y="1461131"/>
                </a:cubicBezTo>
                <a:cubicBezTo>
                  <a:pt x="4797882" y="1484182"/>
                  <a:pt x="4802078" y="1507233"/>
                  <a:pt x="4823064" y="1519807"/>
                </a:cubicBezTo>
                <a:cubicBezTo>
                  <a:pt x="4871329" y="1551238"/>
                  <a:pt x="4904904" y="1599434"/>
                  <a:pt x="4959464" y="1622474"/>
                </a:cubicBezTo>
                <a:cubicBezTo>
                  <a:pt x="4984648" y="1630857"/>
                  <a:pt x="4988844" y="1666472"/>
                  <a:pt x="5009830" y="1683233"/>
                </a:cubicBezTo>
                <a:cubicBezTo>
                  <a:pt x="5089571" y="1750297"/>
                  <a:pt x="5152526" y="1829946"/>
                  <a:pt x="5230170" y="1894921"/>
                </a:cubicBezTo>
                <a:cubicBezTo>
                  <a:pt x="5263746" y="1922168"/>
                  <a:pt x="5286828" y="1957784"/>
                  <a:pt x="5314108" y="1989206"/>
                </a:cubicBezTo>
                <a:cubicBezTo>
                  <a:pt x="5339290" y="2018539"/>
                  <a:pt x="5328798" y="2043684"/>
                  <a:pt x="5293124" y="2058353"/>
                </a:cubicBezTo>
                <a:cubicBezTo>
                  <a:pt x="5274236" y="2066745"/>
                  <a:pt x="5257450" y="2068838"/>
                  <a:pt x="5238562" y="2066745"/>
                </a:cubicBezTo>
                <a:cubicBezTo>
                  <a:pt x="5202888" y="2060453"/>
                  <a:pt x="5186101" y="2079320"/>
                  <a:pt x="5184002" y="2114942"/>
                </a:cubicBezTo>
                <a:cubicBezTo>
                  <a:pt x="5181904" y="2129608"/>
                  <a:pt x="5177707" y="2144278"/>
                  <a:pt x="5171412" y="2156850"/>
                </a:cubicBezTo>
                <a:cubicBezTo>
                  <a:pt x="5168790" y="2162087"/>
                  <a:pt x="5166166" y="2165755"/>
                  <a:pt x="5163510" y="2168079"/>
                </a:cubicBezTo>
                <a:lnTo>
                  <a:pt x="5159720" y="2169565"/>
                </a:lnTo>
                <a:lnTo>
                  <a:pt x="5140048" y="2161089"/>
                </a:lnTo>
                <a:lnTo>
                  <a:pt x="5139796" y="2160847"/>
                </a:lnTo>
                <a:lnTo>
                  <a:pt x="5137591" y="2157718"/>
                </a:lnTo>
                <a:lnTo>
                  <a:pt x="5135861" y="2149085"/>
                </a:lnTo>
                <a:lnTo>
                  <a:pt x="5138151" y="2132261"/>
                </a:lnTo>
                <a:lnTo>
                  <a:pt x="5138454" y="2132102"/>
                </a:lnTo>
                <a:lnTo>
                  <a:pt x="5138454" y="2130024"/>
                </a:lnTo>
                <a:lnTo>
                  <a:pt x="5138151" y="2132261"/>
                </a:lnTo>
                <a:lnTo>
                  <a:pt x="5120717" y="2141442"/>
                </a:lnTo>
                <a:cubicBezTo>
                  <a:pt x="5114628" y="2144555"/>
                  <a:pt x="5108804" y="2146631"/>
                  <a:pt x="5104567" y="2144555"/>
                </a:cubicBezTo>
                <a:cubicBezTo>
                  <a:pt x="5083388" y="2138328"/>
                  <a:pt x="5098214" y="2161162"/>
                  <a:pt x="5085506" y="2161162"/>
                </a:cubicBezTo>
                <a:cubicBezTo>
                  <a:pt x="5089742" y="2165313"/>
                  <a:pt x="5091860" y="2171540"/>
                  <a:pt x="5096096" y="2173617"/>
                </a:cubicBezTo>
                <a:cubicBezTo>
                  <a:pt x="5108804" y="2179844"/>
                  <a:pt x="5108804" y="2169465"/>
                  <a:pt x="5113040" y="2161162"/>
                </a:cubicBezTo>
                <a:cubicBezTo>
                  <a:pt x="5119394" y="2150782"/>
                  <a:pt x="5127864" y="2146631"/>
                  <a:pt x="5134219" y="2161162"/>
                </a:cubicBezTo>
                <a:lnTo>
                  <a:pt x="5135157" y="2154268"/>
                </a:lnTo>
                <a:lnTo>
                  <a:pt x="5137591" y="2157718"/>
                </a:lnTo>
                <a:lnTo>
                  <a:pt x="5137836" y="2158944"/>
                </a:lnTo>
                <a:lnTo>
                  <a:pt x="5139796" y="2160847"/>
                </a:lnTo>
                <a:lnTo>
                  <a:pt x="5139934" y="2161040"/>
                </a:lnTo>
                <a:lnTo>
                  <a:pt x="5140048" y="2161089"/>
                </a:lnTo>
                <a:lnTo>
                  <a:pt x="5146920" y="2167752"/>
                </a:lnTo>
                <a:cubicBezTo>
                  <a:pt x="5149838" y="2169880"/>
                  <a:pt x="5152656" y="2171122"/>
                  <a:pt x="5155411" y="2171254"/>
                </a:cubicBezTo>
                <a:lnTo>
                  <a:pt x="5159720" y="2169565"/>
                </a:lnTo>
                <a:lnTo>
                  <a:pt x="5172232" y="2174955"/>
                </a:lnTo>
                <a:cubicBezTo>
                  <a:pt x="5195544" y="2195482"/>
                  <a:pt x="5195544" y="2232803"/>
                  <a:pt x="5204988" y="2259519"/>
                </a:cubicBezTo>
                <a:cubicBezTo>
                  <a:pt x="5209184" y="2272091"/>
                  <a:pt x="5200790" y="2316092"/>
                  <a:pt x="5173509" y="2330758"/>
                </a:cubicBezTo>
                <a:cubicBezTo>
                  <a:pt x="5150427" y="2343329"/>
                  <a:pt x="5144131" y="2362186"/>
                  <a:pt x="5139934" y="2383140"/>
                </a:cubicBezTo>
                <a:cubicBezTo>
                  <a:pt x="5123147" y="2466950"/>
                  <a:pt x="5055995" y="2519333"/>
                  <a:pt x="5009830" y="2584287"/>
                </a:cubicBezTo>
                <a:cubicBezTo>
                  <a:pt x="4999336" y="2598954"/>
                  <a:pt x="4990944" y="2588478"/>
                  <a:pt x="4982548" y="2578001"/>
                </a:cubicBezTo>
                <a:cubicBezTo>
                  <a:pt x="4967860" y="2563334"/>
                  <a:pt x="4953170" y="2569621"/>
                  <a:pt x="4951072" y="2584287"/>
                </a:cubicBezTo>
                <a:cubicBezTo>
                  <a:pt x="4948972" y="2626196"/>
                  <a:pt x="4917496" y="2622006"/>
                  <a:pt x="4890215" y="2624100"/>
                </a:cubicBezTo>
                <a:cubicBezTo>
                  <a:pt x="4825163" y="2630387"/>
                  <a:pt x="4785292" y="2596860"/>
                  <a:pt x="4783192" y="2533999"/>
                </a:cubicBezTo>
                <a:cubicBezTo>
                  <a:pt x="4778996" y="2456474"/>
                  <a:pt x="4739124" y="2397807"/>
                  <a:pt x="4686662" y="2345424"/>
                </a:cubicBezTo>
                <a:cubicBezTo>
                  <a:pt x="4661480" y="2318185"/>
                  <a:pt x="4634202" y="2322377"/>
                  <a:pt x="4606920" y="2341234"/>
                </a:cubicBezTo>
                <a:cubicBezTo>
                  <a:pt x="4579641" y="2360092"/>
                  <a:pt x="4590134" y="2383140"/>
                  <a:pt x="4598526" y="2406187"/>
                </a:cubicBezTo>
                <a:cubicBezTo>
                  <a:pt x="4600626" y="2414570"/>
                  <a:pt x="4611118" y="2427141"/>
                  <a:pt x="4600626" y="2429236"/>
                </a:cubicBezTo>
                <a:cubicBezTo>
                  <a:pt x="4564952" y="2441807"/>
                  <a:pt x="4592232" y="2469045"/>
                  <a:pt x="4583838" y="2487905"/>
                </a:cubicBezTo>
                <a:cubicBezTo>
                  <a:pt x="4583838" y="2487905"/>
                  <a:pt x="4579641" y="2489999"/>
                  <a:pt x="4581739" y="2489999"/>
                </a:cubicBezTo>
                <a:cubicBezTo>
                  <a:pt x="4588034" y="2489999"/>
                  <a:pt x="4579641" y="2492095"/>
                  <a:pt x="4585936" y="2489999"/>
                </a:cubicBezTo>
                <a:cubicBezTo>
                  <a:pt x="4604824" y="2500476"/>
                  <a:pt x="4617414" y="2513047"/>
                  <a:pt x="4621610" y="2536096"/>
                </a:cubicBezTo>
                <a:cubicBezTo>
                  <a:pt x="4623708" y="2546571"/>
                  <a:pt x="4623708" y="2559144"/>
                  <a:pt x="4640496" y="2563334"/>
                </a:cubicBezTo>
                <a:cubicBezTo>
                  <a:pt x="4659382" y="2569621"/>
                  <a:pt x="4663580" y="2584287"/>
                  <a:pt x="4659382" y="2605240"/>
                </a:cubicBezTo>
                <a:cubicBezTo>
                  <a:pt x="4655186" y="2634578"/>
                  <a:pt x="4667778" y="2653439"/>
                  <a:pt x="4701352" y="2655535"/>
                </a:cubicBezTo>
                <a:cubicBezTo>
                  <a:pt x="4732830" y="2657632"/>
                  <a:pt x="4793686" y="2722587"/>
                  <a:pt x="4793686" y="2754019"/>
                </a:cubicBezTo>
                <a:cubicBezTo>
                  <a:pt x="4791588" y="2781260"/>
                  <a:pt x="4806276" y="2795928"/>
                  <a:pt x="4820966" y="2810596"/>
                </a:cubicBezTo>
                <a:cubicBezTo>
                  <a:pt x="4858739" y="2844125"/>
                  <a:pt x="4858739" y="2850410"/>
                  <a:pt x="4814670" y="2871365"/>
                </a:cubicBezTo>
                <a:cubicBezTo>
                  <a:pt x="4823064" y="2900702"/>
                  <a:pt x="4850345" y="2898607"/>
                  <a:pt x="4871329" y="2909084"/>
                </a:cubicBezTo>
                <a:cubicBezTo>
                  <a:pt x="4871329" y="2888130"/>
                  <a:pt x="4862936" y="2873460"/>
                  <a:pt x="4856640" y="2856697"/>
                </a:cubicBezTo>
                <a:cubicBezTo>
                  <a:pt x="4850345" y="2842030"/>
                  <a:pt x="4846148" y="2825265"/>
                  <a:pt x="4865034" y="2818978"/>
                </a:cubicBezTo>
                <a:cubicBezTo>
                  <a:pt x="4883920" y="2810596"/>
                  <a:pt x="4900708" y="2823170"/>
                  <a:pt x="4902806" y="2839933"/>
                </a:cubicBezTo>
                <a:cubicBezTo>
                  <a:pt x="4909102" y="2862983"/>
                  <a:pt x="4904904" y="2890225"/>
                  <a:pt x="4942678" y="2877652"/>
                </a:cubicBezTo>
                <a:cubicBezTo>
                  <a:pt x="4944776" y="2877652"/>
                  <a:pt x="4948972" y="2883938"/>
                  <a:pt x="4951072" y="2886034"/>
                </a:cubicBezTo>
                <a:cubicBezTo>
                  <a:pt x="4990944" y="2936325"/>
                  <a:pt x="4990944" y="2936325"/>
                  <a:pt x="5051798" y="2917465"/>
                </a:cubicBezTo>
                <a:cubicBezTo>
                  <a:pt x="5074882" y="2909084"/>
                  <a:pt x="5097965" y="2902798"/>
                  <a:pt x="5112654" y="2925847"/>
                </a:cubicBezTo>
                <a:cubicBezTo>
                  <a:pt x="5127344" y="2944707"/>
                  <a:pt x="5133639" y="2963567"/>
                  <a:pt x="5108457" y="2980330"/>
                </a:cubicBezTo>
                <a:cubicBezTo>
                  <a:pt x="5118949" y="2980330"/>
                  <a:pt x="5129441" y="2980330"/>
                  <a:pt x="5137836" y="2986617"/>
                </a:cubicBezTo>
                <a:cubicBezTo>
                  <a:pt x="5146230" y="2992903"/>
                  <a:pt x="5156723" y="2997094"/>
                  <a:pt x="5156723" y="3009668"/>
                </a:cubicBezTo>
                <a:cubicBezTo>
                  <a:pt x="5156723" y="3024336"/>
                  <a:pt x="5144131" y="3028527"/>
                  <a:pt x="5131541" y="3030623"/>
                </a:cubicBezTo>
                <a:cubicBezTo>
                  <a:pt x="5106359" y="3035338"/>
                  <a:pt x="5083538" y="3043587"/>
                  <a:pt x="5064849" y="3059795"/>
                </a:cubicBezTo>
                <a:lnTo>
                  <a:pt x="5055700" y="3069885"/>
                </a:lnTo>
                <a:lnTo>
                  <a:pt x="5051798" y="3072532"/>
                </a:lnTo>
                <a:cubicBezTo>
                  <a:pt x="5049700" y="3075675"/>
                  <a:pt x="5047602" y="3077771"/>
                  <a:pt x="5045240" y="3079604"/>
                </a:cubicBezTo>
                <a:lnTo>
                  <a:pt x="5044991" y="3079772"/>
                </a:lnTo>
                <a:lnTo>
                  <a:pt x="5003412" y="3070052"/>
                </a:lnTo>
                <a:cubicBezTo>
                  <a:pt x="5022185" y="3093652"/>
                  <a:pt x="5022185" y="3093652"/>
                  <a:pt x="5049300" y="3080780"/>
                </a:cubicBezTo>
                <a:lnTo>
                  <a:pt x="5045696" y="3079937"/>
                </a:lnTo>
                <a:lnTo>
                  <a:pt x="5047602" y="3078818"/>
                </a:lnTo>
                <a:lnTo>
                  <a:pt x="5055700" y="3069885"/>
                </a:lnTo>
                <a:lnTo>
                  <a:pt x="5067537" y="3061858"/>
                </a:lnTo>
                <a:cubicBezTo>
                  <a:pt x="5083275" y="3055768"/>
                  <a:pt x="5099014" y="3062054"/>
                  <a:pt x="5114752" y="3068341"/>
                </a:cubicBezTo>
                <a:cubicBezTo>
                  <a:pt x="5133639" y="3076198"/>
                  <a:pt x="5137180" y="3086414"/>
                  <a:pt x="5128918" y="3097219"/>
                </a:cubicBezTo>
                <a:lnTo>
                  <a:pt x="5118916" y="3106285"/>
                </a:lnTo>
                <a:lnTo>
                  <a:pt x="5113590" y="3106010"/>
                </a:lnTo>
                <a:cubicBezTo>
                  <a:pt x="5108464" y="3106501"/>
                  <a:pt x="5103137" y="3107550"/>
                  <a:pt x="5097811" y="3108598"/>
                </a:cubicBezTo>
                <a:cubicBezTo>
                  <a:pt x="5097811" y="3108598"/>
                  <a:pt x="5099941" y="3108598"/>
                  <a:pt x="5099941" y="3108598"/>
                </a:cubicBezTo>
                <a:lnTo>
                  <a:pt x="5104270" y="3112342"/>
                </a:lnTo>
                <a:lnTo>
                  <a:pt x="5104261" y="3112345"/>
                </a:lnTo>
                <a:cubicBezTo>
                  <a:pt x="5095865" y="3131205"/>
                  <a:pt x="5091669" y="3143778"/>
                  <a:pt x="5114752" y="3158446"/>
                </a:cubicBezTo>
                <a:cubicBezTo>
                  <a:pt x="5129441" y="3166828"/>
                  <a:pt x="5114752" y="3181497"/>
                  <a:pt x="5104261" y="3183592"/>
                </a:cubicBezTo>
                <a:cubicBezTo>
                  <a:pt x="5053897" y="3198260"/>
                  <a:pt x="5007730" y="3238074"/>
                  <a:pt x="4951072" y="3200356"/>
                </a:cubicBezTo>
                <a:cubicBezTo>
                  <a:pt x="4932186" y="3187783"/>
                  <a:pt x="4900708" y="3191974"/>
                  <a:pt x="4886018" y="3200356"/>
                </a:cubicBezTo>
                <a:cubicBezTo>
                  <a:pt x="4860836" y="3217120"/>
                  <a:pt x="4835656" y="3212929"/>
                  <a:pt x="4812571" y="3208739"/>
                </a:cubicBezTo>
                <a:cubicBezTo>
                  <a:pt x="4760109" y="3200356"/>
                  <a:pt x="4705548" y="3200356"/>
                  <a:pt x="4657286" y="3181497"/>
                </a:cubicBezTo>
                <a:cubicBezTo>
                  <a:pt x="4667778" y="3235979"/>
                  <a:pt x="4716042" y="3271603"/>
                  <a:pt x="4734929" y="3323989"/>
                </a:cubicBezTo>
                <a:lnTo>
                  <a:pt x="4745101" y="3382907"/>
                </a:lnTo>
                <a:lnTo>
                  <a:pt x="4744634" y="3383448"/>
                </a:lnTo>
                <a:lnTo>
                  <a:pt x="4744886" y="3389893"/>
                </a:lnTo>
                <a:lnTo>
                  <a:pt x="4743290" y="3405189"/>
                </a:lnTo>
                <a:cubicBezTo>
                  <a:pt x="4740044" y="3423657"/>
                  <a:pt x="4731781" y="3435050"/>
                  <a:pt x="4703452" y="3428763"/>
                </a:cubicBezTo>
                <a:cubicBezTo>
                  <a:pt x="4697156" y="3426667"/>
                  <a:pt x="4690860" y="3428763"/>
                  <a:pt x="4686662" y="3435050"/>
                </a:cubicBezTo>
                <a:cubicBezTo>
                  <a:pt x="4676170" y="3445527"/>
                  <a:pt x="4671974" y="3472768"/>
                  <a:pt x="4653088" y="3466482"/>
                </a:cubicBezTo>
                <a:cubicBezTo>
                  <a:pt x="4630004" y="3456005"/>
                  <a:pt x="4602724" y="3443432"/>
                  <a:pt x="4590134" y="3420381"/>
                </a:cubicBezTo>
                <a:cubicBezTo>
                  <a:pt x="4581739" y="3403617"/>
                  <a:pt x="4577542" y="3416191"/>
                  <a:pt x="4569149" y="3416191"/>
                </a:cubicBezTo>
                <a:cubicBezTo>
                  <a:pt x="4550263" y="3420381"/>
                  <a:pt x="4567050" y="3426667"/>
                  <a:pt x="4569149" y="3430860"/>
                </a:cubicBezTo>
                <a:cubicBezTo>
                  <a:pt x="4571247" y="3487437"/>
                  <a:pt x="4611118" y="3510487"/>
                  <a:pt x="4653088" y="3533537"/>
                </a:cubicBezTo>
                <a:cubicBezTo>
                  <a:pt x="4657286" y="3535632"/>
                  <a:pt x="4663580" y="3541919"/>
                  <a:pt x="4669876" y="3539824"/>
                </a:cubicBezTo>
                <a:cubicBezTo>
                  <a:pt x="4688762" y="3531442"/>
                  <a:pt x="4697156" y="3512583"/>
                  <a:pt x="4709746" y="3497915"/>
                </a:cubicBezTo>
                <a:cubicBezTo>
                  <a:pt x="4716042" y="3485342"/>
                  <a:pt x="4743322" y="3502105"/>
                  <a:pt x="4741224" y="3468577"/>
                </a:cubicBezTo>
                <a:cubicBezTo>
                  <a:pt x="4741224" y="3449719"/>
                  <a:pt x="4753814" y="3426667"/>
                  <a:pt x="4745420" y="3403617"/>
                </a:cubicBezTo>
                <a:lnTo>
                  <a:pt x="4744886" y="3389893"/>
                </a:lnTo>
                <a:lnTo>
                  <a:pt x="4745420" y="3384759"/>
                </a:lnTo>
                <a:lnTo>
                  <a:pt x="4745101" y="3382907"/>
                </a:lnTo>
                <a:lnTo>
                  <a:pt x="4758012" y="3367994"/>
                </a:lnTo>
                <a:cubicBezTo>
                  <a:pt x="4772701" y="3361708"/>
                  <a:pt x="4785292" y="3374281"/>
                  <a:pt x="4791588" y="3386854"/>
                </a:cubicBezTo>
                <a:cubicBezTo>
                  <a:pt x="4806276" y="3416191"/>
                  <a:pt x="4829360" y="3439241"/>
                  <a:pt x="4852443" y="3464387"/>
                </a:cubicBezTo>
                <a:cubicBezTo>
                  <a:pt x="4881822" y="3497915"/>
                  <a:pt x="4879723" y="3573352"/>
                  <a:pt x="4846148" y="3604784"/>
                </a:cubicBezTo>
                <a:cubicBezTo>
                  <a:pt x="4785292" y="3659266"/>
                  <a:pt x="4720238" y="3707463"/>
                  <a:pt x="4648890" y="3747277"/>
                </a:cubicBezTo>
                <a:cubicBezTo>
                  <a:pt x="4600626" y="3774518"/>
                  <a:pt x="4541869" y="3780804"/>
                  <a:pt x="4485209" y="3751468"/>
                </a:cubicBezTo>
                <a:cubicBezTo>
                  <a:pt x="4474717" y="3745182"/>
                  <a:pt x="4462126" y="3747277"/>
                  <a:pt x="4460027" y="3732608"/>
                </a:cubicBezTo>
                <a:cubicBezTo>
                  <a:pt x="4455831" y="3713748"/>
                  <a:pt x="4472619" y="3715844"/>
                  <a:pt x="4481011" y="3707463"/>
                </a:cubicBezTo>
                <a:cubicBezTo>
                  <a:pt x="4485209" y="3703272"/>
                  <a:pt x="4493603" y="3701177"/>
                  <a:pt x="4495703" y="3688603"/>
                </a:cubicBezTo>
                <a:cubicBezTo>
                  <a:pt x="4476815" y="3694890"/>
                  <a:pt x="4457931" y="3713748"/>
                  <a:pt x="4455831" y="3722131"/>
                </a:cubicBezTo>
                <a:cubicBezTo>
                  <a:pt x="4441141" y="3761945"/>
                  <a:pt x="4401270" y="3751468"/>
                  <a:pt x="4376090" y="3764041"/>
                </a:cubicBezTo>
                <a:cubicBezTo>
                  <a:pt x="4365598" y="3768232"/>
                  <a:pt x="4353006" y="3764041"/>
                  <a:pt x="4348808" y="3751468"/>
                </a:cubicBezTo>
                <a:cubicBezTo>
                  <a:pt x="4342512" y="3740990"/>
                  <a:pt x="4348808" y="3732608"/>
                  <a:pt x="4353006" y="3722131"/>
                </a:cubicBezTo>
                <a:cubicBezTo>
                  <a:pt x="4361400" y="3709558"/>
                  <a:pt x="4378188" y="3705368"/>
                  <a:pt x="4388680" y="3684413"/>
                </a:cubicBezTo>
                <a:cubicBezTo>
                  <a:pt x="4338318" y="3682318"/>
                  <a:pt x="4292149" y="3682318"/>
                  <a:pt x="4245982" y="3682318"/>
                </a:cubicBezTo>
                <a:cubicBezTo>
                  <a:pt x="4233392" y="3682318"/>
                  <a:pt x="4220802" y="3686508"/>
                  <a:pt x="4210310" y="3684413"/>
                </a:cubicBezTo>
                <a:cubicBezTo>
                  <a:pt x="4195620" y="3680221"/>
                  <a:pt x="4178832" y="3676030"/>
                  <a:pt x="4176732" y="3659266"/>
                </a:cubicBezTo>
                <a:cubicBezTo>
                  <a:pt x="4174635" y="3638313"/>
                  <a:pt x="4195620" y="3644598"/>
                  <a:pt x="4206112" y="3634121"/>
                </a:cubicBezTo>
                <a:cubicBezTo>
                  <a:pt x="4187225" y="3625738"/>
                  <a:pt x="4172536" y="3611071"/>
                  <a:pt x="4162044" y="3642503"/>
                </a:cubicBezTo>
                <a:cubicBezTo>
                  <a:pt x="4155748" y="3667648"/>
                  <a:pt x="4134763" y="3678126"/>
                  <a:pt x="4111680" y="3669743"/>
                </a:cubicBezTo>
                <a:lnTo>
                  <a:pt x="4090873" y="3666176"/>
                </a:lnTo>
                <a:lnTo>
                  <a:pt x="4090096" y="3665293"/>
                </a:lnTo>
                <a:lnTo>
                  <a:pt x="4089108" y="3665872"/>
                </a:lnTo>
                <a:lnTo>
                  <a:pt x="4072924" y="3663098"/>
                </a:lnTo>
                <a:cubicBezTo>
                  <a:pt x="4033381" y="3659660"/>
                  <a:pt x="3992067" y="3662410"/>
                  <a:pt x="3954295" y="3640408"/>
                </a:cubicBezTo>
                <a:cubicBezTo>
                  <a:pt x="3933309" y="3627835"/>
                  <a:pt x="3897637" y="3652980"/>
                  <a:pt x="3864060" y="3629930"/>
                </a:cubicBezTo>
                <a:cubicBezTo>
                  <a:pt x="3872453" y="3669743"/>
                  <a:pt x="3887142" y="3701177"/>
                  <a:pt x="3912325" y="3715844"/>
                </a:cubicBezTo>
                <a:cubicBezTo>
                  <a:pt x="3945901" y="3736799"/>
                  <a:pt x="3971083" y="3766136"/>
                  <a:pt x="4002560" y="3789186"/>
                </a:cubicBezTo>
                <a:cubicBezTo>
                  <a:pt x="4006756" y="3793378"/>
                  <a:pt x="4010953" y="3803855"/>
                  <a:pt x="4013052" y="3801759"/>
                </a:cubicBezTo>
                <a:cubicBezTo>
                  <a:pt x="4055022" y="3759850"/>
                  <a:pt x="4065514" y="3810141"/>
                  <a:pt x="4082302" y="3826906"/>
                </a:cubicBezTo>
                <a:cubicBezTo>
                  <a:pt x="4117976" y="3862529"/>
                  <a:pt x="4168338" y="3885579"/>
                  <a:pt x="4180930" y="3942156"/>
                </a:cubicBezTo>
                <a:cubicBezTo>
                  <a:pt x="4180930" y="3944252"/>
                  <a:pt x="4183028" y="3944252"/>
                  <a:pt x="4183028" y="3946347"/>
                </a:cubicBezTo>
                <a:cubicBezTo>
                  <a:pt x="4220802" y="3967302"/>
                  <a:pt x="4227096" y="3988257"/>
                  <a:pt x="4204012" y="4025977"/>
                </a:cubicBezTo>
                <a:cubicBezTo>
                  <a:pt x="4197718" y="4036453"/>
                  <a:pt x="4187225" y="4044835"/>
                  <a:pt x="4189324" y="4057408"/>
                </a:cubicBezTo>
                <a:cubicBezTo>
                  <a:pt x="4201915" y="4105604"/>
                  <a:pt x="4174635" y="4134941"/>
                  <a:pt x="4141058" y="4160087"/>
                </a:cubicBezTo>
                <a:cubicBezTo>
                  <a:pt x="4122172" y="4174755"/>
                  <a:pt x="4109581" y="4195710"/>
                  <a:pt x="4099088" y="4216664"/>
                </a:cubicBezTo>
                <a:cubicBezTo>
                  <a:pt x="4067612" y="4275338"/>
                  <a:pt x="4021445" y="4325630"/>
                  <a:pt x="3998363" y="4388495"/>
                </a:cubicBezTo>
                <a:cubicBezTo>
                  <a:pt x="3992067" y="4405258"/>
                  <a:pt x="3977378" y="4424118"/>
                  <a:pt x="3960590" y="4430404"/>
                </a:cubicBezTo>
                <a:cubicBezTo>
                  <a:pt x="3906029" y="4451359"/>
                  <a:pt x="3868256" y="4493269"/>
                  <a:pt x="3822090" y="4524700"/>
                </a:cubicBezTo>
                <a:cubicBezTo>
                  <a:pt x="3771726" y="4558228"/>
                  <a:pt x="3717166" y="4566611"/>
                  <a:pt x="3656310" y="4558228"/>
                </a:cubicBezTo>
                <a:cubicBezTo>
                  <a:pt x="3601750" y="4551941"/>
                  <a:pt x="3549288" y="4537273"/>
                  <a:pt x="3496826" y="4526795"/>
                </a:cubicBezTo>
                <a:cubicBezTo>
                  <a:pt x="3467446" y="4522605"/>
                  <a:pt x="3442266" y="4512128"/>
                  <a:pt x="3421280" y="4489077"/>
                </a:cubicBezTo>
                <a:cubicBezTo>
                  <a:pt x="3442266" y="4510032"/>
                  <a:pt x="3467446" y="4526795"/>
                  <a:pt x="3482136" y="4556133"/>
                </a:cubicBezTo>
                <a:cubicBezTo>
                  <a:pt x="3501022" y="4591756"/>
                  <a:pt x="3496826" y="4614806"/>
                  <a:pt x="3456956" y="4629475"/>
                </a:cubicBezTo>
                <a:cubicBezTo>
                  <a:pt x="3419184" y="4644143"/>
                  <a:pt x="3387706" y="4667193"/>
                  <a:pt x="3356229" y="4690243"/>
                </a:cubicBezTo>
                <a:cubicBezTo>
                  <a:pt x="3303766" y="4723771"/>
                  <a:pt x="3249206" y="4738439"/>
                  <a:pt x="3188350" y="4744727"/>
                </a:cubicBezTo>
                <a:cubicBezTo>
                  <a:pt x="3154774" y="4746822"/>
                  <a:pt x="3121200" y="4748917"/>
                  <a:pt x="3100214" y="4782444"/>
                </a:cubicBezTo>
                <a:cubicBezTo>
                  <a:pt x="3089722" y="4799209"/>
                  <a:pt x="3066639" y="4790827"/>
                  <a:pt x="3047752" y="4801304"/>
                </a:cubicBezTo>
                <a:cubicBezTo>
                  <a:pt x="3064540" y="4820164"/>
                  <a:pt x="3083426" y="4834832"/>
                  <a:pt x="3102314" y="4849499"/>
                </a:cubicBezTo>
                <a:cubicBezTo>
                  <a:pt x="3133790" y="4872550"/>
                  <a:pt x="3150578" y="4901887"/>
                  <a:pt x="3161070" y="4937510"/>
                </a:cubicBezTo>
                <a:cubicBezTo>
                  <a:pt x="3171562" y="4979420"/>
                  <a:pt x="3142184" y="5012948"/>
                  <a:pt x="3100214" y="5000375"/>
                </a:cubicBezTo>
                <a:cubicBezTo>
                  <a:pt x="3039358" y="4981515"/>
                  <a:pt x="2993191" y="4991993"/>
                  <a:pt x="2940730" y="5035998"/>
                </a:cubicBezTo>
                <a:cubicBezTo>
                  <a:pt x="2913448" y="5063240"/>
                  <a:pt x="2875676" y="5073717"/>
                  <a:pt x="2867284" y="5117722"/>
                </a:cubicBezTo>
                <a:cubicBezTo>
                  <a:pt x="2863086" y="5136581"/>
                  <a:pt x="2837904" y="5144962"/>
                  <a:pt x="2831610" y="5168012"/>
                </a:cubicBezTo>
                <a:cubicBezTo>
                  <a:pt x="2825312" y="5188968"/>
                  <a:pt x="2806428" y="5184777"/>
                  <a:pt x="2793836" y="5174300"/>
                </a:cubicBezTo>
                <a:cubicBezTo>
                  <a:pt x="2760261" y="5151250"/>
                  <a:pt x="2724587" y="5140772"/>
                  <a:pt x="2684715" y="5136581"/>
                </a:cubicBezTo>
                <a:cubicBezTo>
                  <a:pt x="2628057" y="5130295"/>
                  <a:pt x="2594481" y="5086289"/>
                  <a:pt x="2548314" y="5059048"/>
                </a:cubicBezTo>
                <a:cubicBezTo>
                  <a:pt x="2518936" y="5042285"/>
                  <a:pt x="2485360" y="5031806"/>
                  <a:pt x="2462278" y="5008757"/>
                </a:cubicBezTo>
                <a:cubicBezTo>
                  <a:pt x="2453883" y="5012948"/>
                  <a:pt x="2451785" y="5017138"/>
                  <a:pt x="2455982" y="5019234"/>
                </a:cubicBezTo>
                <a:cubicBezTo>
                  <a:pt x="2479065" y="5038093"/>
                  <a:pt x="2497951" y="5059048"/>
                  <a:pt x="2516838" y="5096767"/>
                </a:cubicBezTo>
                <a:cubicBezTo>
                  <a:pt x="2523134" y="5113530"/>
                  <a:pt x="2537822" y="5121912"/>
                  <a:pt x="2550414" y="5132391"/>
                </a:cubicBezTo>
                <a:cubicBezTo>
                  <a:pt x="2567201" y="5144962"/>
                  <a:pt x="2579792" y="5159631"/>
                  <a:pt x="2567201" y="5182681"/>
                </a:cubicBezTo>
                <a:cubicBezTo>
                  <a:pt x="2583989" y="5176395"/>
                  <a:pt x="2600775" y="5172204"/>
                  <a:pt x="2613367" y="5186873"/>
                </a:cubicBezTo>
                <a:cubicBezTo>
                  <a:pt x="2651140" y="5230877"/>
                  <a:pt x="2697307" y="5268596"/>
                  <a:pt x="2728784" y="5318888"/>
                </a:cubicBezTo>
                <a:cubicBezTo>
                  <a:pt x="2743473" y="5344033"/>
                  <a:pt x="2720389" y="5344033"/>
                  <a:pt x="2703602" y="5346128"/>
                </a:cubicBezTo>
                <a:cubicBezTo>
                  <a:pt x="2657436" y="5346128"/>
                  <a:pt x="2615465" y="5331461"/>
                  <a:pt x="2577693" y="5300028"/>
                </a:cubicBezTo>
                <a:cubicBezTo>
                  <a:pt x="2544118" y="5272787"/>
                  <a:pt x="2502148" y="5266501"/>
                  <a:pt x="2462278" y="5253928"/>
                </a:cubicBezTo>
                <a:cubicBezTo>
                  <a:pt x="2443391" y="5249737"/>
                  <a:pt x="2420307" y="5264406"/>
                  <a:pt x="2399323" y="5266501"/>
                </a:cubicBezTo>
                <a:cubicBezTo>
                  <a:pt x="2382535" y="5266501"/>
                  <a:pt x="2369944" y="5264406"/>
                  <a:pt x="2372043" y="5249737"/>
                </a:cubicBezTo>
                <a:cubicBezTo>
                  <a:pt x="2378338" y="5207827"/>
                  <a:pt x="2346861" y="5209922"/>
                  <a:pt x="2323777" y="5201541"/>
                </a:cubicBezTo>
                <a:cubicBezTo>
                  <a:pt x="2315382" y="5199446"/>
                  <a:pt x="2315382" y="5212017"/>
                  <a:pt x="2317482" y="5205732"/>
                </a:cubicBezTo>
                <a:cubicBezTo>
                  <a:pt x="2319580" y="5203636"/>
                  <a:pt x="2319580" y="5203636"/>
                  <a:pt x="2321678" y="5203636"/>
                </a:cubicBezTo>
                <a:cubicBezTo>
                  <a:pt x="2325876" y="5205732"/>
                  <a:pt x="2330073" y="5205732"/>
                  <a:pt x="2330073" y="5207827"/>
                </a:cubicBezTo>
                <a:cubicBezTo>
                  <a:pt x="2353157" y="5235068"/>
                  <a:pt x="2317482" y="5251833"/>
                  <a:pt x="2317482" y="5276978"/>
                </a:cubicBezTo>
                <a:cubicBezTo>
                  <a:pt x="2317482" y="5291646"/>
                  <a:pt x="2296497" y="5291646"/>
                  <a:pt x="2283906" y="5291646"/>
                </a:cubicBezTo>
                <a:cubicBezTo>
                  <a:pt x="2265020" y="5287456"/>
                  <a:pt x="2246134" y="5285361"/>
                  <a:pt x="2239839" y="5264406"/>
                </a:cubicBezTo>
                <a:cubicBezTo>
                  <a:pt x="2233544" y="5243451"/>
                  <a:pt x="2252430" y="5239260"/>
                  <a:pt x="2267119" y="5228782"/>
                </a:cubicBezTo>
                <a:cubicBezTo>
                  <a:pt x="2239839" y="5243451"/>
                  <a:pt x="2210460" y="5243451"/>
                  <a:pt x="2187377" y="5258118"/>
                </a:cubicBezTo>
                <a:cubicBezTo>
                  <a:pt x="2160096" y="5272787"/>
                  <a:pt x="2141210" y="5262311"/>
                  <a:pt x="2145407" y="5230877"/>
                </a:cubicBezTo>
                <a:cubicBezTo>
                  <a:pt x="2147506" y="5212017"/>
                  <a:pt x="2141210" y="5205732"/>
                  <a:pt x="2128619" y="5207827"/>
                </a:cubicBezTo>
                <a:cubicBezTo>
                  <a:pt x="2063566" y="5220400"/>
                  <a:pt x="2017399" y="5186873"/>
                  <a:pt x="1975431" y="5147057"/>
                </a:cubicBezTo>
                <a:cubicBezTo>
                  <a:pt x="1967037" y="5140772"/>
                  <a:pt x="1967037" y="5124008"/>
                  <a:pt x="1952348" y="5130295"/>
                </a:cubicBezTo>
                <a:cubicBezTo>
                  <a:pt x="1941855" y="5136581"/>
                  <a:pt x="1950249" y="5147057"/>
                  <a:pt x="1948151" y="5155440"/>
                </a:cubicBezTo>
                <a:cubicBezTo>
                  <a:pt x="1948151" y="5174300"/>
                  <a:pt x="1935560" y="5180586"/>
                  <a:pt x="1918772" y="5182681"/>
                </a:cubicBezTo>
                <a:cubicBezTo>
                  <a:pt x="1881000" y="5186873"/>
                  <a:pt x="1799159" y="5121912"/>
                  <a:pt x="1797060" y="5084194"/>
                </a:cubicBezTo>
                <a:cubicBezTo>
                  <a:pt x="1794961" y="5065335"/>
                  <a:pt x="1801257" y="5054857"/>
                  <a:pt x="1818045" y="5073717"/>
                </a:cubicBezTo>
                <a:lnTo>
                  <a:pt x="1820908" y="5077021"/>
                </a:lnTo>
                <a:lnTo>
                  <a:pt x="1819801" y="5084354"/>
                </a:lnTo>
                <a:cubicBezTo>
                  <a:pt x="1820592" y="5088262"/>
                  <a:pt x="1822705" y="5091910"/>
                  <a:pt x="1825869" y="5095036"/>
                </a:cubicBezTo>
                <a:cubicBezTo>
                  <a:pt x="1842754" y="5113795"/>
                  <a:pt x="1878633" y="5109626"/>
                  <a:pt x="1884965" y="5142976"/>
                </a:cubicBezTo>
                <a:cubicBezTo>
                  <a:pt x="1889185" y="5153396"/>
                  <a:pt x="1899738" y="5142976"/>
                  <a:pt x="1899738" y="5132554"/>
                </a:cubicBezTo>
                <a:cubicBezTo>
                  <a:pt x="1903960" y="5111710"/>
                  <a:pt x="1887075" y="5105458"/>
                  <a:pt x="1876522" y="5092952"/>
                </a:cubicBezTo>
                <a:cubicBezTo>
                  <a:pt x="1865442" y="5078883"/>
                  <a:pt x="1847238" y="5087089"/>
                  <a:pt x="1832596" y="5082400"/>
                </a:cubicBezTo>
                <a:lnTo>
                  <a:pt x="1821424" y="5073595"/>
                </a:lnTo>
                <a:lnTo>
                  <a:pt x="1821648" y="5072108"/>
                </a:lnTo>
                <a:cubicBezTo>
                  <a:pt x="1821648" y="5072108"/>
                  <a:pt x="1819538" y="5072108"/>
                  <a:pt x="1819538" y="5072108"/>
                </a:cubicBezTo>
                <a:lnTo>
                  <a:pt x="1821424" y="5073595"/>
                </a:lnTo>
                <a:lnTo>
                  <a:pt x="1820958" y="5076681"/>
                </a:lnTo>
                <a:lnTo>
                  <a:pt x="1820143" y="5075812"/>
                </a:lnTo>
                <a:cubicBezTo>
                  <a:pt x="1809650" y="5052762"/>
                  <a:pt x="1784469" y="5069526"/>
                  <a:pt x="1769779" y="5056952"/>
                </a:cubicBezTo>
                <a:lnTo>
                  <a:pt x="1768944" y="5055979"/>
                </a:lnTo>
                <a:lnTo>
                  <a:pt x="1774160" y="5048850"/>
                </a:lnTo>
                <a:cubicBezTo>
                  <a:pt x="1772062" y="5044632"/>
                  <a:pt x="1767867" y="5040414"/>
                  <a:pt x="1763671" y="5038304"/>
                </a:cubicBezTo>
                <a:lnTo>
                  <a:pt x="1757975" y="5043200"/>
                </a:lnTo>
                <a:lnTo>
                  <a:pt x="1757189" y="5042285"/>
                </a:lnTo>
                <a:cubicBezTo>
                  <a:pt x="1738302" y="5008757"/>
                  <a:pt x="1708924" y="4979420"/>
                  <a:pt x="1704726" y="4935415"/>
                </a:cubicBezTo>
                <a:cubicBezTo>
                  <a:pt x="1690037" y="4968942"/>
                  <a:pt x="1654364" y="4941701"/>
                  <a:pt x="1633379" y="4960559"/>
                </a:cubicBezTo>
                <a:lnTo>
                  <a:pt x="1627270" y="4956900"/>
                </a:lnTo>
                <a:lnTo>
                  <a:pt x="1626858" y="4956075"/>
                </a:lnTo>
                <a:lnTo>
                  <a:pt x="1627317" y="4954896"/>
                </a:lnTo>
                <a:cubicBezTo>
                  <a:pt x="1627317" y="4954896"/>
                  <a:pt x="1625219" y="4952798"/>
                  <a:pt x="1625219" y="4952798"/>
                </a:cubicBezTo>
                <a:lnTo>
                  <a:pt x="1626858" y="4956075"/>
                </a:lnTo>
                <a:lnTo>
                  <a:pt x="1626675" y="4956544"/>
                </a:lnTo>
                <a:lnTo>
                  <a:pt x="1622887" y="4954275"/>
                </a:lnTo>
                <a:cubicBezTo>
                  <a:pt x="1608198" y="4935415"/>
                  <a:pt x="1635478" y="4901887"/>
                  <a:pt x="1604001" y="4885123"/>
                </a:cubicBezTo>
                <a:cubicBezTo>
                  <a:pt x="1597705" y="4889315"/>
                  <a:pt x="1599803" y="4897696"/>
                  <a:pt x="1597705" y="4903982"/>
                </a:cubicBezTo>
                <a:cubicBezTo>
                  <a:pt x="1591410" y="4920746"/>
                  <a:pt x="1589311" y="4943797"/>
                  <a:pt x="1566228" y="4937510"/>
                </a:cubicBezTo>
                <a:cubicBezTo>
                  <a:pt x="1545243" y="4933319"/>
                  <a:pt x="1536848" y="4908174"/>
                  <a:pt x="1543144" y="4889315"/>
                </a:cubicBezTo>
                <a:cubicBezTo>
                  <a:pt x="1549440" y="4870454"/>
                  <a:pt x="1543144" y="4872550"/>
                  <a:pt x="1530553" y="4872550"/>
                </a:cubicBezTo>
                <a:cubicBezTo>
                  <a:pt x="1515864" y="4870454"/>
                  <a:pt x="1505372" y="4862073"/>
                  <a:pt x="1490682" y="4862073"/>
                </a:cubicBezTo>
                <a:cubicBezTo>
                  <a:pt x="1473895" y="4859977"/>
                  <a:pt x="1452909" y="4859977"/>
                  <a:pt x="1457106" y="4836927"/>
                </a:cubicBezTo>
                <a:cubicBezTo>
                  <a:pt x="1459205" y="4813877"/>
                  <a:pt x="1473895" y="4803399"/>
                  <a:pt x="1496977" y="4807590"/>
                </a:cubicBezTo>
                <a:lnTo>
                  <a:pt x="1499999" y="4807968"/>
                </a:lnTo>
                <a:lnTo>
                  <a:pt x="1500453" y="4808245"/>
                </a:lnTo>
                <a:cubicBezTo>
                  <a:pt x="1504585" y="4809687"/>
                  <a:pt x="1509045" y="4810209"/>
                  <a:pt x="1513765" y="4809687"/>
                </a:cubicBezTo>
                <a:lnTo>
                  <a:pt x="1499999" y="4807968"/>
                </a:lnTo>
                <a:lnTo>
                  <a:pt x="1489109" y="4801304"/>
                </a:lnTo>
                <a:cubicBezTo>
                  <a:pt x="1482288" y="4795017"/>
                  <a:pt x="1477042" y="4785588"/>
                  <a:pt x="1473895" y="4774062"/>
                </a:cubicBezTo>
                <a:cubicBezTo>
                  <a:pt x="1459205" y="4725866"/>
                  <a:pt x="1415137" y="4696530"/>
                  <a:pt x="1387856" y="4656716"/>
                </a:cubicBezTo>
                <a:cubicBezTo>
                  <a:pt x="1362676" y="4621093"/>
                  <a:pt x="1358478" y="4663001"/>
                  <a:pt x="1347986" y="4675576"/>
                </a:cubicBezTo>
                <a:lnTo>
                  <a:pt x="1343660" y="4679030"/>
                </a:lnTo>
                <a:lnTo>
                  <a:pt x="1340971" y="4678642"/>
                </a:lnTo>
                <a:lnTo>
                  <a:pt x="1340971" y="4676264"/>
                </a:lnTo>
                <a:cubicBezTo>
                  <a:pt x="1340971" y="4676264"/>
                  <a:pt x="1338873" y="4678340"/>
                  <a:pt x="1338873" y="4678340"/>
                </a:cubicBezTo>
                <a:lnTo>
                  <a:pt x="1340971" y="4678642"/>
                </a:lnTo>
                <a:lnTo>
                  <a:pt x="1340971" y="4681179"/>
                </a:lnTo>
                <a:lnTo>
                  <a:pt x="1337494" y="4683957"/>
                </a:lnTo>
                <a:cubicBezTo>
                  <a:pt x="1329100" y="4690243"/>
                  <a:pt x="1312312" y="4694434"/>
                  <a:pt x="1310214" y="4683957"/>
                </a:cubicBezTo>
                <a:cubicBezTo>
                  <a:pt x="1293425" y="4644143"/>
                  <a:pt x="1240963" y="4648334"/>
                  <a:pt x="1224175" y="4610616"/>
                </a:cubicBezTo>
                <a:cubicBezTo>
                  <a:pt x="1219979" y="4602233"/>
                  <a:pt x="1219979" y="4593851"/>
                  <a:pt x="1224175" y="4585469"/>
                </a:cubicBezTo>
                <a:cubicBezTo>
                  <a:pt x="1230471" y="4572896"/>
                  <a:pt x="1226274" y="4554037"/>
                  <a:pt x="1243062" y="4551941"/>
                </a:cubicBezTo>
                <a:cubicBezTo>
                  <a:pt x="1246734" y="4550894"/>
                  <a:pt x="1250014" y="4551025"/>
                  <a:pt x="1252964" y="4551975"/>
                </a:cubicBezTo>
                <a:lnTo>
                  <a:pt x="1254621" y="4553005"/>
                </a:lnTo>
                <a:lnTo>
                  <a:pt x="1267010" y="4565379"/>
                </a:lnTo>
                <a:lnTo>
                  <a:pt x="1272441" y="4572896"/>
                </a:lnTo>
                <a:cubicBezTo>
                  <a:pt x="1291328" y="4604328"/>
                  <a:pt x="1314410" y="4610616"/>
                  <a:pt x="1343789" y="4595946"/>
                </a:cubicBezTo>
                <a:cubicBezTo>
                  <a:pt x="1352183" y="4591756"/>
                  <a:pt x="1354282" y="4585469"/>
                  <a:pt x="1352183" y="4577088"/>
                </a:cubicBezTo>
                <a:cubicBezTo>
                  <a:pt x="1337494" y="4568706"/>
                  <a:pt x="1333296" y="4583374"/>
                  <a:pt x="1324903" y="4589660"/>
                </a:cubicBezTo>
                <a:cubicBezTo>
                  <a:pt x="1314410" y="4598042"/>
                  <a:pt x="1303918" y="4602233"/>
                  <a:pt x="1293425" y="4591756"/>
                </a:cubicBezTo>
                <a:lnTo>
                  <a:pt x="1267010" y="4565379"/>
                </a:lnTo>
                <a:lnTo>
                  <a:pt x="1260899" y="4556918"/>
                </a:lnTo>
                <a:lnTo>
                  <a:pt x="1254621" y="4553005"/>
                </a:lnTo>
                <a:lnTo>
                  <a:pt x="1217880" y="4516319"/>
                </a:lnTo>
                <a:lnTo>
                  <a:pt x="1216181" y="4509529"/>
                </a:lnTo>
                <a:lnTo>
                  <a:pt x="1222077" y="4495364"/>
                </a:lnTo>
                <a:cubicBezTo>
                  <a:pt x="1218929" y="4501651"/>
                  <a:pt x="1216830" y="4505841"/>
                  <a:pt x="1216045" y="4508984"/>
                </a:cubicBezTo>
                <a:lnTo>
                  <a:pt x="1216181" y="4509529"/>
                </a:lnTo>
                <a:lnTo>
                  <a:pt x="1214962" y="4512454"/>
                </a:lnTo>
                <a:cubicBezTo>
                  <a:pt x="1211322" y="4527976"/>
                  <a:pt x="1216830" y="4539369"/>
                  <a:pt x="1219979" y="4551941"/>
                </a:cubicBezTo>
                <a:cubicBezTo>
                  <a:pt x="1224175" y="4564515"/>
                  <a:pt x="1228372" y="4577088"/>
                  <a:pt x="1211585" y="4587565"/>
                </a:cubicBezTo>
                <a:cubicBezTo>
                  <a:pt x="1198994" y="4593851"/>
                  <a:pt x="1186403" y="4602233"/>
                  <a:pt x="1169615" y="4593851"/>
                </a:cubicBezTo>
                <a:cubicBezTo>
                  <a:pt x="1154926" y="4587565"/>
                  <a:pt x="1138137" y="4577088"/>
                  <a:pt x="1133941" y="4562419"/>
                </a:cubicBezTo>
                <a:lnTo>
                  <a:pt x="1118051" y="4531182"/>
                </a:lnTo>
                <a:lnTo>
                  <a:pt x="1122534" y="4524068"/>
                </a:lnTo>
                <a:cubicBezTo>
                  <a:pt x="1123061" y="4520658"/>
                  <a:pt x="1122009" y="4517512"/>
                  <a:pt x="1118854" y="4516463"/>
                </a:cubicBezTo>
                <a:lnTo>
                  <a:pt x="1101348" y="4505358"/>
                </a:lnTo>
                <a:lnTo>
                  <a:pt x="1070987" y="4474409"/>
                </a:lnTo>
                <a:cubicBezTo>
                  <a:pt x="1047904" y="4453454"/>
                  <a:pt x="1041609" y="4426213"/>
                  <a:pt x="1060494" y="4398972"/>
                </a:cubicBezTo>
                <a:cubicBezTo>
                  <a:pt x="1022722" y="4405258"/>
                  <a:pt x="1012230" y="4382208"/>
                  <a:pt x="1008033" y="4348680"/>
                </a:cubicBezTo>
                <a:cubicBezTo>
                  <a:pt x="1005934" y="4338203"/>
                  <a:pt x="999639" y="4327725"/>
                  <a:pt x="995442" y="4310962"/>
                </a:cubicBezTo>
                <a:cubicBezTo>
                  <a:pt x="984949" y="4325630"/>
                  <a:pt x="987047" y="4350775"/>
                  <a:pt x="961866" y="4348680"/>
                </a:cubicBezTo>
                <a:cubicBezTo>
                  <a:pt x="945078" y="4346584"/>
                  <a:pt x="938783" y="4331916"/>
                  <a:pt x="930389" y="4319343"/>
                </a:cubicBezTo>
                <a:cubicBezTo>
                  <a:pt x="926192" y="4308865"/>
                  <a:pt x="919897" y="4300484"/>
                  <a:pt x="911503" y="4294198"/>
                </a:cubicBezTo>
                <a:cubicBezTo>
                  <a:pt x="903108" y="4283719"/>
                  <a:pt x="892617" y="4266957"/>
                  <a:pt x="903108" y="4258575"/>
                </a:cubicBezTo>
                <a:cubicBezTo>
                  <a:pt x="911503" y="4252288"/>
                  <a:pt x="915699" y="4238667"/>
                  <a:pt x="921733" y="4228975"/>
                </a:cubicBezTo>
                <a:lnTo>
                  <a:pt x="931514" y="4220068"/>
                </a:lnTo>
                <a:lnTo>
                  <a:pt x="951374" y="4222952"/>
                </a:lnTo>
                <a:cubicBezTo>
                  <a:pt x="943504" y="4218237"/>
                  <a:pt x="937603" y="4217320"/>
                  <a:pt x="932914" y="4218793"/>
                </a:cubicBezTo>
                <a:lnTo>
                  <a:pt x="931514" y="4220068"/>
                </a:lnTo>
                <a:lnTo>
                  <a:pt x="929045" y="4219710"/>
                </a:lnTo>
                <a:cubicBezTo>
                  <a:pt x="906518" y="4219415"/>
                  <a:pt x="883698" y="4227666"/>
                  <a:pt x="863237" y="4241810"/>
                </a:cubicBezTo>
                <a:cubicBezTo>
                  <a:pt x="823366" y="4271148"/>
                  <a:pt x="770905" y="4266957"/>
                  <a:pt x="739428" y="4227142"/>
                </a:cubicBezTo>
                <a:cubicBezTo>
                  <a:pt x="722640" y="4206188"/>
                  <a:pt x="714246" y="4181042"/>
                  <a:pt x="676473" y="4206188"/>
                </a:cubicBezTo>
                <a:cubicBezTo>
                  <a:pt x="663882" y="4214569"/>
                  <a:pt x="653390" y="4193614"/>
                  <a:pt x="649193" y="4178946"/>
                </a:cubicBezTo>
                <a:cubicBezTo>
                  <a:pt x="644996" y="4162182"/>
                  <a:pt x="642897" y="4147514"/>
                  <a:pt x="634503" y="4132846"/>
                </a:cubicBezTo>
                <a:cubicBezTo>
                  <a:pt x="617716" y="4105604"/>
                  <a:pt x="598829" y="4090936"/>
                  <a:pt x="567353" y="4103508"/>
                </a:cubicBezTo>
                <a:cubicBezTo>
                  <a:pt x="550564" y="4107700"/>
                  <a:pt x="535875" y="4107700"/>
                  <a:pt x="525382" y="4093031"/>
                </a:cubicBezTo>
                <a:cubicBezTo>
                  <a:pt x="516988" y="4080459"/>
                  <a:pt x="521185" y="4067885"/>
                  <a:pt x="529580" y="4057408"/>
                </a:cubicBezTo>
                <a:cubicBezTo>
                  <a:pt x="533777" y="4051122"/>
                  <a:pt x="544268" y="4044835"/>
                  <a:pt x="533777" y="4038549"/>
                </a:cubicBezTo>
                <a:cubicBezTo>
                  <a:pt x="506495" y="4021785"/>
                  <a:pt x="506495" y="3975684"/>
                  <a:pt x="464527" y="3977779"/>
                </a:cubicBezTo>
                <a:cubicBezTo>
                  <a:pt x="454035" y="3977779"/>
                  <a:pt x="441444" y="3969398"/>
                  <a:pt x="445641" y="3961017"/>
                </a:cubicBezTo>
                <a:cubicBezTo>
                  <a:pt x="464527" y="3914915"/>
                  <a:pt x="416263" y="3908629"/>
                  <a:pt x="401572" y="3885579"/>
                </a:cubicBezTo>
                <a:cubicBezTo>
                  <a:pt x="397376" y="3879291"/>
                  <a:pt x="391080" y="3879291"/>
                  <a:pt x="391080" y="3879291"/>
                </a:cubicBezTo>
                <a:cubicBezTo>
                  <a:pt x="393178" y="3883484"/>
                  <a:pt x="405770" y="3898151"/>
                  <a:pt x="388982" y="3906533"/>
                </a:cubicBezTo>
                <a:cubicBezTo>
                  <a:pt x="374292" y="3917011"/>
                  <a:pt x="365899" y="3902342"/>
                  <a:pt x="357504" y="3891865"/>
                </a:cubicBezTo>
                <a:cubicBezTo>
                  <a:pt x="342815" y="3864624"/>
                  <a:pt x="302944" y="3843668"/>
                  <a:pt x="328125" y="3801759"/>
                </a:cubicBezTo>
                <a:cubicBezTo>
                  <a:pt x="334421" y="3793378"/>
                  <a:pt x="317633" y="3780804"/>
                  <a:pt x="315534" y="3764041"/>
                </a:cubicBezTo>
                <a:cubicBezTo>
                  <a:pt x="315534" y="3780804"/>
                  <a:pt x="326028" y="3787090"/>
                  <a:pt x="326028" y="3795473"/>
                </a:cubicBezTo>
                <a:cubicBezTo>
                  <a:pt x="326028" y="3808046"/>
                  <a:pt x="326028" y="3818524"/>
                  <a:pt x="313436" y="3822714"/>
                </a:cubicBezTo>
                <a:cubicBezTo>
                  <a:pt x="302944" y="3824809"/>
                  <a:pt x="294551" y="3818524"/>
                  <a:pt x="292452" y="3810141"/>
                </a:cubicBezTo>
                <a:cubicBezTo>
                  <a:pt x="281960" y="3784995"/>
                  <a:pt x="267269" y="3768232"/>
                  <a:pt x="248384" y="3753563"/>
                </a:cubicBezTo>
                <a:cubicBezTo>
                  <a:pt x="242088" y="3747277"/>
                  <a:pt x="239989" y="3740990"/>
                  <a:pt x="239989" y="3732608"/>
                </a:cubicBezTo>
                <a:cubicBezTo>
                  <a:pt x="242088" y="3676030"/>
                  <a:pt x="216906" y="3636216"/>
                  <a:pt x="162346" y="3615262"/>
                </a:cubicBezTo>
                <a:cubicBezTo>
                  <a:pt x="151854" y="3611071"/>
                  <a:pt x="151854" y="3600593"/>
                  <a:pt x="153952" y="3592211"/>
                </a:cubicBezTo>
                <a:cubicBezTo>
                  <a:pt x="156051" y="3579638"/>
                  <a:pt x="164445" y="3569161"/>
                  <a:pt x="177036" y="3569161"/>
                </a:cubicBezTo>
                <a:cubicBezTo>
                  <a:pt x="191724" y="3567066"/>
                  <a:pt x="204315" y="3575448"/>
                  <a:pt x="214808" y="3583830"/>
                </a:cubicBezTo>
                <a:cubicBezTo>
                  <a:pt x="223202" y="3590115"/>
                  <a:pt x="231595" y="3604784"/>
                  <a:pt x="239989" y="3598497"/>
                </a:cubicBezTo>
                <a:cubicBezTo>
                  <a:pt x="271466" y="3579638"/>
                  <a:pt x="288255" y="3611071"/>
                  <a:pt x="311338" y="3617357"/>
                </a:cubicBezTo>
                <a:cubicBezTo>
                  <a:pt x="365899" y="3636216"/>
                  <a:pt x="391080" y="3686508"/>
                  <a:pt x="433049" y="3717940"/>
                </a:cubicBezTo>
                <a:lnTo>
                  <a:pt x="434734" y="3718781"/>
                </a:lnTo>
                <a:lnTo>
                  <a:pt x="435148" y="3720035"/>
                </a:lnTo>
                <a:lnTo>
                  <a:pt x="438639" y="3721639"/>
                </a:lnTo>
                <a:lnTo>
                  <a:pt x="433976" y="3723236"/>
                </a:lnTo>
                <a:lnTo>
                  <a:pt x="432393" y="3722458"/>
                </a:lnTo>
                <a:cubicBezTo>
                  <a:pt x="432393" y="3722458"/>
                  <a:pt x="430279" y="3724503"/>
                  <a:pt x="430279" y="3724503"/>
                </a:cubicBezTo>
                <a:lnTo>
                  <a:pt x="433976" y="3723236"/>
                </a:lnTo>
                <a:lnTo>
                  <a:pt x="448254" y="3730255"/>
                </a:lnTo>
                <a:cubicBezTo>
                  <a:pt x="464114" y="3738693"/>
                  <a:pt x="479973" y="3745979"/>
                  <a:pt x="495834" y="3724503"/>
                </a:cubicBezTo>
                <a:cubicBezTo>
                  <a:pt x="485261" y="3713253"/>
                  <a:pt x="474686" y="3711208"/>
                  <a:pt x="463849" y="3712998"/>
                </a:cubicBezTo>
                <a:lnTo>
                  <a:pt x="439716" y="3721268"/>
                </a:lnTo>
                <a:lnTo>
                  <a:pt x="434734" y="3718781"/>
                </a:lnTo>
                <a:lnTo>
                  <a:pt x="428360" y="3699473"/>
                </a:lnTo>
                <a:cubicBezTo>
                  <a:pt x="426886" y="3680222"/>
                  <a:pt x="439870" y="3664505"/>
                  <a:pt x="454035" y="3648790"/>
                </a:cubicBezTo>
                <a:cubicBezTo>
                  <a:pt x="439345" y="3634121"/>
                  <a:pt x="409967" y="3642503"/>
                  <a:pt x="405770" y="3613166"/>
                </a:cubicBezTo>
                <a:lnTo>
                  <a:pt x="406585" y="3610993"/>
                </a:lnTo>
                <a:lnTo>
                  <a:pt x="407990" y="3611076"/>
                </a:lnTo>
                <a:cubicBezTo>
                  <a:pt x="412185" y="3608993"/>
                  <a:pt x="414283" y="3604829"/>
                  <a:pt x="418478" y="3600664"/>
                </a:cubicBezTo>
                <a:lnTo>
                  <a:pt x="414410" y="3592843"/>
                </a:lnTo>
                <a:lnTo>
                  <a:pt x="415409" y="3591328"/>
                </a:lnTo>
                <a:cubicBezTo>
                  <a:pt x="421115" y="3587103"/>
                  <a:pt x="430952" y="3584353"/>
                  <a:pt x="418361" y="3573352"/>
                </a:cubicBezTo>
                <a:cubicBezTo>
                  <a:pt x="378490" y="3541919"/>
                  <a:pt x="347012" y="3502105"/>
                  <a:pt x="305042" y="3472768"/>
                </a:cubicBezTo>
                <a:cubicBezTo>
                  <a:pt x="294551" y="3464387"/>
                  <a:pt x="279861" y="3453910"/>
                  <a:pt x="281960" y="3441337"/>
                </a:cubicBezTo>
                <a:cubicBezTo>
                  <a:pt x="286156" y="3422477"/>
                  <a:pt x="279861" y="3422477"/>
                  <a:pt x="267269" y="3422477"/>
                </a:cubicBezTo>
                <a:cubicBezTo>
                  <a:pt x="250482" y="3420381"/>
                  <a:pt x="235793" y="3414095"/>
                  <a:pt x="244186" y="3393140"/>
                </a:cubicBezTo>
                <a:cubicBezTo>
                  <a:pt x="250482" y="3374281"/>
                  <a:pt x="265171" y="3365899"/>
                  <a:pt x="284057" y="3376376"/>
                </a:cubicBezTo>
                <a:cubicBezTo>
                  <a:pt x="340717" y="3411999"/>
                  <a:pt x="401572" y="3443432"/>
                  <a:pt x="456134" y="3487437"/>
                </a:cubicBezTo>
                <a:cubicBezTo>
                  <a:pt x="500201" y="3520966"/>
                  <a:pt x="544268" y="3556588"/>
                  <a:pt x="590435" y="3583830"/>
                </a:cubicBezTo>
                <a:cubicBezTo>
                  <a:pt x="619815" y="3598497"/>
                  <a:pt x="659686" y="3592211"/>
                  <a:pt x="693261" y="3583830"/>
                </a:cubicBezTo>
                <a:cubicBezTo>
                  <a:pt x="642897" y="3594307"/>
                  <a:pt x="605125" y="3569161"/>
                  <a:pt x="575746" y="3535632"/>
                </a:cubicBezTo>
                <a:cubicBezTo>
                  <a:pt x="537974" y="3493724"/>
                  <a:pt x="521185" y="3447622"/>
                  <a:pt x="569450" y="3393140"/>
                </a:cubicBezTo>
                <a:cubicBezTo>
                  <a:pt x="531678" y="3391045"/>
                  <a:pt x="514890" y="3376376"/>
                  <a:pt x="508595" y="3342849"/>
                </a:cubicBezTo>
                <a:cubicBezTo>
                  <a:pt x="504397" y="3319799"/>
                  <a:pt x="491806" y="3296748"/>
                  <a:pt x="470822" y="3282079"/>
                </a:cubicBezTo>
                <a:cubicBezTo>
                  <a:pt x="460330" y="3271603"/>
                  <a:pt x="451936" y="3256934"/>
                  <a:pt x="449839" y="3242265"/>
                </a:cubicBezTo>
                <a:cubicBezTo>
                  <a:pt x="441444" y="3171018"/>
                  <a:pt x="391080" y="3127014"/>
                  <a:pt x="349110" y="3076723"/>
                </a:cubicBezTo>
                <a:cubicBezTo>
                  <a:pt x="315534" y="3034812"/>
                  <a:pt x="292452" y="2986617"/>
                  <a:pt x="284057" y="2936325"/>
                </a:cubicBezTo>
                <a:cubicBezTo>
                  <a:pt x="273565" y="2869270"/>
                  <a:pt x="263073" y="2802215"/>
                  <a:pt x="284057" y="2735159"/>
                </a:cubicBezTo>
                <a:cubicBezTo>
                  <a:pt x="294551" y="2699541"/>
                  <a:pt x="284057" y="2678586"/>
                  <a:pt x="252581" y="2661822"/>
                </a:cubicBezTo>
                <a:cubicBezTo>
                  <a:pt x="212709" y="2640866"/>
                  <a:pt x="177036" y="2611527"/>
                  <a:pt x="143461" y="2582192"/>
                </a:cubicBezTo>
                <a:cubicBezTo>
                  <a:pt x="107786" y="2548667"/>
                  <a:pt x="90998" y="2508857"/>
                  <a:pt x="99393" y="2460665"/>
                </a:cubicBezTo>
                <a:cubicBezTo>
                  <a:pt x="109884" y="2401998"/>
                  <a:pt x="124574" y="2343329"/>
                  <a:pt x="168642" y="2297234"/>
                </a:cubicBezTo>
                <a:cubicBezTo>
                  <a:pt x="187527" y="2278376"/>
                  <a:pt x="195921" y="2261614"/>
                  <a:pt x="158150" y="2257423"/>
                </a:cubicBezTo>
                <a:cubicBezTo>
                  <a:pt x="145559" y="2255326"/>
                  <a:pt x="135066" y="2251136"/>
                  <a:pt x="126672" y="2240659"/>
                </a:cubicBezTo>
                <a:cubicBezTo>
                  <a:pt x="114081" y="2225993"/>
                  <a:pt x="109884" y="2211325"/>
                  <a:pt x="137165" y="2205041"/>
                </a:cubicBezTo>
                <a:cubicBezTo>
                  <a:pt x="145559" y="2202946"/>
                  <a:pt x="153952" y="2202946"/>
                  <a:pt x="162346" y="2196659"/>
                </a:cubicBezTo>
                <a:cubicBezTo>
                  <a:pt x="168642" y="2192469"/>
                  <a:pt x="174937" y="2186183"/>
                  <a:pt x="172838" y="2177801"/>
                </a:cubicBezTo>
                <a:cubicBezTo>
                  <a:pt x="170740" y="2169420"/>
                  <a:pt x="162346" y="2167327"/>
                  <a:pt x="153952" y="2167327"/>
                </a:cubicBezTo>
                <a:cubicBezTo>
                  <a:pt x="145559" y="2169420"/>
                  <a:pt x="137165" y="2171516"/>
                  <a:pt x="126672" y="2171516"/>
                </a:cubicBezTo>
                <a:cubicBezTo>
                  <a:pt x="101491" y="2173611"/>
                  <a:pt x="86801" y="2171516"/>
                  <a:pt x="72112" y="2135896"/>
                </a:cubicBezTo>
                <a:cubicBezTo>
                  <a:pt x="53226" y="2098181"/>
                  <a:pt x="30141" y="2058353"/>
                  <a:pt x="17551" y="2016440"/>
                </a:cubicBezTo>
                <a:cubicBezTo>
                  <a:pt x="-7631" y="1943118"/>
                  <a:pt x="-7631" y="1869770"/>
                  <a:pt x="30141" y="1800601"/>
                </a:cubicBezTo>
                <a:cubicBezTo>
                  <a:pt x="46930" y="1769160"/>
                  <a:pt x="72112" y="1760778"/>
                  <a:pt x="107786" y="1771258"/>
                </a:cubicBezTo>
                <a:cubicBezTo>
                  <a:pt x="151854" y="1785929"/>
                  <a:pt x="193823" y="1798506"/>
                  <a:pt x="225300" y="1838329"/>
                </a:cubicBezTo>
                <a:cubicBezTo>
                  <a:pt x="244186" y="1865577"/>
                  <a:pt x="279861" y="1876055"/>
                  <a:pt x="309239" y="1888630"/>
                </a:cubicBezTo>
                <a:cubicBezTo>
                  <a:pt x="332323" y="1899112"/>
                  <a:pt x="353308" y="1909592"/>
                  <a:pt x="374292" y="1928454"/>
                </a:cubicBezTo>
                <a:cubicBezTo>
                  <a:pt x="365899" y="1911688"/>
                  <a:pt x="370096" y="1901209"/>
                  <a:pt x="378490" y="1888630"/>
                </a:cubicBezTo>
                <a:cubicBezTo>
                  <a:pt x="384785" y="1878153"/>
                  <a:pt x="391080" y="1865577"/>
                  <a:pt x="405770" y="1867673"/>
                </a:cubicBezTo>
                <a:cubicBezTo>
                  <a:pt x="416263" y="1869770"/>
                  <a:pt x="418361" y="1882344"/>
                  <a:pt x="420460" y="1892825"/>
                </a:cubicBezTo>
                <a:cubicBezTo>
                  <a:pt x="424656" y="1913784"/>
                  <a:pt x="430952" y="1934738"/>
                  <a:pt x="439345" y="1953591"/>
                </a:cubicBezTo>
                <a:lnTo>
                  <a:pt x="442469" y="1960870"/>
                </a:lnTo>
                <a:lnTo>
                  <a:pt x="434970" y="1959579"/>
                </a:lnTo>
                <a:cubicBezTo>
                  <a:pt x="432901" y="1985245"/>
                  <a:pt x="445321" y="1998078"/>
                  <a:pt x="470163" y="2000215"/>
                </a:cubicBezTo>
                <a:cubicBezTo>
                  <a:pt x="472234" y="1985245"/>
                  <a:pt x="455672" y="1980968"/>
                  <a:pt x="453603" y="1968136"/>
                </a:cubicBezTo>
                <a:lnTo>
                  <a:pt x="449940" y="1964980"/>
                </a:lnTo>
                <a:lnTo>
                  <a:pt x="449839" y="1964069"/>
                </a:lnTo>
                <a:cubicBezTo>
                  <a:pt x="454035" y="1953591"/>
                  <a:pt x="460330" y="1945212"/>
                  <a:pt x="468724" y="1938931"/>
                </a:cubicBezTo>
                <a:cubicBezTo>
                  <a:pt x="481314" y="1926358"/>
                  <a:pt x="498102" y="1911688"/>
                  <a:pt x="514890" y="1924264"/>
                </a:cubicBezTo>
                <a:cubicBezTo>
                  <a:pt x="531678" y="1936831"/>
                  <a:pt x="512791" y="1951497"/>
                  <a:pt x="506495" y="1964069"/>
                </a:cubicBezTo>
                <a:cubicBezTo>
                  <a:pt x="498102" y="1978730"/>
                  <a:pt x="496004" y="1989206"/>
                  <a:pt x="512791" y="2003870"/>
                </a:cubicBezTo>
                <a:cubicBezTo>
                  <a:pt x="527481" y="2016440"/>
                  <a:pt x="535875" y="2037400"/>
                  <a:pt x="554761" y="2049976"/>
                </a:cubicBezTo>
                <a:cubicBezTo>
                  <a:pt x="563155" y="2054168"/>
                  <a:pt x="567353" y="2062551"/>
                  <a:pt x="579944" y="2056265"/>
                </a:cubicBezTo>
                <a:cubicBezTo>
                  <a:pt x="583090" y="2053120"/>
                  <a:pt x="586763" y="2051024"/>
                  <a:pt x="590698" y="2048927"/>
                </a:cubicBezTo>
                <a:lnTo>
                  <a:pt x="595809" y="2045883"/>
                </a:lnTo>
                <a:lnTo>
                  <a:pt x="602920" y="2051882"/>
                </a:lnTo>
                <a:cubicBezTo>
                  <a:pt x="602920" y="2051882"/>
                  <a:pt x="602920" y="2053957"/>
                  <a:pt x="602920" y="2053957"/>
                </a:cubicBezTo>
                <a:cubicBezTo>
                  <a:pt x="602920" y="2049804"/>
                  <a:pt x="606633" y="2044615"/>
                  <a:pt x="609284" y="2040723"/>
                </a:cubicBezTo>
                <a:lnTo>
                  <a:pt x="610474" y="2038614"/>
                </a:lnTo>
                <a:lnTo>
                  <a:pt x="613519" y="2037400"/>
                </a:lnTo>
                <a:cubicBezTo>
                  <a:pt x="663882" y="1989206"/>
                  <a:pt x="691163" y="1936831"/>
                  <a:pt x="663882" y="1863481"/>
                </a:cubicBezTo>
                <a:cubicBezTo>
                  <a:pt x="647094" y="1878153"/>
                  <a:pt x="653390" y="1894921"/>
                  <a:pt x="651292" y="1911688"/>
                </a:cubicBezTo>
                <a:cubicBezTo>
                  <a:pt x="649193" y="1920073"/>
                  <a:pt x="649193" y="1930550"/>
                  <a:pt x="636602" y="1932643"/>
                </a:cubicBezTo>
                <a:cubicBezTo>
                  <a:pt x="630306" y="1932643"/>
                  <a:pt x="621912" y="1928454"/>
                  <a:pt x="617716" y="1922168"/>
                </a:cubicBezTo>
                <a:cubicBezTo>
                  <a:pt x="605125" y="1897018"/>
                  <a:pt x="588337" y="1871864"/>
                  <a:pt x="615617" y="1844616"/>
                </a:cubicBezTo>
                <a:cubicBezTo>
                  <a:pt x="626110" y="1836233"/>
                  <a:pt x="628207" y="1825753"/>
                  <a:pt x="628207" y="1813177"/>
                </a:cubicBezTo>
                <a:cubicBezTo>
                  <a:pt x="628207" y="1804791"/>
                  <a:pt x="632405" y="1794311"/>
                  <a:pt x="638701" y="1796408"/>
                </a:cubicBezTo>
                <a:cubicBezTo>
                  <a:pt x="682769" y="1806889"/>
                  <a:pt x="676473" y="1775452"/>
                  <a:pt x="680670" y="1752394"/>
                </a:cubicBezTo>
                <a:cubicBezTo>
                  <a:pt x="682769" y="1735627"/>
                  <a:pt x="691163" y="1729337"/>
                  <a:pt x="703753" y="1720955"/>
                </a:cubicBezTo>
                <a:cubicBezTo>
                  <a:pt x="747821" y="1687423"/>
                  <a:pt x="752018" y="1660186"/>
                  <a:pt x="718443" y="1612000"/>
                </a:cubicBezTo>
                <a:cubicBezTo>
                  <a:pt x="716344" y="1609903"/>
                  <a:pt x="712148" y="1605714"/>
                  <a:pt x="712148" y="1601529"/>
                </a:cubicBezTo>
                <a:cubicBezTo>
                  <a:pt x="718443" y="1557525"/>
                  <a:pt x="739428" y="1538665"/>
                  <a:pt x="783495" y="1542855"/>
                </a:cubicBezTo>
                <a:cubicBezTo>
                  <a:pt x="804480" y="1544952"/>
                  <a:pt x="819169" y="1544952"/>
                  <a:pt x="829661" y="1526093"/>
                </a:cubicBezTo>
                <a:cubicBezTo>
                  <a:pt x="840154" y="1503043"/>
                  <a:pt x="819169" y="1494660"/>
                  <a:pt x="814973" y="1477895"/>
                </a:cubicBezTo>
                <a:cubicBezTo>
                  <a:pt x="793988" y="1417126"/>
                  <a:pt x="747821" y="1371025"/>
                  <a:pt x="716344" y="1316543"/>
                </a:cubicBezTo>
                <a:cubicBezTo>
                  <a:pt x="697459" y="1280920"/>
                  <a:pt x="680670" y="1243202"/>
                  <a:pt x="657587" y="1209675"/>
                </a:cubicBezTo>
                <a:lnTo>
                  <a:pt x="624672" y="1154470"/>
                </a:lnTo>
                <a:lnTo>
                  <a:pt x="625633" y="1152784"/>
                </a:lnTo>
                <a:cubicBezTo>
                  <a:pt x="625633" y="1144480"/>
                  <a:pt x="625633" y="1136176"/>
                  <a:pt x="615435" y="1138252"/>
                </a:cubicBezTo>
                <a:lnTo>
                  <a:pt x="614786" y="1138692"/>
                </a:lnTo>
                <a:lnTo>
                  <a:pt x="606240" y="1125104"/>
                </a:lnTo>
                <a:cubicBezTo>
                  <a:pt x="599747" y="1115904"/>
                  <a:pt x="592534" y="1106999"/>
                  <a:pt x="584139" y="1098616"/>
                </a:cubicBezTo>
                <a:cubicBezTo>
                  <a:pt x="561057" y="1073471"/>
                  <a:pt x="561057" y="1027372"/>
                  <a:pt x="531678" y="1000131"/>
                </a:cubicBezTo>
                <a:cubicBezTo>
                  <a:pt x="531678" y="998036"/>
                  <a:pt x="533777" y="989654"/>
                  <a:pt x="529580" y="998036"/>
                </a:cubicBezTo>
                <a:cubicBezTo>
                  <a:pt x="521185" y="1008513"/>
                  <a:pt x="512791" y="1008513"/>
                  <a:pt x="502299" y="1002226"/>
                </a:cubicBezTo>
                <a:cubicBezTo>
                  <a:pt x="491806" y="993844"/>
                  <a:pt x="481314" y="983367"/>
                  <a:pt x="487610" y="970795"/>
                </a:cubicBezTo>
                <a:cubicBezTo>
                  <a:pt x="506495" y="930981"/>
                  <a:pt x="479216" y="899549"/>
                  <a:pt x="468724" y="866021"/>
                </a:cubicBezTo>
                <a:cubicBezTo>
                  <a:pt x="462429" y="847160"/>
                  <a:pt x="449839" y="822014"/>
                  <a:pt x="468724" y="811537"/>
                </a:cubicBezTo>
                <a:cubicBezTo>
                  <a:pt x="489709" y="803154"/>
                  <a:pt x="516988" y="809440"/>
                  <a:pt x="529580" y="834587"/>
                </a:cubicBezTo>
                <a:cubicBezTo>
                  <a:pt x="550564" y="876498"/>
                  <a:pt x="594633" y="899549"/>
                  <a:pt x="607224" y="945648"/>
                </a:cubicBezTo>
                <a:cubicBezTo>
                  <a:pt x="609322" y="947744"/>
                  <a:pt x="611420" y="951936"/>
                  <a:pt x="613519" y="951936"/>
                </a:cubicBezTo>
                <a:cubicBezTo>
                  <a:pt x="663882" y="956126"/>
                  <a:pt x="695360" y="1000131"/>
                  <a:pt x="737330" y="1018990"/>
                </a:cubicBezTo>
                <a:cubicBezTo>
                  <a:pt x="745722" y="1023181"/>
                  <a:pt x="762511" y="1023181"/>
                  <a:pt x="760412" y="1029467"/>
                </a:cubicBezTo>
                <a:cubicBezTo>
                  <a:pt x="756216" y="1075567"/>
                  <a:pt x="802382" y="1077661"/>
                  <a:pt x="821267" y="1104904"/>
                </a:cubicBezTo>
                <a:cubicBezTo>
                  <a:pt x="825464" y="1106999"/>
                  <a:pt x="827563" y="1111190"/>
                  <a:pt x="831760" y="1113285"/>
                </a:cubicBezTo>
                <a:cubicBezTo>
                  <a:pt x="863237" y="1125858"/>
                  <a:pt x="874648" y="1132537"/>
                  <a:pt x="882812" y="1145699"/>
                </a:cubicBezTo>
                <a:lnTo>
                  <a:pt x="890003" y="1160424"/>
                </a:lnTo>
                <a:lnTo>
                  <a:pt x="887853" y="1163793"/>
                </a:lnTo>
                <a:cubicBezTo>
                  <a:pt x="887853" y="1168071"/>
                  <a:pt x="887853" y="1170210"/>
                  <a:pt x="887853" y="1174488"/>
                </a:cubicBezTo>
                <a:lnTo>
                  <a:pt x="890020" y="1176325"/>
                </a:lnTo>
                <a:lnTo>
                  <a:pt x="886878" y="1190652"/>
                </a:lnTo>
                <a:cubicBezTo>
                  <a:pt x="888550" y="1203912"/>
                  <a:pt x="904683" y="1208628"/>
                  <a:pt x="921995" y="1218057"/>
                </a:cubicBezTo>
                <a:cubicBezTo>
                  <a:pt x="909403" y="1178243"/>
                  <a:pt x="919897" y="1151003"/>
                  <a:pt x="938783" y="1121666"/>
                </a:cubicBezTo>
                <a:lnTo>
                  <a:pt x="947642" y="1109399"/>
                </a:lnTo>
                <a:lnTo>
                  <a:pt x="959472" y="1101138"/>
                </a:lnTo>
                <a:lnTo>
                  <a:pt x="964129" y="1102087"/>
                </a:lnTo>
                <a:lnTo>
                  <a:pt x="971171" y="1106883"/>
                </a:lnTo>
                <a:lnTo>
                  <a:pt x="971516" y="1107475"/>
                </a:lnTo>
                <a:lnTo>
                  <a:pt x="975367" y="1115140"/>
                </a:lnTo>
                <a:lnTo>
                  <a:pt x="978615" y="1127805"/>
                </a:lnTo>
                <a:lnTo>
                  <a:pt x="978584" y="1127835"/>
                </a:lnTo>
                <a:lnTo>
                  <a:pt x="978583" y="1127774"/>
                </a:lnTo>
                <a:cubicBezTo>
                  <a:pt x="965995" y="1125698"/>
                  <a:pt x="959702" y="1131926"/>
                  <a:pt x="953409" y="1140230"/>
                </a:cubicBezTo>
                <a:cubicBezTo>
                  <a:pt x="959702" y="1144382"/>
                  <a:pt x="965995" y="1150609"/>
                  <a:pt x="970191" y="1150609"/>
                </a:cubicBezTo>
                <a:cubicBezTo>
                  <a:pt x="977533" y="1149571"/>
                  <a:pt x="979106" y="1145939"/>
                  <a:pt x="979106" y="1141526"/>
                </a:cubicBezTo>
                <a:lnTo>
                  <a:pt x="978592" y="1128031"/>
                </a:lnTo>
                <a:lnTo>
                  <a:pt x="978654" y="1127954"/>
                </a:lnTo>
                <a:lnTo>
                  <a:pt x="978615" y="1127805"/>
                </a:lnTo>
                <a:lnTo>
                  <a:pt x="980752" y="1125858"/>
                </a:lnTo>
                <a:lnTo>
                  <a:pt x="975367" y="1115140"/>
                </a:lnTo>
                <a:lnTo>
                  <a:pt x="974883" y="1113253"/>
                </a:lnTo>
                <a:lnTo>
                  <a:pt x="971516" y="1107475"/>
                </a:lnTo>
                <a:lnTo>
                  <a:pt x="971244" y="1106933"/>
                </a:lnTo>
                <a:lnTo>
                  <a:pt x="971171" y="1106883"/>
                </a:lnTo>
                <a:lnTo>
                  <a:pt x="968947" y="1103070"/>
                </a:lnTo>
                <a:lnTo>
                  <a:pt x="964129" y="1102087"/>
                </a:lnTo>
                <a:lnTo>
                  <a:pt x="961341" y="1100189"/>
                </a:lnTo>
                <a:cubicBezTo>
                  <a:pt x="957932" y="1099927"/>
                  <a:pt x="954391" y="1101630"/>
                  <a:pt x="950652" y="1105230"/>
                </a:cubicBezTo>
                <a:lnTo>
                  <a:pt x="947642" y="1109399"/>
                </a:lnTo>
                <a:lnTo>
                  <a:pt x="945078" y="1111190"/>
                </a:lnTo>
                <a:cubicBezTo>
                  <a:pt x="932488" y="1123762"/>
                  <a:pt x="921995" y="1123762"/>
                  <a:pt x="909403" y="1111190"/>
                </a:cubicBezTo>
                <a:cubicBezTo>
                  <a:pt x="898911" y="1102807"/>
                  <a:pt x="894715" y="1088139"/>
                  <a:pt x="905207" y="1075567"/>
                </a:cubicBezTo>
                <a:cubicBezTo>
                  <a:pt x="913601" y="1060900"/>
                  <a:pt x="924093" y="1048326"/>
                  <a:pt x="938783" y="1031562"/>
                </a:cubicBezTo>
                <a:cubicBezTo>
                  <a:pt x="915699" y="1037849"/>
                  <a:pt x="896813" y="1044136"/>
                  <a:pt x="882124" y="1027372"/>
                </a:cubicBezTo>
                <a:cubicBezTo>
                  <a:pt x="875828" y="1020038"/>
                  <a:pt x="874780" y="1012702"/>
                  <a:pt x="876615" y="1005631"/>
                </a:cubicBezTo>
                <a:lnTo>
                  <a:pt x="888177" y="985878"/>
                </a:lnTo>
                <a:lnTo>
                  <a:pt x="896614" y="983712"/>
                </a:lnTo>
                <a:lnTo>
                  <a:pt x="897032" y="985699"/>
                </a:lnTo>
                <a:cubicBezTo>
                  <a:pt x="897032" y="985699"/>
                  <a:pt x="897032" y="983605"/>
                  <a:pt x="897032" y="983605"/>
                </a:cubicBezTo>
                <a:lnTo>
                  <a:pt x="896614" y="983712"/>
                </a:lnTo>
                <a:lnTo>
                  <a:pt x="895819" y="979922"/>
                </a:lnTo>
                <a:lnTo>
                  <a:pt x="896813" y="979177"/>
                </a:lnTo>
                <a:cubicBezTo>
                  <a:pt x="921995" y="941458"/>
                  <a:pt x="890518" y="910027"/>
                  <a:pt x="882124" y="878593"/>
                </a:cubicBezTo>
                <a:cubicBezTo>
                  <a:pt x="873730" y="845065"/>
                  <a:pt x="873730" y="824109"/>
                  <a:pt x="901010" y="805249"/>
                </a:cubicBezTo>
                <a:cubicBezTo>
                  <a:pt x="921995" y="792676"/>
                  <a:pt x="989146" y="805249"/>
                  <a:pt x="995442" y="826204"/>
                </a:cubicBezTo>
                <a:cubicBezTo>
                  <a:pt x="1008033" y="859734"/>
                  <a:pt x="1035313" y="876498"/>
                  <a:pt x="1056298" y="901644"/>
                </a:cubicBezTo>
                <a:lnTo>
                  <a:pt x="1059328" y="903661"/>
                </a:lnTo>
                <a:lnTo>
                  <a:pt x="1058094" y="904363"/>
                </a:lnTo>
                <a:lnTo>
                  <a:pt x="1057784" y="903621"/>
                </a:lnTo>
                <a:cubicBezTo>
                  <a:pt x="1057784" y="903621"/>
                  <a:pt x="1055675" y="905739"/>
                  <a:pt x="1055675" y="905739"/>
                </a:cubicBezTo>
                <a:lnTo>
                  <a:pt x="1058094" y="904363"/>
                </a:lnTo>
                <a:lnTo>
                  <a:pt x="1065429" y="921888"/>
                </a:lnTo>
                <a:cubicBezTo>
                  <a:pt x="1070439" y="926389"/>
                  <a:pt x="1078876" y="929037"/>
                  <a:pt x="1093640" y="929037"/>
                </a:cubicBezTo>
                <a:cubicBezTo>
                  <a:pt x="1069648" y="927183"/>
                  <a:pt x="1095716" y="886413"/>
                  <a:pt x="1070110" y="897532"/>
                </a:cubicBezTo>
                <a:lnTo>
                  <a:pt x="1060022" y="903267"/>
                </a:lnTo>
                <a:lnTo>
                  <a:pt x="1059445" y="902692"/>
                </a:lnTo>
                <a:cubicBezTo>
                  <a:pt x="1057871" y="902168"/>
                  <a:pt x="1056298" y="901644"/>
                  <a:pt x="1056298" y="899549"/>
                </a:cubicBezTo>
                <a:cubicBezTo>
                  <a:pt x="1045805" y="880688"/>
                  <a:pt x="1045805" y="857638"/>
                  <a:pt x="1024821" y="842969"/>
                </a:cubicBezTo>
                <a:cubicBezTo>
                  <a:pt x="1014328" y="834587"/>
                  <a:pt x="1018525" y="819919"/>
                  <a:pt x="1031116" y="813632"/>
                </a:cubicBezTo>
                <a:cubicBezTo>
                  <a:pt x="1047904" y="805249"/>
                  <a:pt x="1060494" y="792676"/>
                  <a:pt x="1075183" y="782198"/>
                </a:cubicBezTo>
                <a:cubicBezTo>
                  <a:pt x="1066790" y="778007"/>
                  <a:pt x="1058396" y="780102"/>
                  <a:pt x="1052101" y="780102"/>
                </a:cubicBezTo>
                <a:cubicBezTo>
                  <a:pt x="1008033" y="784294"/>
                  <a:pt x="997541" y="773816"/>
                  <a:pt x="1010132" y="733996"/>
                </a:cubicBezTo>
                <a:cubicBezTo>
                  <a:pt x="1018525" y="708849"/>
                  <a:pt x="1008033" y="681609"/>
                  <a:pt x="1022722" y="660654"/>
                </a:cubicBezTo>
                <a:lnTo>
                  <a:pt x="1028142" y="659055"/>
                </a:lnTo>
                <a:lnTo>
                  <a:pt x="1050862" y="666637"/>
                </a:lnTo>
                <a:cubicBezTo>
                  <a:pt x="1080592" y="669351"/>
                  <a:pt x="1108248" y="652295"/>
                  <a:pt x="1138275" y="639889"/>
                </a:cubicBezTo>
                <a:cubicBezTo>
                  <a:pt x="1112989" y="648160"/>
                  <a:pt x="1089811" y="639889"/>
                  <a:pt x="1068739" y="633687"/>
                </a:cubicBezTo>
                <a:cubicBezTo>
                  <a:pt x="1041347" y="627484"/>
                  <a:pt x="1032918" y="639889"/>
                  <a:pt x="1020276" y="656430"/>
                </a:cubicBezTo>
                <a:lnTo>
                  <a:pt x="1025148" y="658056"/>
                </a:lnTo>
                <a:lnTo>
                  <a:pt x="1020623" y="660654"/>
                </a:lnTo>
                <a:cubicBezTo>
                  <a:pt x="989146" y="662749"/>
                  <a:pt x="993343" y="635508"/>
                  <a:pt x="993343" y="616649"/>
                </a:cubicBezTo>
                <a:cubicBezTo>
                  <a:pt x="993343" y="581026"/>
                  <a:pt x="1020623" y="572644"/>
                  <a:pt x="1052101" y="568453"/>
                </a:cubicBezTo>
                <a:cubicBezTo>
                  <a:pt x="1031116" y="572644"/>
                  <a:pt x="1005934" y="576835"/>
                  <a:pt x="1010132" y="549594"/>
                </a:cubicBezTo>
                <a:cubicBezTo>
                  <a:pt x="1016426" y="486730"/>
                  <a:pt x="991245" y="423866"/>
                  <a:pt x="1012230" y="361002"/>
                </a:cubicBezTo>
                <a:cubicBezTo>
                  <a:pt x="1024821" y="327474"/>
                  <a:pt x="1031116" y="296042"/>
                  <a:pt x="1077282" y="312805"/>
                </a:cubicBezTo>
                <a:cubicBezTo>
                  <a:pt x="1091971" y="316997"/>
                  <a:pt x="1102464" y="304423"/>
                  <a:pt x="1115055" y="300233"/>
                </a:cubicBezTo>
                <a:cubicBezTo>
                  <a:pt x="1148630" y="287661"/>
                  <a:pt x="1154926" y="289756"/>
                  <a:pt x="1169615" y="323282"/>
                </a:cubicBezTo>
                <a:cubicBezTo>
                  <a:pt x="1169615" y="325378"/>
                  <a:pt x="1161222" y="331665"/>
                  <a:pt x="1169615" y="325378"/>
                </a:cubicBezTo>
                <a:cubicBezTo>
                  <a:pt x="1194796" y="310710"/>
                  <a:pt x="1205290" y="329569"/>
                  <a:pt x="1219979" y="342142"/>
                </a:cubicBezTo>
                <a:cubicBezTo>
                  <a:pt x="1228372" y="350524"/>
                  <a:pt x="1238865" y="371478"/>
                  <a:pt x="1249358" y="358906"/>
                </a:cubicBezTo>
                <a:cubicBezTo>
                  <a:pt x="1257751" y="348429"/>
                  <a:pt x="1280835" y="348429"/>
                  <a:pt x="1278737" y="321187"/>
                </a:cubicBezTo>
                <a:cubicBezTo>
                  <a:pt x="1274539" y="289756"/>
                  <a:pt x="1291328" y="252037"/>
                  <a:pt x="1310214" y="231083"/>
                </a:cubicBezTo>
                <a:cubicBezTo>
                  <a:pt x="1335395" y="205937"/>
                  <a:pt x="1347986" y="174505"/>
                  <a:pt x="1368971" y="149359"/>
                </a:cubicBezTo>
                <a:cubicBezTo>
                  <a:pt x="1379463" y="134690"/>
                  <a:pt x="1392053" y="126307"/>
                  <a:pt x="1404644" y="143072"/>
                </a:cubicBezTo>
                <a:cubicBezTo>
                  <a:pt x="1421432" y="159836"/>
                  <a:pt x="1440319" y="166123"/>
                  <a:pt x="1461304" y="168218"/>
                </a:cubicBezTo>
                <a:cubicBezTo>
                  <a:pt x="1467599" y="170313"/>
                  <a:pt x="1478091" y="172409"/>
                  <a:pt x="1480190" y="178695"/>
                </a:cubicBezTo>
                <a:cubicBezTo>
                  <a:pt x="1517963" y="235272"/>
                  <a:pt x="1589311" y="243655"/>
                  <a:pt x="1635478" y="289756"/>
                </a:cubicBezTo>
                <a:cubicBezTo>
                  <a:pt x="1675348" y="327474"/>
                  <a:pt x="1677447" y="329569"/>
                  <a:pt x="1627083" y="354716"/>
                </a:cubicBezTo>
                <a:cubicBezTo>
                  <a:pt x="1622887" y="356811"/>
                  <a:pt x="1618689" y="356811"/>
                  <a:pt x="1612393" y="358906"/>
                </a:cubicBezTo>
                <a:cubicBezTo>
                  <a:pt x="1643872" y="361002"/>
                  <a:pt x="1673250" y="365192"/>
                  <a:pt x="1702628" y="373574"/>
                </a:cubicBezTo>
                <a:cubicBezTo>
                  <a:pt x="1711022" y="377765"/>
                  <a:pt x="1719416" y="381956"/>
                  <a:pt x="1719416" y="392433"/>
                </a:cubicBezTo>
                <a:cubicBezTo>
                  <a:pt x="1719416" y="402911"/>
                  <a:pt x="1708924" y="409197"/>
                  <a:pt x="1700530" y="409197"/>
                </a:cubicBezTo>
                <a:cubicBezTo>
                  <a:pt x="1677447" y="411292"/>
                  <a:pt x="1654364" y="436438"/>
                  <a:pt x="1627083" y="413388"/>
                </a:cubicBezTo>
                <a:cubicBezTo>
                  <a:pt x="1635478" y="432247"/>
                  <a:pt x="1650167" y="425962"/>
                  <a:pt x="1662758" y="428057"/>
                </a:cubicBezTo>
                <a:cubicBezTo>
                  <a:pt x="1683742" y="430152"/>
                  <a:pt x="1708924" y="421771"/>
                  <a:pt x="1719416" y="449012"/>
                </a:cubicBezTo>
                <a:lnTo>
                  <a:pt x="1717019" y="451576"/>
                </a:lnTo>
                <a:lnTo>
                  <a:pt x="1693597" y="451817"/>
                </a:lnTo>
                <a:lnTo>
                  <a:pt x="1679782" y="458162"/>
                </a:lnTo>
                <a:lnTo>
                  <a:pt x="1679462" y="457974"/>
                </a:lnTo>
                <a:cubicBezTo>
                  <a:pt x="1677857" y="457608"/>
                  <a:pt x="1676600" y="458135"/>
                  <a:pt x="1675827" y="459978"/>
                </a:cubicBezTo>
                <a:lnTo>
                  <a:pt x="1679782" y="458162"/>
                </a:lnTo>
                <a:lnTo>
                  <a:pt x="1685196" y="461326"/>
                </a:lnTo>
                <a:lnTo>
                  <a:pt x="1685344" y="461454"/>
                </a:lnTo>
                <a:lnTo>
                  <a:pt x="1683742" y="461584"/>
                </a:lnTo>
                <a:lnTo>
                  <a:pt x="1685442" y="461538"/>
                </a:lnTo>
                <a:lnTo>
                  <a:pt x="1699779" y="473927"/>
                </a:lnTo>
                <a:cubicBezTo>
                  <a:pt x="1709823" y="481561"/>
                  <a:pt x="1719095" y="483140"/>
                  <a:pt x="1719095" y="451554"/>
                </a:cubicBezTo>
                <a:lnTo>
                  <a:pt x="1718678" y="451559"/>
                </a:lnTo>
                <a:lnTo>
                  <a:pt x="1719416" y="451107"/>
                </a:lnTo>
                <a:cubicBezTo>
                  <a:pt x="1729908" y="438533"/>
                  <a:pt x="1752992" y="436438"/>
                  <a:pt x="1752992" y="411292"/>
                </a:cubicBezTo>
                <a:cubicBezTo>
                  <a:pt x="1752992" y="398720"/>
                  <a:pt x="1761386" y="377765"/>
                  <a:pt x="1778173" y="379860"/>
                </a:cubicBezTo>
                <a:cubicBezTo>
                  <a:pt x="1797060" y="381956"/>
                  <a:pt x="1790765" y="402911"/>
                  <a:pt x="1790765" y="417579"/>
                </a:cubicBezTo>
                <a:cubicBezTo>
                  <a:pt x="1788666" y="390337"/>
                  <a:pt x="1794961" y="365192"/>
                  <a:pt x="1799159" y="342142"/>
                </a:cubicBezTo>
                <a:cubicBezTo>
                  <a:pt x="1805454" y="310710"/>
                  <a:pt x="1841128" y="277182"/>
                  <a:pt x="1870507" y="279278"/>
                </a:cubicBezTo>
                <a:cubicBezTo>
                  <a:pt x="1893590" y="279278"/>
                  <a:pt x="1904083" y="298138"/>
                  <a:pt x="1910379" y="316997"/>
                </a:cubicBezTo>
                <a:cubicBezTo>
                  <a:pt x="1918772" y="337952"/>
                  <a:pt x="1929264" y="348429"/>
                  <a:pt x="1954447" y="346333"/>
                </a:cubicBezTo>
                <a:cubicBezTo>
                  <a:pt x="1971234" y="342142"/>
                  <a:pt x="1988021" y="350524"/>
                  <a:pt x="2004808" y="361002"/>
                </a:cubicBezTo>
                <a:cubicBezTo>
                  <a:pt x="2044680" y="384052"/>
                  <a:pt x="2044680" y="390337"/>
                  <a:pt x="2013203" y="421771"/>
                </a:cubicBezTo>
                <a:cubicBezTo>
                  <a:pt x="1983824" y="449012"/>
                  <a:pt x="1983824" y="463679"/>
                  <a:pt x="2013203" y="484634"/>
                </a:cubicBezTo>
                <a:cubicBezTo>
                  <a:pt x="2042581" y="503493"/>
                  <a:pt x="2061467" y="539117"/>
                  <a:pt x="2099241" y="545403"/>
                </a:cubicBezTo>
                <a:cubicBezTo>
                  <a:pt x="2118128" y="547499"/>
                  <a:pt x="2120225" y="570548"/>
                  <a:pt x="2128619" y="583122"/>
                </a:cubicBezTo>
                <a:cubicBezTo>
                  <a:pt x="2134915" y="597789"/>
                  <a:pt x="2143309" y="597789"/>
                  <a:pt x="2153800" y="589407"/>
                </a:cubicBezTo>
                <a:cubicBezTo>
                  <a:pt x="2160096" y="583122"/>
                  <a:pt x="2164294" y="578930"/>
                  <a:pt x="2157998" y="566357"/>
                </a:cubicBezTo>
                <a:cubicBezTo>
                  <a:pt x="2141210" y="541212"/>
                  <a:pt x="2155900" y="524448"/>
                  <a:pt x="2187377" y="524448"/>
                </a:cubicBezTo>
                <a:cubicBezTo>
                  <a:pt x="2199967" y="524448"/>
                  <a:pt x="2212558" y="528639"/>
                  <a:pt x="2223052" y="532830"/>
                </a:cubicBezTo>
                <a:cubicBezTo>
                  <a:pt x="2233544" y="537022"/>
                  <a:pt x="2241937" y="541212"/>
                  <a:pt x="2252430" y="545403"/>
                </a:cubicBezTo>
                <a:cubicBezTo>
                  <a:pt x="2256626" y="539117"/>
                  <a:pt x="2252430" y="537022"/>
                  <a:pt x="2250331" y="534926"/>
                </a:cubicBezTo>
                <a:cubicBezTo>
                  <a:pt x="2237741" y="520257"/>
                  <a:pt x="2206263" y="518162"/>
                  <a:pt x="2214657" y="493016"/>
                </a:cubicBezTo>
                <a:cubicBezTo>
                  <a:pt x="2225150" y="465775"/>
                  <a:pt x="2246134" y="438533"/>
                  <a:pt x="2267119" y="417579"/>
                </a:cubicBezTo>
                <a:cubicBezTo>
                  <a:pt x="2271315" y="413388"/>
                  <a:pt x="2275512" y="413388"/>
                  <a:pt x="2279709" y="415484"/>
                </a:cubicBezTo>
                <a:cubicBezTo>
                  <a:pt x="2281808" y="405007"/>
                  <a:pt x="2290201" y="449012"/>
                  <a:pt x="2292300" y="413388"/>
                </a:cubicBezTo>
                <a:cubicBezTo>
                  <a:pt x="2294399" y="381956"/>
                  <a:pt x="2306990" y="342142"/>
                  <a:pt x="2332171" y="331665"/>
                </a:cubicBezTo>
                <a:cubicBezTo>
                  <a:pt x="2369944" y="316997"/>
                  <a:pt x="2414012" y="306519"/>
                  <a:pt x="2455982" y="327474"/>
                </a:cubicBezTo>
                <a:cubicBezTo>
                  <a:pt x="2506344" y="354716"/>
                  <a:pt x="2560906" y="373574"/>
                  <a:pt x="2615465" y="388242"/>
                </a:cubicBezTo>
                <a:cubicBezTo>
                  <a:pt x="2628057" y="392433"/>
                  <a:pt x="2640647" y="398720"/>
                  <a:pt x="2655337" y="396624"/>
                </a:cubicBezTo>
                <a:cubicBezTo>
                  <a:pt x="2682617" y="394529"/>
                  <a:pt x="2705699" y="407102"/>
                  <a:pt x="2724587" y="423866"/>
                </a:cubicBezTo>
                <a:cubicBezTo>
                  <a:pt x="2753965" y="453202"/>
                  <a:pt x="2787541" y="474157"/>
                  <a:pt x="2827412" y="488826"/>
                </a:cubicBezTo>
                <a:cubicBezTo>
                  <a:pt x="2831610" y="482539"/>
                  <a:pt x="2825312" y="478347"/>
                  <a:pt x="2825312" y="474157"/>
                </a:cubicBezTo>
                <a:cubicBezTo>
                  <a:pt x="2825312" y="459489"/>
                  <a:pt x="2819018" y="440629"/>
                  <a:pt x="2835806" y="434342"/>
                </a:cubicBezTo>
                <a:cubicBezTo>
                  <a:pt x="2852594" y="428057"/>
                  <a:pt x="2867284" y="442724"/>
                  <a:pt x="2871480" y="457393"/>
                </a:cubicBezTo>
                <a:cubicBezTo>
                  <a:pt x="2884070" y="499302"/>
                  <a:pt x="2915547" y="507684"/>
                  <a:pt x="2955419" y="511875"/>
                </a:cubicBezTo>
                <a:cubicBezTo>
                  <a:pt x="2963813" y="493016"/>
                  <a:pt x="2961714" y="472062"/>
                  <a:pt x="2959616" y="451107"/>
                </a:cubicBezTo>
                <a:cubicBezTo>
                  <a:pt x="2957518" y="384052"/>
                  <a:pt x="2955419" y="314901"/>
                  <a:pt x="3012078" y="264610"/>
                </a:cubicBezTo>
                <a:cubicBezTo>
                  <a:pt x="3020472" y="258322"/>
                  <a:pt x="3024670" y="249941"/>
                  <a:pt x="3028867" y="241560"/>
                </a:cubicBezTo>
                <a:cubicBezTo>
                  <a:pt x="3056146" y="195460"/>
                  <a:pt x="3096018" y="189172"/>
                  <a:pt x="3137986" y="224796"/>
                </a:cubicBezTo>
                <a:cubicBezTo>
                  <a:pt x="3152676" y="235272"/>
                  <a:pt x="3163168" y="254132"/>
                  <a:pt x="3188350" y="249941"/>
                </a:cubicBezTo>
                <a:cubicBezTo>
                  <a:pt x="3207237" y="247845"/>
                  <a:pt x="3215630" y="264610"/>
                  <a:pt x="3217729" y="283469"/>
                </a:cubicBezTo>
                <a:cubicBezTo>
                  <a:pt x="3236615" y="260419"/>
                  <a:pt x="3253403" y="277182"/>
                  <a:pt x="3272289" y="285565"/>
                </a:cubicBezTo>
                <a:cubicBezTo>
                  <a:pt x="3293274" y="296042"/>
                  <a:pt x="3307963" y="311757"/>
                  <a:pt x="3321341" y="328522"/>
                </a:cubicBezTo>
                <a:lnTo>
                  <a:pt x="3350451" y="363331"/>
                </a:lnTo>
                <a:lnTo>
                  <a:pt x="3350108" y="363231"/>
                </a:lnTo>
                <a:lnTo>
                  <a:pt x="3365881" y="386989"/>
                </a:lnTo>
                <a:lnTo>
                  <a:pt x="3364872" y="386528"/>
                </a:lnTo>
                <a:cubicBezTo>
                  <a:pt x="3364872" y="386528"/>
                  <a:pt x="3366981" y="388646"/>
                  <a:pt x="3366981" y="388646"/>
                </a:cubicBezTo>
                <a:lnTo>
                  <a:pt x="3365881" y="386989"/>
                </a:lnTo>
                <a:lnTo>
                  <a:pt x="3371838" y="389709"/>
                </a:lnTo>
                <a:lnTo>
                  <a:pt x="3379312" y="401602"/>
                </a:lnTo>
                <a:cubicBezTo>
                  <a:pt x="3382984" y="405007"/>
                  <a:pt x="3387706" y="406054"/>
                  <a:pt x="3394001" y="400815"/>
                </a:cubicBezTo>
                <a:cubicBezTo>
                  <a:pt x="3408690" y="387194"/>
                  <a:pt x="3419184" y="386672"/>
                  <a:pt x="3427839" y="391910"/>
                </a:cubicBezTo>
                <a:lnTo>
                  <a:pt x="3438278" y="401787"/>
                </a:lnTo>
                <a:lnTo>
                  <a:pt x="3446464" y="415484"/>
                </a:lnTo>
                <a:lnTo>
                  <a:pt x="3448635" y="415838"/>
                </a:lnTo>
                <a:lnTo>
                  <a:pt x="3445821" y="417122"/>
                </a:lnTo>
                <a:lnTo>
                  <a:pt x="3446611" y="415610"/>
                </a:lnTo>
                <a:cubicBezTo>
                  <a:pt x="3446611" y="415610"/>
                  <a:pt x="3444532" y="417708"/>
                  <a:pt x="3444532" y="417708"/>
                </a:cubicBezTo>
                <a:lnTo>
                  <a:pt x="3445821" y="417122"/>
                </a:lnTo>
                <a:lnTo>
                  <a:pt x="3434759" y="438294"/>
                </a:lnTo>
                <a:cubicBezTo>
                  <a:pt x="3430765" y="457173"/>
                  <a:pt x="3448688" y="465433"/>
                  <a:pt x="3473624" y="470153"/>
                </a:cubicBezTo>
                <a:cubicBezTo>
                  <a:pt x="3484014" y="472251"/>
                  <a:pt x="3494404" y="476446"/>
                  <a:pt x="3506872" y="480642"/>
                </a:cubicBezTo>
                <a:cubicBezTo>
                  <a:pt x="3511028" y="482740"/>
                  <a:pt x="3506872" y="501619"/>
                  <a:pt x="3521418" y="489034"/>
                </a:cubicBezTo>
                <a:cubicBezTo>
                  <a:pt x="3529730" y="480642"/>
                  <a:pt x="3529730" y="468055"/>
                  <a:pt x="3525574" y="459664"/>
                </a:cubicBezTo>
                <a:cubicBezTo>
                  <a:pt x="3523496" y="444980"/>
                  <a:pt x="3515183" y="455469"/>
                  <a:pt x="3506872" y="457566"/>
                </a:cubicBezTo>
                <a:cubicBezTo>
                  <a:pt x="3486092" y="461762"/>
                  <a:pt x="3463234" y="470153"/>
                  <a:pt x="3461156" y="434491"/>
                </a:cubicBezTo>
                <a:cubicBezTo>
                  <a:pt x="3471546" y="426100"/>
                  <a:pt x="3479858" y="453371"/>
                  <a:pt x="3490248" y="436589"/>
                </a:cubicBezTo>
                <a:cubicBezTo>
                  <a:pt x="3496481" y="421904"/>
                  <a:pt x="3452845" y="419806"/>
                  <a:pt x="3481936" y="398829"/>
                </a:cubicBezTo>
                <a:cubicBezTo>
                  <a:pt x="3466352" y="397255"/>
                  <a:pt x="3461286" y="407482"/>
                  <a:pt x="3453592" y="413579"/>
                </a:cubicBezTo>
                <a:lnTo>
                  <a:pt x="3449160" y="415600"/>
                </a:lnTo>
                <a:lnTo>
                  <a:pt x="3439742" y="403173"/>
                </a:lnTo>
                <a:lnTo>
                  <a:pt x="3438278" y="401787"/>
                </a:lnTo>
                <a:lnTo>
                  <a:pt x="3436757" y="399244"/>
                </a:lnTo>
                <a:cubicBezTo>
                  <a:pt x="3434397" y="393481"/>
                  <a:pt x="3431772" y="388242"/>
                  <a:pt x="3425478" y="386147"/>
                </a:cubicBezTo>
                <a:cubicBezTo>
                  <a:pt x="3414986" y="381956"/>
                  <a:pt x="3402395" y="381956"/>
                  <a:pt x="3398198" y="367287"/>
                </a:cubicBezTo>
                <a:cubicBezTo>
                  <a:pt x="3396099" y="356811"/>
                  <a:pt x="3398198" y="346333"/>
                  <a:pt x="3414986" y="348429"/>
                </a:cubicBezTo>
                <a:cubicBezTo>
                  <a:pt x="3404494" y="335856"/>
                  <a:pt x="3396099" y="321187"/>
                  <a:pt x="3383509" y="310710"/>
                </a:cubicBezTo>
                <a:cubicBezTo>
                  <a:pt x="3352031" y="283469"/>
                  <a:pt x="3322653" y="254132"/>
                  <a:pt x="3307963" y="214318"/>
                </a:cubicBezTo>
                <a:cubicBezTo>
                  <a:pt x="3295373" y="182886"/>
                  <a:pt x="3307963" y="178695"/>
                  <a:pt x="3335244" y="184982"/>
                </a:cubicBezTo>
                <a:cubicBezTo>
                  <a:pt x="3343637" y="187077"/>
                  <a:pt x="3352031" y="191267"/>
                  <a:pt x="3360426" y="195460"/>
                </a:cubicBezTo>
                <a:cubicBezTo>
                  <a:pt x="3381410" y="205937"/>
                  <a:pt x="3389805" y="184982"/>
                  <a:pt x="3400297" y="176600"/>
                </a:cubicBezTo>
                <a:cubicBezTo>
                  <a:pt x="3410789" y="164027"/>
                  <a:pt x="3391902" y="155645"/>
                  <a:pt x="3385607" y="149359"/>
                </a:cubicBezTo>
                <a:cubicBezTo>
                  <a:pt x="3379312" y="143072"/>
                  <a:pt x="3370918" y="138882"/>
                  <a:pt x="3364622" y="132595"/>
                </a:cubicBezTo>
                <a:cubicBezTo>
                  <a:pt x="3354130" y="120022"/>
                  <a:pt x="3345737" y="107450"/>
                  <a:pt x="3349933" y="92781"/>
                </a:cubicBezTo>
                <a:cubicBezTo>
                  <a:pt x="3354130" y="73922"/>
                  <a:pt x="3370918" y="69730"/>
                  <a:pt x="3385607" y="71826"/>
                </a:cubicBezTo>
                <a:cubicBezTo>
                  <a:pt x="3392952" y="72874"/>
                  <a:pt x="3400821" y="69207"/>
                  <a:pt x="3408690" y="67635"/>
                </a:cubicBezTo>
                <a:close/>
                <a:moveTo>
                  <a:pt x="3256318" y="36707"/>
                </a:moveTo>
                <a:lnTo>
                  <a:pt x="3257165" y="36707"/>
                </a:lnTo>
                <a:lnTo>
                  <a:pt x="3257186" y="36997"/>
                </a:lnTo>
                <a:close/>
                <a:moveTo>
                  <a:pt x="3257164" y="36688"/>
                </a:moveTo>
                <a:lnTo>
                  <a:pt x="3257282" y="36707"/>
                </a:lnTo>
                <a:lnTo>
                  <a:pt x="3257165" y="36707"/>
                </a:lnTo>
                <a:close/>
                <a:moveTo>
                  <a:pt x="3255220" y="36385"/>
                </a:moveTo>
                <a:lnTo>
                  <a:pt x="3255473" y="36425"/>
                </a:lnTo>
                <a:lnTo>
                  <a:pt x="3256318" y="36707"/>
                </a:lnTo>
                <a:lnTo>
                  <a:pt x="3255184" y="36707"/>
                </a:lnTo>
                <a:close/>
                <a:moveTo>
                  <a:pt x="3255234" y="36269"/>
                </a:moveTo>
                <a:lnTo>
                  <a:pt x="3257131" y="36269"/>
                </a:lnTo>
                <a:lnTo>
                  <a:pt x="3257164" y="36688"/>
                </a:lnTo>
                <a:lnTo>
                  <a:pt x="3255473" y="36425"/>
                </a:lnTo>
                <a:lnTo>
                  <a:pt x="3255225" y="36341"/>
                </a:lnTo>
                <a:close/>
                <a:moveTo>
                  <a:pt x="3924559" y="17804"/>
                </a:moveTo>
                <a:cubicBezTo>
                  <a:pt x="3926619" y="19880"/>
                  <a:pt x="3934861" y="17804"/>
                  <a:pt x="3928680" y="26107"/>
                </a:cubicBezTo>
                <a:cubicBezTo>
                  <a:pt x="3924559" y="32336"/>
                  <a:pt x="3928680" y="42716"/>
                  <a:pt x="3920438" y="42716"/>
                </a:cubicBezTo>
                <a:cubicBezTo>
                  <a:pt x="3914257" y="40639"/>
                  <a:pt x="3910137" y="34412"/>
                  <a:pt x="3908076" y="28185"/>
                </a:cubicBezTo>
                <a:cubicBezTo>
                  <a:pt x="3906016" y="19880"/>
                  <a:pt x="3914257" y="17804"/>
                  <a:pt x="3924559" y="17804"/>
                </a:cubicBezTo>
                <a:close/>
                <a:moveTo>
                  <a:pt x="3278333" y="17135"/>
                </a:moveTo>
                <a:cubicBezTo>
                  <a:pt x="3291053" y="29891"/>
                  <a:pt x="3327095" y="8630"/>
                  <a:pt x="3316494" y="40521"/>
                </a:cubicBezTo>
                <a:cubicBezTo>
                  <a:pt x="3310133" y="59657"/>
                  <a:pt x="3346175" y="87297"/>
                  <a:pt x="3312253" y="87297"/>
                </a:cubicBezTo>
                <a:cubicBezTo>
                  <a:pt x="3301123" y="87297"/>
                  <a:pt x="3269719" y="83708"/>
                  <a:pt x="3259186" y="63079"/>
                </a:cubicBezTo>
                <a:lnTo>
                  <a:pt x="3257186" y="36997"/>
                </a:lnTo>
                <a:lnTo>
                  <a:pt x="3299532" y="51152"/>
                </a:lnTo>
                <a:cubicBezTo>
                  <a:pt x="3308013" y="29891"/>
                  <a:pt x="3274092" y="38396"/>
                  <a:pt x="3278333" y="17135"/>
                </a:cubicBezTo>
                <a:close/>
                <a:moveTo>
                  <a:pt x="3248890" y="13872"/>
                </a:moveTo>
                <a:cubicBezTo>
                  <a:pt x="3256233" y="14910"/>
                  <a:pt x="3257282" y="18542"/>
                  <a:pt x="3256758" y="22954"/>
                </a:cubicBezTo>
                <a:lnTo>
                  <a:pt x="3255234" y="36269"/>
                </a:lnTo>
                <a:lnTo>
                  <a:pt x="3255010" y="36269"/>
                </a:lnTo>
                <a:lnTo>
                  <a:pt x="3255225" y="36341"/>
                </a:lnTo>
                <a:lnTo>
                  <a:pt x="3255220" y="36385"/>
                </a:lnTo>
                <a:lnTo>
                  <a:pt x="3242335" y="34372"/>
                </a:lnTo>
                <a:cubicBezTo>
                  <a:pt x="3238402" y="32035"/>
                  <a:pt x="3235255" y="28403"/>
                  <a:pt x="3232108" y="24251"/>
                </a:cubicBezTo>
                <a:cubicBezTo>
                  <a:pt x="3238402" y="20099"/>
                  <a:pt x="3244695" y="13872"/>
                  <a:pt x="3248890" y="13872"/>
                </a:cubicBezTo>
                <a:close/>
                <a:moveTo>
                  <a:pt x="3190155" y="235"/>
                </a:moveTo>
                <a:cubicBezTo>
                  <a:pt x="3185989" y="17017"/>
                  <a:pt x="3175577" y="19114"/>
                  <a:pt x="3154753" y="14919"/>
                </a:cubicBezTo>
                <a:cubicBezTo>
                  <a:pt x="3169330" y="10723"/>
                  <a:pt x="3175577" y="-1863"/>
                  <a:pt x="3190155" y="235"/>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51148196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1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1518A3E9-C520-49BB-91C1-C5A008BC73F4}"/>
              </a:ext>
            </a:extLst>
          </p:cNvPr>
          <p:cNvSpPr>
            <a:spLocks noGrp="1"/>
          </p:cNvSpPr>
          <p:nvPr>
            <p:ph type="pic" sz="quarter" idx="20"/>
          </p:nvPr>
        </p:nvSpPr>
        <p:spPr>
          <a:xfrm>
            <a:off x="1351706" y="1703523"/>
            <a:ext cx="5962066" cy="5877132"/>
          </a:xfrm>
          <a:custGeom>
            <a:avLst/>
            <a:gdLst>
              <a:gd name="connsiteX0" fmla="*/ 2883960 w 4486446"/>
              <a:gd name="connsiteY0" fmla="*/ 3688835 h 4477815"/>
              <a:gd name="connsiteX1" fmla="*/ 2877286 w 4486446"/>
              <a:gd name="connsiteY1" fmla="*/ 3692584 h 4477815"/>
              <a:gd name="connsiteX2" fmla="*/ 2874921 w 4486446"/>
              <a:gd name="connsiteY2" fmla="*/ 3690222 h 4477815"/>
              <a:gd name="connsiteX3" fmla="*/ 791972 w 4486446"/>
              <a:gd name="connsiteY3" fmla="*/ 2871434 h 4477815"/>
              <a:gd name="connsiteX4" fmla="*/ 969302 w 4486446"/>
              <a:gd name="connsiteY4" fmla="*/ 3173695 h 4477815"/>
              <a:gd name="connsiteX5" fmla="*/ 1483558 w 4486446"/>
              <a:gd name="connsiteY5" fmla="*/ 3648339 h 4477815"/>
              <a:gd name="connsiteX6" fmla="*/ 1555672 w 4486446"/>
              <a:gd name="connsiteY6" fmla="*/ 3701471 h 4477815"/>
              <a:gd name="connsiteX7" fmla="*/ 1644337 w 4486446"/>
              <a:gd name="connsiteY7" fmla="*/ 3746338 h 4477815"/>
              <a:gd name="connsiteX8" fmla="*/ 2377301 w 4486446"/>
              <a:gd name="connsiteY8" fmla="*/ 3995467 h 4477815"/>
              <a:gd name="connsiteX9" fmla="*/ 3078344 w 4486446"/>
              <a:gd name="connsiteY9" fmla="*/ 3997829 h 4477815"/>
              <a:gd name="connsiteX10" fmla="*/ 3925982 w 4486446"/>
              <a:gd name="connsiteY10" fmla="*/ 3692025 h 4477815"/>
              <a:gd name="connsiteX11" fmla="*/ 3948443 w 4486446"/>
              <a:gd name="connsiteY11" fmla="*/ 3677857 h 4477815"/>
              <a:gd name="connsiteX12" fmla="*/ 3968540 w 4486446"/>
              <a:gd name="connsiteY12" fmla="*/ 3666050 h 4477815"/>
              <a:gd name="connsiteX13" fmla="*/ 3974452 w 4486446"/>
              <a:gd name="connsiteY13" fmla="*/ 3671954 h 4477815"/>
              <a:gd name="connsiteX14" fmla="*/ 3766384 w 4486446"/>
              <a:gd name="connsiteY14" fmla="*/ 3884480 h 4477815"/>
              <a:gd name="connsiteX15" fmla="*/ 3393992 w 4486446"/>
              <a:gd name="connsiteY15" fmla="*/ 4163127 h 4477815"/>
              <a:gd name="connsiteX16" fmla="*/ 2603101 w 4486446"/>
              <a:gd name="connsiteY16" fmla="*/ 4450039 h 4477815"/>
              <a:gd name="connsiteX17" fmla="*/ 2536898 w 4486446"/>
              <a:gd name="connsiteY17" fmla="*/ 4444136 h 4477815"/>
              <a:gd name="connsiteX18" fmla="*/ 2164504 w 4486446"/>
              <a:gd name="connsiteY18" fmla="*/ 4341415 h 4477815"/>
              <a:gd name="connsiteX19" fmla="*/ 1212835 w 4486446"/>
              <a:gd name="connsiteY19" fmla="*/ 3666050 h 4477815"/>
              <a:gd name="connsiteX20" fmla="*/ 1083975 w 4486446"/>
              <a:gd name="connsiteY20" fmla="*/ 3492486 h 4477815"/>
              <a:gd name="connsiteX21" fmla="*/ 968119 w 4486446"/>
              <a:gd name="connsiteY21" fmla="*/ 3301211 h 4477815"/>
              <a:gd name="connsiteX22" fmla="*/ 872361 w 4486446"/>
              <a:gd name="connsiteY22" fmla="*/ 3100491 h 4477815"/>
              <a:gd name="connsiteX23" fmla="*/ 796701 w 4486446"/>
              <a:gd name="connsiteY23" fmla="*/ 2891506 h 4477815"/>
              <a:gd name="connsiteX24" fmla="*/ 791972 w 4486446"/>
              <a:gd name="connsiteY24" fmla="*/ 2871434 h 4477815"/>
              <a:gd name="connsiteX25" fmla="*/ 4479352 w 4486446"/>
              <a:gd name="connsiteY25" fmla="*/ 2023705 h 4477815"/>
              <a:gd name="connsiteX26" fmla="*/ 4486446 w 4486446"/>
              <a:gd name="connsiteY26" fmla="*/ 2259841 h 4477815"/>
              <a:gd name="connsiteX27" fmla="*/ 4239302 w 4486446"/>
              <a:gd name="connsiteY27" fmla="*/ 3261056 h 4477815"/>
              <a:gd name="connsiteX28" fmla="*/ 4072570 w 4486446"/>
              <a:gd name="connsiteY28" fmla="*/ 3537336 h 4477815"/>
              <a:gd name="connsiteX29" fmla="*/ 4015810 w 4486446"/>
              <a:gd name="connsiteY29" fmla="*/ 3586924 h 4477815"/>
              <a:gd name="connsiteX30" fmla="*/ 3623220 w 4486446"/>
              <a:gd name="connsiteY30" fmla="*/ 3802988 h 4477815"/>
              <a:gd name="connsiteX31" fmla="*/ 3441114 w 4486446"/>
              <a:gd name="connsiteY31" fmla="*/ 3871467 h 4477815"/>
              <a:gd name="connsiteX32" fmla="*/ 3248366 w 4486446"/>
              <a:gd name="connsiteY32" fmla="*/ 3925778 h 4477815"/>
              <a:gd name="connsiteX33" fmla="*/ 3048523 w 4486446"/>
              <a:gd name="connsiteY33" fmla="*/ 3962380 h 4477815"/>
              <a:gd name="connsiteX34" fmla="*/ 1960621 w 4486446"/>
              <a:gd name="connsiteY34" fmla="*/ 3844312 h 4477815"/>
              <a:gd name="connsiteX35" fmla="*/ 1682734 w 4486446"/>
              <a:gd name="connsiteY35" fmla="*/ 3721522 h 4477815"/>
              <a:gd name="connsiteX36" fmla="*/ 1673274 w 4486446"/>
              <a:gd name="connsiteY36" fmla="*/ 3713257 h 4477815"/>
              <a:gd name="connsiteX37" fmla="*/ 1751319 w 4486446"/>
              <a:gd name="connsiteY37" fmla="*/ 3740412 h 4477815"/>
              <a:gd name="connsiteX38" fmla="*/ 2349665 w 4486446"/>
              <a:gd name="connsiteY38" fmla="*/ 3815976 h 4477815"/>
              <a:gd name="connsiteX39" fmla="*/ 3037881 w 4486446"/>
              <a:gd name="connsiteY39" fmla="*/ 3675475 h 4477815"/>
              <a:gd name="connsiteX40" fmla="*/ 3875093 w 4486446"/>
              <a:gd name="connsiteY40" fmla="*/ 3132363 h 4477815"/>
              <a:gd name="connsiteX41" fmla="*/ 3896378 w 4486446"/>
              <a:gd name="connsiteY41" fmla="*/ 3118194 h 4477815"/>
              <a:gd name="connsiteX42" fmla="*/ 3903472 w 4486446"/>
              <a:gd name="connsiteY42" fmla="*/ 3101665 h 4477815"/>
              <a:gd name="connsiteX43" fmla="*/ 4400124 w 4486446"/>
              <a:gd name="connsiteY43" fmla="*/ 2279913 h 4477815"/>
              <a:gd name="connsiteX44" fmla="*/ 4475804 w 4486446"/>
              <a:gd name="connsiteY44" fmla="*/ 2024886 h 4477815"/>
              <a:gd name="connsiteX45" fmla="*/ 4479352 w 4486446"/>
              <a:gd name="connsiteY45" fmla="*/ 2023705 h 4477815"/>
              <a:gd name="connsiteX46" fmla="*/ 772423 w 4486446"/>
              <a:gd name="connsiteY46" fmla="*/ 1655797 h 4477815"/>
              <a:gd name="connsiteX47" fmla="*/ 734596 w 4486446"/>
              <a:gd name="connsiteY47" fmla="*/ 1767960 h 4477815"/>
              <a:gd name="connsiteX48" fmla="*/ 679040 w 4486446"/>
              <a:gd name="connsiteY48" fmla="*/ 2013538 h 4477815"/>
              <a:gd name="connsiteX49" fmla="*/ 992288 w 4486446"/>
              <a:gd name="connsiteY49" fmla="*/ 3419707 h 4477815"/>
              <a:gd name="connsiteX50" fmla="*/ 1362275 w 4486446"/>
              <a:gd name="connsiteY50" fmla="*/ 3880166 h 4477815"/>
              <a:gd name="connsiteX51" fmla="*/ 2344573 w 4486446"/>
              <a:gd name="connsiteY51" fmla="*/ 4437438 h 4477815"/>
              <a:gd name="connsiteX52" fmla="*/ 2458052 w 4486446"/>
              <a:gd name="connsiteY52" fmla="*/ 4465775 h 4477815"/>
              <a:gd name="connsiteX53" fmla="*/ 2456870 w 4486446"/>
              <a:gd name="connsiteY53" fmla="*/ 4472859 h 4477815"/>
              <a:gd name="connsiteX54" fmla="*/ 2197997 w 4486446"/>
              <a:gd name="connsiteY54" fmla="*/ 4477581 h 4477815"/>
              <a:gd name="connsiteX55" fmla="*/ 1436745 w 4486446"/>
              <a:gd name="connsiteY55" fmla="*/ 4329998 h 4477815"/>
              <a:gd name="connsiteX56" fmla="*/ 1409558 w 4486446"/>
              <a:gd name="connsiteY56" fmla="*/ 4317011 h 4477815"/>
              <a:gd name="connsiteX57" fmla="*/ 1407193 w 4486446"/>
              <a:gd name="connsiteY57" fmla="*/ 4308746 h 4477815"/>
              <a:gd name="connsiteX58" fmla="*/ 1371731 w 4486446"/>
              <a:gd name="connsiteY58" fmla="*/ 4302843 h 4477815"/>
              <a:gd name="connsiteX59" fmla="*/ 943823 w 4486446"/>
              <a:gd name="connsiteY59" fmla="*/ 4065530 h 4477815"/>
              <a:gd name="connsiteX60" fmla="*/ 901268 w 4486446"/>
              <a:gd name="connsiteY60" fmla="*/ 4019484 h 4477815"/>
              <a:gd name="connsiteX61" fmla="*/ 612844 w 4486446"/>
              <a:gd name="connsiteY61" fmla="*/ 3450404 h 4477815"/>
              <a:gd name="connsiteX62" fmla="*/ 498183 w 4486446"/>
              <a:gd name="connsiteY62" fmla="*/ 2619218 h 4477815"/>
              <a:gd name="connsiteX63" fmla="*/ 761785 w 4486446"/>
              <a:gd name="connsiteY63" fmla="*/ 1671146 h 4477815"/>
              <a:gd name="connsiteX64" fmla="*/ 772423 w 4486446"/>
              <a:gd name="connsiteY64" fmla="*/ 1655797 h 4477815"/>
              <a:gd name="connsiteX65" fmla="*/ 1597326 w 4486446"/>
              <a:gd name="connsiteY65" fmla="*/ 789665 h 4477815"/>
              <a:gd name="connsiteX66" fmla="*/ 1610324 w 4486446"/>
              <a:gd name="connsiteY66" fmla="*/ 789665 h 4477815"/>
              <a:gd name="connsiteX67" fmla="*/ 1610322 w 4486446"/>
              <a:gd name="connsiteY67" fmla="*/ 789666 h 4477815"/>
              <a:gd name="connsiteX68" fmla="*/ 1610324 w 4486446"/>
              <a:gd name="connsiteY68" fmla="*/ 789666 h 4477815"/>
              <a:gd name="connsiteX69" fmla="*/ 1121146 w 4486446"/>
              <a:gd name="connsiteY69" fmla="*/ 1126226 h 4477815"/>
              <a:gd name="connsiteX70" fmla="*/ 758398 w 4486446"/>
              <a:gd name="connsiteY70" fmla="*/ 1600955 h 4477815"/>
              <a:gd name="connsiteX71" fmla="*/ 741856 w 4486446"/>
              <a:gd name="connsiteY71" fmla="*/ 1586784 h 4477815"/>
              <a:gd name="connsiteX72" fmla="*/ 739493 w 4486446"/>
              <a:gd name="connsiteY72" fmla="*/ 1635201 h 4477815"/>
              <a:gd name="connsiteX73" fmla="*/ 490177 w 4486446"/>
              <a:gd name="connsiteY73" fmla="*/ 2347294 h 4477815"/>
              <a:gd name="connsiteX74" fmla="*/ 466546 w 4486446"/>
              <a:gd name="connsiteY74" fmla="*/ 2942476 h 4477815"/>
              <a:gd name="connsiteX75" fmla="*/ 803299 w 4486446"/>
              <a:gd name="connsiteY75" fmla="*/ 3940351 h 4477815"/>
              <a:gd name="connsiteX76" fmla="*/ 815115 w 4486446"/>
              <a:gd name="connsiteY76" fmla="*/ 3960427 h 4477815"/>
              <a:gd name="connsiteX77" fmla="*/ 811570 w 4486446"/>
              <a:gd name="connsiteY77" fmla="*/ 3963969 h 4477815"/>
              <a:gd name="connsiteX78" fmla="*/ 730041 w 4486446"/>
              <a:gd name="connsiteY78" fmla="*/ 3893114 h 4477815"/>
              <a:gd name="connsiteX79" fmla="*/ 226683 w 4486446"/>
              <a:gd name="connsiteY79" fmla="*/ 3221173 h 4477815"/>
              <a:gd name="connsiteX80" fmla="*/ 42356 w 4486446"/>
              <a:gd name="connsiteY80" fmla="*/ 2670865 h 4477815"/>
              <a:gd name="connsiteX81" fmla="*/ 28176 w 4486446"/>
              <a:gd name="connsiteY81" fmla="*/ 2588201 h 4477815"/>
              <a:gd name="connsiteX82" fmla="*/ 41174 w 4486446"/>
              <a:gd name="connsiteY82" fmla="*/ 2505537 h 4477815"/>
              <a:gd name="connsiteX83" fmla="*/ 374382 w 4486446"/>
              <a:gd name="connsiteY83" fmla="*/ 1698971 h 4477815"/>
              <a:gd name="connsiteX84" fmla="*/ 719406 w 4486446"/>
              <a:gd name="connsiteY84" fmla="*/ 1293916 h 4477815"/>
              <a:gd name="connsiteX85" fmla="*/ 826931 w 4486446"/>
              <a:gd name="connsiteY85" fmla="*/ 1199443 h 4477815"/>
              <a:gd name="connsiteX86" fmla="*/ 1597326 w 4486446"/>
              <a:gd name="connsiteY86" fmla="*/ 789665 h 4477815"/>
              <a:gd name="connsiteX87" fmla="*/ 2243223 w 4486446"/>
              <a:gd name="connsiteY87" fmla="*/ 763473 h 4477815"/>
              <a:gd name="connsiteX88" fmla="*/ 3718658 w 4486446"/>
              <a:gd name="connsiteY88" fmla="*/ 2238908 h 4477815"/>
              <a:gd name="connsiteX89" fmla="*/ 2243223 w 4486446"/>
              <a:gd name="connsiteY89" fmla="*/ 3714343 h 4477815"/>
              <a:gd name="connsiteX90" fmla="*/ 767788 w 4486446"/>
              <a:gd name="connsiteY90" fmla="*/ 2238908 h 4477815"/>
              <a:gd name="connsiteX91" fmla="*/ 2243223 w 4486446"/>
              <a:gd name="connsiteY91" fmla="*/ 763473 h 4477815"/>
              <a:gd name="connsiteX92" fmla="*/ 3675296 w 4486446"/>
              <a:gd name="connsiteY92" fmla="*/ 514301 h 4477815"/>
              <a:gd name="connsiteX93" fmla="*/ 3767510 w 4486446"/>
              <a:gd name="connsiteY93" fmla="*/ 595765 h 4477815"/>
              <a:gd name="connsiteX94" fmla="*/ 4363356 w 4486446"/>
              <a:gd name="connsiteY94" fmla="*/ 1506038 h 4477815"/>
              <a:gd name="connsiteX95" fmla="*/ 4459118 w 4486446"/>
              <a:gd name="connsiteY95" fmla="*/ 1889746 h 4477815"/>
              <a:gd name="connsiteX96" fmla="*/ 4444930 w 4486446"/>
              <a:gd name="connsiteY96" fmla="*/ 1972392 h 4477815"/>
              <a:gd name="connsiteX97" fmla="*/ 3992134 w 4486446"/>
              <a:gd name="connsiteY97" fmla="*/ 2941697 h 4477815"/>
              <a:gd name="connsiteX98" fmla="*/ 3785244 w 4486446"/>
              <a:gd name="connsiteY98" fmla="*/ 3164838 h 4477815"/>
              <a:gd name="connsiteX99" fmla="*/ 3255602 w 4486446"/>
              <a:gd name="connsiteY99" fmla="*/ 3541462 h 4477815"/>
              <a:gd name="connsiteX100" fmla="*/ 2890290 w 4486446"/>
              <a:gd name="connsiteY100" fmla="*/ 3687862 h 4477815"/>
              <a:gd name="connsiteX101" fmla="*/ 2883960 w 4486446"/>
              <a:gd name="connsiteY101" fmla="*/ 3688835 h 4477815"/>
              <a:gd name="connsiteX102" fmla="*/ 3002307 w 4486446"/>
              <a:gd name="connsiteY102" fmla="*/ 3622336 h 4477815"/>
              <a:gd name="connsiteX103" fmla="*/ 3125555 w 4486446"/>
              <a:gd name="connsiteY103" fmla="*/ 3548546 h 4477815"/>
              <a:gd name="connsiteX104" fmla="*/ 3575988 w 4486446"/>
              <a:gd name="connsiteY104" fmla="*/ 3109348 h 4477815"/>
              <a:gd name="connsiteX105" fmla="*/ 3990953 w 4486446"/>
              <a:gd name="connsiteY105" fmla="*/ 2163655 h 4477815"/>
              <a:gd name="connsiteX106" fmla="*/ 4022873 w 4486446"/>
              <a:gd name="connsiteY106" fmla="*/ 1572154 h 4477815"/>
              <a:gd name="connsiteX107" fmla="*/ 3931840 w 4486446"/>
              <a:gd name="connsiteY107" fmla="*/ 1082189 h 4477815"/>
              <a:gd name="connsiteX108" fmla="*/ 3682388 w 4486446"/>
              <a:gd name="connsiteY108" fmla="*/ 535554 h 4477815"/>
              <a:gd name="connsiteX109" fmla="*/ 3675296 w 4486446"/>
              <a:gd name="connsiteY109" fmla="*/ 514302 h 4477815"/>
              <a:gd name="connsiteX110" fmla="*/ 1789291 w 4486446"/>
              <a:gd name="connsiteY110" fmla="*/ 492663 h 4477815"/>
              <a:gd name="connsiteX111" fmla="*/ 2361648 w 4486446"/>
              <a:gd name="connsiteY111" fmla="*/ 577665 h 4477815"/>
              <a:gd name="connsiteX112" fmla="*/ 2391212 w 4486446"/>
              <a:gd name="connsiteY112" fmla="*/ 589470 h 4477815"/>
              <a:gd name="connsiteX113" fmla="*/ 2391212 w 4486446"/>
              <a:gd name="connsiteY113" fmla="*/ 589471 h 4477815"/>
              <a:gd name="connsiteX114" fmla="*/ 2391212 w 4486446"/>
              <a:gd name="connsiteY114" fmla="*/ 594192 h 4477815"/>
              <a:gd name="connsiteX115" fmla="*/ 2413681 w 4486446"/>
              <a:gd name="connsiteY115" fmla="*/ 593012 h 4477815"/>
              <a:gd name="connsiteX116" fmla="*/ 2828758 w 4486446"/>
              <a:gd name="connsiteY116" fmla="*/ 767738 h 4477815"/>
              <a:gd name="connsiteX117" fmla="*/ 2828756 w 4486446"/>
              <a:gd name="connsiteY117" fmla="*/ 767738 h 4477815"/>
              <a:gd name="connsiteX118" fmla="*/ 2818115 w 4486446"/>
              <a:gd name="connsiteY118" fmla="*/ 767738 h 4477815"/>
              <a:gd name="connsiteX119" fmla="*/ 2173622 w 4486446"/>
              <a:gd name="connsiteY119" fmla="*/ 660306 h 4477815"/>
              <a:gd name="connsiteX120" fmla="*/ 1565788 w 4486446"/>
              <a:gd name="connsiteY120" fmla="*/ 761836 h 4477815"/>
              <a:gd name="connsiteX121" fmla="*/ 390327 w 4486446"/>
              <a:gd name="connsiteY121" fmla="*/ 1608309 h 4477815"/>
              <a:gd name="connsiteX122" fmla="*/ 86410 w 4486446"/>
              <a:gd name="connsiteY122" fmla="*/ 2190333 h 4477815"/>
              <a:gd name="connsiteX123" fmla="*/ 9544 w 4486446"/>
              <a:gd name="connsiteY123" fmla="*/ 2455963 h 4477815"/>
              <a:gd name="connsiteX124" fmla="*/ 2448 w 4486446"/>
              <a:gd name="connsiteY124" fmla="*/ 2353253 h 4477815"/>
              <a:gd name="connsiteX125" fmla="*/ 81680 w 4486446"/>
              <a:gd name="connsiteY125" fmla="*/ 1634282 h 4477815"/>
              <a:gd name="connsiteX126" fmla="*/ 97053 w 4486446"/>
              <a:gd name="connsiteY126" fmla="*/ 1605948 h 4477815"/>
              <a:gd name="connsiteX127" fmla="*/ 106514 w 4486446"/>
              <a:gd name="connsiteY127" fmla="*/ 1555183 h 4477815"/>
              <a:gd name="connsiteX128" fmla="*/ 424621 w 4486446"/>
              <a:gd name="connsiteY128" fmla="*/ 927116 h 4477815"/>
              <a:gd name="connsiteX129" fmla="*/ 461280 w 4486446"/>
              <a:gd name="connsiteY129" fmla="*/ 897601 h 4477815"/>
              <a:gd name="connsiteX130" fmla="*/ 1162537 w 4486446"/>
              <a:gd name="connsiteY130" fmla="*/ 570581 h 4477815"/>
              <a:gd name="connsiteX131" fmla="*/ 1789291 w 4486446"/>
              <a:gd name="connsiteY131" fmla="*/ 492663 h 4477815"/>
              <a:gd name="connsiteX132" fmla="*/ 1891488 w 4486446"/>
              <a:gd name="connsiteY132" fmla="*/ 28013 h 4477815"/>
              <a:gd name="connsiteX133" fmla="*/ 1971902 w 4486446"/>
              <a:gd name="connsiteY133" fmla="*/ 39822 h 4477815"/>
              <a:gd name="connsiteX134" fmla="*/ 3187572 w 4486446"/>
              <a:gd name="connsiteY134" fmla="*/ 714099 h 4477815"/>
              <a:gd name="connsiteX135" fmla="*/ 3694889 w 4486446"/>
              <a:gd name="connsiteY135" fmla="*/ 1597389 h 4477815"/>
              <a:gd name="connsiteX136" fmla="*/ 3696072 w 4486446"/>
              <a:gd name="connsiteY136" fmla="*/ 1606835 h 4477815"/>
              <a:gd name="connsiteX137" fmla="*/ 3503314 w 4486446"/>
              <a:gd name="connsiteY137" fmla="*/ 1284458 h 4477815"/>
              <a:gd name="connsiteX138" fmla="*/ 2998362 w 4486446"/>
              <a:gd name="connsiteY138" fmla="*/ 827462 h 4477815"/>
              <a:gd name="connsiteX139" fmla="*/ 2266359 w 4486446"/>
              <a:gd name="connsiteY139" fmla="*/ 514533 h 4477815"/>
              <a:gd name="connsiteX140" fmla="*/ 2178850 w 4486446"/>
              <a:gd name="connsiteY140" fmla="*/ 496819 h 4477815"/>
              <a:gd name="connsiteX141" fmla="*/ 1729478 w 4486446"/>
              <a:gd name="connsiteY141" fmla="*/ 455489 h 4477815"/>
              <a:gd name="connsiteX142" fmla="*/ 1229256 w 4486446"/>
              <a:gd name="connsiteY142" fmla="*/ 514533 h 4477815"/>
              <a:gd name="connsiteX143" fmla="*/ 1202796 w 4486446"/>
              <a:gd name="connsiteY143" fmla="*/ 515713 h 4477815"/>
              <a:gd name="connsiteX144" fmla="*/ 1173677 w 4486446"/>
              <a:gd name="connsiteY144" fmla="*/ 509809 h 4477815"/>
              <a:gd name="connsiteX145" fmla="*/ 1186684 w 4486446"/>
              <a:gd name="connsiteY145" fmla="*/ 525160 h 4477815"/>
              <a:gd name="connsiteX146" fmla="*/ 1186684 w 4486446"/>
              <a:gd name="connsiteY146" fmla="*/ 525161 h 4477815"/>
              <a:gd name="connsiteX147" fmla="*/ 514991 w 4486446"/>
              <a:gd name="connsiteY147" fmla="*/ 810930 h 4477815"/>
              <a:gd name="connsiteX148" fmla="*/ 588310 w 4486446"/>
              <a:gd name="connsiteY148" fmla="*/ 727088 h 4477815"/>
              <a:gd name="connsiteX149" fmla="*/ 1291932 w 4486446"/>
              <a:gd name="connsiteY149" fmla="*/ 211048 h 4477815"/>
              <a:gd name="connsiteX150" fmla="*/ 1891488 w 4486446"/>
              <a:gd name="connsiteY150" fmla="*/ 28013 h 4477815"/>
              <a:gd name="connsiteX151" fmla="*/ 2182411 w 4486446"/>
              <a:gd name="connsiteY151" fmla="*/ 996 h 4477815"/>
              <a:gd name="connsiteX152" fmla="*/ 2893068 w 4486446"/>
              <a:gd name="connsiteY152" fmla="*/ 94251 h 4477815"/>
              <a:gd name="connsiteX153" fmla="*/ 3555244 w 4486446"/>
              <a:gd name="connsiteY153" fmla="*/ 422415 h 4477815"/>
              <a:gd name="connsiteX154" fmla="*/ 3600178 w 4486446"/>
              <a:gd name="connsiteY154" fmla="*/ 477895 h 4477815"/>
              <a:gd name="connsiteX155" fmla="*/ 3956096 w 4486446"/>
              <a:gd name="connsiteY155" fmla="*/ 1343160 h 4477815"/>
              <a:gd name="connsiteX156" fmla="*/ 3988023 w 4486446"/>
              <a:gd name="connsiteY156" fmla="*/ 1892066 h 4477815"/>
              <a:gd name="connsiteX157" fmla="*/ 3796465 w 4486446"/>
              <a:gd name="connsiteY157" fmla="*/ 2662895 h 4477815"/>
              <a:gd name="connsiteX158" fmla="*/ 3720788 w 4486446"/>
              <a:gd name="connsiteY158" fmla="*/ 2821075 h 4477815"/>
              <a:gd name="connsiteX159" fmla="*/ 3790553 w 4486446"/>
              <a:gd name="connsiteY159" fmla="*/ 2568460 h 4477815"/>
              <a:gd name="connsiteX160" fmla="*/ 3820114 w 4486446"/>
              <a:gd name="connsiteY160" fmla="*/ 2084478 h 4477815"/>
              <a:gd name="connsiteX161" fmla="*/ 3698321 w 4486446"/>
              <a:gd name="connsiteY161" fmla="*/ 1488355 h 4477815"/>
              <a:gd name="connsiteX162" fmla="*/ 3349496 w 4486446"/>
              <a:gd name="connsiteY162" fmla="*/ 847375 h 4477815"/>
              <a:gd name="connsiteX163" fmla="*/ 2908440 w 4486446"/>
              <a:gd name="connsiteY163" fmla="*/ 414153 h 4477815"/>
              <a:gd name="connsiteX164" fmla="*/ 2629380 w 4486446"/>
              <a:gd name="connsiteY164" fmla="*/ 237085 h 4477815"/>
              <a:gd name="connsiteX165" fmla="*/ 2031057 w 4486446"/>
              <a:gd name="connsiteY165" fmla="*/ 13981 h 4477815"/>
              <a:gd name="connsiteX166" fmla="*/ 2021597 w 4486446"/>
              <a:gd name="connsiteY166" fmla="*/ 8079 h 4477815"/>
              <a:gd name="connsiteX167" fmla="*/ 2182411 w 4486446"/>
              <a:gd name="connsiteY167" fmla="*/ 996 h 447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486446" h="4477815">
                <a:moveTo>
                  <a:pt x="2883960" y="3688835"/>
                </a:moveTo>
                <a:lnTo>
                  <a:pt x="2877286" y="3692584"/>
                </a:lnTo>
                <a:cubicBezTo>
                  <a:pt x="2877286" y="3692584"/>
                  <a:pt x="2876104" y="3691403"/>
                  <a:pt x="2874921" y="3690222"/>
                </a:cubicBezTo>
                <a:close/>
                <a:moveTo>
                  <a:pt x="791972" y="2871434"/>
                </a:moveTo>
                <a:cubicBezTo>
                  <a:pt x="840442" y="2978879"/>
                  <a:pt x="898369" y="3079238"/>
                  <a:pt x="969302" y="3173695"/>
                </a:cubicBezTo>
                <a:cubicBezTo>
                  <a:pt x="1109983" y="3364969"/>
                  <a:pt x="1287313" y="3516100"/>
                  <a:pt x="1483558" y="3648339"/>
                </a:cubicBezTo>
                <a:cubicBezTo>
                  <a:pt x="1508384" y="3664870"/>
                  <a:pt x="1528481" y="3695568"/>
                  <a:pt x="1555672" y="3701471"/>
                </a:cubicBezTo>
                <a:cubicBezTo>
                  <a:pt x="1589956" y="3709736"/>
                  <a:pt x="1615964" y="3729808"/>
                  <a:pt x="1644337" y="3746338"/>
                </a:cubicBezTo>
                <a:cubicBezTo>
                  <a:pt x="1874867" y="3870313"/>
                  <a:pt x="2119581" y="3954142"/>
                  <a:pt x="2377301" y="3995467"/>
                </a:cubicBezTo>
                <a:cubicBezTo>
                  <a:pt x="2611376" y="4032069"/>
                  <a:pt x="2844269" y="4033250"/>
                  <a:pt x="3078344" y="3997829"/>
                </a:cubicBezTo>
                <a:cubicBezTo>
                  <a:pt x="3382170" y="3952962"/>
                  <a:pt x="3663534" y="3849060"/>
                  <a:pt x="3925982" y="3692025"/>
                </a:cubicBezTo>
                <a:cubicBezTo>
                  <a:pt x="3934257" y="3687303"/>
                  <a:pt x="3940168" y="3681399"/>
                  <a:pt x="3948443" y="3677857"/>
                </a:cubicBezTo>
                <a:cubicBezTo>
                  <a:pt x="3954354" y="3673134"/>
                  <a:pt x="3961447" y="3669592"/>
                  <a:pt x="3968540" y="3666050"/>
                </a:cubicBezTo>
                <a:cubicBezTo>
                  <a:pt x="3969723" y="3668411"/>
                  <a:pt x="3972087" y="3669592"/>
                  <a:pt x="3974452" y="3671954"/>
                </a:cubicBezTo>
                <a:cubicBezTo>
                  <a:pt x="3905884" y="3742796"/>
                  <a:pt x="3838498" y="3815999"/>
                  <a:pt x="3766384" y="3884480"/>
                </a:cubicBezTo>
                <a:cubicBezTo>
                  <a:pt x="3654076" y="3991925"/>
                  <a:pt x="3527580" y="4084020"/>
                  <a:pt x="3393992" y="4163127"/>
                </a:cubicBezTo>
                <a:cubicBezTo>
                  <a:pt x="3148094" y="4309536"/>
                  <a:pt x="2885646" y="4406353"/>
                  <a:pt x="2603101" y="4450039"/>
                </a:cubicBezTo>
                <a:cubicBezTo>
                  <a:pt x="2581821" y="4453582"/>
                  <a:pt x="2559360" y="4447678"/>
                  <a:pt x="2536898" y="4444136"/>
                </a:cubicBezTo>
                <a:cubicBezTo>
                  <a:pt x="2410402" y="4420522"/>
                  <a:pt x="2286271" y="4386281"/>
                  <a:pt x="2164504" y="4341415"/>
                </a:cubicBezTo>
                <a:cubicBezTo>
                  <a:pt x="1787384" y="4200910"/>
                  <a:pt x="1470554" y="3975396"/>
                  <a:pt x="1212835" y="3666050"/>
                </a:cubicBezTo>
                <a:cubicBezTo>
                  <a:pt x="1166729" y="3610557"/>
                  <a:pt x="1124169" y="3551521"/>
                  <a:pt x="1083975" y="3492486"/>
                </a:cubicBezTo>
                <a:cubicBezTo>
                  <a:pt x="1042598" y="3429909"/>
                  <a:pt x="1003585" y="3366150"/>
                  <a:pt x="968119" y="3301211"/>
                </a:cubicBezTo>
                <a:cubicBezTo>
                  <a:pt x="932654" y="3236273"/>
                  <a:pt x="900734" y="3168972"/>
                  <a:pt x="872361" y="3100491"/>
                </a:cubicBezTo>
                <a:cubicBezTo>
                  <a:pt x="843988" y="3032010"/>
                  <a:pt x="821527" y="2961167"/>
                  <a:pt x="796701" y="2891506"/>
                </a:cubicBezTo>
                <a:cubicBezTo>
                  <a:pt x="794336" y="2884422"/>
                  <a:pt x="793154" y="2878519"/>
                  <a:pt x="791972" y="2871434"/>
                </a:cubicBezTo>
                <a:close/>
                <a:moveTo>
                  <a:pt x="4479352" y="2023705"/>
                </a:moveTo>
                <a:cubicBezTo>
                  <a:pt x="4481716" y="2102811"/>
                  <a:pt x="4486446" y="2180735"/>
                  <a:pt x="4486446" y="2259841"/>
                </a:cubicBezTo>
                <a:cubicBezTo>
                  <a:pt x="4484081" y="2612864"/>
                  <a:pt x="4402488" y="2946996"/>
                  <a:pt x="4239302" y="3261056"/>
                </a:cubicBezTo>
                <a:cubicBezTo>
                  <a:pt x="4189638" y="3355511"/>
                  <a:pt x="4126966" y="3445242"/>
                  <a:pt x="4072570" y="3537336"/>
                </a:cubicBezTo>
                <a:cubicBezTo>
                  <a:pt x="4058380" y="3560949"/>
                  <a:pt x="4035913" y="3572756"/>
                  <a:pt x="4015810" y="3586924"/>
                </a:cubicBezTo>
                <a:cubicBezTo>
                  <a:pt x="3891648" y="3671932"/>
                  <a:pt x="3761572" y="3745135"/>
                  <a:pt x="3623220" y="3802988"/>
                </a:cubicBezTo>
                <a:cubicBezTo>
                  <a:pt x="3564094" y="3827782"/>
                  <a:pt x="3502604" y="3851396"/>
                  <a:pt x="3441114" y="3871467"/>
                </a:cubicBezTo>
                <a:cubicBezTo>
                  <a:pt x="3377259" y="3892720"/>
                  <a:pt x="3313404" y="3910430"/>
                  <a:pt x="3248366" y="3925778"/>
                </a:cubicBezTo>
                <a:cubicBezTo>
                  <a:pt x="3182146" y="3939947"/>
                  <a:pt x="3115926" y="3952934"/>
                  <a:pt x="3048523" y="3962380"/>
                </a:cubicBezTo>
                <a:cubicBezTo>
                  <a:pt x="2676036" y="4014329"/>
                  <a:pt x="2313007" y="3977728"/>
                  <a:pt x="1960621" y="3844312"/>
                </a:cubicBezTo>
                <a:cubicBezTo>
                  <a:pt x="1866022" y="3808892"/>
                  <a:pt x="1774969" y="3762845"/>
                  <a:pt x="1682734" y="3721522"/>
                </a:cubicBezTo>
                <a:cubicBezTo>
                  <a:pt x="1679186" y="3720341"/>
                  <a:pt x="1675639" y="3717979"/>
                  <a:pt x="1673274" y="3713257"/>
                </a:cubicBezTo>
                <a:cubicBezTo>
                  <a:pt x="1699289" y="3721522"/>
                  <a:pt x="1725304" y="3730967"/>
                  <a:pt x="1751319" y="3740412"/>
                </a:cubicBezTo>
                <a:cubicBezTo>
                  <a:pt x="1946432" y="3804169"/>
                  <a:pt x="2146274" y="3825421"/>
                  <a:pt x="2349665" y="3815976"/>
                </a:cubicBezTo>
                <a:cubicBezTo>
                  <a:pt x="2586165" y="3804169"/>
                  <a:pt x="2815570" y="3758122"/>
                  <a:pt x="3037881" y="3675475"/>
                </a:cubicBezTo>
                <a:cubicBezTo>
                  <a:pt x="3357156" y="3556226"/>
                  <a:pt x="3635044" y="3374402"/>
                  <a:pt x="3875093" y="3132363"/>
                </a:cubicBezTo>
                <a:cubicBezTo>
                  <a:pt x="3879822" y="3126459"/>
                  <a:pt x="3886918" y="3124098"/>
                  <a:pt x="3896378" y="3118194"/>
                </a:cubicBezTo>
                <a:cubicBezTo>
                  <a:pt x="3897560" y="3115833"/>
                  <a:pt x="3898743" y="3107569"/>
                  <a:pt x="3903472" y="3101665"/>
                </a:cubicBezTo>
                <a:cubicBezTo>
                  <a:pt x="4128148" y="2863167"/>
                  <a:pt x="4294881" y="2589251"/>
                  <a:pt x="4400124" y="2279913"/>
                </a:cubicBezTo>
                <a:cubicBezTo>
                  <a:pt x="4429686" y="2196084"/>
                  <a:pt x="4450971" y="2109895"/>
                  <a:pt x="4475804" y="2024886"/>
                </a:cubicBezTo>
                <a:cubicBezTo>
                  <a:pt x="4476986" y="2024886"/>
                  <a:pt x="4478169" y="2024886"/>
                  <a:pt x="4479352" y="2023705"/>
                </a:cubicBezTo>
                <a:close/>
                <a:moveTo>
                  <a:pt x="772423" y="1655797"/>
                </a:moveTo>
                <a:cubicBezTo>
                  <a:pt x="758238" y="1697121"/>
                  <a:pt x="742872" y="1731359"/>
                  <a:pt x="734596" y="1767960"/>
                </a:cubicBezTo>
                <a:cubicBezTo>
                  <a:pt x="714502" y="1849426"/>
                  <a:pt x="688496" y="1929711"/>
                  <a:pt x="679040" y="2013538"/>
                </a:cubicBezTo>
                <a:cubicBezTo>
                  <a:pt x="619936" y="2517681"/>
                  <a:pt x="733415" y="2985223"/>
                  <a:pt x="992288" y="3419707"/>
                </a:cubicBezTo>
                <a:cubicBezTo>
                  <a:pt x="1093945" y="3590903"/>
                  <a:pt x="1218062" y="3743209"/>
                  <a:pt x="1362275" y="3880166"/>
                </a:cubicBezTo>
                <a:cubicBezTo>
                  <a:pt x="1642425" y="4149357"/>
                  <a:pt x="1969858" y="4334721"/>
                  <a:pt x="2344573" y="4437438"/>
                </a:cubicBezTo>
                <a:cubicBezTo>
                  <a:pt x="2382400" y="4448064"/>
                  <a:pt x="2420226" y="4456329"/>
                  <a:pt x="2458052" y="4465775"/>
                </a:cubicBezTo>
                <a:cubicBezTo>
                  <a:pt x="2458052" y="4468135"/>
                  <a:pt x="2456870" y="4470497"/>
                  <a:pt x="2456870" y="4472859"/>
                </a:cubicBezTo>
                <a:cubicBezTo>
                  <a:pt x="2370578" y="4475220"/>
                  <a:pt x="2284288" y="4478762"/>
                  <a:pt x="2197997" y="4477581"/>
                </a:cubicBezTo>
                <a:cubicBezTo>
                  <a:pt x="1935578" y="4475220"/>
                  <a:pt x="1681433" y="4424451"/>
                  <a:pt x="1436745" y="4329998"/>
                </a:cubicBezTo>
                <a:cubicBezTo>
                  <a:pt x="1427289" y="4326456"/>
                  <a:pt x="1417832" y="4321733"/>
                  <a:pt x="1409558" y="4317011"/>
                </a:cubicBezTo>
                <a:cubicBezTo>
                  <a:pt x="1407193" y="4314649"/>
                  <a:pt x="1407193" y="4308746"/>
                  <a:pt x="1407193" y="4308746"/>
                </a:cubicBezTo>
                <a:cubicBezTo>
                  <a:pt x="1396555" y="4307565"/>
                  <a:pt x="1382370" y="4307565"/>
                  <a:pt x="1371731" y="4302843"/>
                </a:cubicBezTo>
                <a:cubicBezTo>
                  <a:pt x="1219245" y="4240268"/>
                  <a:pt x="1077397" y="4159982"/>
                  <a:pt x="943823" y="4065530"/>
                </a:cubicBezTo>
                <a:cubicBezTo>
                  <a:pt x="927274" y="4053723"/>
                  <a:pt x="913089" y="4036013"/>
                  <a:pt x="901268" y="4019484"/>
                </a:cubicBezTo>
                <a:cubicBezTo>
                  <a:pt x="777151" y="3844746"/>
                  <a:pt x="680221" y="3654659"/>
                  <a:pt x="612844" y="3450404"/>
                </a:cubicBezTo>
                <a:cubicBezTo>
                  <a:pt x="521825" y="3181213"/>
                  <a:pt x="482816" y="2903758"/>
                  <a:pt x="498183" y="2619218"/>
                </a:cubicBezTo>
                <a:cubicBezTo>
                  <a:pt x="514732" y="2283910"/>
                  <a:pt x="603387" y="1967492"/>
                  <a:pt x="761785" y="1671146"/>
                </a:cubicBezTo>
                <a:cubicBezTo>
                  <a:pt x="762966" y="1667604"/>
                  <a:pt x="766512" y="1664062"/>
                  <a:pt x="772423" y="1655797"/>
                </a:cubicBezTo>
                <a:close/>
                <a:moveTo>
                  <a:pt x="1597326" y="789665"/>
                </a:moveTo>
                <a:cubicBezTo>
                  <a:pt x="1602053" y="788485"/>
                  <a:pt x="1605598" y="788485"/>
                  <a:pt x="1610324" y="789665"/>
                </a:cubicBezTo>
                <a:lnTo>
                  <a:pt x="1610322" y="789666"/>
                </a:lnTo>
                <a:lnTo>
                  <a:pt x="1610324" y="789666"/>
                </a:lnTo>
                <a:cubicBezTo>
                  <a:pt x="1425996" y="871149"/>
                  <a:pt x="1262937" y="983336"/>
                  <a:pt x="1121146" y="1126226"/>
                </a:cubicBezTo>
                <a:cubicBezTo>
                  <a:pt x="979355" y="1267936"/>
                  <a:pt x="858834" y="1426179"/>
                  <a:pt x="758398" y="1600955"/>
                </a:cubicBezTo>
                <a:cubicBezTo>
                  <a:pt x="751309" y="1596231"/>
                  <a:pt x="746582" y="1591507"/>
                  <a:pt x="741856" y="1586784"/>
                </a:cubicBezTo>
                <a:cubicBezTo>
                  <a:pt x="757217" y="1604498"/>
                  <a:pt x="748946" y="1618669"/>
                  <a:pt x="739493" y="1635201"/>
                </a:cubicBezTo>
                <a:cubicBezTo>
                  <a:pt x="615427" y="1858395"/>
                  <a:pt x="533897" y="2096940"/>
                  <a:pt x="490177" y="2347294"/>
                </a:cubicBezTo>
                <a:cubicBezTo>
                  <a:pt x="455911" y="2544507"/>
                  <a:pt x="447641" y="2742901"/>
                  <a:pt x="466546" y="2942476"/>
                </a:cubicBezTo>
                <a:cubicBezTo>
                  <a:pt x="501993" y="3300294"/>
                  <a:pt x="611881" y="3634493"/>
                  <a:pt x="803299" y="3940351"/>
                </a:cubicBezTo>
                <a:cubicBezTo>
                  <a:pt x="808025" y="3946255"/>
                  <a:pt x="811570" y="3953341"/>
                  <a:pt x="815115" y="3960427"/>
                </a:cubicBezTo>
                <a:cubicBezTo>
                  <a:pt x="813934" y="3961608"/>
                  <a:pt x="812752" y="3962788"/>
                  <a:pt x="811570" y="3963969"/>
                </a:cubicBezTo>
                <a:cubicBezTo>
                  <a:pt x="784393" y="3940351"/>
                  <a:pt x="757217" y="3917914"/>
                  <a:pt x="730041" y="3893114"/>
                </a:cubicBezTo>
                <a:cubicBezTo>
                  <a:pt x="520899" y="3700625"/>
                  <a:pt x="351932" y="3477431"/>
                  <a:pt x="226683" y="3221173"/>
                </a:cubicBezTo>
                <a:cubicBezTo>
                  <a:pt x="141609" y="3046397"/>
                  <a:pt x="78985" y="2862173"/>
                  <a:pt x="42356" y="2670865"/>
                </a:cubicBezTo>
                <a:cubicBezTo>
                  <a:pt x="36447" y="2643704"/>
                  <a:pt x="28176" y="2616543"/>
                  <a:pt x="28176" y="2588201"/>
                </a:cubicBezTo>
                <a:cubicBezTo>
                  <a:pt x="28176" y="2561040"/>
                  <a:pt x="36447" y="2533879"/>
                  <a:pt x="41174" y="2505537"/>
                </a:cubicBezTo>
                <a:cubicBezTo>
                  <a:pt x="99072" y="2215031"/>
                  <a:pt x="210141" y="1945782"/>
                  <a:pt x="374382" y="1698971"/>
                </a:cubicBezTo>
                <a:cubicBezTo>
                  <a:pt x="472454" y="1550176"/>
                  <a:pt x="587068" y="1414370"/>
                  <a:pt x="719406" y="1293916"/>
                </a:cubicBezTo>
                <a:cubicBezTo>
                  <a:pt x="753672" y="1260850"/>
                  <a:pt x="790302" y="1230147"/>
                  <a:pt x="826931" y="1199443"/>
                </a:cubicBezTo>
                <a:cubicBezTo>
                  <a:pt x="1056159" y="1012858"/>
                  <a:pt x="1313746" y="877053"/>
                  <a:pt x="1597326" y="789665"/>
                </a:cubicBezTo>
                <a:close/>
                <a:moveTo>
                  <a:pt x="2243223" y="763473"/>
                </a:moveTo>
                <a:cubicBezTo>
                  <a:pt x="3058083" y="763473"/>
                  <a:pt x="3718658" y="1424048"/>
                  <a:pt x="3718658" y="2238908"/>
                </a:cubicBezTo>
                <a:cubicBezTo>
                  <a:pt x="3718658" y="3053768"/>
                  <a:pt x="3058083" y="3714343"/>
                  <a:pt x="2243223" y="3714343"/>
                </a:cubicBezTo>
                <a:cubicBezTo>
                  <a:pt x="1428363" y="3714343"/>
                  <a:pt x="767788" y="3053768"/>
                  <a:pt x="767788" y="2238908"/>
                </a:cubicBezTo>
                <a:cubicBezTo>
                  <a:pt x="767788" y="1424048"/>
                  <a:pt x="1428363" y="763473"/>
                  <a:pt x="2243223" y="763473"/>
                </a:cubicBezTo>
                <a:close/>
                <a:moveTo>
                  <a:pt x="3675296" y="514301"/>
                </a:moveTo>
                <a:cubicBezTo>
                  <a:pt x="3706033" y="541456"/>
                  <a:pt x="3737954" y="567430"/>
                  <a:pt x="3767510" y="595765"/>
                </a:cubicBezTo>
                <a:cubicBezTo>
                  <a:pt x="4040606" y="850784"/>
                  <a:pt x="4240404" y="1153028"/>
                  <a:pt x="4363356" y="1506038"/>
                </a:cubicBezTo>
                <a:cubicBezTo>
                  <a:pt x="4407099" y="1631187"/>
                  <a:pt x="4440202" y="1758696"/>
                  <a:pt x="4459118" y="1889746"/>
                </a:cubicBezTo>
                <a:cubicBezTo>
                  <a:pt x="4462664" y="1915721"/>
                  <a:pt x="4450842" y="1944056"/>
                  <a:pt x="4444930" y="1972392"/>
                </a:cubicBezTo>
                <a:cubicBezTo>
                  <a:pt x="4373996" y="2332487"/>
                  <a:pt x="4223852" y="2657162"/>
                  <a:pt x="3992134" y="2941697"/>
                </a:cubicBezTo>
                <a:cubicBezTo>
                  <a:pt x="3929476" y="3020800"/>
                  <a:pt x="3857360" y="3092819"/>
                  <a:pt x="3785244" y="3164838"/>
                </a:cubicBezTo>
                <a:cubicBezTo>
                  <a:pt x="3630371" y="3319501"/>
                  <a:pt x="3449488" y="3441108"/>
                  <a:pt x="3255602" y="3541462"/>
                </a:cubicBezTo>
                <a:cubicBezTo>
                  <a:pt x="3138560" y="3600494"/>
                  <a:pt x="3015608" y="3647720"/>
                  <a:pt x="2890290" y="3687862"/>
                </a:cubicBezTo>
                <a:lnTo>
                  <a:pt x="2883960" y="3688835"/>
                </a:lnTo>
                <a:lnTo>
                  <a:pt x="3002307" y="3622336"/>
                </a:lnTo>
                <a:cubicBezTo>
                  <a:pt x="3043982" y="3598724"/>
                  <a:pt x="3085360" y="3574520"/>
                  <a:pt x="3125555" y="3548546"/>
                </a:cubicBezTo>
                <a:cubicBezTo>
                  <a:pt x="3304073" y="3431663"/>
                  <a:pt x="3448306" y="3278180"/>
                  <a:pt x="3575988" y="3109348"/>
                </a:cubicBezTo>
                <a:cubicBezTo>
                  <a:pt x="3788790" y="2827175"/>
                  <a:pt x="3925930" y="2510764"/>
                  <a:pt x="3990953" y="2163655"/>
                </a:cubicBezTo>
                <a:cubicBezTo>
                  <a:pt x="4028784" y="1968850"/>
                  <a:pt x="4038242" y="1771683"/>
                  <a:pt x="4022873" y="1572154"/>
                </a:cubicBezTo>
                <a:cubicBezTo>
                  <a:pt x="4011050" y="1405685"/>
                  <a:pt x="3980312" y="1241575"/>
                  <a:pt x="3931840" y="1082189"/>
                </a:cubicBezTo>
                <a:cubicBezTo>
                  <a:pt x="3873911" y="889746"/>
                  <a:pt x="3791155" y="706746"/>
                  <a:pt x="3682388" y="535554"/>
                </a:cubicBezTo>
                <a:cubicBezTo>
                  <a:pt x="3678842" y="529650"/>
                  <a:pt x="3675296" y="523747"/>
                  <a:pt x="3675296" y="514302"/>
                </a:cubicBezTo>
                <a:close/>
                <a:moveTo>
                  <a:pt x="1789291" y="492663"/>
                </a:moveTo>
                <a:cubicBezTo>
                  <a:pt x="1983231" y="496205"/>
                  <a:pt x="2174805" y="524539"/>
                  <a:pt x="2361648" y="577665"/>
                </a:cubicBezTo>
                <a:cubicBezTo>
                  <a:pt x="2372291" y="580026"/>
                  <a:pt x="2381752" y="585929"/>
                  <a:pt x="2391212" y="589470"/>
                </a:cubicBezTo>
                <a:lnTo>
                  <a:pt x="2391212" y="589471"/>
                </a:lnTo>
                <a:lnTo>
                  <a:pt x="2391212" y="594192"/>
                </a:lnTo>
                <a:cubicBezTo>
                  <a:pt x="2398308" y="593012"/>
                  <a:pt x="2406586" y="590651"/>
                  <a:pt x="2413681" y="593012"/>
                </a:cubicBezTo>
                <a:cubicBezTo>
                  <a:pt x="2556770" y="636693"/>
                  <a:pt x="2693948" y="694542"/>
                  <a:pt x="2828758" y="767738"/>
                </a:cubicBezTo>
                <a:lnTo>
                  <a:pt x="2828756" y="767738"/>
                </a:lnTo>
                <a:lnTo>
                  <a:pt x="2818115" y="767738"/>
                </a:lnTo>
                <a:cubicBezTo>
                  <a:pt x="2611168" y="685098"/>
                  <a:pt x="2395942" y="653223"/>
                  <a:pt x="2173622" y="660306"/>
                </a:cubicBezTo>
                <a:cubicBezTo>
                  <a:pt x="1966675" y="667389"/>
                  <a:pt x="1763275" y="699265"/>
                  <a:pt x="1565788" y="761836"/>
                </a:cubicBezTo>
                <a:cubicBezTo>
                  <a:pt x="1082122" y="915310"/>
                  <a:pt x="690696" y="1198648"/>
                  <a:pt x="390327" y="1608309"/>
                </a:cubicBezTo>
                <a:cubicBezTo>
                  <a:pt x="260245" y="1786576"/>
                  <a:pt x="160910" y="1982552"/>
                  <a:pt x="86410" y="2190333"/>
                </a:cubicBezTo>
                <a:cubicBezTo>
                  <a:pt x="55663" y="2276516"/>
                  <a:pt x="35560" y="2366239"/>
                  <a:pt x="9544" y="2455963"/>
                </a:cubicBezTo>
                <a:cubicBezTo>
                  <a:pt x="7179" y="2420546"/>
                  <a:pt x="3631" y="2387490"/>
                  <a:pt x="2448" y="2353253"/>
                </a:cubicBezTo>
                <a:cubicBezTo>
                  <a:pt x="-8195" y="2108873"/>
                  <a:pt x="15456" y="1869216"/>
                  <a:pt x="81680" y="1634282"/>
                </a:cubicBezTo>
                <a:cubicBezTo>
                  <a:pt x="85227" y="1623656"/>
                  <a:pt x="100601" y="1611850"/>
                  <a:pt x="97053" y="1605948"/>
                </a:cubicBezTo>
                <a:cubicBezTo>
                  <a:pt x="89958" y="1585878"/>
                  <a:pt x="101783" y="1571711"/>
                  <a:pt x="106514" y="1555183"/>
                </a:cubicBezTo>
                <a:cubicBezTo>
                  <a:pt x="177466" y="1328512"/>
                  <a:pt x="285079" y="1119549"/>
                  <a:pt x="424621" y="927116"/>
                </a:cubicBezTo>
                <a:cubicBezTo>
                  <a:pt x="434082" y="915309"/>
                  <a:pt x="448271" y="907046"/>
                  <a:pt x="461280" y="897601"/>
                </a:cubicBezTo>
                <a:cubicBezTo>
                  <a:pt x="676505" y="747668"/>
                  <a:pt x="909470" y="637874"/>
                  <a:pt x="1162537" y="570581"/>
                </a:cubicBezTo>
                <a:cubicBezTo>
                  <a:pt x="1368301" y="515094"/>
                  <a:pt x="1576431" y="489121"/>
                  <a:pt x="1789291" y="492663"/>
                </a:cubicBezTo>
                <a:close/>
                <a:moveTo>
                  <a:pt x="1891488" y="28013"/>
                </a:moveTo>
                <a:cubicBezTo>
                  <a:pt x="1917505" y="23290"/>
                  <a:pt x="1945886" y="33917"/>
                  <a:pt x="1971902" y="39822"/>
                </a:cubicBezTo>
                <a:cubicBezTo>
                  <a:pt x="2449656" y="135472"/>
                  <a:pt x="2855272" y="359838"/>
                  <a:pt x="3187572" y="714099"/>
                </a:cubicBezTo>
                <a:cubicBezTo>
                  <a:pt x="3426449" y="967985"/>
                  <a:pt x="3593189" y="1264383"/>
                  <a:pt x="3694889" y="1597389"/>
                </a:cubicBezTo>
                <a:cubicBezTo>
                  <a:pt x="3696072" y="1599751"/>
                  <a:pt x="3696072" y="1603293"/>
                  <a:pt x="3696072" y="1606835"/>
                </a:cubicBezTo>
                <a:cubicBezTo>
                  <a:pt x="3642856" y="1492291"/>
                  <a:pt x="3580181" y="1384832"/>
                  <a:pt x="3503314" y="1284458"/>
                </a:cubicBezTo>
                <a:cubicBezTo>
                  <a:pt x="3362590" y="1101423"/>
                  <a:pt x="3189937" y="953816"/>
                  <a:pt x="2998362" y="827462"/>
                </a:cubicBezTo>
                <a:cubicBezTo>
                  <a:pt x="2773677" y="678673"/>
                  <a:pt x="2528887" y="575938"/>
                  <a:pt x="2266359" y="514533"/>
                </a:cubicBezTo>
                <a:cubicBezTo>
                  <a:pt x="2237977" y="507447"/>
                  <a:pt x="2208414" y="502724"/>
                  <a:pt x="2178850" y="496819"/>
                </a:cubicBezTo>
                <a:cubicBezTo>
                  <a:pt x="2036943" y="468478"/>
                  <a:pt x="1876115" y="454308"/>
                  <a:pt x="1729478" y="455489"/>
                </a:cubicBezTo>
                <a:cubicBezTo>
                  <a:pt x="1560373" y="456670"/>
                  <a:pt x="1394814" y="476744"/>
                  <a:pt x="1229256" y="514533"/>
                </a:cubicBezTo>
                <a:cubicBezTo>
                  <a:pt x="1220978" y="516304"/>
                  <a:pt x="1212109" y="516599"/>
                  <a:pt x="1202796" y="515713"/>
                </a:cubicBezTo>
                <a:lnTo>
                  <a:pt x="1173677" y="509809"/>
                </a:lnTo>
                <a:lnTo>
                  <a:pt x="1186684" y="525160"/>
                </a:lnTo>
                <a:lnTo>
                  <a:pt x="1186684" y="525161"/>
                </a:lnTo>
                <a:cubicBezTo>
                  <a:pt x="947808" y="586566"/>
                  <a:pt x="725487" y="682216"/>
                  <a:pt x="514991" y="810930"/>
                </a:cubicBezTo>
                <a:cubicBezTo>
                  <a:pt x="539825" y="782590"/>
                  <a:pt x="563476" y="754249"/>
                  <a:pt x="588310" y="727088"/>
                </a:cubicBezTo>
                <a:cubicBezTo>
                  <a:pt x="789345" y="509809"/>
                  <a:pt x="1023491" y="336221"/>
                  <a:pt x="1291932" y="211048"/>
                </a:cubicBezTo>
                <a:cubicBezTo>
                  <a:pt x="1483506" y="121302"/>
                  <a:pt x="1683358" y="58716"/>
                  <a:pt x="1891488" y="28013"/>
                </a:cubicBezTo>
                <a:close/>
                <a:moveTo>
                  <a:pt x="2182411" y="996"/>
                </a:moveTo>
                <a:cubicBezTo>
                  <a:pt x="2423633" y="-6087"/>
                  <a:pt x="2661306" y="24605"/>
                  <a:pt x="2893068" y="94251"/>
                </a:cubicBezTo>
                <a:cubicBezTo>
                  <a:pt x="3131924" y="166258"/>
                  <a:pt x="3353044" y="276040"/>
                  <a:pt x="3555244" y="422415"/>
                </a:cubicBezTo>
                <a:cubicBezTo>
                  <a:pt x="3574163" y="436580"/>
                  <a:pt x="3587170" y="459008"/>
                  <a:pt x="3600178" y="477895"/>
                </a:cubicBezTo>
                <a:cubicBezTo>
                  <a:pt x="3779911" y="741134"/>
                  <a:pt x="3899339" y="1029162"/>
                  <a:pt x="3956096" y="1343160"/>
                </a:cubicBezTo>
                <a:cubicBezTo>
                  <a:pt x="3990388" y="1524948"/>
                  <a:pt x="4001030" y="1707917"/>
                  <a:pt x="3988023" y="1892066"/>
                </a:cubicBezTo>
                <a:cubicBezTo>
                  <a:pt x="3970286" y="2160026"/>
                  <a:pt x="3907616" y="2418544"/>
                  <a:pt x="3796465" y="2662895"/>
                </a:cubicBezTo>
                <a:cubicBezTo>
                  <a:pt x="3772816" y="2714835"/>
                  <a:pt x="3746802" y="2765594"/>
                  <a:pt x="3720788" y="2821075"/>
                </a:cubicBezTo>
                <a:cubicBezTo>
                  <a:pt x="3744436" y="2733722"/>
                  <a:pt x="3770451" y="2652272"/>
                  <a:pt x="3790553" y="2568460"/>
                </a:cubicBezTo>
                <a:cubicBezTo>
                  <a:pt x="3827209" y="2409100"/>
                  <a:pt x="3830756" y="2247379"/>
                  <a:pt x="3820114" y="2084478"/>
                </a:cubicBezTo>
                <a:cubicBezTo>
                  <a:pt x="3805924" y="1880261"/>
                  <a:pt x="3765721" y="1681947"/>
                  <a:pt x="3698321" y="1488355"/>
                </a:cubicBezTo>
                <a:cubicBezTo>
                  <a:pt x="3616732" y="1255807"/>
                  <a:pt x="3500850" y="1043328"/>
                  <a:pt x="3349496" y="847375"/>
                </a:cubicBezTo>
                <a:cubicBezTo>
                  <a:pt x="3222974" y="682112"/>
                  <a:pt x="3076348" y="536918"/>
                  <a:pt x="2908440" y="414153"/>
                </a:cubicBezTo>
                <a:cubicBezTo>
                  <a:pt x="2819756" y="349228"/>
                  <a:pt x="2725159" y="291386"/>
                  <a:pt x="2629380" y="237085"/>
                </a:cubicBezTo>
                <a:cubicBezTo>
                  <a:pt x="2442552" y="132026"/>
                  <a:pt x="2241535" y="60018"/>
                  <a:pt x="2031057" y="13981"/>
                </a:cubicBezTo>
                <a:cubicBezTo>
                  <a:pt x="2029874" y="13981"/>
                  <a:pt x="2028692" y="12801"/>
                  <a:pt x="2021597" y="8079"/>
                </a:cubicBezTo>
                <a:cubicBezTo>
                  <a:pt x="2079538" y="5717"/>
                  <a:pt x="2130384" y="2177"/>
                  <a:pt x="2182411" y="996"/>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425514499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3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338AD7A8-E850-44D3-8269-49A02802ECB0}"/>
              </a:ext>
            </a:extLst>
          </p:cNvPr>
          <p:cNvSpPr>
            <a:spLocks noGrp="1"/>
          </p:cNvSpPr>
          <p:nvPr>
            <p:ph type="pic" sz="quarter" idx="22"/>
          </p:nvPr>
        </p:nvSpPr>
        <p:spPr>
          <a:xfrm>
            <a:off x="7892910" y="1612254"/>
            <a:ext cx="8505493" cy="6007981"/>
          </a:xfrm>
          <a:custGeom>
            <a:avLst/>
            <a:gdLst>
              <a:gd name="connsiteX0" fmla="*/ 1873443 w 6400371"/>
              <a:gd name="connsiteY0" fmla="*/ 4544828 h 4577509"/>
              <a:gd name="connsiteX1" fmla="*/ 1875831 w 6400371"/>
              <a:gd name="connsiteY1" fmla="*/ 4551286 h 4577509"/>
              <a:gd name="connsiteX2" fmla="*/ 1868187 w 6400371"/>
              <a:gd name="connsiteY2" fmla="*/ 4551286 h 4577509"/>
              <a:gd name="connsiteX3" fmla="*/ 1868187 w 6400371"/>
              <a:gd name="connsiteY3" fmla="*/ 4546120 h 4577509"/>
              <a:gd name="connsiteX4" fmla="*/ 1873443 w 6400371"/>
              <a:gd name="connsiteY4" fmla="*/ 4544828 h 4577509"/>
              <a:gd name="connsiteX5" fmla="*/ 744697 w 6400371"/>
              <a:gd name="connsiteY5" fmla="*/ 4086477 h 4577509"/>
              <a:gd name="connsiteX6" fmla="*/ 752338 w 6400371"/>
              <a:gd name="connsiteY6" fmla="*/ 4086477 h 4577509"/>
              <a:gd name="connsiteX7" fmla="*/ 752338 w 6400371"/>
              <a:gd name="connsiteY7" fmla="*/ 4091643 h 4577509"/>
              <a:gd name="connsiteX8" fmla="*/ 744697 w 6400371"/>
              <a:gd name="connsiteY8" fmla="*/ 4091643 h 4577509"/>
              <a:gd name="connsiteX9" fmla="*/ 744697 w 6400371"/>
              <a:gd name="connsiteY9" fmla="*/ 4086477 h 4577509"/>
              <a:gd name="connsiteX10" fmla="*/ 1264408 w 6400371"/>
              <a:gd name="connsiteY10" fmla="*/ 3910881 h 4577509"/>
              <a:gd name="connsiteX11" fmla="*/ 1281604 w 6400371"/>
              <a:gd name="connsiteY11" fmla="*/ 3910881 h 4577509"/>
              <a:gd name="connsiteX12" fmla="*/ 1281604 w 6400371"/>
              <a:gd name="connsiteY12" fmla="*/ 3916047 h 4577509"/>
              <a:gd name="connsiteX13" fmla="*/ 1264408 w 6400371"/>
              <a:gd name="connsiteY13" fmla="*/ 3916047 h 4577509"/>
              <a:gd name="connsiteX14" fmla="*/ 1264408 w 6400371"/>
              <a:gd name="connsiteY14" fmla="*/ 3910881 h 4577509"/>
              <a:gd name="connsiteX15" fmla="*/ 1226191 w 6400371"/>
              <a:gd name="connsiteY15" fmla="*/ 3910881 h 4577509"/>
              <a:gd name="connsiteX16" fmla="*/ 1233836 w 6400371"/>
              <a:gd name="connsiteY16" fmla="*/ 3910881 h 4577509"/>
              <a:gd name="connsiteX17" fmla="*/ 1233836 w 6400371"/>
              <a:gd name="connsiteY17" fmla="*/ 3931539 h 4577509"/>
              <a:gd name="connsiteX18" fmla="*/ 1226191 w 6400371"/>
              <a:gd name="connsiteY18" fmla="*/ 3921213 h 4577509"/>
              <a:gd name="connsiteX19" fmla="*/ 1226191 w 6400371"/>
              <a:gd name="connsiteY19" fmla="*/ 3910881 h 4577509"/>
              <a:gd name="connsiteX20" fmla="*/ 267023 w 6400371"/>
              <a:gd name="connsiteY20" fmla="*/ 3430263 h 4577509"/>
              <a:gd name="connsiteX21" fmla="*/ 273900 w 6400371"/>
              <a:gd name="connsiteY21" fmla="*/ 3433169 h 4577509"/>
              <a:gd name="connsiteX22" fmla="*/ 273900 w 6400371"/>
              <a:gd name="connsiteY22" fmla="*/ 3448661 h 4577509"/>
              <a:gd name="connsiteX23" fmla="*/ 255557 w 6400371"/>
              <a:gd name="connsiteY23" fmla="*/ 3448661 h 4577509"/>
              <a:gd name="connsiteX24" fmla="*/ 260141 w 6400371"/>
              <a:gd name="connsiteY24" fmla="*/ 3433169 h 4577509"/>
              <a:gd name="connsiteX25" fmla="*/ 267023 w 6400371"/>
              <a:gd name="connsiteY25" fmla="*/ 3430263 h 4577509"/>
              <a:gd name="connsiteX26" fmla="*/ 255064 w 6400371"/>
              <a:gd name="connsiteY26" fmla="*/ 1908848 h 4577509"/>
              <a:gd name="connsiteX27" fmla="*/ 261633 w 6400371"/>
              <a:gd name="connsiteY27" fmla="*/ 1911624 h 4577509"/>
              <a:gd name="connsiteX28" fmla="*/ 261633 w 6400371"/>
              <a:gd name="connsiteY28" fmla="*/ 1926422 h 4577509"/>
              <a:gd name="connsiteX29" fmla="*/ 244113 w 6400371"/>
              <a:gd name="connsiteY29" fmla="*/ 1926422 h 4577509"/>
              <a:gd name="connsiteX30" fmla="*/ 248490 w 6400371"/>
              <a:gd name="connsiteY30" fmla="*/ 1911624 h 4577509"/>
              <a:gd name="connsiteX31" fmla="*/ 255064 w 6400371"/>
              <a:gd name="connsiteY31" fmla="*/ 1908848 h 4577509"/>
              <a:gd name="connsiteX32" fmla="*/ 4712026 w 6400371"/>
              <a:gd name="connsiteY32" fmla="*/ 167733 h 4577509"/>
              <a:gd name="connsiteX33" fmla="*/ 4719329 w 6400371"/>
              <a:gd name="connsiteY33" fmla="*/ 167733 h 4577509"/>
              <a:gd name="connsiteX34" fmla="*/ 4719329 w 6400371"/>
              <a:gd name="connsiteY34" fmla="*/ 177602 h 4577509"/>
              <a:gd name="connsiteX35" fmla="*/ 4712026 w 6400371"/>
              <a:gd name="connsiteY35" fmla="*/ 177602 h 4577509"/>
              <a:gd name="connsiteX36" fmla="*/ 4712026 w 6400371"/>
              <a:gd name="connsiteY36" fmla="*/ 167733 h 4577509"/>
              <a:gd name="connsiteX37" fmla="*/ 4075706 w 6400371"/>
              <a:gd name="connsiteY37" fmla="*/ 0 h 4577509"/>
              <a:gd name="connsiteX38" fmla="*/ 4341537 w 6400371"/>
              <a:gd name="connsiteY38" fmla="*/ 7484 h 4577509"/>
              <a:gd name="connsiteX39" fmla="*/ 4707050 w 6400371"/>
              <a:gd name="connsiteY39" fmla="*/ 29944 h 4577509"/>
              <a:gd name="connsiteX40" fmla="*/ 4784584 w 6400371"/>
              <a:gd name="connsiteY40" fmla="*/ 29944 h 4577509"/>
              <a:gd name="connsiteX41" fmla="*/ 4806738 w 6400371"/>
              <a:gd name="connsiteY41" fmla="*/ 44917 h 4577509"/>
              <a:gd name="connsiteX42" fmla="*/ 4784584 w 6400371"/>
              <a:gd name="connsiteY42" fmla="*/ 74855 h 4577509"/>
              <a:gd name="connsiteX43" fmla="*/ 4673820 w 6400371"/>
              <a:gd name="connsiteY43" fmla="*/ 104799 h 4577509"/>
              <a:gd name="connsiteX44" fmla="*/ 4640594 w 6400371"/>
              <a:gd name="connsiteY44" fmla="*/ 194632 h 4577509"/>
              <a:gd name="connsiteX45" fmla="*/ 4640594 w 6400371"/>
              <a:gd name="connsiteY45" fmla="*/ 202114 h 4577509"/>
              <a:gd name="connsiteX46" fmla="*/ 4756890 w 6400371"/>
              <a:gd name="connsiteY46" fmla="*/ 217086 h 4577509"/>
              <a:gd name="connsiteX47" fmla="*/ 4817810 w 6400371"/>
              <a:gd name="connsiteY47" fmla="*/ 187142 h 4577509"/>
              <a:gd name="connsiteX48" fmla="*/ 4834426 w 6400371"/>
              <a:gd name="connsiteY48" fmla="*/ 209597 h 4577509"/>
              <a:gd name="connsiteX49" fmla="*/ 4834426 w 6400371"/>
              <a:gd name="connsiteY49" fmla="*/ 224570 h 4577509"/>
              <a:gd name="connsiteX50" fmla="*/ 4845500 w 6400371"/>
              <a:gd name="connsiteY50" fmla="*/ 224570 h 4577509"/>
              <a:gd name="connsiteX51" fmla="*/ 4895346 w 6400371"/>
              <a:gd name="connsiteY51" fmla="*/ 187142 h 4577509"/>
              <a:gd name="connsiteX52" fmla="*/ 5000570 w 6400371"/>
              <a:gd name="connsiteY52" fmla="*/ 209597 h 4577509"/>
              <a:gd name="connsiteX53" fmla="*/ 5044874 w 6400371"/>
              <a:gd name="connsiteY53" fmla="*/ 202114 h 4577509"/>
              <a:gd name="connsiteX54" fmla="*/ 5100252 w 6400371"/>
              <a:gd name="connsiteY54" fmla="*/ 202114 h 4577509"/>
              <a:gd name="connsiteX55" fmla="*/ 5222092 w 6400371"/>
              <a:gd name="connsiteY55" fmla="*/ 217086 h 4577509"/>
              <a:gd name="connsiteX56" fmla="*/ 5233170 w 6400371"/>
              <a:gd name="connsiteY56" fmla="*/ 217086 h 4577509"/>
              <a:gd name="connsiteX57" fmla="*/ 5415924 w 6400371"/>
              <a:gd name="connsiteY57" fmla="*/ 239542 h 4577509"/>
              <a:gd name="connsiteX58" fmla="*/ 5587604 w 6400371"/>
              <a:gd name="connsiteY58" fmla="*/ 276975 h 4577509"/>
              <a:gd name="connsiteX59" fmla="*/ 5753748 w 6400371"/>
              <a:gd name="connsiteY59" fmla="*/ 306912 h 4577509"/>
              <a:gd name="connsiteX60" fmla="*/ 6008500 w 6400371"/>
              <a:gd name="connsiteY60" fmla="*/ 366801 h 4577509"/>
              <a:gd name="connsiteX61" fmla="*/ 6091572 w 6400371"/>
              <a:gd name="connsiteY61" fmla="*/ 381773 h 4577509"/>
              <a:gd name="connsiteX62" fmla="*/ 6113724 w 6400371"/>
              <a:gd name="connsiteY62" fmla="*/ 404229 h 4577509"/>
              <a:gd name="connsiteX63" fmla="*/ 6091572 w 6400371"/>
              <a:gd name="connsiteY63" fmla="*/ 426683 h 4577509"/>
              <a:gd name="connsiteX64" fmla="*/ 6008500 w 6400371"/>
              <a:gd name="connsiteY64" fmla="*/ 441655 h 4577509"/>
              <a:gd name="connsiteX65" fmla="*/ 5986349 w 6400371"/>
              <a:gd name="connsiteY65" fmla="*/ 471600 h 4577509"/>
              <a:gd name="connsiteX66" fmla="*/ 5964196 w 6400371"/>
              <a:gd name="connsiteY66" fmla="*/ 509026 h 4577509"/>
              <a:gd name="connsiteX67" fmla="*/ 5537764 w 6400371"/>
              <a:gd name="connsiteY67" fmla="*/ 516516 h 4577509"/>
              <a:gd name="connsiteX68" fmla="*/ 5332852 w 6400371"/>
              <a:gd name="connsiteY68" fmla="*/ 523998 h 4577509"/>
              <a:gd name="connsiteX69" fmla="*/ 5188866 w 6400371"/>
              <a:gd name="connsiteY69" fmla="*/ 561432 h 4577509"/>
              <a:gd name="connsiteX70" fmla="*/ 5172250 w 6400371"/>
              <a:gd name="connsiteY70" fmla="*/ 583887 h 4577509"/>
              <a:gd name="connsiteX71" fmla="*/ 5194402 w 6400371"/>
              <a:gd name="connsiteY71" fmla="*/ 591370 h 4577509"/>
              <a:gd name="connsiteX72" fmla="*/ 5227628 w 6400371"/>
              <a:gd name="connsiteY72" fmla="*/ 606342 h 4577509"/>
              <a:gd name="connsiteX73" fmla="*/ 5271933 w 6400371"/>
              <a:gd name="connsiteY73" fmla="*/ 613831 h 4577509"/>
              <a:gd name="connsiteX74" fmla="*/ 5366082 w 6400371"/>
              <a:gd name="connsiteY74" fmla="*/ 598859 h 4577509"/>
              <a:gd name="connsiteX75" fmla="*/ 5487922 w 6400371"/>
              <a:gd name="connsiteY75" fmla="*/ 613831 h 4577509"/>
              <a:gd name="connsiteX76" fmla="*/ 5570994 w 6400371"/>
              <a:gd name="connsiteY76" fmla="*/ 643769 h 4577509"/>
              <a:gd name="connsiteX77" fmla="*/ 5681755 w 6400371"/>
              <a:gd name="connsiteY77" fmla="*/ 696175 h 4577509"/>
              <a:gd name="connsiteX78" fmla="*/ 5703906 w 6400371"/>
              <a:gd name="connsiteY78" fmla="*/ 718630 h 4577509"/>
              <a:gd name="connsiteX79" fmla="*/ 5786980 w 6400371"/>
              <a:gd name="connsiteY79" fmla="*/ 853373 h 4577509"/>
              <a:gd name="connsiteX80" fmla="*/ 5781442 w 6400371"/>
              <a:gd name="connsiteY80" fmla="*/ 980632 h 4577509"/>
              <a:gd name="connsiteX81" fmla="*/ 5781442 w 6400371"/>
              <a:gd name="connsiteY81" fmla="*/ 1010570 h 4577509"/>
              <a:gd name="connsiteX82" fmla="*/ 5786980 w 6400371"/>
              <a:gd name="connsiteY82" fmla="*/ 1048004 h 4577509"/>
              <a:gd name="connsiteX83" fmla="*/ 5759286 w 6400371"/>
              <a:gd name="connsiteY83" fmla="*/ 1055486 h 4577509"/>
              <a:gd name="connsiteX84" fmla="*/ 5637450 w 6400371"/>
              <a:gd name="connsiteY84" fmla="*/ 1055486 h 4577509"/>
              <a:gd name="connsiteX85" fmla="*/ 5631909 w 6400371"/>
              <a:gd name="connsiteY85" fmla="*/ 1077942 h 4577509"/>
              <a:gd name="connsiteX86" fmla="*/ 5659603 w 6400371"/>
              <a:gd name="connsiteY86" fmla="*/ 1152802 h 4577509"/>
              <a:gd name="connsiteX87" fmla="*/ 5687292 w 6400371"/>
              <a:gd name="connsiteY87" fmla="*/ 1205202 h 4577509"/>
              <a:gd name="connsiteX88" fmla="*/ 5714981 w 6400371"/>
              <a:gd name="connsiteY88" fmla="*/ 1220174 h 4577509"/>
              <a:gd name="connsiteX89" fmla="*/ 5737132 w 6400371"/>
              <a:gd name="connsiteY89" fmla="*/ 1272572 h 4577509"/>
              <a:gd name="connsiteX90" fmla="*/ 5698370 w 6400371"/>
              <a:gd name="connsiteY90" fmla="*/ 1295028 h 4577509"/>
              <a:gd name="connsiteX91" fmla="*/ 5515612 w 6400371"/>
              <a:gd name="connsiteY91" fmla="*/ 1272572 h 4577509"/>
              <a:gd name="connsiteX92" fmla="*/ 5465770 w 6400371"/>
              <a:gd name="connsiteY92" fmla="*/ 1287544 h 4577509"/>
              <a:gd name="connsiteX93" fmla="*/ 5493459 w 6400371"/>
              <a:gd name="connsiteY93" fmla="*/ 1377371 h 4577509"/>
              <a:gd name="connsiteX94" fmla="*/ 5532226 w 6400371"/>
              <a:gd name="connsiteY94" fmla="*/ 1429771 h 4577509"/>
              <a:gd name="connsiteX95" fmla="*/ 5532226 w 6400371"/>
              <a:gd name="connsiteY95" fmla="*/ 1482176 h 4577509"/>
              <a:gd name="connsiteX96" fmla="*/ 5482381 w 6400371"/>
              <a:gd name="connsiteY96" fmla="*/ 1512114 h 4577509"/>
              <a:gd name="connsiteX97" fmla="*/ 5127946 w 6400371"/>
              <a:gd name="connsiteY97" fmla="*/ 1452232 h 4577509"/>
              <a:gd name="connsiteX98" fmla="*/ 5011644 w 6400371"/>
              <a:gd name="connsiteY98" fmla="*/ 1452232 h 4577509"/>
              <a:gd name="connsiteX99" fmla="*/ 4993646 w 6400371"/>
              <a:gd name="connsiteY99" fmla="*/ 1455038 h 4577509"/>
              <a:gd name="connsiteX100" fmla="*/ 4986856 w 6400371"/>
              <a:gd name="connsiteY100" fmla="*/ 1461577 h 4577509"/>
              <a:gd name="connsiteX101" fmla="*/ 5008914 w 6400371"/>
              <a:gd name="connsiteY101" fmla="*/ 1463265 h 4577509"/>
              <a:gd name="connsiteX102" fmla="*/ 5032105 w 6400371"/>
              <a:gd name="connsiteY102" fmla="*/ 1478939 h 4577509"/>
              <a:gd name="connsiteX103" fmla="*/ 5008914 w 6400371"/>
              <a:gd name="connsiteY103" fmla="*/ 1510281 h 4577509"/>
              <a:gd name="connsiteX104" fmla="*/ 4991184 w 6400371"/>
              <a:gd name="connsiteY104" fmla="*/ 1511237 h 4577509"/>
              <a:gd name="connsiteX105" fmla="*/ 5006108 w 6400371"/>
              <a:gd name="connsiteY105" fmla="*/ 1527086 h 4577509"/>
              <a:gd name="connsiteX106" fmla="*/ 5059066 w 6400371"/>
              <a:gd name="connsiteY106" fmla="*/ 1611301 h 4577509"/>
              <a:gd name="connsiteX107" fmla="*/ 5059896 w 6400371"/>
              <a:gd name="connsiteY107" fmla="*/ 1623481 h 4577509"/>
              <a:gd name="connsiteX108" fmla="*/ 5063264 w 6400371"/>
              <a:gd name="connsiteY108" fmla="*/ 1624894 h 4577509"/>
              <a:gd name="connsiteX109" fmla="*/ 5061476 w 6400371"/>
              <a:gd name="connsiteY109" fmla="*/ 1646657 h 4577509"/>
              <a:gd name="connsiteX110" fmla="*/ 5061490 w 6400371"/>
              <a:gd name="connsiteY110" fmla="*/ 1646857 h 4577509"/>
              <a:gd name="connsiteX111" fmla="*/ 5061429 w 6400371"/>
              <a:gd name="connsiteY111" fmla="*/ 1647229 h 4577509"/>
              <a:gd name="connsiteX112" fmla="*/ 5061091 w 6400371"/>
              <a:gd name="connsiteY112" fmla="*/ 1651341 h 4577509"/>
              <a:gd name="connsiteX113" fmla="*/ 5060640 w 6400371"/>
              <a:gd name="connsiteY113" fmla="*/ 1652086 h 4577509"/>
              <a:gd name="connsiteX114" fmla="*/ 5058528 w 6400371"/>
              <a:gd name="connsiteY114" fmla="*/ 1665090 h 4577509"/>
              <a:gd name="connsiteX115" fmla="*/ 5061091 w 6400371"/>
              <a:gd name="connsiteY115" fmla="*/ 1667015 h 4577509"/>
              <a:gd name="connsiteX116" fmla="*/ 5072684 w 6400371"/>
              <a:gd name="connsiteY116" fmla="*/ 1667015 h 4577509"/>
              <a:gd name="connsiteX117" fmla="*/ 5124868 w 6400371"/>
              <a:gd name="connsiteY117" fmla="*/ 1627833 h 4577509"/>
              <a:gd name="connsiteX118" fmla="*/ 5235026 w 6400371"/>
              <a:gd name="connsiteY118" fmla="*/ 1651341 h 4577509"/>
              <a:gd name="connsiteX119" fmla="*/ 5281408 w 6400371"/>
              <a:gd name="connsiteY119" fmla="*/ 1643507 h 4577509"/>
              <a:gd name="connsiteX120" fmla="*/ 5339382 w 6400371"/>
              <a:gd name="connsiteY120" fmla="*/ 1643507 h 4577509"/>
              <a:gd name="connsiteX121" fmla="*/ 5466934 w 6400371"/>
              <a:gd name="connsiteY121" fmla="*/ 1659181 h 4577509"/>
              <a:gd name="connsiteX122" fmla="*/ 5478531 w 6400371"/>
              <a:gd name="connsiteY122" fmla="*/ 1659181 h 4577509"/>
              <a:gd name="connsiteX123" fmla="*/ 5669854 w 6400371"/>
              <a:gd name="connsiteY123" fmla="*/ 1682690 h 4577509"/>
              <a:gd name="connsiteX124" fmla="*/ 5849584 w 6400371"/>
              <a:gd name="connsiteY124" fmla="*/ 1721877 h 4577509"/>
              <a:gd name="connsiteX125" fmla="*/ 6023518 w 6400371"/>
              <a:gd name="connsiteY125" fmla="*/ 1753219 h 4577509"/>
              <a:gd name="connsiteX126" fmla="*/ 6290213 w 6400371"/>
              <a:gd name="connsiteY126" fmla="*/ 1815915 h 4577509"/>
              <a:gd name="connsiteX127" fmla="*/ 6377180 w 6400371"/>
              <a:gd name="connsiteY127" fmla="*/ 1831590 h 4577509"/>
              <a:gd name="connsiteX128" fmla="*/ 6400371 w 6400371"/>
              <a:gd name="connsiteY128" fmla="*/ 1855097 h 4577509"/>
              <a:gd name="connsiteX129" fmla="*/ 6377180 w 6400371"/>
              <a:gd name="connsiteY129" fmla="*/ 1878605 h 4577509"/>
              <a:gd name="connsiteX130" fmla="*/ 6290213 w 6400371"/>
              <a:gd name="connsiteY130" fmla="*/ 1894279 h 4577509"/>
              <a:gd name="connsiteX131" fmla="*/ 6267022 w 6400371"/>
              <a:gd name="connsiteY131" fmla="*/ 1925628 h 4577509"/>
              <a:gd name="connsiteX132" fmla="*/ 6243832 w 6400371"/>
              <a:gd name="connsiteY132" fmla="*/ 1964809 h 4577509"/>
              <a:gd name="connsiteX133" fmla="*/ 5797406 w 6400371"/>
              <a:gd name="connsiteY133" fmla="*/ 1972650 h 4577509"/>
              <a:gd name="connsiteX134" fmla="*/ 5582887 w 6400371"/>
              <a:gd name="connsiteY134" fmla="*/ 1980484 h 4577509"/>
              <a:gd name="connsiteX135" fmla="*/ 5432150 w 6400371"/>
              <a:gd name="connsiteY135" fmla="*/ 2019672 h 4577509"/>
              <a:gd name="connsiteX136" fmla="*/ 5414755 w 6400371"/>
              <a:gd name="connsiteY136" fmla="*/ 2043180 h 4577509"/>
              <a:gd name="connsiteX137" fmla="*/ 5437946 w 6400371"/>
              <a:gd name="connsiteY137" fmla="*/ 2051014 h 4577509"/>
              <a:gd name="connsiteX138" fmla="*/ 5472729 w 6400371"/>
              <a:gd name="connsiteY138" fmla="*/ 2066688 h 4577509"/>
              <a:gd name="connsiteX139" fmla="*/ 5519112 w 6400371"/>
              <a:gd name="connsiteY139" fmla="*/ 2074528 h 4577509"/>
              <a:gd name="connsiteX140" fmla="*/ 5617675 w 6400371"/>
              <a:gd name="connsiteY140" fmla="*/ 2058854 h 4577509"/>
              <a:gd name="connsiteX141" fmla="*/ 5745228 w 6400371"/>
              <a:gd name="connsiteY141" fmla="*/ 2074528 h 4577509"/>
              <a:gd name="connsiteX142" fmla="*/ 5832194 w 6400371"/>
              <a:gd name="connsiteY142" fmla="*/ 2105869 h 4577509"/>
              <a:gd name="connsiteX143" fmla="*/ 5948148 w 6400371"/>
              <a:gd name="connsiteY143" fmla="*/ 2160732 h 4577509"/>
              <a:gd name="connsiteX144" fmla="*/ 5971338 w 6400371"/>
              <a:gd name="connsiteY144" fmla="*/ 2184240 h 4577509"/>
              <a:gd name="connsiteX145" fmla="*/ 6058306 w 6400371"/>
              <a:gd name="connsiteY145" fmla="*/ 2325300 h 4577509"/>
              <a:gd name="connsiteX146" fmla="*/ 6052509 w 6400371"/>
              <a:gd name="connsiteY146" fmla="*/ 2458526 h 4577509"/>
              <a:gd name="connsiteX147" fmla="*/ 6052509 w 6400371"/>
              <a:gd name="connsiteY147" fmla="*/ 2489869 h 4577509"/>
              <a:gd name="connsiteX148" fmla="*/ 6058306 w 6400371"/>
              <a:gd name="connsiteY148" fmla="*/ 2529056 h 4577509"/>
              <a:gd name="connsiteX149" fmla="*/ 6029313 w 6400371"/>
              <a:gd name="connsiteY149" fmla="*/ 2536890 h 4577509"/>
              <a:gd name="connsiteX150" fmla="*/ 5901766 w 6400371"/>
              <a:gd name="connsiteY150" fmla="*/ 2536890 h 4577509"/>
              <a:gd name="connsiteX151" fmla="*/ 5895965 w 6400371"/>
              <a:gd name="connsiteY151" fmla="*/ 2560399 h 4577509"/>
              <a:gd name="connsiteX152" fmla="*/ 5924956 w 6400371"/>
              <a:gd name="connsiteY152" fmla="*/ 2638769 h 4577509"/>
              <a:gd name="connsiteX153" fmla="*/ 5953945 w 6400371"/>
              <a:gd name="connsiteY153" fmla="*/ 2693625 h 4577509"/>
              <a:gd name="connsiteX154" fmla="*/ 5982932 w 6400371"/>
              <a:gd name="connsiteY154" fmla="*/ 2709299 h 4577509"/>
              <a:gd name="connsiteX155" fmla="*/ 6006122 w 6400371"/>
              <a:gd name="connsiteY155" fmla="*/ 2764154 h 4577509"/>
              <a:gd name="connsiteX156" fmla="*/ 5965542 w 6400371"/>
              <a:gd name="connsiteY156" fmla="*/ 2787663 h 4577509"/>
              <a:gd name="connsiteX157" fmla="*/ 5774215 w 6400371"/>
              <a:gd name="connsiteY157" fmla="*/ 2764154 h 4577509"/>
              <a:gd name="connsiteX158" fmla="*/ 5722036 w 6400371"/>
              <a:gd name="connsiteY158" fmla="*/ 2779829 h 4577509"/>
              <a:gd name="connsiteX159" fmla="*/ 5751024 w 6400371"/>
              <a:gd name="connsiteY159" fmla="*/ 2873867 h 4577509"/>
              <a:gd name="connsiteX160" fmla="*/ 5791609 w 6400371"/>
              <a:gd name="connsiteY160" fmla="*/ 2928723 h 4577509"/>
              <a:gd name="connsiteX161" fmla="*/ 5791609 w 6400371"/>
              <a:gd name="connsiteY161" fmla="*/ 2983586 h 4577509"/>
              <a:gd name="connsiteX162" fmla="*/ 5739426 w 6400371"/>
              <a:gd name="connsiteY162" fmla="*/ 3014927 h 4577509"/>
              <a:gd name="connsiteX163" fmla="*/ 5368374 w 6400371"/>
              <a:gd name="connsiteY163" fmla="*/ 2952237 h 4577509"/>
              <a:gd name="connsiteX164" fmla="*/ 5246618 w 6400371"/>
              <a:gd name="connsiteY164" fmla="*/ 2952237 h 4577509"/>
              <a:gd name="connsiteX165" fmla="*/ 5217631 w 6400371"/>
              <a:gd name="connsiteY165" fmla="*/ 2975745 h 4577509"/>
              <a:gd name="connsiteX166" fmla="*/ 5240822 w 6400371"/>
              <a:gd name="connsiteY166" fmla="*/ 3030601 h 4577509"/>
              <a:gd name="connsiteX167" fmla="*/ 5298800 w 6400371"/>
              <a:gd name="connsiteY167" fmla="*/ 3155988 h 4577509"/>
              <a:gd name="connsiteX168" fmla="*/ 5246618 w 6400371"/>
              <a:gd name="connsiteY168" fmla="*/ 3210850 h 4577509"/>
              <a:gd name="connsiteX169" fmla="*/ 4974126 w 6400371"/>
              <a:gd name="connsiteY169" fmla="*/ 3210850 h 4577509"/>
              <a:gd name="connsiteX170" fmla="*/ 4765408 w 6400371"/>
              <a:gd name="connsiteY170" fmla="*/ 3234358 h 4577509"/>
              <a:gd name="connsiteX171" fmla="*/ 4498712 w 6400371"/>
              <a:gd name="connsiteY171" fmla="*/ 3250032 h 4577509"/>
              <a:gd name="connsiteX172" fmla="*/ 4411744 w 6400371"/>
              <a:gd name="connsiteY172" fmla="*/ 3265705 h 4577509"/>
              <a:gd name="connsiteX173" fmla="*/ 4347968 w 6400371"/>
              <a:gd name="connsiteY173" fmla="*/ 3265705 h 4577509"/>
              <a:gd name="connsiteX174" fmla="*/ 4347968 w 6400371"/>
              <a:gd name="connsiteY174" fmla="*/ 3273539 h 4577509"/>
              <a:gd name="connsiteX175" fmla="*/ 4411744 w 6400371"/>
              <a:gd name="connsiteY175" fmla="*/ 3273539 h 4577509"/>
              <a:gd name="connsiteX176" fmla="*/ 4411744 w 6400371"/>
              <a:gd name="connsiteY176" fmla="*/ 3265705 h 4577509"/>
              <a:gd name="connsiteX177" fmla="*/ 4579877 w 6400371"/>
              <a:gd name="connsiteY177" fmla="*/ 3312722 h 4577509"/>
              <a:gd name="connsiteX178" fmla="*/ 4753810 w 6400371"/>
              <a:gd name="connsiteY178" fmla="*/ 3359744 h 4577509"/>
              <a:gd name="connsiteX179" fmla="*/ 4805989 w 6400371"/>
              <a:gd name="connsiteY179" fmla="*/ 3375418 h 4577509"/>
              <a:gd name="connsiteX180" fmla="*/ 5020508 w 6400371"/>
              <a:gd name="connsiteY180" fmla="*/ 3422441 h 4577509"/>
              <a:gd name="connsiteX181" fmla="*/ 5078486 w 6400371"/>
              <a:gd name="connsiteY181" fmla="*/ 3524318 h 4577509"/>
              <a:gd name="connsiteX182" fmla="*/ 5107474 w 6400371"/>
              <a:gd name="connsiteY182" fmla="*/ 3579175 h 4577509"/>
              <a:gd name="connsiteX183" fmla="*/ 5136461 w 6400371"/>
              <a:gd name="connsiteY183" fmla="*/ 3610522 h 4577509"/>
              <a:gd name="connsiteX184" fmla="*/ 5153855 w 6400371"/>
              <a:gd name="connsiteY184" fmla="*/ 3688886 h 4577509"/>
              <a:gd name="connsiteX185" fmla="*/ 5101677 w 6400371"/>
              <a:gd name="connsiteY185" fmla="*/ 3704560 h 4577509"/>
              <a:gd name="connsiteX186" fmla="*/ 4661046 w 6400371"/>
              <a:gd name="connsiteY186" fmla="*/ 3657539 h 4577509"/>
              <a:gd name="connsiteX187" fmla="*/ 4469719 w 6400371"/>
              <a:gd name="connsiteY187" fmla="*/ 3649705 h 4577509"/>
              <a:gd name="connsiteX188" fmla="*/ 4388554 w 6400371"/>
              <a:gd name="connsiteY188" fmla="*/ 3649705 h 4577509"/>
              <a:gd name="connsiteX189" fmla="*/ 4371160 w 6400371"/>
              <a:gd name="connsiteY189" fmla="*/ 3657539 h 4577509"/>
              <a:gd name="connsiteX190" fmla="*/ 4376956 w 6400371"/>
              <a:gd name="connsiteY190" fmla="*/ 3673212 h 4577509"/>
              <a:gd name="connsiteX191" fmla="*/ 4411744 w 6400371"/>
              <a:gd name="connsiteY191" fmla="*/ 3704560 h 4577509"/>
              <a:gd name="connsiteX192" fmla="*/ 4440732 w 6400371"/>
              <a:gd name="connsiteY192" fmla="*/ 3751583 h 4577509"/>
              <a:gd name="connsiteX193" fmla="*/ 4487114 w 6400371"/>
              <a:gd name="connsiteY193" fmla="*/ 3869129 h 4577509"/>
              <a:gd name="connsiteX194" fmla="*/ 4533496 w 6400371"/>
              <a:gd name="connsiteY194" fmla="*/ 4010189 h 4577509"/>
              <a:gd name="connsiteX195" fmla="*/ 4504508 w 6400371"/>
              <a:gd name="connsiteY195" fmla="*/ 4049377 h 4577509"/>
              <a:gd name="connsiteX196" fmla="*/ 4347968 w 6400371"/>
              <a:gd name="connsiteY196" fmla="*/ 4049377 h 4577509"/>
              <a:gd name="connsiteX197" fmla="*/ 4324778 w 6400371"/>
              <a:gd name="connsiteY197" fmla="*/ 4041537 h 4577509"/>
              <a:gd name="connsiteX198" fmla="*/ 4145048 w 6400371"/>
              <a:gd name="connsiteY198" fmla="*/ 4057211 h 4577509"/>
              <a:gd name="connsiteX199" fmla="*/ 4098662 w 6400371"/>
              <a:gd name="connsiteY199" fmla="*/ 4065051 h 4577509"/>
              <a:gd name="connsiteX200" fmla="*/ 3965314 w 6400371"/>
              <a:gd name="connsiteY200" fmla="*/ 4088560 h 4577509"/>
              <a:gd name="connsiteX201" fmla="*/ 3942124 w 6400371"/>
              <a:gd name="connsiteY201" fmla="*/ 4104233 h 4577509"/>
              <a:gd name="connsiteX202" fmla="*/ 3959518 w 6400371"/>
              <a:gd name="connsiteY202" fmla="*/ 4119907 h 4577509"/>
              <a:gd name="connsiteX203" fmla="*/ 4116056 w 6400371"/>
              <a:gd name="connsiteY203" fmla="*/ 4143415 h 4577509"/>
              <a:gd name="connsiteX204" fmla="*/ 4203024 w 6400371"/>
              <a:gd name="connsiteY204" fmla="*/ 4260968 h 4577509"/>
              <a:gd name="connsiteX205" fmla="*/ 4249405 w 6400371"/>
              <a:gd name="connsiteY205" fmla="*/ 4339332 h 4577509"/>
              <a:gd name="connsiteX206" fmla="*/ 4301587 w 6400371"/>
              <a:gd name="connsiteY206" fmla="*/ 4527414 h 4577509"/>
              <a:gd name="connsiteX207" fmla="*/ 4272596 w 6400371"/>
              <a:gd name="connsiteY207" fmla="*/ 4543088 h 4577509"/>
              <a:gd name="connsiteX208" fmla="*/ 3907339 w 6400371"/>
              <a:gd name="connsiteY208" fmla="*/ 4535248 h 4577509"/>
              <a:gd name="connsiteX209" fmla="*/ 3878352 w 6400371"/>
              <a:gd name="connsiteY209" fmla="*/ 4527414 h 4577509"/>
              <a:gd name="connsiteX210" fmla="*/ 3739202 w 6400371"/>
              <a:gd name="connsiteY210" fmla="*/ 4550922 h 4577509"/>
              <a:gd name="connsiteX211" fmla="*/ 3675426 w 6400371"/>
              <a:gd name="connsiteY211" fmla="*/ 4519574 h 4577509"/>
              <a:gd name="connsiteX212" fmla="*/ 3634846 w 6400371"/>
              <a:gd name="connsiteY212" fmla="*/ 4503906 h 4577509"/>
              <a:gd name="connsiteX213" fmla="*/ 3588460 w 6400371"/>
              <a:gd name="connsiteY213" fmla="*/ 4503906 h 4577509"/>
              <a:gd name="connsiteX214" fmla="*/ 3489900 w 6400371"/>
              <a:gd name="connsiteY214" fmla="*/ 4503906 h 4577509"/>
              <a:gd name="connsiteX215" fmla="*/ 3263788 w 6400371"/>
              <a:gd name="connsiteY215" fmla="*/ 4535248 h 4577509"/>
              <a:gd name="connsiteX216" fmla="*/ 3072461 w 6400371"/>
              <a:gd name="connsiteY216" fmla="*/ 4535248 h 4577509"/>
              <a:gd name="connsiteX217" fmla="*/ 2968105 w 6400371"/>
              <a:gd name="connsiteY217" fmla="*/ 4535248 h 4577509"/>
              <a:gd name="connsiteX218" fmla="*/ 2852146 w 6400371"/>
              <a:gd name="connsiteY218" fmla="*/ 4527414 h 4577509"/>
              <a:gd name="connsiteX219" fmla="*/ 2713002 w 6400371"/>
              <a:gd name="connsiteY219" fmla="*/ 4535248 h 4577509"/>
              <a:gd name="connsiteX220" fmla="*/ 2684014 w 6400371"/>
              <a:gd name="connsiteY220" fmla="*/ 4511739 h 4577509"/>
              <a:gd name="connsiteX221" fmla="*/ 2649225 w 6400371"/>
              <a:gd name="connsiteY221" fmla="*/ 4472558 h 4577509"/>
              <a:gd name="connsiteX222" fmla="*/ 2620238 w 6400371"/>
              <a:gd name="connsiteY222" fmla="*/ 4496066 h 4577509"/>
              <a:gd name="connsiteX223" fmla="*/ 2544864 w 6400371"/>
              <a:gd name="connsiteY223" fmla="*/ 4535248 h 4577509"/>
              <a:gd name="connsiteX224" fmla="*/ 2556462 w 6400371"/>
              <a:gd name="connsiteY224" fmla="*/ 4511739 h 4577509"/>
              <a:gd name="connsiteX225" fmla="*/ 2539068 w 6400371"/>
              <a:gd name="connsiteY225" fmla="*/ 4503906 h 4577509"/>
              <a:gd name="connsiteX226" fmla="*/ 2562259 w 6400371"/>
              <a:gd name="connsiteY226" fmla="*/ 4488232 h 4577509"/>
              <a:gd name="connsiteX227" fmla="*/ 2568055 w 6400371"/>
              <a:gd name="connsiteY227" fmla="*/ 4472558 h 4577509"/>
              <a:gd name="connsiteX228" fmla="*/ 2498483 w 6400371"/>
              <a:gd name="connsiteY228" fmla="*/ 4488232 h 4577509"/>
              <a:gd name="connsiteX229" fmla="*/ 2498483 w 6400371"/>
              <a:gd name="connsiteY229" fmla="*/ 4472558 h 4577509"/>
              <a:gd name="connsiteX230" fmla="*/ 2475292 w 6400371"/>
              <a:gd name="connsiteY230" fmla="*/ 4456884 h 4577509"/>
              <a:gd name="connsiteX231" fmla="*/ 2475292 w 6400371"/>
              <a:gd name="connsiteY231" fmla="*/ 4464718 h 4577509"/>
              <a:gd name="connsiteX232" fmla="*/ 2492686 w 6400371"/>
              <a:gd name="connsiteY232" fmla="*/ 4480392 h 4577509"/>
              <a:gd name="connsiteX233" fmla="*/ 2498483 w 6400371"/>
              <a:gd name="connsiteY233" fmla="*/ 4488232 h 4577509"/>
              <a:gd name="connsiteX234" fmla="*/ 2539068 w 6400371"/>
              <a:gd name="connsiteY234" fmla="*/ 4503906 h 4577509"/>
              <a:gd name="connsiteX235" fmla="*/ 2521674 w 6400371"/>
              <a:gd name="connsiteY235" fmla="*/ 4511739 h 4577509"/>
              <a:gd name="connsiteX236" fmla="*/ 2475292 w 6400371"/>
              <a:gd name="connsiteY236" fmla="*/ 4511739 h 4577509"/>
              <a:gd name="connsiteX237" fmla="*/ 2504284 w 6400371"/>
              <a:gd name="connsiteY237" fmla="*/ 4543088 h 4577509"/>
              <a:gd name="connsiteX238" fmla="*/ 2475292 w 6400371"/>
              <a:gd name="connsiteY238" fmla="*/ 4550922 h 4577509"/>
              <a:gd name="connsiteX239" fmla="*/ 2144820 w 6400371"/>
              <a:gd name="connsiteY239" fmla="*/ 4566596 h 4577509"/>
              <a:gd name="connsiteX240" fmla="*/ 2023065 w 6400371"/>
              <a:gd name="connsiteY240" fmla="*/ 4550922 h 4577509"/>
              <a:gd name="connsiteX241" fmla="*/ 1924505 w 6400371"/>
              <a:gd name="connsiteY241" fmla="*/ 4574436 h 4577509"/>
              <a:gd name="connsiteX242" fmla="*/ 1878124 w 6400371"/>
              <a:gd name="connsiteY242" fmla="*/ 4558762 h 4577509"/>
              <a:gd name="connsiteX243" fmla="*/ 1872327 w 6400371"/>
              <a:gd name="connsiteY243" fmla="*/ 4527414 h 4577509"/>
              <a:gd name="connsiteX244" fmla="*/ 1733177 w 6400371"/>
              <a:gd name="connsiteY244" fmla="*/ 4503906 h 4577509"/>
              <a:gd name="connsiteX245" fmla="*/ 1675203 w 6400371"/>
              <a:gd name="connsiteY245" fmla="*/ 4511739 h 4577509"/>
              <a:gd name="connsiteX246" fmla="*/ 1617224 w 6400371"/>
              <a:gd name="connsiteY246" fmla="*/ 4519574 h 4577509"/>
              <a:gd name="connsiteX247" fmla="*/ 1536058 w 6400371"/>
              <a:gd name="connsiteY247" fmla="*/ 4519574 h 4577509"/>
              <a:gd name="connsiteX248" fmla="*/ 1489672 w 6400371"/>
              <a:gd name="connsiteY248" fmla="*/ 4488232 h 4577509"/>
              <a:gd name="connsiteX249" fmla="*/ 1478078 w 6400371"/>
              <a:gd name="connsiteY249" fmla="*/ 4488232 h 4577509"/>
              <a:gd name="connsiteX250" fmla="*/ 1304146 w 6400371"/>
              <a:gd name="connsiteY250" fmla="*/ 4503906 h 4577509"/>
              <a:gd name="connsiteX251" fmla="*/ 1147606 w 6400371"/>
              <a:gd name="connsiteY251" fmla="*/ 4480392 h 4577509"/>
              <a:gd name="connsiteX252" fmla="*/ 1072237 w 6400371"/>
              <a:gd name="connsiteY252" fmla="*/ 4496066 h 4577509"/>
              <a:gd name="connsiteX253" fmla="*/ 1037449 w 6400371"/>
              <a:gd name="connsiteY253" fmla="*/ 4488232 h 4577509"/>
              <a:gd name="connsiteX254" fmla="*/ 1037449 w 6400371"/>
              <a:gd name="connsiteY254" fmla="*/ 4472558 h 4577509"/>
              <a:gd name="connsiteX255" fmla="*/ 1072237 w 6400371"/>
              <a:gd name="connsiteY255" fmla="*/ 4449044 h 4577509"/>
              <a:gd name="connsiteX256" fmla="*/ 1240369 w 6400371"/>
              <a:gd name="connsiteY256" fmla="*/ 4409862 h 4577509"/>
              <a:gd name="connsiteX257" fmla="*/ 1251968 w 6400371"/>
              <a:gd name="connsiteY257" fmla="*/ 4386354 h 4577509"/>
              <a:gd name="connsiteX258" fmla="*/ 1234573 w 6400371"/>
              <a:gd name="connsiteY258" fmla="*/ 4378514 h 4577509"/>
              <a:gd name="connsiteX259" fmla="*/ 1153403 w 6400371"/>
              <a:gd name="connsiteY259" fmla="*/ 4402028 h 4577509"/>
              <a:gd name="connsiteX260" fmla="*/ 1083830 w 6400371"/>
              <a:gd name="connsiteY260" fmla="*/ 4378514 h 4577509"/>
              <a:gd name="connsiteX261" fmla="*/ 1025856 w 6400371"/>
              <a:gd name="connsiteY261" fmla="*/ 4370680 h 4577509"/>
              <a:gd name="connsiteX262" fmla="*/ 967877 w 6400371"/>
              <a:gd name="connsiteY262" fmla="*/ 4386354 h 4577509"/>
              <a:gd name="connsiteX263" fmla="*/ 1014258 w 6400371"/>
              <a:gd name="connsiteY263" fmla="*/ 4339332 h 4577509"/>
              <a:gd name="connsiteX264" fmla="*/ 1136009 w 6400371"/>
              <a:gd name="connsiteY264" fmla="*/ 4268801 h 4577509"/>
              <a:gd name="connsiteX265" fmla="*/ 1159205 w 6400371"/>
              <a:gd name="connsiteY265" fmla="*/ 4237454 h 4577509"/>
              <a:gd name="connsiteX266" fmla="*/ 1136009 w 6400371"/>
              <a:gd name="connsiteY266" fmla="*/ 4229620 h 4577509"/>
              <a:gd name="connsiteX267" fmla="*/ 944686 w 6400371"/>
              <a:gd name="connsiteY267" fmla="*/ 4229620 h 4577509"/>
              <a:gd name="connsiteX268" fmla="*/ 817134 w 6400371"/>
              <a:gd name="connsiteY268" fmla="*/ 4221779 h 4577509"/>
              <a:gd name="connsiteX269" fmla="*/ 805541 w 6400371"/>
              <a:gd name="connsiteY269" fmla="*/ 4206111 h 4577509"/>
              <a:gd name="connsiteX270" fmla="*/ 817134 w 6400371"/>
              <a:gd name="connsiteY270" fmla="*/ 4190437 h 4577509"/>
              <a:gd name="connsiteX271" fmla="*/ 904100 w 6400371"/>
              <a:gd name="connsiteY271" fmla="*/ 4143415 h 4577509"/>
              <a:gd name="connsiteX272" fmla="*/ 944686 w 6400371"/>
              <a:gd name="connsiteY272" fmla="*/ 4104233 h 4577509"/>
              <a:gd name="connsiteX273" fmla="*/ 967877 w 6400371"/>
              <a:gd name="connsiteY273" fmla="*/ 4088560 h 4577509"/>
              <a:gd name="connsiteX274" fmla="*/ 1002660 w 6400371"/>
              <a:gd name="connsiteY274" fmla="*/ 4104233 h 4577509"/>
              <a:gd name="connsiteX275" fmla="*/ 1031652 w 6400371"/>
              <a:gd name="connsiteY275" fmla="*/ 4072885 h 4577509"/>
              <a:gd name="connsiteX276" fmla="*/ 1002660 w 6400371"/>
              <a:gd name="connsiteY276" fmla="*/ 4041537 h 4577509"/>
              <a:gd name="connsiteX277" fmla="*/ 904100 w 6400371"/>
              <a:gd name="connsiteY277" fmla="*/ 4049377 h 4577509"/>
              <a:gd name="connsiteX278" fmla="*/ 886706 w 6400371"/>
              <a:gd name="connsiteY278" fmla="*/ 4041537 h 4577509"/>
              <a:gd name="connsiteX279" fmla="*/ 904100 w 6400371"/>
              <a:gd name="connsiteY279" fmla="*/ 4018029 h 4577509"/>
              <a:gd name="connsiteX280" fmla="*/ 967877 w 6400371"/>
              <a:gd name="connsiteY280" fmla="*/ 4010189 h 4577509"/>
              <a:gd name="connsiteX281" fmla="*/ 1037449 w 6400371"/>
              <a:gd name="connsiteY281" fmla="*/ 3986681 h 4577509"/>
              <a:gd name="connsiteX282" fmla="*/ 1136009 w 6400371"/>
              <a:gd name="connsiteY282" fmla="*/ 3971007 h 4577509"/>
              <a:gd name="connsiteX283" fmla="*/ 1170797 w 6400371"/>
              <a:gd name="connsiteY283" fmla="*/ 3978847 h 4577509"/>
              <a:gd name="connsiteX284" fmla="*/ 1327336 w 6400371"/>
              <a:gd name="connsiteY284" fmla="*/ 3947499 h 4577509"/>
              <a:gd name="connsiteX285" fmla="*/ 1362125 w 6400371"/>
              <a:gd name="connsiteY285" fmla="*/ 3923984 h 4577509"/>
              <a:gd name="connsiteX286" fmla="*/ 1327336 w 6400371"/>
              <a:gd name="connsiteY286" fmla="*/ 3908317 h 4577509"/>
              <a:gd name="connsiteX287" fmla="*/ 1309942 w 6400371"/>
              <a:gd name="connsiteY287" fmla="*/ 3892643 h 4577509"/>
              <a:gd name="connsiteX288" fmla="*/ 1327336 w 6400371"/>
              <a:gd name="connsiteY288" fmla="*/ 3876969 h 4577509"/>
              <a:gd name="connsiteX289" fmla="*/ 1634618 w 6400371"/>
              <a:gd name="connsiteY289" fmla="*/ 3814273 h 4577509"/>
              <a:gd name="connsiteX290" fmla="*/ 1665661 w 6400371"/>
              <a:gd name="connsiteY290" fmla="*/ 3808281 h 4577509"/>
              <a:gd name="connsiteX291" fmla="*/ 1675203 w 6400371"/>
              <a:gd name="connsiteY291" fmla="*/ 3814273 h 4577509"/>
              <a:gd name="connsiteX292" fmla="*/ 1677249 w 6400371"/>
              <a:gd name="connsiteY292" fmla="*/ 3806276 h 4577509"/>
              <a:gd name="connsiteX293" fmla="*/ 1773762 w 6400371"/>
              <a:gd name="connsiteY293" fmla="*/ 3798599 h 4577509"/>
              <a:gd name="connsiteX294" fmla="*/ 1791156 w 6400371"/>
              <a:gd name="connsiteY294" fmla="*/ 3759416 h 4577509"/>
              <a:gd name="connsiteX295" fmla="*/ 1727381 w 6400371"/>
              <a:gd name="connsiteY295" fmla="*/ 3759416 h 4577509"/>
              <a:gd name="connsiteX296" fmla="*/ 1688245 w 6400371"/>
              <a:gd name="connsiteY296" fmla="*/ 3763334 h 4577509"/>
              <a:gd name="connsiteX297" fmla="*/ 1677249 w 6400371"/>
              <a:gd name="connsiteY297" fmla="*/ 3806276 h 4577509"/>
              <a:gd name="connsiteX298" fmla="*/ 1675203 w 6400371"/>
              <a:gd name="connsiteY298" fmla="*/ 3806439 h 4577509"/>
              <a:gd name="connsiteX299" fmla="*/ 1665661 w 6400371"/>
              <a:gd name="connsiteY299" fmla="*/ 3808281 h 4577509"/>
              <a:gd name="connsiteX300" fmla="*/ 1623747 w 6400371"/>
              <a:gd name="connsiteY300" fmla="*/ 3781948 h 4577509"/>
              <a:gd name="connsiteX301" fmla="*/ 1576638 w 6400371"/>
              <a:gd name="connsiteY301" fmla="*/ 3790765 h 4577509"/>
              <a:gd name="connsiteX302" fmla="*/ 1501269 w 6400371"/>
              <a:gd name="connsiteY302" fmla="*/ 3798599 h 4577509"/>
              <a:gd name="connsiteX303" fmla="*/ 1396909 w 6400371"/>
              <a:gd name="connsiteY303" fmla="*/ 3829947 h 4577509"/>
              <a:gd name="connsiteX304" fmla="*/ 1292552 w 6400371"/>
              <a:gd name="connsiteY304" fmla="*/ 3837787 h 4577509"/>
              <a:gd name="connsiteX305" fmla="*/ 1257764 w 6400371"/>
              <a:gd name="connsiteY305" fmla="*/ 3822113 h 4577509"/>
              <a:gd name="connsiteX306" fmla="*/ 1043246 w 6400371"/>
              <a:gd name="connsiteY306" fmla="*/ 3861295 h 4577509"/>
              <a:gd name="connsiteX307" fmla="*/ 944686 w 6400371"/>
              <a:gd name="connsiteY307" fmla="*/ 3822113 h 4577509"/>
              <a:gd name="connsiteX308" fmla="*/ 927291 w 6400371"/>
              <a:gd name="connsiteY308" fmla="*/ 3814273 h 4577509"/>
              <a:gd name="connsiteX309" fmla="*/ 817134 w 6400371"/>
              <a:gd name="connsiteY309" fmla="*/ 3822113 h 4577509"/>
              <a:gd name="connsiteX310" fmla="*/ 770752 w 6400371"/>
              <a:gd name="connsiteY310" fmla="*/ 3798599 h 4577509"/>
              <a:gd name="connsiteX311" fmla="*/ 799740 w 6400371"/>
              <a:gd name="connsiteY311" fmla="*/ 3767256 h 4577509"/>
              <a:gd name="connsiteX312" fmla="*/ 875113 w 6400371"/>
              <a:gd name="connsiteY312" fmla="*/ 3704560 h 4577509"/>
              <a:gd name="connsiteX313" fmla="*/ 898305 w 6400371"/>
              <a:gd name="connsiteY313" fmla="*/ 3665379 h 4577509"/>
              <a:gd name="connsiteX314" fmla="*/ 863515 w 6400371"/>
              <a:gd name="connsiteY314" fmla="*/ 3657539 h 4577509"/>
              <a:gd name="connsiteX315" fmla="*/ 747562 w 6400371"/>
              <a:gd name="connsiteY315" fmla="*/ 3696720 h 4577509"/>
              <a:gd name="connsiteX316" fmla="*/ 730168 w 6400371"/>
              <a:gd name="connsiteY316" fmla="*/ 3696720 h 4577509"/>
              <a:gd name="connsiteX317" fmla="*/ 735964 w 6400371"/>
              <a:gd name="connsiteY317" fmla="*/ 3673212 h 4577509"/>
              <a:gd name="connsiteX318" fmla="*/ 828731 w 6400371"/>
              <a:gd name="connsiteY318" fmla="*/ 3610522 h 4577509"/>
              <a:gd name="connsiteX319" fmla="*/ 967877 w 6400371"/>
              <a:gd name="connsiteY319" fmla="*/ 3571335 h 4577509"/>
              <a:gd name="connsiteX320" fmla="*/ 1078034 w 6400371"/>
              <a:gd name="connsiteY320" fmla="*/ 3547826 h 4577509"/>
              <a:gd name="connsiteX321" fmla="*/ 1159205 w 6400371"/>
              <a:gd name="connsiteY321" fmla="*/ 3524318 h 4577509"/>
              <a:gd name="connsiteX322" fmla="*/ 1159205 w 6400371"/>
              <a:gd name="connsiteY322" fmla="*/ 3508645 h 4577509"/>
              <a:gd name="connsiteX323" fmla="*/ 1118619 w 6400371"/>
              <a:gd name="connsiteY323" fmla="*/ 3485130 h 4577509"/>
              <a:gd name="connsiteX324" fmla="*/ 904100 w 6400371"/>
              <a:gd name="connsiteY324" fmla="*/ 3555660 h 4577509"/>
              <a:gd name="connsiteX325" fmla="*/ 846121 w 6400371"/>
              <a:gd name="connsiteY325" fmla="*/ 3555660 h 4577509"/>
              <a:gd name="connsiteX326" fmla="*/ 776549 w 6400371"/>
              <a:gd name="connsiteY326" fmla="*/ 3563501 h 4577509"/>
              <a:gd name="connsiteX327" fmla="*/ 596819 w 6400371"/>
              <a:gd name="connsiteY327" fmla="*/ 3594849 h 4577509"/>
              <a:gd name="connsiteX328" fmla="*/ 573628 w 6400371"/>
              <a:gd name="connsiteY328" fmla="*/ 3602682 h 4577509"/>
              <a:gd name="connsiteX329" fmla="*/ 533043 w 6400371"/>
              <a:gd name="connsiteY329" fmla="*/ 3594849 h 4577509"/>
              <a:gd name="connsiteX330" fmla="*/ 475068 w 6400371"/>
              <a:gd name="connsiteY330" fmla="*/ 3563501 h 4577509"/>
              <a:gd name="connsiteX331" fmla="*/ 417089 w 6400371"/>
              <a:gd name="connsiteY331" fmla="*/ 3563501 h 4577509"/>
              <a:gd name="connsiteX332" fmla="*/ 388102 w 6400371"/>
              <a:gd name="connsiteY332" fmla="*/ 3563501 h 4577509"/>
              <a:gd name="connsiteX333" fmla="*/ 330122 w 6400371"/>
              <a:gd name="connsiteY333" fmla="*/ 3547826 h 4577509"/>
              <a:gd name="connsiteX334" fmla="*/ 306931 w 6400371"/>
              <a:gd name="connsiteY334" fmla="*/ 3532152 h 4577509"/>
              <a:gd name="connsiteX335" fmla="*/ 318530 w 6400371"/>
              <a:gd name="connsiteY335" fmla="*/ 3500805 h 4577509"/>
              <a:gd name="connsiteX336" fmla="*/ 399695 w 6400371"/>
              <a:gd name="connsiteY336" fmla="*/ 3477296 h 4577509"/>
              <a:gd name="connsiteX337" fmla="*/ 428687 w 6400371"/>
              <a:gd name="connsiteY337" fmla="*/ 3469456 h 4577509"/>
              <a:gd name="connsiteX338" fmla="*/ 538844 w 6400371"/>
              <a:gd name="connsiteY338" fmla="*/ 3430274 h 4577509"/>
              <a:gd name="connsiteX339" fmla="*/ 562035 w 6400371"/>
              <a:gd name="connsiteY339" fmla="*/ 3398926 h 4577509"/>
              <a:gd name="connsiteX340" fmla="*/ 596819 w 6400371"/>
              <a:gd name="connsiteY340" fmla="*/ 3383258 h 4577509"/>
              <a:gd name="connsiteX341" fmla="*/ 701180 w 6400371"/>
              <a:gd name="connsiteY341" fmla="*/ 3406766 h 4577509"/>
              <a:gd name="connsiteX342" fmla="*/ 724371 w 6400371"/>
              <a:gd name="connsiteY342" fmla="*/ 3383258 h 4577509"/>
              <a:gd name="connsiteX343" fmla="*/ 701180 w 6400371"/>
              <a:gd name="connsiteY343" fmla="*/ 3359744 h 4577509"/>
              <a:gd name="connsiteX344" fmla="*/ 689582 w 6400371"/>
              <a:gd name="connsiteY344" fmla="*/ 3359744 h 4577509"/>
              <a:gd name="connsiteX345" fmla="*/ 643200 w 6400371"/>
              <a:gd name="connsiteY345" fmla="*/ 3336236 h 4577509"/>
              <a:gd name="connsiteX346" fmla="*/ 573628 w 6400371"/>
              <a:gd name="connsiteY346" fmla="*/ 3344069 h 4577509"/>
              <a:gd name="connsiteX347" fmla="*/ 504056 w 6400371"/>
              <a:gd name="connsiteY347" fmla="*/ 3351910 h 4577509"/>
              <a:gd name="connsiteX348" fmla="*/ 504056 w 6400371"/>
              <a:gd name="connsiteY348" fmla="*/ 3336236 h 4577509"/>
              <a:gd name="connsiteX349" fmla="*/ 527246 w 6400371"/>
              <a:gd name="connsiteY349" fmla="*/ 3304888 h 4577509"/>
              <a:gd name="connsiteX350" fmla="*/ 718574 w 6400371"/>
              <a:gd name="connsiteY350" fmla="*/ 3257865 h 4577509"/>
              <a:gd name="connsiteX351" fmla="*/ 747562 w 6400371"/>
              <a:gd name="connsiteY351" fmla="*/ 3218684 h 4577509"/>
              <a:gd name="connsiteX352" fmla="*/ 585226 w 6400371"/>
              <a:gd name="connsiteY352" fmla="*/ 3250032 h 4577509"/>
              <a:gd name="connsiteX353" fmla="*/ 527246 w 6400371"/>
              <a:gd name="connsiteY353" fmla="*/ 3250032 h 4577509"/>
              <a:gd name="connsiteX354" fmla="*/ 469268 w 6400371"/>
              <a:gd name="connsiteY354" fmla="*/ 3250032 h 4577509"/>
              <a:gd name="connsiteX355" fmla="*/ 341721 w 6400371"/>
              <a:gd name="connsiteY355" fmla="*/ 3289214 h 4577509"/>
              <a:gd name="connsiteX356" fmla="*/ 272148 w 6400371"/>
              <a:gd name="connsiteY356" fmla="*/ 3289214 h 4577509"/>
              <a:gd name="connsiteX357" fmla="*/ 173584 w 6400371"/>
              <a:gd name="connsiteY357" fmla="*/ 3195175 h 4577509"/>
              <a:gd name="connsiteX358" fmla="*/ 161990 w 6400371"/>
              <a:gd name="connsiteY358" fmla="*/ 3179501 h 4577509"/>
              <a:gd name="connsiteX359" fmla="*/ 63425 w 6400371"/>
              <a:gd name="connsiteY359" fmla="*/ 3014927 h 4577509"/>
              <a:gd name="connsiteX360" fmla="*/ 22841 w 6400371"/>
              <a:gd name="connsiteY360" fmla="*/ 2960071 h 4577509"/>
              <a:gd name="connsiteX361" fmla="*/ 34439 w 6400371"/>
              <a:gd name="connsiteY361" fmla="*/ 2826851 h 4577509"/>
              <a:gd name="connsiteX362" fmla="*/ 196774 w 6400371"/>
              <a:gd name="connsiteY362" fmla="*/ 2709299 h 4577509"/>
              <a:gd name="connsiteX363" fmla="*/ 225762 w 6400371"/>
              <a:gd name="connsiteY363" fmla="*/ 2677950 h 4577509"/>
              <a:gd name="connsiteX364" fmla="*/ 208372 w 6400371"/>
              <a:gd name="connsiteY364" fmla="*/ 2638769 h 4577509"/>
              <a:gd name="connsiteX365" fmla="*/ 190978 w 6400371"/>
              <a:gd name="connsiteY365" fmla="*/ 2536890 h 4577509"/>
              <a:gd name="connsiteX366" fmla="*/ 179380 w 6400371"/>
              <a:gd name="connsiteY366" fmla="*/ 2309626 h 4577509"/>
              <a:gd name="connsiteX367" fmla="*/ 173584 w 6400371"/>
              <a:gd name="connsiteY367" fmla="*/ 2160732 h 4577509"/>
              <a:gd name="connsiteX368" fmla="*/ 254753 w 6400371"/>
              <a:gd name="connsiteY368" fmla="*/ 2105869 h 4577509"/>
              <a:gd name="connsiteX369" fmla="*/ 254753 w 6400371"/>
              <a:gd name="connsiteY369" fmla="*/ 2121544 h 4577509"/>
              <a:gd name="connsiteX370" fmla="*/ 219965 w 6400371"/>
              <a:gd name="connsiteY370" fmla="*/ 2192074 h 4577509"/>
              <a:gd name="connsiteX371" fmla="*/ 248957 w 6400371"/>
              <a:gd name="connsiteY371" fmla="*/ 2223422 h 4577509"/>
              <a:gd name="connsiteX372" fmla="*/ 440280 w 6400371"/>
              <a:gd name="connsiteY372" fmla="*/ 2176399 h 4577509"/>
              <a:gd name="connsiteX373" fmla="*/ 463471 w 6400371"/>
              <a:gd name="connsiteY373" fmla="*/ 2160732 h 4577509"/>
              <a:gd name="connsiteX374" fmla="*/ 579425 w 6400371"/>
              <a:gd name="connsiteY374" fmla="*/ 2113710 h 4577509"/>
              <a:gd name="connsiteX375" fmla="*/ 672193 w 6400371"/>
              <a:gd name="connsiteY375" fmla="*/ 2098035 h 4577509"/>
              <a:gd name="connsiteX376" fmla="*/ 753358 w 6400371"/>
              <a:gd name="connsiteY376" fmla="*/ 2035339 h 4577509"/>
              <a:gd name="connsiteX377" fmla="*/ 757687 w 6400371"/>
              <a:gd name="connsiteY377" fmla="*/ 2030995 h 4577509"/>
              <a:gd name="connsiteX378" fmla="*/ 741770 w 6400371"/>
              <a:gd name="connsiteY378" fmla="*/ 2036118 h 4577509"/>
              <a:gd name="connsiteX379" fmla="*/ 570090 w 6400371"/>
              <a:gd name="connsiteY379" fmla="*/ 2066063 h 4577509"/>
              <a:gd name="connsiteX380" fmla="*/ 547938 w 6400371"/>
              <a:gd name="connsiteY380" fmla="*/ 2073545 h 4577509"/>
              <a:gd name="connsiteX381" fmla="*/ 509171 w 6400371"/>
              <a:gd name="connsiteY381" fmla="*/ 2066063 h 4577509"/>
              <a:gd name="connsiteX382" fmla="*/ 453792 w 6400371"/>
              <a:gd name="connsiteY382" fmla="*/ 2036118 h 4577509"/>
              <a:gd name="connsiteX383" fmla="*/ 398409 w 6400371"/>
              <a:gd name="connsiteY383" fmla="*/ 2036118 h 4577509"/>
              <a:gd name="connsiteX384" fmla="*/ 370721 w 6400371"/>
              <a:gd name="connsiteY384" fmla="*/ 2036118 h 4577509"/>
              <a:gd name="connsiteX385" fmla="*/ 315338 w 6400371"/>
              <a:gd name="connsiteY385" fmla="*/ 2021146 h 4577509"/>
              <a:gd name="connsiteX386" fmla="*/ 293186 w 6400371"/>
              <a:gd name="connsiteY386" fmla="*/ 2006174 h 4577509"/>
              <a:gd name="connsiteX387" fmla="*/ 304264 w 6400371"/>
              <a:gd name="connsiteY387" fmla="*/ 1976230 h 4577509"/>
              <a:gd name="connsiteX388" fmla="*/ 381794 w 6400371"/>
              <a:gd name="connsiteY388" fmla="*/ 1953775 h 4577509"/>
              <a:gd name="connsiteX389" fmla="*/ 409488 w 6400371"/>
              <a:gd name="connsiteY389" fmla="*/ 1946286 h 4577509"/>
              <a:gd name="connsiteX390" fmla="*/ 514712 w 6400371"/>
              <a:gd name="connsiteY390" fmla="*/ 1908859 h 4577509"/>
              <a:gd name="connsiteX391" fmla="*/ 536864 w 6400371"/>
              <a:gd name="connsiteY391" fmla="*/ 1878915 h 4577509"/>
              <a:gd name="connsiteX392" fmla="*/ 570090 w 6400371"/>
              <a:gd name="connsiteY392" fmla="*/ 1863949 h 4577509"/>
              <a:gd name="connsiteX393" fmla="*/ 669777 w 6400371"/>
              <a:gd name="connsiteY393" fmla="*/ 1886403 h 4577509"/>
              <a:gd name="connsiteX394" fmla="*/ 691929 w 6400371"/>
              <a:gd name="connsiteY394" fmla="*/ 1863949 h 4577509"/>
              <a:gd name="connsiteX395" fmla="*/ 669777 w 6400371"/>
              <a:gd name="connsiteY395" fmla="*/ 1841487 h 4577509"/>
              <a:gd name="connsiteX396" fmla="*/ 658698 w 6400371"/>
              <a:gd name="connsiteY396" fmla="*/ 1841487 h 4577509"/>
              <a:gd name="connsiteX397" fmla="*/ 614395 w 6400371"/>
              <a:gd name="connsiteY397" fmla="*/ 1819033 h 4577509"/>
              <a:gd name="connsiteX398" fmla="*/ 547938 w 6400371"/>
              <a:gd name="connsiteY398" fmla="*/ 1826515 h 4577509"/>
              <a:gd name="connsiteX399" fmla="*/ 481481 w 6400371"/>
              <a:gd name="connsiteY399" fmla="*/ 1834005 h 4577509"/>
              <a:gd name="connsiteX400" fmla="*/ 481481 w 6400371"/>
              <a:gd name="connsiteY400" fmla="*/ 1819033 h 4577509"/>
              <a:gd name="connsiteX401" fmla="*/ 503633 w 6400371"/>
              <a:gd name="connsiteY401" fmla="*/ 1789088 h 4577509"/>
              <a:gd name="connsiteX402" fmla="*/ 686392 w 6400371"/>
              <a:gd name="connsiteY402" fmla="*/ 1744172 h 4577509"/>
              <a:gd name="connsiteX403" fmla="*/ 714082 w 6400371"/>
              <a:gd name="connsiteY403" fmla="*/ 1706745 h 4577509"/>
              <a:gd name="connsiteX404" fmla="*/ 559017 w 6400371"/>
              <a:gd name="connsiteY404" fmla="*/ 1736689 h 4577509"/>
              <a:gd name="connsiteX405" fmla="*/ 503633 w 6400371"/>
              <a:gd name="connsiteY405" fmla="*/ 1736689 h 4577509"/>
              <a:gd name="connsiteX406" fmla="*/ 448251 w 6400371"/>
              <a:gd name="connsiteY406" fmla="*/ 1736689 h 4577509"/>
              <a:gd name="connsiteX407" fmla="*/ 326416 w 6400371"/>
              <a:gd name="connsiteY407" fmla="*/ 1774116 h 4577509"/>
              <a:gd name="connsiteX408" fmla="*/ 259960 w 6400371"/>
              <a:gd name="connsiteY408" fmla="*/ 1774116 h 4577509"/>
              <a:gd name="connsiteX409" fmla="*/ 165809 w 6400371"/>
              <a:gd name="connsiteY409" fmla="*/ 1684290 h 4577509"/>
              <a:gd name="connsiteX410" fmla="*/ 154736 w 6400371"/>
              <a:gd name="connsiteY410" fmla="*/ 1669317 h 4577509"/>
              <a:gd name="connsiteX411" fmla="*/ 60585 w 6400371"/>
              <a:gd name="connsiteY411" fmla="*/ 1512114 h 4577509"/>
              <a:gd name="connsiteX412" fmla="*/ 21818 w 6400371"/>
              <a:gd name="connsiteY412" fmla="*/ 1459714 h 4577509"/>
              <a:gd name="connsiteX413" fmla="*/ 32897 w 6400371"/>
              <a:gd name="connsiteY413" fmla="*/ 1332461 h 4577509"/>
              <a:gd name="connsiteX414" fmla="*/ 187962 w 6400371"/>
              <a:gd name="connsiteY414" fmla="*/ 1220174 h 4577509"/>
              <a:gd name="connsiteX415" fmla="*/ 215650 w 6400371"/>
              <a:gd name="connsiteY415" fmla="*/ 1190229 h 4577509"/>
              <a:gd name="connsiteX416" fmla="*/ 199040 w 6400371"/>
              <a:gd name="connsiteY416" fmla="*/ 1152802 h 4577509"/>
              <a:gd name="connsiteX417" fmla="*/ 182424 w 6400371"/>
              <a:gd name="connsiteY417" fmla="*/ 1055486 h 4577509"/>
              <a:gd name="connsiteX418" fmla="*/ 171347 w 6400371"/>
              <a:gd name="connsiteY418" fmla="*/ 838400 h 4577509"/>
              <a:gd name="connsiteX419" fmla="*/ 165809 w 6400371"/>
              <a:gd name="connsiteY419" fmla="*/ 696175 h 4577509"/>
              <a:gd name="connsiteX420" fmla="*/ 243344 w 6400371"/>
              <a:gd name="connsiteY420" fmla="*/ 643769 h 4577509"/>
              <a:gd name="connsiteX421" fmla="*/ 243344 w 6400371"/>
              <a:gd name="connsiteY421" fmla="*/ 658741 h 4577509"/>
              <a:gd name="connsiteX422" fmla="*/ 210114 w 6400371"/>
              <a:gd name="connsiteY422" fmla="*/ 726112 h 4577509"/>
              <a:gd name="connsiteX423" fmla="*/ 237808 w 6400371"/>
              <a:gd name="connsiteY423" fmla="*/ 756057 h 4577509"/>
              <a:gd name="connsiteX424" fmla="*/ 420561 w 6400371"/>
              <a:gd name="connsiteY424" fmla="*/ 711141 h 4577509"/>
              <a:gd name="connsiteX425" fmla="*/ 442714 w 6400371"/>
              <a:gd name="connsiteY425" fmla="*/ 696175 h 4577509"/>
              <a:gd name="connsiteX426" fmla="*/ 553475 w 6400371"/>
              <a:gd name="connsiteY426" fmla="*/ 651259 h 4577509"/>
              <a:gd name="connsiteX427" fmla="*/ 642087 w 6400371"/>
              <a:gd name="connsiteY427" fmla="*/ 636287 h 4577509"/>
              <a:gd name="connsiteX428" fmla="*/ 719618 w 6400371"/>
              <a:gd name="connsiteY428" fmla="*/ 576398 h 4577509"/>
              <a:gd name="connsiteX429" fmla="*/ 719618 w 6400371"/>
              <a:gd name="connsiteY429" fmla="*/ 501544 h 4577509"/>
              <a:gd name="connsiteX430" fmla="*/ 675314 w 6400371"/>
              <a:gd name="connsiteY430" fmla="*/ 471600 h 4577509"/>
              <a:gd name="connsiteX431" fmla="*/ 658698 w 6400371"/>
              <a:gd name="connsiteY431" fmla="*/ 449144 h 4577509"/>
              <a:gd name="connsiteX432" fmla="*/ 675314 w 6400371"/>
              <a:gd name="connsiteY432" fmla="*/ 426683 h 4577509"/>
              <a:gd name="connsiteX433" fmla="*/ 957755 w 6400371"/>
              <a:gd name="connsiteY433" fmla="*/ 299430 h 4577509"/>
              <a:gd name="connsiteX434" fmla="*/ 1079594 w 6400371"/>
              <a:gd name="connsiteY434" fmla="*/ 247030 h 4577509"/>
              <a:gd name="connsiteX435" fmla="*/ 1123899 w 6400371"/>
              <a:gd name="connsiteY435" fmla="*/ 239542 h 4577509"/>
              <a:gd name="connsiteX436" fmla="*/ 1373114 w 6400371"/>
              <a:gd name="connsiteY436" fmla="*/ 194632 h 4577509"/>
              <a:gd name="connsiteX437" fmla="*/ 1494954 w 6400371"/>
              <a:gd name="connsiteY437" fmla="*/ 157198 h 4577509"/>
              <a:gd name="connsiteX438" fmla="*/ 1622329 w 6400371"/>
              <a:gd name="connsiteY438" fmla="*/ 164687 h 4577509"/>
              <a:gd name="connsiteX439" fmla="*/ 1644481 w 6400371"/>
              <a:gd name="connsiteY439" fmla="*/ 164687 h 4577509"/>
              <a:gd name="connsiteX440" fmla="*/ 1766321 w 6400371"/>
              <a:gd name="connsiteY440" fmla="*/ 119771 h 4577509"/>
              <a:gd name="connsiteX441" fmla="*/ 1993380 w 6400371"/>
              <a:gd name="connsiteY441" fmla="*/ 89827 h 4577509"/>
              <a:gd name="connsiteX442" fmla="*/ 2153986 w 6400371"/>
              <a:gd name="connsiteY442" fmla="*/ 89827 h 4577509"/>
              <a:gd name="connsiteX443" fmla="*/ 2281362 w 6400371"/>
              <a:gd name="connsiteY443" fmla="*/ 67371 h 4577509"/>
              <a:gd name="connsiteX444" fmla="*/ 2386586 w 6400371"/>
              <a:gd name="connsiteY444" fmla="*/ 59889 h 4577509"/>
              <a:gd name="connsiteX445" fmla="*/ 2630264 w 6400371"/>
              <a:gd name="connsiteY445" fmla="*/ 52399 h 4577509"/>
              <a:gd name="connsiteX446" fmla="*/ 3040082 w 6400371"/>
              <a:gd name="connsiteY446" fmla="*/ 22456 h 4577509"/>
              <a:gd name="connsiteX447" fmla="*/ 3333602 w 6400371"/>
              <a:gd name="connsiteY447" fmla="*/ 7484 h 4577509"/>
              <a:gd name="connsiteX448" fmla="*/ 3488667 w 6400371"/>
              <a:gd name="connsiteY448" fmla="*/ 14972 h 4577509"/>
              <a:gd name="connsiteX449" fmla="*/ 3621585 w 6400371"/>
              <a:gd name="connsiteY449" fmla="*/ 7484 h 4577509"/>
              <a:gd name="connsiteX450" fmla="*/ 3793265 w 6400371"/>
              <a:gd name="connsiteY450" fmla="*/ 14972 h 4577509"/>
              <a:gd name="connsiteX451" fmla="*/ 4075706 w 6400371"/>
              <a:gd name="connsiteY451" fmla="*/ 0 h 457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Lst>
            <a:rect l="l" t="t" r="r" b="b"/>
            <a:pathLst>
              <a:path w="6400371" h="4577509">
                <a:moveTo>
                  <a:pt x="1873443" y="4544828"/>
                </a:moveTo>
                <a:cubicBezTo>
                  <a:pt x="1874877" y="4546120"/>
                  <a:pt x="1875831" y="4548703"/>
                  <a:pt x="1875831" y="4551286"/>
                </a:cubicBezTo>
                <a:cubicBezTo>
                  <a:pt x="1872009" y="4551286"/>
                  <a:pt x="1872009" y="4551286"/>
                  <a:pt x="1868187" y="4551286"/>
                </a:cubicBezTo>
                <a:cubicBezTo>
                  <a:pt x="1868187" y="4546120"/>
                  <a:pt x="1868187" y="4546120"/>
                  <a:pt x="1868187" y="4546120"/>
                </a:cubicBezTo>
                <a:cubicBezTo>
                  <a:pt x="1870099" y="4543537"/>
                  <a:pt x="1872009" y="4543537"/>
                  <a:pt x="1873443" y="4544828"/>
                </a:cubicBezTo>
                <a:close/>
                <a:moveTo>
                  <a:pt x="744697" y="4086477"/>
                </a:moveTo>
                <a:cubicBezTo>
                  <a:pt x="752338" y="4086477"/>
                  <a:pt x="752338" y="4086477"/>
                  <a:pt x="752338" y="4086477"/>
                </a:cubicBezTo>
                <a:cubicBezTo>
                  <a:pt x="752338" y="4086477"/>
                  <a:pt x="759982" y="4091643"/>
                  <a:pt x="752338" y="4091643"/>
                </a:cubicBezTo>
                <a:cubicBezTo>
                  <a:pt x="752338" y="4096810"/>
                  <a:pt x="744697" y="4096810"/>
                  <a:pt x="744697" y="4091643"/>
                </a:cubicBezTo>
                <a:cubicBezTo>
                  <a:pt x="744697" y="4091643"/>
                  <a:pt x="744697" y="4086477"/>
                  <a:pt x="744697" y="4086477"/>
                </a:cubicBezTo>
                <a:close/>
                <a:moveTo>
                  <a:pt x="1264408" y="3910881"/>
                </a:moveTo>
                <a:cubicBezTo>
                  <a:pt x="1270142" y="3910881"/>
                  <a:pt x="1275870" y="3910881"/>
                  <a:pt x="1281604" y="3910881"/>
                </a:cubicBezTo>
                <a:cubicBezTo>
                  <a:pt x="1287338" y="3910881"/>
                  <a:pt x="1287338" y="3916047"/>
                  <a:pt x="1281604" y="3916047"/>
                </a:cubicBezTo>
                <a:cubicBezTo>
                  <a:pt x="1275870" y="3921213"/>
                  <a:pt x="1270142" y="3921213"/>
                  <a:pt x="1264408" y="3916047"/>
                </a:cubicBezTo>
                <a:cubicBezTo>
                  <a:pt x="1264408" y="3916047"/>
                  <a:pt x="1264408" y="3910881"/>
                  <a:pt x="1264408" y="3910881"/>
                </a:cubicBezTo>
                <a:close/>
                <a:moveTo>
                  <a:pt x="1226191" y="3910881"/>
                </a:moveTo>
                <a:cubicBezTo>
                  <a:pt x="1226191" y="3910881"/>
                  <a:pt x="1233836" y="3910881"/>
                  <a:pt x="1233836" y="3910881"/>
                </a:cubicBezTo>
                <a:cubicBezTo>
                  <a:pt x="1233836" y="3921213"/>
                  <a:pt x="1233836" y="3921213"/>
                  <a:pt x="1233836" y="3931539"/>
                </a:cubicBezTo>
                <a:cubicBezTo>
                  <a:pt x="1226191" y="3921213"/>
                  <a:pt x="1226191" y="3931539"/>
                  <a:pt x="1226191" y="3921213"/>
                </a:cubicBezTo>
                <a:cubicBezTo>
                  <a:pt x="1218550" y="3921213"/>
                  <a:pt x="1218550" y="3910881"/>
                  <a:pt x="1226191" y="3910881"/>
                </a:cubicBezTo>
                <a:close/>
                <a:moveTo>
                  <a:pt x="267023" y="3430263"/>
                </a:moveTo>
                <a:cubicBezTo>
                  <a:pt x="269316" y="3429294"/>
                  <a:pt x="271609" y="3429294"/>
                  <a:pt x="273900" y="3433169"/>
                </a:cubicBezTo>
                <a:cubicBezTo>
                  <a:pt x="278489" y="3440918"/>
                  <a:pt x="273900" y="3448661"/>
                  <a:pt x="273900" y="3448661"/>
                </a:cubicBezTo>
                <a:cubicBezTo>
                  <a:pt x="264729" y="3456410"/>
                  <a:pt x="260141" y="3456410"/>
                  <a:pt x="255557" y="3448661"/>
                </a:cubicBezTo>
                <a:cubicBezTo>
                  <a:pt x="255557" y="3440918"/>
                  <a:pt x="255557" y="3433169"/>
                  <a:pt x="260141" y="3433169"/>
                </a:cubicBezTo>
                <a:cubicBezTo>
                  <a:pt x="262435" y="3433169"/>
                  <a:pt x="264729" y="3431232"/>
                  <a:pt x="267023" y="3430263"/>
                </a:cubicBezTo>
                <a:close/>
                <a:moveTo>
                  <a:pt x="255064" y="1908848"/>
                </a:moveTo>
                <a:cubicBezTo>
                  <a:pt x="257255" y="1907923"/>
                  <a:pt x="259444" y="1907923"/>
                  <a:pt x="261633" y="1911624"/>
                </a:cubicBezTo>
                <a:cubicBezTo>
                  <a:pt x="266016" y="1919027"/>
                  <a:pt x="261633" y="1926422"/>
                  <a:pt x="261633" y="1926422"/>
                </a:cubicBezTo>
                <a:cubicBezTo>
                  <a:pt x="252873" y="1933824"/>
                  <a:pt x="248490" y="1933824"/>
                  <a:pt x="244113" y="1926422"/>
                </a:cubicBezTo>
                <a:cubicBezTo>
                  <a:pt x="244113" y="1919027"/>
                  <a:pt x="244113" y="1911624"/>
                  <a:pt x="248490" y="1911624"/>
                </a:cubicBezTo>
                <a:cubicBezTo>
                  <a:pt x="250682" y="1911624"/>
                  <a:pt x="252873" y="1909774"/>
                  <a:pt x="255064" y="1908848"/>
                </a:cubicBezTo>
                <a:close/>
                <a:moveTo>
                  <a:pt x="4712026" y="167733"/>
                </a:moveTo>
                <a:cubicBezTo>
                  <a:pt x="4712026" y="167733"/>
                  <a:pt x="4719329" y="167733"/>
                  <a:pt x="4719329" y="167733"/>
                </a:cubicBezTo>
                <a:cubicBezTo>
                  <a:pt x="4719329" y="167733"/>
                  <a:pt x="4719329" y="167733"/>
                  <a:pt x="4719329" y="177602"/>
                </a:cubicBezTo>
                <a:cubicBezTo>
                  <a:pt x="4719329" y="177602"/>
                  <a:pt x="4712026" y="177602"/>
                  <a:pt x="4712026" y="177602"/>
                </a:cubicBezTo>
                <a:cubicBezTo>
                  <a:pt x="4712026" y="177602"/>
                  <a:pt x="4712026" y="167733"/>
                  <a:pt x="4712026" y="167733"/>
                </a:cubicBezTo>
                <a:close/>
                <a:moveTo>
                  <a:pt x="4075706" y="0"/>
                </a:moveTo>
                <a:cubicBezTo>
                  <a:pt x="4164314" y="0"/>
                  <a:pt x="4252924" y="0"/>
                  <a:pt x="4341537" y="7484"/>
                </a:cubicBezTo>
                <a:cubicBezTo>
                  <a:pt x="4463371" y="7484"/>
                  <a:pt x="4585210" y="14972"/>
                  <a:pt x="4707050" y="29944"/>
                </a:cubicBezTo>
                <a:cubicBezTo>
                  <a:pt x="4734740" y="29944"/>
                  <a:pt x="4762429" y="22456"/>
                  <a:pt x="4784584" y="29944"/>
                </a:cubicBezTo>
                <a:cubicBezTo>
                  <a:pt x="4795659" y="37428"/>
                  <a:pt x="4812274" y="29944"/>
                  <a:pt x="4806738" y="44917"/>
                </a:cubicBezTo>
                <a:cubicBezTo>
                  <a:pt x="4801195" y="59889"/>
                  <a:pt x="4801195" y="74855"/>
                  <a:pt x="4784584" y="74855"/>
                </a:cubicBezTo>
                <a:cubicBezTo>
                  <a:pt x="4745818" y="67371"/>
                  <a:pt x="4712587" y="104799"/>
                  <a:pt x="4673820" y="104799"/>
                </a:cubicBezTo>
                <a:cubicBezTo>
                  <a:pt x="4651668" y="104799"/>
                  <a:pt x="4629515" y="172170"/>
                  <a:pt x="4640594" y="194632"/>
                </a:cubicBezTo>
                <a:cubicBezTo>
                  <a:pt x="4640594" y="194632"/>
                  <a:pt x="4640594" y="194632"/>
                  <a:pt x="4640594" y="202114"/>
                </a:cubicBezTo>
                <a:cubicBezTo>
                  <a:pt x="4646130" y="209597"/>
                  <a:pt x="4751354" y="232058"/>
                  <a:pt x="4756890" y="217086"/>
                </a:cubicBezTo>
                <a:cubicBezTo>
                  <a:pt x="4773506" y="187142"/>
                  <a:pt x="4801195" y="202114"/>
                  <a:pt x="4817810" y="187142"/>
                </a:cubicBezTo>
                <a:cubicBezTo>
                  <a:pt x="4834426" y="172170"/>
                  <a:pt x="4845500" y="187142"/>
                  <a:pt x="4834426" y="209597"/>
                </a:cubicBezTo>
                <a:cubicBezTo>
                  <a:pt x="4828889" y="217086"/>
                  <a:pt x="4823348" y="224570"/>
                  <a:pt x="4834426" y="224570"/>
                </a:cubicBezTo>
                <a:cubicBezTo>
                  <a:pt x="4834426" y="232058"/>
                  <a:pt x="4845500" y="232058"/>
                  <a:pt x="4845500" y="224570"/>
                </a:cubicBezTo>
                <a:cubicBezTo>
                  <a:pt x="4851042" y="179659"/>
                  <a:pt x="4873194" y="187142"/>
                  <a:pt x="4895346" y="187142"/>
                </a:cubicBezTo>
                <a:cubicBezTo>
                  <a:pt x="4928572" y="187142"/>
                  <a:pt x="4967339" y="164687"/>
                  <a:pt x="5000570" y="209597"/>
                </a:cubicBezTo>
                <a:cubicBezTo>
                  <a:pt x="5011644" y="224570"/>
                  <a:pt x="5028258" y="217086"/>
                  <a:pt x="5044874" y="202114"/>
                </a:cubicBezTo>
                <a:cubicBezTo>
                  <a:pt x="5061490" y="187142"/>
                  <a:pt x="5078100" y="194632"/>
                  <a:pt x="5100252" y="202114"/>
                </a:cubicBezTo>
                <a:cubicBezTo>
                  <a:pt x="5139019" y="209597"/>
                  <a:pt x="5183324" y="239542"/>
                  <a:pt x="5222092" y="217086"/>
                </a:cubicBezTo>
                <a:cubicBezTo>
                  <a:pt x="5227628" y="217086"/>
                  <a:pt x="5227628" y="209597"/>
                  <a:pt x="5233170" y="217086"/>
                </a:cubicBezTo>
                <a:cubicBezTo>
                  <a:pt x="5288548" y="262002"/>
                  <a:pt x="5355004" y="202114"/>
                  <a:pt x="5415924" y="239542"/>
                </a:cubicBezTo>
                <a:cubicBezTo>
                  <a:pt x="5471306" y="269486"/>
                  <a:pt x="5532226" y="254514"/>
                  <a:pt x="5587604" y="276975"/>
                </a:cubicBezTo>
                <a:cubicBezTo>
                  <a:pt x="5642986" y="291940"/>
                  <a:pt x="5698370" y="299430"/>
                  <a:pt x="5753748" y="306912"/>
                </a:cubicBezTo>
                <a:cubicBezTo>
                  <a:pt x="5842356" y="314402"/>
                  <a:pt x="5925430" y="336857"/>
                  <a:pt x="6008500" y="366801"/>
                </a:cubicBezTo>
                <a:cubicBezTo>
                  <a:pt x="6036194" y="374284"/>
                  <a:pt x="6069420" y="366801"/>
                  <a:pt x="6091572" y="381773"/>
                </a:cubicBezTo>
                <a:cubicBezTo>
                  <a:pt x="6102651" y="389257"/>
                  <a:pt x="6113724" y="389257"/>
                  <a:pt x="6113724" y="404229"/>
                </a:cubicBezTo>
                <a:cubicBezTo>
                  <a:pt x="6108188" y="411717"/>
                  <a:pt x="6097110" y="419200"/>
                  <a:pt x="6091572" y="426683"/>
                </a:cubicBezTo>
                <a:cubicBezTo>
                  <a:pt x="6063884" y="434172"/>
                  <a:pt x="6036194" y="434172"/>
                  <a:pt x="6008500" y="441655"/>
                </a:cubicBezTo>
                <a:cubicBezTo>
                  <a:pt x="5991885" y="441655"/>
                  <a:pt x="5975274" y="441655"/>
                  <a:pt x="5986349" y="471600"/>
                </a:cubicBezTo>
                <a:cubicBezTo>
                  <a:pt x="5991885" y="494054"/>
                  <a:pt x="5986349" y="509026"/>
                  <a:pt x="5964196" y="509026"/>
                </a:cubicBezTo>
                <a:cubicBezTo>
                  <a:pt x="5825746" y="509026"/>
                  <a:pt x="5681755" y="523998"/>
                  <a:pt x="5537764" y="516516"/>
                </a:cubicBezTo>
                <a:cubicBezTo>
                  <a:pt x="5471306" y="516516"/>
                  <a:pt x="5404851" y="531488"/>
                  <a:pt x="5332852" y="523998"/>
                </a:cubicBezTo>
                <a:cubicBezTo>
                  <a:pt x="5288548" y="516516"/>
                  <a:pt x="5238707" y="546460"/>
                  <a:pt x="5188866" y="561432"/>
                </a:cubicBezTo>
                <a:cubicBezTo>
                  <a:pt x="5177788" y="561432"/>
                  <a:pt x="5172250" y="568915"/>
                  <a:pt x="5172250" y="583887"/>
                </a:cubicBezTo>
                <a:cubicBezTo>
                  <a:pt x="5177788" y="598859"/>
                  <a:pt x="5183324" y="591370"/>
                  <a:pt x="5194402" y="591370"/>
                </a:cubicBezTo>
                <a:cubicBezTo>
                  <a:pt x="5205477" y="583887"/>
                  <a:pt x="5216554" y="591370"/>
                  <a:pt x="5227628" y="606342"/>
                </a:cubicBezTo>
                <a:cubicBezTo>
                  <a:pt x="5238707" y="621315"/>
                  <a:pt x="5255322" y="621315"/>
                  <a:pt x="5271933" y="613831"/>
                </a:cubicBezTo>
                <a:cubicBezTo>
                  <a:pt x="5299626" y="583887"/>
                  <a:pt x="5338394" y="591370"/>
                  <a:pt x="5366082" y="598859"/>
                </a:cubicBezTo>
                <a:cubicBezTo>
                  <a:pt x="5410387" y="606342"/>
                  <a:pt x="5449156" y="613831"/>
                  <a:pt x="5487922" y="613831"/>
                </a:cubicBezTo>
                <a:cubicBezTo>
                  <a:pt x="5515612" y="621315"/>
                  <a:pt x="5543301" y="628803"/>
                  <a:pt x="5570994" y="643769"/>
                </a:cubicBezTo>
                <a:cubicBezTo>
                  <a:pt x="5609756" y="658741"/>
                  <a:pt x="5648524" y="658741"/>
                  <a:pt x="5681755" y="696175"/>
                </a:cubicBezTo>
                <a:cubicBezTo>
                  <a:pt x="5687292" y="703658"/>
                  <a:pt x="5703906" y="703658"/>
                  <a:pt x="5703906" y="718630"/>
                </a:cubicBezTo>
                <a:cubicBezTo>
                  <a:pt x="5714981" y="786001"/>
                  <a:pt x="5753748" y="815945"/>
                  <a:pt x="5786980" y="853373"/>
                </a:cubicBezTo>
                <a:cubicBezTo>
                  <a:pt x="5825746" y="905771"/>
                  <a:pt x="5825746" y="935716"/>
                  <a:pt x="5781442" y="980632"/>
                </a:cubicBezTo>
                <a:cubicBezTo>
                  <a:pt x="5770363" y="995598"/>
                  <a:pt x="5781442" y="1003088"/>
                  <a:pt x="5781442" y="1010570"/>
                </a:cubicBezTo>
                <a:cubicBezTo>
                  <a:pt x="5786980" y="1018060"/>
                  <a:pt x="5798052" y="1033032"/>
                  <a:pt x="5786980" y="1048004"/>
                </a:cubicBezTo>
                <a:cubicBezTo>
                  <a:pt x="5781442" y="1062975"/>
                  <a:pt x="5770363" y="1055486"/>
                  <a:pt x="5759286" y="1055486"/>
                </a:cubicBezTo>
                <a:cubicBezTo>
                  <a:pt x="5714981" y="1040514"/>
                  <a:pt x="5676218" y="1070459"/>
                  <a:pt x="5637450" y="1055486"/>
                </a:cubicBezTo>
                <a:cubicBezTo>
                  <a:pt x="5620836" y="1048004"/>
                  <a:pt x="5620836" y="1062975"/>
                  <a:pt x="5631909" y="1077942"/>
                </a:cubicBezTo>
                <a:cubicBezTo>
                  <a:pt x="5654062" y="1092913"/>
                  <a:pt x="5659603" y="1115375"/>
                  <a:pt x="5659603" y="1152802"/>
                </a:cubicBezTo>
                <a:cubicBezTo>
                  <a:pt x="5654062" y="1175257"/>
                  <a:pt x="5670676" y="1190229"/>
                  <a:pt x="5687292" y="1205202"/>
                </a:cubicBezTo>
                <a:cubicBezTo>
                  <a:pt x="5698370" y="1205202"/>
                  <a:pt x="5703906" y="1212684"/>
                  <a:pt x="5714981" y="1220174"/>
                </a:cubicBezTo>
                <a:cubicBezTo>
                  <a:pt x="5726060" y="1235146"/>
                  <a:pt x="5742674" y="1250118"/>
                  <a:pt x="5737132" y="1272572"/>
                </a:cubicBezTo>
                <a:cubicBezTo>
                  <a:pt x="5731596" y="1295028"/>
                  <a:pt x="5714981" y="1295028"/>
                  <a:pt x="5698370" y="1295028"/>
                </a:cubicBezTo>
                <a:cubicBezTo>
                  <a:pt x="5637450" y="1295028"/>
                  <a:pt x="5576531" y="1295028"/>
                  <a:pt x="5515612" y="1272572"/>
                </a:cubicBezTo>
                <a:cubicBezTo>
                  <a:pt x="5498996" y="1272572"/>
                  <a:pt x="5471306" y="1257600"/>
                  <a:pt x="5465770" y="1287544"/>
                </a:cubicBezTo>
                <a:cubicBezTo>
                  <a:pt x="5454692" y="1324972"/>
                  <a:pt x="5460228" y="1354916"/>
                  <a:pt x="5493459" y="1377371"/>
                </a:cubicBezTo>
                <a:cubicBezTo>
                  <a:pt x="5510075" y="1384861"/>
                  <a:pt x="5521148" y="1399833"/>
                  <a:pt x="5532226" y="1429771"/>
                </a:cubicBezTo>
                <a:cubicBezTo>
                  <a:pt x="5537764" y="1444742"/>
                  <a:pt x="5543301" y="1459714"/>
                  <a:pt x="5532226" y="1482176"/>
                </a:cubicBezTo>
                <a:cubicBezTo>
                  <a:pt x="5515612" y="1497142"/>
                  <a:pt x="5504532" y="1519603"/>
                  <a:pt x="5482381" y="1512114"/>
                </a:cubicBezTo>
                <a:cubicBezTo>
                  <a:pt x="5366082" y="1474686"/>
                  <a:pt x="5244243" y="1467204"/>
                  <a:pt x="5127946" y="1452232"/>
                </a:cubicBezTo>
                <a:cubicBezTo>
                  <a:pt x="5089178" y="1444742"/>
                  <a:pt x="5050411" y="1444742"/>
                  <a:pt x="5011644" y="1452232"/>
                </a:cubicBezTo>
                <a:cubicBezTo>
                  <a:pt x="5006108" y="1452232"/>
                  <a:pt x="4999184" y="1452232"/>
                  <a:pt x="4993646" y="1455038"/>
                </a:cubicBezTo>
                <a:lnTo>
                  <a:pt x="4986856" y="1461577"/>
                </a:lnTo>
                <a:lnTo>
                  <a:pt x="5008914" y="1463265"/>
                </a:lnTo>
                <a:cubicBezTo>
                  <a:pt x="5020508" y="1471099"/>
                  <a:pt x="5037900" y="1463265"/>
                  <a:pt x="5032105" y="1478939"/>
                </a:cubicBezTo>
                <a:cubicBezTo>
                  <a:pt x="5026303" y="1494613"/>
                  <a:pt x="5026303" y="1510281"/>
                  <a:pt x="5008914" y="1510281"/>
                </a:cubicBezTo>
                <a:lnTo>
                  <a:pt x="4991184" y="1511237"/>
                </a:lnTo>
                <a:lnTo>
                  <a:pt x="5006108" y="1527086"/>
                </a:lnTo>
                <a:cubicBezTo>
                  <a:pt x="5026874" y="1538314"/>
                  <a:pt x="5050758" y="1574809"/>
                  <a:pt x="5059066" y="1611301"/>
                </a:cubicBezTo>
                <a:lnTo>
                  <a:pt x="5059896" y="1623481"/>
                </a:lnTo>
                <a:lnTo>
                  <a:pt x="5063264" y="1624894"/>
                </a:lnTo>
                <a:lnTo>
                  <a:pt x="5061476" y="1646657"/>
                </a:lnTo>
                <a:lnTo>
                  <a:pt x="5061490" y="1646857"/>
                </a:lnTo>
                <a:lnTo>
                  <a:pt x="5061429" y="1647229"/>
                </a:lnTo>
                <a:lnTo>
                  <a:pt x="5061091" y="1651341"/>
                </a:lnTo>
                <a:lnTo>
                  <a:pt x="5060640" y="1652086"/>
                </a:lnTo>
                <a:lnTo>
                  <a:pt x="5058528" y="1665090"/>
                </a:lnTo>
                <a:lnTo>
                  <a:pt x="5061091" y="1667015"/>
                </a:lnTo>
                <a:cubicBezTo>
                  <a:pt x="5061091" y="1674856"/>
                  <a:pt x="5072684" y="1674856"/>
                  <a:pt x="5072684" y="1667015"/>
                </a:cubicBezTo>
                <a:cubicBezTo>
                  <a:pt x="5078486" y="1619999"/>
                  <a:pt x="5101677" y="1627833"/>
                  <a:pt x="5124868" y="1627833"/>
                </a:cubicBezTo>
                <a:cubicBezTo>
                  <a:pt x="5159652" y="1627833"/>
                  <a:pt x="5200236" y="1604326"/>
                  <a:pt x="5235026" y="1651341"/>
                </a:cubicBezTo>
                <a:cubicBezTo>
                  <a:pt x="5246618" y="1667015"/>
                  <a:pt x="5264012" y="1659181"/>
                  <a:pt x="5281408" y="1643507"/>
                </a:cubicBezTo>
                <a:cubicBezTo>
                  <a:pt x="5298800" y="1627833"/>
                  <a:pt x="5316190" y="1635673"/>
                  <a:pt x="5339382" y="1643507"/>
                </a:cubicBezTo>
                <a:cubicBezTo>
                  <a:pt x="5379966" y="1651341"/>
                  <a:pt x="5426348" y="1682690"/>
                  <a:pt x="5466934" y="1659181"/>
                </a:cubicBezTo>
                <a:cubicBezTo>
                  <a:pt x="5472729" y="1659181"/>
                  <a:pt x="5472729" y="1651341"/>
                  <a:pt x="5478531" y="1659181"/>
                </a:cubicBezTo>
                <a:cubicBezTo>
                  <a:pt x="5536506" y="1706203"/>
                  <a:pt x="5606078" y="1643507"/>
                  <a:pt x="5669854" y="1682690"/>
                </a:cubicBezTo>
                <a:cubicBezTo>
                  <a:pt x="5727834" y="1714037"/>
                  <a:pt x="5791609" y="1698363"/>
                  <a:pt x="5849584" y="1721877"/>
                </a:cubicBezTo>
                <a:cubicBezTo>
                  <a:pt x="5907564" y="1737545"/>
                  <a:pt x="5965542" y="1745385"/>
                  <a:pt x="6023518" y="1753219"/>
                </a:cubicBezTo>
                <a:cubicBezTo>
                  <a:pt x="6116280" y="1761060"/>
                  <a:pt x="6203248" y="1784567"/>
                  <a:pt x="6290213" y="1815915"/>
                </a:cubicBezTo>
                <a:cubicBezTo>
                  <a:pt x="6319206" y="1823749"/>
                  <a:pt x="6353990" y="1815915"/>
                  <a:pt x="6377180" y="1831590"/>
                </a:cubicBezTo>
                <a:cubicBezTo>
                  <a:pt x="6388778" y="1839424"/>
                  <a:pt x="6400371" y="1839424"/>
                  <a:pt x="6400371" y="1855097"/>
                </a:cubicBezTo>
                <a:cubicBezTo>
                  <a:pt x="6394574" y="1862938"/>
                  <a:pt x="6382977" y="1870771"/>
                  <a:pt x="6377180" y="1878605"/>
                </a:cubicBezTo>
                <a:cubicBezTo>
                  <a:pt x="6348193" y="1886445"/>
                  <a:pt x="6319206" y="1886445"/>
                  <a:pt x="6290213" y="1894279"/>
                </a:cubicBezTo>
                <a:cubicBezTo>
                  <a:pt x="6272820" y="1894279"/>
                  <a:pt x="6255430" y="1894279"/>
                  <a:pt x="6267022" y="1925628"/>
                </a:cubicBezTo>
                <a:cubicBezTo>
                  <a:pt x="6272820" y="1949135"/>
                  <a:pt x="6267022" y="1964809"/>
                  <a:pt x="6243832" y="1964809"/>
                </a:cubicBezTo>
                <a:cubicBezTo>
                  <a:pt x="6098892" y="1964809"/>
                  <a:pt x="5948148" y="1980484"/>
                  <a:pt x="5797406" y="1972650"/>
                </a:cubicBezTo>
                <a:cubicBezTo>
                  <a:pt x="5727834" y="1972650"/>
                  <a:pt x="5658261" y="1988324"/>
                  <a:pt x="5582887" y="1980484"/>
                </a:cubicBezTo>
                <a:cubicBezTo>
                  <a:pt x="5536506" y="1972650"/>
                  <a:pt x="5484328" y="2003998"/>
                  <a:pt x="5432150" y="2019672"/>
                </a:cubicBezTo>
                <a:cubicBezTo>
                  <a:pt x="5420552" y="2019672"/>
                  <a:pt x="5414755" y="2027505"/>
                  <a:pt x="5414755" y="2043180"/>
                </a:cubicBezTo>
                <a:cubicBezTo>
                  <a:pt x="5420552" y="2058854"/>
                  <a:pt x="5426348" y="2051014"/>
                  <a:pt x="5437946" y="2051014"/>
                </a:cubicBezTo>
                <a:cubicBezTo>
                  <a:pt x="5449538" y="2043180"/>
                  <a:pt x="5461136" y="2051014"/>
                  <a:pt x="5472729" y="2066688"/>
                </a:cubicBezTo>
                <a:cubicBezTo>
                  <a:pt x="5484328" y="2082362"/>
                  <a:pt x="5501722" y="2082362"/>
                  <a:pt x="5519112" y="2074528"/>
                </a:cubicBezTo>
                <a:cubicBezTo>
                  <a:pt x="5548103" y="2043180"/>
                  <a:pt x="5588689" y="2051014"/>
                  <a:pt x="5617675" y="2058854"/>
                </a:cubicBezTo>
                <a:cubicBezTo>
                  <a:pt x="5664056" y="2066688"/>
                  <a:pt x="5704642" y="2074528"/>
                  <a:pt x="5745228" y="2074528"/>
                </a:cubicBezTo>
                <a:cubicBezTo>
                  <a:pt x="5774215" y="2082362"/>
                  <a:pt x="5803202" y="2090202"/>
                  <a:pt x="5832194" y="2105869"/>
                </a:cubicBezTo>
                <a:cubicBezTo>
                  <a:pt x="5872774" y="2121544"/>
                  <a:pt x="5913359" y="2121544"/>
                  <a:pt x="5948148" y="2160732"/>
                </a:cubicBezTo>
                <a:cubicBezTo>
                  <a:pt x="5953945" y="2168566"/>
                  <a:pt x="5971338" y="2168566"/>
                  <a:pt x="5971338" y="2184240"/>
                </a:cubicBezTo>
                <a:cubicBezTo>
                  <a:pt x="5982932" y="2254770"/>
                  <a:pt x="6023518" y="2286118"/>
                  <a:pt x="6058306" y="2325300"/>
                </a:cubicBezTo>
                <a:cubicBezTo>
                  <a:pt x="6098892" y="2380156"/>
                  <a:pt x="6098892" y="2411505"/>
                  <a:pt x="6052509" y="2458526"/>
                </a:cubicBezTo>
                <a:cubicBezTo>
                  <a:pt x="6040912" y="2474194"/>
                  <a:pt x="6052509" y="2482035"/>
                  <a:pt x="6052509" y="2489869"/>
                </a:cubicBezTo>
                <a:cubicBezTo>
                  <a:pt x="6058306" y="2497709"/>
                  <a:pt x="6069899" y="2513383"/>
                  <a:pt x="6058306" y="2529056"/>
                </a:cubicBezTo>
                <a:cubicBezTo>
                  <a:pt x="6052509" y="2544731"/>
                  <a:pt x="6040912" y="2536890"/>
                  <a:pt x="6029313" y="2536890"/>
                </a:cubicBezTo>
                <a:cubicBezTo>
                  <a:pt x="5982932" y="2521216"/>
                  <a:pt x="5942352" y="2552565"/>
                  <a:pt x="5901766" y="2536890"/>
                </a:cubicBezTo>
                <a:cubicBezTo>
                  <a:pt x="5884373" y="2529056"/>
                  <a:pt x="5884373" y="2544731"/>
                  <a:pt x="5895965" y="2560399"/>
                </a:cubicBezTo>
                <a:cubicBezTo>
                  <a:pt x="5919156" y="2576073"/>
                  <a:pt x="5924956" y="2599587"/>
                  <a:pt x="5924956" y="2638769"/>
                </a:cubicBezTo>
                <a:cubicBezTo>
                  <a:pt x="5919156" y="2662277"/>
                  <a:pt x="5936550" y="2677950"/>
                  <a:pt x="5953945" y="2693625"/>
                </a:cubicBezTo>
                <a:cubicBezTo>
                  <a:pt x="5965542" y="2693625"/>
                  <a:pt x="5971338" y="2701459"/>
                  <a:pt x="5982932" y="2709299"/>
                </a:cubicBezTo>
                <a:cubicBezTo>
                  <a:pt x="5994530" y="2724973"/>
                  <a:pt x="6011924" y="2740647"/>
                  <a:pt x="6006122" y="2764154"/>
                </a:cubicBezTo>
                <a:cubicBezTo>
                  <a:pt x="6000326" y="2787663"/>
                  <a:pt x="5982932" y="2787663"/>
                  <a:pt x="5965542" y="2787663"/>
                </a:cubicBezTo>
                <a:cubicBezTo>
                  <a:pt x="5901766" y="2787663"/>
                  <a:pt x="5837992" y="2787663"/>
                  <a:pt x="5774215" y="2764154"/>
                </a:cubicBezTo>
                <a:cubicBezTo>
                  <a:pt x="5756820" y="2764154"/>
                  <a:pt x="5727834" y="2748481"/>
                  <a:pt x="5722036" y="2779829"/>
                </a:cubicBezTo>
                <a:cubicBezTo>
                  <a:pt x="5710438" y="2819011"/>
                  <a:pt x="5716236" y="2850359"/>
                  <a:pt x="5751024" y="2873867"/>
                </a:cubicBezTo>
                <a:cubicBezTo>
                  <a:pt x="5768418" y="2881707"/>
                  <a:pt x="5780012" y="2897381"/>
                  <a:pt x="5791609" y="2928723"/>
                </a:cubicBezTo>
                <a:cubicBezTo>
                  <a:pt x="5797406" y="2944397"/>
                  <a:pt x="5803202" y="2960071"/>
                  <a:pt x="5791609" y="2983586"/>
                </a:cubicBezTo>
                <a:cubicBezTo>
                  <a:pt x="5774215" y="2999253"/>
                  <a:pt x="5762618" y="3022767"/>
                  <a:pt x="5739426" y="3014927"/>
                </a:cubicBezTo>
                <a:cubicBezTo>
                  <a:pt x="5617675" y="2975745"/>
                  <a:pt x="5490124" y="2967911"/>
                  <a:pt x="5368374" y="2952237"/>
                </a:cubicBezTo>
                <a:cubicBezTo>
                  <a:pt x="5327789" y="2944397"/>
                  <a:pt x="5287203" y="2944397"/>
                  <a:pt x="5246618" y="2952237"/>
                </a:cubicBezTo>
                <a:cubicBezTo>
                  <a:pt x="5235026" y="2952237"/>
                  <a:pt x="5217631" y="2952237"/>
                  <a:pt x="5217631" y="2975745"/>
                </a:cubicBezTo>
                <a:cubicBezTo>
                  <a:pt x="5217631" y="2999253"/>
                  <a:pt x="5217631" y="3022767"/>
                  <a:pt x="5240822" y="3030601"/>
                </a:cubicBezTo>
                <a:cubicBezTo>
                  <a:pt x="5269809" y="3046275"/>
                  <a:pt x="5304598" y="3108971"/>
                  <a:pt x="5298800" y="3155988"/>
                </a:cubicBezTo>
                <a:cubicBezTo>
                  <a:pt x="5298800" y="3195175"/>
                  <a:pt x="5275606" y="3210850"/>
                  <a:pt x="5246618" y="3210850"/>
                </a:cubicBezTo>
                <a:cubicBezTo>
                  <a:pt x="5159652" y="3210850"/>
                  <a:pt x="5066889" y="3203010"/>
                  <a:pt x="4974126" y="3210850"/>
                </a:cubicBezTo>
                <a:cubicBezTo>
                  <a:pt x="4904552" y="3218684"/>
                  <a:pt x="4834980" y="3226518"/>
                  <a:pt x="4765408" y="3234358"/>
                </a:cubicBezTo>
                <a:cubicBezTo>
                  <a:pt x="4678442" y="3250032"/>
                  <a:pt x="4585672" y="3257865"/>
                  <a:pt x="4498712" y="3250032"/>
                </a:cubicBezTo>
                <a:cubicBezTo>
                  <a:pt x="4469719" y="3250032"/>
                  <a:pt x="4440732" y="3250032"/>
                  <a:pt x="4411744" y="3265705"/>
                </a:cubicBezTo>
                <a:cubicBezTo>
                  <a:pt x="4394351" y="3250032"/>
                  <a:pt x="4371160" y="3257865"/>
                  <a:pt x="4347968" y="3265705"/>
                </a:cubicBezTo>
                <a:cubicBezTo>
                  <a:pt x="4347968" y="3265705"/>
                  <a:pt x="4347968" y="3273539"/>
                  <a:pt x="4347968" y="3273539"/>
                </a:cubicBezTo>
                <a:cubicBezTo>
                  <a:pt x="4371160" y="3297048"/>
                  <a:pt x="4388554" y="3281380"/>
                  <a:pt x="4411744" y="3273539"/>
                </a:cubicBezTo>
                <a:cubicBezTo>
                  <a:pt x="4411744" y="3273539"/>
                  <a:pt x="4411744" y="3265705"/>
                  <a:pt x="4411744" y="3265705"/>
                </a:cubicBezTo>
                <a:cubicBezTo>
                  <a:pt x="4463924" y="3304888"/>
                  <a:pt x="4516100" y="3320562"/>
                  <a:pt x="4579877" y="3312722"/>
                </a:cubicBezTo>
                <a:cubicBezTo>
                  <a:pt x="4637856" y="3304888"/>
                  <a:pt x="4695831" y="3328396"/>
                  <a:pt x="4753810" y="3359744"/>
                </a:cubicBezTo>
                <a:cubicBezTo>
                  <a:pt x="4765408" y="3367584"/>
                  <a:pt x="4788599" y="3375418"/>
                  <a:pt x="4805989" y="3375418"/>
                </a:cubicBezTo>
                <a:cubicBezTo>
                  <a:pt x="4881362" y="3375418"/>
                  <a:pt x="4950935" y="3383258"/>
                  <a:pt x="5020508" y="3422441"/>
                </a:cubicBezTo>
                <a:cubicBezTo>
                  <a:pt x="5055296" y="3445948"/>
                  <a:pt x="5078486" y="3469456"/>
                  <a:pt x="5078486" y="3524318"/>
                </a:cubicBezTo>
                <a:cubicBezTo>
                  <a:pt x="5078486" y="3555660"/>
                  <a:pt x="5090080" y="3571335"/>
                  <a:pt x="5107474" y="3579175"/>
                </a:cubicBezTo>
                <a:cubicBezTo>
                  <a:pt x="5119066" y="3587008"/>
                  <a:pt x="5130664" y="3594849"/>
                  <a:pt x="5136461" y="3610522"/>
                </a:cubicBezTo>
                <a:cubicBezTo>
                  <a:pt x="5148058" y="3634030"/>
                  <a:pt x="5165452" y="3657539"/>
                  <a:pt x="5153855" y="3688886"/>
                </a:cubicBezTo>
                <a:cubicBezTo>
                  <a:pt x="5142256" y="3720235"/>
                  <a:pt x="5119066" y="3712394"/>
                  <a:pt x="5101677" y="3704560"/>
                </a:cubicBezTo>
                <a:cubicBezTo>
                  <a:pt x="4956731" y="3665379"/>
                  <a:pt x="4811790" y="3673212"/>
                  <a:pt x="4661046" y="3657539"/>
                </a:cubicBezTo>
                <a:cubicBezTo>
                  <a:pt x="4597271" y="3649705"/>
                  <a:pt x="4533496" y="3649705"/>
                  <a:pt x="4469719" y="3649705"/>
                </a:cubicBezTo>
                <a:cubicBezTo>
                  <a:pt x="4440732" y="3649705"/>
                  <a:pt x="4411744" y="3641864"/>
                  <a:pt x="4388554" y="3649705"/>
                </a:cubicBezTo>
                <a:cubicBezTo>
                  <a:pt x="4382752" y="3649705"/>
                  <a:pt x="4376956" y="3649705"/>
                  <a:pt x="4371160" y="3657539"/>
                </a:cubicBezTo>
                <a:cubicBezTo>
                  <a:pt x="4371160" y="3665379"/>
                  <a:pt x="4376956" y="3673212"/>
                  <a:pt x="4376956" y="3673212"/>
                </a:cubicBezTo>
                <a:cubicBezTo>
                  <a:pt x="4388554" y="3688886"/>
                  <a:pt x="4400146" y="3696720"/>
                  <a:pt x="4411744" y="3704560"/>
                </a:cubicBezTo>
                <a:cubicBezTo>
                  <a:pt x="4429134" y="3712394"/>
                  <a:pt x="4440732" y="3735909"/>
                  <a:pt x="4440732" y="3751583"/>
                </a:cubicBezTo>
                <a:cubicBezTo>
                  <a:pt x="4429134" y="3814273"/>
                  <a:pt x="4452326" y="3845620"/>
                  <a:pt x="4487114" y="3869129"/>
                </a:cubicBezTo>
                <a:cubicBezTo>
                  <a:pt x="4527699" y="3900477"/>
                  <a:pt x="4527699" y="3955333"/>
                  <a:pt x="4533496" y="4010189"/>
                </a:cubicBezTo>
                <a:cubicBezTo>
                  <a:pt x="4539291" y="4041537"/>
                  <a:pt x="4527699" y="4049377"/>
                  <a:pt x="4504508" y="4049377"/>
                </a:cubicBezTo>
                <a:cubicBezTo>
                  <a:pt x="4452326" y="4057211"/>
                  <a:pt x="4400146" y="4057211"/>
                  <a:pt x="4347968" y="4049377"/>
                </a:cubicBezTo>
                <a:cubicBezTo>
                  <a:pt x="4342168" y="4041537"/>
                  <a:pt x="4330574" y="4041537"/>
                  <a:pt x="4324778" y="4041537"/>
                </a:cubicBezTo>
                <a:cubicBezTo>
                  <a:pt x="4266799" y="4088560"/>
                  <a:pt x="4208819" y="4057211"/>
                  <a:pt x="4145048" y="4057211"/>
                </a:cubicBezTo>
                <a:cubicBezTo>
                  <a:pt x="4127654" y="4057211"/>
                  <a:pt x="4110259" y="4057211"/>
                  <a:pt x="4098662" y="4065051"/>
                </a:cubicBezTo>
                <a:cubicBezTo>
                  <a:pt x="4052280" y="4096393"/>
                  <a:pt x="4005899" y="4080718"/>
                  <a:pt x="3965314" y="4088560"/>
                </a:cubicBezTo>
                <a:cubicBezTo>
                  <a:pt x="3959518" y="4088560"/>
                  <a:pt x="3947924" y="4088560"/>
                  <a:pt x="3942124" y="4104233"/>
                </a:cubicBezTo>
                <a:cubicBezTo>
                  <a:pt x="3942124" y="4112067"/>
                  <a:pt x="3953721" y="4119907"/>
                  <a:pt x="3959518" y="4119907"/>
                </a:cubicBezTo>
                <a:cubicBezTo>
                  <a:pt x="4011700" y="4119907"/>
                  <a:pt x="4063878" y="4166923"/>
                  <a:pt x="4116056" y="4143415"/>
                </a:cubicBezTo>
                <a:cubicBezTo>
                  <a:pt x="4145048" y="4135581"/>
                  <a:pt x="4191430" y="4206111"/>
                  <a:pt x="4203024" y="4260968"/>
                </a:cubicBezTo>
                <a:cubicBezTo>
                  <a:pt x="4214621" y="4300150"/>
                  <a:pt x="4220418" y="4323658"/>
                  <a:pt x="4249405" y="4339332"/>
                </a:cubicBezTo>
                <a:cubicBezTo>
                  <a:pt x="4272596" y="4347172"/>
                  <a:pt x="4307384" y="4496066"/>
                  <a:pt x="4301587" y="4527414"/>
                </a:cubicBezTo>
                <a:cubicBezTo>
                  <a:pt x="4295786" y="4543088"/>
                  <a:pt x="4284193" y="4543088"/>
                  <a:pt x="4272596" y="4543088"/>
                </a:cubicBezTo>
                <a:cubicBezTo>
                  <a:pt x="4150844" y="4527414"/>
                  <a:pt x="4029090" y="4527414"/>
                  <a:pt x="3907339" y="4535248"/>
                </a:cubicBezTo>
                <a:cubicBezTo>
                  <a:pt x="3901543" y="4535248"/>
                  <a:pt x="3889944" y="4535248"/>
                  <a:pt x="3878352" y="4527414"/>
                </a:cubicBezTo>
                <a:cubicBezTo>
                  <a:pt x="3831965" y="4503906"/>
                  <a:pt x="3785584" y="4503906"/>
                  <a:pt x="3739202" y="4550922"/>
                </a:cubicBezTo>
                <a:cubicBezTo>
                  <a:pt x="3721808" y="4566596"/>
                  <a:pt x="3675426" y="4550922"/>
                  <a:pt x="3675426" y="4519574"/>
                </a:cubicBezTo>
                <a:cubicBezTo>
                  <a:pt x="3669630" y="4480392"/>
                  <a:pt x="3646439" y="4488232"/>
                  <a:pt x="3634846" y="4503906"/>
                </a:cubicBezTo>
                <a:cubicBezTo>
                  <a:pt x="3617452" y="4511739"/>
                  <a:pt x="3600058" y="4519574"/>
                  <a:pt x="3588460" y="4503906"/>
                </a:cubicBezTo>
                <a:cubicBezTo>
                  <a:pt x="3553676" y="4456884"/>
                  <a:pt x="3513090" y="4488232"/>
                  <a:pt x="3489900" y="4503906"/>
                </a:cubicBezTo>
                <a:cubicBezTo>
                  <a:pt x="3420328" y="4574436"/>
                  <a:pt x="3339158" y="4535248"/>
                  <a:pt x="3263788" y="4535248"/>
                </a:cubicBezTo>
                <a:cubicBezTo>
                  <a:pt x="3200012" y="4527414"/>
                  <a:pt x="3136237" y="4566596"/>
                  <a:pt x="3072461" y="4535248"/>
                </a:cubicBezTo>
                <a:cubicBezTo>
                  <a:pt x="3037677" y="4511739"/>
                  <a:pt x="3002888" y="4535248"/>
                  <a:pt x="2968105" y="4535248"/>
                </a:cubicBezTo>
                <a:cubicBezTo>
                  <a:pt x="2933316" y="4527414"/>
                  <a:pt x="2892731" y="4535248"/>
                  <a:pt x="2852146" y="4527414"/>
                </a:cubicBezTo>
                <a:cubicBezTo>
                  <a:pt x="2805764" y="4519574"/>
                  <a:pt x="2759383" y="4519574"/>
                  <a:pt x="2713002" y="4535248"/>
                </a:cubicBezTo>
                <a:cubicBezTo>
                  <a:pt x="2701408" y="4543088"/>
                  <a:pt x="2689811" y="4543088"/>
                  <a:pt x="2684014" y="4511739"/>
                </a:cubicBezTo>
                <a:cubicBezTo>
                  <a:pt x="2678212" y="4488232"/>
                  <a:pt x="2666620" y="4472558"/>
                  <a:pt x="2649225" y="4472558"/>
                </a:cubicBezTo>
                <a:cubicBezTo>
                  <a:pt x="2637633" y="4472558"/>
                  <a:pt x="2614442" y="4433377"/>
                  <a:pt x="2620238" y="4496066"/>
                </a:cubicBezTo>
                <a:cubicBezTo>
                  <a:pt x="2626034" y="4527414"/>
                  <a:pt x="2585450" y="4550922"/>
                  <a:pt x="2544864" y="4535248"/>
                </a:cubicBezTo>
                <a:cubicBezTo>
                  <a:pt x="2550666" y="4527414"/>
                  <a:pt x="2562259" y="4527414"/>
                  <a:pt x="2556462" y="4511739"/>
                </a:cubicBezTo>
                <a:cubicBezTo>
                  <a:pt x="2556462" y="4511739"/>
                  <a:pt x="2544864" y="4511739"/>
                  <a:pt x="2539068" y="4503906"/>
                </a:cubicBezTo>
                <a:cubicBezTo>
                  <a:pt x="2544864" y="4496066"/>
                  <a:pt x="2556462" y="4496066"/>
                  <a:pt x="2562259" y="4488232"/>
                </a:cubicBezTo>
                <a:cubicBezTo>
                  <a:pt x="2568055" y="4488232"/>
                  <a:pt x="2573856" y="4480392"/>
                  <a:pt x="2568055" y="4472558"/>
                </a:cubicBezTo>
                <a:cubicBezTo>
                  <a:pt x="2568055" y="4464718"/>
                  <a:pt x="2504284" y="4472558"/>
                  <a:pt x="2498483" y="4488232"/>
                </a:cubicBezTo>
                <a:cubicBezTo>
                  <a:pt x="2498483" y="4480392"/>
                  <a:pt x="2498483" y="4480392"/>
                  <a:pt x="2498483" y="4472558"/>
                </a:cubicBezTo>
                <a:cubicBezTo>
                  <a:pt x="2492686" y="4464718"/>
                  <a:pt x="2486890" y="4456884"/>
                  <a:pt x="2475292" y="4456884"/>
                </a:cubicBezTo>
                <a:cubicBezTo>
                  <a:pt x="2475292" y="4456884"/>
                  <a:pt x="2475292" y="4464718"/>
                  <a:pt x="2475292" y="4464718"/>
                </a:cubicBezTo>
                <a:cubicBezTo>
                  <a:pt x="2475292" y="4480392"/>
                  <a:pt x="2486890" y="4472558"/>
                  <a:pt x="2492686" y="4480392"/>
                </a:cubicBezTo>
                <a:cubicBezTo>
                  <a:pt x="2492686" y="4480392"/>
                  <a:pt x="2498483" y="4480392"/>
                  <a:pt x="2498483" y="4488232"/>
                </a:cubicBezTo>
                <a:cubicBezTo>
                  <a:pt x="2510080" y="4503906"/>
                  <a:pt x="2533271" y="4472558"/>
                  <a:pt x="2539068" y="4503906"/>
                </a:cubicBezTo>
                <a:cubicBezTo>
                  <a:pt x="2533271" y="4519574"/>
                  <a:pt x="2527475" y="4503906"/>
                  <a:pt x="2521674" y="4511739"/>
                </a:cubicBezTo>
                <a:cubicBezTo>
                  <a:pt x="2504284" y="4511739"/>
                  <a:pt x="2492686" y="4511739"/>
                  <a:pt x="2475292" y="4511739"/>
                </a:cubicBezTo>
                <a:cubicBezTo>
                  <a:pt x="2481093" y="4535248"/>
                  <a:pt x="2504284" y="4527414"/>
                  <a:pt x="2504284" y="4543088"/>
                </a:cubicBezTo>
                <a:cubicBezTo>
                  <a:pt x="2498483" y="4558762"/>
                  <a:pt x="2486890" y="4558762"/>
                  <a:pt x="2475292" y="4550922"/>
                </a:cubicBezTo>
                <a:cubicBezTo>
                  <a:pt x="2365134" y="4543088"/>
                  <a:pt x="2254977" y="4558762"/>
                  <a:pt x="2144820" y="4566596"/>
                </a:cubicBezTo>
                <a:cubicBezTo>
                  <a:pt x="2104234" y="4566596"/>
                  <a:pt x="2063650" y="4558762"/>
                  <a:pt x="2023065" y="4550922"/>
                </a:cubicBezTo>
                <a:cubicBezTo>
                  <a:pt x="1988281" y="4543088"/>
                  <a:pt x="1953493" y="4558762"/>
                  <a:pt x="1924505" y="4574436"/>
                </a:cubicBezTo>
                <a:cubicBezTo>
                  <a:pt x="1907111" y="4582270"/>
                  <a:pt x="1895518" y="4574436"/>
                  <a:pt x="1878124" y="4558762"/>
                </a:cubicBezTo>
                <a:cubicBezTo>
                  <a:pt x="1883920" y="4543088"/>
                  <a:pt x="1901314" y="4519574"/>
                  <a:pt x="1872327" y="4527414"/>
                </a:cubicBezTo>
                <a:cubicBezTo>
                  <a:pt x="1820144" y="4535248"/>
                  <a:pt x="1779564" y="4511739"/>
                  <a:pt x="1733177" y="4503906"/>
                </a:cubicBezTo>
                <a:cubicBezTo>
                  <a:pt x="1709987" y="4503906"/>
                  <a:pt x="1692597" y="4496066"/>
                  <a:pt x="1675203" y="4511739"/>
                </a:cubicBezTo>
                <a:cubicBezTo>
                  <a:pt x="1657809" y="4527414"/>
                  <a:pt x="1634618" y="4535248"/>
                  <a:pt x="1617224" y="4519574"/>
                </a:cubicBezTo>
                <a:cubicBezTo>
                  <a:pt x="1588236" y="4511739"/>
                  <a:pt x="1565046" y="4527414"/>
                  <a:pt x="1536058" y="4519574"/>
                </a:cubicBezTo>
                <a:cubicBezTo>
                  <a:pt x="1518664" y="4519574"/>
                  <a:pt x="1489672" y="4535248"/>
                  <a:pt x="1489672" y="4488232"/>
                </a:cubicBezTo>
                <a:cubicBezTo>
                  <a:pt x="1489672" y="4480392"/>
                  <a:pt x="1483875" y="4480392"/>
                  <a:pt x="1478078" y="4488232"/>
                </a:cubicBezTo>
                <a:cubicBezTo>
                  <a:pt x="1420099" y="4519574"/>
                  <a:pt x="1356324" y="4511739"/>
                  <a:pt x="1304146" y="4503906"/>
                </a:cubicBezTo>
                <a:cubicBezTo>
                  <a:pt x="1251968" y="4496066"/>
                  <a:pt x="1199784" y="4511739"/>
                  <a:pt x="1147606" y="4480392"/>
                </a:cubicBezTo>
                <a:cubicBezTo>
                  <a:pt x="1130212" y="4464718"/>
                  <a:pt x="1095428" y="4488232"/>
                  <a:pt x="1072237" y="4496066"/>
                </a:cubicBezTo>
                <a:cubicBezTo>
                  <a:pt x="1060640" y="4496066"/>
                  <a:pt x="1049046" y="4503906"/>
                  <a:pt x="1037449" y="4488232"/>
                </a:cubicBezTo>
                <a:cubicBezTo>
                  <a:pt x="1031652" y="4480392"/>
                  <a:pt x="1037449" y="4472558"/>
                  <a:pt x="1037449" y="4472558"/>
                </a:cubicBezTo>
                <a:cubicBezTo>
                  <a:pt x="1049046" y="4456884"/>
                  <a:pt x="1054843" y="4441210"/>
                  <a:pt x="1072237" y="4449044"/>
                </a:cubicBezTo>
                <a:cubicBezTo>
                  <a:pt x="1130212" y="4472558"/>
                  <a:pt x="1182395" y="4402028"/>
                  <a:pt x="1240369" y="4409862"/>
                </a:cubicBezTo>
                <a:cubicBezTo>
                  <a:pt x="1246166" y="4409862"/>
                  <a:pt x="1257764" y="4402028"/>
                  <a:pt x="1251968" y="4386354"/>
                </a:cubicBezTo>
                <a:cubicBezTo>
                  <a:pt x="1251968" y="4378514"/>
                  <a:pt x="1240369" y="4378514"/>
                  <a:pt x="1234573" y="4378514"/>
                </a:cubicBezTo>
                <a:cubicBezTo>
                  <a:pt x="1205586" y="4378514"/>
                  <a:pt x="1182395" y="4402028"/>
                  <a:pt x="1153403" y="4402028"/>
                </a:cubicBezTo>
                <a:cubicBezTo>
                  <a:pt x="1130212" y="4394188"/>
                  <a:pt x="1101225" y="4441210"/>
                  <a:pt x="1083830" y="4378514"/>
                </a:cubicBezTo>
                <a:cubicBezTo>
                  <a:pt x="1083830" y="4362846"/>
                  <a:pt x="1049046" y="4355005"/>
                  <a:pt x="1025856" y="4370680"/>
                </a:cubicBezTo>
                <a:cubicBezTo>
                  <a:pt x="1008462" y="4386354"/>
                  <a:pt x="985271" y="4386354"/>
                  <a:pt x="967877" y="4386354"/>
                </a:cubicBezTo>
                <a:cubicBezTo>
                  <a:pt x="979469" y="4362846"/>
                  <a:pt x="996864" y="4355005"/>
                  <a:pt x="1014258" y="4339332"/>
                </a:cubicBezTo>
                <a:cubicBezTo>
                  <a:pt x="1049046" y="4307984"/>
                  <a:pt x="1095428" y="4284475"/>
                  <a:pt x="1136009" y="4268801"/>
                </a:cubicBezTo>
                <a:cubicBezTo>
                  <a:pt x="1147606" y="4268801"/>
                  <a:pt x="1159205" y="4253128"/>
                  <a:pt x="1159205" y="4237454"/>
                </a:cubicBezTo>
                <a:cubicBezTo>
                  <a:pt x="1159205" y="4221779"/>
                  <a:pt x="1147606" y="4237454"/>
                  <a:pt x="1136009" y="4229620"/>
                </a:cubicBezTo>
                <a:cubicBezTo>
                  <a:pt x="1072237" y="4198271"/>
                  <a:pt x="1008462" y="4229620"/>
                  <a:pt x="944686" y="4229620"/>
                </a:cubicBezTo>
                <a:cubicBezTo>
                  <a:pt x="904100" y="4229620"/>
                  <a:pt x="863515" y="4213945"/>
                  <a:pt x="817134" y="4221779"/>
                </a:cubicBezTo>
                <a:cubicBezTo>
                  <a:pt x="811337" y="4221779"/>
                  <a:pt x="805541" y="4213945"/>
                  <a:pt x="805541" y="4206111"/>
                </a:cubicBezTo>
                <a:cubicBezTo>
                  <a:pt x="805541" y="4198271"/>
                  <a:pt x="817134" y="4190437"/>
                  <a:pt x="817134" y="4190437"/>
                </a:cubicBezTo>
                <a:cubicBezTo>
                  <a:pt x="851922" y="4182597"/>
                  <a:pt x="875113" y="4159090"/>
                  <a:pt x="904100" y="4143415"/>
                </a:cubicBezTo>
                <a:cubicBezTo>
                  <a:pt x="921495" y="4135581"/>
                  <a:pt x="938889" y="4127741"/>
                  <a:pt x="944686" y="4104233"/>
                </a:cubicBezTo>
                <a:cubicBezTo>
                  <a:pt x="950482" y="4088560"/>
                  <a:pt x="956278" y="4088560"/>
                  <a:pt x="967877" y="4088560"/>
                </a:cubicBezTo>
                <a:cubicBezTo>
                  <a:pt x="979469" y="4096393"/>
                  <a:pt x="991068" y="4096393"/>
                  <a:pt x="1002660" y="4104233"/>
                </a:cubicBezTo>
                <a:cubicBezTo>
                  <a:pt x="1020055" y="4104233"/>
                  <a:pt x="1031652" y="4096393"/>
                  <a:pt x="1031652" y="4072885"/>
                </a:cubicBezTo>
                <a:cubicBezTo>
                  <a:pt x="1031652" y="4041537"/>
                  <a:pt x="1020055" y="4041537"/>
                  <a:pt x="1002660" y="4041537"/>
                </a:cubicBezTo>
                <a:cubicBezTo>
                  <a:pt x="967877" y="4049377"/>
                  <a:pt x="938889" y="4072885"/>
                  <a:pt x="904100" y="4049377"/>
                </a:cubicBezTo>
                <a:cubicBezTo>
                  <a:pt x="898305" y="4049377"/>
                  <a:pt x="886706" y="4049377"/>
                  <a:pt x="886706" y="4041537"/>
                </a:cubicBezTo>
                <a:cubicBezTo>
                  <a:pt x="880909" y="4018029"/>
                  <a:pt x="892508" y="4018029"/>
                  <a:pt x="904100" y="4018029"/>
                </a:cubicBezTo>
                <a:cubicBezTo>
                  <a:pt x="921495" y="4002356"/>
                  <a:pt x="944686" y="4002356"/>
                  <a:pt x="967877" y="4010189"/>
                </a:cubicBezTo>
                <a:cubicBezTo>
                  <a:pt x="996864" y="4025863"/>
                  <a:pt x="1014258" y="4025863"/>
                  <a:pt x="1037449" y="3986681"/>
                </a:cubicBezTo>
                <a:cubicBezTo>
                  <a:pt x="1066436" y="3955333"/>
                  <a:pt x="1101225" y="3947499"/>
                  <a:pt x="1136009" y="3971007"/>
                </a:cubicBezTo>
                <a:cubicBezTo>
                  <a:pt x="1147606" y="3978847"/>
                  <a:pt x="1165000" y="3978847"/>
                  <a:pt x="1170797" y="3978847"/>
                </a:cubicBezTo>
                <a:cubicBezTo>
                  <a:pt x="1222975" y="3947499"/>
                  <a:pt x="1275158" y="3963173"/>
                  <a:pt x="1327336" y="3947499"/>
                </a:cubicBezTo>
                <a:cubicBezTo>
                  <a:pt x="1338934" y="3947499"/>
                  <a:pt x="1362125" y="3947499"/>
                  <a:pt x="1362125" y="3923984"/>
                </a:cubicBezTo>
                <a:cubicBezTo>
                  <a:pt x="1362125" y="3900477"/>
                  <a:pt x="1338934" y="3908317"/>
                  <a:pt x="1327336" y="3908317"/>
                </a:cubicBezTo>
                <a:cubicBezTo>
                  <a:pt x="1321540" y="3908317"/>
                  <a:pt x="1309942" y="3908317"/>
                  <a:pt x="1309942" y="3892643"/>
                </a:cubicBezTo>
                <a:cubicBezTo>
                  <a:pt x="1309942" y="3884803"/>
                  <a:pt x="1321540" y="3884803"/>
                  <a:pt x="1327336" y="3876969"/>
                </a:cubicBezTo>
                <a:cubicBezTo>
                  <a:pt x="1431697" y="3861295"/>
                  <a:pt x="1530256" y="3837787"/>
                  <a:pt x="1634618" y="3814273"/>
                </a:cubicBezTo>
                <a:lnTo>
                  <a:pt x="1665661" y="3808281"/>
                </a:lnTo>
                <a:lnTo>
                  <a:pt x="1675203" y="3814273"/>
                </a:lnTo>
                <a:lnTo>
                  <a:pt x="1677249" y="3806276"/>
                </a:lnTo>
                <a:lnTo>
                  <a:pt x="1773762" y="3798599"/>
                </a:lnTo>
                <a:cubicBezTo>
                  <a:pt x="1791156" y="3790765"/>
                  <a:pt x="1796953" y="3782924"/>
                  <a:pt x="1791156" y="3759416"/>
                </a:cubicBezTo>
                <a:cubicBezTo>
                  <a:pt x="1767966" y="3759416"/>
                  <a:pt x="1744775" y="3767256"/>
                  <a:pt x="1727381" y="3759416"/>
                </a:cubicBezTo>
                <a:cubicBezTo>
                  <a:pt x="1709991" y="3751583"/>
                  <a:pt x="1696944" y="3753541"/>
                  <a:pt x="1688245" y="3763334"/>
                </a:cubicBezTo>
                <a:lnTo>
                  <a:pt x="1677249" y="3806276"/>
                </a:lnTo>
                <a:lnTo>
                  <a:pt x="1675203" y="3806439"/>
                </a:lnTo>
                <a:lnTo>
                  <a:pt x="1665661" y="3808281"/>
                </a:lnTo>
                <a:lnTo>
                  <a:pt x="1623747" y="3781948"/>
                </a:lnTo>
                <a:cubicBezTo>
                  <a:pt x="1607080" y="3777049"/>
                  <a:pt x="1591134" y="3779008"/>
                  <a:pt x="1576638" y="3790765"/>
                </a:cubicBezTo>
                <a:cubicBezTo>
                  <a:pt x="1547652" y="3806439"/>
                  <a:pt x="1524460" y="3806439"/>
                  <a:pt x="1501269" y="3798599"/>
                </a:cubicBezTo>
                <a:cubicBezTo>
                  <a:pt x="1460684" y="3782924"/>
                  <a:pt x="1420099" y="3759416"/>
                  <a:pt x="1396909" y="3829947"/>
                </a:cubicBezTo>
                <a:cubicBezTo>
                  <a:pt x="1385315" y="3861295"/>
                  <a:pt x="1309942" y="3861295"/>
                  <a:pt x="1292552" y="3837787"/>
                </a:cubicBezTo>
                <a:cubicBezTo>
                  <a:pt x="1280955" y="3822113"/>
                  <a:pt x="1269362" y="3822113"/>
                  <a:pt x="1257764" y="3822113"/>
                </a:cubicBezTo>
                <a:cubicBezTo>
                  <a:pt x="1182395" y="3837787"/>
                  <a:pt x="1112818" y="3845620"/>
                  <a:pt x="1043246" y="3861295"/>
                </a:cubicBezTo>
                <a:cubicBezTo>
                  <a:pt x="1002660" y="3869129"/>
                  <a:pt x="967877" y="3869129"/>
                  <a:pt x="944686" y="3822113"/>
                </a:cubicBezTo>
                <a:cubicBezTo>
                  <a:pt x="938889" y="3814273"/>
                  <a:pt x="927291" y="3814273"/>
                  <a:pt x="927291" y="3814273"/>
                </a:cubicBezTo>
                <a:cubicBezTo>
                  <a:pt x="892508" y="3853454"/>
                  <a:pt x="851922" y="3814273"/>
                  <a:pt x="817134" y="3822113"/>
                </a:cubicBezTo>
                <a:cubicBezTo>
                  <a:pt x="799740" y="3829947"/>
                  <a:pt x="782350" y="3822113"/>
                  <a:pt x="770752" y="3798599"/>
                </a:cubicBezTo>
                <a:cubicBezTo>
                  <a:pt x="764956" y="3775090"/>
                  <a:pt x="788146" y="3775090"/>
                  <a:pt x="799740" y="3767256"/>
                </a:cubicBezTo>
                <a:cubicBezTo>
                  <a:pt x="822930" y="3743743"/>
                  <a:pt x="851922" y="3728069"/>
                  <a:pt x="875113" y="3704560"/>
                </a:cubicBezTo>
                <a:cubicBezTo>
                  <a:pt x="886706" y="3696720"/>
                  <a:pt x="898305" y="3681053"/>
                  <a:pt x="898305" y="3665379"/>
                </a:cubicBezTo>
                <a:cubicBezTo>
                  <a:pt x="892508" y="3641864"/>
                  <a:pt x="875113" y="3657539"/>
                  <a:pt x="863515" y="3657539"/>
                </a:cubicBezTo>
                <a:cubicBezTo>
                  <a:pt x="822930" y="3665379"/>
                  <a:pt x="782350" y="3657539"/>
                  <a:pt x="747562" y="3696720"/>
                </a:cubicBezTo>
                <a:cubicBezTo>
                  <a:pt x="741765" y="3704560"/>
                  <a:pt x="735964" y="3704560"/>
                  <a:pt x="730168" y="3696720"/>
                </a:cubicBezTo>
                <a:cubicBezTo>
                  <a:pt x="724371" y="3688886"/>
                  <a:pt x="730168" y="3673212"/>
                  <a:pt x="735964" y="3673212"/>
                </a:cubicBezTo>
                <a:cubicBezTo>
                  <a:pt x="764956" y="3641864"/>
                  <a:pt x="782350" y="3594849"/>
                  <a:pt x="828731" y="3610522"/>
                </a:cubicBezTo>
                <a:cubicBezTo>
                  <a:pt x="880909" y="3626190"/>
                  <a:pt x="921495" y="3579175"/>
                  <a:pt x="967877" y="3571335"/>
                </a:cubicBezTo>
                <a:cubicBezTo>
                  <a:pt x="1008462" y="3563501"/>
                  <a:pt x="1037449" y="3539992"/>
                  <a:pt x="1078034" y="3547826"/>
                </a:cubicBezTo>
                <a:cubicBezTo>
                  <a:pt x="1107021" y="3555660"/>
                  <a:pt x="1130212" y="3508645"/>
                  <a:pt x="1159205" y="3524318"/>
                </a:cubicBezTo>
                <a:cubicBezTo>
                  <a:pt x="1159205" y="3532152"/>
                  <a:pt x="1165000" y="3516478"/>
                  <a:pt x="1159205" y="3508645"/>
                </a:cubicBezTo>
                <a:cubicBezTo>
                  <a:pt x="1147606" y="3492971"/>
                  <a:pt x="1136009" y="3477296"/>
                  <a:pt x="1118619" y="3485130"/>
                </a:cubicBezTo>
                <a:cubicBezTo>
                  <a:pt x="1043246" y="3492971"/>
                  <a:pt x="973673" y="3524318"/>
                  <a:pt x="904100" y="3555660"/>
                </a:cubicBezTo>
                <a:cubicBezTo>
                  <a:pt x="886706" y="3563501"/>
                  <a:pt x="863515" y="3571335"/>
                  <a:pt x="846121" y="3555660"/>
                </a:cubicBezTo>
                <a:cubicBezTo>
                  <a:pt x="817134" y="3547826"/>
                  <a:pt x="793943" y="3555660"/>
                  <a:pt x="776549" y="3563501"/>
                </a:cubicBezTo>
                <a:cubicBezTo>
                  <a:pt x="718574" y="3610522"/>
                  <a:pt x="654799" y="3587008"/>
                  <a:pt x="596819" y="3594849"/>
                </a:cubicBezTo>
                <a:cubicBezTo>
                  <a:pt x="585226" y="3602682"/>
                  <a:pt x="579425" y="3594849"/>
                  <a:pt x="573628" y="3602682"/>
                </a:cubicBezTo>
                <a:cubicBezTo>
                  <a:pt x="556234" y="3626190"/>
                  <a:pt x="544641" y="3618356"/>
                  <a:pt x="533043" y="3594849"/>
                </a:cubicBezTo>
                <a:cubicBezTo>
                  <a:pt x="521450" y="3563501"/>
                  <a:pt x="492458" y="3571335"/>
                  <a:pt x="475068" y="3563501"/>
                </a:cubicBezTo>
                <a:cubicBezTo>
                  <a:pt x="451878" y="3547826"/>
                  <a:pt x="434484" y="3532152"/>
                  <a:pt x="417089" y="3563501"/>
                </a:cubicBezTo>
                <a:cubicBezTo>
                  <a:pt x="411293" y="3579175"/>
                  <a:pt x="393899" y="3579175"/>
                  <a:pt x="388102" y="3563501"/>
                </a:cubicBezTo>
                <a:cubicBezTo>
                  <a:pt x="370708" y="3547826"/>
                  <a:pt x="353313" y="3539992"/>
                  <a:pt x="330122" y="3547826"/>
                </a:cubicBezTo>
                <a:cubicBezTo>
                  <a:pt x="324325" y="3547826"/>
                  <a:pt x="312728" y="3547826"/>
                  <a:pt x="306931" y="3532152"/>
                </a:cubicBezTo>
                <a:cubicBezTo>
                  <a:pt x="306931" y="3516478"/>
                  <a:pt x="312728" y="3508645"/>
                  <a:pt x="318530" y="3500805"/>
                </a:cubicBezTo>
                <a:cubicBezTo>
                  <a:pt x="341721" y="3477296"/>
                  <a:pt x="370708" y="3477296"/>
                  <a:pt x="399695" y="3477296"/>
                </a:cubicBezTo>
                <a:cubicBezTo>
                  <a:pt x="411293" y="3477296"/>
                  <a:pt x="422886" y="3485130"/>
                  <a:pt x="428687" y="3469456"/>
                </a:cubicBezTo>
                <a:cubicBezTo>
                  <a:pt x="457674" y="3422441"/>
                  <a:pt x="498259" y="3422441"/>
                  <a:pt x="538844" y="3430274"/>
                </a:cubicBezTo>
                <a:cubicBezTo>
                  <a:pt x="550437" y="3430274"/>
                  <a:pt x="556234" y="3422441"/>
                  <a:pt x="562035" y="3398926"/>
                </a:cubicBezTo>
                <a:cubicBezTo>
                  <a:pt x="562035" y="3367584"/>
                  <a:pt x="585226" y="3367584"/>
                  <a:pt x="596819" y="3383258"/>
                </a:cubicBezTo>
                <a:cubicBezTo>
                  <a:pt x="631608" y="3438114"/>
                  <a:pt x="666391" y="3406766"/>
                  <a:pt x="701180" y="3406766"/>
                </a:cubicBezTo>
                <a:cubicBezTo>
                  <a:pt x="712772" y="3406766"/>
                  <a:pt x="724371" y="3391092"/>
                  <a:pt x="724371" y="3383258"/>
                </a:cubicBezTo>
                <a:cubicBezTo>
                  <a:pt x="724371" y="3359744"/>
                  <a:pt x="706977" y="3367584"/>
                  <a:pt x="701180" y="3359744"/>
                </a:cubicBezTo>
                <a:cubicBezTo>
                  <a:pt x="701180" y="3359744"/>
                  <a:pt x="689582" y="3359744"/>
                  <a:pt x="689582" y="3359744"/>
                </a:cubicBezTo>
                <a:cubicBezTo>
                  <a:pt x="689582" y="3297048"/>
                  <a:pt x="660595" y="3336236"/>
                  <a:pt x="643200" y="3336236"/>
                </a:cubicBezTo>
                <a:cubicBezTo>
                  <a:pt x="620009" y="3336236"/>
                  <a:pt x="596819" y="3328396"/>
                  <a:pt x="573628" y="3344069"/>
                </a:cubicBezTo>
                <a:cubicBezTo>
                  <a:pt x="550437" y="3359744"/>
                  <a:pt x="527246" y="3344069"/>
                  <a:pt x="504056" y="3351910"/>
                </a:cubicBezTo>
                <a:cubicBezTo>
                  <a:pt x="504056" y="3359744"/>
                  <a:pt x="498259" y="3344069"/>
                  <a:pt x="504056" y="3336236"/>
                </a:cubicBezTo>
                <a:cubicBezTo>
                  <a:pt x="509852" y="3328396"/>
                  <a:pt x="509852" y="3304888"/>
                  <a:pt x="527246" y="3304888"/>
                </a:cubicBezTo>
                <a:cubicBezTo>
                  <a:pt x="591022" y="3289214"/>
                  <a:pt x="654799" y="3250032"/>
                  <a:pt x="718574" y="3257865"/>
                </a:cubicBezTo>
                <a:cubicBezTo>
                  <a:pt x="735964" y="3257865"/>
                  <a:pt x="747562" y="3242192"/>
                  <a:pt x="747562" y="3218684"/>
                </a:cubicBezTo>
                <a:cubicBezTo>
                  <a:pt x="695384" y="3210850"/>
                  <a:pt x="637404" y="3203010"/>
                  <a:pt x="585226" y="3250032"/>
                </a:cubicBezTo>
                <a:cubicBezTo>
                  <a:pt x="567831" y="3257865"/>
                  <a:pt x="550437" y="3273539"/>
                  <a:pt x="527246" y="3250032"/>
                </a:cubicBezTo>
                <a:cubicBezTo>
                  <a:pt x="509852" y="3226518"/>
                  <a:pt x="492458" y="3250032"/>
                  <a:pt x="469268" y="3250032"/>
                </a:cubicBezTo>
                <a:cubicBezTo>
                  <a:pt x="428687" y="3250032"/>
                  <a:pt x="382305" y="3257865"/>
                  <a:pt x="341721" y="3289214"/>
                </a:cubicBezTo>
                <a:cubicBezTo>
                  <a:pt x="318530" y="3304888"/>
                  <a:pt x="289537" y="3297048"/>
                  <a:pt x="272148" y="3289214"/>
                </a:cubicBezTo>
                <a:cubicBezTo>
                  <a:pt x="231562" y="3273539"/>
                  <a:pt x="190978" y="3257865"/>
                  <a:pt x="173584" y="3195175"/>
                </a:cubicBezTo>
                <a:cubicBezTo>
                  <a:pt x="167787" y="3187335"/>
                  <a:pt x="167787" y="3179501"/>
                  <a:pt x="161990" y="3179501"/>
                </a:cubicBezTo>
                <a:cubicBezTo>
                  <a:pt x="92413" y="3163828"/>
                  <a:pt x="104011" y="3061950"/>
                  <a:pt x="63425" y="3014927"/>
                </a:cubicBezTo>
                <a:cubicBezTo>
                  <a:pt x="46031" y="2999253"/>
                  <a:pt x="40235" y="2975745"/>
                  <a:pt x="22841" y="2960071"/>
                </a:cubicBezTo>
                <a:cubicBezTo>
                  <a:pt x="-11943" y="2928723"/>
                  <a:pt x="-6147" y="2866033"/>
                  <a:pt x="34439" y="2826851"/>
                </a:cubicBezTo>
                <a:cubicBezTo>
                  <a:pt x="80821" y="2779829"/>
                  <a:pt x="132999" y="2717133"/>
                  <a:pt x="196774" y="2709299"/>
                </a:cubicBezTo>
                <a:cubicBezTo>
                  <a:pt x="214168" y="2709299"/>
                  <a:pt x="219965" y="2693625"/>
                  <a:pt x="225762" y="2677950"/>
                </a:cubicBezTo>
                <a:cubicBezTo>
                  <a:pt x="231562" y="2662277"/>
                  <a:pt x="219965" y="2646603"/>
                  <a:pt x="208372" y="2638769"/>
                </a:cubicBezTo>
                <a:cubicBezTo>
                  <a:pt x="179380" y="2615261"/>
                  <a:pt x="167787" y="2568239"/>
                  <a:pt x="190978" y="2536890"/>
                </a:cubicBezTo>
                <a:cubicBezTo>
                  <a:pt x="231562" y="2450686"/>
                  <a:pt x="196774" y="2380156"/>
                  <a:pt x="179380" y="2309626"/>
                </a:cubicBezTo>
                <a:cubicBezTo>
                  <a:pt x="167787" y="2262603"/>
                  <a:pt x="156189" y="2215588"/>
                  <a:pt x="173584" y="2160732"/>
                </a:cubicBezTo>
                <a:cubicBezTo>
                  <a:pt x="190978" y="2113710"/>
                  <a:pt x="219965" y="2113710"/>
                  <a:pt x="254753" y="2105869"/>
                </a:cubicBezTo>
                <a:cubicBezTo>
                  <a:pt x="266346" y="2098035"/>
                  <a:pt x="254753" y="2113710"/>
                  <a:pt x="254753" y="2121544"/>
                </a:cubicBezTo>
                <a:cubicBezTo>
                  <a:pt x="243156" y="2145058"/>
                  <a:pt x="219965" y="2160732"/>
                  <a:pt x="219965" y="2192074"/>
                </a:cubicBezTo>
                <a:cubicBezTo>
                  <a:pt x="219965" y="2223422"/>
                  <a:pt x="219965" y="2239096"/>
                  <a:pt x="248957" y="2223422"/>
                </a:cubicBezTo>
                <a:cubicBezTo>
                  <a:pt x="312728" y="2207748"/>
                  <a:pt x="370708" y="2152892"/>
                  <a:pt x="440280" y="2176399"/>
                </a:cubicBezTo>
                <a:cubicBezTo>
                  <a:pt x="451878" y="2176399"/>
                  <a:pt x="457674" y="2168566"/>
                  <a:pt x="463471" y="2160732"/>
                </a:cubicBezTo>
                <a:cubicBezTo>
                  <a:pt x="492458" y="2105869"/>
                  <a:pt x="533043" y="2105869"/>
                  <a:pt x="579425" y="2113710"/>
                </a:cubicBezTo>
                <a:cubicBezTo>
                  <a:pt x="608417" y="2121544"/>
                  <a:pt x="649002" y="2129384"/>
                  <a:pt x="672193" y="2098035"/>
                </a:cubicBezTo>
                <a:cubicBezTo>
                  <a:pt x="701180" y="2066688"/>
                  <a:pt x="724371" y="2051014"/>
                  <a:pt x="753358" y="2035339"/>
                </a:cubicBezTo>
                <a:lnTo>
                  <a:pt x="757687" y="2030995"/>
                </a:lnTo>
                <a:lnTo>
                  <a:pt x="741770" y="2036118"/>
                </a:lnTo>
                <a:cubicBezTo>
                  <a:pt x="686392" y="2081035"/>
                  <a:pt x="625472" y="2058574"/>
                  <a:pt x="570090" y="2066063"/>
                </a:cubicBezTo>
                <a:cubicBezTo>
                  <a:pt x="559017" y="2073545"/>
                  <a:pt x="553475" y="2066063"/>
                  <a:pt x="547938" y="2073545"/>
                </a:cubicBezTo>
                <a:cubicBezTo>
                  <a:pt x="531323" y="2096000"/>
                  <a:pt x="520248" y="2088517"/>
                  <a:pt x="509171" y="2066063"/>
                </a:cubicBezTo>
                <a:cubicBezTo>
                  <a:pt x="498097" y="2036118"/>
                  <a:pt x="470403" y="2043602"/>
                  <a:pt x="453792" y="2036118"/>
                </a:cubicBezTo>
                <a:cubicBezTo>
                  <a:pt x="431640" y="2021146"/>
                  <a:pt x="415025" y="2006174"/>
                  <a:pt x="398409" y="2036118"/>
                </a:cubicBezTo>
                <a:cubicBezTo>
                  <a:pt x="392873" y="2051090"/>
                  <a:pt x="376258" y="2051090"/>
                  <a:pt x="370721" y="2036118"/>
                </a:cubicBezTo>
                <a:cubicBezTo>
                  <a:pt x="354105" y="2021146"/>
                  <a:pt x="337489" y="2013664"/>
                  <a:pt x="315338" y="2021146"/>
                </a:cubicBezTo>
                <a:cubicBezTo>
                  <a:pt x="309801" y="2021146"/>
                  <a:pt x="298722" y="2021146"/>
                  <a:pt x="293186" y="2006174"/>
                </a:cubicBezTo>
                <a:cubicBezTo>
                  <a:pt x="293186" y="1991202"/>
                  <a:pt x="298722" y="1983719"/>
                  <a:pt x="304264" y="1976230"/>
                </a:cubicBezTo>
                <a:cubicBezTo>
                  <a:pt x="326416" y="1953775"/>
                  <a:pt x="354105" y="1953775"/>
                  <a:pt x="381794" y="1953775"/>
                </a:cubicBezTo>
                <a:cubicBezTo>
                  <a:pt x="392873" y="1953775"/>
                  <a:pt x="403946" y="1961258"/>
                  <a:pt x="409488" y="1946286"/>
                </a:cubicBezTo>
                <a:cubicBezTo>
                  <a:pt x="437177" y="1901375"/>
                  <a:pt x="475945" y="1901375"/>
                  <a:pt x="514712" y="1908859"/>
                </a:cubicBezTo>
                <a:cubicBezTo>
                  <a:pt x="525786" y="1908859"/>
                  <a:pt x="531323" y="1901375"/>
                  <a:pt x="536864" y="1878915"/>
                </a:cubicBezTo>
                <a:cubicBezTo>
                  <a:pt x="536864" y="1848977"/>
                  <a:pt x="559017" y="1848977"/>
                  <a:pt x="570090" y="1863949"/>
                </a:cubicBezTo>
                <a:cubicBezTo>
                  <a:pt x="603320" y="1916348"/>
                  <a:pt x="636546" y="1886403"/>
                  <a:pt x="669777" y="1886403"/>
                </a:cubicBezTo>
                <a:cubicBezTo>
                  <a:pt x="680851" y="1886403"/>
                  <a:pt x="691929" y="1871431"/>
                  <a:pt x="691929" y="1863949"/>
                </a:cubicBezTo>
                <a:cubicBezTo>
                  <a:pt x="691929" y="1841487"/>
                  <a:pt x="675314" y="1848977"/>
                  <a:pt x="669777" y="1841487"/>
                </a:cubicBezTo>
                <a:cubicBezTo>
                  <a:pt x="669777" y="1841487"/>
                  <a:pt x="658698" y="1841487"/>
                  <a:pt x="658698" y="1841487"/>
                </a:cubicBezTo>
                <a:cubicBezTo>
                  <a:pt x="658698" y="1781598"/>
                  <a:pt x="631010" y="1819033"/>
                  <a:pt x="614395" y="1819033"/>
                </a:cubicBezTo>
                <a:cubicBezTo>
                  <a:pt x="592242" y="1819033"/>
                  <a:pt x="570090" y="1811543"/>
                  <a:pt x="547938" y="1826515"/>
                </a:cubicBezTo>
                <a:cubicBezTo>
                  <a:pt x="525786" y="1841487"/>
                  <a:pt x="503633" y="1826515"/>
                  <a:pt x="481481" y="1834005"/>
                </a:cubicBezTo>
                <a:cubicBezTo>
                  <a:pt x="481481" y="1841487"/>
                  <a:pt x="475945" y="1826515"/>
                  <a:pt x="481481" y="1819033"/>
                </a:cubicBezTo>
                <a:cubicBezTo>
                  <a:pt x="487018" y="1811543"/>
                  <a:pt x="487018" y="1789088"/>
                  <a:pt x="503633" y="1789088"/>
                </a:cubicBezTo>
                <a:cubicBezTo>
                  <a:pt x="564553" y="1774116"/>
                  <a:pt x="625472" y="1736689"/>
                  <a:pt x="686392" y="1744172"/>
                </a:cubicBezTo>
                <a:cubicBezTo>
                  <a:pt x="703003" y="1744172"/>
                  <a:pt x="714082" y="1729200"/>
                  <a:pt x="714082" y="1706745"/>
                </a:cubicBezTo>
                <a:cubicBezTo>
                  <a:pt x="664240" y="1699262"/>
                  <a:pt x="608857" y="1691773"/>
                  <a:pt x="559017" y="1736689"/>
                </a:cubicBezTo>
                <a:cubicBezTo>
                  <a:pt x="542401" y="1744172"/>
                  <a:pt x="525786" y="1759144"/>
                  <a:pt x="503633" y="1736689"/>
                </a:cubicBezTo>
                <a:cubicBezTo>
                  <a:pt x="487018" y="1714228"/>
                  <a:pt x="470403" y="1736689"/>
                  <a:pt x="448251" y="1736689"/>
                </a:cubicBezTo>
                <a:cubicBezTo>
                  <a:pt x="409488" y="1736689"/>
                  <a:pt x="365183" y="1744172"/>
                  <a:pt x="326416" y="1774116"/>
                </a:cubicBezTo>
                <a:cubicBezTo>
                  <a:pt x="304264" y="1789088"/>
                  <a:pt x="276570" y="1781598"/>
                  <a:pt x="259960" y="1774116"/>
                </a:cubicBezTo>
                <a:cubicBezTo>
                  <a:pt x="221192" y="1759144"/>
                  <a:pt x="182424" y="1744172"/>
                  <a:pt x="165809" y="1684290"/>
                </a:cubicBezTo>
                <a:cubicBezTo>
                  <a:pt x="160272" y="1676801"/>
                  <a:pt x="160272" y="1669317"/>
                  <a:pt x="154736" y="1669317"/>
                </a:cubicBezTo>
                <a:cubicBezTo>
                  <a:pt x="88275" y="1654345"/>
                  <a:pt x="99352" y="1557030"/>
                  <a:pt x="60585" y="1512114"/>
                </a:cubicBezTo>
                <a:cubicBezTo>
                  <a:pt x="43970" y="1497142"/>
                  <a:pt x="38433" y="1474686"/>
                  <a:pt x="21818" y="1459714"/>
                </a:cubicBezTo>
                <a:cubicBezTo>
                  <a:pt x="-11409" y="1429771"/>
                  <a:pt x="-5872" y="1369888"/>
                  <a:pt x="32897" y="1332461"/>
                </a:cubicBezTo>
                <a:cubicBezTo>
                  <a:pt x="77200" y="1287544"/>
                  <a:pt x="127042" y="1227656"/>
                  <a:pt x="187962" y="1220174"/>
                </a:cubicBezTo>
                <a:cubicBezTo>
                  <a:pt x="204577" y="1220174"/>
                  <a:pt x="210114" y="1205202"/>
                  <a:pt x="215650" y="1190229"/>
                </a:cubicBezTo>
                <a:cubicBezTo>
                  <a:pt x="221192" y="1175257"/>
                  <a:pt x="210114" y="1160285"/>
                  <a:pt x="199040" y="1152802"/>
                </a:cubicBezTo>
                <a:cubicBezTo>
                  <a:pt x="171347" y="1130347"/>
                  <a:pt x="160272" y="1085431"/>
                  <a:pt x="182424" y="1055486"/>
                </a:cubicBezTo>
                <a:cubicBezTo>
                  <a:pt x="221192" y="973144"/>
                  <a:pt x="187962" y="905771"/>
                  <a:pt x="171347" y="838400"/>
                </a:cubicBezTo>
                <a:cubicBezTo>
                  <a:pt x="160272" y="793484"/>
                  <a:pt x="149194" y="748574"/>
                  <a:pt x="165809" y="696175"/>
                </a:cubicBezTo>
                <a:cubicBezTo>
                  <a:pt x="182424" y="651259"/>
                  <a:pt x="210114" y="651259"/>
                  <a:pt x="243344" y="643769"/>
                </a:cubicBezTo>
                <a:cubicBezTo>
                  <a:pt x="254418" y="636287"/>
                  <a:pt x="243344" y="651259"/>
                  <a:pt x="243344" y="658741"/>
                </a:cubicBezTo>
                <a:cubicBezTo>
                  <a:pt x="232266" y="681203"/>
                  <a:pt x="210114" y="696175"/>
                  <a:pt x="210114" y="726112"/>
                </a:cubicBezTo>
                <a:cubicBezTo>
                  <a:pt x="210114" y="756057"/>
                  <a:pt x="210114" y="771029"/>
                  <a:pt x="237808" y="756057"/>
                </a:cubicBezTo>
                <a:cubicBezTo>
                  <a:pt x="298722" y="741085"/>
                  <a:pt x="354105" y="688686"/>
                  <a:pt x="420561" y="711141"/>
                </a:cubicBezTo>
                <a:cubicBezTo>
                  <a:pt x="431640" y="711141"/>
                  <a:pt x="437177" y="703658"/>
                  <a:pt x="442714" y="696175"/>
                </a:cubicBezTo>
                <a:cubicBezTo>
                  <a:pt x="470403" y="643769"/>
                  <a:pt x="509171" y="643769"/>
                  <a:pt x="553475" y="651259"/>
                </a:cubicBezTo>
                <a:cubicBezTo>
                  <a:pt x="581168" y="658741"/>
                  <a:pt x="619936" y="666231"/>
                  <a:pt x="642087" y="636287"/>
                </a:cubicBezTo>
                <a:cubicBezTo>
                  <a:pt x="669777" y="606342"/>
                  <a:pt x="691929" y="591370"/>
                  <a:pt x="719618" y="576398"/>
                </a:cubicBezTo>
                <a:cubicBezTo>
                  <a:pt x="747312" y="561432"/>
                  <a:pt x="741770" y="523998"/>
                  <a:pt x="719618" y="501544"/>
                </a:cubicBezTo>
                <a:cubicBezTo>
                  <a:pt x="708544" y="494054"/>
                  <a:pt x="697466" y="471600"/>
                  <a:pt x="675314" y="471600"/>
                </a:cubicBezTo>
                <a:cubicBezTo>
                  <a:pt x="669777" y="471600"/>
                  <a:pt x="658698" y="464116"/>
                  <a:pt x="658698" y="449144"/>
                </a:cubicBezTo>
                <a:cubicBezTo>
                  <a:pt x="658698" y="434172"/>
                  <a:pt x="669777" y="434172"/>
                  <a:pt x="675314" y="426683"/>
                </a:cubicBezTo>
                <a:cubicBezTo>
                  <a:pt x="763923" y="366801"/>
                  <a:pt x="858073" y="329374"/>
                  <a:pt x="957755" y="299430"/>
                </a:cubicBezTo>
                <a:cubicBezTo>
                  <a:pt x="996522" y="284458"/>
                  <a:pt x="1040827" y="276975"/>
                  <a:pt x="1079594" y="247030"/>
                </a:cubicBezTo>
                <a:cubicBezTo>
                  <a:pt x="1096210" y="239542"/>
                  <a:pt x="1112825" y="247030"/>
                  <a:pt x="1123899" y="239542"/>
                </a:cubicBezTo>
                <a:cubicBezTo>
                  <a:pt x="1206971" y="224570"/>
                  <a:pt x="1290043" y="209597"/>
                  <a:pt x="1373114" y="194632"/>
                </a:cubicBezTo>
                <a:cubicBezTo>
                  <a:pt x="1411882" y="187142"/>
                  <a:pt x="1456186" y="179659"/>
                  <a:pt x="1494954" y="157198"/>
                </a:cubicBezTo>
                <a:cubicBezTo>
                  <a:pt x="1533721" y="142225"/>
                  <a:pt x="1578026" y="149715"/>
                  <a:pt x="1622329" y="164687"/>
                </a:cubicBezTo>
                <a:cubicBezTo>
                  <a:pt x="1627866" y="164687"/>
                  <a:pt x="1638945" y="179659"/>
                  <a:pt x="1644481" y="164687"/>
                </a:cubicBezTo>
                <a:cubicBezTo>
                  <a:pt x="1672171" y="97316"/>
                  <a:pt x="1722016" y="119771"/>
                  <a:pt x="1766321" y="119771"/>
                </a:cubicBezTo>
                <a:cubicBezTo>
                  <a:pt x="1838314" y="112287"/>
                  <a:pt x="1915849" y="104799"/>
                  <a:pt x="1993380" y="89827"/>
                </a:cubicBezTo>
                <a:cubicBezTo>
                  <a:pt x="2043225" y="82343"/>
                  <a:pt x="2098603" y="104799"/>
                  <a:pt x="2153986" y="89827"/>
                </a:cubicBezTo>
                <a:cubicBezTo>
                  <a:pt x="2192754" y="82343"/>
                  <a:pt x="2237058" y="67371"/>
                  <a:pt x="2281362" y="67371"/>
                </a:cubicBezTo>
                <a:cubicBezTo>
                  <a:pt x="2314593" y="59889"/>
                  <a:pt x="2353360" y="59889"/>
                  <a:pt x="2386586" y="59889"/>
                </a:cubicBezTo>
                <a:cubicBezTo>
                  <a:pt x="2469658" y="67371"/>
                  <a:pt x="2547192" y="52399"/>
                  <a:pt x="2630264" y="52399"/>
                </a:cubicBezTo>
                <a:cubicBezTo>
                  <a:pt x="2768714" y="52399"/>
                  <a:pt x="2907169" y="29944"/>
                  <a:pt x="3040082" y="22456"/>
                </a:cubicBezTo>
                <a:cubicBezTo>
                  <a:pt x="3139770" y="14972"/>
                  <a:pt x="3233915" y="14972"/>
                  <a:pt x="3333602" y="7484"/>
                </a:cubicBezTo>
                <a:cubicBezTo>
                  <a:pt x="3383442" y="7484"/>
                  <a:pt x="3438825" y="14972"/>
                  <a:pt x="3488667" y="14972"/>
                </a:cubicBezTo>
                <a:cubicBezTo>
                  <a:pt x="3532972" y="7484"/>
                  <a:pt x="3577280" y="14972"/>
                  <a:pt x="3621585" y="7484"/>
                </a:cubicBezTo>
                <a:cubicBezTo>
                  <a:pt x="3676963" y="0"/>
                  <a:pt x="3737882" y="14972"/>
                  <a:pt x="3793265" y="14972"/>
                </a:cubicBezTo>
                <a:cubicBezTo>
                  <a:pt x="3887410" y="7484"/>
                  <a:pt x="3981561" y="0"/>
                  <a:pt x="4075706"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1647061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1F7606-8703-4774-82E4-4A2AAF776758}" type="datetimeFigureOut">
              <a:rPr lang="es-CL" smtClean="0"/>
              <a:t>23-01-2025</a:t>
            </a:fld>
            <a:endParaRPr lang="es-CL"/>
          </a:p>
        </p:txBody>
      </p:sp>
      <p:sp>
        <p:nvSpPr>
          <p:cNvPr id="3" name="Footer Placeholder 2"/>
          <p:cNvSpPr>
            <a:spLocks noGrp="1"/>
          </p:cNvSpPr>
          <p:nvPr>
            <p:ph type="ftr" sz="quarter" idx="11"/>
          </p:nvPr>
        </p:nvSpPr>
        <p:spPr/>
        <p:txBody>
          <a:bodyPr/>
          <a:lstStyle/>
          <a:p>
            <a:endParaRPr lang="es-CL"/>
          </a:p>
        </p:txBody>
      </p:sp>
      <p:sp>
        <p:nvSpPr>
          <p:cNvPr id="4" name="Slide Number Placeholder 3"/>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12660790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0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B7BB0A9E-7678-4A0F-B478-6E137894EF0B}"/>
              </a:ext>
            </a:extLst>
          </p:cNvPr>
          <p:cNvSpPr>
            <a:spLocks noGrp="1"/>
          </p:cNvSpPr>
          <p:nvPr>
            <p:ph type="pic" sz="quarter" idx="22"/>
          </p:nvPr>
        </p:nvSpPr>
        <p:spPr>
          <a:xfrm>
            <a:off x="-287629" y="1405659"/>
            <a:ext cx="8596071" cy="6450082"/>
          </a:xfrm>
          <a:custGeom>
            <a:avLst/>
            <a:gdLst>
              <a:gd name="connsiteX0" fmla="*/ 2079245 w 6468531"/>
              <a:gd name="connsiteY0" fmla="*/ 4553180 h 4914348"/>
              <a:gd name="connsiteX1" fmla="*/ 2081847 w 6468531"/>
              <a:gd name="connsiteY1" fmla="*/ 4555782 h 4914348"/>
              <a:gd name="connsiteX2" fmla="*/ 2079245 w 6468531"/>
              <a:gd name="connsiteY2" fmla="*/ 4558383 h 4914348"/>
              <a:gd name="connsiteX3" fmla="*/ 2076644 w 6468531"/>
              <a:gd name="connsiteY3" fmla="*/ 4555782 h 4914348"/>
              <a:gd name="connsiteX4" fmla="*/ 2079245 w 6468531"/>
              <a:gd name="connsiteY4" fmla="*/ 4553180 h 4914348"/>
              <a:gd name="connsiteX5" fmla="*/ 1994717 w 6468531"/>
              <a:gd name="connsiteY5" fmla="*/ 4542777 h 4914348"/>
              <a:gd name="connsiteX6" fmla="*/ 1998620 w 6468531"/>
              <a:gd name="connsiteY6" fmla="*/ 4554481 h 4914348"/>
              <a:gd name="connsiteX7" fmla="*/ 1990815 w 6468531"/>
              <a:gd name="connsiteY7" fmla="*/ 4554481 h 4914348"/>
              <a:gd name="connsiteX8" fmla="*/ 1986916 w 6468531"/>
              <a:gd name="connsiteY8" fmla="*/ 4546679 h 4914348"/>
              <a:gd name="connsiteX9" fmla="*/ 1994717 w 6468531"/>
              <a:gd name="connsiteY9" fmla="*/ 4542777 h 4914348"/>
              <a:gd name="connsiteX10" fmla="*/ 2810086 w 6468531"/>
              <a:gd name="connsiteY10" fmla="*/ 4438743 h 4914348"/>
              <a:gd name="connsiteX11" fmla="*/ 2810086 w 6468531"/>
              <a:gd name="connsiteY11" fmla="*/ 4443946 h 4914348"/>
              <a:gd name="connsiteX12" fmla="*/ 2804882 w 6468531"/>
              <a:gd name="connsiteY12" fmla="*/ 4443946 h 4914348"/>
              <a:gd name="connsiteX13" fmla="*/ 2810086 w 6468531"/>
              <a:gd name="connsiteY13" fmla="*/ 4438743 h 4914348"/>
              <a:gd name="connsiteX14" fmla="*/ 3226219 w 6468531"/>
              <a:gd name="connsiteY14" fmla="*/ 4339912 h 4914348"/>
              <a:gd name="connsiteX15" fmla="*/ 3231422 w 6468531"/>
              <a:gd name="connsiteY15" fmla="*/ 4345115 h 4914348"/>
              <a:gd name="connsiteX16" fmla="*/ 3226219 w 6468531"/>
              <a:gd name="connsiteY16" fmla="*/ 4350315 h 4914348"/>
              <a:gd name="connsiteX17" fmla="*/ 3221019 w 6468531"/>
              <a:gd name="connsiteY17" fmla="*/ 4345115 h 4914348"/>
              <a:gd name="connsiteX18" fmla="*/ 3226219 w 6468531"/>
              <a:gd name="connsiteY18" fmla="*/ 4339912 h 4914348"/>
              <a:gd name="connsiteX19" fmla="*/ 2785809 w 6468531"/>
              <a:gd name="connsiteY19" fmla="*/ 4251481 h 4914348"/>
              <a:gd name="connsiteX20" fmla="*/ 2789279 w 6468531"/>
              <a:gd name="connsiteY20" fmla="*/ 4254083 h 4914348"/>
              <a:gd name="connsiteX21" fmla="*/ 2785809 w 6468531"/>
              <a:gd name="connsiteY21" fmla="*/ 4256685 h 4914348"/>
              <a:gd name="connsiteX22" fmla="*/ 2778876 w 6468531"/>
              <a:gd name="connsiteY22" fmla="*/ 4256685 h 4914348"/>
              <a:gd name="connsiteX23" fmla="*/ 2785809 w 6468531"/>
              <a:gd name="connsiteY23" fmla="*/ 4251481 h 4914348"/>
              <a:gd name="connsiteX24" fmla="*/ 529126 w 6468531"/>
              <a:gd name="connsiteY24" fmla="*/ 3864618 h 4914348"/>
              <a:gd name="connsiteX25" fmla="*/ 532776 w 6468531"/>
              <a:gd name="connsiteY25" fmla="*/ 3868269 h 4914348"/>
              <a:gd name="connsiteX26" fmla="*/ 529126 w 6468531"/>
              <a:gd name="connsiteY26" fmla="*/ 3871919 h 4914348"/>
              <a:gd name="connsiteX27" fmla="*/ 525476 w 6468531"/>
              <a:gd name="connsiteY27" fmla="*/ 3868269 h 4914348"/>
              <a:gd name="connsiteX28" fmla="*/ 529126 w 6468531"/>
              <a:gd name="connsiteY28" fmla="*/ 3864618 h 4914348"/>
              <a:gd name="connsiteX29" fmla="*/ 410528 w 6468531"/>
              <a:gd name="connsiteY29" fmla="*/ 3850022 h 4914348"/>
              <a:gd name="connsiteX30" fmla="*/ 416004 w 6468531"/>
              <a:gd name="connsiteY30" fmla="*/ 3866443 h 4914348"/>
              <a:gd name="connsiteX31" fmla="*/ 405053 w 6468531"/>
              <a:gd name="connsiteY31" fmla="*/ 3866443 h 4914348"/>
              <a:gd name="connsiteX32" fmla="*/ 399582 w 6468531"/>
              <a:gd name="connsiteY32" fmla="*/ 3855497 h 4914348"/>
              <a:gd name="connsiteX33" fmla="*/ 410528 w 6468531"/>
              <a:gd name="connsiteY33" fmla="*/ 3850022 h 4914348"/>
              <a:gd name="connsiteX34" fmla="*/ 5706886 w 6468531"/>
              <a:gd name="connsiteY34" fmla="*/ 3802873 h 4914348"/>
              <a:gd name="connsiteX35" fmla="*/ 5754250 w 6468531"/>
              <a:gd name="connsiteY35" fmla="*/ 3802873 h 4914348"/>
              <a:gd name="connsiteX36" fmla="*/ 5754250 w 6468531"/>
              <a:gd name="connsiteY36" fmla="*/ 3806812 h 4914348"/>
              <a:gd name="connsiteX37" fmla="*/ 5742412 w 6468531"/>
              <a:gd name="connsiteY37" fmla="*/ 3806812 h 4914348"/>
              <a:gd name="connsiteX38" fmla="*/ 5399027 w 6468531"/>
              <a:gd name="connsiteY38" fmla="*/ 3897382 h 4914348"/>
              <a:gd name="connsiteX39" fmla="*/ 5118794 w 6468531"/>
              <a:gd name="connsiteY39" fmla="*/ 3980078 h 4914348"/>
              <a:gd name="connsiteX40" fmla="*/ 4862244 w 6468531"/>
              <a:gd name="connsiteY40" fmla="*/ 4047024 h 4914348"/>
              <a:gd name="connsiteX41" fmla="*/ 4657004 w 6468531"/>
              <a:gd name="connsiteY41" fmla="*/ 4102154 h 4914348"/>
              <a:gd name="connsiteX42" fmla="*/ 4349141 w 6468531"/>
              <a:gd name="connsiteY42" fmla="*/ 4184850 h 4914348"/>
              <a:gd name="connsiteX43" fmla="*/ 4084698 w 6468531"/>
              <a:gd name="connsiteY43" fmla="*/ 4259670 h 4914348"/>
              <a:gd name="connsiteX44" fmla="*/ 3808413 w 6468531"/>
              <a:gd name="connsiteY44" fmla="*/ 4338431 h 4914348"/>
              <a:gd name="connsiteX45" fmla="*/ 3674217 w 6468531"/>
              <a:gd name="connsiteY45" fmla="*/ 4381745 h 4914348"/>
              <a:gd name="connsiteX46" fmla="*/ 3429506 w 6468531"/>
              <a:gd name="connsiteY46" fmla="*/ 4460506 h 4914348"/>
              <a:gd name="connsiteX47" fmla="*/ 3275575 w 6468531"/>
              <a:gd name="connsiteY47" fmla="*/ 4511697 h 4914348"/>
              <a:gd name="connsiteX48" fmla="*/ 3149273 w 6468531"/>
              <a:gd name="connsiteY48" fmla="*/ 4562889 h 4914348"/>
              <a:gd name="connsiteX49" fmla="*/ 2983503 w 6468531"/>
              <a:gd name="connsiteY49" fmla="*/ 4618022 h 4914348"/>
              <a:gd name="connsiteX50" fmla="*/ 2884830 w 6468531"/>
              <a:gd name="connsiteY50" fmla="*/ 4657401 h 4914348"/>
              <a:gd name="connsiteX51" fmla="*/ 2628280 w 6468531"/>
              <a:gd name="connsiteY51" fmla="*/ 4763725 h 4914348"/>
              <a:gd name="connsiteX52" fmla="*/ 2486188 w 6468531"/>
              <a:gd name="connsiteY52" fmla="*/ 4826732 h 4914348"/>
              <a:gd name="connsiteX53" fmla="*/ 2344098 w 6468531"/>
              <a:gd name="connsiteY53" fmla="*/ 4897613 h 4914348"/>
              <a:gd name="connsiteX54" fmla="*/ 2336205 w 6468531"/>
              <a:gd name="connsiteY54" fmla="*/ 4897613 h 4914348"/>
              <a:gd name="connsiteX55" fmla="*/ 2335536 w 6468531"/>
              <a:gd name="connsiteY55" fmla="*/ 4897331 h 4914348"/>
              <a:gd name="connsiteX56" fmla="*/ 2314438 w 6468531"/>
              <a:gd name="connsiteY56" fmla="*/ 4912099 h 4914348"/>
              <a:gd name="connsiteX57" fmla="*/ 2318154 w 6468531"/>
              <a:gd name="connsiteY57" fmla="*/ 4900395 h 4914348"/>
              <a:gd name="connsiteX58" fmla="*/ 2334609 w 6468531"/>
              <a:gd name="connsiteY58" fmla="*/ 4896938 h 4914348"/>
              <a:gd name="connsiteX59" fmla="*/ 2323380 w 6468531"/>
              <a:gd name="connsiteY59" fmla="*/ 4892200 h 4914348"/>
              <a:gd name="connsiteX60" fmla="*/ 2316469 w 6468531"/>
              <a:gd name="connsiteY60" fmla="*/ 4901552 h 4914348"/>
              <a:gd name="connsiteX61" fmla="*/ 2295115 w 6468531"/>
              <a:gd name="connsiteY61" fmla="*/ 4912204 h 4914348"/>
              <a:gd name="connsiteX62" fmla="*/ 2292789 w 6468531"/>
              <a:gd name="connsiteY62" fmla="*/ 4913364 h 4914348"/>
              <a:gd name="connsiteX63" fmla="*/ 2288844 w 6468531"/>
              <a:gd name="connsiteY63" fmla="*/ 4913364 h 4914348"/>
              <a:gd name="connsiteX64" fmla="*/ 2273054 w 6468531"/>
              <a:gd name="connsiteY64" fmla="*/ 4909426 h 4914348"/>
              <a:gd name="connsiteX65" fmla="*/ 2284896 w 6468531"/>
              <a:gd name="connsiteY65" fmla="*/ 4897613 h 4914348"/>
              <a:gd name="connsiteX66" fmla="*/ 2588810 w 6468531"/>
              <a:gd name="connsiteY66" fmla="*/ 4744036 h 4914348"/>
              <a:gd name="connsiteX67" fmla="*/ 2766421 w 6468531"/>
              <a:gd name="connsiteY67" fmla="*/ 4661339 h 4914348"/>
              <a:gd name="connsiteX68" fmla="*/ 3050600 w 6468531"/>
              <a:gd name="connsiteY68" fmla="*/ 4543199 h 4914348"/>
              <a:gd name="connsiteX69" fmla="*/ 3271630 w 6468531"/>
              <a:gd name="connsiteY69" fmla="*/ 4452629 h 4914348"/>
              <a:gd name="connsiteX70" fmla="*/ 3429506 w 6468531"/>
              <a:gd name="connsiteY70" fmla="*/ 4393561 h 4914348"/>
              <a:gd name="connsiteX71" fmla="*/ 3630798 w 6468531"/>
              <a:gd name="connsiteY71" fmla="*/ 4326615 h 4914348"/>
              <a:gd name="connsiteX72" fmla="*/ 3871561 w 6468531"/>
              <a:gd name="connsiteY72" fmla="*/ 4251796 h 4914348"/>
              <a:gd name="connsiteX73" fmla="*/ 4246523 w 6468531"/>
              <a:gd name="connsiteY73" fmla="*/ 4145471 h 4914348"/>
              <a:gd name="connsiteX74" fmla="*/ 4435976 w 6468531"/>
              <a:gd name="connsiteY74" fmla="*/ 4094280 h 4914348"/>
              <a:gd name="connsiteX75" fmla="*/ 4878031 w 6468531"/>
              <a:gd name="connsiteY75" fmla="*/ 3984017 h 4914348"/>
              <a:gd name="connsiteX76" fmla="*/ 5213522 w 6468531"/>
              <a:gd name="connsiteY76" fmla="*/ 3905259 h 4914348"/>
              <a:gd name="connsiteX77" fmla="*/ 5474020 w 6468531"/>
              <a:gd name="connsiteY77" fmla="*/ 3850129 h 4914348"/>
              <a:gd name="connsiteX78" fmla="*/ 5706886 w 6468531"/>
              <a:gd name="connsiteY78" fmla="*/ 3802873 h 4914348"/>
              <a:gd name="connsiteX79" fmla="*/ 5671023 w 6468531"/>
              <a:gd name="connsiteY79" fmla="*/ 3720907 h 4914348"/>
              <a:gd name="connsiteX80" fmla="*/ 5671023 w 6468531"/>
              <a:gd name="connsiteY80" fmla="*/ 3723509 h 4914348"/>
              <a:gd name="connsiteX81" fmla="*/ 5665823 w 6468531"/>
              <a:gd name="connsiteY81" fmla="*/ 3726111 h 4914348"/>
              <a:gd name="connsiteX82" fmla="*/ 5660620 w 6468531"/>
              <a:gd name="connsiteY82" fmla="*/ 3723509 h 4914348"/>
              <a:gd name="connsiteX83" fmla="*/ 5671023 w 6468531"/>
              <a:gd name="connsiteY83" fmla="*/ 3720907 h 4914348"/>
              <a:gd name="connsiteX84" fmla="*/ 1554534 w 6468531"/>
              <a:gd name="connsiteY84" fmla="*/ 3704056 h 4914348"/>
              <a:gd name="connsiteX85" fmla="*/ 1554534 w 6468531"/>
              <a:gd name="connsiteY85" fmla="*/ 3711357 h 4914348"/>
              <a:gd name="connsiteX86" fmla="*/ 1547234 w 6468531"/>
              <a:gd name="connsiteY86" fmla="*/ 3711357 h 4914348"/>
              <a:gd name="connsiteX87" fmla="*/ 1554534 w 6468531"/>
              <a:gd name="connsiteY87" fmla="*/ 3704056 h 4914348"/>
              <a:gd name="connsiteX88" fmla="*/ 2138391 w 6468531"/>
              <a:gd name="connsiteY88" fmla="*/ 3565392 h 4914348"/>
              <a:gd name="connsiteX89" fmla="*/ 2145692 w 6468531"/>
              <a:gd name="connsiteY89" fmla="*/ 3572692 h 4914348"/>
              <a:gd name="connsiteX90" fmla="*/ 2138391 w 6468531"/>
              <a:gd name="connsiteY90" fmla="*/ 3579988 h 4914348"/>
              <a:gd name="connsiteX91" fmla="*/ 2131095 w 6468531"/>
              <a:gd name="connsiteY91" fmla="*/ 3572692 h 4914348"/>
              <a:gd name="connsiteX92" fmla="*/ 2138391 w 6468531"/>
              <a:gd name="connsiteY92" fmla="*/ 3565392 h 4914348"/>
              <a:gd name="connsiteX93" fmla="*/ 1520472 w 6468531"/>
              <a:gd name="connsiteY93" fmla="*/ 3441319 h 4914348"/>
              <a:gd name="connsiteX94" fmla="*/ 1525341 w 6468531"/>
              <a:gd name="connsiteY94" fmla="*/ 3444969 h 4914348"/>
              <a:gd name="connsiteX95" fmla="*/ 1520472 w 6468531"/>
              <a:gd name="connsiteY95" fmla="*/ 3448619 h 4914348"/>
              <a:gd name="connsiteX96" fmla="*/ 1510744 w 6468531"/>
              <a:gd name="connsiteY96" fmla="*/ 3448619 h 4914348"/>
              <a:gd name="connsiteX97" fmla="*/ 1520472 w 6468531"/>
              <a:gd name="connsiteY97" fmla="*/ 3441319 h 4914348"/>
              <a:gd name="connsiteX98" fmla="*/ 5568583 w 6468531"/>
              <a:gd name="connsiteY98" fmla="*/ 2696895 h 4914348"/>
              <a:gd name="connsiteX99" fmla="*/ 5568583 w 6468531"/>
              <a:gd name="connsiteY99" fmla="*/ 2700545 h 4914348"/>
              <a:gd name="connsiteX100" fmla="*/ 5561287 w 6468531"/>
              <a:gd name="connsiteY100" fmla="*/ 2704196 h 4914348"/>
              <a:gd name="connsiteX101" fmla="*/ 5553987 w 6468531"/>
              <a:gd name="connsiteY101" fmla="*/ 2700545 h 4914348"/>
              <a:gd name="connsiteX102" fmla="*/ 5568583 w 6468531"/>
              <a:gd name="connsiteY102" fmla="*/ 2696895 h 4914348"/>
              <a:gd name="connsiteX103" fmla="*/ 5428843 w 6468531"/>
              <a:gd name="connsiteY103" fmla="*/ 2684609 h 4914348"/>
              <a:gd name="connsiteX104" fmla="*/ 5408956 w 6468531"/>
              <a:gd name="connsiteY104" fmla="*/ 2684754 h 4914348"/>
              <a:gd name="connsiteX105" fmla="*/ 5412196 w 6468531"/>
              <a:gd name="connsiteY105" fmla="*/ 2687182 h 4914348"/>
              <a:gd name="connsiteX106" fmla="*/ 5519008 w 6468531"/>
              <a:gd name="connsiteY106" fmla="*/ 2661728 h 4914348"/>
              <a:gd name="connsiteX107" fmla="*/ 5499914 w 6468531"/>
              <a:gd name="connsiteY107" fmla="*/ 2670491 h 4914348"/>
              <a:gd name="connsiteX108" fmla="*/ 5542838 w 6468531"/>
              <a:gd name="connsiteY108" fmla="*/ 2662282 h 4914348"/>
              <a:gd name="connsiteX109" fmla="*/ 610623 w 6468531"/>
              <a:gd name="connsiteY109" fmla="*/ 1628619 h 4914348"/>
              <a:gd name="connsiteX110" fmla="*/ 615487 w 6468531"/>
              <a:gd name="connsiteY110" fmla="*/ 1631356 h 4914348"/>
              <a:gd name="connsiteX111" fmla="*/ 634952 w 6468531"/>
              <a:gd name="connsiteY111" fmla="*/ 1638652 h 4914348"/>
              <a:gd name="connsiteX112" fmla="*/ 620355 w 6468531"/>
              <a:gd name="connsiteY112" fmla="*/ 1645953 h 4914348"/>
              <a:gd name="connsiteX113" fmla="*/ 605759 w 6468531"/>
              <a:gd name="connsiteY113" fmla="*/ 1631356 h 4914348"/>
              <a:gd name="connsiteX114" fmla="*/ 610623 w 6468531"/>
              <a:gd name="connsiteY114" fmla="*/ 1628619 h 4914348"/>
              <a:gd name="connsiteX115" fmla="*/ 340585 w 6468531"/>
              <a:gd name="connsiteY115" fmla="*/ 1616755 h 4914348"/>
              <a:gd name="connsiteX116" fmla="*/ 350317 w 6468531"/>
              <a:gd name="connsiteY116" fmla="*/ 1620405 h 4914348"/>
              <a:gd name="connsiteX117" fmla="*/ 340585 w 6468531"/>
              <a:gd name="connsiteY117" fmla="*/ 1624056 h 4914348"/>
              <a:gd name="connsiteX118" fmla="*/ 335721 w 6468531"/>
              <a:gd name="connsiteY118" fmla="*/ 1620405 h 4914348"/>
              <a:gd name="connsiteX119" fmla="*/ 340585 w 6468531"/>
              <a:gd name="connsiteY119" fmla="*/ 1616755 h 4914348"/>
              <a:gd name="connsiteX120" fmla="*/ 1727256 w 6468531"/>
              <a:gd name="connsiteY120" fmla="*/ 996405 h 4914348"/>
              <a:gd name="connsiteX121" fmla="*/ 1736989 w 6468531"/>
              <a:gd name="connsiteY121" fmla="*/ 1000055 h 4914348"/>
              <a:gd name="connsiteX122" fmla="*/ 1732120 w 6468531"/>
              <a:gd name="connsiteY122" fmla="*/ 1003705 h 4914348"/>
              <a:gd name="connsiteX123" fmla="*/ 1722392 w 6468531"/>
              <a:gd name="connsiteY123" fmla="*/ 1000055 h 4914348"/>
              <a:gd name="connsiteX124" fmla="*/ 1727256 w 6468531"/>
              <a:gd name="connsiteY124" fmla="*/ 996405 h 4914348"/>
              <a:gd name="connsiteX125" fmla="*/ 1736993 w 6468531"/>
              <a:gd name="connsiteY125" fmla="*/ 945315 h 4914348"/>
              <a:gd name="connsiteX126" fmla="*/ 1736993 w 6468531"/>
              <a:gd name="connsiteY126" fmla="*/ 952611 h 4914348"/>
              <a:gd name="connsiteX127" fmla="*/ 1736993 w 6468531"/>
              <a:gd name="connsiteY127" fmla="*/ 959911 h 4914348"/>
              <a:gd name="connsiteX128" fmla="*/ 1729693 w 6468531"/>
              <a:gd name="connsiteY128" fmla="*/ 952611 h 4914348"/>
              <a:gd name="connsiteX129" fmla="*/ 1736993 w 6468531"/>
              <a:gd name="connsiteY129" fmla="*/ 945315 h 4914348"/>
              <a:gd name="connsiteX130" fmla="*/ 2307716 w 6468531"/>
              <a:gd name="connsiteY130" fmla="*/ 620543 h 4914348"/>
              <a:gd name="connsiteX131" fmla="*/ 2316474 w 6468531"/>
              <a:gd name="connsiteY131" fmla="*/ 621759 h 4914348"/>
              <a:gd name="connsiteX132" fmla="*/ 2328151 w 6468531"/>
              <a:gd name="connsiteY132" fmla="*/ 626627 h 4914348"/>
              <a:gd name="connsiteX133" fmla="*/ 2310635 w 6468531"/>
              <a:gd name="connsiteY133" fmla="*/ 631491 h 4914348"/>
              <a:gd name="connsiteX134" fmla="*/ 2298958 w 6468531"/>
              <a:gd name="connsiteY134" fmla="*/ 626627 h 4914348"/>
              <a:gd name="connsiteX135" fmla="*/ 2307716 w 6468531"/>
              <a:gd name="connsiteY135" fmla="*/ 620543 h 4914348"/>
              <a:gd name="connsiteX136" fmla="*/ 2587238 w 6468531"/>
              <a:gd name="connsiteY136" fmla="*/ 478225 h 4914348"/>
              <a:gd name="connsiteX137" fmla="*/ 2590889 w 6468531"/>
              <a:gd name="connsiteY137" fmla="*/ 492822 h 4914348"/>
              <a:gd name="connsiteX138" fmla="*/ 2587238 w 6468531"/>
              <a:gd name="connsiteY138" fmla="*/ 492822 h 4914348"/>
              <a:gd name="connsiteX139" fmla="*/ 2583588 w 6468531"/>
              <a:gd name="connsiteY139" fmla="*/ 492822 h 4914348"/>
              <a:gd name="connsiteX140" fmla="*/ 2587238 w 6468531"/>
              <a:gd name="connsiteY140" fmla="*/ 478225 h 4914348"/>
              <a:gd name="connsiteX141" fmla="*/ 3527257 w 6468531"/>
              <a:gd name="connsiteY141" fmla="*/ 453411 h 4914348"/>
              <a:gd name="connsiteX142" fmla="*/ 3539664 w 6468531"/>
              <a:gd name="connsiteY142" fmla="*/ 460709 h 4914348"/>
              <a:gd name="connsiteX143" fmla="*/ 3510471 w 6468531"/>
              <a:gd name="connsiteY143" fmla="*/ 472387 h 4914348"/>
              <a:gd name="connsiteX144" fmla="*/ 3487116 w 6468531"/>
              <a:gd name="connsiteY144" fmla="*/ 460709 h 4914348"/>
              <a:gd name="connsiteX145" fmla="*/ 3510471 w 6468531"/>
              <a:gd name="connsiteY145" fmla="*/ 454871 h 4914348"/>
              <a:gd name="connsiteX146" fmla="*/ 3527257 w 6468531"/>
              <a:gd name="connsiteY146" fmla="*/ 453411 h 4914348"/>
              <a:gd name="connsiteX147" fmla="*/ 3163799 w 6468531"/>
              <a:gd name="connsiteY147" fmla="*/ 441736 h 4914348"/>
              <a:gd name="connsiteX148" fmla="*/ 3174750 w 6468531"/>
              <a:gd name="connsiteY148" fmla="*/ 446600 h 4914348"/>
              <a:gd name="connsiteX149" fmla="*/ 3163799 w 6468531"/>
              <a:gd name="connsiteY149" fmla="*/ 456333 h 4914348"/>
              <a:gd name="connsiteX150" fmla="*/ 3152853 w 6468531"/>
              <a:gd name="connsiteY150" fmla="*/ 451469 h 4914348"/>
              <a:gd name="connsiteX151" fmla="*/ 3163799 w 6468531"/>
              <a:gd name="connsiteY151" fmla="*/ 441736 h 4914348"/>
              <a:gd name="connsiteX152" fmla="*/ 2678468 w 6468531"/>
              <a:gd name="connsiteY152" fmla="*/ 434435 h 4914348"/>
              <a:gd name="connsiteX153" fmla="*/ 2678468 w 6468531"/>
              <a:gd name="connsiteY153" fmla="*/ 441731 h 4914348"/>
              <a:gd name="connsiteX154" fmla="*/ 2671168 w 6468531"/>
              <a:gd name="connsiteY154" fmla="*/ 449032 h 4914348"/>
              <a:gd name="connsiteX155" fmla="*/ 2663871 w 6468531"/>
              <a:gd name="connsiteY155" fmla="*/ 441731 h 4914348"/>
              <a:gd name="connsiteX156" fmla="*/ 2678468 w 6468531"/>
              <a:gd name="connsiteY156" fmla="*/ 434435 h 4914348"/>
              <a:gd name="connsiteX157" fmla="*/ 3044425 w 6468531"/>
              <a:gd name="connsiteY157" fmla="*/ 317663 h 4914348"/>
              <a:gd name="connsiteX158" fmla="*/ 3060065 w 6468531"/>
              <a:gd name="connsiteY158" fmla="*/ 335910 h 4914348"/>
              <a:gd name="connsiteX159" fmla="*/ 3049639 w 6468531"/>
              <a:gd name="connsiteY159" fmla="*/ 348074 h 4914348"/>
              <a:gd name="connsiteX160" fmla="*/ 3028785 w 6468531"/>
              <a:gd name="connsiteY160" fmla="*/ 335910 h 4914348"/>
              <a:gd name="connsiteX161" fmla="*/ 3044425 w 6468531"/>
              <a:gd name="connsiteY161" fmla="*/ 317663 h 4914348"/>
              <a:gd name="connsiteX162" fmla="*/ 5426944 w 6468531"/>
              <a:gd name="connsiteY162" fmla="*/ 2074 h 4914348"/>
              <a:gd name="connsiteX163" fmla="*/ 5576463 w 6468531"/>
              <a:gd name="connsiteY163" fmla="*/ 18671 h 4914348"/>
              <a:gd name="connsiteX164" fmla="*/ 5593078 w 6468531"/>
              <a:gd name="connsiteY164" fmla="*/ 35263 h 4914348"/>
              <a:gd name="connsiteX165" fmla="*/ 5659528 w 6468531"/>
              <a:gd name="connsiteY165" fmla="*/ 101634 h 4914348"/>
              <a:gd name="connsiteX166" fmla="*/ 5670603 w 6468531"/>
              <a:gd name="connsiteY166" fmla="*/ 123757 h 4914348"/>
              <a:gd name="connsiteX167" fmla="*/ 5648453 w 6468531"/>
              <a:gd name="connsiteY167" fmla="*/ 134818 h 4914348"/>
              <a:gd name="connsiteX168" fmla="*/ 5604153 w 6468531"/>
              <a:gd name="connsiteY168" fmla="*/ 156940 h 4914348"/>
              <a:gd name="connsiteX169" fmla="*/ 5576463 w 6468531"/>
              <a:gd name="connsiteY169" fmla="*/ 184593 h 4914348"/>
              <a:gd name="connsiteX170" fmla="*/ 5377104 w 6468531"/>
              <a:gd name="connsiteY170" fmla="*/ 273087 h 4914348"/>
              <a:gd name="connsiteX171" fmla="*/ 5282965 w 6468531"/>
              <a:gd name="connsiteY171" fmla="*/ 328398 h 4914348"/>
              <a:gd name="connsiteX172" fmla="*/ 5138985 w 6468531"/>
              <a:gd name="connsiteY172" fmla="*/ 422423 h 4914348"/>
              <a:gd name="connsiteX173" fmla="*/ 4961776 w 6468531"/>
              <a:gd name="connsiteY173" fmla="*/ 560692 h 4914348"/>
              <a:gd name="connsiteX174" fmla="*/ 4917476 w 6468531"/>
              <a:gd name="connsiteY174" fmla="*/ 582819 h 4914348"/>
              <a:gd name="connsiteX175" fmla="*/ 4751347 w 6468531"/>
              <a:gd name="connsiteY175" fmla="*/ 687905 h 4914348"/>
              <a:gd name="connsiteX176" fmla="*/ 4740272 w 6468531"/>
              <a:gd name="connsiteY176" fmla="*/ 698966 h 4914348"/>
              <a:gd name="connsiteX177" fmla="*/ 4756882 w 6468531"/>
              <a:gd name="connsiteY177" fmla="*/ 704501 h 4914348"/>
              <a:gd name="connsiteX178" fmla="*/ 4900862 w 6468531"/>
              <a:gd name="connsiteY178" fmla="*/ 715562 h 4914348"/>
              <a:gd name="connsiteX179" fmla="*/ 4989466 w 6468531"/>
              <a:gd name="connsiteY179" fmla="*/ 726624 h 4914348"/>
              <a:gd name="connsiteX180" fmla="*/ 5000541 w 6468531"/>
              <a:gd name="connsiteY180" fmla="*/ 732154 h 4914348"/>
              <a:gd name="connsiteX181" fmla="*/ 4989466 w 6468531"/>
              <a:gd name="connsiteY181" fmla="*/ 743215 h 4914348"/>
              <a:gd name="connsiteX182" fmla="*/ 4701507 w 6468531"/>
              <a:gd name="connsiteY182" fmla="*/ 726624 h 4914348"/>
              <a:gd name="connsiteX183" fmla="*/ 4679357 w 6468531"/>
              <a:gd name="connsiteY183" fmla="*/ 737685 h 4914348"/>
              <a:gd name="connsiteX184" fmla="*/ 4701507 w 6468531"/>
              <a:gd name="connsiteY184" fmla="*/ 748746 h 4914348"/>
              <a:gd name="connsiteX185" fmla="*/ 4989466 w 6468531"/>
              <a:gd name="connsiteY185" fmla="*/ 754277 h 4914348"/>
              <a:gd name="connsiteX186" fmla="*/ 5028231 w 6468531"/>
              <a:gd name="connsiteY186" fmla="*/ 759807 h 4914348"/>
              <a:gd name="connsiteX187" fmla="*/ 5044846 w 6468531"/>
              <a:gd name="connsiteY187" fmla="*/ 743215 h 4914348"/>
              <a:gd name="connsiteX188" fmla="*/ 5055921 w 6468531"/>
              <a:gd name="connsiteY188" fmla="*/ 726624 h 4914348"/>
              <a:gd name="connsiteX189" fmla="*/ 5089146 w 6468531"/>
              <a:gd name="connsiteY189" fmla="*/ 737685 h 4914348"/>
              <a:gd name="connsiteX190" fmla="*/ 5094685 w 6468531"/>
              <a:gd name="connsiteY190" fmla="*/ 754277 h 4914348"/>
              <a:gd name="connsiteX191" fmla="*/ 5116835 w 6468531"/>
              <a:gd name="connsiteY191" fmla="*/ 759807 h 4914348"/>
              <a:gd name="connsiteX192" fmla="*/ 5116835 w 6468531"/>
              <a:gd name="connsiteY192" fmla="*/ 748746 h 4914348"/>
              <a:gd name="connsiteX193" fmla="*/ 5127910 w 6468531"/>
              <a:gd name="connsiteY193" fmla="*/ 732154 h 4914348"/>
              <a:gd name="connsiteX194" fmla="*/ 5210975 w 6468531"/>
              <a:gd name="connsiteY194" fmla="*/ 737685 h 4914348"/>
              <a:gd name="connsiteX195" fmla="*/ 5399254 w 6468531"/>
              <a:gd name="connsiteY195" fmla="*/ 759807 h 4914348"/>
              <a:gd name="connsiteX196" fmla="*/ 5426944 w 6468531"/>
              <a:gd name="connsiteY196" fmla="*/ 770868 h 4914348"/>
              <a:gd name="connsiteX197" fmla="*/ 5404794 w 6468531"/>
              <a:gd name="connsiteY197" fmla="*/ 787460 h 4914348"/>
              <a:gd name="connsiteX198" fmla="*/ 5399254 w 6468531"/>
              <a:gd name="connsiteY198" fmla="*/ 798526 h 4914348"/>
              <a:gd name="connsiteX199" fmla="*/ 5410334 w 6468531"/>
              <a:gd name="connsiteY199" fmla="*/ 809587 h 4914348"/>
              <a:gd name="connsiteX200" fmla="*/ 5454634 w 6468531"/>
              <a:gd name="connsiteY200" fmla="*/ 815118 h 4914348"/>
              <a:gd name="connsiteX201" fmla="*/ 5471249 w 6468531"/>
              <a:gd name="connsiteY201" fmla="*/ 826179 h 4914348"/>
              <a:gd name="connsiteX202" fmla="*/ 5460169 w 6468531"/>
              <a:gd name="connsiteY202" fmla="*/ 842771 h 4914348"/>
              <a:gd name="connsiteX203" fmla="*/ 5426944 w 6468531"/>
              <a:gd name="connsiteY203" fmla="*/ 864893 h 4914348"/>
              <a:gd name="connsiteX204" fmla="*/ 5415869 w 6468531"/>
              <a:gd name="connsiteY204" fmla="*/ 870424 h 4914348"/>
              <a:gd name="connsiteX205" fmla="*/ 5393719 w 6468531"/>
              <a:gd name="connsiteY205" fmla="*/ 903612 h 4914348"/>
              <a:gd name="connsiteX206" fmla="*/ 5388179 w 6468531"/>
              <a:gd name="connsiteY206" fmla="*/ 887020 h 4914348"/>
              <a:gd name="connsiteX207" fmla="*/ 5360494 w 6468531"/>
              <a:gd name="connsiteY207" fmla="*/ 881490 h 4914348"/>
              <a:gd name="connsiteX208" fmla="*/ 5354954 w 6468531"/>
              <a:gd name="connsiteY208" fmla="*/ 887020 h 4914348"/>
              <a:gd name="connsiteX209" fmla="*/ 5377104 w 6468531"/>
              <a:gd name="connsiteY209" fmla="*/ 898081 h 4914348"/>
              <a:gd name="connsiteX210" fmla="*/ 5393719 w 6468531"/>
              <a:gd name="connsiteY210" fmla="*/ 903612 h 4914348"/>
              <a:gd name="connsiteX211" fmla="*/ 5366029 w 6468531"/>
              <a:gd name="connsiteY211" fmla="*/ 975514 h 4914348"/>
              <a:gd name="connsiteX212" fmla="*/ 5321729 w 6468531"/>
              <a:gd name="connsiteY212" fmla="*/ 997637 h 4914348"/>
              <a:gd name="connsiteX213" fmla="*/ 5260815 w 6468531"/>
              <a:gd name="connsiteY213" fmla="*/ 1025290 h 4914348"/>
              <a:gd name="connsiteX214" fmla="*/ 5233125 w 6468531"/>
              <a:gd name="connsiteY214" fmla="*/ 1030820 h 4914348"/>
              <a:gd name="connsiteX215" fmla="*/ 5089146 w 6468531"/>
              <a:gd name="connsiteY215" fmla="*/ 1086131 h 4914348"/>
              <a:gd name="connsiteX216" fmla="*/ 4995006 w 6468531"/>
              <a:gd name="connsiteY216" fmla="*/ 1130375 h 4914348"/>
              <a:gd name="connsiteX217" fmla="*/ 4989466 w 6468531"/>
              <a:gd name="connsiteY217" fmla="*/ 1130375 h 4914348"/>
              <a:gd name="connsiteX218" fmla="*/ 4995006 w 6468531"/>
              <a:gd name="connsiteY218" fmla="*/ 1135906 h 4914348"/>
              <a:gd name="connsiteX219" fmla="*/ 5127910 w 6468531"/>
              <a:gd name="connsiteY219" fmla="*/ 1141437 h 4914348"/>
              <a:gd name="connsiteX220" fmla="*/ 5233125 w 6468531"/>
              <a:gd name="connsiteY220" fmla="*/ 1141437 h 4914348"/>
              <a:gd name="connsiteX221" fmla="*/ 5244200 w 6468531"/>
              <a:gd name="connsiteY221" fmla="*/ 1158033 h 4914348"/>
              <a:gd name="connsiteX222" fmla="*/ 5194360 w 6468531"/>
              <a:gd name="connsiteY222" fmla="*/ 1213339 h 4914348"/>
              <a:gd name="connsiteX223" fmla="*/ 5183285 w 6468531"/>
              <a:gd name="connsiteY223" fmla="*/ 1229931 h 4914348"/>
              <a:gd name="connsiteX224" fmla="*/ 5205435 w 6468531"/>
              <a:gd name="connsiteY224" fmla="*/ 1246523 h 4914348"/>
              <a:gd name="connsiteX225" fmla="*/ 5321729 w 6468531"/>
              <a:gd name="connsiteY225" fmla="*/ 1224400 h 4914348"/>
              <a:gd name="connsiteX226" fmla="*/ 5521084 w 6468531"/>
              <a:gd name="connsiteY226" fmla="*/ 1191217 h 4914348"/>
              <a:gd name="connsiteX227" fmla="*/ 5526623 w 6468531"/>
              <a:gd name="connsiteY227" fmla="*/ 1196747 h 4914348"/>
              <a:gd name="connsiteX228" fmla="*/ 5515548 w 6468531"/>
              <a:gd name="connsiteY228" fmla="*/ 1207808 h 4914348"/>
              <a:gd name="connsiteX229" fmla="*/ 5432484 w 6468531"/>
              <a:gd name="connsiteY229" fmla="*/ 1224400 h 4914348"/>
              <a:gd name="connsiteX230" fmla="*/ 5299579 w 6468531"/>
              <a:gd name="connsiteY230" fmla="*/ 1290767 h 4914348"/>
              <a:gd name="connsiteX231" fmla="*/ 5244200 w 6468531"/>
              <a:gd name="connsiteY231" fmla="*/ 1318429 h 4914348"/>
              <a:gd name="connsiteX232" fmla="*/ 5227590 w 6468531"/>
              <a:gd name="connsiteY232" fmla="*/ 1329491 h 4914348"/>
              <a:gd name="connsiteX233" fmla="*/ 5249740 w 6468531"/>
              <a:gd name="connsiteY233" fmla="*/ 1340552 h 4914348"/>
              <a:gd name="connsiteX234" fmla="*/ 5354954 w 6468531"/>
              <a:gd name="connsiteY234" fmla="*/ 1329491 h 4914348"/>
              <a:gd name="connsiteX235" fmla="*/ 5504473 w 6468531"/>
              <a:gd name="connsiteY235" fmla="*/ 1318429 h 4914348"/>
              <a:gd name="connsiteX236" fmla="*/ 5626303 w 6468531"/>
              <a:gd name="connsiteY236" fmla="*/ 1329491 h 4914348"/>
              <a:gd name="connsiteX237" fmla="*/ 5648453 w 6468531"/>
              <a:gd name="connsiteY237" fmla="*/ 1323960 h 4914348"/>
              <a:gd name="connsiteX238" fmla="*/ 5681678 w 6468531"/>
              <a:gd name="connsiteY238" fmla="*/ 1335017 h 4914348"/>
              <a:gd name="connsiteX239" fmla="*/ 5759207 w 6468531"/>
              <a:gd name="connsiteY239" fmla="*/ 1373735 h 4914348"/>
              <a:gd name="connsiteX240" fmla="*/ 5781357 w 6468531"/>
              <a:gd name="connsiteY240" fmla="*/ 1384792 h 4914348"/>
              <a:gd name="connsiteX241" fmla="*/ 5759207 w 6468531"/>
              <a:gd name="connsiteY241" fmla="*/ 1401388 h 4914348"/>
              <a:gd name="connsiteX242" fmla="*/ 5748132 w 6468531"/>
              <a:gd name="connsiteY242" fmla="*/ 1412450 h 4914348"/>
              <a:gd name="connsiteX243" fmla="*/ 5714907 w 6468531"/>
              <a:gd name="connsiteY243" fmla="*/ 1489882 h 4914348"/>
              <a:gd name="connsiteX244" fmla="*/ 5714907 w 6468531"/>
              <a:gd name="connsiteY244" fmla="*/ 1500944 h 4914348"/>
              <a:gd name="connsiteX245" fmla="*/ 5709368 w 6468531"/>
              <a:gd name="connsiteY245" fmla="*/ 1489882 h 4914348"/>
              <a:gd name="connsiteX246" fmla="*/ 5653993 w 6468531"/>
              <a:gd name="connsiteY246" fmla="*/ 1467760 h 4914348"/>
              <a:gd name="connsiteX247" fmla="*/ 5615228 w 6468531"/>
              <a:gd name="connsiteY247" fmla="*/ 1478821 h 4914348"/>
              <a:gd name="connsiteX248" fmla="*/ 5565388 w 6468531"/>
              <a:gd name="connsiteY248" fmla="*/ 1500944 h 4914348"/>
              <a:gd name="connsiteX249" fmla="*/ 5581998 w 6468531"/>
              <a:gd name="connsiteY249" fmla="*/ 1556254 h 4914348"/>
              <a:gd name="connsiteX250" fmla="*/ 5570923 w 6468531"/>
              <a:gd name="connsiteY250" fmla="*/ 1611565 h 4914348"/>
              <a:gd name="connsiteX251" fmla="*/ 5526623 w 6468531"/>
              <a:gd name="connsiteY251" fmla="*/ 1639218 h 4914348"/>
              <a:gd name="connsiteX252" fmla="*/ 5498934 w 6468531"/>
              <a:gd name="connsiteY252" fmla="*/ 1655810 h 4914348"/>
              <a:gd name="connsiteX253" fmla="*/ 5476784 w 6468531"/>
              <a:gd name="connsiteY253" fmla="*/ 1677937 h 4914348"/>
              <a:gd name="connsiteX254" fmla="*/ 5504473 w 6468531"/>
              <a:gd name="connsiteY254" fmla="*/ 1683467 h 4914348"/>
              <a:gd name="connsiteX255" fmla="*/ 5537698 w 6468531"/>
              <a:gd name="connsiteY255" fmla="*/ 1705590 h 4914348"/>
              <a:gd name="connsiteX256" fmla="*/ 5521084 w 6468531"/>
              <a:gd name="connsiteY256" fmla="*/ 1738773 h 4914348"/>
              <a:gd name="connsiteX257" fmla="*/ 5451173 w 6468531"/>
              <a:gd name="connsiteY257" fmla="*/ 1781639 h 4914348"/>
              <a:gd name="connsiteX258" fmla="*/ 5381480 w 6468531"/>
              <a:gd name="connsiteY258" fmla="*/ 1814164 h 4914348"/>
              <a:gd name="connsiteX259" fmla="*/ 5404303 w 6468531"/>
              <a:gd name="connsiteY259" fmla="*/ 1812054 h 4914348"/>
              <a:gd name="connsiteX260" fmla="*/ 5570072 w 6468531"/>
              <a:gd name="connsiteY260" fmla="*/ 1800225 h 4914348"/>
              <a:gd name="connsiteX261" fmla="*/ 5676639 w 6468531"/>
              <a:gd name="connsiteY261" fmla="*/ 1812054 h 4914348"/>
              <a:gd name="connsiteX262" fmla="*/ 5688481 w 6468531"/>
              <a:gd name="connsiteY262" fmla="*/ 1823879 h 4914348"/>
              <a:gd name="connsiteX263" fmla="*/ 5710681 w 6468531"/>
              <a:gd name="connsiteY263" fmla="*/ 1849009 h 4914348"/>
              <a:gd name="connsiteX264" fmla="*/ 5715742 w 6468531"/>
              <a:gd name="connsiteY264" fmla="*/ 1853469 h 4914348"/>
              <a:gd name="connsiteX265" fmla="*/ 5764742 w 6468531"/>
              <a:gd name="connsiteY265" fmla="*/ 1849390 h 4914348"/>
              <a:gd name="connsiteX266" fmla="*/ 5892112 w 6468531"/>
              <a:gd name="connsiteY266" fmla="*/ 1832798 h 4914348"/>
              <a:gd name="connsiteX267" fmla="*/ 5953026 w 6468531"/>
              <a:gd name="connsiteY267" fmla="*/ 1783022 h 4914348"/>
              <a:gd name="connsiteX268" fmla="*/ 5986251 w 6468531"/>
              <a:gd name="connsiteY268" fmla="*/ 1760900 h 4914348"/>
              <a:gd name="connsiteX269" fmla="*/ 6063781 w 6468531"/>
              <a:gd name="connsiteY269" fmla="*/ 1716651 h 4914348"/>
              <a:gd name="connsiteX270" fmla="*/ 6085931 w 6468531"/>
              <a:gd name="connsiteY270" fmla="*/ 1694528 h 4914348"/>
              <a:gd name="connsiteX271" fmla="*/ 6130231 w 6468531"/>
              <a:gd name="connsiteY271" fmla="*/ 1650279 h 4914348"/>
              <a:gd name="connsiteX272" fmla="*/ 6146845 w 6468531"/>
              <a:gd name="connsiteY272" fmla="*/ 1644748 h 4914348"/>
              <a:gd name="connsiteX273" fmla="*/ 6157920 w 6468531"/>
              <a:gd name="connsiteY273" fmla="*/ 1644748 h 4914348"/>
              <a:gd name="connsiteX274" fmla="*/ 6218835 w 6468531"/>
              <a:gd name="connsiteY274" fmla="*/ 1650279 h 4914348"/>
              <a:gd name="connsiteX275" fmla="*/ 6235450 w 6468531"/>
              <a:gd name="connsiteY275" fmla="*/ 1711120 h 4914348"/>
              <a:gd name="connsiteX276" fmla="*/ 6257600 w 6468531"/>
              <a:gd name="connsiteY276" fmla="*/ 1733242 h 4914348"/>
              <a:gd name="connsiteX277" fmla="*/ 6274215 w 6468531"/>
              <a:gd name="connsiteY277" fmla="*/ 1777492 h 4914348"/>
              <a:gd name="connsiteX278" fmla="*/ 6285290 w 6468531"/>
              <a:gd name="connsiteY278" fmla="*/ 1810676 h 4914348"/>
              <a:gd name="connsiteX279" fmla="*/ 6384964 w 6468531"/>
              <a:gd name="connsiteY279" fmla="*/ 1832798 h 4914348"/>
              <a:gd name="connsiteX280" fmla="*/ 6462494 w 6468531"/>
              <a:gd name="connsiteY280" fmla="*/ 1877048 h 4914348"/>
              <a:gd name="connsiteX281" fmla="*/ 6456959 w 6468531"/>
              <a:gd name="connsiteY281" fmla="*/ 1904701 h 4914348"/>
              <a:gd name="connsiteX282" fmla="*/ 6390504 w 6468531"/>
              <a:gd name="connsiteY282" fmla="*/ 1976598 h 4914348"/>
              <a:gd name="connsiteX283" fmla="*/ 6312975 w 6468531"/>
              <a:gd name="connsiteY283" fmla="*/ 2026374 h 4914348"/>
              <a:gd name="connsiteX284" fmla="*/ 6296365 w 6468531"/>
              <a:gd name="connsiteY284" fmla="*/ 2037435 h 4914348"/>
              <a:gd name="connsiteX285" fmla="*/ 6268675 w 6468531"/>
              <a:gd name="connsiteY285" fmla="*/ 2054027 h 4914348"/>
              <a:gd name="connsiteX286" fmla="*/ 6119156 w 6468531"/>
              <a:gd name="connsiteY286" fmla="*/ 2070623 h 4914348"/>
              <a:gd name="connsiteX287" fmla="*/ 5919801 w 6468531"/>
              <a:gd name="connsiteY287" fmla="*/ 2098276 h 4914348"/>
              <a:gd name="connsiteX288" fmla="*/ 5748132 w 6468531"/>
              <a:gd name="connsiteY288" fmla="*/ 2142521 h 4914348"/>
              <a:gd name="connsiteX289" fmla="*/ 5720443 w 6468531"/>
              <a:gd name="connsiteY289" fmla="*/ 2159112 h 4914348"/>
              <a:gd name="connsiteX290" fmla="*/ 5753667 w 6468531"/>
              <a:gd name="connsiteY290" fmla="*/ 2170174 h 4914348"/>
              <a:gd name="connsiteX291" fmla="*/ 5925337 w 6468531"/>
              <a:gd name="connsiteY291" fmla="*/ 2136990 h 4914348"/>
              <a:gd name="connsiteX292" fmla="*/ 6036091 w 6468531"/>
              <a:gd name="connsiteY292" fmla="*/ 2131459 h 4914348"/>
              <a:gd name="connsiteX293" fmla="*/ 6163460 w 6468531"/>
              <a:gd name="connsiteY293" fmla="*/ 2103806 h 4914348"/>
              <a:gd name="connsiteX294" fmla="*/ 6268675 w 6468531"/>
              <a:gd name="connsiteY294" fmla="*/ 2098276 h 4914348"/>
              <a:gd name="connsiteX295" fmla="*/ 6268675 w 6468531"/>
              <a:gd name="connsiteY295" fmla="*/ 2114868 h 4914348"/>
              <a:gd name="connsiteX296" fmla="*/ 6240985 w 6468531"/>
              <a:gd name="connsiteY296" fmla="*/ 2164643 h 4914348"/>
              <a:gd name="connsiteX297" fmla="*/ 6213300 w 6468531"/>
              <a:gd name="connsiteY297" fmla="*/ 2214418 h 4914348"/>
              <a:gd name="connsiteX298" fmla="*/ 6202220 w 6468531"/>
              <a:gd name="connsiteY298" fmla="*/ 2253137 h 4914348"/>
              <a:gd name="connsiteX299" fmla="*/ 6180070 w 6468531"/>
              <a:gd name="connsiteY299" fmla="*/ 2269729 h 4914348"/>
              <a:gd name="connsiteX300" fmla="*/ 6135770 w 6468531"/>
              <a:gd name="connsiteY300" fmla="*/ 2275260 h 4914348"/>
              <a:gd name="connsiteX301" fmla="*/ 6047166 w 6468531"/>
              <a:gd name="connsiteY301" fmla="*/ 2280790 h 4914348"/>
              <a:gd name="connsiteX302" fmla="*/ 5914262 w 6468531"/>
              <a:gd name="connsiteY302" fmla="*/ 2269729 h 4914348"/>
              <a:gd name="connsiteX303" fmla="*/ 5908726 w 6468531"/>
              <a:gd name="connsiteY303" fmla="*/ 2269729 h 4914348"/>
              <a:gd name="connsiteX304" fmla="*/ 5831197 w 6468531"/>
              <a:gd name="connsiteY304" fmla="*/ 2275260 h 4914348"/>
              <a:gd name="connsiteX305" fmla="*/ 5797972 w 6468531"/>
              <a:gd name="connsiteY305" fmla="*/ 2247602 h 4914348"/>
              <a:gd name="connsiteX306" fmla="*/ 5786897 w 6468531"/>
              <a:gd name="connsiteY306" fmla="*/ 2236541 h 4914348"/>
              <a:gd name="connsiteX307" fmla="*/ 5770282 w 6468531"/>
              <a:gd name="connsiteY307" fmla="*/ 2247602 h 4914348"/>
              <a:gd name="connsiteX308" fmla="*/ 5770282 w 6468531"/>
              <a:gd name="connsiteY308" fmla="*/ 2325035 h 4914348"/>
              <a:gd name="connsiteX309" fmla="*/ 5781357 w 6468531"/>
              <a:gd name="connsiteY309" fmla="*/ 2341631 h 4914348"/>
              <a:gd name="connsiteX310" fmla="*/ 5869962 w 6468531"/>
              <a:gd name="connsiteY310" fmla="*/ 2380345 h 4914348"/>
              <a:gd name="connsiteX311" fmla="*/ 5892112 w 6468531"/>
              <a:gd name="connsiteY311" fmla="*/ 2402468 h 4914348"/>
              <a:gd name="connsiteX312" fmla="*/ 5897651 w 6468531"/>
              <a:gd name="connsiteY312" fmla="*/ 2419060 h 4914348"/>
              <a:gd name="connsiteX313" fmla="*/ 5925337 w 6468531"/>
              <a:gd name="connsiteY313" fmla="*/ 2435656 h 4914348"/>
              <a:gd name="connsiteX314" fmla="*/ 5853347 w 6468531"/>
              <a:gd name="connsiteY314" fmla="*/ 2485431 h 4914348"/>
              <a:gd name="connsiteX315" fmla="*/ 5797972 w 6468531"/>
              <a:gd name="connsiteY315" fmla="*/ 2496493 h 4914348"/>
              <a:gd name="connsiteX316" fmla="*/ 5786897 w 6468531"/>
              <a:gd name="connsiteY316" fmla="*/ 2529681 h 4914348"/>
              <a:gd name="connsiteX317" fmla="*/ 5764742 w 6468531"/>
              <a:gd name="connsiteY317" fmla="*/ 2557334 h 4914348"/>
              <a:gd name="connsiteX318" fmla="*/ 5642913 w 6468531"/>
              <a:gd name="connsiteY318" fmla="*/ 2601583 h 4914348"/>
              <a:gd name="connsiteX319" fmla="*/ 5576463 w 6468531"/>
              <a:gd name="connsiteY319" fmla="*/ 2634767 h 4914348"/>
              <a:gd name="connsiteX320" fmla="*/ 5559848 w 6468531"/>
              <a:gd name="connsiteY320" fmla="*/ 2656889 h 4914348"/>
              <a:gd name="connsiteX321" fmla="*/ 5558959 w 6468531"/>
              <a:gd name="connsiteY321" fmla="*/ 2659199 h 4914348"/>
              <a:gd name="connsiteX322" fmla="*/ 5564646 w 6468531"/>
              <a:gd name="connsiteY322" fmla="*/ 2658111 h 4914348"/>
              <a:gd name="connsiteX323" fmla="*/ 5637169 w 6468531"/>
              <a:gd name="connsiteY323" fmla="*/ 2647764 h 4914348"/>
              <a:gd name="connsiteX324" fmla="*/ 5641117 w 6468531"/>
              <a:gd name="connsiteY324" fmla="*/ 2651706 h 4914348"/>
              <a:gd name="connsiteX325" fmla="*/ 5633223 w 6468531"/>
              <a:gd name="connsiteY325" fmla="*/ 2659589 h 4914348"/>
              <a:gd name="connsiteX326" fmla="*/ 5574021 w 6468531"/>
              <a:gd name="connsiteY326" fmla="*/ 2671415 h 4914348"/>
              <a:gd name="connsiteX327" fmla="*/ 5479296 w 6468531"/>
              <a:gd name="connsiteY327" fmla="*/ 2718717 h 4914348"/>
              <a:gd name="connsiteX328" fmla="*/ 5439825 w 6468531"/>
              <a:gd name="connsiteY328" fmla="*/ 2738432 h 4914348"/>
              <a:gd name="connsiteX329" fmla="*/ 5427986 w 6468531"/>
              <a:gd name="connsiteY329" fmla="*/ 2746316 h 4914348"/>
              <a:gd name="connsiteX330" fmla="*/ 5443773 w 6468531"/>
              <a:gd name="connsiteY330" fmla="*/ 2754200 h 4914348"/>
              <a:gd name="connsiteX331" fmla="*/ 5518763 w 6468531"/>
              <a:gd name="connsiteY331" fmla="*/ 2746316 h 4914348"/>
              <a:gd name="connsiteX332" fmla="*/ 5625330 w 6468531"/>
              <a:gd name="connsiteY332" fmla="*/ 2738432 h 4914348"/>
              <a:gd name="connsiteX333" fmla="*/ 5712162 w 6468531"/>
              <a:gd name="connsiteY333" fmla="*/ 2746316 h 4914348"/>
              <a:gd name="connsiteX334" fmla="*/ 5727949 w 6468531"/>
              <a:gd name="connsiteY334" fmla="*/ 2742374 h 4914348"/>
              <a:gd name="connsiteX335" fmla="*/ 5751629 w 6468531"/>
              <a:gd name="connsiteY335" fmla="*/ 2750254 h 4914348"/>
              <a:gd name="connsiteX336" fmla="*/ 5806887 w 6468531"/>
              <a:gd name="connsiteY336" fmla="*/ 2777851 h 4914348"/>
              <a:gd name="connsiteX337" fmla="*/ 5822674 w 6468531"/>
              <a:gd name="connsiteY337" fmla="*/ 2785731 h 4914348"/>
              <a:gd name="connsiteX338" fmla="*/ 5806887 w 6468531"/>
              <a:gd name="connsiteY338" fmla="*/ 2797560 h 4914348"/>
              <a:gd name="connsiteX339" fmla="*/ 5798993 w 6468531"/>
              <a:gd name="connsiteY339" fmla="*/ 2805443 h 4914348"/>
              <a:gd name="connsiteX340" fmla="*/ 5775313 w 6468531"/>
              <a:gd name="connsiteY340" fmla="*/ 2860632 h 4914348"/>
              <a:gd name="connsiteX341" fmla="*/ 5775313 w 6468531"/>
              <a:gd name="connsiteY341" fmla="*/ 2868516 h 4914348"/>
              <a:gd name="connsiteX342" fmla="*/ 5771364 w 6468531"/>
              <a:gd name="connsiteY342" fmla="*/ 2860632 h 4914348"/>
              <a:gd name="connsiteX343" fmla="*/ 5731897 w 6468531"/>
              <a:gd name="connsiteY343" fmla="*/ 2844865 h 4914348"/>
              <a:gd name="connsiteX344" fmla="*/ 5704268 w 6468531"/>
              <a:gd name="connsiteY344" fmla="*/ 2852749 h 4914348"/>
              <a:gd name="connsiteX345" fmla="*/ 5668746 w 6468531"/>
              <a:gd name="connsiteY345" fmla="*/ 2868516 h 4914348"/>
              <a:gd name="connsiteX346" fmla="*/ 5680584 w 6468531"/>
              <a:gd name="connsiteY346" fmla="*/ 2907937 h 4914348"/>
              <a:gd name="connsiteX347" fmla="*/ 5672691 w 6468531"/>
              <a:gd name="connsiteY347" fmla="*/ 2947359 h 4914348"/>
              <a:gd name="connsiteX348" fmla="*/ 5641117 w 6468531"/>
              <a:gd name="connsiteY348" fmla="*/ 2967068 h 4914348"/>
              <a:gd name="connsiteX349" fmla="*/ 5621382 w 6468531"/>
              <a:gd name="connsiteY349" fmla="*/ 2978894 h 4914348"/>
              <a:gd name="connsiteX350" fmla="*/ 5605595 w 6468531"/>
              <a:gd name="connsiteY350" fmla="*/ 2994664 h 4914348"/>
              <a:gd name="connsiteX351" fmla="*/ 5625330 w 6468531"/>
              <a:gd name="connsiteY351" fmla="*/ 2998606 h 4914348"/>
              <a:gd name="connsiteX352" fmla="*/ 5649010 w 6468531"/>
              <a:gd name="connsiteY352" fmla="*/ 3014373 h 4914348"/>
              <a:gd name="connsiteX353" fmla="*/ 5637169 w 6468531"/>
              <a:gd name="connsiteY353" fmla="*/ 3038024 h 4914348"/>
              <a:gd name="connsiteX354" fmla="*/ 5534550 w 6468531"/>
              <a:gd name="connsiteY354" fmla="*/ 3093213 h 4914348"/>
              <a:gd name="connsiteX355" fmla="*/ 5463505 w 6468531"/>
              <a:gd name="connsiteY355" fmla="*/ 3136577 h 4914348"/>
              <a:gd name="connsiteX356" fmla="*/ 5459560 w 6468531"/>
              <a:gd name="connsiteY356" fmla="*/ 3144460 h 4914348"/>
              <a:gd name="connsiteX357" fmla="*/ 5467454 w 6468531"/>
              <a:gd name="connsiteY357" fmla="*/ 3148402 h 4914348"/>
              <a:gd name="connsiteX358" fmla="*/ 5514818 w 6468531"/>
              <a:gd name="connsiteY358" fmla="*/ 3144460 h 4914348"/>
              <a:gd name="connsiteX359" fmla="*/ 5810832 w 6468531"/>
              <a:gd name="connsiteY359" fmla="*/ 3116864 h 4914348"/>
              <a:gd name="connsiteX360" fmla="*/ 5901612 w 6468531"/>
              <a:gd name="connsiteY360" fmla="*/ 3105039 h 4914348"/>
              <a:gd name="connsiteX361" fmla="*/ 5945028 w 6468531"/>
              <a:gd name="connsiteY361" fmla="*/ 3069562 h 4914348"/>
              <a:gd name="connsiteX362" fmla="*/ 5968708 w 6468531"/>
              <a:gd name="connsiteY362" fmla="*/ 3053795 h 4914348"/>
              <a:gd name="connsiteX363" fmla="*/ 6023966 w 6468531"/>
              <a:gd name="connsiteY363" fmla="*/ 3022257 h 4914348"/>
              <a:gd name="connsiteX364" fmla="*/ 6039753 w 6468531"/>
              <a:gd name="connsiteY364" fmla="*/ 3006490 h 4914348"/>
              <a:gd name="connsiteX365" fmla="*/ 6071327 w 6468531"/>
              <a:gd name="connsiteY365" fmla="*/ 2974952 h 4914348"/>
              <a:gd name="connsiteX366" fmla="*/ 6083169 w 6468531"/>
              <a:gd name="connsiteY366" fmla="*/ 2971010 h 4914348"/>
              <a:gd name="connsiteX367" fmla="*/ 6091062 w 6468531"/>
              <a:gd name="connsiteY367" fmla="*/ 2971010 h 4914348"/>
              <a:gd name="connsiteX368" fmla="*/ 6134478 w 6468531"/>
              <a:gd name="connsiteY368" fmla="*/ 2974952 h 4914348"/>
              <a:gd name="connsiteX369" fmla="*/ 6146320 w 6468531"/>
              <a:gd name="connsiteY369" fmla="*/ 3018315 h 4914348"/>
              <a:gd name="connsiteX370" fmla="*/ 6162107 w 6468531"/>
              <a:gd name="connsiteY370" fmla="*/ 3034082 h 4914348"/>
              <a:gd name="connsiteX371" fmla="*/ 6173948 w 6468531"/>
              <a:gd name="connsiteY371" fmla="*/ 3065620 h 4914348"/>
              <a:gd name="connsiteX372" fmla="*/ 6181842 w 6468531"/>
              <a:gd name="connsiteY372" fmla="*/ 3089271 h 4914348"/>
              <a:gd name="connsiteX373" fmla="*/ 6252883 w 6468531"/>
              <a:gd name="connsiteY373" fmla="*/ 3105039 h 4914348"/>
              <a:gd name="connsiteX374" fmla="*/ 6308141 w 6468531"/>
              <a:gd name="connsiteY374" fmla="*/ 3136577 h 4914348"/>
              <a:gd name="connsiteX375" fmla="*/ 6304196 w 6468531"/>
              <a:gd name="connsiteY375" fmla="*/ 3156286 h 4914348"/>
              <a:gd name="connsiteX376" fmla="*/ 6256832 w 6468531"/>
              <a:gd name="connsiteY376" fmla="*/ 3207529 h 4914348"/>
              <a:gd name="connsiteX377" fmla="*/ 6201574 w 6468531"/>
              <a:gd name="connsiteY377" fmla="*/ 3243006 h 4914348"/>
              <a:gd name="connsiteX378" fmla="*/ 6189735 w 6468531"/>
              <a:gd name="connsiteY378" fmla="*/ 3250890 h 4914348"/>
              <a:gd name="connsiteX379" fmla="*/ 6170000 w 6468531"/>
              <a:gd name="connsiteY379" fmla="*/ 3262715 h 4914348"/>
              <a:gd name="connsiteX380" fmla="*/ 6063433 w 6468531"/>
              <a:gd name="connsiteY380" fmla="*/ 3274544 h 4914348"/>
              <a:gd name="connsiteX381" fmla="*/ 5921347 w 6468531"/>
              <a:gd name="connsiteY381" fmla="*/ 3294253 h 4914348"/>
              <a:gd name="connsiteX382" fmla="*/ 5798993 w 6468531"/>
              <a:gd name="connsiteY382" fmla="*/ 3325788 h 4914348"/>
              <a:gd name="connsiteX383" fmla="*/ 5779258 w 6468531"/>
              <a:gd name="connsiteY383" fmla="*/ 3337613 h 4914348"/>
              <a:gd name="connsiteX384" fmla="*/ 5802938 w 6468531"/>
              <a:gd name="connsiteY384" fmla="*/ 3345497 h 4914348"/>
              <a:gd name="connsiteX385" fmla="*/ 5925292 w 6468531"/>
              <a:gd name="connsiteY385" fmla="*/ 3321846 h 4914348"/>
              <a:gd name="connsiteX386" fmla="*/ 6004230 w 6468531"/>
              <a:gd name="connsiteY386" fmla="*/ 3317904 h 4914348"/>
              <a:gd name="connsiteX387" fmla="*/ 6095010 w 6468531"/>
              <a:gd name="connsiteY387" fmla="*/ 3298195 h 4914348"/>
              <a:gd name="connsiteX388" fmla="*/ 6170000 w 6468531"/>
              <a:gd name="connsiteY388" fmla="*/ 3294253 h 4914348"/>
              <a:gd name="connsiteX389" fmla="*/ 6170000 w 6468531"/>
              <a:gd name="connsiteY389" fmla="*/ 3306078 h 4914348"/>
              <a:gd name="connsiteX390" fmla="*/ 6150265 w 6468531"/>
              <a:gd name="connsiteY390" fmla="*/ 3341555 h 4914348"/>
              <a:gd name="connsiteX391" fmla="*/ 6130533 w 6468531"/>
              <a:gd name="connsiteY391" fmla="*/ 3377031 h 4914348"/>
              <a:gd name="connsiteX392" fmla="*/ 6122636 w 6468531"/>
              <a:gd name="connsiteY392" fmla="*/ 3404627 h 4914348"/>
              <a:gd name="connsiteX393" fmla="*/ 6106849 w 6468531"/>
              <a:gd name="connsiteY393" fmla="*/ 3416453 h 4914348"/>
              <a:gd name="connsiteX394" fmla="*/ 6075275 w 6468531"/>
              <a:gd name="connsiteY394" fmla="*/ 3420395 h 4914348"/>
              <a:gd name="connsiteX395" fmla="*/ 6012124 w 6468531"/>
              <a:gd name="connsiteY395" fmla="*/ 3424336 h 4914348"/>
              <a:gd name="connsiteX396" fmla="*/ 5917399 w 6468531"/>
              <a:gd name="connsiteY396" fmla="*/ 3416453 h 4914348"/>
              <a:gd name="connsiteX397" fmla="*/ 5913454 w 6468531"/>
              <a:gd name="connsiteY397" fmla="*/ 3416453 h 4914348"/>
              <a:gd name="connsiteX398" fmla="*/ 5858196 w 6468531"/>
              <a:gd name="connsiteY398" fmla="*/ 3420395 h 4914348"/>
              <a:gd name="connsiteX399" fmla="*/ 5834515 w 6468531"/>
              <a:gd name="connsiteY399" fmla="*/ 3400682 h 4914348"/>
              <a:gd name="connsiteX400" fmla="*/ 5826622 w 6468531"/>
              <a:gd name="connsiteY400" fmla="*/ 3392799 h 4914348"/>
              <a:gd name="connsiteX401" fmla="*/ 5814780 w 6468531"/>
              <a:gd name="connsiteY401" fmla="*/ 3400682 h 4914348"/>
              <a:gd name="connsiteX402" fmla="*/ 5814780 w 6468531"/>
              <a:gd name="connsiteY402" fmla="*/ 3455871 h 4914348"/>
              <a:gd name="connsiteX403" fmla="*/ 5822674 w 6468531"/>
              <a:gd name="connsiteY403" fmla="*/ 3467700 h 4914348"/>
              <a:gd name="connsiteX404" fmla="*/ 5885825 w 6468531"/>
              <a:gd name="connsiteY404" fmla="*/ 3495293 h 4914348"/>
              <a:gd name="connsiteX405" fmla="*/ 5901612 w 6468531"/>
              <a:gd name="connsiteY405" fmla="*/ 3511060 h 4914348"/>
              <a:gd name="connsiteX406" fmla="*/ 5905560 w 6468531"/>
              <a:gd name="connsiteY406" fmla="*/ 3522885 h 4914348"/>
              <a:gd name="connsiteX407" fmla="*/ 5925292 w 6468531"/>
              <a:gd name="connsiteY407" fmla="*/ 3534714 h 4914348"/>
              <a:gd name="connsiteX408" fmla="*/ 5873983 w 6468531"/>
              <a:gd name="connsiteY408" fmla="*/ 3570191 h 4914348"/>
              <a:gd name="connsiteX409" fmla="*/ 5834515 w 6468531"/>
              <a:gd name="connsiteY409" fmla="*/ 3578074 h 4914348"/>
              <a:gd name="connsiteX410" fmla="*/ 5826622 w 6468531"/>
              <a:gd name="connsiteY410" fmla="*/ 3601729 h 4914348"/>
              <a:gd name="connsiteX411" fmla="*/ 5810832 w 6468531"/>
              <a:gd name="connsiteY411" fmla="*/ 3621438 h 4914348"/>
              <a:gd name="connsiteX412" fmla="*/ 5724000 w 6468531"/>
              <a:gd name="connsiteY412" fmla="*/ 3652976 h 4914348"/>
              <a:gd name="connsiteX413" fmla="*/ 5676639 w 6468531"/>
              <a:gd name="connsiteY413" fmla="*/ 3676627 h 4914348"/>
              <a:gd name="connsiteX414" fmla="*/ 5664797 w 6468531"/>
              <a:gd name="connsiteY414" fmla="*/ 3692394 h 4914348"/>
              <a:gd name="connsiteX415" fmla="*/ 5656904 w 6468531"/>
              <a:gd name="connsiteY415" fmla="*/ 3696336 h 4914348"/>
              <a:gd name="connsiteX416" fmla="*/ 5617436 w 6468531"/>
              <a:gd name="connsiteY416" fmla="*/ 3704219 h 4914348"/>
              <a:gd name="connsiteX417" fmla="*/ 5577966 w 6468531"/>
              <a:gd name="connsiteY417" fmla="*/ 3712103 h 4914348"/>
              <a:gd name="connsiteX418" fmla="*/ 5309578 w 6468531"/>
              <a:gd name="connsiteY418" fmla="*/ 3743641 h 4914348"/>
              <a:gd name="connsiteX419" fmla="*/ 4981986 w 6468531"/>
              <a:gd name="connsiteY419" fmla="*/ 3822481 h 4914348"/>
              <a:gd name="connsiteX420" fmla="*/ 4654395 w 6468531"/>
              <a:gd name="connsiteY420" fmla="*/ 3901324 h 4914348"/>
              <a:gd name="connsiteX421" fmla="*/ 4405739 w 6468531"/>
              <a:gd name="connsiteY421" fmla="*/ 3964396 h 4914348"/>
              <a:gd name="connsiteX422" fmla="*/ 4247866 w 6468531"/>
              <a:gd name="connsiteY422" fmla="*/ 4007756 h 4914348"/>
              <a:gd name="connsiteX423" fmla="*/ 4145248 w 6468531"/>
              <a:gd name="connsiteY423" fmla="*/ 4027469 h 4914348"/>
              <a:gd name="connsiteX424" fmla="*/ 4141299 w 6468531"/>
              <a:gd name="connsiteY424" fmla="*/ 4031411 h 4914348"/>
              <a:gd name="connsiteX425" fmla="*/ 4066306 w 6468531"/>
              <a:gd name="connsiteY425" fmla="*/ 4051120 h 4914348"/>
              <a:gd name="connsiteX426" fmla="*/ 3924220 w 6468531"/>
              <a:gd name="connsiteY426" fmla="*/ 4082654 h 4914348"/>
              <a:gd name="connsiteX427" fmla="*/ 3711087 w 6468531"/>
              <a:gd name="connsiteY427" fmla="*/ 4133901 h 4914348"/>
              <a:gd name="connsiteX428" fmla="*/ 3454540 w 6468531"/>
              <a:gd name="connsiteY428" fmla="*/ 4204858 h 4914348"/>
              <a:gd name="connsiteX429" fmla="*/ 3359815 w 6468531"/>
              <a:gd name="connsiteY429" fmla="*/ 4232454 h 4914348"/>
              <a:gd name="connsiteX430" fmla="*/ 3344025 w 6468531"/>
              <a:gd name="connsiteY430" fmla="*/ 4256105 h 4914348"/>
              <a:gd name="connsiteX431" fmla="*/ 3312451 w 6468531"/>
              <a:gd name="connsiteY431" fmla="*/ 4271872 h 4914348"/>
              <a:gd name="connsiteX432" fmla="*/ 3312451 w 6468531"/>
              <a:gd name="connsiteY432" fmla="*/ 4263988 h 4914348"/>
              <a:gd name="connsiteX433" fmla="*/ 3320344 w 6468531"/>
              <a:gd name="connsiteY433" fmla="*/ 4256105 h 4914348"/>
              <a:gd name="connsiteX434" fmla="*/ 3300609 w 6468531"/>
              <a:gd name="connsiteY434" fmla="*/ 4256105 h 4914348"/>
              <a:gd name="connsiteX435" fmla="*/ 3280877 w 6468531"/>
              <a:gd name="connsiteY435" fmla="*/ 4271872 h 4914348"/>
              <a:gd name="connsiteX436" fmla="*/ 3288770 w 6468531"/>
              <a:gd name="connsiteY436" fmla="*/ 4291584 h 4914348"/>
              <a:gd name="connsiteX437" fmla="*/ 3304557 w 6468531"/>
              <a:gd name="connsiteY437" fmla="*/ 4299468 h 4914348"/>
              <a:gd name="connsiteX438" fmla="*/ 3292715 w 6468531"/>
              <a:gd name="connsiteY438" fmla="*/ 4319177 h 4914348"/>
              <a:gd name="connsiteX439" fmla="*/ 3269035 w 6468531"/>
              <a:gd name="connsiteY439" fmla="*/ 4323119 h 4914348"/>
              <a:gd name="connsiteX440" fmla="*/ 3209832 w 6468531"/>
              <a:gd name="connsiteY440" fmla="*/ 4323119 h 4914348"/>
              <a:gd name="connsiteX441" fmla="*/ 3190097 w 6468531"/>
              <a:gd name="connsiteY441" fmla="*/ 4346773 h 4914348"/>
              <a:gd name="connsiteX442" fmla="*/ 3186152 w 6468531"/>
              <a:gd name="connsiteY442" fmla="*/ 4358599 h 4914348"/>
              <a:gd name="connsiteX443" fmla="*/ 3170362 w 6468531"/>
              <a:gd name="connsiteY443" fmla="*/ 4350715 h 4914348"/>
              <a:gd name="connsiteX444" fmla="*/ 3154575 w 6468531"/>
              <a:gd name="connsiteY444" fmla="*/ 4327061 h 4914348"/>
              <a:gd name="connsiteX445" fmla="*/ 3115107 w 6468531"/>
              <a:gd name="connsiteY445" fmla="*/ 4334944 h 4914348"/>
              <a:gd name="connsiteX446" fmla="*/ 3016434 w 6468531"/>
              <a:gd name="connsiteY446" fmla="*/ 4382250 h 4914348"/>
              <a:gd name="connsiteX447" fmla="*/ 2988805 w 6468531"/>
              <a:gd name="connsiteY447" fmla="*/ 4382250 h 4914348"/>
              <a:gd name="connsiteX448" fmla="*/ 2973018 w 6468531"/>
              <a:gd name="connsiteY448" fmla="*/ 4378308 h 4914348"/>
              <a:gd name="connsiteX449" fmla="*/ 2905922 w 6468531"/>
              <a:gd name="connsiteY449" fmla="*/ 4398017 h 4914348"/>
              <a:gd name="connsiteX450" fmla="*/ 2898028 w 6468531"/>
              <a:gd name="connsiteY450" fmla="*/ 4398017 h 4914348"/>
              <a:gd name="connsiteX451" fmla="*/ 2901973 w 6468531"/>
              <a:gd name="connsiteY451" fmla="*/ 4390133 h 4914348"/>
              <a:gd name="connsiteX452" fmla="*/ 2909870 w 6468531"/>
              <a:gd name="connsiteY452" fmla="*/ 4382250 h 4914348"/>
              <a:gd name="connsiteX453" fmla="*/ 2898028 w 6468531"/>
              <a:gd name="connsiteY453" fmla="*/ 4382250 h 4914348"/>
              <a:gd name="connsiteX454" fmla="*/ 2878293 w 6468531"/>
              <a:gd name="connsiteY454" fmla="*/ 4386191 h 4914348"/>
              <a:gd name="connsiteX455" fmla="*/ 2826984 w 6468531"/>
              <a:gd name="connsiteY455" fmla="*/ 4401959 h 4914348"/>
              <a:gd name="connsiteX456" fmla="*/ 2811197 w 6468531"/>
              <a:gd name="connsiteY456" fmla="*/ 4413787 h 4914348"/>
              <a:gd name="connsiteX457" fmla="*/ 2779623 w 6468531"/>
              <a:gd name="connsiteY457" fmla="*/ 4425613 h 4914348"/>
              <a:gd name="connsiteX458" fmla="*/ 2767781 w 6468531"/>
              <a:gd name="connsiteY458" fmla="*/ 4425613 h 4914348"/>
              <a:gd name="connsiteX459" fmla="*/ 2732258 w 6468531"/>
              <a:gd name="connsiteY459" fmla="*/ 4433497 h 4914348"/>
              <a:gd name="connsiteX460" fmla="*/ 2708578 w 6468531"/>
              <a:gd name="connsiteY460" fmla="*/ 4441380 h 4914348"/>
              <a:gd name="connsiteX461" fmla="*/ 2605959 w 6468531"/>
              <a:gd name="connsiteY461" fmla="*/ 4472918 h 4914348"/>
              <a:gd name="connsiteX462" fmla="*/ 2605959 w 6468531"/>
              <a:gd name="connsiteY462" fmla="*/ 4508395 h 4914348"/>
              <a:gd name="connsiteX463" fmla="*/ 2625692 w 6468531"/>
              <a:gd name="connsiteY463" fmla="*/ 4512336 h 4914348"/>
              <a:gd name="connsiteX464" fmla="*/ 2665162 w 6468531"/>
              <a:gd name="connsiteY464" fmla="*/ 4496569 h 4914348"/>
              <a:gd name="connsiteX465" fmla="*/ 2696736 w 6468531"/>
              <a:gd name="connsiteY465" fmla="*/ 4504453 h 4914348"/>
              <a:gd name="connsiteX466" fmla="*/ 2688843 w 6468531"/>
              <a:gd name="connsiteY466" fmla="*/ 4528104 h 4914348"/>
              <a:gd name="connsiteX467" fmla="*/ 2653320 w 6468531"/>
              <a:gd name="connsiteY467" fmla="*/ 4543874 h 4914348"/>
              <a:gd name="connsiteX468" fmla="*/ 2625692 w 6468531"/>
              <a:gd name="connsiteY468" fmla="*/ 4559642 h 4914348"/>
              <a:gd name="connsiteX469" fmla="*/ 2586224 w 6468531"/>
              <a:gd name="connsiteY469" fmla="*/ 4543874 h 4914348"/>
              <a:gd name="connsiteX470" fmla="*/ 2586224 w 6468531"/>
              <a:gd name="connsiteY470" fmla="*/ 4532049 h 4914348"/>
              <a:gd name="connsiteX471" fmla="*/ 2594118 w 6468531"/>
              <a:gd name="connsiteY471" fmla="*/ 4535991 h 4914348"/>
              <a:gd name="connsiteX472" fmla="*/ 2609905 w 6468531"/>
              <a:gd name="connsiteY472" fmla="*/ 4543874 h 4914348"/>
              <a:gd name="connsiteX473" fmla="*/ 2617798 w 6468531"/>
              <a:gd name="connsiteY473" fmla="*/ 4532049 h 4914348"/>
              <a:gd name="connsiteX474" fmla="*/ 2582276 w 6468531"/>
              <a:gd name="connsiteY474" fmla="*/ 4496569 h 4914348"/>
              <a:gd name="connsiteX475" fmla="*/ 2554647 w 6468531"/>
              <a:gd name="connsiteY475" fmla="*/ 4492627 h 4914348"/>
              <a:gd name="connsiteX476" fmla="*/ 2400719 w 6468531"/>
              <a:gd name="connsiteY476" fmla="*/ 4543874 h 4914348"/>
              <a:gd name="connsiteX477" fmla="*/ 2380984 w 6468531"/>
              <a:gd name="connsiteY477" fmla="*/ 4543874 h 4914348"/>
              <a:gd name="connsiteX478" fmla="*/ 2396774 w 6468531"/>
              <a:gd name="connsiteY478" fmla="*/ 4524162 h 4914348"/>
              <a:gd name="connsiteX479" fmla="*/ 2637533 w 6468531"/>
              <a:gd name="connsiteY479" fmla="*/ 4421671 h 4914348"/>
              <a:gd name="connsiteX480" fmla="*/ 2704630 w 6468531"/>
              <a:gd name="connsiteY480" fmla="*/ 4398017 h 4914348"/>
              <a:gd name="connsiteX481" fmla="*/ 2724365 w 6468531"/>
              <a:gd name="connsiteY481" fmla="*/ 4366482 h 4914348"/>
              <a:gd name="connsiteX482" fmla="*/ 2732258 w 6468531"/>
              <a:gd name="connsiteY482" fmla="*/ 4358599 h 4914348"/>
              <a:gd name="connsiteX483" fmla="*/ 2779623 w 6468531"/>
              <a:gd name="connsiteY483" fmla="*/ 4338886 h 4914348"/>
              <a:gd name="connsiteX484" fmla="*/ 2826984 w 6468531"/>
              <a:gd name="connsiteY484" fmla="*/ 4291584 h 4914348"/>
              <a:gd name="connsiteX485" fmla="*/ 2858558 w 6468531"/>
              <a:gd name="connsiteY485" fmla="*/ 4248221 h 4914348"/>
              <a:gd name="connsiteX486" fmla="*/ 2858558 w 6468531"/>
              <a:gd name="connsiteY486" fmla="*/ 4232454 h 4914348"/>
              <a:gd name="connsiteX487" fmla="*/ 2862506 w 6468531"/>
              <a:gd name="connsiteY487" fmla="*/ 4220628 h 4914348"/>
              <a:gd name="connsiteX488" fmla="*/ 2905922 w 6468531"/>
              <a:gd name="connsiteY488" fmla="*/ 4196974 h 4914348"/>
              <a:gd name="connsiteX489" fmla="*/ 2925657 w 6468531"/>
              <a:gd name="connsiteY489" fmla="*/ 4181207 h 4914348"/>
              <a:gd name="connsiteX490" fmla="*/ 2941444 w 6468531"/>
              <a:gd name="connsiteY490" fmla="*/ 4169381 h 4914348"/>
              <a:gd name="connsiteX491" fmla="*/ 2961179 w 6468531"/>
              <a:gd name="connsiteY491" fmla="*/ 4157556 h 4914348"/>
              <a:gd name="connsiteX492" fmla="*/ 2957231 w 6468531"/>
              <a:gd name="connsiteY492" fmla="*/ 4145727 h 4914348"/>
              <a:gd name="connsiteX493" fmla="*/ 2933551 w 6468531"/>
              <a:gd name="connsiteY493" fmla="*/ 4145727 h 4914348"/>
              <a:gd name="connsiteX494" fmla="*/ 2905922 w 6468531"/>
              <a:gd name="connsiteY494" fmla="*/ 4161497 h 4914348"/>
              <a:gd name="connsiteX495" fmla="*/ 2621746 w 6468531"/>
              <a:gd name="connsiteY495" fmla="*/ 4287642 h 4914348"/>
              <a:gd name="connsiteX496" fmla="*/ 2613853 w 6468531"/>
              <a:gd name="connsiteY496" fmla="*/ 4291584 h 4914348"/>
              <a:gd name="connsiteX497" fmla="*/ 2621746 w 6468531"/>
              <a:gd name="connsiteY497" fmla="*/ 4291584 h 4914348"/>
              <a:gd name="connsiteX498" fmla="*/ 2696736 w 6468531"/>
              <a:gd name="connsiteY498" fmla="*/ 4263988 h 4914348"/>
              <a:gd name="connsiteX499" fmla="*/ 2716471 w 6468531"/>
              <a:gd name="connsiteY499" fmla="*/ 4260046 h 4914348"/>
              <a:gd name="connsiteX500" fmla="*/ 2724365 w 6468531"/>
              <a:gd name="connsiteY500" fmla="*/ 4263988 h 4914348"/>
              <a:gd name="connsiteX501" fmla="*/ 2720417 w 6468531"/>
              <a:gd name="connsiteY501" fmla="*/ 4267930 h 4914348"/>
              <a:gd name="connsiteX502" fmla="*/ 2625692 w 6468531"/>
              <a:gd name="connsiteY502" fmla="*/ 4303410 h 4914348"/>
              <a:gd name="connsiteX503" fmla="*/ 2605959 w 6468531"/>
              <a:gd name="connsiteY503" fmla="*/ 4315235 h 4914348"/>
              <a:gd name="connsiteX504" fmla="*/ 2570437 w 6468531"/>
              <a:gd name="connsiteY504" fmla="*/ 4334944 h 4914348"/>
              <a:gd name="connsiteX505" fmla="*/ 2566489 w 6468531"/>
              <a:gd name="connsiteY505" fmla="*/ 4327061 h 4914348"/>
              <a:gd name="connsiteX506" fmla="*/ 2515179 w 6468531"/>
              <a:gd name="connsiteY506" fmla="*/ 4334944 h 4914348"/>
              <a:gd name="connsiteX507" fmla="*/ 2515179 w 6468531"/>
              <a:gd name="connsiteY507" fmla="*/ 4338886 h 4914348"/>
              <a:gd name="connsiteX508" fmla="*/ 2523073 w 6468531"/>
              <a:gd name="connsiteY508" fmla="*/ 4342831 h 4914348"/>
              <a:gd name="connsiteX509" fmla="*/ 2574382 w 6468531"/>
              <a:gd name="connsiteY509" fmla="*/ 4334944 h 4914348"/>
              <a:gd name="connsiteX510" fmla="*/ 2511231 w 6468531"/>
              <a:gd name="connsiteY510" fmla="*/ 4350715 h 4914348"/>
              <a:gd name="connsiteX511" fmla="*/ 2416506 w 6468531"/>
              <a:gd name="connsiteY511" fmla="*/ 4378308 h 4914348"/>
              <a:gd name="connsiteX512" fmla="*/ 2290207 w 6468531"/>
              <a:gd name="connsiteY512" fmla="*/ 4433497 h 4914348"/>
              <a:gd name="connsiteX513" fmla="*/ 2057341 w 6468531"/>
              <a:gd name="connsiteY513" fmla="*/ 4512336 h 4914348"/>
              <a:gd name="connsiteX514" fmla="*/ 2025764 w 6468531"/>
              <a:gd name="connsiteY514" fmla="*/ 4532049 h 4914348"/>
              <a:gd name="connsiteX515" fmla="*/ 2009977 w 6468531"/>
              <a:gd name="connsiteY515" fmla="*/ 4528104 h 4914348"/>
              <a:gd name="connsiteX516" fmla="*/ 2013925 w 6468531"/>
              <a:gd name="connsiteY516" fmla="*/ 4516278 h 4914348"/>
              <a:gd name="connsiteX517" fmla="*/ 2037606 w 6468531"/>
              <a:gd name="connsiteY517" fmla="*/ 4472918 h 4914348"/>
              <a:gd name="connsiteX518" fmla="*/ 2045499 w 6468531"/>
              <a:gd name="connsiteY518" fmla="*/ 4461089 h 4914348"/>
              <a:gd name="connsiteX519" fmla="*/ 2223111 w 6468531"/>
              <a:gd name="connsiteY519" fmla="*/ 4378308 h 4914348"/>
              <a:gd name="connsiteX520" fmla="*/ 2234949 w 6468531"/>
              <a:gd name="connsiteY520" fmla="*/ 4374366 h 4914348"/>
              <a:gd name="connsiteX521" fmla="*/ 2274420 w 6468531"/>
              <a:gd name="connsiteY521" fmla="*/ 4350715 h 4914348"/>
              <a:gd name="connsiteX522" fmla="*/ 2250740 w 6468531"/>
              <a:gd name="connsiteY522" fmla="*/ 4315235 h 4914348"/>
              <a:gd name="connsiteX523" fmla="*/ 2234949 w 6468531"/>
              <a:gd name="connsiteY523" fmla="*/ 4263988 h 4914348"/>
              <a:gd name="connsiteX524" fmla="*/ 2219162 w 6468531"/>
              <a:gd name="connsiteY524" fmla="*/ 4145727 h 4914348"/>
              <a:gd name="connsiteX525" fmla="*/ 2219162 w 6468531"/>
              <a:gd name="connsiteY525" fmla="*/ 4133901 h 4914348"/>
              <a:gd name="connsiteX526" fmla="*/ 2250740 w 6468531"/>
              <a:gd name="connsiteY526" fmla="*/ 4062945 h 4914348"/>
              <a:gd name="connsiteX527" fmla="*/ 2278365 w 6468531"/>
              <a:gd name="connsiteY527" fmla="*/ 3995931 h 4914348"/>
              <a:gd name="connsiteX528" fmla="*/ 2298100 w 6468531"/>
              <a:gd name="connsiteY528" fmla="*/ 3952567 h 4914348"/>
              <a:gd name="connsiteX529" fmla="*/ 2317836 w 6468531"/>
              <a:gd name="connsiteY529" fmla="*/ 3917091 h 4914348"/>
              <a:gd name="connsiteX530" fmla="*/ 2432296 w 6468531"/>
              <a:gd name="connsiteY530" fmla="*/ 3743641 h 4914348"/>
              <a:gd name="connsiteX531" fmla="*/ 2441678 w 6468531"/>
              <a:gd name="connsiteY531" fmla="*/ 3728487 h 4914348"/>
              <a:gd name="connsiteX532" fmla="*/ 2423615 w 6468531"/>
              <a:gd name="connsiteY532" fmla="*/ 3734592 h 4914348"/>
              <a:gd name="connsiteX533" fmla="*/ 2207641 w 6468531"/>
              <a:gd name="connsiteY533" fmla="*/ 3806416 h 4914348"/>
              <a:gd name="connsiteX534" fmla="*/ 2030432 w 6468531"/>
              <a:gd name="connsiteY534" fmla="*/ 3878240 h 4914348"/>
              <a:gd name="connsiteX535" fmla="*/ 1797848 w 6468531"/>
              <a:gd name="connsiteY535" fmla="*/ 3955595 h 4914348"/>
              <a:gd name="connsiteX536" fmla="*/ 1659404 w 6468531"/>
              <a:gd name="connsiteY536" fmla="*/ 4010846 h 4914348"/>
              <a:gd name="connsiteX537" fmla="*/ 1299451 w 6468531"/>
              <a:gd name="connsiteY537" fmla="*/ 4160025 h 4914348"/>
              <a:gd name="connsiteX538" fmla="*/ 1100087 w 6468531"/>
              <a:gd name="connsiteY538" fmla="*/ 4248427 h 4914348"/>
              <a:gd name="connsiteX539" fmla="*/ 900729 w 6468531"/>
              <a:gd name="connsiteY539" fmla="*/ 4347877 h 4914348"/>
              <a:gd name="connsiteX540" fmla="*/ 889654 w 6468531"/>
              <a:gd name="connsiteY540" fmla="*/ 4347877 h 4914348"/>
              <a:gd name="connsiteX541" fmla="*/ 888716 w 6468531"/>
              <a:gd name="connsiteY541" fmla="*/ 4347481 h 4914348"/>
              <a:gd name="connsiteX542" fmla="*/ 859113 w 6468531"/>
              <a:gd name="connsiteY542" fmla="*/ 4368201 h 4914348"/>
              <a:gd name="connsiteX543" fmla="*/ 864327 w 6468531"/>
              <a:gd name="connsiteY543" fmla="*/ 4351780 h 4914348"/>
              <a:gd name="connsiteX544" fmla="*/ 887415 w 6468531"/>
              <a:gd name="connsiteY544" fmla="*/ 4346930 h 4914348"/>
              <a:gd name="connsiteX545" fmla="*/ 871660 w 6468531"/>
              <a:gd name="connsiteY545" fmla="*/ 4340282 h 4914348"/>
              <a:gd name="connsiteX546" fmla="*/ 861964 w 6468531"/>
              <a:gd name="connsiteY546" fmla="*/ 4353403 h 4914348"/>
              <a:gd name="connsiteX547" fmla="*/ 832003 w 6468531"/>
              <a:gd name="connsiteY547" fmla="*/ 4368349 h 4914348"/>
              <a:gd name="connsiteX548" fmla="*/ 828739 w 6468531"/>
              <a:gd name="connsiteY548" fmla="*/ 4369976 h 4914348"/>
              <a:gd name="connsiteX549" fmla="*/ 823204 w 6468531"/>
              <a:gd name="connsiteY549" fmla="*/ 4369976 h 4914348"/>
              <a:gd name="connsiteX550" fmla="*/ 801049 w 6468531"/>
              <a:gd name="connsiteY550" fmla="*/ 4364450 h 4914348"/>
              <a:gd name="connsiteX551" fmla="*/ 817664 w 6468531"/>
              <a:gd name="connsiteY551" fmla="*/ 4347877 h 4914348"/>
              <a:gd name="connsiteX552" fmla="*/ 1244071 w 6468531"/>
              <a:gd name="connsiteY552" fmla="*/ 4132399 h 4914348"/>
              <a:gd name="connsiteX553" fmla="*/ 1493270 w 6468531"/>
              <a:gd name="connsiteY553" fmla="*/ 4016372 h 4914348"/>
              <a:gd name="connsiteX554" fmla="*/ 1891988 w 6468531"/>
              <a:gd name="connsiteY554" fmla="*/ 3850615 h 4914348"/>
              <a:gd name="connsiteX555" fmla="*/ 2202106 w 6468531"/>
              <a:gd name="connsiteY555" fmla="*/ 3723540 h 4914348"/>
              <a:gd name="connsiteX556" fmla="*/ 2423615 w 6468531"/>
              <a:gd name="connsiteY556" fmla="*/ 3640664 h 4914348"/>
              <a:gd name="connsiteX557" fmla="*/ 2524675 w 6468531"/>
              <a:gd name="connsiteY557" fmla="*/ 3604087 h 4914348"/>
              <a:gd name="connsiteX558" fmla="*/ 2558102 w 6468531"/>
              <a:gd name="connsiteY558" fmla="*/ 3556887 h 4914348"/>
              <a:gd name="connsiteX559" fmla="*/ 2598063 w 6468531"/>
              <a:gd name="connsiteY559" fmla="*/ 3499234 h 4914348"/>
              <a:gd name="connsiteX560" fmla="*/ 2590169 w 6468531"/>
              <a:gd name="connsiteY560" fmla="*/ 3487409 h 4914348"/>
              <a:gd name="connsiteX561" fmla="*/ 2554647 w 6468531"/>
              <a:gd name="connsiteY561" fmla="*/ 3499234 h 4914348"/>
              <a:gd name="connsiteX562" fmla="*/ 2452028 w 6468531"/>
              <a:gd name="connsiteY562" fmla="*/ 3542598 h 4914348"/>
              <a:gd name="connsiteX563" fmla="*/ 2416506 w 6468531"/>
              <a:gd name="connsiteY563" fmla="*/ 3558365 h 4914348"/>
              <a:gd name="connsiteX564" fmla="*/ 2298100 w 6468531"/>
              <a:gd name="connsiteY564" fmla="*/ 3609612 h 4914348"/>
              <a:gd name="connsiteX565" fmla="*/ 2175747 w 6468531"/>
              <a:gd name="connsiteY565" fmla="*/ 3668743 h 4914348"/>
              <a:gd name="connsiteX566" fmla="*/ 2156011 w 6468531"/>
              <a:gd name="connsiteY566" fmla="*/ 3668743 h 4914348"/>
              <a:gd name="connsiteX567" fmla="*/ 2112595 w 6468531"/>
              <a:gd name="connsiteY567" fmla="*/ 3633263 h 4914348"/>
              <a:gd name="connsiteX568" fmla="*/ 2116544 w 6468531"/>
              <a:gd name="connsiteY568" fmla="*/ 3617496 h 4914348"/>
              <a:gd name="connsiteX569" fmla="*/ 2148118 w 6468531"/>
              <a:gd name="connsiteY569" fmla="*/ 3589903 h 4914348"/>
              <a:gd name="connsiteX570" fmla="*/ 2172787 w 6468531"/>
              <a:gd name="connsiteY570" fmla="*/ 3561814 h 4914348"/>
              <a:gd name="connsiteX571" fmla="*/ 2185254 w 6468531"/>
              <a:gd name="connsiteY571" fmla="*/ 3541171 h 4914348"/>
              <a:gd name="connsiteX572" fmla="*/ 2156932 w 6468531"/>
              <a:gd name="connsiteY572" fmla="*/ 3539756 h 4914348"/>
              <a:gd name="connsiteX573" fmla="*/ 2115400 w 6468531"/>
              <a:gd name="connsiteY573" fmla="*/ 3541830 h 4914348"/>
              <a:gd name="connsiteX574" fmla="*/ 2087710 w 6468531"/>
              <a:gd name="connsiteY574" fmla="*/ 3575018 h 4914348"/>
              <a:gd name="connsiteX575" fmla="*/ 2082175 w 6468531"/>
              <a:gd name="connsiteY575" fmla="*/ 3591610 h 4914348"/>
              <a:gd name="connsiteX576" fmla="*/ 2060021 w 6468531"/>
              <a:gd name="connsiteY576" fmla="*/ 3580549 h 4914348"/>
              <a:gd name="connsiteX577" fmla="*/ 2037871 w 6468531"/>
              <a:gd name="connsiteY577" fmla="*/ 3547361 h 4914348"/>
              <a:gd name="connsiteX578" fmla="*/ 1982496 w 6468531"/>
              <a:gd name="connsiteY578" fmla="*/ 3558422 h 4914348"/>
              <a:gd name="connsiteX579" fmla="*/ 1844051 w 6468531"/>
              <a:gd name="connsiteY579" fmla="*/ 3624794 h 4914348"/>
              <a:gd name="connsiteX580" fmla="*/ 1805287 w 6468531"/>
              <a:gd name="connsiteY580" fmla="*/ 3624794 h 4914348"/>
              <a:gd name="connsiteX581" fmla="*/ 1783137 w 6468531"/>
              <a:gd name="connsiteY581" fmla="*/ 3619263 h 4914348"/>
              <a:gd name="connsiteX582" fmla="*/ 1688997 w 6468531"/>
              <a:gd name="connsiteY582" fmla="*/ 3646916 h 4914348"/>
              <a:gd name="connsiteX583" fmla="*/ 1677922 w 6468531"/>
              <a:gd name="connsiteY583" fmla="*/ 3646916 h 4914348"/>
              <a:gd name="connsiteX584" fmla="*/ 1683457 w 6468531"/>
              <a:gd name="connsiteY584" fmla="*/ 3635855 h 4914348"/>
              <a:gd name="connsiteX585" fmla="*/ 1694537 w 6468531"/>
              <a:gd name="connsiteY585" fmla="*/ 3624794 h 4914348"/>
              <a:gd name="connsiteX586" fmla="*/ 1677922 w 6468531"/>
              <a:gd name="connsiteY586" fmla="*/ 3624794 h 4914348"/>
              <a:gd name="connsiteX587" fmla="*/ 1650232 w 6468531"/>
              <a:gd name="connsiteY587" fmla="*/ 3630324 h 4914348"/>
              <a:gd name="connsiteX588" fmla="*/ 1578243 w 6468531"/>
              <a:gd name="connsiteY588" fmla="*/ 3652447 h 4914348"/>
              <a:gd name="connsiteX589" fmla="*/ 1556093 w 6468531"/>
              <a:gd name="connsiteY589" fmla="*/ 3669043 h 4914348"/>
              <a:gd name="connsiteX590" fmla="*/ 1511793 w 6468531"/>
              <a:gd name="connsiteY590" fmla="*/ 3685635 h 4914348"/>
              <a:gd name="connsiteX591" fmla="*/ 1495178 w 6468531"/>
              <a:gd name="connsiteY591" fmla="*/ 3685635 h 4914348"/>
              <a:gd name="connsiteX592" fmla="*/ 1445338 w 6468531"/>
              <a:gd name="connsiteY592" fmla="*/ 3696696 h 4914348"/>
              <a:gd name="connsiteX593" fmla="*/ 1412113 w 6468531"/>
              <a:gd name="connsiteY593" fmla="*/ 3707757 h 4914348"/>
              <a:gd name="connsiteX594" fmla="*/ 1268134 w 6468531"/>
              <a:gd name="connsiteY594" fmla="*/ 3752007 h 4914348"/>
              <a:gd name="connsiteX595" fmla="*/ 1268134 w 6468531"/>
              <a:gd name="connsiteY595" fmla="*/ 3801782 h 4914348"/>
              <a:gd name="connsiteX596" fmla="*/ 1295819 w 6468531"/>
              <a:gd name="connsiteY596" fmla="*/ 3807313 h 4914348"/>
              <a:gd name="connsiteX597" fmla="*/ 1351199 w 6468531"/>
              <a:gd name="connsiteY597" fmla="*/ 3785190 h 4914348"/>
              <a:gd name="connsiteX598" fmla="*/ 1395498 w 6468531"/>
              <a:gd name="connsiteY598" fmla="*/ 3796251 h 4914348"/>
              <a:gd name="connsiteX599" fmla="*/ 1384423 w 6468531"/>
              <a:gd name="connsiteY599" fmla="*/ 3829435 h 4914348"/>
              <a:gd name="connsiteX600" fmla="*/ 1334584 w 6468531"/>
              <a:gd name="connsiteY600" fmla="*/ 3851562 h 4914348"/>
              <a:gd name="connsiteX601" fmla="*/ 1295819 w 6468531"/>
              <a:gd name="connsiteY601" fmla="*/ 3873684 h 4914348"/>
              <a:gd name="connsiteX602" fmla="*/ 1240444 w 6468531"/>
              <a:gd name="connsiteY602" fmla="*/ 3851562 h 4914348"/>
              <a:gd name="connsiteX603" fmla="*/ 1240444 w 6468531"/>
              <a:gd name="connsiteY603" fmla="*/ 3834970 h 4914348"/>
              <a:gd name="connsiteX604" fmla="*/ 1251519 w 6468531"/>
              <a:gd name="connsiteY604" fmla="*/ 3840501 h 4914348"/>
              <a:gd name="connsiteX605" fmla="*/ 1273669 w 6468531"/>
              <a:gd name="connsiteY605" fmla="*/ 3851562 h 4914348"/>
              <a:gd name="connsiteX606" fmla="*/ 1284744 w 6468531"/>
              <a:gd name="connsiteY606" fmla="*/ 3834970 h 4914348"/>
              <a:gd name="connsiteX607" fmla="*/ 1234904 w 6468531"/>
              <a:gd name="connsiteY607" fmla="*/ 3785190 h 4914348"/>
              <a:gd name="connsiteX608" fmla="*/ 1196140 w 6468531"/>
              <a:gd name="connsiteY608" fmla="*/ 3779660 h 4914348"/>
              <a:gd name="connsiteX609" fmla="*/ 980171 w 6468531"/>
              <a:gd name="connsiteY609" fmla="*/ 3851562 h 4914348"/>
              <a:gd name="connsiteX610" fmla="*/ 952481 w 6468531"/>
              <a:gd name="connsiteY610" fmla="*/ 3851562 h 4914348"/>
              <a:gd name="connsiteX611" fmla="*/ 974635 w 6468531"/>
              <a:gd name="connsiteY611" fmla="*/ 3823904 h 4914348"/>
              <a:gd name="connsiteX612" fmla="*/ 1312434 w 6468531"/>
              <a:gd name="connsiteY612" fmla="*/ 3680104 h 4914348"/>
              <a:gd name="connsiteX613" fmla="*/ 1406573 w 6468531"/>
              <a:gd name="connsiteY613" fmla="*/ 3646916 h 4914348"/>
              <a:gd name="connsiteX614" fmla="*/ 1434263 w 6468531"/>
              <a:gd name="connsiteY614" fmla="*/ 3602671 h 4914348"/>
              <a:gd name="connsiteX615" fmla="*/ 1445338 w 6468531"/>
              <a:gd name="connsiteY615" fmla="*/ 3591610 h 4914348"/>
              <a:gd name="connsiteX616" fmla="*/ 1511793 w 6468531"/>
              <a:gd name="connsiteY616" fmla="*/ 3563953 h 4914348"/>
              <a:gd name="connsiteX617" fmla="*/ 1578243 w 6468531"/>
              <a:gd name="connsiteY617" fmla="*/ 3497585 h 4914348"/>
              <a:gd name="connsiteX618" fmla="*/ 1622542 w 6468531"/>
              <a:gd name="connsiteY618" fmla="*/ 3436744 h 4914348"/>
              <a:gd name="connsiteX619" fmla="*/ 1622542 w 6468531"/>
              <a:gd name="connsiteY619" fmla="*/ 3414622 h 4914348"/>
              <a:gd name="connsiteX620" fmla="*/ 1628082 w 6468531"/>
              <a:gd name="connsiteY620" fmla="*/ 3398030 h 4914348"/>
              <a:gd name="connsiteX621" fmla="*/ 1688997 w 6468531"/>
              <a:gd name="connsiteY621" fmla="*/ 3364842 h 4914348"/>
              <a:gd name="connsiteX622" fmla="*/ 1704487 w 6468531"/>
              <a:gd name="connsiteY622" fmla="*/ 3358116 h 4914348"/>
              <a:gd name="connsiteX623" fmla="*/ 1707055 w 6468531"/>
              <a:gd name="connsiteY623" fmla="*/ 3350424 h 4914348"/>
              <a:gd name="connsiteX624" fmla="*/ 1716857 w 6468531"/>
              <a:gd name="connsiteY624" fmla="*/ 3342414 h 4914348"/>
              <a:gd name="connsiteX625" fmla="*/ 1723607 w 6468531"/>
              <a:gd name="connsiteY625" fmla="*/ 3330276 h 4914348"/>
              <a:gd name="connsiteX626" fmla="*/ 1735279 w 6468531"/>
              <a:gd name="connsiteY626" fmla="*/ 3327097 h 4914348"/>
              <a:gd name="connsiteX627" fmla="*/ 1767794 w 6468531"/>
              <a:gd name="connsiteY627" fmla="*/ 3300036 h 4914348"/>
              <a:gd name="connsiteX628" fmla="*/ 1767910 w 6468531"/>
              <a:gd name="connsiteY628" fmla="*/ 3299164 h 4914348"/>
              <a:gd name="connsiteX629" fmla="*/ 1760987 w 6468531"/>
              <a:gd name="connsiteY629" fmla="*/ 3292940 h 4914348"/>
              <a:gd name="connsiteX630" fmla="*/ 1727762 w 6468531"/>
              <a:gd name="connsiteY630" fmla="*/ 3292940 h 4914348"/>
              <a:gd name="connsiteX631" fmla="*/ 1688997 w 6468531"/>
              <a:gd name="connsiteY631" fmla="*/ 3315067 h 4914348"/>
              <a:gd name="connsiteX632" fmla="*/ 1290284 w 6468531"/>
              <a:gd name="connsiteY632" fmla="*/ 3492055 h 4914348"/>
              <a:gd name="connsiteX633" fmla="*/ 1279209 w 6468531"/>
              <a:gd name="connsiteY633" fmla="*/ 3497585 h 4914348"/>
              <a:gd name="connsiteX634" fmla="*/ 1290284 w 6468531"/>
              <a:gd name="connsiteY634" fmla="*/ 3497585 h 4914348"/>
              <a:gd name="connsiteX635" fmla="*/ 1395498 w 6468531"/>
              <a:gd name="connsiteY635" fmla="*/ 3458867 h 4914348"/>
              <a:gd name="connsiteX636" fmla="*/ 1423188 w 6468531"/>
              <a:gd name="connsiteY636" fmla="*/ 3453336 h 4914348"/>
              <a:gd name="connsiteX637" fmla="*/ 1434263 w 6468531"/>
              <a:gd name="connsiteY637" fmla="*/ 3458867 h 4914348"/>
              <a:gd name="connsiteX638" fmla="*/ 1428723 w 6468531"/>
              <a:gd name="connsiteY638" fmla="*/ 3464397 h 4914348"/>
              <a:gd name="connsiteX639" fmla="*/ 1295819 w 6468531"/>
              <a:gd name="connsiteY639" fmla="*/ 3514177 h 4914348"/>
              <a:gd name="connsiteX640" fmla="*/ 1268134 w 6468531"/>
              <a:gd name="connsiteY640" fmla="*/ 3530769 h 4914348"/>
              <a:gd name="connsiteX641" fmla="*/ 1218294 w 6468531"/>
              <a:gd name="connsiteY641" fmla="*/ 3558422 h 4914348"/>
              <a:gd name="connsiteX642" fmla="*/ 1212754 w 6468531"/>
              <a:gd name="connsiteY642" fmla="*/ 3547361 h 4914348"/>
              <a:gd name="connsiteX643" fmla="*/ 1140765 w 6468531"/>
              <a:gd name="connsiteY643" fmla="*/ 3558422 h 4914348"/>
              <a:gd name="connsiteX644" fmla="*/ 1140765 w 6468531"/>
              <a:gd name="connsiteY644" fmla="*/ 3563953 h 4914348"/>
              <a:gd name="connsiteX645" fmla="*/ 1151840 w 6468531"/>
              <a:gd name="connsiteY645" fmla="*/ 3569488 h 4914348"/>
              <a:gd name="connsiteX646" fmla="*/ 1223829 w 6468531"/>
              <a:gd name="connsiteY646" fmla="*/ 3558422 h 4914348"/>
              <a:gd name="connsiteX647" fmla="*/ 1135225 w 6468531"/>
              <a:gd name="connsiteY647" fmla="*/ 3580549 h 4914348"/>
              <a:gd name="connsiteX648" fmla="*/ 1002320 w 6468531"/>
              <a:gd name="connsiteY648" fmla="*/ 3619263 h 4914348"/>
              <a:gd name="connsiteX649" fmla="*/ 825116 w 6468531"/>
              <a:gd name="connsiteY649" fmla="*/ 3696696 h 4914348"/>
              <a:gd name="connsiteX650" fmla="*/ 498393 w 6468531"/>
              <a:gd name="connsiteY650" fmla="*/ 3807313 h 4914348"/>
              <a:gd name="connsiteX651" fmla="*/ 454088 w 6468531"/>
              <a:gd name="connsiteY651" fmla="*/ 3834970 h 4914348"/>
              <a:gd name="connsiteX652" fmla="*/ 431938 w 6468531"/>
              <a:gd name="connsiteY652" fmla="*/ 3829435 h 4914348"/>
              <a:gd name="connsiteX653" fmla="*/ 437478 w 6468531"/>
              <a:gd name="connsiteY653" fmla="*/ 3812843 h 4914348"/>
              <a:gd name="connsiteX654" fmla="*/ 470703 w 6468531"/>
              <a:gd name="connsiteY654" fmla="*/ 3752007 h 4914348"/>
              <a:gd name="connsiteX655" fmla="*/ 481778 w 6468531"/>
              <a:gd name="connsiteY655" fmla="*/ 3735410 h 4914348"/>
              <a:gd name="connsiteX656" fmla="*/ 730977 w 6468531"/>
              <a:gd name="connsiteY656" fmla="*/ 3619263 h 4914348"/>
              <a:gd name="connsiteX657" fmla="*/ 747587 w 6468531"/>
              <a:gd name="connsiteY657" fmla="*/ 3613733 h 4914348"/>
              <a:gd name="connsiteX658" fmla="*/ 802966 w 6468531"/>
              <a:gd name="connsiteY658" fmla="*/ 3580549 h 4914348"/>
              <a:gd name="connsiteX659" fmla="*/ 769741 w 6468531"/>
              <a:gd name="connsiteY659" fmla="*/ 3530769 h 4914348"/>
              <a:gd name="connsiteX660" fmla="*/ 747587 w 6468531"/>
              <a:gd name="connsiteY660" fmla="*/ 3458867 h 4914348"/>
              <a:gd name="connsiteX661" fmla="*/ 725437 w 6468531"/>
              <a:gd name="connsiteY661" fmla="*/ 3292940 h 4914348"/>
              <a:gd name="connsiteX662" fmla="*/ 725437 w 6468531"/>
              <a:gd name="connsiteY662" fmla="*/ 3276348 h 4914348"/>
              <a:gd name="connsiteX663" fmla="*/ 769741 w 6468531"/>
              <a:gd name="connsiteY663" fmla="*/ 3176793 h 4914348"/>
              <a:gd name="connsiteX664" fmla="*/ 808501 w 6468531"/>
              <a:gd name="connsiteY664" fmla="*/ 3082768 h 4914348"/>
              <a:gd name="connsiteX665" fmla="*/ 836191 w 6468531"/>
              <a:gd name="connsiteY665" fmla="*/ 3021927 h 4914348"/>
              <a:gd name="connsiteX666" fmla="*/ 863881 w 6468531"/>
              <a:gd name="connsiteY666" fmla="*/ 2972151 h 4914348"/>
              <a:gd name="connsiteX667" fmla="*/ 1024475 w 6468531"/>
              <a:gd name="connsiteY667" fmla="*/ 2728791 h 4914348"/>
              <a:gd name="connsiteX668" fmla="*/ 1140765 w 6468531"/>
              <a:gd name="connsiteY668" fmla="*/ 2551803 h 4914348"/>
              <a:gd name="connsiteX669" fmla="*/ 1257054 w 6468531"/>
              <a:gd name="connsiteY669" fmla="*/ 2385876 h 4914348"/>
              <a:gd name="connsiteX670" fmla="*/ 1245979 w 6468531"/>
              <a:gd name="connsiteY670" fmla="*/ 2369284 h 4914348"/>
              <a:gd name="connsiteX671" fmla="*/ 1196140 w 6468531"/>
              <a:gd name="connsiteY671" fmla="*/ 2385876 h 4914348"/>
              <a:gd name="connsiteX672" fmla="*/ 1052160 w 6468531"/>
              <a:gd name="connsiteY672" fmla="*/ 2446717 h 4914348"/>
              <a:gd name="connsiteX673" fmla="*/ 1002320 w 6468531"/>
              <a:gd name="connsiteY673" fmla="*/ 2468840 h 4914348"/>
              <a:gd name="connsiteX674" fmla="*/ 836191 w 6468531"/>
              <a:gd name="connsiteY674" fmla="*/ 2540742 h 4914348"/>
              <a:gd name="connsiteX675" fmla="*/ 664522 w 6468531"/>
              <a:gd name="connsiteY675" fmla="*/ 2623705 h 4914348"/>
              <a:gd name="connsiteX676" fmla="*/ 636832 w 6468531"/>
              <a:gd name="connsiteY676" fmla="*/ 2623705 h 4914348"/>
              <a:gd name="connsiteX677" fmla="*/ 575918 w 6468531"/>
              <a:gd name="connsiteY677" fmla="*/ 2573925 h 4914348"/>
              <a:gd name="connsiteX678" fmla="*/ 581457 w 6468531"/>
              <a:gd name="connsiteY678" fmla="*/ 2551803 h 4914348"/>
              <a:gd name="connsiteX679" fmla="*/ 625757 w 6468531"/>
              <a:gd name="connsiteY679" fmla="*/ 2513089 h 4914348"/>
              <a:gd name="connsiteX680" fmla="*/ 686672 w 6468531"/>
              <a:gd name="connsiteY680" fmla="*/ 2430125 h 4914348"/>
              <a:gd name="connsiteX681" fmla="*/ 697747 w 6468531"/>
              <a:gd name="connsiteY681" fmla="*/ 2358223 h 4914348"/>
              <a:gd name="connsiteX682" fmla="*/ 708827 w 6468531"/>
              <a:gd name="connsiteY682" fmla="*/ 2336096 h 4914348"/>
              <a:gd name="connsiteX683" fmla="*/ 725437 w 6468531"/>
              <a:gd name="connsiteY683" fmla="*/ 2325035 h 4914348"/>
              <a:gd name="connsiteX684" fmla="*/ 708827 w 6468531"/>
              <a:gd name="connsiteY684" fmla="*/ 2319504 h 4914348"/>
              <a:gd name="connsiteX685" fmla="*/ 648486 w 6468531"/>
              <a:gd name="connsiteY685" fmla="*/ 2319504 h 4914348"/>
              <a:gd name="connsiteX686" fmla="*/ 647912 w 6468531"/>
              <a:gd name="connsiteY686" fmla="*/ 2319504 h 4914348"/>
              <a:gd name="connsiteX687" fmla="*/ 653447 w 6468531"/>
              <a:gd name="connsiteY687" fmla="*/ 2286321 h 4914348"/>
              <a:gd name="connsiteX688" fmla="*/ 625757 w 6468531"/>
              <a:gd name="connsiteY688" fmla="*/ 2308443 h 4914348"/>
              <a:gd name="connsiteX689" fmla="*/ 592532 w 6468531"/>
              <a:gd name="connsiteY689" fmla="*/ 2347162 h 4914348"/>
              <a:gd name="connsiteX690" fmla="*/ 548232 w 6468531"/>
              <a:gd name="connsiteY690" fmla="*/ 2336096 h 4914348"/>
              <a:gd name="connsiteX691" fmla="*/ 537157 w 6468531"/>
              <a:gd name="connsiteY691" fmla="*/ 2319504 h 4914348"/>
              <a:gd name="connsiteX692" fmla="*/ 537157 w 6468531"/>
              <a:gd name="connsiteY692" fmla="*/ 2275260 h 4914348"/>
              <a:gd name="connsiteX693" fmla="*/ 559307 w 6468531"/>
              <a:gd name="connsiteY693" fmla="*/ 2258668 h 4914348"/>
              <a:gd name="connsiteX694" fmla="*/ 609147 w 6468531"/>
              <a:gd name="connsiteY694" fmla="*/ 2219949 h 4914348"/>
              <a:gd name="connsiteX695" fmla="*/ 631297 w 6468531"/>
              <a:gd name="connsiteY695" fmla="*/ 2197827 h 4914348"/>
              <a:gd name="connsiteX696" fmla="*/ 609147 w 6468531"/>
              <a:gd name="connsiteY696" fmla="*/ 2181235 h 4914348"/>
              <a:gd name="connsiteX697" fmla="*/ 586997 w 6468531"/>
              <a:gd name="connsiteY697" fmla="*/ 2192296 h 4914348"/>
              <a:gd name="connsiteX698" fmla="*/ 564843 w 6468531"/>
              <a:gd name="connsiteY698" fmla="*/ 2208888 h 4914348"/>
              <a:gd name="connsiteX699" fmla="*/ 559307 w 6468531"/>
              <a:gd name="connsiteY699" fmla="*/ 2181235 h 4914348"/>
              <a:gd name="connsiteX700" fmla="*/ 575918 w 6468531"/>
              <a:gd name="connsiteY700" fmla="*/ 2136990 h 4914348"/>
              <a:gd name="connsiteX701" fmla="*/ 575918 w 6468531"/>
              <a:gd name="connsiteY701" fmla="*/ 2103806 h 4914348"/>
              <a:gd name="connsiteX702" fmla="*/ 492853 w 6468531"/>
              <a:gd name="connsiteY702" fmla="*/ 2087215 h 4914348"/>
              <a:gd name="connsiteX703" fmla="*/ 431938 w 6468531"/>
              <a:gd name="connsiteY703" fmla="*/ 2120398 h 4914348"/>
              <a:gd name="connsiteX704" fmla="*/ 409788 w 6468531"/>
              <a:gd name="connsiteY704" fmla="*/ 2120398 h 4914348"/>
              <a:gd name="connsiteX705" fmla="*/ 371023 w 6468531"/>
              <a:gd name="connsiteY705" fmla="*/ 2120398 h 4914348"/>
              <a:gd name="connsiteX706" fmla="*/ 354413 w 6468531"/>
              <a:gd name="connsiteY706" fmla="*/ 2125929 h 4914348"/>
              <a:gd name="connsiteX707" fmla="*/ 337799 w 6468531"/>
              <a:gd name="connsiteY707" fmla="*/ 2120398 h 4914348"/>
              <a:gd name="connsiteX708" fmla="*/ 348874 w 6468531"/>
              <a:gd name="connsiteY708" fmla="*/ 2109337 h 4914348"/>
              <a:gd name="connsiteX709" fmla="*/ 398713 w 6468531"/>
              <a:gd name="connsiteY709" fmla="*/ 2070623 h 4914348"/>
              <a:gd name="connsiteX710" fmla="*/ 409788 w 6468531"/>
              <a:gd name="connsiteY710" fmla="*/ 2059557 h 4914348"/>
              <a:gd name="connsiteX711" fmla="*/ 393173 w 6468531"/>
              <a:gd name="connsiteY711" fmla="*/ 2059557 h 4914348"/>
              <a:gd name="connsiteX712" fmla="*/ 260269 w 6468531"/>
              <a:gd name="connsiteY712" fmla="*/ 2136990 h 4914348"/>
              <a:gd name="connsiteX713" fmla="*/ 105215 w 6468531"/>
              <a:gd name="connsiteY713" fmla="*/ 2231010 h 4914348"/>
              <a:gd name="connsiteX714" fmla="*/ 60915 w 6468531"/>
              <a:gd name="connsiteY714" fmla="*/ 2219949 h 4914348"/>
              <a:gd name="connsiteX715" fmla="*/ 60915 w 6468531"/>
              <a:gd name="connsiteY715" fmla="*/ 2214418 h 4914348"/>
              <a:gd name="connsiteX716" fmla="*/ 160594 w 6468531"/>
              <a:gd name="connsiteY716" fmla="*/ 2131459 h 4914348"/>
              <a:gd name="connsiteX717" fmla="*/ 299034 w 6468531"/>
              <a:gd name="connsiteY717" fmla="*/ 2037435 h 4914348"/>
              <a:gd name="connsiteX718" fmla="*/ 304574 w 6468531"/>
              <a:gd name="connsiteY718" fmla="*/ 2031904 h 4914348"/>
              <a:gd name="connsiteX719" fmla="*/ 326724 w 6468531"/>
              <a:gd name="connsiteY719" fmla="*/ 1998721 h 4914348"/>
              <a:gd name="connsiteX720" fmla="*/ 299034 w 6468531"/>
              <a:gd name="connsiteY720" fmla="*/ 2015312 h 4914348"/>
              <a:gd name="connsiteX721" fmla="*/ 227044 w 6468531"/>
              <a:gd name="connsiteY721" fmla="*/ 2059557 h 4914348"/>
              <a:gd name="connsiteX722" fmla="*/ 132905 w 6468531"/>
              <a:gd name="connsiteY722" fmla="*/ 2136990 h 4914348"/>
              <a:gd name="connsiteX723" fmla="*/ 110755 w 6468531"/>
              <a:gd name="connsiteY723" fmla="*/ 2142521 h 4914348"/>
              <a:gd name="connsiteX724" fmla="*/ 116290 w 6468531"/>
              <a:gd name="connsiteY724" fmla="*/ 2125929 h 4914348"/>
              <a:gd name="connsiteX725" fmla="*/ 116290 w 6468531"/>
              <a:gd name="connsiteY725" fmla="*/ 2120398 h 4914348"/>
              <a:gd name="connsiteX726" fmla="*/ 83065 w 6468531"/>
              <a:gd name="connsiteY726" fmla="*/ 2148051 h 4914348"/>
              <a:gd name="connsiteX727" fmla="*/ 44300 w 6468531"/>
              <a:gd name="connsiteY727" fmla="*/ 2186765 h 4914348"/>
              <a:gd name="connsiteX728" fmla="*/ 0 w 6468531"/>
              <a:gd name="connsiteY728" fmla="*/ 2197827 h 4914348"/>
              <a:gd name="connsiteX729" fmla="*/ 22150 w 6468531"/>
              <a:gd name="connsiteY729" fmla="*/ 2164643 h 4914348"/>
              <a:gd name="connsiteX730" fmla="*/ 238119 w 6468531"/>
              <a:gd name="connsiteY730" fmla="*/ 2004251 h 4914348"/>
              <a:gd name="connsiteX731" fmla="*/ 321184 w 6468531"/>
              <a:gd name="connsiteY731" fmla="*/ 1943410 h 4914348"/>
              <a:gd name="connsiteX732" fmla="*/ 326724 w 6468531"/>
              <a:gd name="connsiteY732" fmla="*/ 1899165 h 4914348"/>
              <a:gd name="connsiteX733" fmla="*/ 326724 w 6468531"/>
              <a:gd name="connsiteY733" fmla="*/ 1711120 h 4914348"/>
              <a:gd name="connsiteX734" fmla="*/ 371023 w 6468531"/>
              <a:gd name="connsiteY734" fmla="*/ 1711120 h 4914348"/>
              <a:gd name="connsiteX735" fmla="*/ 404253 w 6468531"/>
              <a:gd name="connsiteY735" fmla="*/ 1744304 h 4914348"/>
              <a:gd name="connsiteX736" fmla="*/ 503928 w 6468531"/>
              <a:gd name="connsiteY736" fmla="*/ 1705590 h 4914348"/>
              <a:gd name="connsiteX737" fmla="*/ 692212 w 6468531"/>
              <a:gd name="connsiteY737" fmla="*/ 1683467 h 4914348"/>
              <a:gd name="connsiteX738" fmla="*/ 742051 w 6468531"/>
              <a:gd name="connsiteY738" fmla="*/ 1655810 h 4914348"/>
              <a:gd name="connsiteX739" fmla="*/ 775276 w 6468531"/>
              <a:gd name="connsiteY739" fmla="*/ 1628157 h 4914348"/>
              <a:gd name="connsiteX740" fmla="*/ 786351 w 6468531"/>
              <a:gd name="connsiteY740" fmla="*/ 1606034 h 4914348"/>
              <a:gd name="connsiteX741" fmla="*/ 825116 w 6468531"/>
              <a:gd name="connsiteY741" fmla="*/ 1473291 h 4914348"/>
              <a:gd name="connsiteX742" fmla="*/ 935871 w 6468531"/>
              <a:gd name="connsiteY742" fmla="*/ 1395858 h 4914348"/>
              <a:gd name="connsiteX743" fmla="*/ 1018935 w 6468531"/>
              <a:gd name="connsiteY743" fmla="*/ 1346082 h 4914348"/>
              <a:gd name="connsiteX744" fmla="*/ 1157379 w 6468531"/>
              <a:gd name="connsiteY744" fmla="*/ 1274175 h 4914348"/>
              <a:gd name="connsiteX745" fmla="*/ 1179529 w 6468531"/>
              <a:gd name="connsiteY745" fmla="*/ 1257584 h 4914348"/>
              <a:gd name="connsiteX746" fmla="*/ 1262594 w 6468531"/>
              <a:gd name="connsiteY746" fmla="*/ 1207808 h 4914348"/>
              <a:gd name="connsiteX747" fmla="*/ 1340124 w 6468531"/>
              <a:gd name="connsiteY747" fmla="*/ 1185686 h 4914348"/>
              <a:gd name="connsiteX748" fmla="*/ 1351199 w 6468531"/>
              <a:gd name="connsiteY748" fmla="*/ 1174625 h 4914348"/>
              <a:gd name="connsiteX749" fmla="*/ 1367809 w 6468531"/>
              <a:gd name="connsiteY749" fmla="*/ 1146967 h 4914348"/>
              <a:gd name="connsiteX750" fmla="*/ 1456413 w 6468531"/>
              <a:gd name="connsiteY750" fmla="*/ 1097192 h 4914348"/>
              <a:gd name="connsiteX751" fmla="*/ 1500713 w 6468531"/>
              <a:gd name="connsiteY751" fmla="*/ 1102723 h 4914348"/>
              <a:gd name="connsiteX752" fmla="*/ 1511793 w 6468531"/>
              <a:gd name="connsiteY752" fmla="*/ 1102723 h 4914348"/>
              <a:gd name="connsiteX753" fmla="*/ 1517328 w 6468531"/>
              <a:gd name="connsiteY753" fmla="*/ 1086131 h 4914348"/>
              <a:gd name="connsiteX754" fmla="*/ 1533943 w 6468531"/>
              <a:gd name="connsiteY754" fmla="*/ 1052947 h 4914348"/>
              <a:gd name="connsiteX755" fmla="*/ 1576164 w 6468531"/>
              <a:gd name="connsiteY755" fmla="*/ 1030820 h 4914348"/>
              <a:gd name="connsiteX756" fmla="*/ 1620248 w 6468531"/>
              <a:gd name="connsiteY756" fmla="*/ 1025565 h 4914348"/>
              <a:gd name="connsiteX757" fmla="*/ 1634813 w 6468531"/>
              <a:gd name="connsiteY757" fmla="*/ 1011001 h 4914348"/>
              <a:gd name="connsiteX758" fmla="*/ 1642113 w 6468531"/>
              <a:gd name="connsiteY758" fmla="*/ 1018302 h 4914348"/>
              <a:gd name="connsiteX759" fmla="*/ 1620350 w 6468531"/>
              <a:gd name="connsiteY759" fmla="*/ 1025552 h 4914348"/>
              <a:gd name="connsiteX760" fmla="*/ 1622542 w 6468531"/>
              <a:gd name="connsiteY760" fmla="*/ 1025290 h 4914348"/>
              <a:gd name="connsiteX761" fmla="*/ 1567167 w 6468531"/>
              <a:gd name="connsiteY761" fmla="*/ 1064008 h 4914348"/>
              <a:gd name="connsiteX762" fmla="*/ 1550553 w 6468531"/>
              <a:gd name="connsiteY762" fmla="*/ 1080600 h 4914348"/>
              <a:gd name="connsiteX763" fmla="*/ 1572707 w 6468531"/>
              <a:gd name="connsiteY763" fmla="*/ 1080600 h 4914348"/>
              <a:gd name="connsiteX764" fmla="*/ 1605932 w 6468531"/>
              <a:gd name="connsiteY764" fmla="*/ 1069539 h 4914348"/>
              <a:gd name="connsiteX765" fmla="*/ 1628082 w 6468531"/>
              <a:gd name="connsiteY765" fmla="*/ 1058478 h 4914348"/>
              <a:gd name="connsiteX766" fmla="*/ 1700072 w 6468531"/>
              <a:gd name="connsiteY766" fmla="*/ 1041886 h 4914348"/>
              <a:gd name="connsiteX767" fmla="*/ 1727762 w 6468531"/>
              <a:gd name="connsiteY767" fmla="*/ 1041886 h 4914348"/>
              <a:gd name="connsiteX768" fmla="*/ 1766527 w 6468531"/>
              <a:gd name="connsiteY768" fmla="*/ 1019759 h 4914348"/>
              <a:gd name="connsiteX769" fmla="*/ 1910506 w 6468531"/>
              <a:gd name="connsiteY769" fmla="*/ 958922 h 4914348"/>
              <a:gd name="connsiteX770" fmla="*/ 1999106 w 6468531"/>
              <a:gd name="connsiteY770" fmla="*/ 920204 h 4914348"/>
              <a:gd name="connsiteX771" fmla="*/ 2004646 w 6468531"/>
              <a:gd name="connsiteY771" fmla="*/ 903612 h 4914348"/>
              <a:gd name="connsiteX772" fmla="*/ 1976956 w 6468531"/>
              <a:gd name="connsiteY772" fmla="*/ 892551 h 4914348"/>
              <a:gd name="connsiteX773" fmla="*/ 1849591 w 6468531"/>
              <a:gd name="connsiteY773" fmla="*/ 953392 h 4914348"/>
              <a:gd name="connsiteX774" fmla="*/ 1788677 w 6468531"/>
              <a:gd name="connsiteY774" fmla="*/ 975514 h 4914348"/>
              <a:gd name="connsiteX775" fmla="*/ 1777602 w 6468531"/>
              <a:gd name="connsiteY775" fmla="*/ 969984 h 4914348"/>
              <a:gd name="connsiteX776" fmla="*/ 1788677 w 6468531"/>
              <a:gd name="connsiteY776" fmla="*/ 958922 h 4914348"/>
              <a:gd name="connsiteX777" fmla="*/ 1794212 w 6468531"/>
              <a:gd name="connsiteY777" fmla="*/ 931265 h 4914348"/>
              <a:gd name="connsiteX778" fmla="*/ 1794212 w 6468531"/>
              <a:gd name="connsiteY778" fmla="*/ 925734 h 4914348"/>
              <a:gd name="connsiteX779" fmla="*/ 1805287 w 6468531"/>
              <a:gd name="connsiteY779" fmla="*/ 920204 h 4914348"/>
              <a:gd name="connsiteX780" fmla="*/ 1877276 w 6468531"/>
              <a:gd name="connsiteY780" fmla="*/ 898081 h 4914348"/>
              <a:gd name="connsiteX781" fmla="*/ 1910506 w 6468531"/>
              <a:gd name="connsiteY781" fmla="*/ 881490 h 4914348"/>
              <a:gd name="connsiteX782" fmla="*/ 1993571 w 6468531"/>
              <a:gd name="connsiteY782" fmla="*/ 848301 h 4914348"/>
              <a:gd name="connsiteX783" fmla="*/ 1999106 w 6468531"/>
              <a:gd name="connsiteY783" fmla="*/ 837240 h 4914348"/>
              <a:gd name="connsiteX784" fmla="*/ 2010185 w 6468531"/>
              <a:gd name="connsiteY784" fmla="*/ 798526 h 4914348"/>
              <a:gd name="connsiteX785" fmla="*/ 2093250 w 6468531"/>
              <a:gd name="connsiteY785" fmla="*/ 759807 h 4914348"/>
              <a:gd name="connsiteX786" fmla="*/ 2104325 w 6468531"/>
              <a:gd name="connsiteY786" fmla="*/ 754277 h 4914348"/>
              <a:gd name="connsiteX787" fmla="*/ 2231690 w 6468531"/>
              <a:gd name="connsiteY787" fmla="*/ 715562 h 4914348"/>
              <a:gd name="connsiteX788" fmla="*/ 2347984 w 6468531"/>
              <a:gd name="connsiteY788" fmla="*/ 676844 h 4914348"/>
              <a:gd name="connsiteX789" fmla="*/ 2364594 w 6468531"/>
              <a:gd name="connsiteY789" fmla="*/ 671313 h 4914348"/>
              <a:gd name="connsiteX790" fmla="*/ 2469813 w 6468531"/>
              <a:gd name="connsiteY790" fmla="*/ 616007 h 4914348"/>
              <a:gd name="connsiteX791" fmla="*/ 2580568 w 6468531"/>
              <a:gd name="connsiteY791" fmla="*/ 577289 h 4914348"/>
              <a:gd name="connsiteX792" fmla="*/ 2635943 w 6468531"/>
              <a:gd name="connsiteY792" fmla="*/ 560692 h 4914348"/>
              <a:gd name="connsiteX793" fmla="*/ 2674707 w 6468531"/>
              <a:gd name="connsiteY793" fmla="*/ 521978 h 4914348"/>
              <a:gd name="connsiteX794" fmla="*/ 2691322 w 6468531"/>
              <a:gd name="connsiteY794" fmla="*/ 505386 h 4914348"/>
              <a:gd name="connsiteX795" fmla="*/ 2730082 w 6468531"/>
              <a:gd name="connsiteY795" fmla="*/ 499856 h 4914348"/>
              <a:gd name="connsiteX796" fmla="*/ 2746697 w 6468531"/>
              <a:gd name="connsiteY796" fmla="*/ 483264 h 4914348"/>
              <a:gd name="connsiteX797" fmla="*/ 2724547 w 6468531"/>
              <a:gd name="connsiteY797" fmla="*/ 477733 h 4914348"/>
              <a:gd name="connsiteX798" fmla="*/ 2713472 w 6468531"/>
              <a:gd name="connsiteY798" fmla="*/ 466667 h 4914348"/>
              <a:gd name="connsiteX799" fmla="*/ 2757772 w 6468531"/>
              <a:gd name="connsiteY799" fmla="*/ 427953 h 4914348"/>
              <a:gd name="connsiteX800" fmla="*/ 2774387 w 6468531"/>
              <a:gd name="connsiteY800" fmla="*/ 422423 h 4914348"/>
              <a:gd name="connsiteX801" fmla="*/ 2757772 w 6468531"/>
              <a:gd name="connsiteY801" fmla="*/ 416892 h 4914348"/>
              <a:gd name="connsiteX802" fmla="*/ 2719007 w 6468531"/>
              <a:gd name="connsiteY802" fmla="*/ 427953 h 4914348"/>
              <a:gd name="connsiteX803" fmla="*/ 2702397 w 6468531"/>
              <a:gd name="connsiteY803" fmla="*/ 422423 h 4914348"/>
              <a:gd name="connsiteX804" fmla="*/ 2713472 w 6468531"/>
              <a:gd name="connsiteY804" fmla="*/ 411362 h 4914348"/>
              <a:gd name="connsiteX805" fmla="*/ 2840837 w 6468531"/>
              <a:gd name="connsiteY805" fmla="*/ 361582 h 4914348"/>
              <a:gd name="connsiteX806" fmla="*/ 2885141 w 6468531"/>
              <a:gd name="connsiteY806" fmla="*/ 356051 h 4914348"/>
              <a:gd name="connsiteX807" fmla="*/ 2824226 w 6468531"/>
              <a:gd name="connsiteY807" fmla="*/ 400300 h 4914348"/>
              <a:gd name="connsiteX808" fmla="*/ 2802076 w 6468531"/>
              <a:gd name="connsiteY808" fmla="*/ 411362 h 4914348"/>
              <a:gd name="connsiteX809" fmla="*/ 2824226 w 6468531"/>
              <a:gd name="connsiteY809" fmla="*/ 416892 h 4914348"/>
              <a:gd name="connsiteX810" fmla="*/ 2890677 w 6468531"/>
              <a:gd name="connsiteY810" fmla="*/ 394770 h 4914348"/>
              <a:gd name="connsiteX811" fmla="*/ 2940516 w 6468531"/>
              <a:gd name="connsiteY811" fmla="*/ 394770 h 4914348"/>
              <a:gd name="connsiteX812" fmla="*/ 2957131 w 6468531"/>
              <a:gd name="connsiteY812" fmla="*/ 400300 h 4914348"/>
              <a:gd name="connsiteX813" fmla="*/ 2984816 w 6468531"/>
              <a:gd name="connsiteY813" fmla="*/ 416892 h 4914348"/>
              <a:gd name="connsiteX814" fmla="*/ 2979281 w 6468531"/>
              <a:gd name="connsiteY814" fmla="*/ 433484 h 4914348"/>
              <a:gd name="connsiteX815" fmla="*/ 2957131 w 6468531"/>
              <a:gd name="connsiteY815" fmla="*/ 422423 h 4914348"/>
              <a:gd name="connsiteX816" fmla="*/ 2946056 w 6468531"/>
              <a:gd name="connsiteY816" fmla="*/ 422423 h 4914348"/>
              <a:gd name="connsiteX817" fmla="*/ 2857451 w 6468531"/>
              <a:gd name="connsiteY817" fmla="*/ 477733 h 4914348"/>
              <a:gd name="connsiteX818" fmla="*/ 2851912 w 6468531"/>
              <a:gd name="connsiteY818" fmla="*/ 483264 h 4914348"/>
              <a:gd name="connsiteX819" fmla="*/ 2757772 w 6468531"/>
              <a:gd name="connsiteY819" fmla="*/ 533039 h 4914348"/>
              <a:gd name="connsiteX820" fmla="*/ 2624868 w 6468531"/>
              <a:gd name="connsiteY820" fmla="*/ 604946 h 4914348"/>
              <a:gd name="connsiteX821" fmla="*/ 2580568 w 6468531"/>
              <a:gd name="connsiteY821" fmla="*/ 632599 h 4914348"/>
              <a:gd name="connsiteX822" fmla="*/ 2624868 w 6468531"/>
              <a:gd name="connsiteY822" fmla="*/ 627069 h 4914348"/>
              <a:gd name="connsiteX823" fmla="*/ 2802076 w 6468531"/>
              <a:gd name="connsiteY823" fmla="*/ 555161 h 4914348"/>
              <a:gd name="connsiteX824" fmla="*/ 2818687 w 6468531"/>
              <a:gd name="connsiteY824" fmla="*/ 544100 h 4914348"/>
              <a:gd name="connsiteX825" fmla="*/ 2940516 w 6468531"/>
              <a:gd name="connsiteY825" fmla="*/ 483264 h 4914348"/>
              <a:gd name="connsiteX826" fmla="*/ 2984816 w 6468531"/>
              <a:gd name="connsiteY826" fmla="*/ 466667 h 4914348"/>
              <a:gd name="connsiteX827" fmla="*/ 3029120 w 6468531"/>
              <a:gd name="connsiteY827" fmla="*/ 466667 h 4914348"/>
              <a:gd name="connsiteX828" fmla="*/ 3051270 w 6468531"/>
              <a:gd name="connsiteY828" fmla="*/ 488794 h 4914348"/>
              <a:gd name="connsiteX829" fmla="*/ 3139875 w 6468531"/>
              <a:gd name="connsiteY829" fmla="*/ 555161 h 4914348"/>
              <a:gd name="connsiteX830" fmla="*/ 3200790 w 6468531"/>
              <a:gd name="connsiteY830" fmla="*/ 571758 h 4914348"/>
              <a:gd name="connsiteX831" fmla="*/ 3289389 w 6468531"/>
              <a:gd name="connsiteY831" fmla="*/ 571758 h 4914348"/>
              <a:gd name="connsiteX832" fmla="*/ 3294929 w 6468531"/>
              <a:gd name="connsiteY832" fmla="*/ 571758 h 4914348"/>
              <a:gd name="connsiteX833" fmla="*/ 3355844 w 6468531"/>
              <a:gd name="connsiteY833" fmla="*/ 555161 h 4914348"/>
              <a:gd name="connsiteX834" fmla="*/ 3366919 w 6468531"/>
              <a:gd name="connsiteY834" fmla="*/ 527508 h 4914348"/>
              <a:gd name="connsiteX835" fmla="*/ 3377994 w 6468531"/>
              <a:gd name="connsiteY835" fmla="*/ 510917 h 4914348"/>
              <a:gd name="connsiteX836" fmla="*/ 3416759 w 6468531"/>
              <a:gd name="connsiteY836" fmla="*/ 455606 h 4914348"/>
              <a:gd name="connsiteX837" fmla="*/ 3422298 w 6468531"/>
              <a:gd name="connsiteY837" fmla="*/ 444545 h 4914348"/>
              <a:gd name="connsiteX838" fmla="*/ 3427838 w 6468531"/>
              <a:gd name="connsiteY838" fmla="*/ 455606 h 4914348"/>
              <a:gd name="connsiteX839" fmla="*/ 3488753 w 6468531"/>
              <a:gd name="connsiteY839" fmla="*/ 499856 h 4914348"/>
              <a:gd name="connsiteX840" fmla="*/ 3665957 w 6468531"/>
              <a:gd name="connsiteY840" fmla="*/ 444545 h 4914348"/>
              <a:gd name="connsiteX841" fmla="*/ 3893001 w 6468531"/>
              <a:gd name="connsiteY841" fmla="*/ 350520 h 4914348"/>
              <a:gd name="connsiteX842" fmla="*/ 4208650 w 6468531"/>
              <a:gd name="connsiteY842" fmla="*/ 267557 h 4914348"/>
              <a:gd name="connsiteX843" fmla="*/ 4247415 w 6468531"/>
              <a:gd name="connsiteY843" fmla="*/ 250965 h 4914348"/>
              <a:gd name="connsiteX844" fmla="*/ 4347094 w 6468531"/>
              <a:gd name="connsiteY844" fmla="*/ 223312 h 4914348"/>
              <a:gd name="connsiteX845" fmla="*/ 4518763 w 6468531"/>
              <a:gd name="connsiteY845" fmla="*/ 184593 h 4914348"/>
              <a:gd name="connsiteX846" fmla="*/ 4773497 w 6468531"/>
              <a:gd name="connsiteY846" fmla="*/ 140348 h 4914348"/>
              <a:gd name="connsiteX847" fmla="*/ 4812262 w 6468531"/>
              <a:gd name="connsiteY847" fmla="*/ 123757 h 4914348"/>
              <a:gd name="connsiteX848" fmla="*/ 4873176 w 6468531"/>
              <a:gd name="connsiteY848" fmla="*/ 112695 h 4914348"/>
              <a:gd name="connsiteX849" fmla="*/ 4923016 w 6468531"/>
              <a:gd name="connsiteY849" fmla="*/ 96099 h 4914348"/>
              <a:gd name="connsiteX850" fmla="*/ 4928551 w 6468531"/>
              <a:gd name="connsiteY850" fmla="*/ 90569 h 4914348"/>
              <a:gd name="connsiteX851" fmla="*/ 4950701 w 6468531"/>
              <a:gd name="connsiteY851" fmla="*/ 62916 h 4914348"/>
              <a:gd name="connsiteX852" fmla="*/ 5044846 w 6468531"/>
              <a:gd name="connsiteY852" fmla="*/ 40793 h 4914348"/>
              <a:gd name="connsiteX853" fmla="*/ 5194360 w 6468531"/>
              <a:gd name="connsiteY853" fmla="*/ 18671 h 4914348"/>
              <a:gd name="connsiteX854" fmla="*/ 5426944 w 6468531"/>
              <a:gd name="connsiteY854" fmla="*/ 2074 h 491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Lst>
            <a:rect l="l" t="t" r="r" b="b"/>
            <a:pathLst>
              <a:path w="6468531" h="4914348">
                <a:moveTo>
                  <a:pt x="2079245" y="4553180"/>
                </a:moveTo>
                <a:cubicBezTo>
                  <a:pt x="2080681" y="4553180"/>
                  <a:pt x="2081847" y="4554347"/>
                  <a:pt x="2081847" y="4555782"/>
                </a:cubicBezTo>
                <a:cubicBezTo>
                  <a:pt x="2081847" y="4557217"/>
                  <a:pt x="2080681" y="4558383"/>
                  <a:pt x="2079245" y="4558383"/>
                </a:cubicBezTo>
                <a:cubicBezTo>
                  <a:pt x="2077807" y="4558383"/>
                  <a:pt x="2076644" y="4557217"/>
                  <a:pt x="2076644" y="4555782"/>
                </a:cubicBezTo>
                <a:cubicBezTo>
                  <a:pt x="2076644" y="4554347"/>
                  <a:pt x="2077807" y="4553180"/>
                  <a:pt x="2079245" y="4553180"/>
                </a:cubicBezTo>
                <a:close/>
                <a:moveTo>
                  <a:pt x="1994717" y="4542777"/>
                </a:moveTo>
                <a:cubicBezTo>
                  <a:pt x="1998620" y="4546679"/>
                  <a:pt x="1998620" y="4550582"/>
                  <a:pt x="1998620" y="4554481"/>
                </a:cubicBezTo>
                <a:cubicBezTo>
                  <a:pt x="1998620" y="4558383"/>
                  <a:pt x="1994717" y="4554481"/>
                  <a:pt x="1990815" y="4554481"/>
                </a:cubicBezTo>
                <a:cubicBezTo>
                  <a:pt x="1986916" y="4554481"/>
                  <a:pt x="1983013" y="4550582"/>
                  <a:pt x="1986916" y="4546679"/>
                </a:cubicBezTo>
                <a:cubicBezTo>
                  <a:pt x="1986916" y="4542777"/>
                  <a:pt x="1990815" y="4542777"/>
                  <a:pt x="1994717" y="4542777"/>
                </a:cubicBezTo>
                <a:close/>
                <a:moveTo>
                  <a:pt x="2810086" y="4438743"/>
                </a:moveTo>
                <a:cubicBezTo>
                  <a:pt x="2810086" y="4438743"/>
                  <a:pt x="2810086" y="4441344"/>
                  <a:pt x="2810086" y="4443946"/>
                </a:cubicBezTo>
                <a:cubicBezTo>
                  <a:pt x="2810086" y="4443946"/>
                  <a:pt x="2804882" y="4443946"/>
                  <a:pt x="2804882" y="4443946"/>
                </a:cubicBezTo>
                <a:cubicBezTo>
                  <a:pt x="2804882" y="4441344"/>
                  <a:pt x="2810086" y="4438743"/>
                  <a:pt x="2810086" y="4438743"/>
                </a:cubicBezTo>
                <a:close/>
                <a:moveTo>
                  <a:pt x="3226219" y="4339912"/>
                </a:moveTo>
                <a:cubicBezTo>
                  <a:pt x="3231422" y="4339912"/>
                  <a:pt x="3231422" y="4339912"/>
                  <a:pt x="3231422" y="4345115"/>
                </a:cubicBezTo>
                <a:cubicBezTo>
                  <a:pt x="3231422" y="4345115"/>
                  <a:pt x="3231422" y="4345115"/>
                  <a:pt x="3226219" y="4350315"/>
                </a:cubicBezTo>
                <a:cubicBezTo>
                  <a:pt x="3226219" y="4350315"/>
                  <a:pt x="3221019" y="4345115"/>
                  <a:pt x="3221019" y="4345115"/>
                </a:cubicBezTo>
                <a:cubicBezTo>
                  <a:pt x="3221019" y="4339912"/>
                  <a:pt x="3226219" y="4339912"/>
                  <a:pt x="3226219" y="4339912"/>
                </a:cubicBezTo>
                <a:close/>
                <a:moveTo>
                  <a:pt x="2785809" y="4251481"/>
                </a:moveTo>
                <a:cubicBezTo>
                  <a:pt x="2785809" y="4251481"/>
                  <a:pt x="2789279" y="4251481"/>
                  <a:pt x="2789279" y="4254083"/>
                </a:cubicBezTo>
                <a:cubicBezTo>
                  <a:pt x="2789279" y="4256685"/>
                  <a:pt x="2789279" y="4256685"/>
                  <a:pt x="2785809" y="4256685"/>
                </a:cubicBezTo>
                <a:cubicBezTo>
                  <a:pt x="2782342" y="4256685"/>
                  <a:pt x="2782342" y="4256685"/>
                  <a:pt x="2778876" y="4256685"/>
                </a:cubicBezTo>
                <a:cubicBezTo>
                  <a:pt x="2782342" y="4254083"/>
                  <a:pt x="2782342" y="4254083"/>
                  <a:pt x="2785809" y="4251481"/>
                </a:cubicBezTo>
                <a:close/>
                <a:moveTo>
                  <a:pt x="529126" y="3864618"/>
                </a:moveTo>
                <a:cubicBezTo>
                  <a:pt x="531140" y="3864618"/>
                  <a:pt x="532776" y="3866255"/>
                  <a:pt x="532776" y="3868269"/>
                </a:cubicBezTo>
                <a:cubicBezTo>
                  <a:pt x="532776" y="3870282"/>
                  <a:pt x="531140" y="3871919"/>
                  <a:pt x="529126" y="3871919"/>
                </a:cubicBezTo>
                <a:cubicBezTo>
                  <a:pt x="527108" y="3871919"/>
                  <a:pt x="525476" y="3870282"/>
                  <a:pt x="525476" y="3868269"/>
                </a:cubicBezTo>
                <a:cubicBezTo>
                  <a:pt x="525476" y="3866255"/>
                  <a:pt x="527108" y="3864618"/>
                  <a:pt x="529126" y="3864618"/>
                </a:cubicBezTo>
                <a:close/>
                <a:moveTo>
                  <a:pt x="410528" y="3850022"/>
                </a:moveTo>
                <a:cubicBezTo>
                  <a:pt x="416004" y="3855497"/>
                  <a:pt x="416004" y="3860973"/>
                  <a:pt x="416004" y="3866443"/>
                </a:cubicBezTo>
                <a:cubicBezTo>
                  <a:pt x="416004" y="3871919"/>
                  <a:pt x="410528" y="3866443"/>
                  <a:pt x="405053" y="3866443"/>
                </a:cubicBezTo>
                <a:cubicBezTo>
                  <a:pt x="399582" y="3866443"/>
                  <a:pt x="394107" y="3860973"/>
                  <a:pt x="399582" y="3855497"/>
                </a:cubicBezTo>
                <a:cubicBezTo>
                  <a:pt x="399582" y="3850022"/>
                  <a:pt x="405053" y="3850022"/>
                  <a:pt x="410528" y="3850022"/>
                </a:cubicBezTo>
                <a:close/>
                <a:moveTo>
                  <a:pt x="5706886" y="3802873"/>
                </a:moveTo>
                <a:cubicBezTo>
                  <a:pt x="5722676" y="3798935"/>
                  <a:pt x="5738463" y="3806812"/>
                  <a:pt x="5754250" y="3802873"/>
                </a:cubicBezTo>
                <a:cubicBezTo>
                  <a:pt x="5754250" y="3802873"/>
                  <a:pt x="5754250" y="3806812"/>
                  <a:pt x="5754250" y="3806812"/>
                </a:cubicBezTo>
                <a:cubicBezTo>
                  <a:pt x="5750305" y="3806812"/>
                  <a:pt x="5746357" y="3806812"/>
                  <a:pt x="5742412" y="3806812"/>
                </a:cubicBezTo>
                <a:cubicBezTo>
                  <a:pt x="5627948" y="3842252"/>
                  <a:pt x="5513488" y="3865880"/>
                  <a:pt x="5399027" y="3897382"/>
                </a:cubicBezTo>
                <a:cubicBezTo>
                  <a:pt x="5308247" y="3924948"/>
                  <a:pt x="5213522" y="3952512"/>
                  <a:pt x="5118794" y="3980078"/>
                </a:cubicBezTo>
                <a:cubicBezTo>
                  <a:pt x="5035911" y="4003706"/>
                  <a:pt x="4949076" y="4027334"/>
                  <a:pt x="4862244" y="4047024"/>
                </a:cubicBezTo>
                <a:cubicBezTo>
                  <a:pt x="4795148" y="4062775"/>
                  <a:pt x="4728048" y="4082464"/>
                  <a:pt x="4657004" y="4102154"/>
                </a:cubicBezTo>
                <a:cubicBezTo>
                  <a:pt x="4554382" y="4129720"/>
                  <a:pt x="4451763" y="4153348"/>
                  <a:pt x="4349141" y="4184850"/>
                </a:cubicBezTo>
                <a:cubicBezTo>
                  <a:pt x="4262310" y="4212417"/>
                  <a:pt x="4171530" y="4236045"/>
                  <a:pt x="4084698" y="4259670"/>
                </a:cubicBezTo>
                <a:cubicBezTo>
                  <a:pt x="3993918" y="4287236"/>
                  <a:pt x="3903138" y="4314803"/>
                  <a:pt x="3808413" y="4338431"/>
                </a:cubicBezTo>
                <a:cubicBezTo>
                  <a:pt x="3764994" y="4350243"/>
                  <a:pt x="3717633" y="4365994"/>
                  <a:pt x="3674217" y="4381745"/>
                </a:cubicBezTo>
                <a:cubicBezTo>
                  <a:pt x="3591331" y="4405373"/>
                  <a:pt x="3508444" y="4432940"/>
                  <a:pt x="3429506" y="4460506"/>
                </a:cubicBezTo>
                <a:cubicBezTo>
                  <a:pt x="3378197" y="4476257"/>
                  <a:pt x="3326885" y="4495947"/>
                  <a:pt x="3275575" y="4511697"/>
                </a:cubicBezTo>
                <a:cubicBezTo>
                  <a:pt x="3232159" y="4527448"/>
                  <a:pt x="3188744" y="4543199"/>
                  <a:pt x="3149273" y="4562889"/>
                </a:cubicBezTo>
                <a:cubicBezTo>
                  <a:pt x="3094015" y="4586517"/>
                  <a:pt x="3038761" y="4598332"/>
                  <a:pt x="2983503" y="4618022"/>
                </a:cubicBezTo>
                <a:cubicBezTo>
                  <a:pt x="2951926" y="4629834"/>
                  <a:pt x="2916404" y="4641650"/>
                  <a:pt x="2884830" y="4657401"/>
                </a:cubicBezTo>
                <a:cubicBezTo>
                  <a:pt x="2797998" y="4692841"/>
                  <a:pt x="2715112" y="4728282"/>
                  <a:pt x="2628280" y="4763725"/>
                </a:cubicBezTo>
                <a:cubicBezTo>
                  <a:pt x="2580916" y="4783415"/>
                  <a:pt x="2533552" y="4803104"/>
                  <a:pt x="2486188" y="4826732"/>
                </a:cubicBezTo>
                <a:cubicBezTo>
                  <a:pt x="2438827" y="4850357"/>
                  <a:pt x="2387517" y="4870047"/>
                  <a:pt x="2344098" y="4897613"/>
                </a:cubicBezTo>
                <a:cubicBezTo>
                  <a:pt x="2340153" y="4897613"/>
                  <a:pt x="2336205" y="4897613"/>
                  <a:pt x="2336205" y="4897613"/>
                </a:cubicBezTo>
                <a:lnTo>
                  <a:pt x="2335536" y="4897331"/>
                </a:lnTo>
                <a:lnTo>
                  <a:pt x="2314438" y="4912099"/>
                </a:lnTo>
                <a:cubicBezTo>
                  <a:pt x="2310722" y="4908197"/>
                  <a:pt x="2318154" y="4904298"/>
                  <a:pt x="2318154" y="4900395"/>
                </a:cubicBezTo>
                <a:lnTo>
                  <a:pt x="2334609" y="4896938"/>
                </a:lnTo>
                <a:lnTo>
                  <a:pt x="2323380" y="4892200"/>
                </a:lnTo>
                <a:cubicBezTo>
                  <a:pt x="2320418" y="4894661"/>
                  <a:pt x="2318445" y="4899582"/>
                  <a:pt x="2316469" y="4901552"/>
                </a:cubicBezTo>
                <a:lnTo>
                  <a:pt x="2295115" y="4912204"/>
                </a:lnTo>
                <a:lnTo>
                  <a:pt x="2292789" y="4913364"/>
                </a:lnTo>
                <a:cubicBezTo>
                  <a:pt x="2292789" y="4913364"/>
                  <a:pt x="2288844" y="4913364"/>
                  <a:pt x="2288844" y="4913364"/>
                </a:cubicBezTo>
                <a:cubicBezTo>
                  <a:pt x="2280947" y="4913364"/>
                  <a:pt x="2273054" y="4917303"/>
                  <a:pt x="2273054" y="4909426"/>
                </a:cubicBezTo>
                <a:cubicBezTo>
                  <a:pt x="2269109" y="4905490"/>
                  <a:pt x="2277002" y="4901552"/>
                  <a:pt x="2284896" y="4897613"/>
                </a:cubicBezTo>
                <a:cubicBezTo>
                  <a:pt x="2383569" y="4846422"/>
                  <a:pt x="2482242" y="4791289"/>
                  <a:pt x="2588810" y="4744036"/>
                </a:cubicBezTo>
                <a:cubicBezTo>
                  <a:pt x="2648012" y="4720408"/>
                  <a:pt x="2707218" y="4688903"/>
                  <a:pt x="2766421" y="4661339"/>
                </a:cubicBezTo>
                <a:cubicBezTo>
                  <a:pt x="2861149" y="4621961"/>
                  <a:pt x="2955874" y="4582582"/>
                  <a:pt x="3050600" y="4543199"/>
                </a:cubicBezTo>
                <a:cubicBezTo>
                  <a:pt x="3125593" y="4511697"/>
                  <a:pt x="3196637" y="4484131"/>
                  <a:pt x="3271630" y="4452629"/>
                </a:cubicBezTo>
                <a:cubicBezTo>
                  <a:pt x="3322939" y="4432940"/>
                  <a:pt x="3378197" y="4413250"/>
                  <a:pt x="3429506" y="4393561"/>
                </a:cubicBezTo>
                <a:cubicBezTo>
                  <a:pt x="3496603" y="4365994"/>
                  <a:pt x="3563702" y="4346305"/>
                  <a:pt x="3630798" y="4326615"/>
                </a:cubicBezTo>
                <a:cubicBezTo>
                  <a:pt x="3713685" y="4299049"/>
                  <a:pt x="3792623" y="4275424"/>
                  <a:pt x="3871561" y="4251796"/>
                </a:cubicBezTo>
                <a:cubicBezTo>
                  <a:pt x="3997863" y="4216355"/>
                  <a:pt x="4120221" y="4184850"/>
                  <a:pt x="4246523" y="4145471"/>
                </a:cubicBezTo>
                <a:cubicBezTo>
                  <a:pt x="4305726" y="4125782"/>
                  <a:pt x="4372825" y="4113969"/>
                  <a:pt x="4435976" y="4094280"/>
                </a:cubicBezTo>
                <a:cubicBezTo>
                  <a:pt x="4582011" y="4054898"/>
                  <a:pt x="4728048" y="4019457"/>
                  <a:pt x="4878031" y="3984017"/>
                </a:cubicBezTo>
                <a:cubicBezTo>
                  <a:pt x="4988546" y="3952512"/>
                  <a:pt x="5103007" y="3932822"/>
                  <a:pt x="5213522" y="3905259"/>
                </a:cubicBezTo>
                <a:cubicBezTo>
                  <a:pt x="5300354" y="3881631"/>
                  <a:pt x="5387185" y="3865880"/>
                  <a:pt x="5474020" y="3850129"/>
                </a:cubicBezTo>
                <a:cubicBezTo>
                  <a:pt x="5549010" y="3834375"/>
                  <a:pt x="5627948" y="3818624"/>
                  <a:pt x="5706886" y="3802873"/>
                </a:cubicBezTo>
                <a:close/>
                <a:moveTo>
                  <a:pt x="5671023" y="3720907"/>
                </a:moveTo>
                <a:cubicBezTo>
                  <a:pt x="5671023" y="3720907"/>
                  <a:pt x="5671023" y="3720907"/>
                  <a:pt x="5671023" y="3723509"/>
                </a:cubicBezTo>
                <a:cubicBezTo>
                  <a:pt x="5671023" y="3723509"/>
                  <a:pt x="5671023" y="3726111"/>
                  <a:pt x="5665823" y="3726111"/>
                </a:cubicBezTo>
                <a:cubicBezTo>
                  <a:pt x="5660620" y="3726111"/>
                  <a:pt x="5660620" y="3723509"/>
                  <a:pt x="5660620" y="3723509"/>
                </a:cubicBezTo>
                <a:cubicBezTo>
                  <a:pt x="5660620" y="3720907"/>
                  <a:pt x="5660620" y="3720907"/>
                  <a:pt x="5671023" y="3720907"/>
                </a:cubicBezTo>
                <a:close/>
                <a:moveTo>
                  <a:pt x="1554534" y="3704056"/>
                </a:moveTo>
                <a:cubicBezTo>
                  <a:pt x="1554534" y="3704056"/>
                  <a:pt x="1554534" y="3707707"/>
                  <a:pt x="1554534" y="3711357"/>
                </a:cubicBezTo>
                <a:cubicBezTo>
                  <a:pt x="1554534" y="3711357"/>
                  <a:pt x="1547234" y="3711357"/>
                  <a:pt x="1547234" y="3711357"/>
                </a:cubicBezTo>
                <a:cubicBezTo>
                  <a:pt x="1547234" y="3707707"/>
                  <a:pt x="1554534" y="3704056"/>
                  <a:pt x="1554534" y="3704056"/>
                </a:cubicBezTo>
                <a:close/>
                <a:moveTo>
                  <a:pt x="2138391" y="3565392"/>
                </a:moveTo>
                <a:cubicBezTo>
                  <a:pt x="2145692" y="3565392"/>
                  <a:pt x="2145692" y="3565392"/>
                  <a:pt x="2145692" y="3572692"/>
                </a:cubicBezTo>
                <a:cubicBezTo>
                  <a:pt x="2145692" y="3572692"/>
                  <a:pt x="2145692" y="3572692"/>
                  <a:pt x="2138391" y="3579988"/>
                </a:cubicBezTo>
                <a:cubicBezTo>
                  <a:pt x="2138391" y="3579988"/>
                  <a:pt x="2131095" y="3572692"/>
                  <a:pt x="2131095" y="3572692"/>
                </a:cubicBezTo>
                <a:cubicBezTo>
                  <a:pt x="2131095" y="3565392"/>
                  <a:pt x="2138391" y="3565392"/>
                  <a:pt x="2138391" y="3565392"/>
                </a:cubicBezTo>
                <a:close/>
                <a:moveTo>
                  <a:pt x="1520472" y="3441319"/>
                </a:moveTo>
                <a:cubicBezTo>
                  <a:pt x="1520472" y="3441319"/>
                  <a:pt x="1525341" y="3441319"/>
                  <a:pt x="1525341" y="3444969"/>
                </a:cubicBezTo>
                <a:cubicBezTo>
                  <a:pt x="1525341" y="3448619"/>
                  <a:pt x="1525341" y="3448619"/>
                  <a:pt x="1520472" y="3448619"/>
                </a:cubicBezTo>
                <a:cubicBezTo>
                  <a:pt x="1515608" y="3448619"/>
                  <a:pt x="1515608" y="3448619"/>
                  <a:pt x="1510744" y="3448619"/>
                </a:cubicBezTo>
                <a:cubicBezTo>
                  <a:pt x="1515608" y="3444969"/>
                  <a:pt x="1515608" y="3444969"/>
                  <a:pt x="1520472" y="3441319"/>
                </a:cubicBezTo>
                <a:close/>
                <a:moveTo>
                  <a:pt x="5568583" y="2696895"/>
                </a:moveTo>
                <a:cubicBezTo>
                  <a:pt x="5568583" y="2696895"/>
                  <a:pt x="5568583" y="2696895"/>
                  <a:pt x="5568583" y="2700545"/>
                </a:cubicBezTo>
                <a:cubicBezTo>
                  <a:pt x="5568583" y="2700545"/>
                  <a:pt x="5568583" y="2704196"/>
                  <a:pt x="5561287" y="2704196"/>
                </a:cubicBezTo>
                <a:cubicBezTo>
                  <a:pt x="5553987" y="2704196"/>
                  <a:pt x="5553987" y="2700545"/>
                  <a:pt x="5553987" y="2700545"/>
                </a:cubicBezTo>
                <a:cubicBezTo>
                  <a:pt x="5553987" y="2696895"/>
                  <a:pt x="5553987" y="2696895"/>
                  <a:pt x="5568583" y="2696895"/>
                </a:cubicBezTo>
                <a:close/>
                <a:moveTo>
                  <a:pt x="5428843" y="2684609"/>
                </a:moveTo>
                <a:lnTo>
                  <a:pt x="5408956" y="2684754"/>
                </a:lnTo>
                <a:lnTo>
                  <a:pt x="5412196" y="2687182"/>
                </a:lnTo>
                <a:close/>
                <a:moveTo>
                  <a:pt x="5519008" y="2661728"/>
                </a:moveTo>
                <a:lnTo>
                  <a:pt x="5499914" y="2670491"/>
                </a:lnTo>
                <a:lnTo>
                  <a:pt x="5542838" y="2662282"/>
                </a:lnTo>
                <a:close/>
                <a:moveTo>
                  <a:pt x="610623" y="1628619"/>
                </a:moveTo>
                <a:cubicBezTo>
                  <a:pt x="613055" y="1629531"/>
                  <a:pt x="615487" y="1631356"/>
                  <a:pt x="615487" y="1631356"/>
                </a:cubicBezTo>
                <a:cubicBezTo>
                  <a:pt x="625219" y="1631356"/>
                  <a:pt x="634952" y="1624056"/>
                  <a:pt x="634952" y="1638652"/>
                </a:cubicBezTo>
                <a:cubicBezTo>
                  <a:pt x="634952" y="1645953"/>
                  <a:pt x="625219" y="1645953"/>
                  <a:pt x="620355" y="1645953"/>
                </a:cubicBezTo>
                <a:cubicBezTo>
                  <a:pt x="615487" y="1645953"/>
                  <a:pt x="605759" y="1645953"/>
                  <a:pt x="605759" y="1631356"/>
                </a:cubicBezTo>
                <a:cubicBezTo>
                  <a:pt x="605759" y="1627706"/>
                  <a:pt x="608191" y="1627706"/>
                  <a:pt x="610623" y="1628619"/>
                </a:cubicBezTo>
                <a:close/>
                <a:moveTo>
                  <a:pt x="340585" y="1616755"/>
                </a:moveTo>
                <a:cubicBezTo>
                  <a:pt x="345449" y="1616755"/>
                  <a:pt x="345449" y="1620405"/>
                  <a:pt x="350317" y="1620405"/>
                </a:cubicBezTo>
                <a:cubicBezTo>
                  <a:pt x="345449" y="1620405"/>
                  <a:pt x="345449" y="1624056"/>
                  <a:pt x="340585" y="1624056"/>
                </a:cubicBezTo>
                <a:cubicBezTo>
                  <a:pt x="340585" y="1624056"/>
                  <a:pt x="340585" y="1620405"/>
                  <a:pt x="335721" y="1620405"/>
                </a:cubicBezTo>
                <a:cubicBezTo>
                  <a:pt x="340585" y="1620405"/>
                  <a:pt x="340585" y="1616755"/>
                  <a:pt x="340585" y="1616755"/>
                </a:cubicBezTo>
                <a:close/>
                <a:moveTo>
                  <a:pt x="1727256" y="996405"/>
                </a:moveTo>
                <a:cubicBezTo>
                  <a:pt x="1732120" y="996405"/>
                  <a:pt x="1736989" y="996405"/>
                  <a:pt x="1736989" y="1000055"/>
                </a:cubicBezTo>
                <a:cubicBezTo>
                  <a:pt x="1736989" y="1000055"/>
                  <a:pt x="1736989" y="1003705"/>
                  <a:pt x="1732120" y="1003705"/>
                </a:cubicBezTo>
                <a:cubicBezTo>
                  <a:pt x="1727256" y="1003705"/>
                  <a:pt x="1722392" y="1003705"/>
                  <a:pt x="1722392" y="1000055"/>
                </a:cubicBezTo>
                <a:cubicBezTo>
                  <a:pt x="1722392" y="996405"/>
                  <a:pt x="1727256" y="996405"/>
                  <a:pt x="1727256" y="996405"/>
                </a:cubicBezTo>
                <a:close/>
                <a:moveTo>
                  <a:pt x="1736993" y="945315"/>
                </a:moveTo>
                <a:cubicBezTo>
                  <a:pt x="1736993" y="945315"/>
                  <a:pt x="1736993" y="952611"/>
                  <a:pt x="1736993" y="952611"/>
                </a:cubicBezTo>
                <a:cubicBezTo>
                  <a:pt x="1736993" y="952611"/>
                  <a:pt x="1736993" y="959911"/>
                  <a:pt x="1736993" y="959911"/>
                </a:cubicBezTo>
                <a:cubicBezTo>
                  <a:pt x="1729693" y="959911"/>
                  <a:pt x="1729693" y="952611"/>
                  <a:pt x="1729693" y="952611"/>
                </a:cubicBezTo>
                <a:cubicBezTo>
                  <a:pt x="1729693" y="952611"/>
                  <a:pt x="1736993" y="945315"/>
                  <a:pt x="1736993" y="945315"/>
                </a:cubicBezTo>
                <a:close/>
                <a:moveTo>
                  <a:pt x="2307716" y="620543"/>
                </a:moveTo>
                <a:cubicBezTo>
                  <a:pt x="2310635" y="620543"/>
                  <a:pt x="2313554" y="621759"/>
                  <a:pt x="2316474" y="621759"/>
                </a:cubicBezTo>
                <a:cubicBezTo>
                  <a:pt x="2322313" y="616895"/>
                  <a:pt x="2328151" y="621759"/>
                  <a:pt x="2328151" y="626627"/>
                </a:cubicBezTo>
                <a:cubicBezTo>
                  <a:pt x="2322313" y="631491"/>
                  <a:pt x="2316474" y="631491"/>
                  <a:pt x="2310635" y="631491"/>
                </a:cubicBezTo>
                <a:cubicBezTo>
                  <a:pt x="2304796" y="631491"/>
                  <a:pt x="2298958" y="631491"/>
                  <a:pt x="2298958" y="626627"/>
                </a:cubicBezTo>
                <a:cubicBezTo>
                  <a:pt x="2301877" y="621761"/>
                  <a:pt x="2304796" y="620544"/>
                  <a:pt x="2307716" y="620543"/>
                </a:cubicBezTo>
                <a:close/>
                <a:moveTo>
                  <a:pt x="2587238" y="478225"/>
                </a:moveTo>
                <a:cubicBezTo>
                  <a:pt x="2587238" y="485521"/>
                  <a:pt x="2587238" y="485521"/>
                  <a:pt x="2590889" y="492822"/>
                </a:cubicBezTo>
                <a:cubicBezTo>
                  <a:pt x="2590889" y="492822"/>
                  <a:pt x="2587238" y="492822"/>
                  <a:pt x="2587238" y="492822"/>
                </a:cubicBezTo>
                <a:cubicBezTo>
                  <a:pt x="2583588" y="492822"/>
                  <a:pt x="2583588" y="492822"/>
                  <a:pt x="2583588" y="492822"/>
                </a:cubicBezTo>
                <a:cubicBezTo>
                  <a:pt x="2583588" y="485521"/>
                  <a:pt x="2583588" y="485521"/>
                  <a:pt x="2587238" y="478225"/>
                </a:cubicBezTo>
                <a:close/>
                <a:moveTo>
                  <a:pt x="3527257" y="453411"/>
                </a:moveTo>
                <a:cubicBezTo>
                  <a:pt x="3532366" y="453411"/>
                  <a:pt x="3536745" y="454871"/>
                  <a:pt x="3539664" y="460709"/>
                </a:cubicBezTo>
                <a:cubicBezTo>
                  <a:pt x="3539664" y="478225"/>
                  <a:pt x="3522148" y="472387"/>
                  <a:pt x="3510471" y="472387"/>
                </a:cubicBezTo>
                <a:cubicBezTo>
                  <a:pt x="3498794" y="478225"/>
                  <a:pt x="3481278" y="472387"/>
                  <a:pt x="3487116" y="460709"/>
                </a:cubicBezTo>
                <a:cubicBezTo>
                  <a:pt x="3487116" y="449032"/>
                  <a:pt x="3504632" y="460709"/>
                  <a:pt x="3510471" y="454871"/>
                </a:cubicBezTo>
                <a:cubicBezTo>
                  <a:pt x="3516309" y="454871"/>
                  <a:pt x="3522148" y="453411"/>
                  <a:pt x="3527257" y="453411"/>
                </a:cubicBezTo>
                <a:close/>
                <a:moveTo>
                  <a:pt x="3163799" y="441736"/>
                </a:moveTo>
                <a:cubicBezTo>
                  <a:pt x="3169275" y="441736"/>
                  <a:pt x="3169275" y="441736"/>
                  <a:pt x="3174750" y="446600"/>
                </a:cubicBezTo>
                <a:cubicBezTo>
                  <a:pt x="3174750" y="456333"/>
                  <a:pt x="3169275" y="456333"/>
                  <a:pt x="3163799" y="456333"/>
                </a:cubicBezTo>
                <a:cubicBezTo>
                  <a:pt x="3158329" y="456333"/>
                  <a:pt x="3152853" y="456333"/>
                  <a:pt x="3152853" y="451469"/>
                </a:cubicBezTo>
                <a:cubicBezTo>
                  <a:pt x="3152853" y="446600"/>
                  <a:pt x="3158329" y="441736"/>
                  <a:pt x="3163799" y="441736"/>
                </a:cubicBezTo>
                <a:close/>
                <a:moveTo>
                  <a:pt x="2678468" y="434435"/>
                </a:moveTo>
                <a:cubicBezTo>
                  <a:pt x="2678468" y="434435"/>
                  <a:pt x="2678468" y="441731"/>
                  <a:pt x="2678468" y="441731"/>
                </a:cubicBezTo>
                <a:cubicBezTo>
                  <a:pt x="2678468" y="449032"/>
                  <a:pt x="2678468" y="449032"/>
                  <a:pt x="2671168" y="449032"/>
                </a:cubicBezTo>
                <a:cubicBezTo>
                  <a:pt x="2671168" y="441731"/>
                  <a:pt x="2671168" y="441731"/>
                  <a:pt x="2663871" y="441731"/>
                </a:cubicBezTo>
                <a:cubicBezTo>
                  <a:pt x="2671168" y="434435"/>
                  <a:pt x="2671168" y="434435"/>
                  <a:pt x="2678468" y="434435"/>
                </a:cubicBezTo>
                <a:close/>
                <a:moveTo>
                  <a:pt x="3044425" y="317663"/>
                </a:moveTo>
                <a:cubicBezTo>
                  <a:pt x="3054852" y="323745"/>
                  <a:pt x="3060065" y="329828"/>
                  <a:pt x="3060065" y="335910"/>
                </a:cubicBezTo>
                <a:cubicBezTo>
                  <a:pt x="3065279" y="354157"/>
                  <a:pt x="3054852" y="348074"/>
                  <a:pt x="3049639" y="348074"/>
                </a:cubicBezTo>
                <a:cubicBezTo>
                  <a:pt x="3039212" y="348074"/>
                  <a:pt x="3028785" y="348074"/>
                  <a:pt x="3028785" y="335910"/>
                </a:cubicBezTo>
                <a:cubicBezTo>
                  <a:pt x="3028785" y="323745"/>
                  <a:pt x="3039212" y="329828"/>
                  <a:pt x="3044425" y="317663"/>
                </a:cubicBezTo>
                <a:close/>
                <a:moveTo>
                  <a:pt x="5426944" y="2074"/>
                </a:moveTo>
                <a:cubicBezTo>
                  <a:pt x="5476784" y="-3456"/>
                  <a:pt x="5526623" y="2074"/>
                  <a:pt x="5576463" y="18671"/>
                </a:cubicBezTo>
                <a:cubicBezTo>
                  <a:pt x="5581998" y="24201"/>
                  <a:pt x="5587538" y="29732"/>
                  <a:pt x="5593078" y="35263"/>
                </a:cubicBezTo>
                <a:cubicBezTo>
                  <a:pt x="5615228" y="57385"/>
                  <a:pt x="5631838" y="85038"/>
                  <a:pt x="5659528" y="101634"/>
                </a:cubicBezTo>
                <a:cubicBezTo>
                  <a:pt x="5665068" y="107165"/>
                  <a:pt x="5670603" y="118226"/>
                  <a:pt x="5670603" y="123757"/>
                </a:cubicBezTo>
                <a:cubicBezTo>
                  <a:pt x="5665068" y="134818"/>
                  <a:pt x="5653993" y="134818"/>
                  <a:pt x="5648453" y="134818"/>
                </a:cubicBezTo>
                <a:cubicBezTo>
                  <a:pt x="5626303" y="129287"/>
                  <a:pt x="5609688" y="140348"/>
                  <a:pt x="5604153" y="156940"/>
                </a:cubicBezTo>
                <a:cubicBezTo>
                  <a:pt x="5593078" y="168001"/>
                  <a:pt x="5587538" y="179063"/>
                  <a:pt x="5576463" y="184593"/>
                </a:cubicBezTo>
                <a:cubicBezTo>
                  <a:pt x="5510009" y="217781"/>
                  <a:pt x="5454634" y="256496"/>
                  <a:pt x="5377104" y="273087"/>
                </a:cubicBezTo>
                <a:cubicBezTo>
                  <a:pt x="5343879" y="284153"/>
                  <a:pt x="5310654" y="306276"/>
                  <a:pt x="5282965" y="328398"/>
                </a:cubicBezTo>
                <a:cubicBezTo>
                  <a:pt x="5238665" y="367112"/>
                  <a:pt x="5188825" y="394770"/>
                  <a:pt x="5138985" y="422423"/>
                </a:cubicBezTo>
                <a:cubicBezTo>
                  <a:pt x="5078071" y="461137"/>
                  <a:pt x="5011616" y="499856"/>
                  <a:pt x="4961776" y="560692"/>
                </a:cubicBezTo>
                <a:cubicBezTo>
                  <a:pt x="4950701" y="571758"/>
                  <a:pt x="4934091" y="577289"/>
                  <a:pt x="4917476" y="582819"/>
                </a:cubicBezTo>
                <a:cubicBezTo>
                  <a:pt x="4862101" y="616007"/>
                  <a:pt x="4806722" y="654722"/>
                  <a:pt x="4751347" y="687905"/>
                </a:cubicBezTo>
                <a:cubicBezTo>
                  <a:pt x="4745807" y="687905"/>
                  <a:pt x="4740272" y="693436"/>
                  <a:pt x="4740272" y="698966"/>
                </a:cubicBezTo>
                <a:cubicBezTo>
                  <a:pt x="4745807" y="704501"/>
                  <a:pt x="4751347" y="704501"/>
                  <a:pt x="4756882" y="704501"/>
                </a:cubicBezTo>
                <a:cubicBezTo>
                  <a:pt x="4801187" y="710027"/>
                  <a:pt x="4851027" y="715562"/>
                  <a:pt x="4900862" y="715562"/>
                </a:cubicBezTo>
                <a:cubicBezTo>
                  <a:pt x="4928551" y="715562"/>
                  <a:pt x="4956241" y="726624"/>
                  <a:pt x="4989466" y="726624"/>
                </a:cubicBezTo>
                <a:cubicBezTo>
                  <a:pt x="4995006" y="726624"/>
                  <a:pt x="5006081" y="726624"/>
                  <a:pt x="5000541" y="732154"/>
                </a:cubicBezTo>
                <a:cubicBezTo>
                  <a:pt x="5000541" y="743215"/>
                  <a:pt x="4995006" y="743215"/>
                  <a:pt x="4989466" y="743215"/>
                </a:cubicBezTo>
                <a:cubicBezTo>
                  <a:pt x="4889787" y="732154"/>
                  <a:pt x="4795647" y="737685"/>
                  <a:pt x="4701507" y="726624"/>
                </a:cubicBezTo>
                <a:cubicBezTo>
                  <a:pt x="4690432" y="726624"/>
                  <a:pt x="4679357" y="726624"/>
                  <a:pt x="4679357" y="737685"/>
                </a:cubicBezTo>
                <a:cubicBezTo>
                  <a:pt x="4673818" y="754277"/>
                  <a:pt x="4690432" y="748746"/>
                  <a:pt x="4701507" y="748746"/>
                </a:cubicBezTo>
                <a:cubicBezTo>
                  <a:pt x="4795647" y="743215"/>
                  <a:pt x="4895326" y="754277"/>
                  <a:pt x="4989466" y="754277"/>
                </a:cubicBezTo>
                <a:cubicBezTo>
                  <a:pt x="5006081" y="754277"/>
                  <a:pt x="5017156" y="759807"/>
                  <a:pt x="5028231" y="759807"/>
                </a:cubicBezTo>
                <a:cubicBezTo>
                  <a:pt x="5039306" y="759807"/>
                  <a:pt x="5061456" y="770868"/>
                  <a:pt x="5044846" y="743215"/>
                </a:cubicBezTo>
                <a:cubicBezTo>
                  <a:pt x="5044846" y="732154"/>
                  <a:pt x="5050381" y="732154"/>
                  <a:pt x="5055921" y="726624"/>
                </a:cubicBezTo>
                <a:cubicBezTo>
                  <a:pt x="5066996" y="726624"/>
                  <a:pt x="5083606" y="726624"/>
                  <a:pt x="5089146" y="737685"/>
                </a:cubicBezTo>
                <a:cubicBezTo>
                  <a:pt x="5094685" y="743215"/>
                  <a:pt x="5094685" y="748746"/>
                  <a:pt x="5094685" y="754277"/>
                </a:cubicBezTo>
                <a:cubicBezTo>
                  <a:pt x="5100221" y="765338"/>
                  <a:pt x="5111296" y="765338"/>
                  <a:pt x="5116835" y="759807"/>
                </a:cubicBezTo>
                <a:cubicBezTo>
                  <a:pt x="5133445" y="754277"/>
                  <a:pt x="5116835" y="748746"/>
                  <a:pt x="5116835" y="748746"/>
                </a:cubicBezTo>
                <a:cubicBezTo>
                  <a:pt x="5116835" y="737685"/>
                  <a:pt x="5116835" y="726624"/>
                  <a:pt x="5127910" y="732154"/>
                </a:cubicBezTo>
                <a:cubicBezTo>
                  <a:pt x="5155595" y="748746"/>
                  <a:pt x="5183285" y="732154"/>
                  <a:pt x="5210975" y="737685"/>
                </a:cubicBezTo>
                <a:cubicBezTo>
                  <a:pt x="5277425" y="748746"/>
                  <a:pt x="5338340" y="748746"/>
                  <a:pt x="5399254" y="759807"/>
                </a:cubicBezTo>
                <a:cubicBezTo>
                  <a:pt x="5410334" y="759807"/>
                  <a:pt x="5421409" y="759807"/>
                  <a:pt x="5426944" y="770868"/>
                </a:cubicBezTo>
                <a:cubicBezTo>
                  <a:pt x="5426944" y="787460"/>
                  <a:pt x="5415869" y="781930"/>
                  <a:pt x="5404794" y="787460"/>
                </a:cubicBezTo>
                <a:cubicBezTo>
                  <a:pt x="5404794" y="787460"/>
                  <a:pt x="5399254" y="792996"/>
                  <a:pt x="5399254" y="798526"/>
                </a:cubicBezTo>
                <a:cubicBezTo>
                  <a:pt x="5399254" y="804057"/>
                  <a:pt x="5404794" y="809587"/>
                  <a:pt x="5410334" y="809587"/>
                </a:cubicBezTo>
                <a:cubicBezTo>
                  <a:pt x="5421409" y="815118"/>
                  <a:pt x="5438019" y="815118"/>
                  <a:pt x="5454634" y="815118"/>
                </a:cubicBezTo>
                <a:cubicBezTo>
                  <a:pt x="5460169" y="815118"/>
                  <a:pt x="5471249" y="815118"/>
                  <a:pt x="5471249" y="826179"/>
                </a:cubicBezTo>
                <a:cubicBezTo>
                  <a:pt x="5476784" y="837240"/>
                  <a:pt x="5465709" y="837240"/>
                  <a:pt x="5460169" y="842771"/>
                </a:cubicBezTo>
                <a:cubicBezTo>
                  <a:pt x="5443559" y="842771"/>
                  <a:pt x="5438019" y="853832"/>
                  <a:pt x="5426944" y="864893"/>
                </a:cubicBezTo>
                <a:cubicBezTo>
                  <a:pt x="5421409" y="864893"/>
                  <a:pt x="5415869" y="864893"/>
                  <a:pt x="5415869" y="870424"/>
                </a:cubicBezTo>
                <a:cubicBezTo>
                  <a:pt x="5443559" y="903612"/>
                  <a:pt x="5410334" y="898081"/>
                  <a:pt x="5393719" y="903612"/>
                </a:cubicBezTo>
                <a:cubicBezTo>
                  <a:pt x="5393719" y="898081"/>
                  <a:pt x="5393719" y="892551"/>
                  <a:pt x="5388179" y="887020"/>
                </a:cubicBezTo>
                <a:cubicBezTo>
                  <a:pt x="5382644" y="875959"/>
                  <a:pt x="5371569" y="875959"/>
                  <a:pt x="5360494" y="881490"/>
                </a:cubicBezTo>
                <a:cubicBezTo>
                  <a:pt x="5354954" y="881490"/>
                  <a:pt x="5349419" y="881490"/>
                  <a:pt x="5354954" y="887020"/>
                </a:cubicBezTo>
                <a:cubicBezTo>
                  <a:pt x="5354954" y="898081"/>
                  <a:pt x="5366029" y="892551"/>
                  <a:pt x="5377104" y="898081"/>
                </a:cubicBezTo>
                <a:cubicBezTo>
                  <a:pt x="5382644" y="903612"/>
                  <a:pt x="5388179" y="903612"/>
                  <a:pt x="5393719" y="903612"/>
                </a:cubicBezTo>
                <a:cubicBezTo>
                  <a:pt x="5410334" y="925734"/>
                  <a:pt x="5393719" y="964453"/>
                  <a:pt x="5366029" y="975514"/>
                </a:cubicBezTo>
                <a:cubicBezTo>
                  <a:pt x="5349419" y="981045"/>
                  <a:pt x="5332804" y="986575"/>
                  <a:pt x="5321729" y="997637"/>
                </a:cubicBezTo>
                <a:cubicBezTo>
                  <a:pt x="5305115" y="1014228"/>
                  <a:pt x="5288504" y="1030820"/>
                  <a:pt x="5260815" y="1025290"/>
                </a:cubicBezTo>
                <a:cubicBezTo>
                  <a:pt x="5249740" y="1019759"/>
                  <a:pt x="5238665" y="1025290"/>
                  <a:pt x="5233125" y="1030820"/>
                </a:cubicBezTo>
                <a:cubicBezTo>
                  <a:pt x="5183285" y="1052947"/>
                  <a:pt x="5138985" y="1064008"/>
                  <a:pt x="5089146" y="1086131"/>
                </a:cubicBezTo>
                <a:cubicBezTo>
                  <a:pt x="5061456" y="1097192"/>
                  <a:pt x="5028231" y="1113784"/>
                  <a:pt x="4995006" y="1130375"/>
                </a:cubicBezTo>
                <a:cubicBezTo>
                  <a:pt x="4989466" y="1130375"/>
                  <a:pt x="4989466" y="1130375"/>
                  <a:pt x="4989466" y="1130375"/>
                </a:cubicBezTo>
                <a:cubicBezTo>
                  <a:pt x="4989466" y="1135906"/>
                  <a:pt x="4995006" y="1135906"/>
                  <a:pt x="4995006" y="1135906"/>
                </a:cubicBezTo>
                <a:cubicBezTo>
                  <a:pt x="5039306" y="1130375"/>
                  <a:pt x="5083606" y="1146967"/>
                  <a:pt x="5127910" y="1141437"/>
                </a:cubicBezTo>
                <a:cubicBezTo>
                  <a:pt x="5161135" y="1141437"/>
                  <a:pt x="5199900" y="1158033"/>
                  <a:pt x="5233125" y="1141437"/>
                </a:cubicBezTo>
                <a:cubicBezTo>
                  <a:pt x="5238665" y="1135906"/>
                  <a:pt x="5249740" y="1141437"/>
                  <a:pt x="5244200" y="1158033"/>
                </a:cubicBezTo>
                <a:cubicBezTo>
                  <a:pt x="5233125" y="1180155"/>
                  <a:pt x="5216510" y="1202278"/>
                  <a:pt x="5194360" y="1213339"/>
                </a:cubicBezTo>
                <a:cubicBezTo>
                  <a:pt x="5188825" y="1218870"/>
                  <a:pt x="5177750" y="1224400"/>
                  <a:pt x="5183285" y="1229931"/>
                </a:cubicBezTo>
                <a:cubicBezTo>
                  <a:pt x="5188825" y="1240992"/>
                  <a:pt x="5194360" y="1246523"/>
                  <a:pt x="5205435" y="1246523"/>
                </a:cubicBezTo>
                <a:cubicBezTo>
                  <a:pt x="5244200" y="1235461"/>
                  <a:pt x="5282965" y="1240992"/>
                  <a:pt x="5321729" y="1224400"/>
                </a:cubicBezTo>
                <a:cubicBezTo>
                  <a:pt x="5382644" y="1207808"/>
                  <a:pt x="5454634" y="1202278"/>
                  <a:pt x="5521084" y="1191217"/>
                </a:cubicBezTo>
                <a:cubicBezTo>
                  <a:pt x="5521084" y="1191217"/>
                  <a:pt x="5526623" y="1191217"/>
                  <a:pt x="5526623" y="1196747"/>
                </a:cubicBezTo>
                <a:cubicBezTo>
                  <a:pt x="5526623" y="1202278"/>
                  <a:pt x="5521084" y="1207808"/>
                  <a:pt x="5515548" y="1207808"/>
                </a:cubicBezTo>
                <a:cubicBezTo>
                  <a:pt x="5487859" y="1207808"/>
                  <a:pt x="5460169" y="1218870"/>
                  <a:pt x="5432484" y="1224400"/>
                </a:cubicBezTo>
                <a:cubicBezTo>
                  <a:pt x="5382644" y="1229931"/>
                  <a:pt x="5343879" y="1268645"/>
                  <a:pt x="5299579" y="1290767"/>
                </a:cubicBezTo>
                <a:cubicBezTo>
                  <a:pt x="5282965" y="1296298"/>
                  <a:pt x="5260815" y="1307364"/>
                  <a:pt x="5244200" y="1318429"/>
                </a:cubicBezTo>
                <a:cubicBezTo>
                  <a:pt x="5238665" y="1318429"/>
                  <a:pt x="5227590" y="1318429"/>
                  <a:pt x="5227590" y="1329491"/>
                </a:cubicBezTo>
                <a:cubicBezTo>
                  <a:pt x="5227590" y="1335017"/>
                  <a:pt x="5244200" y="1340552"/>
                  <a:pt x="5249740" y="1340552"/>
                </a:cubicBezTo>
                <a:cubicBezTo>
                  <a:pt x="5282965" y="1329491"/>
                  <a:pt x="5316190" y="1335017"/>
                  <a:pt x="5354954" y="1329491"/>
                </a:cubicBezTo>
                <a:cubicBezTo>
                  <a:pt x="5404794" y="1323960"/>
                  <a:pt x="5454634" y="1323960"/>
                  <a:pt x="5504473" y="1318429"/>
                </a:cubicBezTo>
                <a:cubicBezTo>
                  <a:pt x="5548773" y="1318429"/>
                  <a:pt x="5587538" y="1318429"/>
                  <a:pt x="5626303" y="1329491"/>
                </a:cubicBezTo>
                <a:cubicBezTo>
                  <a:pt x="5637378" y="1329491"/>
                  <a:pt x="5642913" y="1323960"/>
                  <a:pt x="5648453" y="1323960"/>
                </a:cubicBezTo>
                <a:cubicBezTo>
                  <a:pt x="5665068" y="1318429"/>
                  <a:pt x="5670603" y="1307364"/>
                  <a:pt x="5681678" y="1335017"/>
                </a:cubicBezTo>
                <a:cubicBezTo>
                  <a:pt x="5692753" y="1357144"/>
                  <a:pt x="5731518" y="1368200"/>
                  <a:pt x="5759207" y="1373735"/>
                </a:cubicBezTo>
                <a:cubicBezTo>
                  <a:pt x="5764742" y="1379261"/>
                  <a:pt x="5781357" y="1373735"/>
                  <a:pt x="5781357" y="1384792"/>
                </a:cubicBezTo>
                <a:cubicBezTo>
                  <a:pt x="5781357" y="1395858"/>
                  <a:pt x="5770282" y="1401388"/>
                  <a:pt x="5759207" y="1401388"/>
                </a:cubicBezTo>
                <a:cubicBezTo>
                  <a:pt x="5759207" y="1406919"/>
                  <a:pt x="5748132" y="1406919"/>
                  <a:pt x="5748132" y="1412450"/>
                </a:cubicBezTo>
                <a:cubicBezTo>
                  <a:pt x="5753667" y="1445633"/>
                  <a:pt x="5714907" y="1456699"/>
                  <a:pt x="5714907" y="1489882"/>
                </a:cubicBezTo>
                <a:cubicBezTo>
                  <a:pt x="5714907" y="1489882"/>
                  <a:pt x="5714907" y="1495413"/>
                  <a:pt x="5714907" y="1500944"/>
                </a:cubicBezTo>
                <a:cubicBezTo>
                  <a:pt x="5714907" y="1495413"/>
                  <a:pt x="5709368" y="1489882"/>
                  <a:pt x="5709368" y="1489882"/>
                </a:cubicBezTo>
                <a:cubicBezTo>
                  <a:pt x="5703828" y="1456699"/>
                  <a:pt x="5676143" y="1456699"/>
                  <a:pt x="5653993" y="1467760"/>
                </a:cubicBezTo>
                <a:cubicBezTo>
                  <a:pt x="5637378" y="1473291"/>
                  <a:pt x="5626303" y="1478821"/>
                  <a:pt x="5615228" y="1478821"/>
                </a:cubicBezTo>
                <a:cubicBezTo>
                  <a:pt x="5559848" y="1495413"/>
                  <a:pt x="5559848" y="1495413"/>
                  <a:pt x="5565388" y="1500944"/>
                </a:cubicBezTo>
                <a:cubicBezTo>
                  <a:pt x="5581998" y="1517535"/>
                  <a:pt x="5565388" y="1539662"/>
                  <a:pt x="5581998" y="1556254"/>
                </a:cubicBezTo>
                <a:cubicBezTo>
                  <a:pt x="5598613" y="1572846"/>
                  <a:pt x="5581998" y="1594973"/>
                  <a:pt x="5570923" y="1611565"/>
                </a:cubicBezTo>
                <a:cubicBezTo>
                  <a:pt x="5559848" y="1622626"/>
                  <a:pt x="5543238" y="1639218"/>
                  <a:pt x="5526623" y="1639218"/>
                </a:cubicBezTo>
                <a:cubicBezTo>
                  <a:pt x="5515548" y="1644748"/>
                  <a:pt x="5504473" y="1644748"/>
                  <a:pt x="5498934" y="1655810"/>
                </a:cubicBezTo>
                <a:cubicBezTo>
                  <a:pt x="5487859" y="1661340"/>
                  <a:pt x="5476784" y="1666871"/>
                  <a:pt x="5476784" y="1677937"/>
                </a:cubicBezTo>
                <a:cubicBezTo>
                  <a:pt x="5482324" y="1694528"/>
                  <a:pt x="5498934" y="1683467"/>
                  <a:pt x="5504473" y="1683467"/>
                </a:cubicBezTo>
                <a:cubicBezTo>
                  <a:pt x="5521084" y="1683467"/>
                  <a:pt x="5532163" y="1688993"/>
                  <a:pt x="5537698" y="1705590"/>
                </a:cubicBezTo>
                <a:cubicBezTo>
                  <a:pt x="5543238" y="1722181"/>
                  <a:pt x="5537698" y="1733242"/>
                  <a:pt x="5521084" y="1738773"/>
                </a:cubicBezTo>
                <a:cubicBezTo>
                  <a:pt x="5496166" y="1752602"/>
                  <a:pt x="5474016" y="1767812"/>
                  <a:pt x="5451173" y="1781639"/>
                </a:cubicBezTo>
                <a:lnTo>
                  <a:pt x="5381480" y="1814164"/>
                </a:lnTo>
                <a:lnTo>
                  <a:pt x="5404303" y="1812054"/>
                </a:lnTo>
                <a:cubicBezTo>
                  <a:pt x="5459560" y="1804170"/>
                  <a:pt x="5514818" y="1804170"/>
                  <a:pt x="5570072" y="1800225"/>
                </a:cubicBezTo>
                <a:cubicBezTo>
                  <a:pt x="5605595" y="1796283"/>
                  <a:pt x="5641117" y="1800225"/>
                  <a:pt x="5676639" y="1812054"/>
                </a:cubicBezTo>
                <a:cubicBezTo>
                  <a:pt x="5680584" y="1815995"/>
                  <a:pt x="5684533" y="1819937"/>
                  <a:pt x="5688481" y="1823879"/>
                </a:cubicBezTo>
                <a:cubicBezTo>
                  <a:pt x="5696375" y="1831763"/>
                  <a:pt x="5703281" y="1840632"/>
                  <a:pt x="5710681" y="1849009"/>
                </a:cubicBezTo>
                <a:lnTo>
                  <a:pt x="5715742" y="1853469"/>
                </a:lnTo>
                <a:lnTo>
                  <a:pt x="5764742" y="1849390"/>
                </a:lnTo>
                <a:cubicBezTo>
                  <a:pt x="5803507" y="1849390"/>
                  <a:pt x="5847812" y="1843859"/>
                  <a:pt x="5892112" y="1832798"/>
                </a:cubicBezTo>
                <a:cubicBezTo>
                  <a:pt x="5919801" y="1827268"/>
                  <a:pt x="5947487" y="1816206"/>
                  <a:pt x="5953026" y="1783022"/>
                </a:cubicBezTo>
                <a:cubicBezTo>
                  <a:pt x="5953026" y="1760900"/>
                  <a:pt x="5964101" y="1755365"/>
                  <a:pt x="5986251" y="1760900"/>
                </a:cubicBezTo>
                <a:cubicBezTo>
                  <a:pt x="6019481" y="1760900"/>
                  <a:pt x="6047166" y="1755365"/>
                  <a:pt x="6063781" y="1716651"/>
                </a:cubicBezTo>
                <a:cubicBezTo>
                  <a:pt x="6063781" y="1705590"/>
                  <a:pt x="6074856" y="1700059"/>
                  <a:pt x="6085931" y="1694528"/>
                </a:cubicBezTo>
                <a:cubicBezTo>
                  <a:pt x="6102546" y="1688993"/>
                  <a:pt x="6130231" y="1677937"/>
                  <a:pt x="6130231" y="1650279"/>
                </a:cubicBezTo>
                <a:cubicBezTo>
                  <a:pt x="6130231" y="1644748"/>
                  <a:pt x="6135770" y="1639218"/>
                  <a:pt x="6146845" y="1644748"/>
                </a:cubicBezTo>
                <a:cubicBezTo>
                  <a:pt x="6152385" y="1644748"/>
                  <a:pt x="6152385" y="1644748"/>
                  <a:pt x="6157920" y="1644748"/>
                </a:cubicBezTo>
                <a:cubicBezTo>
                  <a:pt x="6180070" y="1650279"/>
                  <a:pt x="6207760" y="1617095"/>
                  <a:pt x="6218835" y="1650279"/>
                </a:cubicBezTo>
                <a:cubicBezTo>
                  <a:pt x="6218835" y="1672401"/>
                  <a:pt x="6235450" y="1688993"/>
                  <a:pt x="6235450" y="1711120"/>
                </a:cubicBezTo>
                <a:cubicBezTo>
                  <a:pt x="6235450" y="1727712"/>
                  <a:pt x="6246525" y="1727712"/>
                  <a:pt x="6257600" y="1733242"/>
                </a:cubicBezTo>
                <a:cubicBezTo>
                  <a:pt x="6279750" y="1744304"/>
                  <a:pt x="6296365" y="1755365"/>
                  <a:pt x="6274215" y="1777492"/>
                </a:cubicBezTo>
                <a:cubicBezTo>
                  <a:pt x="6268675" y="1788553"/>
                  <a:pt x="6268675" y="1805145"/>
                  <a:pt x="6285290" y="1810676"/>
                </a:cubicBezTo>
                <a:cubicBezTo>
                  <a:pt x="6318515" y="1816206"/>
                  <a:pt x="6346204" y="1832798"/>
                  <a:pt x="6384964" y="1832798"/>
                </a:cubicBezTo>
                <a:cubicBezTo>
                  <a:pt x="6407119" y="1838329"/>
                  <a:pt x="6434804" y="1860456"/>
                  <a:pt x="6462494" y="1877048"/>
                </a:cubicBezTo>
                <a:cubicBezTo>
                  <a:pt x="6473569" y="1882578"/>
                  <a:pt x="6468034" y="1893639"/>
                  <a:pt x="6456959" y="1904701"/>
                </a:cubicBezTo>
                <a:cubicBezTo>
                  <a:pt x="6440344" y="1932349"/>
                  <a:pt x="6412654" y="1954471"/>
                  <a:pt x="6390504" y="1976598"/>
                </a:cubicBezTo>
                <a:cubicBezTo>
                  <a:pt x="6368354" y="2004251"/>
                  <a:pt x="6357279" y="2031904"/>
                  <a:pt x="6312975" y="2026374"/>
                </a:cubicBezTo>
                <a:cubicBezTo>
                  <a:pt x="6307440" y="2026374"/>
                  <a:pt x="6296365" y="2031904"/>
                  <a:pt x="6296365" y="2037435"/>
                </a:cubicBezTo>
                <a:cubicBezTo>
                  <a:pt x="6290825" y="2048496"/>
                  <a:pt x="6274215" y="2054027"/>
                  <a:pt x="6268675" y="2054027"/>
                </a:cubicBezTo>
                <a:cubicBezTo>
                  <a:pt x="6218835" y="2042965"/>
                  <a:pt x="6168995" y="2076154"/>
                  <a:pt x="6119156" y="2070623"/>
                </a:cubicBezTo>
                <a:cubicBezTo>
                  <a:pt x="6052706" y="2059557"/>
                  <a:pt x="5986251" y="2081684"/>
                  <a:pt x="5919801" y="2098276"/>
                </a:cubicBezTo>
                <a:cubicBezTo>
                  <a:pt x="5858887" y="2109337"/>
                  <a:pt x="5803507" y="2125929"/>
                  <a:pt x="5748132" y="2142521"/>
                </a:cubicBezTo>
                <a:cubicBezTo>
                  <a:pt x="5737057" y="2148051"/>
                  <a:pt x="5720443" y="2142521"/>
                  <a:pt x="5720443" y="2159112"/>
                </a:cubicBezTo>
                <a:cubicBezTo>
                  <a:pt x="5725982" y="2175704"/>
                  <a:pt x="5737057" y="2175704"/>
                  <a:pt x="5753667" y="2170174"/>
                </a:cubicBezTo>
                <a:cubicBezTo>
                  <a:pt x="5809047" y="2159112"/>
                  <a:pt x="5869962" y="2148051"/>
                  <a:pt x="5925337" y="2136990"/>
                </a:cubicBezTo>
                <a:cubicBezTo>
                  <a:pt x="5964101" y="2131459"/>
                  <a:pt x="5997326" y="2131459"/>
                  <a:pt x="6036091" y="2131459"/>
                </a:cubicBezTo>
                <a:cubicBezTo>
                  <a:pt x="6080391" y="2131459"/>
                  <a:pt x="6124695" y="2136990"/>
                  <a:pt x="6163460" y="2103806"/>
                </a:cubicBezTo>
                <a:cubicBezTo>
                  <a:pt x="6196685" y="2081684"/>
                  <a:pt x="6235450" y="2092745"/>
                  <a:pt x="6268675" y="2098276"/>
                </a:cubicBezTo>
                <a:cubicBezTo>
                  <a:pt x="6279750" y="2098276"/>
                  <a:pt x="6274215" y="2109337"/>
                  <a:pt x="6268675" y="2114868"/>
                </a:cubicBezTo>
                <a:cubicBezTo>
                  <a:pt x="6246525" y="2120398"/>
                  <a:pt x="6240985" y="2142521"/>
                  <a:pt x="6240985" y="2164643"/>
                </a:cubicBezTo>
                <a:cubicBezTo>
                  <a:pt x="6235450" y="2181235"/>
                  <a:pt x="6229910" y="2203357"/>
                  <a:pt x="6213300" y="2214418"/>
                </a:cubicBezTo>
                <a:cubicBezTo>
                  <a:pt x="6196685" y="2225480"/>
                  <a:pt x="6196685" y="2236541"/>
                  <a:pt x="6202220" y="2253137"/>
                </a:cubicBezTo>
                <a:cubicBezTo>
                  <a:pt x="6207760" y="2275260"/>
                  <a:pt x="6196685" y="2280790"/>
                  <a:pt x="6180070" y="2269729"/>
                </a:cubicBezTo>
                <a:cubicBezTo>
                  <a:pt x="6163460" y="2264198"/>
                  <a:pt x="6152385" y="2269729"/>
                  <a:pt x="6135770" y="2275260"/>
                </a:cubicBezTo>
                <a:cubicBezTo>
                  <a:pt x="6108081" y="2286321"/>
                  <a:pt x="6074856" y="2280790"/>
                  <a:pt x="6047166" y="2280790"/>
                </a:cubicBezTo>
                <a:cubicBezTo>
                  <a:pt x="6002866" y="2269729"/>
                  <a:pt x="5958566" y="2264198"/>
                  <a:pt x="5914262" y="2269729"/>
                </a:cubicBezTo>
                <a:cubicBezTo>
                  <a:pt x="5914262" y="2269729"/>
                  <a:pt x="5908726" y="2269729"/>
                  <a:pt x="5908726" y="2269729"/>
                </a:cubicBezTo>
                <a:cubicBezTo>
                  <a:pt x="5881037" y="2242071"/>
                  <a:pt x="5858887" y="2269729"/>
                  <a:pt x="5831197" y="2275260"/>
                </a:cubicBezTo>
                <a:cubicBezTo>
                  <a:pt x="5809047" y="2275260"/>
                  <a:pt x="5792432" y="2280790"/>
                  <a:pt x="5797972" y="2247602"/>
                </a:cubicBezTo>
                <a:cubicBezTo>
                  <a:pt x="5803507" y="2236541"/>
                  <a:pt x="5797972" y="2236541"/>
                  <a:pt x="5786897" y="2236541"/>
                </a:cubicBezTo>
                <a:cubicBezTo>
                  <a:pt x="5781357" y="2236541"/>
                  <a:pt x="5770282" y="2231010"/>
                  <a:pt x="5770282" y="2247602"/>
                </a:cubicBezTo>
                <a:cubicBezTo>
                  <a:pt x="5770282" y="2275260"/>
                  <a:pt x="5770282" y="2297382"/>
                  <a:pt x="5770282" y="2325035"/>
                </a:cubicBezTo>
                <a:cubicBezTo>
                  <a:pt x="5770282" y="2336096"/>
                  <a:pt x="5775822" y="2336096"/>
                  <a:pt x="5781357" y="2341631"/>
                </a:cubicBezTo>
                <a:cubicBezTo>
                  <a:pt x="5809047" y="2352692"/>
                  <a:pt x="5836737" y="2380345"/>
                  <a:pt x="5869962" y="2380345"/>
                </a:cubicBezTo>
                <a:cubicBezTo>
                  <a:pt x="5881037" y="2385876"/>
                  <a:pt x="5886572" y="2391407"/>
                  <a:pt x="5892112" y="2402468"/>
                </a:cubicBezTo>
                <a:cubicBezTo>
                  <a:pt x="5892112" y="2407998"/>
                  <a:pt x="5892112" y="2413529"/>
                  <a:pt x="5897651" y="2419060"/>
                </a:cubicBezTo>
                <a:cubicBezTo>
                  <a:pt x="5903187" y="2430125"/>
                  <a:pt x="5925337" y="2419060"/>
                  <a:pt x="5925337" y="2435656"/>
                </a:cubicBezTo>
                <a:cubicBezTo>
                  <a:pt x="5925337" y="2446717"/>
                  <a:pt x="5864422" y="2485431"/>
                  <a:pt x="5853347" y="2485431"/>
                </a:cubicBezTo>
                <a:cubicBezTo>
                  <a:pt x="5836737" y="2485431"/>
                  <a:pt x="5814582" y="2490962"/>
                  <a:pt x="5797972" y="2496493"/>
                </a:cubicBezTo>
                <a:cubicBezTo>
                  <a:pt x="5786897" y="2502023"/>
                  <a:pt x="5759207" y="2502023"/>
                  <a:pt x="5786897" y="2529681"/>
                </a:cubicBezTo>
                <a:cubicBezTo>
                  <a:pt x="5797972" y="2546272"/>
                  <a:pt x="5775822" y="2557334"/>
                  <a:pt x="5764742" y="2557334"/>
                </a:cubicBezTo>
                <a:cubicBezTo>
                  <a:pt x="5714907" y="2557334"/>
                  <a:pt x="5681678" y="2573925"/>
                  <a:pt x="5642913" y="2601583"/>
                </a:cubicBezTo>
                <a:cubicBezTo>
                  <a:pt x="5620763" y="2612644"/>
                  <a:pt x="5598613" y="2623705"/>
                  <a:pt x="5576463" y="2634767"/>
                </a:cubicBezTo>
                <a:cubicBezTo>
                  <a:pt x="5565388" y="2640297"/>
                  <a:pt x="5554313" y="2640297"/>
                  <a:pt x="5559848" y="2656889"/>
                </a:cubicBezTo>
                <a:lnTo>
                  <a:pt x="5558959" y="2659199"/>
                </a:lnTo>
                <a:lnTo>
                  <a:pt x="5564646" y="2658111"/>
                </a:lnTo>
                <a:cubicBezTo>
                  <a:pt x="5588821" y="2654662"/>
                  <a:pt x="5613488" y="2651706"/>
                  <a:pt x="5637169" y="2647764"/>
                </a:cubicBezTo>
                <a:cubicBezTo>
                  <a:pt x="5637169" y="2647764"/>
                  <a:pt x="5641117" y="2647764"/>
                  <a:pt x="5641117" y="2651706"/>
                </a:cubicBezTo>
                <a:cubicBezTo>
                  <a:pt x="5641117" y="2655647"/>
                  <a:pt x="5637169" y="2659589"/>
                  <a:pt x="5633223" y="2659589"/>
                </a:cubicBezTo>
                <a:cubicBezTo>
                  <a:pt x="5613488" y="2659589"/>
                  <a:pt x="5593753" y="2667473"/>
                  <a:pt x="5574021" y="2671415"/>
                </a:cubicBezTo>
                <a:cubicBezTo>
                  <a:pt x="5538498" y="2675356"/>
                  <a:pt x="5510870" y="2702949"/>
                  <a:pt x="5479296" y="2718717"/>
                </a:cubicBezTo>
                <a:cubicBezTo>
                  <a:pt x="5467454" y="2722658"/>
                  <a:pt x="5451667" y="2730545"/>
                  <a:pt x="5439825" y="2738432"/>
                </a:cubicBezTo>
                <a:cubicBezTo>
                  <a:pt x="5435880" y="2738432"/>
                  <a:pt x="5427986" y="2738432"/>
                  <a:pt x="5427986" y="2746316"/>
                </a:cubicBezTo>
                <a:cubicBezTo>
                  <a:pt x="5427986" y="2750254"/>
                  <a:pt x="5439825" y="2754200"/>
                  <a:pt x="5443773" y="2754200"/>
                </a:cubicBezTo>
                <a:cubicBezTo>
                  <a:pt x="5467454" y="2746316"/>
                  <a:pt x="5491134" y="2750254"/>
                  <a:pt x="5518763" y="2746316"/>
                </a:cubicBezTo>
                <a:cubicBezTo>
                  <a:pt x="5554285" y="2742374"/>
                  <a:pt x="5589808" y="2742374"/>
                  <a:pt x="5625330" y="2738432"/>
                </a:cubicBezTo>
                <a:cubicBezTo>
                  <a:pt x="5656904" y="2738432"/>
                  <a:pt x="5684533" y="2738432"/>
                  <a:pt x="5712162" y="2746316"/>
                </a:cubicBezTo>
                <a:cubicBezTo>
                  <a:pt x="5720055" y="2746316"/>
                  <a:pt x="5724000" y="2742374"/>
                  <a:pt x="5727949" y="2742374"/>
                </a:cubicBezTo>
                <a:cubicBezTo>
                  <a:pt x="5739790" y="2738432"/>
                  <a:pt x="5743735" y="2730545"/>
                  <a:pt x="5751629" y="2750254"/>
                </a:cubicBezTo>
                <a:cubicBezTo>
                  <a:pt x="5759522" y="2766025"/>
                  <a:pt x="5787151" y="2773905"/>
                  <a:pt x="5806887" y="2777851"/>
                </a:cubicBezTo>
                <a:cubicBezTo>
                  <a:pt x="5810832" y="2781789"/>
                  <a:pt x="5822674" y="2777851"/>
                  <a:pt x="5822674" y="2785731"/>
                </a:cubicBezTo>
                <a:cubicBezTo>
                  <a:pt x="5822674" y="2793618"/>
                  <a:pt x="5814780" y="2797560"/>
                  <a:pt x="5806887" y="2797560"/>
                </a:cubicBezTo>
                <a:cubicBezTo>
                  <a:pt x="5806887" y="2801501"/>
                  <a:pt x="5798993" y="2801501"/>
                  <a:pt x="5798993" y="2805443"/>
                </a:cubicBezTo>
                <a:cubicBezTo>
                  <a:pt x="5802938" y="2829094"/>
                  <a:pt x="5775313" y="2836981"/>
                  <a:pt x="5775313" y="2860632"/>
                </a:cubicBezTo>
                <a:cubicBezTo>
                  <a:pt x="5775313" y="2860632"/>
                  <a:pt x="5775313" y="2864574"/>
                  <a:pt x="5775313" y="2868516"/>
                </a:cubicBezTo>
                <a:cubicBezTo>
                  <a:pt x="5775313" y="2864574"/>
                  <a:pt x="5771364" y="2860632"/>
                  <a:pt x="5771364" y="2860632"/>
                </a:cubicBezTo>
                <a:cubicBezTo>
                  <a:pt x="5767416" y="2836981"/>
                  <a:pt x="5747684" y="2836981"/>
                  <a:pt x="5731897" y="2844865"/>
                </a:cubicBezTo>
                <a:cubicBezTo>
                  <a:pt x="5720055" y="2848807"/>
                  <a:pt x="5712162" y="2852749"/>
                  <a:pt x="5704268" y="2852749"/>
                </a:cubicBezTo>
                <a:cubicBezTo>
                  <a:pt x="5664797" y="2864574"/>
                  <a:pt x="5664797" y="2864574"/>
                  <a:pt x="5668746" y="2868516"/>
                </a:cubicBezTo>
                <a:cubicBezTo>
                  <a:pt x="5680584" y="2880341"/>
                  <a:pt x="5668746" y="2896112"/>
                  <a:pt x="5680584" y="2907937"/>
                </a:cubicBezTo>
                <a:cubicBezTo>
                  <a:pt x="5692426" y="2919763"/>
                  <a:pt x="5680584" y="2935533"/>
                  <a:pt x="5672691" y="2947359"/>
                </a:cubicBezTo>
                <a:cubicBezTo>
                  <a:pt x="5664797" y="2955243"/>
                  <a:pt x="5652959" y="2967068"/>
                  <a:pt x="5641117" y="2967068"/>
                </a:cubicBezTo>
                <a:cubicBezTo>
                  <a:pt x="5633223" y="2971010"/>
                  <a:pt x="5625330" y="2971010"/>
                  <a:pt x="5621382" y="2978894"/>
                </a:cubicBezTo>
                <a:cubicBezTo>
                  <a:pt x="5613488" y="2982835"/>
                  <a:pt x="5605595" y="2986777"/>
                  <a:pt x="5605595" y="2994664"/>
                </a:cubicBezTo>
                <a:cubicBezTo>
                  <a:pt x="5609543" y="3006490"/>
                  <a:pt x="5621382" y="2998606"/>
                  <a:pt x="5625330" y="2998606"/>
                </a:cubicBezTo>
                <a:cubicBezTo>
                  <a:pt x="5637169" y="2998606"/>
                  <a:pt x="5645065" y="3002545"/>
                  <a:pt x="5649010" y="3014373"/>
                </a:cubicBezTo>
                <a:cubicBezTo>
                  <a:pt x="5652959" y="3026199"/>
                  <a:pt x="5649010" y="3034082"/>
                  <a:pt x="5637169" y="3038024"/>
                </a:cubicBezTo>
                <a:cubicBezTo>
                  <a:pt x="5601650" y="3057737"/>
                  <a:pt x="5574021" y="3081388"/>
                  <a:pt x="5534550" y="3093213"/>
                </a:cubicBezTo>
                <a:cubicBezTo>
                  <a:pt x="5506921" y="3101097"/>
                  <a:pt x="5487189" y="3120806"/>
                  <a:pt x="5463505" y="3136577"/>
                </a:cubicBezTo>
                <a:cubicBezTo>
                  <a:pt x="5463505" y="3140518"/>
                  <a:pt x="5459560" y="3140518"/>
                  <a:pt x="5459560" y="3144460"/>
                </a:cubicBezTo>
                <a:cubicBezTo>
                  <a:pt x="5459560" y="3148402"/>
                  <a:pt x="5463505" y="3148402"/>
                  <a:pt x="5467454" y="3148402"/>
                </a:cubicBezTo>
                <a:cubicBezTo>
                  <a:pt x="5483241" y="3148402"/>
                  <a:pt x="5499028" y="3148402"/>
                  <a:pt x="5514818" y="3144460"/>
                </a:cubicBezTo>
                <a:cubicBezTo>
                  <a:pt x="5613488" y="3132635"/>
                  <a:pt x="5712162" y="3124751"/>
                  <a:pt x="5810832" y="3116864"/>
                </a:cubicBezTo>
                <a:cubicBezTo>
                  <a:pt x="5838461" y="3116864"/>
                  <a:pt x="5870038" y="3112922"/>
                  <a:pt x="5901612" y="3105039"/>
                </a:cubicBezTo>
                <a:cubicBezTo>
                  <a:pt x="5921347" y="3101097"/>
                  <a:pt x="5941079" y="3093213"/>
                  <a:pt x="5945028" y="3069562"/>
                </a:cubicBezTo>
                <a:cubicBezTo>
                  <a:pt x="5945028" y="3053795"/>
                  <a:pt x="5952921" y="3049850"/>
                  <a:pt x="5968708" y="3053795"/>
                </a:cubicBezTo>
                <a:cubicBezTo>
                  <a:pt x="5992392" y="3053795"/>
                  <a:pt x="6012124" y="3049850"/>
                  <a:pt x="6023966" y="3022257"/>
                </a:cubicBezTo>
                <a:cubicBezTo>
                  <a:pt x="6023966" y="3014373"/>
                  <a:pt x="6031859" y="3010431"/>
                  <a:pt x="6039753" y="3006490"/>
                </a:cubicBezTo>
                <a:cubicBezTo>
                  <a:pt x="6051595" y="3002545"/>
                  <a:pt x="6071327" y="2994664"/>
                  <a:pt x="6071327" y="2974952"/>
                </a:cubicBezTo>
                <a:cubicBezTo>
                  <a:pt x="6071327" y="2971010"/>
                  <a:pt x="6075275" y="2967068"/>
                  <a:pt x="6083169" y="2971010"/>
                </a:cubicBezTo>
                <a:cubicBezTo>
                  <a:pt x="6087117" y="2971010"/>
                  <a:pt x="6087117" y="2971010"/>
                  <a:pt x="6091062" y="2971010"/>
                </a:cubicBezTo>
                <a:cubicBezTo>
                  <a:pt x="6106849" y="2974952"/>
                  <a:pt x="6126584" y="2951301"/>
                  <a:pt x="6134478" y="2974952"/>
                </a:cubicBezTo>
                <a:cubicBezTo>
                  <a:pt x="6134478" y="2990719"/>
                  <a:pt x="6146320" y="3002545"/>
                  <a:pt x="6146320" y="3018315"/>
                </a:cubicBezTo>
                <a:cubicBezTo>
                  <a:pt x="6146320" y="3030141"/>
                  <a:pt x="6154213" y="3030141"/>
                  <a:pt x="6162107" y="3034082"/>
                </a:cubicBezTo>
                <a:cubicBezTo>
                  <a:pt x="6177894" y="3041966"/>
                  <a:pt x="6189735" y="3049850"/>
                  <a:pt x="6173948" y="3065620"/>
                </a:cubicBezTo>
                <a:cubicBezTo>
                  <a:pt x="6170000" y="3073504"/>
                  <a:pt x="6170000" y="3085329"/>
                  <a:pt x="6181842" y="3089271"/>
                </a:cubicBezTo>
                <a:cubicBezTo>
                  <a:pt x="6205522" y="3093213"/>
                  <a:pt x="6225258" y="3105039"/>
                  <a:pt x="6252883" y="3105039"/>
                </a:cubicBezTo>
                <a:cubicBezTo>
                  <a:pt x="6268674" y="3108980"/>
                  <a:pt x="6288406" y="3124751"/>
                  <a:pt x="6308141" y="3136577"/>
                </a:cubicBezTo>
                <a:cubicBezTo>
                  <a:pt x="6316034" y="3140518"/>
                  <a:pt x="6312089" y="3148402"/>
                  <a:pt x="6304196" y="3156286"/>
                </a:cubicBezTo>
                <a:cubicBezTo>
                  <a:pt x="6292354" y="3175992"/>
                  <a:pt x="6272619" y="3191759"/>
                  <a:pt x="6256832" y="3207529"/>
                </a:cubicBezTo>
                <a:cubicBezTo>
                  <a:pt x="6241045" y="3227239"/>
                  <a:pt x="6233151" y="3246948"/>
                  <a:pt x="6201574" y="3243006"/>
                </a:cubicBezTo>
                <a:cubicBezTo>
                  <a:pt x="6197629" y="3243006"/>
                  <a:pt x="6189735" y="3246948"/>
                  <a:pt x="6189735" y="3250890"/>
                </a:cubicBezTo>
                <a:cubicBezTo>
                  <a:pt x="6185787" y="3258773"/>
                  <a:pt x="6173948" y="3262715"/>
                  <a:pt x="6170000" y="3262715"/>
                </a:cubicBezTo>
                <a:cubicBezTo>
                  <a:pt x="6134478" y="3254831"/>
                  <a:pt x="6098955" y="3278486"/>
                  <a:pt x="6063433" y="3274544"/>
                </a:cubicBezTo>
                <a:cubicBezTo>
                  <a:pt x="6016072" y="3266657"/>
                  <a:pt x="5968708" y="3282427"/>
                  <a:pt x="5921347" y="3294253"/>
                </a:cubicBezTo>
                <a:cubicBezTo>
                  <a:pt x="5877931" y="3302137"/>
                  <a:pt x="5838461" y="3313962"/>
                  <a:pt x="5798993" y="3325788"/>
                </a:cubicBezTo>
                <a:cubicBezTo>
                  <a:pt x="5791100" y="3329729"/>
                  <a:pt x="5779258" y="3325788"/>
                  <a:pt x="5779258" y="3337613"/>
                </a:cubicBezTo>
                <a:cubicBezTo>
                  <a:pt x="5783206" y="3349438"/>
                  <a:pt x="5791100" y="3349438"/>
                  <a:pt x="5802938" y="3345497"/>
                </a:cubicBezTo>
                <a:cubicBezTo>
                  <a:pt x="5842409" y="3337613"/>
                  <a:pt x="5885825" y="3329729"/>
                  <a:pt x="5925292" y="3321846"/>
                </a:cubicBezTo>
                <a:cubicBezTo>
                  <a:pt x="5952921" y="3317904"/>
                  <a:pt x="5976602" y="3317904"/>
                  <a:pt x="6004230" y="3317904"/>
                </a:cubicBezTo>
                <a:cubicBezTo>
                  <a:pt x="6035804" y="3317904"/>
                  <a:pt x="6067382" y="3321846"/>
                  <a:pt x="6095010" y="3298195"/>
                </a:cubicBezTo>
                <a:cubicBezTo>
                  <a:pt x="6118691" y="3282427"/>
                  <a:pt x="6146320" y="3290311"/>
                  <a:pt x="6170000" y="3294253"/>
                </a:cubicBezTo>
                <a:cubicBezTo>
                  <a:pt x="6177894" y="3294253"/>
                  <a:pt x="6173948" y="3302137"/>
                  <a:pt x="6170000" y="3306078"/>
                </a:cubicBezTo>
                <a:cubicBezTo>
                  <a:pt x="6154213" y="3310020"/>
                  <a:pt x="6150265" y="3325788"/>
                  <a:pt x="6150265" y="3341555"/>
                </a:cubicBezTo>
                <a:cubicBezTo>
                  <a:pt x="6146320" y="3353380"/>
                  <a:pt x="6142371" y="3369148"/>
                  <a:pt x="6130533" y="3377031"/>
                </a:cubicBezTo>
                <a:cubicBezTo>
                  <a:pt x="6118691" y="3384915"/>
                  <a:pt x="6118691" y="3392799"/>
                  <a:pt x="6122636" y="3404627"/>
                </a:cubicBezTo>
                <a:cubicBezTo>
                  <a:pt x="6126584" y="3420395"/>
                  <a:pt x="6118691" y="3424336"/>
                  <a:pt x="6106849" y="3416453"/>
                </a:cubicBezTo>
                <a:cubicBezTo>
                  <a:pt x="6095010" y="3412511"/>
                  <a:pt x="6087117" y="3416453"/>
                  <a:pt x="6075275" y="3420395"/>
                </a:cubicBezTo>
                <a:cubicBezTo>
                  <a:pt x="6055540" y="3428278"/>
                  <a:pt x="6031859" y="3424336"/>
                  <a:pt x="6012124" y="3424336"/>
                </a:cubicBezTo>
                <a:cubicBezTo>
                  <a:pt x="5980550" y="3416453"/>
                  <a:pt x="5948976" y="3412511"/>
                  <a:pt x="5917399" y="3416453"/>
                </a:cubicBezTo>
                <a:cubicBezTo>
                  <a:pt x="5917399" y="3416453"/>
                  <a:pt x="5913454" y="3416453"/>
                  <a:pt x="5913454" y="3416453"/>
                </a:cubicBezTo>
                <a:cubicBezTo>
                  <a:pt x="5893718" y="3396740"/>
                  <a:pt x="5877931" y="3416453"/>
                  <a:pt x="5858196" y="3420395"/>
                </a:cubicBezTo>
                <a:cubicBezTo>
                  <a:pt x="5842409" y="3420395"/>
                  <a:pt x="5830567" y="3424336"/>
                  <a:pt x="5834515" y="3400682"/>
                </a:cubicBezTo>
                <a:cubicBezTo>
                  <a:pt x="5838461" y="3392799"/>
                  <a:pt x="5834515" y="3392799"/>
                  <a:pt x="5826622" y="3392799"/>
                </a:cubicBezTo>
                <a:cubicBezTo>
                  <a:pt x="5822674" y="3392799"/>
                  <a:pt x="5814780" y="3388857"/>
                  <a:pt x="5814780" y="3400682"/>
                </a:cubicBezTo>
                <a:cubicBezTo>
                  <a:pt x="5814780" y="3420395"/>
                  <a:pt x="5814780" y="3436162"/>
                  <a:pt x="5814780" y="3455871"/>
                </a:cubicBezTo>
                <a:cubicBezTo>
                  <a:pt x="5814780" y="3463755"/>
                  <a:pt x="5818728" y="3463755"/>
                  <a:pt x="5822674" y="3467700"/>
                </a:cubicBezTo>
                <a:cubicBezTo>
                  <a:pt x="5842409" y="3475583"/>
                  <a:pt x="5862144" y="3495293"/>
                  <a:pt x="5885825" y="3495293"/>
                </a:cubicBezTo>
                <a:cubicBezTo>
                  <a:pt x="5893718" y="3499234"/>
                  <a:pt x="5897663" y="3503176"/>
                  <a:pt x="5901612" y="3511060"/>
                </a:cubicBezTo>
                <a:cubicBezTo>
                  <a:pt x="5901612" y="3515002"/>
                  <a:pt x="5901612" y="3518944"/>
                  <a:pt x="5905560" y="3522885"/>
                </a:cubicBezTo>
                <a:cubicBezTo>
                  <a:pt x="5909505" y="3530772"/>
                  <a:pt x="5925292" y="3522885"/>
                  <a:pt x="5925292" y="3534714"/>
                </a:cubicBezTo>
                <a:cubicBezTo>
                  <a:pt x="5925292" y="3542598"/>
                  <a:pt x="5881876" y="3570191"/>
                  <a:pt x="5873983" y="3570191"/>
                </a:cubicBezTo>
                <a:cubicBezTo>
                  <a:pt x="5862144" y="3570191"/>
                  <a:pt x="5846354" y="3574132"/>
                  <a:pt x="5834515" y="3578074"/>
                </a:cubicBezTo>
                <a:cubicBezTo>
                  <a:pt x="5826622" y="3582016"/>
                  <a:pt x="5806887" y="3582016"/>
                  <a:pt x="5826622" y="3601729"/>
                </a:cubicBezTo>
                <a:cubicBezTo>
                  <a:pt x="5834515" y="3613554"/>
                  <a:pt x="5818728" y="3621438"/>
                  <a:pt x="5810832" y="3621438"/>
                </a:cubicBezTo>
                <a:cubicBezTo>
                  <a:pt x="5775313" y="3621438"/>
                  <a:pt x="5751629" y="3633263"/>
                  <a:pt x="5724000" y="3652976"/>
                </a:cubicBezTo>
                <a:cubicBezTo>
                  <a:pt x="5708213" y="3660859"/>
                  <a:pt x="5692426" y="3668743"/>
                  <a:pt x="5676639" y="3676627"/>
                </a:cubicBezTo>
                <a:cubicBezTo>
                  <a:pt x="5668746" y="3680568"/>
                  <a:pt x="5660852" y="3680568"/>
                  <a:pt x="5664797" y="3692394"/>
                </a:cubicBezTo>
                <a:cubicBezTo>
                  <a:pt x="5664797" y="3700277"/>
                  <a:pt x="5660852" y="3700277"/>
                  <a:pt x="5656904" y="3696336"/>
                </a:cubicBezTo>
                <a:cubicBezTo>
                  <a:pt x="5641117" y="3692394"/>
                  <a:pt x="5629275" y="3696336"/>
                  <a:pt x="5617436" y="3704219"/>
                </a:cubicBezTo>
                <a:cubicBezTo>
                  <a:pt x="5605595" y="3716048"/>
                  <a:pt x="5589808" y="3712103"/>
                  <a:pt x="5577966" y="3712103"/>
                </a:cubicBezTo>
                <a:cubicBezTo>
                  <a:pt x="5487189" y="3708161"/>
                  <a:pt x="5400357" y="3723932"/>
                  <a:pt x="5309578" y="3743641"/>
                </a:cubicBezTo>
                <a:cubicBezTo>
                  <a:pt x="5203014" y="3767292"/>
                  <a:pt x="5092499" y="3794888"/>
                  <a:pt x="4981986" y="3822481"/>
                </a:cubicBezTo>
                <a:cubicBezTo>
                  <a:pt x="4871474" y="3846135"/>
                  <a:pt x="4764907" y="3877670"/>
                  <a:pt x="4654395" y="3901324"/>
                </a:cubicBezTo>
                <a:cubicBezTo>
                  <a:pt x="4567564" y="3921033"/>
                  <a:pt x="4488626" y="3940742"/>
                  <a:pt x="4405739" y="3964396"/>
                </a:cubicBezTo>
                <a:cubicBezTo>
                  <a:pt x="4350485" y="3980164"/>
                  <a:pt x="4299176" y="3995931"/>
                  <a:pt x="4247866" y="4007756"/>
                </a:cubicBezTo>
                <a:cubicBezTo>
                  <a:pt x="4216289" y="4015640"/>
                  <a:pt x="4180767" y="4031411"/>
                  <a:pt x="4145248" y="4027469"/>
                </a:cubicBezTo>
                <a:cubicBezTo>
                  <a:pt x="4145248" y="4027469"/>
                  <a:pt x="4141299" y="4027469"/>
                  <a:pt x="4141299" y="4031411"/>
                </a:cubicBezTo>
                <a:cubicBezTo>
                  <a:pt x="4117616" y="4047178"/>
                  <a:pt x="4089987" y="4047178"/>
                  <a:pt x="4066306" y="4051120"/>
                </a:cubicBezTo>
                <a:cubicBezTo>
                  <a:pt x="4018945" y="4051120"/>
                  <a:pt x="3971581" y="4070829"/>
                  <a:pt x="3924220" y="4082654"/>
                </a:cubicBezTo>
                <a:cubicBezTo>
                  <a:pt x="3853176" y="4094483"/>
                  <a:pt x="3782131" y="4118134"/>
                  <a:pt x="3711087" y="4133901"/>
                </a:cubicBezTo>
                <a:cubicBezTo>
                  <a:pt x="3624255" y="4153614"/>
                  <a:pt x="3537423" y="4181207"/>
                  <a:pt x="3454540" y="4204858"/>
                </a:cubicBezTo>
                <a:cubicBezTo>
                  <a:pt x="3422963" y="4212741"/>
                  <a:pt x="3391389" y="4224570"/>
                  <a:pt x="3359815" y="4232454"/>
                </a:cubicBezTo>
                <a:cubicBezTo>
                  <a:pt x="3347973" y="4236395"/>
                  <a:pt x="3340080" y="4240337"/>
                  <a:pt x="3344025" y="4256105"/>
                </a:cubicBezTo>
                <a:cubicBezTo>
                  <a:pt x="3344025" y="4267930"/>
                  <a:pt x="3320344" y="4279759"/>
                  <a:pt x="3312451" y="4271872"/>
                </a:cubicBezTo>
                <a:cubicBezTo>
                  <a:pt x="3304557" y="4267930"/>
                  <a:pt x="3308506" y="4267930"/>
                  <a:pt x="3312451" y="4263988"/>
                </a:cubicBezTo>
                <a:cubicBezTo>
                  <a:pt x="3316399" y="4260046"/>
                  <a:pt x="3328238" y="4263988"/>
                  <a:pt x="3320344" y="4256105"/>
                </a:cubicBezTo>
                <a:cubicBezTo>
                  <a:pt x="3316399" y="4252163"/>
                  <a:pt x="3304557" y="4248221"/>
                  <a:pt x="3300609" y="4256105"/>
                </a:cubicBezTo>
                <a:cubicBezTo>
                  <a:pt x="3296664" y="4263988"/>
                  <a:pt x="3288770" y="4267930"/>
                  <a:pt x="3280877" y="4271872"/>
                </a:cubicBezTo>
                <a:cubicBezTo>
                  <a:pt x="3269035" y="4283701"/>
                  <a:pt x="3280877" y="4287642"/>
                  <a:pt x="3288770" y="4291584"/>
                </a:cubicBezTo>
                <a:cubicBezTo>
                  <a:pt x="3296664" y="4295526"/>
                  <a:pt x="3304557" y="4291584"/>
                  <a:pt x="3304557" y="4299468"/>
                </a:cubicBezTo>
                <a:cubicBezTo>
                  <a:pt x="3304557" y="4311293"/>
                  <a:pt x="3296664" y="4315235"/>
                  <a:pt x="3292715" y="4319177"/>
                </a:cubicBezTo>
                <a:cubicBezTo>
                  <a:pt x="3284822" y="4323119"/>
                  <a:pt x="3276929" y="4327061"/>
                  <a:pt x="3269035" y="4323119"/>
                </a:cubicBezTo>
                <a:cubicBezTo>
                  <a:pt x="3249300" y="4319177"/>
                  <a:pt x="3229568" y="4323119"/>
                  <a:pt x="3209832" y="4323119"/>
                </a:cubicBezTo>
                <a:cubicBezTo>
                  <a:pt x="3194045" y="4323119"/>
                  <a:pt x="3186152" y="4327061"/>
                  <a:pt x="3190097" y="4346773"/>
                </a:cubicBezTo>
                <a:cubicBezTo>
                  <a:pt x="3190097" y="4350715"/>
                  <a:pt x="3194045" y="4358599"/>
                  <a:pt x="3186152" y="4358599"/>
                </a:cubicBezTo>
                <a:cubicBezTo>
                  <a:pt x="3178258" y="4362540"/>
                  <a:pt x="3174310" y="4358599"/>
                  <a:pt x="3170362" y="4350715"/>
                </a:cubicBezTo>
                <a:cubicBezTo>
                  <a:pt x="3166417" y="4342831"/>
                  <a:pt x="3166417" y="4327061"/>
                  <a:pt x="3154575" y="4327061"/>
                </a:cubicBezTo>
                <a:cubicBezTo>
                  <a:pt x="3142736" y="4327061"/>
                  <a:pt x="3126946" y="4331003"/>
                  <a:pt x="3115107" y="4334944"/>
                </a:cubicBezTo>
                <a:cubicBezTo>
                  <a:pt x="3083530" y="4350715"/>
                  <a:pt x="3048011" y="4358599"/>
                  <a:pt x="3016434" y="4382250"/>
                </a:cubicBezTo>
                <a:cubicBezTo>
                  <a:pt x="3012489" y="4386191"/>
                  <a:pt x="2996699" y="4398017"/>
                  <a:pt x="2988805" y="4382250"/>
                </a:cubicBezTo>
                <a:cubicBezTo>
                  <a:pt x="2984860" y="4374366"/>
                  <a:pt x="2980911" y="4378308"/>
                  <a:pt x="2973018" y="4378308"/>
                </a:cubicBezTo>
                <a:cubicBezTo>
                  <a:pt x="2949337" y="4382250"/>
                  <a:pt x="2933551" y="4409846"/>
                  <a:pt x="2905922" y="4398017"/>
                </a:cubicBezTo>
                <a:cubicBezTo>
                  <a:pt x="2901973" y="4398017"/>
                  <a:pt x="2898028" y="4401959"/>
                  <a:pt x="2898028" y="4398017"/>
                </a:cubicBezTo>
                <a:cubicBezTo>
                  <a:pt x="2894080" y="4394075"/>
                  <a:pt x="2901973" y="4394075"/>
                  <a:pt x="2901973" y="4390133"/>
                </a:cubicBezTo>
                <a:cubicBezTo>
                  <a:pt x="2905922" y="4390133"/>
                  <a:pt x="2913815" y="4386191"/>
                  <a:pt x="2909870" y="4382250"/>
                </a:cubicBezTo>
                <a:cubicBezTo>
                  <a:pt x="2905922" y="4374366"/>
                  <a:pt x="2901973" y="4382250"/>
                  <a:pt x="2898028" y="4382250"/>
                </a:cubicBezTo>
                <a:cubicBezTo>
                  <a:pt x="2890135" y="4386191"/>
                  <a:pt x="2886186" y="4386191"/>
                  <a:pt x="2878293" y="4386191"/>
                </a:cubicBezTo>
                <a:cubicBezTo>
                  <a:pt x="2858558" y="4378308"/>
                  <a:pt x="2842771" y="4386191"/>
                  <a:pt x="2826984" y="4401959"/>
                </a:cubicBezTo>
                <a:cubicBezTo>
                  <a:pt x="2823038" y="4409846"/>
                  <a:pt x="2815142" y="4413787"/>
                  <a:pt x="2811197" y="4413787"/>
                </a:cubicBezTo>
                <a:cubicBezTo>
                  <a:pt x="2795410" y="4409846"/>
                  <a:pt x="2783568" y="4405904"/>
                  <a:pt x="2779623" y="4425613"/>
                </a:cubicBezTo>
                <a:cubicBezTo>
                  <a:pt x="2775674" y="4433497"/>
                  <a:pt x="2771726" y="4425613"/>
                  <a:pt x="2767781" y="4425613"/>
                </a:cubicBezTo>
                <a:cubicBezTo>
                  <a:pt x="2751994" y="4413787"/>
                  <a:pt x="2736207" y="4421671"/>
                  <a:pt x="2732258" y="4433497"/>
                </a:cubicBezTo>
                <a:cubicBezTo>
                  <a:pt x="2724365" y="4445322"/>
                  <a:pt x="2720417" y="4445322"/>
                  <a:pt x="2708578" y="4441380"/>
                </a:cubicBezTo>
                <a:cubicBezTo>
                  <a:pt x="2669107" y="4433497"/>
                  <a:pt x="2641478" y="4461089"/>
                  <a:pt x="2605959" y="4472918"/>
                </a:cubicBezTo>
                <a:cubicBezTo>
                  <a:pt x="2598063" y="4476860"/>
                  <a:pt x="2602011" y="4496569"/>
                  <a:pt x="2605959" y="4508395"/>
                </a:cubicBezTo>
                <a:cubicBezTo>
                  <a:pt x="2609905" y="4520220"/>
                  <a:pt x="2617798" y="4516278"/>
                  <a:pt x="2625692" y="4512336"/>
                </a:cubicBezTo>
                <a:cubicBezTo>
                  <a:pt x="2641478" y="4508395"/>
                  <a:pt x="2653320" y="4500511"/>
                  <a:pt x="2665162" y="4496569"/>
                </a:cubicBezTo>
                <a:cubicBezTo>
                  <a:pt x="2680949" y="4488685"/>
                  <a:pt x="2688843" y="4492627"/>
                  <a:pt x="2696736" y="4504453"/>
                </a:cubicBezTo>
                <a:cubicBezTo>
                  <a:pt x="2708578" y="4520220"/>
                  <a:pt x="2692791" y="4524162"/>
                  <a:pt x="2688843" y="4528104"/>
                </a:cubicBezTo>
                <a:cubicBezTo>
                  <a:pt x="2677001" y="4539933"/>
                  <a:pt x="2669107" y="4543874"/>
                  <a:pt x="2653320" y="4543874"/>
                </a:cubicBezTo>
                <a:cubicBezTo>
                  <a:pt x="2641478" y="4539933"/>
                  <a:pt x="2633585" y="4547816"/>
                  <a:pt x="2625692" y="4559642"/>
                </a:cubicBezTo>
                <a:cubicBezTo>
                  <a:pt x="2613853" y="4563583"/>
                  <a:pt x="2590169" y="4555700"/>
                  <a:pt x="2586224" y="4543874"/>
                </a:cubicBezTo>
                <a:cubicBezTo>
                  <a:pt x="2582276" y="4539933"/>
                  <a:pt x="2582276" y="4535991"/>
                  <a:pt x="2586224" y="4532049"/>
                </a:cubicBezTo>
                <a:cubicBezTo>
                  <a:pt x="2586224" y="4528104"/>
                  <a:pt x="2590169" y="4535991"/>
                  <a:pt x="2594118" y="4535991"/>
                </a:cubicBezTo>
                <a:cubicBezTo>
                  <a:pt x="2598063" y="4539933"/>
                  <a:pt x="2602011" y="4543874"/>
                  <a:pt x="2609905" y="4543874"/>
                </a:cubicBezTo>
                <a:cubicBezTo>
                  <a:pt x="2617798" y="4539933"/>
                  <a:pt x="2621746" y="4532049"/>
                  <a:pt x="2617798" y="4532049"/>
                </a:cubicBezTo>
                <a:cubicBezTo>
                  <a:pt x="2598063" y="4528104"/>
                  <a:pt x="2594118" y="4504453"/>
                  <a:pt x="2582276" y="4496569"/>
                </a:cubicBezTo>
                <a:cubicBezTo>
                  <a:pt x="2570437" y="4488685"/>
                  <a:pt x="2566489" y="4488685"/>
                  <a:pt x="2554647" y="4492627"/>
                </a:cubicBezTo>
                <a:cubicBezTo>
                  <a:pt x="2503338" y="4508395"/>
                  <a:pt x="2452028" y="4528104"/>
                  <a:pt x="2400719" y="4543874"/>
                </a:cubicBezTo>
                <a:cubicBezTo>
                  <a:pt x="2396774" y="4543874"/>
                  <a:pt x="2384932" y="4555700"/>
                  <a:pt x="2380984" y="4543874"/>
                </a:cubicBezTo>
                <a:cubicBezTo>
                  <a:pt x="2373090" y="4532049"/>
                  <a:pt x="2384932" y="4528104"/>
                  <a:pt x="2396774" y="4524162"/>
                </a:cubicBezTo>
                <a:cubicBezTo>
                  <a:pt x="2471764" y="4484744"/>
                  <a:pt x="2558595" y="4461089"/>
                  <a:pt x="2637533" y="4421671"/>
                </a:cubicBezTo>
                <a:cubicBezTo>
                  <a:pt x="2657269" y="4413787"/>
                  <a:pt x="2680949" y="4409846"/>
                  <a:pt x="2704630" y="4398017"/>
                </a:cubicBezTo>
                <a:cubicBezTo>
                  <a:pt x="2716471" y="4390133"/>
                  <a:pt x="2728310" y="4386191"/>
                  <a:pt x="2724365" y="4366482"/>
                </a:cubicBezTo>
                <a:cubicBezTo>
                  <a:pt x="2724365" y="4362540"/>
                  <a:pt x="2728310" y="4358599"/>
                  <a:pt x="2732258" y="4358599"/>
                </a:cubicBezTo>
                <a:cubicBezTo>
                  <a:pt x="2751994" y="4358599"/>
                  <a:pt x="2763832" y="4342831"/>
                  <a:pt x="2779623" y="4338886"/>
                </a:cubicBezTo>
                <a:cubicBezTo>
                  <a:pt x="2803303" y="4327061"/>
                  <a:pt x="2819090" y="4311293"/>
                  <a:pt x="2826984" y="4291584"/>
                </a:cubicBezTo>
                <a:cubicBezTo>
                  <a:pt x="2834877" y="4275814"/>
                  <a:pt x="2850664" y="4263988"/>
                  <a:pt x="2858558" y="4248221"/>
                </a:cubicBezTo>
                <a:cubicBezTo>
                  <a:pt x="2858558" y="4244279"/>
                  <a:pt x="2870399" y="4240337"/>
                  <a:pt x="2858558" y="4232454"/>
                </a:cubicBezTo>
                <a:cubicBezTo>
                  <a:pt x="2846719" y="4224570"/>
                  <a:pt x="2846719" y="4224570"/>
                  <a:pt x="2862506" y="4220628"/>
                </a:cubicBezTo>
                <a:cubicBezTo>
                  <a:pt x="2878293" y="4212741"/>
                  <a:pt x="2890135" y="4200916"/>
                  <a:pt x="2905922" y="4196974"/>
                </a:cubicBezTo>
                <a:cubicBezTo>
                  <a:pt x="2913815" y="4196974"/>
                  <a:pt x="2921709" y="4189090"/>
                  <a:pt x="2925657" y="4181207"/>
                </a:cubicBezTo>
                <a:cubicBezTo>
                  <a:pt x="2929602" y="4173323"/>
                  <a:pt x="2929602" y="4169381"/>
                  <a:pt x="2941444" y="4169381"/>
                </a:cubicBezTo>
                <a:cubicBezTo>
                  <a:pt x="2949337" y="4173323"/>
                  <a:pt x="2957231" y="4165439"/>
                  <a:pt x="2961179" y="4157556"/>
                </a:cubicBezTo>
                <a:cubicBezTo>
                  <a:pt x="2965124" y="4153614"/>
                  <a:pt x="2961179" y="4145727"/>
                  <a:pt x="2957231" y="4145727"/>
                </a:cubicBezTo>
                <a:cubicBezTo>
                  <a:pt x="2949337" y="4141785"/>
                  <a:pt x="2941444" y="4141785"/>
                  <a:pt x="2933551" y="4145727"/>
                </a:cubicBezTo>
                <a:cubicBezTo>
                  <a:pt x="2925657" y="4149669"/>
                  <a:pt x="2917764" y="4157556"/>
                  <a:pt x="2905922" y="4161497"/>
                </a:cubicBezTo>
                <a:cubicBezTo>
                  <a:pt x="2811197" y="4200916"/>
                  <a:pt x="2712523" y="4240337"/>
                  <a:pt x="2621746" y="4287642"/>
                </a:cubicBezTo>
                <a:cubicBezTo>
                  <a:pt x="2617798" y="4287642"/>
                  <a:pt x="2613853" y="4287642"/>
                  <a:pt x="2613853" y="4291584"/>
                </a:cubicBezTo>
                <a:cubicBezTo>
                  <a:pt x="2617798" y="4291584"/>
                  <a:pt x="2621746" y="4291584"/>
                  <a:pt x="2621746" y="4291584"/>
                </a:cubicBezTo>
                <a:cubicBezTo>
                  <a:pt x="2649375" y="4287642"/>
                  <a:pt x="2673056" y="4275814"/>
                  <a:pt x="2696736" y="4263988"/>
                </a:cubicBezTo>
                <a:cubicBezTo>
                  <a:pt x="2704630" y="4260046"/>
                  <a:pt x="2712523" y="4260046"/>
                  <a:pt x="2716471" y="4260046"/>
                </a:cubicBezTo>
                <a:cubicBezTo>
                  <a:pt x="2720417" y="4260046"/>
                  <a:pt x="2724365" y="4260046"/>
                  <a:pt x="2724365" y="4263988"/>
                </a:cubicBezTo>
                <a:cubicBezTo>
                  <a:pt x="2724365" y="4263988"/>
                  <a:pt x="2720417" y="4267930"/>
                  <a:pt x="2720417" y="4267930"/>
                </a:cubicBezTo>
                <a:cubicBezTo>
                  <a:pt x="2688843" y="4279759"/>
                  <a:pt x="2657269" y="4295526"/>
                  <a:pt x="2625692" y="4303410"/>
                </a:cubicBezTo>
                <a:cubicBezTo>
                  <a:pt x="2617798" y="4307352"/>
                  <a:pt x="2605959" y="4311293"/>
                  <a:pt x="2605959" y="4315235"/>
                </a:cubicBezTo>
                <a:cubicBezTo>
                  <a:pt x="2605959" y="4338886"/>
                  <a:pt x="2586224" y="4331003"/>
                  <a:pt x="2570437" y="4334944"/>
                </a:cubicBezTo>
                <a:cubicBezTo>
                  <a:pt x="2570437" y="4331003"/>
                  <a:pt x="2574382" y="4327061"/>
                  <a:pt x="2566489" y="4327061"/>
                </a:cubicBezTo>
                <a:cubicBezTo>
                  <a:pt x="2550702" y="4323119"/>
                  <a:pt x="2534915" y="4327061"/>
                  <a:pt x="2515179" y="4334944"/>
                </a:cubicBezTo>
                <a:cubicBezTo>
                  <a:pt x="2515179" y="4334944"/>
                  <a:pt x="2515179" y="4338886"/>
                  <a:pt x="2515179" y="4338886"/>
                </a:cubicBezTo>
                <a:cubicBezTo>
                  <a:pt x="2515179" y="4342831"/>
                  <a:pt x="2519128" y="4342831"/>
                  <a:pt x="2523073" y="4342831"/>
                </a:cubicBezTo>
                <a:cubicBezTo>
                  <a:pt x="2538860" y="4338886"/>
                  <a:pt x="2554647" y="4334944"/>
                  <a:pt x="2574382" y="4334944"/>
                </a:cubicBezTo>
                <a:cubicBezTo>
                  <a:pt x="2554647" y="4346773"/>
                  <a:pt x="2534915" y="4350715"/>
                  <a:pt x="2511231" y="4350715"/>
                </a:cubicBezTo>
                <a:cubicBezTo>
                  <a:pt x="2479657" y="4350715"/>
                  <a:pt x="2448083" y="4362540"/>
                  <a:pt x="2416506" y="4378308"/>
                </a:cubicBezTo>
                <a:cubicBezTo>
                  <a:pt x="2377039" y="4398017"/>
                  <a:pt x="2333623" y="4413787"/>
                  <a:pt x="2290207" y="4433497"/>
                </a:cubicBezTo>
                <a:cubicBezTo>
                  <a:pt x="2215217" y="4468976"/>
                  <a:pt x="2132331" y="4484744"/>
                  <a:pt x="2057341" y="4512336"/>
                </a:cubicBezTo>
                <a:cubicBezTo>
                  <a:pt x="2045499" y="4516278"/>
                  <a:pt x="2037606" y="4524162"/>
                  <a:pt x="2025764" y="4532049"/>
                </a:cubicBezTo>
                <a:cubicBezTo>
                  <a:pt x="2021819" y="4532049"/>
                  <a:pt x="2013925" y="4535991"/>
                  <a:pt x="2009977" y="4528104"/>
                </a:cubicBezTo>
                <a:cubicBezTo>
                  <a:pt x="2006032" y="4524162"/>
                  <a:pt x="2009977" y="4520220"/>
                  <a:pt x="2013925" y="4516278"/>
                </a:cubicBezTo>
                <a:cubicBezTo>
                  <a:pt x="2021819" y="4504453"/>
                  <a:pt x="2033661" y="4488685"/>
                  <a:pt x="2037606" y="4472918"/>
                </a:cubicBezTo>
                <a:cubicBezTo>
                  <a:pt x="2037606" y="4465031"/>
                  <a:pt x="2037606" y="4465031"/>
                  <a:pt x="2045499" y="4461089"/>
                </a:cubicBezTo>
                <a:cubicBezTo>
                  <a:pt x="2104702" y="4433497"/>
                  <a:pt x="2163908" y="4405904"/>
                  <a:pt x="2223111" y="4378308"/>
                </a:cubicBezTo>
                <a:cubicBezTo>
                  <a:pt x="2227056" y="4378308"/>
                  <a:pt x="2231004" y="4374366"/>
                  <a:pt x="2234949" y="4374366"/>
                </a:cubicBezTo>
                <a:cubicBezTo>
                  <a:pt x="2246791" y="4366482"/>
                  <a:pt x="2266527" y="4362540"/>
                  <a:pt x="2274420" y="4350715"/>
                </a:cubicBezTo>
                <a:cubicBezTo>
                  <a:pt x="2282314" y="4334944"/>
                  <a:pt x="2258633" y="4331003"/>
                  <a:pt x="2250740" y="4315235"/>
                </a:cubicBezTo>
                <a:cubicBezTo>
                  <a:pt x="2242843" y="4299468"/>
                  <a:pt x="2238898" y="4279759"/>
                  <a:pt x="2234949" y="4263988"/>
                </a:cubicBezTo>
                <a:cubicBezTo>
                  <a:pt x="2219162" y="4224570"/>
                  <a:pt x="2227056" y="4185148"/>
                  <a:pt x="2219162" y="4145727"/>
                </a:cubicBezTo>
                <a:cubicBezTo>
                  <a:pt x="2219162" y="4141785"/>
                  <a:pt x="2219162" y="4137843"/>
                  <a:pt x="2219162" y="4133901"/>
                </a:cubicBezTo>
                <a:cubicBezTo>
                  <a:pt x="2238898" y="4114192"/>
                  <a:pt x="2238898" y="4086596"/>
                  <a:pt x="2250740" y="4062945"/>
                </a:cubicBezTo>
                <a:cubicBezTo>
                  <a:pt x="2258633" y="4039294"/>
                  <a:pt x="2258633" y="4011698"/>
                  <a:pt x="2278365" y="3995931"/>
                </a:cubicBezTo>
                <a:cubicBezTo>
                  <a:pt x="2290207" y="3984105"/>
                  <a:pt x="2298100" y="3968338"/>
                  <a:pt x="2298100" y="3952567"/>
                </a:cubicBezTo>
                <a:cubicBezTo>
                  <a:pt x="2298100" y="3936800"/>
                  <a:pt x="2309942" y="3924975"/>
                  <a:pt x="2317836" y="3917091"/>
                </a:cubicBezTo>
                <a:cubicBezTo>
                  <a:pt x="2357303" y="3861902"/>
                  <a:pt x="2392826" y="3798830"/>
                  <a:pt x="2432296" y="3743641"/>
                </a:cubicBezTo>
                <a:lnTo>
                  <a:pt x="2441678" y="3728487"/>
                </a:lnTo>
                <a:lnTo>
                  <a:pt x="2423615" y="3734592"/>
                </a:lnTo>
                <a:cubicBezTo>
                  <a:pt x="2351625" y="3756691"/>
                  <a:pt x="2279631" y="3784317"/>
                  <a:pt x="2207641" y="3806416"/>
                </a:cubicBezTo>
                <a:cubicBezTo>
                  <a:pt x="2146726" y="3828515"/>
                  <a:pt x="2085812" y="3850615"/>
                  <a:pt x="2030432" y="3878240"/>
                </a:cubicBezTo>
                <a:cubicBezTo>
                  <a:pt x="1952903" y="3911392"/>
                  <a:pt x="1875378" y="3927970"/>
                  <a:pt x="1797848" y="3955595"/>
                </a:cubicBezTo>
                <a:cubicBezTo>
                  <a:pt x="1753544" y="3972168"/>
                  <a:pt x="1703704" y="3988746"/>
                  <a:pt x="1659404" y="4010846"/>
                </a:cubicBezTo>
                <a:cubicBezTo>
                  <a:pt x="1537575" y="4060571"/>
                  <a:pt x="1421280" y="4110295"/>
                  <a:pt x="1299451" y="4160025"/>
                </a:cubicBezTo>
                <a:cubicBezTo>
                  <a:pt x="1232996" y="4187650"/>
                  <a:pt x="1166542" y="4215276"/>
                  <a:pt x="1100087" y="4248427"/>
                </a:cubicBezTo>
                <a:cubicBezTo>
                  <a:pt x="1033637" y="4281574"/>
                  <a:pt x="961648" y="4309199"/>
                  <a:pt x="900729" y="4347877"/>
                </a:cubicBezTo>
                <a:cubicBezTo>
                  <a:pt x="895193" y="4347877"/>
                  <a:pt x="889654" y="4347877"/>
                  <a:pt x="889654" y="4347877"/>
                </a:cubicBezTo>
                <a:lnTo>
                  <a:pt x="888716" y="4347481"/>
                </a:lnTo>
                <a:lnTo>
                  <a:pt x="859113" y="4368201"/>
                </a:lnTo>
                <a:cubicBezTo>
                  <a:pt x="853900" y="4362726"/>
                  <a:pt x="864327" y="4357255"/>
                  <a:pt x="864327" y="4351780"/>
                </a:cubicBezTo>
                <a:lnTo>
                  <a:pt x="887415" y="4346930"/>
                </a:lnTo>
                <a:lnTo>
                  <a:pt x="871660" y="4340282"/>
                </a:lnTo>
                <a:cubicBezTo>
                  <a:pt x="867504" y="4343734"/>
                  <a:pt x="864736" y="4350640"/>
                  <a:pt x="861964" y="4353403"/>
                </a:cubicBezTo>
                <a:lnTo>
                  <a:pt x="832003" y="4368349"/>
                </a:lnTo>
                <a:lnTo>
                  <a:pt x="828739" y="4369976"/>
                </a:lnTo>
                <a:cubicBezTo>
                  <a:pt x="828739" y="4369976"/>
                  <a:pt x="823204" y="4369976"/>
                  <a:pt x="823204" y="4369976"/>
                </a:cubicBezTo>
                <a:cubicBezTo>
                  <a:pt x="812124" y="4369976"/>
                  <a:pt x="801049" y="4375502"/>
                  <a:pt x="801049" y="4364450"/>
                </a:cubicBezTo>
                <a:cubicBezTo>
                  <a:pt x="795514" y="4358929"/>
                  <a:pt x="806589" y="4353403"/>
                  <a:pt x="817664" y="4347877"/>
                </a:cubicBezTo>
                <a:cubicBezTo>
                  <a:pt x="956108" y="4276052"/>
                  <a:pt x="1094552" y="4198698"/>
                  <a:pt x="1244071" y="4132399"/>
                </a:cubicBezTo>
                <a:cubicBezTo>
                  <a:pt x="1327136" y="4099248"/>
                  <a:pt x="1410205" y="4055045"/>
                  <a:pt x="1493270" y="4016372"/>
                </a:cubicBezTo>
                <a:cubicBezTo>
                  <a:pt x="1626179" y="3961121"/>
                  <a:pt x="1759083" y="3905870"/>
                  <a:pt x="1891988" y="3850615"/>
                </a:cubicBezTo>
                <a:cubicBezTo>
                  <a:pt x="1997207" y="3806416"/>
                  <a:pt x="2096887" y="3767739"/>
                  <a:pt x="2202106" y="3723540"/>
                </a:cubicBezTo>
                <a:cubicBezTo>
                  <a:pt x="2274095" y="3695915"/>
                  <a:pt x="2351625" y="3668289"/>
                  <a:pt x="2423615" y="3640664"/>
                </a:cubicBezTo>
                <a:lnTo>
                  <a:pt x="2524675" y="3604087"/>
                </a:lnTo>
                <a:lnTo>
                  <a:pt x="2558102" y="3556887"/>
                </a:lnTo>
                <a:cubicBezTo>
                  <a:pt x="2571423" y="3536684"/>
                  <a:pt x="2584250" y="3516974"/>
                  <a:pt x="2598063" y="3499234"/>
                </a:cubicBezTo>
                <a:cubicBezTo>
                  <a:pt x="2602011" y="3491351"/>
                  <a:pt x="2602011" y="3487409"/>
                  <a:pt x="2590169" y="3487409"/>
                </a:cubicBezTo>
                <a:cubicBezTo>
                  <a:pt x="2578331" y="3487409"/>
                  <a:pt x="2570437" y="3491351"/>
                  <a:pt x="2554647" y="3499234"/>
                </a:cubicBezTo>
                <a:cubicBezTo>
                  <a:pt x="2523073" y="3515002"/>
                  <a:pt x="2491499" y="3534714"/>
                  <a:pt x="2452028" y="3542598"/>
                </a:cubicBezTo>
                <a:cubicBezTo>
                  <a:pt x="2440190" y="3546540"/>
                  <a:pt x="2428348" y="3550481"/>
                  <a:pt x="2416506" y="3558365"/>
                </a:cubicBezTo>
                <a:cubicBezTo>
                  <a:pt x="2380984" y="3582016"/>
                  <a:pt x="2337568" y="3593845"/>
                  <a:pt x="2298100" y="3609612"/>
                </a:cubicBezTo>
                <a:cubicBezTo>
                  <a:pt x="2254685" y="3625379"/>
                  <a:pt x="2223111" y="3660859"/>
                  <a:pt x="2175747" y="3668743"/>
                </a:cubicBezTo>
                <a:cubicBezTo>
                  <a:pt x="2167853" y="3668743"/>
                  <a:pt x="2159960" y="3672685"/>
                  <a:pt x="2156011" y="3668743"/>
                </a:cubicBezTo>
                <a:cubicBezTo>
                  <a:pt x="2144173" y="3656917"/>
                  <a:pt x="2128386" y="3645089"/>
                  <a:pt x="2112595" y="3633263"/>
                </a:cubicBezTo>
                <a:cubicBezTo>
                  <a:pt x="2108650" y="3629321"/>
                  <a:pt x="2104702" y="3621438"/>
                  <a:pt x="2116544" y="3617496"/>
                </a:cubicBezTo>
                <a:cubicBezTo>
                  <a:pt x="2128386" y="3613554"/>
                  <a:pt x="2136279" y="3597787"/>
                  <a:pt x="2148118" y="3589903"/>
                </a:cubicBezTo>
                <a:cubicBezTo>
                  <a:pt x="2159960" y="3582018"/>
                  <a:pt x="2166867" y="3572162"/>
                  <a:pt x="2172787" y="3561814"/>
                </a:cubicBezTo>
                <a:lnTo>
                  <a:pt x="2185254" y="3541171"/>
                </a:lnTo>
                <a:lnTo>
                  <a:pt x="2156932" y="3539756"/>
                </a:lnTo>
                <a:cubicBezTo>
                  <a:pt x="2143089" y="3540448"/>
                  <a:pt x="2129245" y="3541830"/>
                  <a:pt x="2115400" y="3541830"/>
                </a:cubicBezTo>
                <a:cubicBezTo>
                  <a:pt x="2093250" y="3541830"/>
                  <a:pt x="2082175" y="3547361"/>
                  <a:pt x="2087710" y="3575018"/>
                </a:cubicBezTo>
                <a:cubicBezTo>
                  <a:pt x="2087710" y="3580549"/>
                  <a:pt x="2093250" y="3591610"/>
                  <a:pt x="2082175" y="3591610"/>
                </a:cubicBezTo>
                <a:cubicBezTo>
                  <a:pt x="2071100" y="3597141"/>
                  <a:pt x="2065560" y="3591610"/>
                  <a:pt x="2060021" y="3580549"/>
                </a:cubicBezTo>
                <a:cubicBezTo>
                  <a:pt x="2054485" y="3569488"/>
                  <a:pt x="2054485" y="3547361"/>
                  <a:pt x="2037871" y="3547361"/>
                </a:cubicBezTo>
                <a:cubicBezTo>
                  <a:pt x="2021260" y="3547361"/>
                  <a:pt x="1999106" y="3552891"/>
                  <a:pt x="1982496" y="3558422"/>
                </a:cubicBezTo>
                <a:cubicBezTo>
                  <a:pt x="1938191" y="3580549"/>
                  <a:pt x="1888356" y="3591610"/>
                  <a:pt x="1844051" y="3624794"/>
                </a:cubicBezTo>
                <a:cubicBezTo>
                  <a:pt x="1838516" y="3630324"/>
                  <a:pt x="1816362" y="3646916"/>
                  <a:pt x="1805287" y="3624794"/>
                </a:cubicBezTo>
                <a:cubicBezTo>
                  <a:pt x="1799752" y="3613733"/>
                  <a:pt x="1794212" y="3619263"/>
                  <a:pt x="1783137" y="3619263"/>
                </a:cubicBezTo>
                <a:cubicBezTo>
                  <a:pt x="1749912" y="3624794"/>
                  <a:pt x="1727762" y="3663512"/>
                  <a:pt x="1688997" y="3646916"/>
                </a:cubicBezTo>
                <a:cubicBezTo>
                  <a:pt x="1683457" y="3646916"/>
                  <a:pt x="1677922" y="3652447"/>
                  <a:pt x="1677922" y="3646916"/>
                </a:cubicBezTo>
                <a:cubicBezTo>
                  <a:pt x="1672382" y="3641386"/>
                  <a:pt x="1683457" y="3641386"/>
                  <a:pt x="1683457" y="3635855"/>
                </a:cubicBezTo>
                <a:cubicBezTo>
                  <a:pt x="1688997" y="3635855"/>
                  <a:pt x="1700072" y="3630324"/>
                  <a:pt x="1694537" y="3624794"/>
                </a:cubicBezTo>
                <a:cubicBezTo>
                  <a:pt x="1688997" y="3613733"/>
                  <a:pt x="1683457" y="3624794"/>
                  <a:pt x="1677922" y="3624794"/>
                </a:cubicBezTo>
                <a:cubicBezTo>
                  <a:pt x="1666847" y="3630324"/>
                  <a:pt x="1661307" y="3630324"/>
                  <a:pt x="1650232" y="3630324"/>
                </a:cubicBezTo>
                <a:cubicBezTo>
                  <a:pt x="1622542" y="3619263"/>
                  <a:pt x="1600393" y="3630324"/>
                  <a:pt x="1578243" y="3652447"/>
                </a:cubicBezTo>
                <a:cubicBezTo>
                  <a:pt x="1572707" y="3663512"/>
                  <a:pt x="1561628" y="3669043"/>
                  <a:pt x="1556093" y="3669043"/>
                </a:cubicBezTo>
                <a:cubicBezTo>
                  <a:pt x="1533943" y="3663512"/>
                  <a:pt x="1517328" y="3657982"/>
                  <a:pt x="1511793" y="3685635"/>
                </a:cubicBezTo>
                <a:cubicBezTo>
                  <a:pt x="1506253" y="3696696"/>
                  <a:pt x="1500713" y="3685635"/>
                  <a:pt x="1495178" y="3685635"/>
                </a:cubicBezTo>
                <a:cubicBezTo>
                  <a:pt x="1473028" y="3669043"/>
                  <a:pt x="1450878" y="3680104"/>
                  <a:pt x="1445338" y="3696696"/>
                </a:cubicBezTo>
                <a:cubicBezTo>
                  <a:pt x="1434263" y="3713288"/>
                  <a:pt x="1428723" y="3713288"/>
                  <a:pt x="1412113" y="3707757"/>
                </a:cubicBezTo>
                <a:cubicBezTo>
                  <a:pt x="1356734" y="3696696"/>
                  <a:pt x="1317969" y="3735410"/>
                  <a:pt x="1268134" y="3752007"/>
                </a:cubicBezTo>
                <a:cubicBezTo>
                  <a:pt x="1257054" y="3757537"/>
                  <a:pt x="1262594" y="3785190"/>
                  <a:pt x="1268134" y="3801782"/>
                </a:cubicBezTo>
                <a:cubicBezTo>
                  <a:pt x="1273669" y="3818374"/>
                  <a:pt x="1284744" y="3812843"/>
                  <a:pt x="1295819" y="3807313"/>
                </a:cubicBezTo>
                <a:cubicBezTo>
                  <a:pt x="1317969" y="3801782"/>
                  <a:pt x="1334584" y="3790721"/>
                  <a:pt x="1351199" y="3785190"/>
                </a:cubicBezTo>
                <a:cubicBezTo>
                  <a:pt x="1373348" y="3774129"/>
                  <a:pt x="1384423" y="3779660"/>
                  <a:pt x="1395498" y="3796251"/>
                </a:cubicBezTo>
                <a:cubicBezTo>
                  <a:pt x="1412113" y="3818374"/>
                  <a:pt x="1389963" y="3823904"/>
                  <a:pt x="1384423" y="3829435"/>
                </a:cubicBezTo>
                <a:cubicBezTo>
                  <a:pt x="1367809" y="3846031"/>
                  <a:pt x="1356734" y="3851562"/>
                  <a:pt x="1334584" y="3851562"/>
                </a:cubicBezTo>
                <a:cubicBezTo>
                  <a:pt x="1317969" y="3846031"/>
                  <a:pt x="1306894" y="3857093"/>
                  <a:pt x="1295819" y="3873684"/>
                </a:cubicBezTo>
                <a:cubicBezTo>
                  <a:pt x="1279209" y="3879215"/>
                  <a:pt x="1245979" y="3868154"/>
                  <a:pt x="1240444" y="3851562"/>
                </a:cubicBezTo>
                <a:cubicBezTo>
                  <a:pt x="1234904" y="3846031"/>
                  <a:pt x="1234904" y="3840501"/>
                  <a:pt x="1240444" y="3834970"/>
                </a:cubicBezTo>
                <a:cubicBezTo>
                  <a:pt x="1240444" y="3829435"/>
                  <a:pt x="1245979" y="3840501"/>
                  <a:pt x="1251519" y="3840501"/>
                </a:cubicBezTo>
                <a:cubicBezTo>
                  <a:pt x="1257054" y="3846031"/>
                  <a:pt x="1262594" y="3851562"/>
                  <a:pt x="1273669" y="3851562"/>
                </a:cubicBezTo>
                <a:cubicBezTo>
                  <a:pt x="1284744" y="3846031"/>
                  <a:pt x="1290284" y="3834970"/>
                  <a:pt x="1284744" y="3834970"/>
                </a:cubicBezTo>
                <a:cubicBezTo>
                  <a:pt x="1257054" y="3829435"/>
                  <a:pt x="1251519" y="3796251"/>
                  <a:pt x="1234904" y="3785190"/>
                </a:cubicBezTo>
                <a:cubicBezTo>
                  <a:pt x="1218294" y="3774129"/>
                  <a:pt x="1212754" y="3774129"/>
                  <a:pt x="1196140" y="3779660"/>
                </a:cubicBezTo>
                <a:cubicBezTo>
                  <a:pt x="1124150" y="3801782"/>
                  <a:pt x="1052160" y="3829435"/>
                  <a:pt x="980171" y="3851562"/>
                </a:cubicBezTo>
                <a:cubicBezTo>
                  <a:pt x="974635" y="3851562"/>
                  <a:pt x="958021" y="3868154"/>
                  <a:pt x="952481" y="3851562"/>
                </a:cubicBezTo>
                <a:cubicBezTo>
                  <a:pt x="941406" y="3834970"/>
                  <a:pt x="958021" y="3829435"/>
                  <a:pt x="974635" y="3823904"/>
                </a:cubicBezTo>
                <a:cubicBezTo>
                  <a:pt x="1079850" y="3768598"/>
                  <a:pt x="1201679" y="3735410"/>
                  <a:pt x="1312434" y="3680104"/>
                </a:cubicBezTo>
                <a:cubicBezTo>
                  <a:pt x="1340124" y="3669043"/>
                  <a:pt x="1373348" y="3663512"/>
                  <a:pt x="1406573" y="3646916"/>
                </a:cubicBezTo>
                <a:cubicBezTo>
                  <a:pt x="1423188" y="3635855"/>
                  <a:pt x="1439798" y="3630324"/>
                  <a:pt x="1434263" y="3602671"/>
                </a:cubicBezTo>
                <a:cubicBezTo>
                  <a:pt x="1434263" y="3597141"/>
                  <a:pt x="1439798" y="3591610"/>
                  <a:pt x="1445338" y="3591610"/>
                </a:cubicBezTo>
                <a:cubicBezTo>
                  <a:pt x="1473028" y="3591610"/>
                  <a:pt x="1489638" y="3569488"/>
                  <a:pt x="1511793" y="3563953"/>
                </a:cubicBezTo>
                <a:cubicBezTo>
                  <a:pt x="1545018" y="3547361"/>
                  <a:pt x="1567167" y="3525238"/>
                  <a:pt x="1578243" y="3497585"/>
                </a:cubicBezTo>
                <a:cubicBezTo>
                  <a:pt x="1589317" y="3475458"/>
                  <a:pt x="1611467" y="3458867"/>
                  <a:pt x="1622542" y="3436744"/>
                </a:cubicBezTo>
                <a:cubicBezTo>
                  <a:pt x="1622542" y="3431214"/>
                  <a:pt x="1639157" y="3425683"/>
                  <a:pt x="1622542" y="3414622"/>
                </a:cubicBezTo>
                <a:cubicBezTo>
                  <a:pt x="1605932" y="3403561"/>
                  <a:pt x="1605932" y="3403561"/>
                  <a:pt x="1628082" y="3398030"/>
                </a:cubicBezTo>
                <a:cubicBezTo>
                  <a:pt x="1650232" y="3386964"/>
                  <a:pt x="1666847" y="3370373"/>
                  <a:pt x="1688997" y="3364842"/>
                </a:cubicBezTo>
                <a:lnTo>
                  <a:pt x="1704487" y="3358116"/>
                </a:lnTo>
                <a:lnTo>
                  <a:pt x="1707055" y="3350424"/>
                </a:lnTo>
                <a:lnTo>
                  <a:pt x="1716857" y="3342414"/>
                </a:lnTo>
                <a:lnTo>
                  <a:pt x="1723607" y="3330276"/>
                </a:lnTo>
                <a:lnTo>
                  <a:pt x="1735279" y="3327097"/>
                </a:lnTo>
                <a:lnTo>
                  <a:pt x="1767794" y="3300036"/>
                </a:lnTo>
                <a:lnTo>
                  <a:pt x="1767910" y="3299164"/>
                </a:lnTo>
                <a:cubicBezTo>
                  <a:pt x="1766525" y="3295706"/>
                  <a:pt x="1763757" y="3292940"/>
                  <a:pt x="1760987" y="3292940"/>
                </a:cubicBezTo>
                <a:cubicBezTo>
                  <a:pt x="1749912" y="3287409"/>
                  <a:pt x="1738837" y="3287409"/>
                  <a:pt x="1727762" y="3292940"/>
                </a:cubicBezTo>
                <a:cubicBezTo>
                  <a:pt x="1716687" y="3298470"/>
                  <a:pt x="1705612" y="3309536"/>
                  <a:pt x="1688997" y="3315067"/>
                </a:cubicBezTo>
                <a:cubicBezTo>
                  <a:pt x="1556093" y="3370373"/>
                  <a:pt x="1417648" y="3425683"/>
                  <a:pt x="1290284" y="3492055"/>
                </a:cubicBezTo>
                <a:cubicBezTo>
                  <a:pt x="1284744" y="3492055"/>
                  <a:pt x="1279209" y="3492055"/>
                  <a:pt x="1279209" y="3497585"/>
                </a:cubicBezTo>
                <a:cubicBezTo>
                  <a:pt x="1284744" y="3497585"/>
                  <a:pt x="1290284" y="3497585"/>
                  <a:pt x="1290284" y="3497585"/>
                </a:cubicBezTo>
                <a:cubicBezTo>
                  <a:pt x="1329049" y="3492055"/>
                  <a:pt x="1362273" y="3475458"/>
                  <a:pt x="1395498" y="3458867"/>
                </a:cubicBezTo>
                <a:cubicBezTo>
                  <a:pt x="1406573" y="3453336"/>
                  <a:pt x="1417648" y="3453336"/>
                  <a:pt x="1423188" y="3453336"/>
                </a:cubicBezTo>
                <a:cubicBezTo>
                  <a:pt x="1428723" y="3453336"/>
                  <a:pt x="1434263" y="3453336"/>
                  <a:pt x="1434263" y="3458867"/>
                </a:cubicBezTo>
                <a:cubicBezTo>
                  <a:pt x="1434263" y="3458867"/>
                  <a:pt x="1428723" y="3464397"/>
                  <a:pt x="1428723" y="3464397"/>
                </a:cubicBezTo>
                <a:cubicBezTo>
                  <a:pt x="1384423" y="3480994"/>
                  <a:pt x="1340124" y="3503116"/>
                  <a:pt x="1295819" y="3514177"/>
                </a:cubicBezTo>
                <a:cubicBezTo>
                  <a:pt x="1284744" y="3519708"/>
                  <a:pt x="1268134" y="3525238"/>
                  <a:pt x="1268134" y="3530769"/>
                </a:cubicBezTo>
                <a:cubicBezTo>
                  <a:pt x="1268134" y="3563953"/>
                  <a:pt x="1240444" y="3552891"/>
                  <a:pt x="1218294" y="3558422"/>
                </a:cubicBezTo>
                <a:cubicBezTo>
                  <a:pt x="1218294" y="3552891"/>
                  <a:pt x="1223829" y="3547361"/>
                  <a:pt x="1212754" y="3547361"/>
                </a:cubicBezTo>
                <a:cubicBezTo>
                  <a:pt x="1190604" y="3541830"/>
                  <a:pt x="1168454" y="3547361"/>
                  <a:pt x="1140765" y="3558422"/>
                </a:cubicBezTo>
                <a:cubicBezTo>
                  <a:pt x="1140765" y="3558422"/>
                  <a:pt x="1140765" y="3563953"/>
                  <a:pt x="1140765" y="3563953"/>
                </a:cubicBezTo>
                <a:cubicBezTo>
                  <a:pt x="1140765" y="3569488"/>
                  <a:pt x="1146304" y="3569488"/>
                  <a:pt x="1151840" y="3569488"/>
                </a:cubicBezTo>
                <a:cubicBezTo>
                  <a:pt x="1173990" y="3563953"/>
                  <a:pt x="1196140" y="3558422"/>
                  <a:pt x="1223829" y="3558422"/>
                </a:cubicBezTo>
                <a:cubicBezTo>
                  <a:pt x="1196140" y="3575018"/>
                  <a:pt x="1168454" y="3580549"/>
                  <a:pt x="1135225" y="3580549"/>
                </a:cubicBezTo>
                <a:cubicBezTo>
                  <a:pt x="1090925" y="3580549"/>
                  <a:pt x="1046625" y="3597141"/>
                  <a:pt x="1002320" y="3619263"/>
                </a:cubicBezTo>
                <a:cubicBezTo>
                  <a:pt x="946946" y="3646916"/>
                  <a:pt x="886031" y="3669043"/>
                  <a:pt x="825116" y="3696696"/>
                </a:cubicBezTo>
                <a:cubicBezTo>
                  <a:pt x="719901" y="3746476"/>
                  <a:pt x="603607" y="3768598"/>
                  <a:pt x="498393" y="3807313"/>
                </a:cubicBezTo>
                <a:cubicBezTo>
                  <a:pt x="481778" y="3812843"/>
                  <a:pt x="470703" y="3823904"/>
                  <a:pt x="454088" y="3834970"/>
                </a:cubicBezTo>
                <a:cubicBezTo>
                  <a:pt x="448553" y="3834970"/>
                  <a:pt x="437478" y="3840501"/>
                  <a:pt x="431938" y="3829435"/>
                </a:cubicBezTo>
                <a:cubicBezTo>
                  <a:pt x="426403" y="3823904"/>
                  <a:pt x="431938" y="3818374"/>
                  <a:pt x="437478" y="3812843"/>
                </a:cubicBezTo>
                <a:cubicBezTo>
                  <a:pt x="448553" y="3796251"/>
                  <a:pt x="465168" y="3774129"/>
                  <a:pt x="470703" y="3752007"/>
                </a:cubicBezTo>
                <a:cubicBezTo>
                  <a:pt x="470703" y="3740941"/>
                  <a:pt x="470703" y="3740941"/>
                  <a:pt x="481778" y="3735410"/>
                </a:cubicBezTo>
                <a:cubicBezTo>
                  <a:pt x="564843" y="3696696"/>
                  <a:pt x="647912" y="3657982"/>
                  <a:pt x="730977" y="3619263"/>
                </a:cubicBezTo>
                <a:cubicBezTo>
                  <a:pt x="736512" y="3619263"/>
                  <a:pt x="742051" y="3613733"/>
                  <a:pt x="747587" y="3613733"/>
                </a:cubicBezTo>
                <a:cubicBezTo>
                  <a:pt x="764201" y="3602671"/>
                  <a:pt x="791891" y="3597141"/>
                  <a:pt x="802966" y="3580549"/>
                </a:cubicBezTo>
                <a:cubicBezTo>
                  <a:pt x="814041" y="3558422"/>
                  <a:pt x="780816" y="3552891"/>
                  <a:pt x="769741" y="3530769"/>
                </a:cubicBezTo>
                <a:cubicBezTo>
                  <a:pt x="758662" y="3508647"/>
                  <a:pt x="753126" y="3480994"/>
                  <a:pt x="747587" y="3458867"/>
                </a:cubicBezTo>
                <a:cubicBezTo>
                  <a:pt x="725437" y="3403561"/>
                  <a:pt x="736512" y="3348250"/>
                  <a:pt x="725437" y="3292940"/>
                </a:cubicBezTo>
                <a:cubicBezTo>
                  <a:pt x="725437" y="3287409"/>
                  <a:pt x="725437" y="3281878"/>
                  <a:pt x="725437" y="3276348"/>
                </a:cubicBezTo>
                <a:cubicBezTo>
                  <a:pt x="753126" y="3248695"/>
                  <a:pt x="753126" y="3209976"/>
                  <a:pt x="769741" y="3176793"/>
                </a:cubicBezTo>
                <a:cubicBezTo>
                  <a:pt x="780816" y="3143609"/>
                  <a:pt x="780816" y="3104890"/>
                  <a:pt x="808501" y="3082768"/>
                </a:cubicBezTo>
                <a:cubicBezTo>
                  <a:pt x="825116" y="3066176"/>
                  <a:pt x="836191" y="3044054"/>
                  <a:pt x="836191" y="3021927"/>
                </a:cubicBezTo>
                <a:cubicBezTo>
                  <a:pt x="836191" y="2999804"/>
                  <a:pt x="852806" y="2983212"/>
                  <a:pt x="863881" y="2972151"/>
                </a:cubicBezTo>
                <a:cubicBezTo>
                  <a:pt x="919256" y="2894718"/>
                  <a:pt x="969095" y="2806224"/>
                  <a:pt x="1024475" y="2728791"/>
                </a:cubicBezTo>
                <a:cubicBezTo>
                  <a:pt x="1063235" y="2667950"/>
                  <a:pt x="1096465" y="2607114"/>
                  <a:pt x="1140765" y="2551803"/>
                </a:cubicBezTo>
                <a:cubicBezTo>
                  <a:pt x="1185065" y="2496493"/>
                  <a:pt x="1218294" y="2435656"/>
                  <a:pt x="1257054" y="2385876"/>
                </a:cubicBezTo>
                <a:cubicBezTo>
                  <a:pt x="1262594" y="2374815"/>
                  <a:pt x="1262594" y="2369284"/>
                  <a:pt x="1245979" y="2369284"/>
                </a:cubicBezTo>
                <a:cubicBezTo>
                  <a:pt x="1229369" y="2369284"/>
                  <a:pt x="1218294" y="2374815"/>
                  <a:pt x="1196140" y="2385876"/>
                </a:cubicBezTo>
                <a:cubicBezTo>
                  <a:pt x="1151840" y="2407998"/>
                  <a:pt x="1107540" y="2435656"/>
                  <a:pt x="1052160" y="2446717"/>
                </a:cubicBezTo>
                <a:cubicBezTo>
                  <a:pt x="1035550" y="2452248"/>
                  <a:pt x="1018935" y="2457778"/>
                  <a:pt x="1002320" y="2468840"/>
                </a:cubicBezTo>
                <a:cubicBezTo>
                  <a:pt x="952481" y="2502023"/>
                  <a:pt x="891566" y="2518620"/>
                  <a:pt x="836191" y="2540742"/>
                </a:cubicBezTo>
                <a:cubicBezTo>
                  <a:pt x="775276" y="2562864"/>
                  <a:pt x="730977" y="2612644"/>
                  <a:pt x="664522" y="2623705"/>
                </a:cubicBezTo>
                <a:cubicBezTo>
                  <a:pt x="653447" y="2623705"/>
                  <a:pt x="642372" y="2629236"/>
                  <a:pt x="636832" y="2623705"/>
                </a:cubicBezTo>
                <a:cubicBezTo>
                  <a:pt x="620222" y="2607114"/>
                  <a:pt x="598072" y="2590517"/>
                  <a:pt x="575918" y="2573925"/>
                </a:cubicBezTo>
                <a:cubicBezTo>
                  <a:pt x="570382" y="2568395"/>
                  <a:pt x="564843" y="2557334"/>
                  <a:pt x="581457" y="2551803"/>
                </a:cubicBezTo>
                <a:cubicBezTo>
                  <a:pt x="598072" y="2546272"/>
                  <a:pt x="609147" y="2524150"/>
                  <a:pt x="625757" y="2513089"/>
                </a:cubicBezTo>
                <a:cubicBezTo>
                  <a:pt x="658987" y="2490962"/>
                  <a:pt x="664522" y="2457778"/>
                  <a:pt x="686672" y="2430125"/>
                </a:cubicBezTo>
                <a:cubicBezTo>
                  <a:pt x="697747" y="2419060"/>
                  <a:pt x="719901" y="2391407"/>
                  <a:pt x="697747" y="2358223"/>
                </a:cubicBezTo>
                <a:cubicBezTo>
                  <a:pt x="686672" y="2347162"/>
                  <a:pt x="692212" y="2336096"/>
                  <a:pt x="708827" y="2336096"/>
                </a:cubicBezTo>
                <a:cubicBezTo>
                  <a:pt x="714362" y="2336096"/>
                  <a:pt x="725437" y="2336096"/>
                  <a:pt x="725437" y="2325035"/>
                </a:cubicBezTo>
                <a:cubicBezTo>
                  <a:pt x="719901" y="2319504"/>
                  <a:pt x="719901" y="2313974"/>
                  <a:pt x="708827" y="2319504"/>
                </a:cubicBezTo>
                <a:lnTo>
                  <a:pt x="648486" y="2319504"/>
                </a:lnTo>
                <a:lnTo>
                  <a:pt x="647912" y="2319504"/>
                </a:lnTo>
                <a:cubicBezTo>
                  <a:pt x="642372" y="2308443"/>
                  <a:pt x="670062" y="2297382"/>
                  <a:pt x="653447" y="2286321"/>
                </a:cubicBezTo>
                <a:cubicBezTo>
                  <a:pt x="642372" y="2280790"/>
                  <a:pt x="631297" y="2297382"/>
                  <a:pt x="625757" y="2308443"/>
                </a:cubicBezTo>
                <a:cubicBezTo>
                  <a:pt x="614682" y="2325035"/>
                  <a:pt x="609147" y="2341631"/>
                  <a:pt x="592532" y="2347162"/>
                </a:cubicBezTo>
                <a:cubicBezTo>
                  <a:pt x="575918" y="2363754"/>
                  <a:pt x="553768" y="2358223"/>
                  <a:pt x="548232" y="2336096"/>
                </a:cubicBezTo>
                <a:cubicBezTo>
                  <a:pt x="542693" y="2330565"/>
                  <a:pt x="542693" y="2319504"/>
                  <a:pt x="537157" y="2319504"/>
                </a:cubicBezTo>
                <a:cubicBezTo>
                  <a:pt x="503928" y="2302912"/>
                  <a:pt x="509468" y="2291851"/>
                  <a:pt x="537157" y="2275260"/>
                </a:cubicBezTo>
                <a:cubicBezTo>
                  <a:pt x="542693" y="2275260"/>
                  <a:pt x="553768" y="2269729"/>
                  <a:pt x="559307" y="2258668"/>
                </a:cubicBezTo>
                <a:cubicBezTo>
                  <a:pt x="570382" y="2236541"/>
                  <a:pt x="586997" y="2225480"/>
                  <a:pt x="609147" y="2219949"/>
                </a:cubicBezTo>
                <a:cubicBezTo>
                  <a:pt x="620222" y="2219949"/>
                  <a:pt x="631297" y="2214418"/>
                  <a:pt x="631297" y="2197827"/>
                </a:cubicBezTo>
                <a:cubicBezTo>
                  <a:pt x="625757" y="2186765"/>
                  <a:pt x="620222" y="2181235"/>
                  <a:pt x="609147" y="2181235"/>
                </a:cubicBezTo>
                <a:cubicBezTo>
                  <a:pt x="598072" y="2175704"/>
                  <a:pt x="592532" y="2181235"/>
                  <a:pt x="586997" y="2192296"/>
                </a:cubicBezTo>
                <a:cubicBezTo>
                  <a:pt x="581457" y="2203357"/>
                  <a:pt x="575918" y="2214418"/>
                  <a:pt x="564843" y="2208888"/>
                </a:cubicBezTo>
                <a:cubicBezTo>
                  <a:pt x="553768" y="2203357"/>
                  <a:pt x="559307" y="2192296"/>
                  <a:pt x="559307" y="2181235"/>
                </a:cubicBezTo>
                <a:cubicBezTo>
                  <a:pt x="559307" y="2164643"/>
                  <a:pt x="570382" y="2148051"/>
                  <a:pt x="575918" y="2136990"/>
                </a:cubicBezTo>
                <a:cubicBezTo>
                  <a:pt x="592532" y="2114868"/>
                  <a:pt x="570382" y="2114868"/>
                  <a:pt x="575918" y="2103806"/>
                </a:cubicBezTo>
                <a:cubicBezTo>
                  <a:pt x="542693" y="2103806"/>
                  <a:pt x="526082" y="2076154"/>
                  <a:pt x="492853" y="2087215"/>
                </a:cubicBezTo>
                <a:cubicBezTo>
                  <a:pt x="470703" y="2098276"/>
                  <a:pt x="443013" y="2092745"/>
                  <a:pt x="431938" y="2120398"/>
                </a:cubicBezTo>
                <a:cubicBezTo>
                  <a:pt x="426403" y="2120398"/>
                  <a:pt x="415328" y="2131459"/>
                  <a:pt x="409788" y="2120398"/>
                </a:cubicBezTo>
                <a:cubicBezTo>
                  <a:pt x="398713" y="2076154"/>
                  <a:pt x="382099" y="2120398"/>
                  <a:pt x="371023" y="2120398"/>
                </a:cubicBezTo>
                <a:cubicBezTo>
                  <a:pt x="365488" y="2120398"/>
                  <a:pt x="359948" y="2131459"/>
                  <a:pt x="354413" y="2125929"/>
                </a:cubicBezTo>
                <a:cubicBezTo>
                  <a:pt x="348874" y="2125929"/>
                  <a:pt x="337799" y="2125929"/>
                  <a:pt x="337799" y="2120398"/>
                </a:cubicBezTo>
                <a:cubicBezTo>
                  <a:pt x="332259" y="2114868"/>
                  <a:pt x="343338" y="2109337"/>
                  <a:pt x="348874" y="2109337"/>
                </a:cubicBezTo>
                <a:cubicBezTo>
                  <a:pt x="371023" y="2103806"/>
                  <a:pt x="382099" y="2087215"/>
                  <a:pt x="398713" y="2070623"/>
                </a:cubicBezTo>
                <a:cubicBezTo>
                  <a:pt x="404253" y="2070623"/>
                  <a:pt x="415328" y="2065092"/>
                  <a:pt x="409788" y="2059557"/>
                </a:cubicBezTo>
                <a:cubicBezTo>
                  <a:pt x="404253" y="2054027"/>
                  <a:pt x="398713" y="2059557"/>
                  <a:pt x="393173" y="2059557"/>
                </a:cubicBezTo>
                <a:cubicBezTo>
                  <a:pt x="348874" y="2087215"/>
                  <a:pt x="304574" y="2114868"/>
                  <a:pt x="260269" y="2136990"/>
                </a:cubicBezTo>
                <a:cubicBezTo>
                  <a:pt x="210429" y="2170174"/>
                  <a:pt x="160594" y="2208888"/>
                  <a:pt x="105215" y="2231010"/>
                </a:cubicBezTo>
                <a:cubicBezTo>
                  <a:pt x="83065" y="2242071"/>
                  <a:pt x="77525" y="2225480"/>
                  <a:pt x="60915" y="2219949"/>
                </a:cubicBezTo>
                <a:cubicBezTo>
                  <a:pt x="49840" y="2219949"/>
                  <a:pt x="60915" y="2214418"/>
                  <a:pt x="60915" y="2214418"/>
                </a:cubicBezTo>
                <a:cubicBezTo>
                  <a:pt x="99680" y="2192296"/>
                  <a:pt x="121829" y="2153582"/>
                  <a:pt x="160594" y="2131459"/>
                </a:cubicBezTo>
                <a:cubicBezTo>
                  <a:pt x="210429" y="2103806"/>
                  <a:pt x="249194" y="2065092"/>
                  <a:pt x="299034" y="2037435"/>
                </a:cubicBezTo>
                <a:cubicBezTo>
                  <a:pt x="299034" y="2037435"/>
                  <a:pt x="304574" y="2031904"/>
                  <a:pt x="304574" y="2031904"/>
                </a:cubicBezTo>
                <a:cubicBezTo>
                  <a:pt x="315649" y="2020843"/>
                  <a:pt x="337799" y="2009782"/>
                  <a:pt x="326724" y="1998721"/>
                </a:cubicBezTo>
                <a:cubicBezTo>
                  <a:pt x="321184" y="1987659"/>
                  <a:pt x="310109" y="2009782"/>
                  <a:pt x="299034" y="2015312"/>
                </a:cubicBezTo>
                <a:cubicBezTo>
                  <a:pt x="276884" y="2031904"/>
                  <a:pt x="249194" y="2048496"/>
                  <a:pt x="227044" y="2059557"/>
                </a:cubicBezTo>
                <a:cubicBezTo>
                  <a:pt x="182744" y="2070623"/>
                  <a:pt x="171669" y="2120398"/>
                  <a:pt x="132905" y="2136990"/>
                </a:cubicBezTo>
                <a:cubicBezTo>
                  <a:pt x="121829" y="2136990"/>
                  <a:pt x="116290" y="2148051"/>
                  <a:pt x="110755" y="2142521"/>
                </a:cubicBezTo>
                <a:cubicBezTo>
                  <a:pt x="99680" y="2136990"/>
                  <a:pt x="116290" y="2131459"/>
                  <a:pt x="116290" y="2125929"/>
                </a:cubicBezTo>
                <a:cubicBezTo>
                  <a:pt x="121829" y="2120398"/>
                  <a:pt x="121829" y="2114868"/>
                  <a:pt x="116290" y="2120398"/>
                </a:cubicBezTo>
                <a:cubicBezTo>
                  <a:pt x="105215" y="2125929"/>
                  <a:pt x="83065" y="2131459"/>
                  <a:pt x="83065" y="2148051"/>
                </a:cubicBezTo>
                <a:cubicBezTo>
                  <a:pt x="83065" y="2170174"/>
                  <a:pt x="71990" y="2186765"/>
                  <a:pt x="44300" y="2186765"/>
                </a:cubicBezTo>
                <a:cubicBezTo>
                  <a:pt x="27685" y="2181235"/>
                  <a:pt x="11075" y="2181235"/>
                  <a:pt x="0" y="2197827"/>
                </a:cubicBezTo>
                <a:cubicBezTo>
                  <a:pt x="0" y="2181235"/>
                  <a:pt x="11075" y="2170174"/>
                  <a:pt x="22150" y="2164643"/>
                </a:cubicBezTo>
                <a:cubicBezTo>
                  <a:pt x="88600" y="2103806"/>
                  <a:pt x="160594" y="2048496"/>
                  <a:pt x="238119" y="2004251"/>
                </a:cubicBezTo>
                <a:cubicBezTo>
                  <a:pt x="265809" y="1982129"/>
                  <a:pt x="293499" y="1965532"/>
                  <a:pt x="321184" y="1943410"/>
                </a:cubicBezTo>
                <a:cubicBezTo>
                  <a:pt x="337799" y="1932349"/>
                  <a:pt x="348874" y="1921292"/>
                  <a:pt x="326724" y="1899165"/>
                </a:cubicBezTo>
                <a:cubicBezTo>
                  <a:pt x="276884" y="1854921"/>
                  <a:pt x="254734" y="1766431"/>
                  <a:pt x="326724" y="1711120"/>
                </a:cubicBezTo>
                <a:cubicBezTo>
                  <a:pt x="343338" y="1700059"/>
                  <a:pt x="359948" y="1711120"/>
                  <a:pt x="371023" y="1711120"/>
                </a:cubicBezTo>
                <a:cubicBezTo>
                  <a:pt x="371023" y="1727712"/>
                  <a:pt x="393173" y="1738773"/>
                  <a:pt x="404253" y="1744304"/>
                </a:cubicBezTo>
                <a:cubicBezTo>
                  <a:pt x="448553" y="1755365"/>
                  <a:pt x="470703" y="1722181"/>
                  <a:pt x="503928" y="1705590"/>
                </a:cubicBezTo>
                <a:cubicBezTo>
                  <a:pt x="564843" y="1666871"/>
                  <a:pt x="625757" y="1661340"/>
                  <a:pt x="692212" y="1683467"/>
                </a:cubicBezTo>
                <a:cubicBezTo>
                  <a:pt x="725437" y="1700059"/>
                  <a:pt x="736512" y="1677937"/>
                  <a:pt x="742051" y="1655810"/>
                </a:cubicBezTo>
                <a:cubicBezTo>
                  <a:pt x="747587" y="1639218"/>
                  <a:pt x="747587" y="1622626"/>
                  <a:pt x="775276" y="1628157"/>
                </a:cubicBezTo>
                <a:cubicBezTo>
                  <a:pt x="786351" y="1628157"/>
                  <a:pt x="786351" y="1617095"/>
                  <a:pt x="786351" y="1606034"/>
                </a:cubicBezTo>
                <a:cubicBezTo>
                  <a:pt x="775276" y="1556254"/>
                  <a:pt x="791891" y="1512005"/>
                  <a:pt x="825116" y="1473291"/>
                </a:cubicBezTo>
                <a:cubicBezTo>
                  <a:pt x="852806" y="1440103"/>
                  <a:pt x="880491" y="1401388"/>
                  <a:pt x="935871" y="1395858"/>
                </a:cubicBezTo>
                <a:cubicBezTo>
                  <a:pt x="969095" y="1390327"/>
                  <a:pt x="991245" y="1362670"/>
                  <a:pt x="1018935" y="1346082"/>
                </a:cubicBezTo>
                <a:cubicBezTo>
                  <a:pt x="1068775" y="1329491"/>
                  <a:pt x="1113075" y="1301833"/>
                  <a:pt x="1157379" y="1274175"/>
                </a:cubicBezTo>
                <a:cubicBezTo>
                  <a:pt x="1168454" y="1268645"/>
                  <a:pt x="1173990" y="1263114"/>
                  <a:pt x="1179529" y="1257584"/>
                </a:cubicBezTo>
                <a:cubicBezTo>
                  <a:pt x="1196140" y="1218870"/>
                  <a:pt x="1229369" y="1213339"/>
                  <a:pt x="1262594" y="1207808"/>
                </a:cubicBezTo>
                <a:cubicBezTo>
                  <a:pt x="1290284" y="1202278"/>
                  <a:pt x="1312434" y="1185686"/>
                  <a:pt x="1340124" y="1185686"/>
                </a:cubicBezTo>
                <a:cubicBezTo>
                  <a:pt x="1345659" y="1185686"/>
                  <a:pt x="1351199" y="1180155"/>
                  <a:pt x="1351199" y="1174625"/>
                </a:cubicBezTo>
                <a:cubicBezTo>
                  <a:pt x="1351199" y="1163564"/>
                  <a:pt x="1356734" y="1152502"/>
                  <a:pt x="1367809" y="1146967"/>
                </a:cubicBezTo>
                <a:cubicBezTo>
                  <a:pt x="1395498" y="1130375"/>
                  <a:pt x="1423188" y="1113784"/>
                  <a:pt x="1456413" y="1097192"/>
                </a:cubicBezTo>
                <a:cubicBezTo>
                  <a:pt x="1467488" y="1086131"/>
                  <a:pt x="1484103" y="1075070"/>
                  <a:pt x="1500713" y="1102723"/>
                </a:cubicBezTo>
                <a:cubicBezTo>
                  <a:pt x="1500713" y="1108253"/>
                  <a:pt x="1506253" y="1108253"/>
                  <a:pt x="1511793" y="1102723"/>
                </a:cubicBezTo>
                <a:cubicBezTo>
                  <a:pt x="1517328" y="1097192"/>
                  <a:pt x="1522868" y="1097192"/>
                  <a:pt x="1517328" y="1086131"/>
                </a:cubicBezTo>
                <a:cubicBezTo>
                  <a:pt x="1506253" y="1069539"/>
                  <a:pt x="1517328" y="1058478"/>
                  <a:pt x="1533943" y="1052947"/>
                </a:cubicBezTo>
                <a:cubicBezTo>
                  <a:pt x="1547785" y="1047417"/>
                  <a:pt x="1561628" y="1037735"/>
                  <a:pt x="1576164" y="1030820"/>
                </a:cubicBezTo>
                <a:lnTo>
                  <a:pt x="1620248" y="1025565"/>
                </a:lnTo>
                <a:lnTo>
                  <a:pt x="1634813" y="1011001"/>
                </a:lnTo>
                <a:cubicBezTo>
                  <a:pt x="1634813" y="1011001"/>
                  <a:pt x="1642113" y="1011001"/>
                  <a:pt x="1642113" y="1018302"/>
                </a:cubicBezTo>
                <a:lnTo>
                  <a:pt x="1620350" y="1025552"/>
                </a:lnTo>
                <a:lnTo>
                  <a:pt x="1622542" y="1025290"/>
                </a:lnTo>
                <a:cubicBezTo>
                  <a:pt x="1600393" y="1036351"/>
                  <a:pt x="1589317" y="1058478"/>
                  <a:pt x="1567167" y="1064008"/>
                </a:cubicBezTo>
                <a:cubicBezTo>
                  <a:pt x="1561628" y="1069539"/>
                  <a:pt x="1550553" y="1075070"/>
                  <a:pt x="1550553" y="1080600"/>
                </a:cubicBezTo>
                <a:cubicBezTo>
                  <a:pt x="1556093" y="1091661"/>
                  <a:pt x="1567167" y="1086131"/>
                  <a:pt x="1572707" y="1080600"/>
                </a:cubicBezTo>
                <a:cubicBezTo>
                  <a:pt x="1583782" y="1075070"/>
                  <a:pt x="1594857" y="1069539"/>
                  <a:pt x="1605932" y="1069539"/>
                </a:cubicBezTo>
                <a:cubicBezTo>
                  <a:pt x="1617007" y="1069539"/>
                  <a:pt x="1622542" y="1069539"/>
                  <a:pt x="1628082" y="1058478"/>
                </a:cubicBezTo>
                <a:cubicBezTo>
                  <a:pt x="1639157" y="1025290"/>
                  <a:pt x="1677922" y="1019759"/>
                  <a:pt x="1700072" y="1041886"/>
                </a:cubicBezTo>
                <a:cubicBezTo>
                  <a:pt x="1711147" y="1052947"/>
                  <a:pt x="1722222" y="1047417"/>
                  <a:pt x="1727762" y="1041886"/>
                </a:cubicBezTo>
                <a:cubicBezTo>
                  <a:pt x="1744372" y="1036351"/>
                  <a:pt x="1749912" y="1025290"/>
                  <a:pt x="1766527" y="1019759"/>
                </a:cubicBezTo>
                <a:cubicBezTo>
                  <a:pt x="1810826" y="992106"/>
                  <a:pt x="1860666" y="981045"/>
                  <a:pt x="1910506" y="958922"/>
                </a:cubicBezTo>
                <a:cubicBezTo>
                  <a:pt x="1938191" y="947861"/>
                  <a:pt x="1960346" y="920204"/>
                  <a:pt x="1999106" y="920204"/>
                </a:cubicBezTo>
                <a:cubicBezTo>
                  <a:pt x="2004646" y="920204"/>
                  <a:pt x="2010185" y="909143"/>
                  <a:pt x="2004646" y="903612"/>
                </a:cubicBezTo>
                <a:cubicBezTo>
                  <a:pt x="1999106" y="887020"/>
                  <a:pt x="1988031" y="887020"/>
                  <a:pt x="1976956" y="892551"/>
                </a:cubicBezTo>
                <a:cubicBezTo>
                  <a:pt x="1943731" y="925734"/>
                  <a:pt x="1893891" y="925734"/>
                  <a:pt x="1849591" y="953392"/>
                </a:cubicBezTo>
                <a:cubicBezTo>
                  <a:pt x="1832976" y="969984"/>
                  <a:pt x="1805287" y="958922"/>
                  <a:pt x="1788677" y="975514"/>
                </a:cubicBezTo>
                <a:cubicBezTo>
                  <a:pt x="1788677" y="981045"/>
                  <a:pt x="1783137" y="981045"/>
                  <a:pt x="1777602" y="969984"/>
                </a:cubicBezTo>
                <a:cubicBezTo>
                  <a:pt x="1777602" y="964453"/>
                  <a:pt x="1777602" y="958922"/>
                  <a:pt x="1788677" y="958922"/>
                </a:cubicBezTo>
                <a:cubicBezTo>
                  <a:pt x="1799752" y="953392"/>
                  <a:pt x="1821901" y="947861"/>
                  <a:pt x="1794212" y="931265"/>
                </a:cubicBezTo>
                <a:cubicBezTo>
                  <a:pt x="1794212" y="931265"/>
                  <a:pt x="1794212" y="925734"/>
                  <a:pt x="1794212" y="925734"/>
                </a:cubicBezTo>
                <a:cubicBezTo>
                  <a:pt x="1794212" y="925734"/>
                  <a:pt x="1805287" y="920204"/>
                  <a:pt x="1805287" y="920204"/>
                </a:cubicBezTo>
                <a:cubicBezTo>
                  <a:pt x="1838516" y="942326"/>
                  <a:pt x="1860666" y="931265"/>
                  <a:pt x="1877276" y="898081"/>
                </a:cubicBezTo>
                <a:cubicBezTo>
                  <a:pt x="1882816" y="881490"/>
                  <a:pt x="1893891" y="875959"/>
                  <a:pt x="1910506" y="881490"/>
                </a:cubicBezTo>
                <a:cubicBezTo>
                  <a:pt x="1943731" y="887020"/>
                  <a:pt x="1965881" y="859363"/>
                  <a:pt x="1993571" y="848301"/>
                </a:cubicBezTo>
                <a:cubicBezTo>
                  <a:pt x="1999106" y="842771"/>
                  <a:pt x="2004646" y="837240"/>
                  <a:pt x="1999106" y="837240"/>
                </a:cubicBezTo>
                <a:cubicBezTo>
                  <a:pt x="1965881" y="809587"/>
                  <a:pt x="2004646" y="804057"/>
                  <a:pt x="2010185" y="798526"/>
                </a:cubicBezTo>
                <a:cubicBezTo>
                  <a:pt x="2037871" y="787460"/>
                  <a:pt x="2071100" y="781930"/>
                  <a:pt x="2093250" y="759807"/>
                </a:cubicBezTo>
                <a:cubicBezTo>
                  <a:pt x="2093250" y="754277"/>
                  <a:pt x="2098785" y="754277"/>
                  <a:pt x="2104325" y="754277"/>
                </a:cubicBezTo>
                <a:cubicBezTo>
                  <a:pt x="2154165" y="765338"/>
                  <a:pt x="2198465" y="743215"/>
                  <a:pt x="2231690" y="715562"/>
                </a:cubicBezTo>
                <a:cubicBezTo>
                  <a:pt x="2264919" y="687905"/>
                  <a:pt x="2309219" y="693436"/>
                  <a:pt x="2347984" y="676844"/>
                </a:cubicBezTo>
                <a:cubicBezTo>
                  <a:pt x="2353519" y="671313"/>
                  <a:pt x="2359059" y="676844"/>
                  <a:pt x="2364594" y="671313"/>
                </a:cubicBezTo>
                <a:cubicBezTo>
                  <a:pt x="2386749" y="621538"/>
                  <a:pt x="2431049" y="632599"/>
                  <a:pt x="2469813" y="616007"/>
                </a:cubicBezTo>
                <a:cubicBezTo>
                  <a:pt x="2508578" y="604946"/>
                  <a:pt x="2547338" y="593885"/>
                  <a:pt x="2580568" y="577289"/>
                </a:cubicBezTo>
                <a:cubicBezTo>
                  <a:pt x="2597178" y="571758"/>
                  <a:pt x="2619333" y="560692"/>
                  <a:pt x="2635943" y="560692"/>
                </a:cubicBezTo>
                <a:cubicBezTo>
                  <a:pt x="2658092" y="555161"/>
                  <a:pt x="2680247" y="555161"/>
                  <a:pt x="2674707" y="521978"/>
                </a:cubicBezTo>
                <a:cubicBezTo>
                  <a:pt x="2669167" y="510917"/>
                  <a:pt x="2680247" y="505386"/>
                  <a:pt x="2691322" y="505386"/>
                </a:cubicBezTo>
                <a:cubicBezTo>
                  <a:pt x="2707932" y="510917"/>
                  <a:pt x="2719007" y="505386"/>
                  <a:pt x="2730082" y="499856"/>
                </a:cubicBezTo>
                <a:cubicBezTo>
                  <a:pt x="2741162" y="499856"/>
                  <a:pt x="2752237" y="494325"/>
                  <a:pt x="2746697" y="483264"/>
                </a:cubicBezTo>
                <a:cubicBezTo>
                  <a:pt x="2746697" y="466667"/>
                  <a:pt x="2735622" y="477733"/>
                  <a:pt x="2724547" y="477733"/>
                </a:cubicBezTo>
                <a:cubicBezTo>
                  <a:pt x="2713472" y="483264"/>
                  <a:pt x="2713472" y="472203"/>
                  <a:pt x="2713472" y="466667"/>
                </a:cubicBezTo>
                <a:cubicBezTo>
                  <a:pt x="2724547" y="444545"/>
                  <a:pt x="2730082" y="427953"/>
                  <a:pt x="2757772" y="427953"/>
                </a:cubicBezTo>
                <a:cubicBezTo>
                  <a:pt x="2763312" y="427953"/>
                  <a:pt x="2774387" y="433484"/>
                  <a:pt x="2774387" y="422423"/>
                </a:cubicBezTo>
                <a:cubicBezTo>
                  <a:pt x="2774387" y="411362"/>
                  <a:pt x="2763312" y="416892"/>
                  <a:pt x="2757772" y="416892"/>
                </a:cubicBezTo>
                <a:cubicBezTo>
                  <a:pt x="2741162" y="416892"/>
                  <a:pt x="2730082" y="427953"/>
                  <a:pt x="2719007" y="427953"/>
                </a:cubicBezTo>
                <a:cubicBezTo>
                  <a:pt x="2713472" y="433484"/>
                  <a:pt x="2702397" y="433484"/>
                  <a:pt x="2702397" y="422423"/>
                </a:cubicBezTo>
                <a:cubicBezTo>
                  <a:pt x="2696857" y="411362"/>
                  <a:pt x="2707932" y="411362"/>
                  <a:pt x="2713472" y="411362"/>
                </a:cubicBezTo>
                <a:cubicBezTo>
                  <a:pt x="2757772" y="394770"/>
                  <a:pt x="2796537" y="378173"/>
                  <a:pt x="2840837" y="361582"/>
                </a:cubicBezTo>
                <a:cubicBezTo>
                  <a:pt x="2851912" y="356051"/>
                  <a:pt x="2868527" y="356051"/>
                  <a:pt x="2885141" y="356051"/>
                </a:cubicBezTo>
                <a:cubicBezTo>
                  <a:pt x="2868527" y="372643"/>
                  <a:pt x="2862987" y="405831"/>
                  <a:pt x="2824226" y="400300"/>
                </a:cubicBezTo>
                <a:cubicBezTo>
                  <a:pt x="2818687" y="394770"/>
                  <a:pt x="2802076" y="400300"/>
                  <a:pt x="2802076" y="411362"/>
                </a:cubicBezTo>
                <a:cubicBezTo>
                  <a:pt x="2802076" y="422423"/>
                  <a:pt x="2818687" y="416892"/>
                  <a:pt x="2824226" y="416892"/>
                </a:cubicBezTo>
                <a:cubicBezTo>
                  <a:pt x="2846376" y="411362"/>
                  <a:pt x="2868527" y="416892"/>
                  <a:pt x="2890677" y="394770"/>
                </a:cubicBezTo>
                <a:cubicBezTo>
                  <a:pt x="2896216" y="383709"/>
                  <a:pt x="2923901" y="361582"/>
                  <a:pt x="2940516" y="394770"/>
                </a:cubicBezTo>
                <a:cubicBezTo>
                  <a:pt x="2946056" y="400300"/>
                  <a:pt x="2951591" y="400300"/>
                  <a:pt x="2957131" y="400300"/>
                </a:cubicBezTo>
                <a:cubicBezTo>
                  <a:pt x="2973741" y="394770"/>
                  <a:pt x="2979281" y="405831"/>
                  <a:pt x="2984816" y="416892"/>
                </a:cubicBezTo>
                <a:cubicBezTo>
                  <a:pt x="2984816" y="422423"/>
                  <a:pt x="2984816" y="427953"/>
                  <a:pt x="2979281" y="433484"/>
                </a:cubicBezTo>
                <a:cubicBezTo>
                  <a:pt x="2973741" y="439014"/>
                  <a:pt x="2968206" y="427953"/>
                  <a:pt x="2957131" y="422423"/>
                </a:cubicBezTo>
                <a:cubicBezTo>
                  <a:pt x="2957131" y="422423"/>
                  <a:pt x="2946056" y="422423"/>
                  <a:pt x="2946056" y="422423"/>
                </a:cubicBezTo>
                <a:cubicBezTo>
                  <a:pt x="2923901" y="461137"/>
                  <a:pt x="2885141" y="455606"/>
                  <a:pt x="2857451" y="477733"/>
                </a:cubicBezTo>
                <a:cubicBezTo>
                  <a:pt x="2851912" y="483264"/>
                  <a:pt x="2851912" y="483264"/>
                  <a:pt x="2851912" y="483264"/>
                </a:cubicBezTo>
                <a:cubicBezTo>
                  <a:pt x="2807612" y="477733"/>
                  <a:pt x="2779922" y="505386"/>
                  <a:pt x="2757772" y="533039"/>
                </a:cubicBezTo>
                <a:cubicBezTo>
                  <a:pt x="2719007" y="571758"/>
                  <a:pt x="2669167" y="588350"/>
                  <a:pt x="2624868" y="604946"/>
                </a:cubicBezTo>
                <a:cubicBezTo>
                  <a:pt x="2608253" y="610477"/>
                  <a:pt x="2575028" y="616007"/>
                  <a:pt x="2580568" y="632599"/>
                </a:cubicBezTo>
                <a:cubicBezTo>
                  <a:pt x="2586103" y="654722"/>
                  <a:pt x="2608253" y="632599"/>
                  <a:pt x="2624868" y="627069"/>
                </a:cubicBezTo>
                <a:cubicBezTo>
                  <a:pt x="2691322" y="616007"/>
                  <a:pt x="2746697" y="577289"/>
                  <a:pt x="2802076" y="555161"/>
                </a:cubicBezTo>
                <a:cubicBezTo>
                  <a:pt x="2807612" y="549631"/>
                  <a:pt x="2818687" y="549631"/>
                  <a:pt x="2818687" y="544100"/>
                </a:cubicBezTo>
                <a:cubicBezTo>
                  <a:pt x="2840837" y="477733"/>
                  <a:pt x="2896216" y="494325"/>
                  <a:pt x="2940516" y="483264"/>
                </a:cubicBezTo>
                <a:cubicBezTo>
                  <a:pt x="2957131" y="477733"/>
                  <a:pt x="2973741" y="477733"/>
                  <a:pt x="2984816" y="466667"/>
                </a:cubicBezTo>
                <a:cubicBezTo>
                  <a:pt x="3001431" y="450076"/>
                  <a:pt x="3012506" y="472203"/>
                  <a:pt x="3029120" y="466667"/>
                </a:cubicBezTo>
                <a:cubicBezTo>
                  <a:pt x="3056811" y="450076"/>
                  <a:pt x="3045731" y="477733"/>
                  <a:pt x="3051270" y="488794"/>
                </a:cubicBezTo>
                <a:cubicBezTo>
                  <a:pt x="3073420" y="521978"/>
                  <a:pt x="3090035" y="555161"/>
                  <a:pt x="3139875" y="555161"/>
                </a:cubicBezTo>
                <a:cubicBezTo>
                  <a:pt x="3156485" y="555161"/>
                  <a:pt x="3178640" y="566227"/>
                  <a:pt x="3200790" y="571758"/>
                </a:cubicBezTo>
                <a:cubicBezTo>
                  <a:pt x="3228475" y="577289"/>
                  <a:pt x="3256165" y="582819"/>
                  <a:pt x="3289389" y="571758"/>
                </a:cubicBezTo>
                <a:cubicBezTo>
                  <a:pt x="3289389" y="571758"/>
                  <a:pt x="3294929" y="571758"/>
                  <a:pt x="3294929" y="571758"/>
                </a:cubicBezTo>
                <a:cubicBezTo>
                  <a:pt x="3322619" y="593885"/>
                  <a:pt x="3339229" y="582819"/>
                  <a:pt x="3355844" y="555161"/>
                </a:cubicBezTo>
                <a:cubicBezTo>
                  <a:pt x="3361384" y="549631"/>
                  <a:pt x="3394609" y="549631"/>
                  <a:pt x="3366919" y="527508"/>
                </a:cubicBezTo>
                <a:cubicBezTo>
                  <a:pt x="3366919" y="527508"/>
                  <a:pt x="3372459" y="516447"/>
                  <a:pt x="3377994" y="510917"/>
                </a:cubicBezTo>
                <a:cubicBezTo>
                  <a:pt x="3394609" y="494325"/>
                  <a:pt x="3411223" y="477733"/>
                  <a:pt x="3416759" y="455606"/>
                </a:cubicBezTo>
                <a:cubicBezTo>
                  <a:pt x="3416759" y="450076"/>
                  <a:pt x="3422298" y="444545"/>
                  <a:pt x="3422298" y="444545"/>
                </a:cubicBezTo>
                <a:cubicBezTo>
                  <a:pt x="3433373" y="444545"/>
                  <a:pt x="3427838" y="455606"/>
                  <a:pt x="3427838" y="455606"/>
                </a:cubicBezTo>
                <a:cubicBezTo>
                  <a:pt x="3427838" y="505386"/>
                  <a:pt x="3438913" y="510917"/>
                  <a:pt x="3488753" y="499856"/>
                </a:cubicBezTo>
                <a:cubicBezTo>
                  <a:pt x="3549668" y="488794"/>
                  <a:pt x="3610582" y="466667"/>
                  <a:pt x="3665957" y="444545"/>
                </a:cubicBezTo>
                <a:cubicBezTo>
                  <a:pt x="3743487" y="411362"/>
                  <a:pt x="3821012" y="394770"/>
                  <a:pt x="3893001" y="350520"/>
                </a:cubicBezTo>
                <a:cubicBezTo>
                  <a:pt x="3992681" y="295214"/>
                  <a:pt x="4103435" y="295214"/>
                  <a:pt x="4208650" y="267557"/>
                </a:cubicBezTo>
                <a:cubicBezTo>
                  <a:pt x="4225265" y="262026"/>
                  <a:pt x="4236340" y="262026"/>
                  <a:pt x="4247415" y="250965"/>
                </a:cubicBezTo>
                <a:cubicBezTo>
                  <a:pt x="4280640" y="234373"/>
                  <a:pt x="4313869" y="228843"/>
                  <a:pt x="4347094" y="223312"/>
                </a:cubicBezTo>
                <a:cubicBezTo>
                  <a:pt x="4408009" y="217781"/>
                  <a:pt x="4457849" y="190129"/>
                  <a:pt x="4518763" y="184593"/>
                </a:cubicBezTo>
                <a:cubicBezTo>
                  <a:pt x="4601828" y="173532"/>
                  <a:pt x="4690432" y="156940"/>
                  <a:pt x="4773497" y="140348"/>
                </a:cubicBezTo>
                <a:cubicBezTo>
                  <a:pt x="4790112" y="134818"/>
                  <a:pt x="4801187" y="129287"/>
                  <a:pt x="4812262" y="123757"/>
                </a:cubicBezTo>
                <a:cubicBezTo>
                  <a:pt x="4834412" y="112695"/>
                  <a:pt x="4851027" y="107165"/>
                  <a:pt x="4873176" y="112695"/>
                </a:cubicBezTo>
                <a:cubicBezTo>
                  <a:pt x="4889787" y="118226"/>
                  <a:pt x="4906401" y="107165"/>
                  <a:pt x="4923016" y="96099"/>
                </a:cubicBezTo>
                <a:cubicBezTo>
                  <a:pt x="4928551" y="96099"/>
                  <a:pt x="4934091" y="96099"/>
                  <a:pt x="4928551" y="90569"/>
                </a:cubicBezTo>
                <a:cubicBezTo>
                  <a:pt x="4900862" y="57385"/>
                  <a:pt x="4939626" y="68446"/>
                  <a:pt x="4950701" y="62916"/>
                </a:cubicBezTo>
                <a:cubicBezTo>
                  <a:pt x="4983931" y="62916"/>
                  <a:pt x="5011616" y="46324"/>
                  <a:pt x="5044846" y="40793"/>
                </a:cubicBezTo>
                <a:cubicBezTo>
                  <a:pt x="5094685" y="24201"/>
                  <a:pt x="5144520" y="24201"/>
                  <a:pt x="5194360" y="18671"/>
                </a:cubicBezTo>
                <a:cubicBezTo>
                  <a:pt x="5271890" y="7610"/>
                  <a:pt x="5349419" y="7610"/>
                  <a:pt x="5426944" y="2074"/>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21710796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5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35A53120-8E6A-40AD-917F-7CCD4E65ED84}"/>
              </a:ext>
            </a:extLst>
          </p:cNvPr>
          <p:cNvSpPr>
            <a:spLocks noGrp="1"/>
          </p:cNvSpPr>
          <p:nvPr>
            <p:ph type="pic" sz="quarter" idx="22"/>
          </p:nvPr>
        </p:nvSpPr>
        <p:spPr>
          <a:xfrm>
            <a:off x="8268594" y="1287205"/>
            <a:ext cx="7245662" cy="7434452"/>
          </a:xfrm>
          <a:custGeom>
            <a:avLst/>
            <a:gdLst>
              <a:gd name="connsiteX0" fmla="*/ 5448247 w 5452350"/>
              <a:gd name="connsiteY0" fmla="*/ 3505266 h 5664344"/>
              <a:gd name="connsiteX1" fmla="*/ 5452350 w 5452350"/>
              <a:gd name="connsiteY1" fmla="*/ 3505266 h 5664344"/>
              <a:gd name="connsiteX2" fmla="*/ 5452350 w 5452350"/>
              <a:gd name="connsiteY2" fmla="*/ 3852344 h 5664344"/>
              <a:gd name="connsiteX3" fmla="*/ 5448247 w 5452350"/>
              <a:gd name="connsiteY3" fmla="*/ 3852344 h 5664344"/>
              <a:gd name="connsiteX4" fmla="*/ 5448247 w 5452350"/>
              <a:gd name="connsiteY4" fmla="*/ 3505266 h 5664344"/>
              <a:gd name="connsiteX5" fmla="*/ 5397455 w 5452350"/>
              <a:gd name="connsiteY5" fmla="*/ 1105195 h 5664344"/>
              <a:gd name="connsiteX6" fmla="*/ 5421391 w 5452350"/>
              <a:gd name="connsiteY6" fmla="*/ 1105195 h 5664344"/>
              <a:gd name="connsiteX7" fmla="*/ 5434447 w 5452350"/>
              <a:gd name="connsiteY7" fmla="*/ 2277169 h 5664344"/>
              <a:gd name="connsiteX8" fmla="*/ 5438799 w 5452350"/>
              <a:gd name="connsiteY8" fmla="*/ 3456152 h 5664344"/>
              <a:gd name="connsiteX9" fmla="*/ 5397455 w 5452350"/>
              <a:gd name="connsiteY9" fmla="*/ 1105195 h 5664344"/>
              <a:gd name="connsiteX10" fmla="*/ 4208633 w 5452350"/>
              <a:gd name="connsiteY10" fmla="*/ 0 h 5664344"/>
              <a:gd name="connsiteX11" fmla="*/ 4213021 w 5452350"/>
              <a:gd name="connsiteY11" fmla="*/ 0 h 5664344"/>
              <a:gd name="connsiteX12" fmla="*/ 4241550 w 5452350"/>
              <a:gd name="connsiteY12" fmla="*/ 199659 h 5664344"/>
              <a:gd name="connsiteX13" fmla="*/ 4252523 w 5452350"/>
              <a:gd name="connsiteY13" fmla="*/ 197907 h 5664344"/>
              <a:gd name="connsiteX14" fmla="*/ 4241550 w 5452350"/>
              <a:gd name="connsiteY14" fmla="*/ 108587 h 5664344"/>
              <a:gd name="connsiteX15" fmla="*/ 4254717 w 5452350"/>
              <a:gd name="connsiteY15" fmla="*/ 29774 h 5664344"/>
              <a:gd name="connsiteX16" fmla="*/ 4289829 w 5452350"/>
              <a:gd name="connsiteY16" fmla="*/ 339770 h 5664344"/>
              <a:gd name="connsiteX17" fmla="*/ 4302995 w 5452350"/>
              <a:gd name="connsiteY17" fmla="*/ 339770 h 5664344"/>
              <a:gd name="connsiteX18" fmla="*/ 4313969 w 5452350"/>
              <a:gd name="connsiteY18" fmla="*/ 274968 h 5664344"/>
              <a:gd name="connsiteX19" fmla="*/ 4316163 w 5452350"/>
              <a:gd name="connsiteY19" fmla="*/ 117343 h 5664344"/>
              <a:gd name="connsiteX20" fmla="*/ 4333719 w 5452350"/>
              <a:gd name="connsiteY20" fmla="*/ 63049 h 5664344"/>
              <a:gd name="connsiteX21" fmla="*/ 4362246 w 5452350"/>
              <a:gd name="connsiteY21" fmla="*/ 185647 h 5664344"/>
              <a:gd name="connsiteX22" fmla="*/ 4388581 w 5452350"/>
              <a:gd name="connsiteY22" fmla="*/ 150620 h 5664344"/>
              <a:gd name="connsiteX23" fmla="*/ 4410525 w 5452350"/>
              <a:gd name="connsiteY23" fmla="*/ 201410 h 5664344"/>
              <a:gd name="connsiteX24" fmla="*/ 4430277 w 5452350"/>
              <a:gd name="connsiteY24" fmla="*/ 345024 h 5664344"/>
              <a:gd name="connsiteX25" fmla="*/ 4443443 w 5452350"/>
              <a:gd name="connsiteY25" fmla="*/ 346775 h 5664344"/>
              <a:gd name="connsiteX26" fmla="*/ 4456610 w 5452350"/>
              <a:gd name="connsiteY26" fmla="*/ 187400 h 5664344"/>
              <a:gd name="connsiteX27" fmla="*/ 4465388 w 5452350"/>
              <a:gd name="connsiteY27" fmla="*/ 185647 h 5664344"/>
              <a:gd name="connsiteX28" fmla="*/ 4465388 w 5452350"/>
              <a:gd name="connsiteY28" fmla="*/ 302992 h 5664344"/>
              <a:gd name="connsiteX29" fmla="*/ 4511472 w 5452350"/>
              <a:gd name="connsiteY29" fmla="*/ 220676 h 5664344"/>
              <a:gd name="connsiteX30" fmla="*/ 4509278 w 5452350"/>
              <a:gd name="connsiteY30" fmla="*/ 157625 h 5664344"/>
              <a:gd name="connsiteX31" fmla="*/ 4509278 w 5452350"/>
              <a:gd name="connsiteY31" fmla="*/ 94575 h 5664344"/>
              <a:gd name="connsiteX32" fmla="*/ 4526834 w 5452350"/>
              <a:gd name="connsiteY32" fmla="*/ 31525 h 5664344"/>
              <a:gd name="connsiteX33" fmla="*/ 4566335 w 5452350"/>
              <a:gd name="connsiteY33" fmla="*/ 89322 h 5664344"/>
              <a:gd name="connsiteX34" fmla="*/ 4572917 w 5452350"/>
              <a:gd name="connsiteY34" fmla="*/ 50791 h 5664344"/>
              <a:gd name="connsiteX35" fmla="*/ 4581697 w 5452350"/>
              <a:gd name="connsiteY35" fmla="*/ 50791 h 5664344"/>
              <a:gd name="connsiteX36" fmla="*/ 4594863 w 5452350"/>
              <a:gd name="connsiteY36" fmla="*/ 187400 h 5664344"/>
              <a:gd name="connsiteX37" fmla="*/ 4619003 w 5452350"/>
              <a:gd name="connsiteY37" fmla="*/ 429091 h 5664344"/>
              <a:gd name="connsiteX38" fmla="*/ 4629151 w 5452350"/>
              <a:gd name="connsiteY38" fmla="*/ 497833 h 5664344"/>
              <a:gd name="connsiteX39" fmla="*/ 4629870 w 5452350"/>
              <a:gd name="connsiteY39" fmla="*/ 499736 h 5664344"/>
              <a:gd name="connsiteX40" fmla="*/ 4638237 w 5452350"/>
              <a:gd name="connsiteY40" fmla="*/ 481214 h 5664344"/>
              <a:gd name="connsiteX41" fmla="*/ 4657987 w 5452350"/>
              <a:gd name="connsiteY41" fmla="*/ 457680 h 5664344"/>
              <a:gd name="connsiteX42" fmla="*/ 4715043 w 5452350"/>
              <a:gd name="connsiteY42" fmla="*/ 443669 h 5664344"/>
              <a:gd name="connsiteX43" fmla="*/ 4719433 w 5452350"/>
              <a:gd name="connsiteY43" fmla="*/ 443669 h 5664344"/>
              <a:gd name="connsiteX44" fmla="*/ 4862075 w 5452350"/>
              <a:gd name="connsiteY44" fmla="*/ 382371 h 5664344"/>
              <a:gd name="connsiteX45" fmla="*/ 4894993 w 5452350"/>
              <a:gd name="connsiteY45" fmla="*/ 613554 h 5664344"/>
              <a:gd name="connsiteX46" fmla="*/ 4908159 w 5452350"/>
              <a:gd name="connsiteY46" fmla="*/ 611803 h 5664344"/>
              <a:gd name="connsiteX47" fmla="*/ 4908159 w 5452350"/>
              <a:gd name="connsiteY47" fmla="*/ 370111 h 5664344"/>
              <a:gd name="connsiteX48" fmla="*/ 4912547 w 5452350"/>
              <a:gd name="connsiteY48" fmla="*/ 370111 h 5664344"/>
              <a:gd name="connsiteX49" fmla="*/ 4941076 w 5452350"/>
              <a:gd name="connsiteY49" fmla="*/ 569770 h 5664344"/>
              <a:gd name="connsiteX50" fmla="*/ 4952049 w 5452350"/>
              <a:gd name="connsiteY50" fmla="*/ 568018 h 5664344"/>
              <a:gd name="connsiteX51" fmla="*/ 4941076 w 5452350"/>
              <a:gd name="connsiteY51" fmla="*/ 478697 h 5664344"/>
              <a:gd name="connsiteX52" fmla="*/ 4954243 w 5452350"/>
              <a:gd name="connsiteY52" fmla="*/ 399884 h 5664344"/>
              <a:gd name="connsiteX53" fmla="*/ 4989355 w 5452350"/>
              <a:gd name="connsiteY53" fmla="*/ 709881 h 5664344"/>
              <a:gd name="connsiteX54" fmla="*/ 5002521 w 5452350"/>
              <a:gd name="connsiteY54" fmla="*/ 709881 h 5664344"/>
              <a:gd name="connsiteX55" fmla="*/ 5013495 w 5452350"/>
              <a:gd name="connsiteY55" fmla="*/ 645079 h 5664344"/>
              <a:gd name="connsiteX56" fmla="*/ 5015689 w 5452350"/>
              <a:gd name="connsiteY56" fmla="*/ 487454 h 5664344"/>
              <a:gd name="connsiteX57" fmla="*/ 5033244 w 5452350"/>
              <a:gd name="connsiteY57" fmla="*/ 433160 h 5664344"/>
              <a:gd name="connsiteX58" fmla="*/ 5061773 w 5452350"/>
              <a:gd name="connsiteY58" fmla="*/ 555758 h 5664344"/>
              <a:gd name="connsiteX59" fmla="*/ 5088107 w 5452350"/>
              <a:gd name="connsiteY59" fmla="*/ 520730 h 5664344"/>
              <a:gd name="connsiteX60" fmla="*/ 5110051 w 5452350"/>
              <a:gd name="connsiteY60" fmla="*/ 571521 h 5664344"/>
              <a:gd name="connsiteX61" fmla="*/ 5129803 w 5452350"/>
              <a:gd name="connsiteY61" fmla="*/ 715135 h 5664344"/>
              <a:gd name="connsiteX62" fmla="*/ 5142969 w 5452350"/>
              <a:gd name="connsiteY62" fmla="*/ 716886 h 5664344"/>
              <a:gd name="connsiteX63" fmla="*/ 5156135 w 5452350"/>
              <a:gd name="connsiteY63" fmla="*/ 557510 h 5664344"/>
              <a:gd name="connsiteX64" fmla="*/ 5164915 w 5452350"/>
              <a:gd name="connsiteY64" fmla="*/ 555758 h 5664344"/>
              <a:gd name="connsiteX65" fmla="*/ 5164915 w 5452350"/>
              <a:gd name="connsiteY65" fmla="*/ 673102 h 5664344"/>
              <a:gd name="connsiteX66" fmla="*/ 5210998 w 5452350"/>
              <a:gd name="connsiteY66" fmla="*/ 590787 h 5664344"/>
              <a:gd name="connsiteX67" fmla="*/ 5208803 w 5452350"/>
              <a:gd name="connsiteY67" fmla="*/ 527736 h 5664344"/>
              <a:gd name="connsiteX68" fmla="*/ 5208803 w 5452350"/>
              <a:gd name="connsiteY68" fmla="*/ 464685 h 5664344"/>
              <a:gd name="connsiteX69" fmla="*/ 5226360 w 5452350"/>
              <a:gd name="connsiteY69" fmla="*/ 401636 h 5664344"/>
              <a:gd name="connsiteX70" fmla="*/ 5265861 w 5452350"/>
              <a:gd name="connsiteY70" fmla="*/ 459432 h 5664344"/>
              <a:gd name="connsiteX71" fmla="*/ 5272443 w 5452350"/>
              <a:gd name="connsiteY71" fmla="*/ 420901 h 5664344"/>
              <a:gd name="connsiteX72" fmla="*/ 5281222 w 5452350"/>
              <a:gd name="connsiteY72" fmla="*/ 420901 h 5664344"/>
              <a:gd name="connsiteX73" fmla="*/ 5294389 w 5452350"/>
              <a:gd name="connsiteY73" fmla="*/ 557510 h 5664344"/>
              <a:gd name="connsiteX74" fmla="*/ 5318529 w 5452350"/>
              <a:gd name="connsiteY74" fmla="*/ 799201 h 5664344"/>
              <a:gd name="connsiteX75" fmla="*/ 5353640 w 5452350"/>
              <a:gd name="connsiteY75" fmla="*/ 934059 h 5664344"/>
              <a:gd name="connsiteX76" fmla="*/ 5355835 w 5452350"/>
              <a:gd name="connsiteY76" fmla="*/ 974341 h 5664344"/>
              <a:gd name="connsiteX77" fmla="*/ 5362417 w 5452350"/>
              <a:gd name="connsiteY77" fmla="*/ 1422697 h 5664344"/>
              <a:gd name="connsiteX78" fmla="*/ 5347057 w 5452350"/>
              <a:gd name="connsiteY78" fmla="*/ 1776479 h 5664344"/>
              <a:gd name="connsiteX79" fmla="*/ 5358029 w 5452350"/>
              <a:gd name="connsiteY79" fmla="*/ 2310653 h 5664344"/>
              <a:gd name="connsiteX80" fmla="*/ 5375585 w 5452350"/>
              <a:gd name="connsiteY80" fmla="*/ 2862341 h 5664344"/>
              <a:gd name="connsiteX81" fmla="*/ 5388751 w 5452350"/>
              <a:gd name="connsiteY81" fmla="*/ 3550639 h 5664344"/>
              <a:gd name="connsiteX82" fmla="*/ 5366806 w 5452350"/>
              <a:gd name="connsiteY82" fmla="*/ 4177638 h 5664344"/>
              <a:gd name="connsiteX83" fmla="*/ 5353640 w 5452350"/>
              <a:gd name="connsiteY83" fmla="*/ 4484131 h 5664344"/>
              <a:gd name="connsiteX84" fmla="*/ 5329501 w 5452350"/>
              <a:gd name="connsiteY84" fmla="*/ 4590966 h 5664344"/>
              <a:gd name="connsiteX85" fmla="*/ 5320723 w 5452350"/>
              <a:gd name="connsiteY85" fmla="*/ 4844918 h 5664344"/>
              <a:gd name="connsiteX86" fmla="*/ 5318529 w 5452350"/>
              <a:gd name="connsiteY86" fmla="*/ 4314246 h 5664344"/>
              <a:gd name="connsiteX87" fmla="*/ 5292195 w 5452350"/>
              <a:gd name="connsiteY87" fmla="*/ 4314246 h 5664344"/>
              <a:gd name="connsiteX88" fmla="*/ 5268055 w 5452350"/>
              <a:gd name="connsiteY88" fmla="*/ 4708309 h 5664344"/>
              <a:gd name="connsiteX89" fmla="*/ 5265861 w 5452350"/>
              <a:gd name="connsiteY89" fmla="*/ 4708309 h 5664344"/>
              <a:gd name="connsiteX90" fmla="*/ 5265861 w 5452350"/>
              <a:gd name="connsiteY90" fmla="*/ 4554187 h 5664344"/>
              <a:gd name="connsiteX91" fmla="*/ 5263666 w 5452350"/>
              <a:gd name="connsiteY91" fmla="*/ 4315997 h 5664344"/>
              <a:gd name="connsiteX92" fmla="*/ 5257083 w 5452350"/>
              <a:gd name="connsiteY92" fmla="*/ 4028768 h 5664344"/>
              <a:gd name="connsiteX93" fmla="*/ 5261471 w 5452350"/>
              <a:gd name="connsiteY93" fmla="*/ 3790579 h 5664344"/>
              <a:gd name="connsiteX94" fmla="*/ 5259277 w 5452350"/>
              <a:gd name="connsiteY94" fmla="*/ 3554141 h 5664344"/>
              <a:gd name="connsiteX95" fmla="*/ 5252693 w 5452350"/>
              <a:gd name="connsiteY95" fmla="*/ 3534876 h 5664344"/>
              <a:gd name="connsiteX96" fmla="*/ 5129803 w 5452350"/>
              <a:gd name="connsiteY96" fmla="*/ 4893956 h 5664344"/>
              <a:gd name="connsiteX97" fmla="*/ 5092495 w 5452350"/>
              <a:gd name="connsiteY97" fmla="*/ 4853674 h 5664344"/>
              <a:gd name="connsiteX98" fmla="*/ 5092495 w 5452350"/>
              <a:gd name="connsiteY98" fmla="*/ 4913222 h 5664344"/>
              <a:gd name="connsiteX99" fmla="*/ 5085912 w 5452350"/>
              <a:gd name="connsiteY99" fmla="*/ 4913222 h 5664344"/>
              <a:gd name="connsiteX100" fmla="*/ 5072745 w 5452350"/>
              <a:gd name="connsiteY100" fmla="*/ 4489385 h 5664344"/>
              <a:gd name="connsiteX101" fmla="*/ 5031050 w 5452350"/>
              <a:gd name="connsiteY101" fmla="*/ 4825653 h 5664344"/>
              <a:gd name="connsiteX102" fmla="*/ 5031050 w 5452350"/>
              <a:gd name="connsiteY102" fmla="*/ 4142609 h 5664344"/>
              <a:gd name="connsiteX103" fmla="*/ 5015689 w 5452350"/>
              <a:gd name="connsiteY103" fmla="*/ 4140858 h 5664344"/>
              <a:gd name="connsiteX104" fmla="*/ 4993744 w 5452350"/>
              <a:gd name="connsiteY104" fmla="*/ 4301986 h 5664344"/>
              <a:gd name="connsiteX105" fmla="*/ 4993744 w 5452350"/>
              <a:gd name="connsiteY105" fmla="*/ 4107581 h 5664344"/>
              <a:gd name="connsiteX106" fmla="*/ 4982771 w 5452350"/>
              <a:gd name="connsiteY106" fmla="*/ 4107581 h 5664344"/>
              <a:gd name="connsiteX107" fmla="*/ 4947661 w 5452350"/>
              <a:gd name="connsiteY107" fmla="*/ 4748591 h 5664344"/>
              <a:gd name="connsiteX108" fmla="*/ 4941076 w 5452350"/>
              <a:gd name="connsiteY108" fmla="*/ 4722321 h 5664344"/>
              <a:gd name="connsiteX109" fmla="*/ 4932297 w 5452350"/>
              <a:gd name="connsiteY109" fmla="*/ 4722321 h 5664344"/>
              <a:gd name="connsiteX110" fmla="*/ 4925715 w 5452350"/>
              <a:gd name="connsiteY110" fmla="*/ 4806388 h 5664344"/>
              <a:gd name="connsiteX111" fmla="*/ 4919132 w 5452350"/>
              <a:gd name="connsiteY111" fmla="*/ 4790625 h 5664344"/>
              <a:gd name="connsiteX112" fmla="*/ 4919132 w 5452350"/>
              <a:gd name="connsiteY112" fmla="*/ 4228427 h 5664344"/>
              <a:gd name="connsiteX113" fmla="*/ 4908159 w 5452350"/>
              <a:gd name="connsiteY113" fmla="*/ 4189897 h 5664344"/>
              <a:gd name="connsiteX114" fmla="*/ 4890603 w 5452350"/>
              <a:gd name="connsiteY114" fmla="*/ 4154869 h 5664344"/>
              <a:gd name="connsiteX115" fmla="*/ 4855491 w 5452350"/>
              <a:gd name="connsiteY115" fmla="*/ 4471871 h 5664344"/>
              <a:gd name="connsiteX116" fmla="*/ 4855491 w 5452350"/>
              <a:gd name="connsiteY116" fmla="*/ 4067299 h 5664344"/>
              <a:gd name="connsiteX117" fmla="*/ 4833547 w 5452350"/>
              <a:gd name="connsiteY117" fmla="*/ 4067299 h 5664344"/>
              <a:gd name="connsiteX118" fmla="*/ 4811601 w 5452350"/>
              <a:gd name="connsiteY118" fmla="*/ 4323003 h 5664344"/>
              <a:gd name="connsiteX119" fmla="*/ 4811601 w 5452350"/>
              <a:gd name="connsiteY119" fmla="*/ 4580458 h 5664344"/>
              <a:gd name="connsiteX120" fmla="*/ 4794046 w 5452350"/>
              <a:gd name="connsiteY120" fmla="*/ 4580458 h 5664344"/>
              <a:gd name="connsiteX121" fmla="*/ 4794046 w 5452350"/>
              <a:gd name="connsiteY121" fmla="*/ 3837867 h 5664344"/>
              <a:gd name="connsiteX122" fmla="*/ 4776489 w 5452350"/>
              <a:gd name="connsiteY122" fmla="*/ 3837867 h 5664344"/>
              <a:gd name="connsiteX123" fmla="*/ 4776489 w 5452350"/>
              <a:gd name="connsiteY123" fmla="*/ 3935945 h 5664344"/>
              <a:gd name="connsiteX124" fmla="*/ 4769907 w 5452350"/>
              <a:gd name="connsiteY124" fmla="*/ 4186394 h 5664344"/>
              <a:gd name="connsiteX125" fmla="*/ 4752349 w 5452350"/>
              <a:gd name="connsiteY125" fmla="*/ 4629496 h 5664344"/>
              <a:gd name="connsiteX126" fmla="*/ 4750155 w 5452350"/>
              <a:gd name="connsiteY126" fmla="*/ 4689044 h 5664344"/>
              <a:gd name="connsiteX127" fmla="*/ 4741378 w 5452350"/>
              <a:gd name="connsiteY127" fmla="*/ 4648762 h 5664344"/>
              <a:gd name="connsiteX128" fmla="*/ 4717238 w 5452350"/>
              <a:gd name="connsiteY128" fmla="*/ 4473622 h 5664344"/>
              <a:gd name="connsiteX129" fmla="*/ 4734795 w 5452350"/>
              <a:gd name="connsiteY129" fmla="*/ 4149615 h 5664344"/>
              <a:gd name="connsiteX130" fmla="*/ 4730405 w 5452350"/>
              <a:gd name="connsiteY130" fmla="*/ 4037526 h 5664344"/>
              <a:gd name="connsiteX131" fmla="*/ 4715043 w 5452350"/>
              <a:gd name="connsiteY131" fmla="*/ 4021763 h 5664344"/>
              <a:gd name="connsiteX132" fmla="*/ 4697487 w 5452350"/>
              <a:gd name="connsiteY132" fmla="*/ 4261705 h 5664344"/>
              <a:gd name="connsiteX133" fmla="*/ 4693099 w 5452350"/>
              <a:gd name="connsiteY133" fmla="*/ 4261705 h 5664344"/>
              <a:gd name="connsiteX134" fmla="*/ 4679932 w 5452350"/>
              <a:gd name="connsiteY134" fmla="*/ 4140858 h 5664344"/>
              <a:gd name="connsiteX135" fmla="*/ 4664570 w 5452350"/>
              <a:gd name="connsiteY135" fmla="*/ 4140858 h 5664344"/>
              <a:gd name="connsiteX136" fmla="*/ 4655793 w 5452350"/>
              <a:gd name="connsiteY136" fmla="*/ 4312494 h 5664344"/>
              <a:gd name="connsiteX137" fmla="*/ 4660181 w 5452350"/>
              <a:gd name="connsiteY137" fmla="*/ 4562943 h 5664344"/>
              <a:gd name="connsiteX138" fmla="*/ 4647013 w 5452350"/>
              <a:gd name="connsiteY138" fmla="*/ 4603225 h 5664344"/>
              <a:gd name="connsiteX139" fmla="*/ 4631653 w 5452350"/>
              <a:gd name="connsiteY139" fmla="*/ 4601474 h 5664344"/>
              <a:gd name="connsiteX140" fmla="*/ 4631653 w 5452350"/>
              <a:gd name="connsiteY140" fmla="*/ 4213517 h 5664344"/>
              <a:gd name="connsiteX141" fmla="*/ 4629974 w 5452350"/>
              <a:gd name="connsiteY141" fmla="*/ 4220855 h 5664344"/>
              <a:gd name="connsiteX142" fmla="*/ 4621197 w 5452350"/>
              <a:gd name="connsiteY142" fmla="*/ 4474807 h 5664344"/>
              <a:gd name="connsiteX143" fmla="*/ 4620099 w 5452350"/>
              <a:gd name="connsiteY143" fmla="*/ 4209471 h 5664344"/>
              <a:gd name="connsiteX144" fmla="*/ 4622225 w 5452350"/>
              <a:gd name="connsiteY144" fmla="*/ 4130349 h 5664344"/>
              <a:gd name="connsiteX145" fmla="*/ 4618487 w 5452350"/>
              <a:gd name="connsiteY145" fmla="*/ 4130349 h 5664344"/>
              <a:gd name="connsiteX146" fmla="*/ 4618487 w 5452350"/>
              <a:gd name="connsiteY146" fmla="*/ 4203909 h 5664344"/>
              <a:gd name="connsiteX147" fmla="*/ 4611902 w 5452350"/>
              <a:gd name="connsiteY147" fmla="*/ 4203909 h 5664344"/>
              <a:gd name="connsiteX148" fmla="*/ 4611902 w 5452350"/>
              <a:gd name="connsiteY148" fmla="*/ 4072553 h 5664344"/>
              <a:gd name="connsiteX149" fmla="*/ 4616291 w 5452350"/>
              <a:gd name="connsiteY149" fmla="*/ 4072553 h 5664344"/>
              <a:gd name="connsiteX150" fmla="*/ 4622683 w 5452350"/>
              <a:gd name="connsiteY150" fmla="*/ 4113356 h 5664344"/>
              <a:gd name="connsiteX151" fmla="*/ 4623665 w 5452350"/>
              <a:gd name="connsiteY151" fmla="*/ 4076803 h 5664344"/>
              <a:gd name="connsiteX152" fmla="*/ 4619003 w 5452350"/>
              <a:gd name="connsiteY152" fmla="*/ 3944135 h 5664344"/>
              <a:gd name="connsiteX153" fmla="*/ 4592668 w 5452350"/>
              <a:gd name="connsiteY153" fmla="*/ 3944135 h 5664344"/>
              <a:gd name="connsiteX154" fmla="*/ 4568529 w 5452350"/>
              <a:gd name="connsiteY154" fmla="*/ 4338199 h 5664344"/>
              <a:gd name="connsiteX155" fmla="*/ 4566335 w 5452350"/>
              <a:gd name="connsiteY155" fmla="*/ 4338199 h 5664344"/>
              <a:gd name="connsiteX156" fmla="*/ 4566335 w 5452350"/>
              <a:gd name="connsiteY156" fmla="*/ 4184076 h 5664344"/>
              <a:gd name="connsiteX157" fmla="*/ 4564140 w 5452350"/>
              <a:gd name="connsiteY157" fmla="*/ 3945886 h 5664344"/>
              <a:gd name="connsiteX158" fmla="*/ 4557557 w 5452350"/>
              <a:gd name="connsiteY158" fmla="*/ 3658657 h 5664344"/>
              <a:gd name="connsiteX159" fmla="*/ 4561946 w 5452350"/>
              <a:gd name="connsiteY159" fmla="*/ 3420469 h 5664344"/>
              <a:gd name="connsiteX160" fmla="*/ 4559751 w 5452350"/>
              <a:gd name="connsiteY160" fmla="*/ 3184031 h 5664344"/>
              <a:gd name="connsiteX161" fmla="*/ 4553167 w 5452350"/>
              <a:gd name="connsiteY161" fmla="*/ 3164765 h 5664344"/>
              <a:gd name="connsiteX162" fmla="*/ 4430277 w 5452350"/>
              <a:gd name="connsiteY162" fmla="*/ 4523846 h 5664344"/>
              <a:gd name="connsiteX163" fmla="*/ 4392969 w 5452350"/>
              <a:gd name="connsiteY163" fmla="*/ 4483564 h 5664344"/>
              <a:gd name="connsiteX164" fmla="*/ 4392969 w 5452350"/>
              <a:gd name="connsiteY164" fmla="*/ 4543111 h 5664344"/>
              <a:gd name="connsiteX165" fmla="*/ 4386387 w 5452350"/>
              <a:gd name="connsiteY165" fmla="*/ 4543111 h 5664344"/>
              <a:gd name="connsiteX166" fmla="*/ 4373219 w 5452350"/>
              <a:gd name="connsiteY166" fmla="*/ 4119275 h 5664344"/>
              <a:gd name="connsiteX167" fmla="*/ 4331524 w 5452350"/>
              <a:gd name="connsiteY167" fmla="*/ 4455542 h 5664344"/>
              <a:gd name="connsiteX168" fmla="*/ 4331524 w 5452350"/>
              <a:gd name="connsiteY168" fmla="*/ 3772498 h 5664344"/>
              <a:gd name="connsiteX169" fmla="*/ 4316163 w 5452350"/>
              <a:gd name="connsiteY169" fmla="*/ 3770747 h 5664344"/>
              <a:gd name="connsiteX170" fmla="*/ 4294218 w 5452350"/>
              <a:gd name="connsiteY170" fmla="*/ 3931875 h 5664344"/>
              <a:gd name="connsiteX171" fmla="*/ 4294218 w 5452350"/>
              <a:gd name="connsiteY171" fmla="*/ 3737471 h 5664344"/>
              <a:gd name="connsiteX172" fmla="*/ 4283245 w 5452350"/>
              <a:gd name="connsiteY172" fmla="*/ 3737471 h 5664344"/>
              <a:gd name="connsiteX173" fmla="*/ 4248134 w 5452350"/>
              <a:gd name="connsiteY173" fmla="*/ 4378481 h 5664344"/>
              <a:gd name="connsiteX174" fmla="*/ 4241550 w 5452350"/>
              <a:gd name="connsiteY174" fmla="*/ 4352210 h 5664344"/>
              <a:gd name="connsiteX175" fmla="*/ 4232772 w 5452350"/>
              <a:gd name="connsiteY175" fmla="*/ 4352210 h 5664344"/>
              <a:gd name="connsiteX176" fmla="*/ 4226189 w 5452350"/>
              <a:gd name="connsiteY176" fmla="*/ 4436277 h 5664344"/>
              <a:gd name="connsiteX177" fmla="*/ 4219606 w 5452350"/>
              <a:gd name="connsiteY177" fmla="*/ 4420514 h 5664344"/>
              <a:gd name="connsiteX178" fmla="*/ 4219606 w 5452350"/>
              <a:gd name="connsiteY178" fmla="*/ 3858316 h 5664344"/>
              <a:gd name="connsiteX179" fmla="*/ 4208633 w 5452350"/>
              <a:gd name="connsiteY179" fmla="*/ 3819787 h 5664344"/>
              <a:gd name="connsiteX180" fmla="*/ 4191077 w 5452350"/>
              <a:gd name="connsiteY180" fmla="*/ 3784758 h 5664344"/>
              <a:gd name="connsiteX181" fmla="*/ 4155965 w 5452350"/>
              <a:gd name="connsiteY181" fmla="*/ 4101761 h 5664344"/>
              <a:gd name="connsiteX182" fmla="*/ 4155965 w 5452350"/>
              <a:gd name="connsiteY182" fmla="*/ 3697188 h 5664344"/>
              <a:gd name="connsiteX183" fmla="*/ 4134021 w 5452350"/>
              <a:gd name="connsiteY183" fmla="*/ 3697188 h 5664344"/>
              <a:gd name="connsiteX184" fmla="*/ 4112075 w 5452350"/>
              <a:gd name="connsiteY184" fmla="*/ 3952892 h 5664344"/>
              <a:gd name="connsiteX185" fmla="*/ 4112075 w 5452350"/>
              <a:gd name="connsiteY185" fmla="*/ 4210347 h 5664344"/>
              <a:gd name="connsiteX186" fmla="*/ 4094520 w 5452350"/>
              <a:gd name="connsiteY186" fmla="*/ 4210347 h 5664344"/>
              <a:gd name="connsiteX187" fmla="*/ 4094520 w 5452350"/>
              <a:gd name="connsiteY187" fmla="*/ 3467756 h 5664344"/>
              <a:gd name="connsiteX188" fmla="*/ 4076964 w 5452350"/>
              <a:gd name="connsiteY188" fmla="*/ 3467756 h 5664344"/>
              <a:gd name="connsiteX189" fmla="*/ 4076964 w 5452350"/>
              <a:gd name="connsiteY189" fmla="*/ 3565834 h 5664344"/>
              <a:gd name="connsiteX190" fmla="*/ 4070380 w 5452350"/>
              <a:gd name="connsiteY190" fmla="*/ 3816284 h 5664344"/>
              <a:gd name="connsiteX191" fmla="*/ 4053299 w 5452350"/>
              <a:gd name="connsiteY191" fmla="*/ 3920248 h 5664344"/>
              <a:gd name="connsiteX192" fmla="*/ 4053299 w 5452350"/>
              <a:gd name="connsiteY192" fmla="*/ 3946733 h 5664344"/>
              <a:gd name="connsiteX193" fmla="*/ 4051827 w 5452350"/>
              <a:gd name="connsiteY193" fmla="*/ 3946733 h 5664344"/>
              <a:gd name="connsiteX194" fmla="*/ 4050081 w 5452350"/>
              <a:gd name="connsiteY194" fmla="*/ 4037835 h 5664344"/>
              <a:gd name="connsiteX195" fmla="*/ 4052824 w 5452350"/>
              <a:gd name="connsiteY195" fmla="*/ 4259385 h 5664344"/>
              <a:gd name="connsiteX196" fmla="*/ 4050629 w 5452350"/>
              <a:gd name="connsiteY196" fmla="*/ 4318934 h 5664344"/>
              <a:gd name="connsiteX197" fmla="*/ 4041852 w 5452350"/>
              <a:gd name="connsiteY197" fmla="*/ 4278651 h 5664344"/>
              <a:gd name="connsiteX198" fmla="*/ 4017712 w 5452350"/>
              <a:gd name="connsiteY198" fmla="*/ 4103512 h 5664344"/>
              <a:gd name="connsiteX199" fmla="*/ 4035268 w 5452350"/>
              <a:gd name="connsiteY199" fmla="*/ 3779504 h 5664344"/>
              <a:gd name="connsiteX200" fmla="*/ 4030879 w 5452350"/>
              <a:gd name="connsiteY200" fmla="*/ 3667415 h 5664344"/>
              <a:gd name="connsiteX201" fmla="*/ 4015518 w 5452350"/>
              <a:gd name="connsiteY201" fmla="*/ 3651652 h 5664344"/>
              <a:gd name="connsiteX202" fmla="*/ 3997961 w 5452350"/>
              <a:gd name="connsiteY202" fmla="*/ 3891594 h 5664344"/>
              <a:gd name="connsiteX203" fmla="*/ 3993573 w 5452350"/>
              <a:gd name="connsiteY203" fmla="*/ 3891594 h 5664344"/>
              <a:gd name="connsiteX204" fmla="*/ 3984769 w 5452350"/>
              <a:gd name="connsiteY204" fmla="*/ 3810792 h 5664344"/>
              <a:gd name="connsiteX205" fmla="*/ 3980374 w 5452350"/>
              <a:gd name="connsiteY205" fmla="*/ 3958527 h 5664344"/>
              <a:gd name="connsiteX206" fmla="*/ 3967755 w 5452350"/>
              <a:gd name="connsiteY206" fmla="*/ 4272027 h 5664344"/>
              <a:gd name="connsiteX207" fmla="*/ 3954589 w 5452350"/>
              <a:gd name="connsiteY207" fmla="*/ 4578520 h 5664344"/>
              <a:gd name="connsiteX208" fmla="*/ 3930449 w 5452350"/>
              <a:gd name="connsiteY208" fmla="*/ 4685355 h 5664344"/>
              <a:gd name="connsiteX209" fmla="*/ 3921672 w 5452350"/>
              <a:gd name="connsiteY209" fmla="*/ 4939307 h 5664344"/>
              <a:gd name="connsiteX210" fmla="*/ 3919477 w 5452350"/>
              <a:gd name="connsiteY210" fmla="*/ 4408635 h 5664344"/>
              <a:gd name="connsiteX211" fmla="*/ 3893143 w 5452350"/>
              <a:gd name="connsiteY211" fmla="*/ 4408635 h 5664344"/>
              <a:gd name="connsiteX212" fmla="*/ 3869004 w 5452350"/>
              <a:gd name="connsiteY212" fmla="*/ 4802699 h 5664344"/>
              <a:gd name="connsiteX213" fmla="*/ 3866809 w 5452350"/>
              <a:gd name="connsiteY213" fmla="*/ 4802699 h 5664344"/>
              <a:gd name="connsiteX214" fmla="*/ 3866809 w 5452350"/>
              <a:gd name="connsiteY214" fmla="*/ 4648576 h 5664344"/>
              <a:gd name="connsiteX215" fmla="*/ 3864615 w 5452350"/>
              <a:gd name="connsiteY215" fmla="*/ 4410386 h 5664344"/>
              <a:gd name="connsiteX216" fmla="*/ 3858031 w 5452350"/>
              <a:gd name="connsiteY216" fmla="*/ 4123157 h 5664344"/>
              <a:gd name="connsiteX217" fmla="*/ 3862420 w 5452350"/>
              <a:gd name="connsiteY217" fmla="*/ 3884968 h 5664344"/>
              <a:gd name="connsiteX218" fmla="*/ 3860227 w 5452350"/>
              <a:gd name="connsiteY218" fmla="*/ 3648530 h 5664344"/>
              <a:gd name="connsiteX219" fmla="*/ 3853643 w 5452350"/>
              <a:gd name="connsiteY219" fmla="*/ 3629265 h 5664344"/>
              <a:gd name="connsiteX220" fmla="*/ 3730751 w 5452350"/>
              <a:gd name="connsiteY220" fmla="*/ 4988346 h 5664344"/>
              <a:gd name="connsiteX221" fmla="*/ 3693444 w 5452350"/>
              <a:gd name="connsiteY221" fmla="*/ 4948064 h 5664344"/>
              <a:gd name="connsiteX222" fmla="*/ 3693444 w 5452350"/>
              <a:gd name="connsiteY222" fmla="*/ 5007611 h 5664344"/>
              <a:gd name="connsiteX223" fmla="*/ 3686861 w 5452350"/>
              <a:gd name="connsiteY223" fmla="*/ 5007611 h 5664344"/>
              <a:gd name="connsiteX224" fmla="*/ 3673695 w 5452350"/>
              <a:gd name="connsiteY224" fmla="*/ 4583775 h 5664344"/>
              <a:gd name="connsiteX225" fmla="*/ 3631999 w 5452350"/>
              <a:gd name="connsiteY225" fmla="*/ 4920042 h 5664344"/>
              <a:gd name="connsiteX226" fmla="*/ 3631998 w 5452350"/>
              <a:gd name="connsiteY226" fmla="*/ 4236998 h 5664344"/>
              <a:gd name="connsiteX227" fmla="*/ 3616638 w 5452350"/>
              <a:gd name="connsiteY227" fmla="*/ 4235247 h 5664344"/>
              <a:gd name="connsiteX228" fmla="*/ 3594693 w 5452350"/>
              <a:gd name="connsiteY228" fmla="*/ 4396375 h 5664344"/>
              <a:gd name="connsiteX229" fmla="*/ 3594693 w 5452350"/>
              <a:gd name="connsiteY229" fmla="*/ 4201971 h 5664344"/>
              <a:gd name="connsiteX230" fmla="*/ 3583721 w 5452350"/>
              <a:gd name="connsiteY230" fmla="*/ 4201971 h 5664344"/>
              <a:gd name="connsiteX231" fmla="*/ 3548609 w 5452350"/>
              <a:gd name="connsiteY231" fmla="*/ 4842981 h 5664344"/>
              <a:gd name="connsiteX232" fmla="*/ 3542025 w 5452350"/>
              <a:gd name="connsiteY232" fmla="*/ 4816710 h 5664344"/>
              <a:gd name="connsiteX233" fmla="*/ 3533247 w 5452350"/>
              <a:gd name="connsiteY233" fmla="*/ 4816710 h 5664344"/>
              <a:gd name="connsiteX234" fmla="*/ 3526664 w 5452350"/>
              <a:gd name="connsiteY234" fmla="*/ 4900777 h 5664344"/>
              <a:gd name="connsiteX235" fmla="*/ 3520081 w 5452350"/>
              <a:gd name="connsiteY235" fmla="*/ 4885014 h 5664344"/>
              <a:gd name="connsiteX236" fmla="*/ 3520081 w 5452350"/>
              <a:gd name="connsiteY236" fmla="*/ 4322816 h 5664344"/>
              <a:gd name="connsiteX237" fmla="*/ 3509108 w 5452350"/>
              <a:gd name="connsiteY237" fmla="*/ 4284286 h 5664344"/>
              <a:gd name="connsiteX238" fmla="*/ 3491552 w 5452350"/>
              <a:gd name="connsiteY238" fmla="*/ 4249258 h 5664344"/>
              <a:gd name="connsiteX239" fmla="*/ 3456441 w 5452350"/>
              <a:gd name="connsiteY239" fmla="*/ 4566260 h 5664344"/>
              <a:gd name="connsiteX240" fmla="*/ 3456441 w 5452350"/>
              <a:gd name="connsiteY240" fmla="*/ 4161688 h 5664344"/>
              <a:gd name="connsiteX241" fmla="*/ 3434495 w 5452350"/>
              <a:gd name="connsiteY241" fmla="*/ 4161688 h 5664344"/>
              <a:gd name="connsiteX242" fmla="*/ 3412550 w 5452350"/>
              <a:gd name="connsiteY242" fmla="*/ 4417392 h 5664344"/>
              <a:gd name="connsiteX243" fmla="*/ 3412550 w 5452350"/>
              <a:gd name="connsiteY243" fmla="*/ 4674847 h 5664344"/>
              <a:gd name="connsiteX244" fmla="*/ 3394995 w 5452350"/>
              <a:gd name="connsiteY244" fmla="*/ 4674847 h 5664344"/>
              <a:gd name="connsiteX245" fmla="*/ 3394995 w 5452350"/>
              <a:gd name="connsiteY245" fmla="*/ 3932256 h 5664344"/>
              <a:gd name="connsiteX246" fmla="*/ 3377439 w 5452350"/>
              <a:gd name="connsiteY246" fmla="*/ 3932256 h 5664344"/>
              <a:gd name="connsiteX247" fmla="*/ 3377439 w 5452350"/>
              <a:gd name="connsiteY247" fmla="*/ 4030334 h 5664344"/>
              <a:gd name="connsiteX248" fmla="*/ 3370855 w 5452350"/>
              <a:gd name="connsiteY248" fmla="*/ 4280784 h 5664344"/>
              <a:gd name="connsiteX249" fmla="*/ 3353299 w 5452350"/>
              <a:gd name="connsiteY249" fmla="*/ 4723885 h 5664344"/>
              <a:gd name="connsiteX250" fmla="*/ 3351105 w 5452350"/>
              <a:gd name="connsiteY250" fmla="*/ 4783433 h 5664344"/>
              <a:gd name="connsiteX251" fmla="*/ 3342327 w 5452350"/>
              <a:gd name="connsiteY251" fmla="*/ 4743151 h 5664344"/>
              <a:gd name="connsiteX252" fmla="*/ 3318187 w 5452350"/>
              <a:gd name="connsiteY252" fmla="*/ 4568012 h 5664344"/>
              <a:gd name="connsiteX253" fmla="*/ 3335743 w 5452350"/>
              <a:gd name="connsiteY253" fmla="*/ 4244004 h 5664344"/>
              <a:gd name="connsiteX254" fmla="*/ 3331354 w 5452350"/>
              <a:gd name="connsiteY254" fmla="*/ 4131915 h 5664344"/>
              <a:gd name="connsiteX255" fmla="*/ 3315993 w 5452350"/>
              <a:gd name="connsiteY255" fmla="*/ 4116152 h 5664344"/>
              <a:gd name="connsiteX256" fmla="*/ 3298437 w 5452350"/>
              <a:gd name="connsiteY256" fmla="*/ 4356093 h 5664344"/>
              <a:gd name="connsiteX257" fmla="*/ 3294048 w 5452350"/>
              <a:gd name="connsiteY257" fmla="*/ 4356093 h 5664344"/>
              <a:gd name="connsiteX258" fmla="*/ 3280881 w 5452350"/>
              <a:gd name="connsiteY258" fmla="*/ 4235247 h 5664344"/>
              <a:gd name="connsiteX259" fmla="*/ 3280183 w 5452350"/>
              <a:gd name="connsiteY259" fmla="*/ 4235247 h 5664344"/>
              <a:gd name="connsiteX260" fmla="*/ 3268232 w 5452350"/>
              <a:gd name="connsiteY260" fmla="*/ 4532162 h 5664344"/>
              <a:gd name="connsiteX261" fmla="*/ 3255066 w 5452350"/>
              <a:gd name="connsiteY261" fmla="*/ 4838656 h 5664344"/>
              <a:gd name="connsiteX262" fmla="*/ 3230926 w 5452350"/>
              <a:gd name="connsiteY262" fmla="*/ 4945490 h 5664344"/>
              <a:gd name="connsiteX263" fmla="*/ 3222149 w 5452350"/>
              <a:gd name="connsiteY263" fmla="*/ 5199443 h 5664344"/>
              <a:gd name="connsiteX264" fmla="*/ 3219954 w 5452350"/>
              <a:gd name="connsiteY264" fmla="*/ 4668771 h 5664344"/>
              <a:gd name="connsiteX265" fmla="*/ 3193620 w 5452350"/>
              <a:gd name="connsiteY265" fmla="*/ 4668771 h 5664344"/>
              <a:gd name="connsiteX266" fmla="*/ 3169481 w 5452350"/>
              <a:gd name="connsiteY266" fmla="*/ 5062835 h 5664344"/>
              <a:gd name="connsiteX267" fmla="*/ 3167286 w 5452350"/>
              <a:gd name="connsiteY267" fmla="*/ 5062835 h 5664344"/>
              <a:gd name="connsiteX268" fmla="*/ 3167286 w 5452350"/>
              <a:gd name="connsiteY268" fmla="*/ 4908712 h 5664344"/>
              <a:gd name="connsiteX269" fmla="*/ 3165092 w 5452350"/>
              <a:gd name="connsiteY269" fmla="*/ 4670522 h 5664344"/>
              <a:gd name="connsiteX270" fmla="*/ 3158508 w 5452350"/>
              <a:gd name="connsiteY270" fmla="*/ 4383293 h 5664344"/>
              <a:gd name="connsiteX271" fmla="*/ 3162897 w 5452350"/>
              <a:gd name="connsiteY271" fmla="*/ 4145104 h 5664344"/>
              <a:gd name="connsiteX272" fmla="*/ 3160703 w 5452350"/>
              <a:gd name="connsiteY272" fmla="*/ 3908666 h 5664344"/>
              <a:gd name="connsiteX273" fmla="*/ 3154119 w 5452350"/>
              <a:gd name="connsiteY273" fmla="*/ 3889401 h 5664344"/>
              <a:gd name="connsiteX274" fmla="*/ 3031228 w 5452350"/>
              <a:gd name="connsiteY274" fmla="*/ 5248481 h 5664344"/>
              <a:gd name="connsiteX275" fmla="*/ 2993921 w 5452350"/>
              <a:gd name="connsiteY275" fmla="*/ 5208200 h 5664344"/>
              <a:gd name="connsiteX276" fmla="*/ 2993921 w 5452350"/>
              <a:gd name="connsiteY276" fmla="*/ 5267747 h 5664344"/>
              <a:gd name="connsiteX277" fmla="*/ 2987338 w 5452350"/>
              <a:gd name="connsiteY277" fmla="*/ 5267747 h 5664344"/>
              <a:gd name="connsiteX278" fmla="*/ 2974171 w 5452350"/>
              <a:gd name="connsiteY278" fmla="*/ 4843910 h 5664344"/>
              <a:gd name="connsiteX279" fmla="*/ 2932476 w 5452350"/>
              <a:gd name="connsiteY279" fmla="*/ 5180178 h 5664344"/>
              <a:gd name="connsiteX280" fmla="*/ 2932476 w 5452350"/>
              <a:gd name="connsiteY280" fmla="*/ 4930866 h 5664344"/>
              <a:gd name="connsiteX281" fmla="*/ 2931597 w 5452350"/>
              <a:gd name="connsiteY281" fmla="*/ 4934803 h 5664344"/>
              <a:gd name="connsiteX282" fmla="*/ 2919527 w 5452350"/>
              <a:gd name="connsiteY282" fmla="*/ 4987563 h 5664344"/>
              <a:gd name="connsiteX283" fmla="*/ 2910749 w 5452350"/>
              <a:gd name="connsiteY283" fmla="*/ 5241515 h 5664344"/>
              <a:gd name="connsiteX284" fmla="*/ 2908555 w 5452350"/>
              <a:gd name="connsiteY284" fmla="*/ 4710844 h 5664344"/>
              <a:gd name="connsiteX285" fmla="*/ 2882221 w 5452350"/>
              <a:gd name="connsiteY285" fmla="*/ 4710844 h 5664344"/>
              <a:gd name="connsiteX286" fmla="*/ 2858081 w 5452350"/>
              <a:gd name="connsiteY286" fmla="*/ 5104907 h 5664344"/>
              <a:gd name="connsiteX287" fmla="*/ 2855887 w 5452350"/>
              <a:gd name="connsiteY287" fmla="*/ 5104907 h 5664344"/>
              <a:gd name="connsiteX288" fmla="*/ 2855887 w 5452350"/>
              <a:gd name="connsiteY288" fmla="*/ 4978957 h 5664344"/>
              <a:gd name="connsiteX289" fmla="*/ 2849086 w 5452350"/>
              <a:gd name="connsiteY289" fmla="*/ 5103116 h 5664344"/>
              <a:gd name="connsiteX290" fmla="*/ 2842502 w 5452350"/>
              <a:gd name="connsiteY290" fmla="*/ 5076845 h 5664344"/>
              <a:gd name="connsiteX291" fmla="*/ 2833724 w 5452350"/>
              <a:gd name="connsiteY291" fmla="*/ 5076845 h 5664344"/>
              <a:gd name="connsiteX292" fmla="*/ 2827141 w 5452350"/>
              <a:gd name="connsiteY292" fmla="*/ 5160912 h 5664344"/>
              <a:gd name="connsiteX293" fmla="*/ 2820558 w 5452350"/>
              <a:gd name="connsiteY293" fmla="*/ 5145149 h 5664344"/>
              <a:gd name="connsiteX294" fmla="*/ 2820558 w 5452350"/>
              <a:gd name="connsiteY294" fmla="*/ 4582952 h 5664344"/>
              <a:gd name="connsiteX295" fmla="*/ 2809585 w 5452350"/>
              <a:gd name="connsiteY295" fmla="*/ 4544422 h 5664344"/>
              <a:gd name="connsiteX296" fmla="*/ 2805109 w 5452350"/>
              <a:gd name="connsiteY296" fmla="*/ 4535493 h 5664344"/>
              <a:gd name="connsiteX297" fmla="*/ 2799379 w 5452350"/>
              <a:gd name="connsiteY297" fmla="*/ 4608387 h 5664344"/>
              <a:gd name="connsiteX298" fmla="*/ 2719829 w 5452350"/>
              <a:gd name="connsiteY298" fmla="*/ 5290554 h 5664344"/>
              <a:gd name="connsiteX299" fmla="*/ 2682521 w 5452350"/>
              <a:gd name="connsiteY299" fmla="*/ 5250272 h 5664344"/>
              <a:gd name="connsiteX300" fmla="*/ 2682521 w 5452350"/>
              <a:gd name="connsiteY300" fmla="*/ 5309819 h 5664344"/>
              <a:gd name="connsiteX301" fmla="*/ 2675939 w 5452350"/>
              <a:gd name="connsiteY301" fmla="*/ 5309819 h 5664344"/>
              <a:gd name="connsiteX302" fmla="*/ 2662772 w 5452350"/>
              <a:gd name="connsiteY302" fmla="*/ 4885983 h 5664344"/>
              <a:gd name="connsiteX303" fmla="*/ 2654328 w 5452350"/>
              <a:gd name="connsiteY303" fmla="*/ 4915552 h 5664344"/>
              <a:gd name="connsiteX304" fmla="*/ 2653776 w 5452350"/>
              <a:gd name="connsiteY304" fmla="*/ 4984021 h 5664344"/>
              <a:gd name="connsiteX305" fmla="*/ 2651581 w 5452350"/>
              <a:gd name="connsiteY305" fmla="*/ 5043569 h 5664344"/>
              <a:gd name="connsiteX306" fmla="*/ 2642804 w 5452350"/>
              <a:gd name="connsiteY306" fmla="*/ 5003286 h 5664344"/>
              <a:gd name="connsiteX307" fmla="*/ 2638192 w 5452350"/>
              <a:gd name="connsiteY307" fmla="*/ 4976997 h 5664344"/>
              <a:gd name="connsiteX308" fmla="*/ 2630403 w 5452350"/>
              <a:gd name="connsiteY308" fmla="*/ 5053459 h 5664344"/>
              <a:gd name="connsiteX309" fmla="*/ 2621076 w 5452350"/>
              <a:gd name="connsiteY309" fmla="*/ 5222250 h 5664344"/>
              <a:gd name="connsiteX310" fmla="*/ 2621076 w 5452350"/>
              <a:gd name="connsiteY310" fmla="*/ 4852211 h 5664344"/>
              <a:gd name="connsiteX311" fmla="*/ 2618664 w 5452350"/>
              <a:gd name="connsiteY311" fmla="*/ 4828147 h 5664344"/>
              <a:gd name="connsiteX312" fmla="*/ 2621076 w 5452350"/>
              <a:gd name="connsiteY312" fmla="*/ 4779021 h 5664344"/>
              <a:gd name="connsiteX313" fmla="*/ 2621076 w 5452350"/>
              <a:gd name="connsiteY313" fmla="*/ 4539207 h 5664344"/>
              <a:gd name="connsiteX314" fmla="*/ 2605715 w 5452350"/>
              <a:gd name="connsiteY314" fmla="*/ 4537456 h 5664344"/>
              <a:gd name="connsiteX315" fmla="*/ 2603544 w 5452350"/>
              <a:gd name="connsiteY315" fmla="*/ 4553989 h 5664344"/>
              <a:gd name="connsiteX316" fmla="*/ 2598913 w 5452350"/>
              <a:gd name="connsiteY316" fmla="*/ 4616229 h 5664344"/>
              <a:gd name="connsiteX317" fmla="*/ 2595355 w 5452350"/>
              <a:gd name="connsiteY317" fmla="*/ 4616229 h 5664344"/>
              <a:gd name="connsiteX318" fmla="*/ 2583770 w 5452350"/>
              <a:gd name="connsiteY318" fmla="*/ 4698584 h 5664344"/>
              <a:gd name="connsiteX319" fmla="*/ 2583770 w 5452350"/>
              <a:gd name="connsiteY319" fmla="*/ 4597441 h 5664344"/>
              <a:gd name="connsiteX320" fmla="*/ 2583770 w 5452350"/>
              <a:gd name="connsiteY320" fmla="*/ 4517523 h 5664344"/>
              <a:gd name="connsiteX321" fmla="*/ 2582316 w 5452350"/>
              <a:gd name="connsiteY321" fmla="*/ 4504179 h 5664344"/>
              <a:gd name="connsiteX322" fmla="*/ 2572798 w 5452350"/>
              <a:gd name="connsiteY322" fmla="*/ 4504179 h 5664344"/>
              <a:gd name="connsiteX323" fmla="*/ 2558833 w 5452350"/>
              <a:gd name="connsiteY323" fmla="*/ 4759134 h 5664344"/>
              <a:gd name="connsiteX324" fmla="*/ 2561607 w 5452350"/>
              <a:gd name="connsiteY324" fmla="*/ 4917468 h 5664344"/>
              <a:gd name="connsiteX325" fmla="*/ 2548440 w 5452350"/>
              <a:gd name="connsiteY325" fmla="*/ 4957750 h 5664344"/>
              <a:gd name="connsiteX326" fmla="*/ 2547957 w 5452350"/>
              <a:gd name="connsiteY326" fmla="*/ 4957695 h 5664344"/>
              <a:gd name="connsiteX327" fmla="*/ 2537687 w 5452350"/>
              <a:gd name="connsiteY327" fmla="*/ 5145189 h 5664344"/>
              <a:gd name="connsiteX328" fmla="*/ 2531102 w 5452350"/>
              <a:gd name="connsiteY328" fmla="*/ 5118918 h 5664344"/>
              <a:gd name="connsiteX329" fmla="*/ 2522324 w 5452350"/>
              <a:gd name="connsiteY329" fmla="*/ 5118918 h 5664344"/>
              <a:gd name="connsiteX330" fmla="*/ 2515741 w 5452350"/>
              <a:gd name="connsiteY330" fmla="*/ 5202985 h 5664344"/>
              <a:gd name="connsiteX331" fmla="*/ 2509158 w 5452350"/>
              <a:gd name="connsiteY331" fmla="*/ 5187222 h 5664344"/>
              <a:gd name="connsiteX332" fmla="*/ 2509158 w 5452350"/>
              <a:gd name="connsiteY332" fmla="*/ 4625024 h 5664344"/>
              <a:gd name="connsiteX333" fmla="*/ 2498185 w 5452350"/>
              <a:gd name="connsiteY333" fmla="*/ 4586495 h 5664344"/>
              <a:gd name="connsiteX334" fmla="*/ 2480629 w 5452350"/>
              <a:gd name="connsiteY334" fmla="*/ 4551467 h 5664344"/>
              <a:gd name="connsiteX335" fmla="*/ 2445518 w 5452350"/>
              <a:gd name="connsiteY335" fmla="*/ 4868469 h 5664344"/>
              <a:gd name="connsiteX336" fmla="*/ 2445518 w 5452350"/>
              <a:gd name="connsiteY336" fmla="*/ 4463896 h 5664344"/>
              <a:gd name="connsiteX337" fmla="*/ 2423573 w 5452350"/>
              <a:gd name="connsiteY337" fmla="*/ 4463896 h 5664344"/>
              <a:gd name="connsiteX338" fmla="*/ 2401628 w 5452350"/>
              <a:gd name="connsiteY338" fmla="*/ 4719600 h 5664344"/>
              <a:gd name="connsiteX339" fmla="*/ 2401628 w 5452350"/>
              <a:gd name="connsiteY339" fmla="*/ 4977055 h 5664344"/>
              <a:gd name="connsiteX340" fmla="*/ 2384073 w 5452350"/>
              <a:gd name="connsiteY340" fmla="*/ 4977055 h 5664344"/>
              <a:gd name="connsiteX341" fmla="*/ 2384073 w 5452350"/>
              <a:gd name="connsiteY341" fmla="*/ 4234465 h 5664344"/>
              <a:gd name="connsiteX342" fmla="*/ 2366516 w 5452350"/>
              <a:gd name="connsiteY342" fmla="*/ 4234465 h 5664344"/>
              <a:gd name="connsiteX343" fmla="*/ 2366516 w 5452350"/>
              <a:gd name="connsiteY343" fmla="*/ 4332543 h 5664344"/>
              <a:gd name="connsiteX344" fmla="*/ 2359933 w 5452350"/>
              <a:gd name="connsiteY344" fmla="*/ 4582992 h 5664344"/>
              <a:gd name="connsiteX345" fmla="*/ 2342376 w 5452350"/>
              <a:gd name="connsiteY345" fmla="*/ 5026093 h 5664344"/>
              <a:gd name="connsiteX346" fmla="*/ 2340182 w 5452350"/>
              <a:gd name="connsiteY346" fmla="*/ 5085642 h 5664344"/>
              <a:gd name="connsiteX347" fmla="*/ 2331405 w 5452350"/>
              <a:gd name="connsiteY347" fmla="*/ 5045359 h 5664344"/>
              <a:gd name="connsiteX348" fmla="*/ 2307264 w 5452350"/>
              <a:gd name="connsiteY348" fmla="*/ 4870220 h 5664344"/>
              <a:gd name="connsiteX349" fmla="*/ 2324821 w 5452350"/>
              <a:gd name="connsiteY349" fmla="*/ 4546212 h 5664344"/>
              <a:gd name="connsiteX350" fmla="*/ 2320431 w 5452350"/>
              <a:gd name="connsiteY350" fmla="*/ 4434124 h 5664344"/>
              <a:gd name="connsiteX351" fmla="*/ 2305070 w 5452350"/>
              <a:gd name="connsiteY351" fmla="*/ 4418361 h 5664344"/>
              <a:gd name="connsiteX352" fmla="*/ 2287514 w 5452350"/>
              <a:gd name="connsiteY352" fmla="*/ 4658302 h 5664344"/>
              <a:gd name="connsiteX353" fmla="*/ 2283125 w 5452350"/>
              <a:gd name="connsiteY353" fmla="*/ 4658302 h 5664344"/>
              <a:gd name="connsiteX354" fmla="*/ 2269958 w 5452350"/>
              <a:gd name="connsiteY354" fmla="*/ 4537456 h 5664344"/>
              <a:gd name="connsiteX355" fmla="*/ 2254596 w 5452350"/>
              <a:gd name="connsiteY355" fmla="*/ 4537456 h 5664344"/>
              <a:gd name="connsiteX356" fmla="*/ 2245819 w 5452350"/>
              <a:gd name="connsiteY356" fmla="*/ 4709091 h 5664344"/>
              <a:gd name="connsiteX357" fmla="*/ 2250208 w 5452350"/>
              <a:gd name="connsiteY357" fmla="*/ 4959541 h 5664344"/>
              <a:gd name="connsiteX358" fmla="*/ 2237040 w 5452350"/>
              <a:gd name="connsiteY358" fmla="*/ 4999823 h 5664344"/>
              <a:gd name="connsiteX359" fmla="*/ 2221680 w 5452350"/>
              <a:gd name="connsiteY359" fmla="*/ 4998072 h 5664344"/>
              <a:gd name="connsiteX360" fmla="*/ 2221680 w 5452350"/>
              <a:gd name="connsiteY360" fmla="*/ 4610115 h 5664344"/>
              <a:gd name="connsiteX361" fmla="*/ 2220001 w 5452350"/>
              <a:gd name="connsiteY361" fmla="*/ 4617453 h 5664344"/>
              <a:gd name="connsiteX362" fmla="*/ 2211223 w 5452350"/>
              <a:gd name="connsiteY362" fmla="*/ 4871405 h 5664344"/>
              <a:gd name="connsiteX363" fmla="*/ 2210126 w 5452350"/>
              <a:gd name="connsiteY363" fmla="*/ 4606069 h 5664344"/>
              <a:gd name="connsiteX364" fmla="*/ 2212252 w 5452350"/>
              <a:gd name="connsiteY364" fmla="*/ 4526947 h 5664344"/>
              <a:gd name="connsiteX365" fmla="*/ 2208513 w 5452350"/>
              <a:gd name="connsiteY365" fmla="*/ 4526947 h 5664344"/>
              <a:gd name="connsiteX366" fmla="*/ 2208513 w 5452350"/>
              <a:gd name="connsiteY366" fmla="*/ 4600506 h 5664344"/>
              <a:gd name="connsiteX367" fmla="*/ 2201928 w 5452350"/>
              <a:gd name="connsiteY367" fmla="*/ 4600506 h 5664344"/>
              <a:gd name="connsiteX368" fmla="*/ 2201928 w 5452350"/>
              <a:gd name="connsiteY368" fmla="*/ 4469151 h 5664344"/>
              <a:gd name="connsiteX369" fmla="*/ 2206318 w 5452350"/>
              <a:gd name="connsiteY369" fmla="*/ 4469151 h 5664344"/>
              <a:gd name="connsiteX370" fmla="*/ 2212709 w 5452350"/>
              <a:gd name="connsiteY370" fmla="*/ 4509954 h 5664344"/>
              <a:gd name="connsiteX371" fmla="*/ 2213692 w 5452350"/>
              <a:gd name="connsiteY371" fmla="*/ 4473400 h 5664344"/>
              <a:gd name="connsiteX372" fmla="*/ 2209029 w 5452350"/>
              <a:gd name="connsiteY372" fmla="*/ 4340733 h 5664344"/>
              <a:gd name="connsiteX373" fmla="*/ 2182694 w 5452350"/>
              <a:gd name="connsiteY373" fmla="*/ 4340733 h 5664344"/>
              <a:gd name="connsiteX374" fmla="*/ 2158555 w 5452350"/>
              <a:gd name="connsiteY374" fmla="*/ 4734796 h 5664344"/>
              <a:gd name="connsiteX375" fmla="*/ 2156361 w 5452350"/>
              <a:gd name="connsiteY375" fmla="*/ 4734796 h 5664344"/>
              <a:gd name="connsiteX376" fmla="*/ 2156361 w 5452350"/>
              <a:gd name="connsiteY376" fmla="*/ 4580674 h 5664344"/>
              <a:gd name="connsiteX377" fmla="*/ 2154167 w 5452350"/>
              <a:gd name="connsiteY377" fmla="*/ 4342484 h 5664344"/>
              <a:gd name="connsiteX378" fmla="*/ 2147584 w 5452350"/>
              <a:gd name="connsiteY378" fmla="*/ 4055255 h 5664344"/>
              <a:gd name="connsiteX379" fmla="*/ 2151972 w 5452350"/>
              <a:gd name="connsiteY379" fmla="*/ 3817066 h 5664344"/>
              <a:gd name="connsiteX380" fmla="*/ 2149778 w 5452350"/>
              <a:gd name="connsiteY380" fmla="*/ 3580628 h 5664344"/>
              <a:gd name="connsiteX381" fmla="*/ 2143194 w 5452350"/>
              <a:gd name="connsiteY381" fmla="*/ 3561363 h 5664344"/>
              <a:gd name="connsiteX382" fmla="*/ 2020304 w 5452350"/>
              <a:gd name="connsiteY382" fmla="*/ 4920443 h 5664344"/>
              <a:gd name="connsiteX383" fmla="*/ 1982996 w 5452350"/>
              <a:gd name="connsiteY383" fmla="*/ 4880161 h 5664344"/>
              <a:gd name="connsiteX384" fmla="*/ 1982996 w 5452350"/>
              <a:gd name="connsiteY384" fmla="*/ 4939709 h 5664344"/>
              <a:gd name="connsiteX385" fmla="*/ 1976413 w 5452350"/>
              <a:gd name="connsiteY385" fmla="*/ 4939709 h 5664344"/>
              <a:gd name="connsiteX386" fmla="*/ 1963246 w 5452350"/>
              <a:gd name="connsiteY386" fmla="*/ 4515872 h 5664344"/>
              <a:gd name="connsiteX387" fmla="*/ 1921551 w 5452350"/>
              <a:gd name="connsiteY387" fmla="*/ 4852140 h 5664344"/>
              <a:gd name="connsiteX388" fmla="*/ 1921551 w 5452350"/>
              <a:gd name="connsiteY388" fmla="*/ 4169096 h 5664344"/>
              <a:gd name="connsiteX389" fmla="*/ 1906190 w 5452350"/>
              <a:gd name="connsiteY389" fmla="*/ 4167345 h 5664344"/>
              <a:gd name="connsiteX390" fmla="*/ 1884245 w 5452350"/>
              <a:gd name="connsiteY390" fmla="*/ 4328473 h 5664344"/>
              <a:gd name="connsiteX391" fmla="*/ 1884245 w 5452350"/>
              <a:gd name="connsiteY391" fmla="*/ 4134068 h 5664344"/>
              <a:gd name="connsiteX392" fmla="*/ 1873272 w 5452350"/>
              <a:gd name="connsiteY392" fmla="*/ 4134068 h 5664344"/>
              <a:gd name="connsiteX393" fmla="*/ 1838160 w 5452350"/>
              <a:gd name="connsiteY393" fmla="*/ 4775078 h 5664344"/>
              <a:gd name="connsiteX394" fmla="*/ 1831577 w 5452350"/>
              <a:gd name="connsiteY394" fmla="*/ 4748808 h 5664344"/>
              <a:gd name="connsiteX395" fmla="*/ 1822798 w 5452350"/>
              <a:gd name="connsiteY395" fmla="*/ 4748808 h 5664344"/>
              <a:gd name="connsiteX396" fmla="*/ 1816215 w 5452350"/>
              <a:gd name="connsiteY396" fmla="*/ 4832874 h 5664344"/>
              <a:gd name="connsiteX397" fmla="*/ 1809633 w 5452350"/>
              <a:gd name="connsiteY397" fmla="*/ 4817111 h 5664344"/>
              <a:gd name="connsiteX398" fmla="*/ 1809633 w 5452350"/>
              <a:gd name="connsiteY398" fmla="*/ 4254914 h 5664344"/>
              <a:gd name="connsiteX399" fmla="*/ 1798659 w 5452350"/>
              <a:gd name="connsiteY399" fmla="*/ 4216384 h 5664344"/>
              <a:gd name="connsiteX400" fmla="*/ 1781104 w 5452350"/>
              <a:gd name="connsiteY400" fmla="*/ 4181356 h 5664344"/>
              <a:gd name="connsiteX401" fmla="*/ 1745992 w 5452350"/>
              <a:gd name="connsiteY401" fmla="*/ 4498358 h 5664344"/>
              <a:gd name="connsiteX402" fmla="*/ 1745992 w 5452350"/>
              <a:gd name="connsiteY402" fmla="*/ 4093786 h 5664344"/>
              <a:gd name="connsiteX403" fmla="*/ 1724047 w 5452350"/>
              <a:gd name="connsiteY403" fmla="*/ 4093786 h 5664344"/>
              <a:gd name="connsiteX404" fmla="*/ 1702101 w 5452350"/>
              <a:gd name="connsiteY404" fmla="*/ 4349490 h 5664344"/>
              <a:gd name="connsiteX405" fmla="*/ 1702101 w 5452350"/>
              <a:gd name="connsiteY405" fmla="*/ 4606945 h 5664344"/>
              <a:gd name="connsiteX406" fmla="*/ 1684547 w 5452350"/>
              <a:gd name="connsiteY406" fmla="*/ 4606945 h 5664344"/>
              <a:gd name="connsiteX407" fmla="*/ 1684547 w 5452350"/>
              <a:gd name="connsiteY407" fmla="*/ 3864354 h 5664344"/>
              <a:gd name="connsiteX408" fmla="*/ 1666990 w 5452350"/>
              <a:gd name="connsiteY408" fmla="*/ 3864354 h 5664344"/>
              <a:gd name="connsiteX409" fmla="*/ 1666990 w 5452350"/>
              <a:gd name="connsiteY409" fmla="*/ 3962432 h 5664344"/>
              <a:gd name="connsiteX410" fmla="*/ 1660407 w 5452350"/>
              <a:gd name="connsiteY410" fmla="*/ 4212881 h 5664344"/>
              <a:gd name="connsiteX411" fmla="*/ 1643326 w 5452350"/>
              <a:gd name="connsiteY411" fmla="*/ 4316846 h 5664344"/>
              <a:gd name="connsiteX412" fmla="*/ 1643326 w 5452350"/>
              <a:gd name="connsiteY412" fmla="*/ 4343331 h 5664344"/>
              <a:gd name="connsiteX413" fmla="*/ 1641854 w 5452350"/>
              <a:gd name="connsiteY413" fmla="*/ 4343331 h 5664344"/>
              <a:gd name="connsiteX414" fmla="*/ 1640108 w 5452350"/>
              <a:gd name="connsiteY414" fmla="*/ 4434433 h 5664344"/>
              <a:gd name="connsiteX415" fmla="*/ 1642850 w 5452350"/>
              <a:gd name="connsiteY415" fmla="*/ 4655983 h 5664344"/>
              <a:gd name="connsiteX416" fmla="*/ 1640656 w 5452350"/>
              <a:gd name="connsiteY416" fmla="*/ 4715531 h 5664344"/>
              <a:gd name="connsiteX417" fmla="*/ 1631879 w 5452350"/>
              <a:gd name="connsiteY417" fmla="*/ 4675249 h 5664344"/>
              <a:gd name="connsiteX418" fmla="*/ 1607739 w 5452350"/>
              <a:gd name="connsiteY418" fmla="*/ 4500109 h 5664344"/>
              <a:gd name="connsiteX419" fmla="*/ 1625295 w 5452350"/>
              <a:gd name="connsiteY419" fmla="*/ 4176101 h 5664344"/>
              <a:gd name="connsiteX420" fmla="*/ 1620905 w 5452350"/>
              <a:gd name="connsiteY420" fmla="*/ 4064013 h 5664344"/>
              <a:gd name="connsiteX421" fmla="*/ 1605544 w 5452350"/>
              <a:gd name="connsiteY421" fmla="*/ 4048250 h 5664344"/>
              <a:gd name="connsiteX422" fmla="*/ 1587988 w 5452350"/>
              <a:gd name="connsiteY422" fmla="*/ 4288192 h 5664344"/>
              <a:gd name="connsiteX423" fmla="*/ 1583599 w 5452350"/>
              <a:gd name="connsiteY423" fmla="*/ 4288192 h 5664344"/>
              <a:gd name="connsiteX424" fmla="*/ 1574795 w 5452350"/>
              <a:gd name="connsiteY424" fmla="*/ 4207389 h 5664344"/>
              <a:gd name="connsiteX425" fmla="*/ 1570400 w 5452350"/>
              <a:gd name="connsiteY425" fmla="*/ 4355124 h 5664344"/>
              <a:gd name="connsiteX426" fmla="*/ 1557782 w 5452350"/>
              <a:gd name="connsiteY426" fmla="*/ 4668625 h 5664344"/>
              <a:gd name="connsiteX427" fmla="*/ 1544616 w 5452350"/>
              <a:gd name="connsiteY427" fmla="*/ 4975118 h 5664344"/>
              <a:gd name="connsiteX428" fmla="*/ 1520476 w 5452350"/>
              <a:gd name="connsiteY428" fmla="*/ 5081952 h 5664344"/>
              <a:gd name="connsiteX429" fmla="*/ 1511698 w 5452350"/>
              <a:gd name="connsiteY429" fmla="*/ 5335904 h 5664344"/>
              <a:gd name="connsiteX430" fmla="*/ 1509504 w 5452350"/>
              <a:gd name="connsiteY430" fmla="*/ 4805233 h 5664344"/>
              <a:gd name="connsiteX431" fmla="*/ 1483170 w 5452350"/>
              <a:gd name="connsiteY431" fmla="*/ 4805233 h 5664344"/>
              <a:gd name="connsiteX432" fmla="*/ 1459030 w 5452350"/>
              <a:gd name="connsiteY432" fmla="*/ 5199296 h 5664344"/>
              <a:gd name="connsiteX433" fmla="*/ 1456836 w 5452350"/>
              <a:gd name="connsiteY433" fmla="*/ 5199296 h 5664344"/>
              <a:gd name="connsiteX434" fmla="*/ 1456836 w 5452350"/>
              <a:gd name="connsiteY434" fmla="*/ 5045174 h 5664344"/>
              <a:gd name="connsiteX435" fmla="*/ 1454642 w 5452350"/>
              <a:gd name="connsiteY435" fmla="*/ 4806984 h 5664344"/>
              <a:gd name="connsiteX436" fmla="*/ 1448058 w 5452350"/>
              <a:gd name="connsiteY436" fmla="*/ 4519755 h 5664344"/>
              <a:gd name="connsiteX437" fmla="*/ 1452447 w 5452350"/>
              <a:gd name="connsiteY437" fmla="*/ 4281566 h 5664344"/>
              <a:gd name="connsiteX438" fmla="*/ 1450253 w 5452350"/>
              <a:gd name="connsiteY438" fmla="*/ 4045128 h 5664344"/>
              <a:gd name="connsiteX439" fmla="*/ 1443669 w 5452350"/>
              <a:gd name="connsiteY439" fmla="*/ 4025863 h 5664344"/>
              <a:gd name="connsiteX440" fmla="*/ 1320778 w 5452350"/>
              <a:gd name="connsiteY440" fmla="*/ 5384943 h 5664344"/>
              <a:gd name="connsiteX441" fmla="*/ 1283471 w 5452350"/>
              <a:gd name="connsiteY441" fmla="*/ 5344661 h 5664344"/>
              <a:gd name="connsiteX442" fmla="*/ 1283471 w 5452350"/>
              <a:gd name="connsiteY442" fmla="*/ 5404208 h 5664344"/>
              <a:gd name="connsiteX443" fmla="*/ 1276888 w 5452350"/>
              <a:gd name="connsiteY443" fmla="*/ 5404208 h 5664344"/>
              <a:gd name="connsiteX444" fmla="*/ 1263721 w 5452350"/>
              <a:gd name="connsiteY444" fmla="*/ 4980372 h 5664344"/>
              <a:gd name="connsiteX445" fmla="*/ 1222026 w 5452350"/>
              <a:gd name="connsiteY445" fmla="*/ 5316639 h 5664344"/>
              <a:gd name="connsiteX446" fmla="*/ 1222025 w 5452350"/>
              <a:gd name="connsiteY446" fmla="*/ 4633596 h 5664344"/>
              <a:gd name="connsiteX447" fmla="*/ 1206665 w 5452350"/>
              <a:gd name="connsiteY447" fmla="*/ 4631845 h 5664344"/>
              <a:gd name="connsiteX448" fmla="*/ 1184720 w 5452350"/>
              <a:gd name="connsiteY448" fmla="*/ 4792973 h 5664344"/>
              <a:gd name="connsiteX449" fmla="*/ 1184720 w 5452350"/>
              <a:gd name="connsiteY449" fmla="*/ 4598568 h 5664344"/>
              <a:gd name="connsiteX450" fmla="*/ 1173747 w 5452350"/>
              <a:gd name="connsiteY450" fmla="*/ 4598568 h 5664344"/>
              <a:gd name="connsiteX451" fmla="*/ 1138635 w 5452350"/>
              <a:gd name="connsiteY451" fmla="*/ 5239578 h 5664344"/>
              <a:gd name="connsiteX452" fmla="*/ 1132052 w 5452350"/>
              <a:gd name="connsiteY452" fmla="*/ 5213307 h 5664344"/>
              <a:gd name="connsiteX453" fmla="*/ 1123273 w 5452350"/>
              <a:gd name="connsiteY453" fmla="*/ 5213307 h 5664344"/>
              <a:gd name="connsiteX454" fmla="*/ 1116691 w 5452350"/>
              <a:gd name="connsiteY454" fmla="*/ 5297374 h 5664344"/>
              <a:gd name="connsiteX455" fmla="*/ 1110108 w 5452350"/>
              <a:gd name="connsiteY455" fmla="*/ 5281611 h 5664344"/>
              <a:gd name="connsiteX456" fmla="*/ 1110108 w 5452350"/>
              <a:gd name="connsiteY456" fmla="*/ 4719414 h 5664344"/>
              <a:gd name="connsiteX457" fmla="*/ 1099134 w 5452350"/>
              <a:gd name="connsiteY457" fmla="*/ 4680884 h 5664344"/>
              <a:gd name="connsiteX458" fmla="*/ 1081579 w 5452350"/>
              <a:gd name="connsiteY458" fmla="*/ 4645856 h 5664344"/>
              <a:gd name="connsiteX459" fmla="*/ 1046467 w 5452350"/>
              <a:gd name="connsiteY459" fmla="*/ 4962858 h 5664344"/>
              <a:gd name="connsiteX460" fmla="*/ 1046467 w 5452350"/>
              <a:gd name="connsiteY460" fmla="*/ 4558286 h 5664344"/>
              <a:gd name="connsiteX461" fmla="*/ 1024522 w 5452350"/>
              <a:gd name="connsiteY461" fmla="*/ 4558286 h 5664344"/>
              <a:gd name="connsiteX462" fmla="*/ 1002576 w 5452350"/>
              <a:gd name="connsiteY462" fmla="*/ 4813990 h 5664344"/>
              <a:gd name="connsiteX463" fmla="*/ 1002576 w 5452350"/>
              <a:gd name="connsiteY463" fmla="*/ 5071445 h 5664344"/>
              <a:gd name="connsiteX464" fmla="*/ 985022 w 5452350"/>
              <a:gd name="connsiteY464" fmla="*/ 5071445 h 5664344"/>
              <a:gd name="connsiteX465" fmla="*/ 985022 w 5452350"/>
              <a:gd name="connsiteY465" fmla="*/ 4328854 h 5664344"/>
              <a:gd name="connsiteX466" fmla="*/ 967466 w 5452350"/>
              <a:gd name="connsiteY466" fmla="*/ 4328854 h 5664344"/>
              <a:gd name="connsiteX467" fmla="*/ 967466 w 5452350"/>
              <a:gd name="connsiteY467" fmla="*/ 4426932 h 5664344"/>
              <a:gd name="connsiteX468" fmla="*/ 960882 w 5452350"/>
              <a:gd name="connsiteY468" fmla="*/ 4677381 h 5664344"/>
              <a:gd name="connsiteX469" fmla="*/ 943325 w 5452350"/>
              <a:gd name="connsiteY469" fmla="*/ 5120482 h 5664344"/>
              <a:gd name="connsiteX470" fmla="*/ 941131 w 5452350"/>
              <a:gd name="connsiteY470" fmla="*/ 5180031 h 5664344"/>
              <a:gd name="connsiteX471" fmla="*/ 932354 w 5452350"/>
              <a:gd name="connsiteY471" fmla="*/ 5139748 h 5664344"/>
              <a:gd name="connsiteX472" fmla="*/ 908214 w 5452350"/>
              <a:gd name="connsiteY472" fmla="*/ 4964609 h 5664344"/>
              <a:gd name="connsiteX473" fmla="*/ 925770 w 5452350"/>
              <a:gd name="connsiteY473" fmla="*/ 4640601 h 5664344"/>
              <a:gd name="connsiteX474" fmla="*/ 921380 w 5452350"/>
              <a:gd name="connsiteY474" fmla="*/ 4528513 h 5664344"/>
              <a:gd name="connsiteX475" fmla="*/ 906019 w 5452350"/>
              <a:gd name="connsiteY475" fmla="*/ 4512750 h 5664344"/>
              <a:gd name="connsiteX476" fmla="*/ 888463 w 5452350"/>
              <a:gd name="connsiteY476" fmla="*/ 4752691 h 5664344"/>
              <a:gd name="connsiteX477" fmla="*/ 884074 w 5452350"/>
              <a:gd name="connsiteY477" fmla="*/ 4752691 h 5664344"/>
              <a:gd name="connsiteX478" fmla="*/ 870908 w 5452350"/>
              <a:gd name="connsiteY478" fmla="*/ 4631845 h 5664344"/>
              <a:gd name="connsiteX479" fmla="*/ 870210 w 5452350"/>
              <a:gd name="connsiteY479" fmla="*/ 4631845 h 5664344"/>
              <a:gd name="connsiteX480" fmla="*/ 858259 w 5452350"/>
              <a:gd name="connsiteY480" fmla="*/ 4928760 h 5664344"/>
              <a:gd name="connsiteX481" fmla="*/ 845093 w 5452350"/>
              <a:gd name="connsiteY481" fmla="*/ 5235254 h 5664344"/>
              <a:gd name="connsiteX482" fmla="*/ 820953 w 5452350"/>
              <a:gd name="connsiteY482" fmla="*/ 5342088 h 5664344"/>
              <a:gd name="connsiteX483" fmla="*/ 812175 w 5452350"/>
              <a:gd name="connsiteY483" fmla="*/ 5596040 h 5664344"/>
              <a:gd name="connsiteX484" fmla="*/ 809981 w 5452350"/>
              <a:gd name="connsiteY484" fmla="*/ 5065369 h 5664344"/>
              <a:gd name="connsiteX485" fmla="*/ 783646 w 5452350"/>
              <a:gd name="connsiteY485" fmla="*/ 5065369 h 5664344"/>
              <a:gd name="connsiteX486" fmla="*/ 759507 w 5452350"/>
              <a:gd name="connsiteY486" fmla="*/ 5459432 h 5664344"/>
              <a:gd name="connsiteX487" fmla="*/ 757313 w 5452350"/>
              <a:gd name="connsiteY487" fmla="*/ 5459432 h 5664344"/>
              <a:gd name="connsiteX488" fmla="*/ 757313 w 5452350"/>
              <a:gd name="connsiteY488" fmla="*/ 5305309 h 5664344"/>
              <a:gd name="connsiteX489" fmla="*/ 755119 w 5452350"/>
              <a:gd name="connsiteY489" fmla="*/ 5067120 h 5664344"/>
              <a:gd name="connsiteX490" fmla="*/ 748535 w 5452350"/>
              <a:gd name="connsiteY490" fmla="*/ 4779891 h 5664344"/>
              <a:gd name="connsiteX491" fmla="*/ 752923 w 5452350"/>
              <a:gd name="connsiteY491" fmla="*/ 4541702 h 5664344"/>
              <a:gd name="connsiteX492" fmla="*/ 750729 w 5452350"/>
              <a:gd name="connsiteY492" fmla="*/ 4305264 h 5664344"/>
              <a:gd name="connsiteX493" fmla="*/ 744146 w 5452350"/>
              <a:gd name="connsiteY493" fmla="*/ 4285999 h 5664344"/>
              <a:gd name="connsiteX494" fmla="*/ 621255 w 5452350"/>
              <a:gd name="connsiteY494" fmla="*/ 5645078 h 5664344"/>
              <a:gd name="connsiteX495" fmla="*/ 583948 w 5452350"/>
              <a:gd name="connsiteY495" fmla="*/ 5604797 h 5664344"/>
              <a:gd name="connsiteX496" fmla="*/ 583948 w 5452350"/>
              <a:gd name="connsiteY496" fmla="*/ 5664344 h 5664344"/>
              <a:gd name="connsiteX497" fmla="*/ 577365 w 5452350"/>
              <a:gd name="connsiteY497" fmla="*/ 5664344 h 5664344"/>
              <a:gd name="connsiteX498" fmla="*/ 564198 w 5452350"/>
              <a:gd name="connsiteY498" fmla="*/ 5240507 h 5664344"/>
              <a:gd name="connsiteX499" fmla="*/ 522503 w 5452350"/>
              <a:gd name="connsiteY499" fmla="*/ 5576775 h 5664344"/>
              <a:gd name="connsiteX500" fmla="*/ 522502 w 5452350"/>
              <a:gd name="connsiteY500" fmla="*/ 4893732 h 5664344"/>
              <a:gd name="connsiteX501" fmla="*/ 507141 w 5452350"/>
              <a:gd name="connsiteY501" fmla="*/ 4891981 h 5664344"/>
              <a:gd name="connsiteX502" fmla="*/ 485197 w 5452350"/>
              <a:gd name="connsiteY502" fmla="*/ 5053109 h 5664344"/>
              <a:gd name="connsiteX503" fmla="*/ 485197 w 5452350"/>
              <a:gd name="connsiteY503" fmla="*/ 4858704 h 5664344"/>
              <a:gd name="connsiteX504" fmla="*/ 474224 w 5452350"/>
              <a:gd name="connsiteY504" fmla="*/ 4858704 h 5664344"/>
              <a:gd name="connsiteX505" fmla="*/ 439112 w 5452350"/>
              <a:gd name="connsiteY505" fmla="*/ 5499713 h 5664344"/>
              <a:gd name="connsiteX506" fmla="*/ 432529 w 5452350"/>
              <a:gd name="connsiteY506" fmla="*/ 5473443 h 5664344"/>
              <a:gd name="connsiteX507" fmla="*/ 423750 w 5452350"/>
              <a:gd name="connsiteY507" fmla="*/ 5473443 h 5664344"/>
              <a:gd name="connsiteX508" fmla="*/ 417167 w 5452350"/>
              <a:gd name="connsiteY508" fmla="*/ 5557510 h 5664344"/>
              <a:gd name="connsiteX509" fmla="*/ 410584 w 5452350"/>
              <a:gd name="connsiteY509" fmla="*/ 5541746 h 5664344"/>
              <a:gd name="connsiteX510" fmla="*/ 410584 w 5452350"/>
              <a:gd name="connsiteY510" fmla="*/ 4979550 h 5664344"/>
              <a:gd name="connsiteX511" fmla="*/ 399611 w 5452350"/>
              <a:gd name="connsiteY511" fmla="*/ 4941020 h 5664344"/>
              <a:gd name="connsiteX512" fmla="*/ 382056 w 5452350"/>
              <a:gd name="connsiteY512" fmla="*/ 4905991 h 5664344"/>
              <a:gd name="connsiteX513" fmla="*/ 346944 w 5452350"/>
              <a:gd name="connsiteY513" fmla="*/ 5222993 h 5664344"/>
              <a:gd name="connsiteX514" fmla="*/ 346944 w 5452350"/>
              <a:gd name="connsiteY514" fmla="*/ 4818422 h 5664344"/>
              <a:gd name="connsiteX515" fmla="*/ 324999 w 5452350"/>
              <a:gd name="connsiteY515" fmla="*/ 4818422 h 5664344"/>
              <a:gd name="connsiteX516" fmla="*/ 303054 w 5452350"/>
              <a:gd name="connsiteY516" fmla="*/ 5074125 h 5664344"/>
              <a:gd name="connsiteX517" fmla="*/ 303054 w 5452350"/>
              <a:gd name="connsiteY517" fmla="*/ 5331580 h 5664344"/>
              <a:gd name="connsiteX518" fmla="*/ 285499 w 5452350"/>
              <a:gd name="connsiteY518" fmla="*/ 5331580 h 5664344"/>
              <a:gd name="connsiteX519" fmla="*/ 285499 w 5452350"/>
              <a:gd name="connsiteY519" fmla="*/ 4588989 h 5664344"/>
              <a:gd name="connsiteX520" fmla="*/ 267942 w 5452350"/>
              <a:gd name="connsiteY520" fmla="*/ 4588989 h 5664344"/>
              <a:gd name="connsiteX521" fmla="*/ 267942 w 5452350"/>
              <a:gd name="connsiteY521" fmla="*/ 4687067 h 5664344"/>
              <a:gd name="connsiteX522" fmla="*/ 261359 w 5452350"/>
              <a:gd name="connsiteY522" fmla="*/ 4937516 h 5664344"/>
              <a:gd name="connsiteX523" fmla="*/ 243802 w 5452350"/>
              <a:gd name="connsiteY523" fmla="*/ 5380618 h 5664344"/>
              <a:gd name="connsiteX524" fmla="*/ 241608 w 5452350"/>
              <a:gd name="connsiteY524" fmla="*/ 5440166 h 5664344"/>
              <a:gd name="connsiteX525" fmla="*/ 232831 w 5452350"/>
              <a:gd name="connsiteY525" fmla="*/ 5399884 h 5664344"/>
              <a:gd name="connsiteX526" fmla="*/ 208691 w 5452350"/>
              <a:gd name="connsiteY526" fmla="*/ 5224744 h 5664344"/>
              <a:gd name="connsiteX527" fmla="*/ 226248 w 5452350"/>
              <a:gd name="connsiteY527" fmla="*/ 4900737 h 5664344"/>
              <a:gd name="connsiteX528" fmla="*/ 221857 w 5452350"/>
              <a:gd name="connsiteY528" fmla="*/ 4788648 h 5664344"/>
              <a:gd name="connsiteX529" fmla="*/ 206496 w 5452350"/>
              <a:gd name="connsiteY529" fmla="*/ 4772885 h 5664344"/>
              <a:gd name="connsiteX530" fmla="*/ 188940 w 5452350"/>
              <a:gd name="connsiteY530" fmla="*/ 5012827 h 5664344"/>
              <a:gd name="connsiteX531" fmla="*/ 184551 w 5452350"/>
              <a:gd name="connsiteY531" fmla="*/ 5012827 h 5664344"/>
              <a:gd name="connsiteX532" fmla="*/ 171385 w 5452350"/>
              <a:gd name="connsiteY532" fmla="*/ 4891981 h 5664344"/>
              <a:gd name="connsiteX533" fmla="*/ 156023 w 5452350"/>
              <a:gd name="connsiteY533" fmla="*/ 4891981 h 5664344"/>
              <a:gd name="connsiteX534" fmla="*/ 147245 w 5452350"/>
              <a:gd name="connsiteY534" fmla="*/ 5063616 h 5664344"/>
              <a:gd name="connsiteX535" fmla="*/ 151634 w 5452350"/>
              <a:gd name="connsiteY535" fmla="*/ 5314066 h 5664344"/>
              <a:gd name="connsiteX536" fmla="*/ 138466 w 5452350"/>
              <a:gd name="connsiteY536" fmla="*/ 5354348 h 5664344"/>
              <a:gd name="connsiteX537" fmla="*/ 123105 w 5452350"/>
              <a:gd name="connsiteY537" fmla="*/ 5352597 h 5664344"/>
              <a:gd name="connsiteX538" fmla="*/ 123105 w 5452350"/>
              <a:gd name="connsiteY538" fmla="*/ 4881471 h 5664344"/>
              <a:gd name="connsiteX539" fmla="*/ 109939 w 5452350"/>
              <a:gd name="connsiteY539" fmla="*/ 4881471 h 5664344"/>
              <a:gd name="connsiteX540" fmla="*/ 109939 w 5452350"/>
              <a:gd name="connsiteY540" fmla="*/ 4955031 h 5664344"/>
              <a:gd name="connsiteX541" fmla="*/ 103355 w 5452350"/>
              <a:gd name="connsiteY541" fmla="*/ 4955031 h 5664344"/>
              <a:gd name="connsiteX542" fmla="*/ 103355 w 5452350"/>
              <a:gd name="connsiteY542" fmla="*/ 4823675 h 5664344"/>
              <a:gd name="connsiteX543" fmla="*/ 107743 w 5452350"/>
              <a:gd name="connsiteY543" fmla="*/ 4823675 h 5664344"/>
              <a:gd name="connsiteX544" fmla="*/ 114328 w 5452350"/>
              <a:gd name="connsiteY544" fmla="*/ 4865710 h 5664344"/>
              <a:gd name="connsiteX545" fmla="*/ 120911 w 5452350"/>
              <a:gd name="connsiteY545" fmla="*/ 4865710 h 5664344"/>
              <a:gd name="connsiteX546" fmla="*/ 120911 w 5452350"/>
              <a:gd name="connsiteY546" fmla="*/ 4653791 h 5664344"/>
              <a:gd name="connsiteX547" fmla="*/ 118717 w 5452350"/>
              <a:gd name="connsiteY547" fmla="*/ 4653791 h 5664344"/>
              <a:gd name="connsiteX548" fmla="*/ 118717 w 5452350"/>
              <a:gd name="connsiteY548" fmla="*/ 4769383 h 5664344"/>
              <a:gd name="connsiteX549" fmla="*/ 116522 w 5452350"/>
              <a:gd name="connsiteY549" fmla="*/ 4769383 h 5664344"/>
              <a:gd name="connsiteX550" fmla="*/ 55077 w 5452350"/>
              <a:gd name="connsiteY550" fmla="*/ 3109064 h 5664344"/>
              <a:gd name="connsiteX551" fmla="*/ 39715 w 5452350"/>
              <a:gd name="connsiteY551" fmla="*/ 3109064 h 5664344"/>
              <a:gd name="connsiteX552" fmla="*/ 68243 w 5452350"/>
              <a:gd name="connsiteY552" fmla="*/ 3904195 h 5664344"/>
              <a:gd name="connsiteX553" fmla="*/ 59466 w 5452350"/>
              <a:gd name="connsiteY553" fmla="*/ 3904195 h 5664344"/>
              <a:gd name="connsiteX554" fmla="*/ 57271 w 5452350"/>
              <a:gd name="connsiteY554" fmla="*/ 3870919 h 5664344"/>
              <a:gd name="connsiteX555" fmla="*/ 30937 w 5452350"/>
              <a:gd name="connsiteY555" fmla="*/ 3140588 h 5664344"/>
              <a:gd name="connsiteX556" fmla="*/ 13381 w 5452350"/>
              <a:gd name="connsiteY556" fmla="*/ 2282406 h 5664344"/>
              <a:gd name="connsiteX557" fmla="*/ 22160 w 5452350"/>
              <a:gd name="connsiteY557" fmla="*/ 2137042 h 5664344"/>
              <a:gd name="connsiteX558" fmla="*/ 215 w 5452350"/>
              <a:gd name="connsiteY558" fmla="*/ 1637895 h 5664344"/>
              <a:gd name="connsiteX559" fmla="*/ 15575 w 5452350"/>
              <a:gd name="connsiteY559" fmla="*/ 1457501 h 5664344"/>
              <a:gd name="connsiteX560" fmla="*/ 17771 w 5452350"/>
              <a:gd name="connsiteY560" fmla="*/ 1207051 h 5664344"/>
              <a:gd name="connsiteX561" fmla="*/ 24354 w 5452350"/>
              <a:gd name="connsiteY561" fmla="*/ 1159764 h 5664344"/>
              <a:gd name="connsiteX562" fmla="*/ 63854 w 5452350"/>
              <a:gd name="connsiteY562" fmla="*/ 1485523 h 5664344"/>
              <a:gd name="connsiteX563" fmla="*/ 74827 w 5452350"/>
              <a:gd name="connsiteY563" fmla="*/ 1485523 h 5664344"/>
              <a:gd name="connsiteX564" fmla="*/ 74827 w 5452350"/>
              <a:gd name="connsiteY564" fmla="*/ 1378688 h 5664344"/>
              <a:gd name="connsiteX565" fmla="*/ 81411 w 5452350"/>
              <a:gd name="connsiteY565" fmla="*/ 1376937 h 5664344"/>
              <a:gd name="connsiteX566" fmla="*/ 81411 w 5452350"/>
              <a:gd name="connsiteY566" fmla="*/ 1441738 h 5664344"/>
              <a:gd name="connsiteX567" fmla="*/ 90189 w 5452350"/>
              <a:gd name="connsiteY567" fmla="*/ 1441738 h 5664344"/>
              <a:gd name="connsiteX568" fmla="*/ 109939 w 5452350"/>
              <a:gd name="connsiteY568" fmla="*/ 1312135 h 5664344"/>
              <a:gd name="connsiteX569" fmla="*/ 149440 w 5452350"/>
              <a:gd name="connsiteY569" fmla="*/ 1208802 h 5664344"/>
              <a:gd name="connsiteX570" fmla="*/ 206496 w 5452350"/>
              <a:gd name="connsiteY570" fmla="*/ 1194792 h 5664344"/>
              <a:gd name="connsiteX571" fmla="*/ 210885 w 5452350"/>
              <a:gd name="connsiteY571" fmla="*/ 1194792 h 5664344"/>
              <a:gd name="connsiteX572" fmla="*/ 353528 w 5452350"/>
              <a:gd name="connsiteY572" fmla="*/ 1133494 h 5664344"/>
              <a:gd name="connsiteX573" fmla="*/ 386444 w 5452350"/>
              <a:gd name="connsiteY573" fmla="*/ 1364677 h 5664344"/>
              <a:gd name="connsiteX574" fmla="*/ 399611 w 5452350"/>
              <a:gd name="connsiteY574" fmla="*/ 1362925 h 5664344"/>
              <a:gd name="connsiteX575" fmla="*/ 399611 w 5452350"/>
              <a:gd name="connsiteY575" fmla="*/ 1121233 h 5664344"/>
              <a:gd name="connsiteX576" fmla="*/ 404000 w 5452350"/>
              <a:gd name="connsiteY576" fmla="*/ 1121233 h 5664344"/>
              <a:gd name="connsiteX577" fmla="*/ 432529 w 5452350"/>
              <a:gd name="connsiteY577" fmla="*/ 1320892 h 5664344"/>
              <a:gd name="connsiteX578" fmla="*/ 443502 w 5452350"/>
              <a:gd name="connsiteY578" fmla="*/ 1319141 h 5664344"/>
              <a:gd name="connsiteX579" fmla="*/ 432529 w 5452350"/>
              <a:gd name="connsiteY579" fmla="*/ 1229820 h 5664344"/>
              <a:gd name="connsiteX580" fmla="*/ 445696 w 5452350"/>
              <a:gd name="connsiteY580" fmla="*/ 1151007 h 5664344"/>
              <a:gd name="connsiteX581" fmla="*/ 480808 w 5452350"/>
              <a:gd name="connsiteY581" fmla="*/ 1461004 h 5664344"/>
              <a:gd name="connsiteX582" fmla="*/ 493974 w 5452350"/>
              <a:gd name="connsiteY582" fmla="*/ 1461004 h 5664344"/>
              <a:gd name="connsiteX583" fmla="*/ 504947 w 5452350"/>
              <a:gd name="connsiteY583" fmla="*/ 1396202 h 5664344"/>
              <a:gd name="connsiteX584" fmla="*/ 507141 w 5452350"/>
              <a:gd name="connsiteY584" fmla="*/ 1238577 h 5664344"/>
              <a:gd name="connsiteX585" fmla="*/ 524697 w 5452350"/>
              <a:gd name="connsiteY585" fmla="*/ 1184283 h 5664344"/>
              <a:gd name="connsiteX586" fmla="*/ 553225 w 5452350"/>
              <a:gd name="connsiteY586" fmla="*/ 1306880 h 5664344"/>
              <a:gd name="connsiteX587" fmla="*/ 579559 w 5452350"/>
              <a:gd name="connsiteY587" fmla="*/ 1271853 h 5664344"/>
              <a:gd name="connsiteX588" fmla="*/ 601504 w 5452350"/>
              <a:gd name="connsiteY588" fmla="*/ 1322643 h 5664344"/>
              <a:gd name="connsiteX589" fmla="*/ 621256 w 5452350"/>
              <a:gd name="connsiteY589" fmla="*/ 1466257 h 5664344"/>
              <a:gd name="connsiteX590" fmla="*/ 634422 w 5452350"/>
              <a:gd name="connsiteY590" fmla="*/ 1468008 h 5664344"/>
              <a:gd name="connsiteX591" fmla="*/ 647588 w 5452350"/>
              <a:gd name="connsiteY591" fmla="*/ 1308633 h 5664344"/>
              <a:gd name="connsiteX592" fmla="*/ 656366 w 5452350"/>
              <a:gd name="connsiteY592" fmla="*/ 1306880 h 5664344"/>
              <a:gd name="connsiteX593" fmla="*/ 656366 w 5452350"/>
              <a:gd name="connsiteY593" fmla="*/ 1424225 h 5664344"/>
              <a:gd name="connsiteX594" fmla="*/ 685477 w 5452350"/>
              <a:gd name="connsiteY594" fmla="*/ 1406437 h 5664344"/>
              <a:gd name="connsiteX595" fmla="*/ 700185 w 5452350"/>
              <a:gd name="connsiteY595" fmla="*/ 1388744 h 5664344"/>
              <a:gd name="connsiteX596" fmla="*/ 699738 w 5452350"/>
              <a:gd name="connsiteY596" fmla="*/ 1377759 h 5664344"/>
              <a:gd name="connsiteX597" fmla="*/ 702253 w 5452350"/>
              <a:gd name="connsiteY597" fmla="*/ 1340163 h 5664344"/>
              <a:gd name="connsiteX598" fmla="*/ 698885 w 5452350"/>
              <a:gd name="connsiteY598" fmla="*/ 1310384 h 5664344"/>
              <a:gd name="connsiteX599" fmla="*/ 700256 w 5452350"/>
              <a:gd name="connsiteY599" fmla="*/ 1278859 h 5664344"/>
              <a:gd name="connsiteX600" fmla="*/ 700256 w 5452350"/>
              <a:gd name="connsiteY600" fmla="*/ 1215808 h 5664344"/>
              <a:gd name="connsiteX601" fmla="*/ 715922 w 5452350"/>
              <a:gd name="connsiteY601" fmla="*/ 1159545 h 5664344"/>
              <a:gd name="connsiteX602" fmla="*/ 717842 w 5452350"/>
              <a:gd name="connsiteY602" fmla="*/ 1071484 h 5664344"/>
              <a:gd name="connsiteX603" fmla="*/ 717294 w 5452350"/>
              <a:gd name="connsiteY603" fmla="*/ 946915 h 5664344"/>
              <a:gd name="connsiteX604" fmla="*/ 723877 w 5452350"/>
              <a:gd name="connsiteY604" fmla="*/ 899628 h 5664344"/>
              <a:gd name="connsiteX605" fmla="*/ 759809 w 5452350"/>
              <a:gd name="connsiteY605" fmla="*/ 1195949 h 5664344"/>
              <a:gd name="connsiteX606" fmla="*/ 763896 w 5452350"/>
              <a:gd name="connsiteY606" fmla="*/ 1172024 h 5664344"/>
              <a:gd name="connsiteX607" fmla="*/ 772675 w 5452350"/>
              <a:gd name="connsiteY607" fmla="*/ 1172024 h 5664344"/>
              <a:gd name="connsiteX608" fmla="*/ 774350 w 5452350"/>
              <a:gd name="connsiteY608" fmla="*/ 1189402 h 5664344"/>
              <a:gd name="connsiteX609" fmla="*/ 774350 w 5452350"/>
              <a:gd name="connsiteY609" fmla="*/ 1118552 h 5664344"/>
              <a:gd name="connsiteX610" fmla="*/ 780934 w 5452350"/>
              <a:gd name="connsiteY610" fmla="*/ 1116801 h 5664344"/>
              <a:gd name="connsiteX611" fmla="*/ 780934 w 5452350"/>
              <a:gd name="connsiteY611" fmla="*/ 1181602 h 5664344"/>
              <a:gd name="connsiteX612" fmla="*/ 789712 w 5452350"/>
              <a:gd name="connsiteY612" fmla="*/ 1181602 h 5664344"/>
              <a:gd name="connsiteX613" fmla="*/ 809462 w 5452350"/>
              <a:gd name="connsiteY613" fmla="*/ 1051999 h 5664344"/>
              <a:gd name="connsiteX614" fmla="*/ 848963 w 5452350"/>
              <a:gd name="connsiteY614" fmla="*/ 948666 h 5664344"/>
              <a:gd name="connsiteX615" fmla="*/ 906019 w 5452350"/>
              <a:gd name="connsiteY615" fmla="*/ 934656 h 5664344"/>
              <a:gd name="connsiteX616" fmla="*/ 910409 w 5452350"/>
              <a:gd name="connsiteY616" fmla="*/ 934656 h 5664344"/>
              <a:gd name="connsiteX617" fmla="*/ 1053051 w 5452350"/>
              <a:gd name="connsiteY617" fmla="*/ 873358 h 5664344"/>
              <a:gd name="connsiteX618" fmla="*/ 1085967 w 5452350"/>
              <a:gd name="connsiteY618" fmla="*/ 1104541 h 5664344"/>
              <a:gd name="connsiteX619" fmla="*/ 1099134 w 5452350"/>
              <a:gd name="connsiteY619" fmla="*/ 1102789 h 5664344"/>
              <a:gd name="connsiteX620" fmla="*/ 1099134 w 5452350"/>
              <a:gd name="connsiteY620" fmla="*/ 861097 h 5664344"/>
              <a:gd name="connsiteX621" fmla="*/ 1103523 w 5452350"/>
              <a:gd name="connsiteY621" fmla="*/ 861097 h 5664344"/>
              <a:gd name="connsiteX622" fmla="*/ 1132052 w 5452350"/>
              <a:gd name="connsiteY622" fmla="*/ 1060756 h 5664344"/>
              <a:gd name="connsiteX623" fmla="*/ 1143025 w 5452350"/>
              <a:gd name="connsiteY623" fmla="*/ 1059005 h 5664344"/>
              <a:gd name="connsiteX624" fmla="*/ 1132052 w 5452350"/>
              <a:gd name="connsiteY624" fmla="*/ 969684 h 5664344"/>
              <a:gd name="connsiteX625" fmla="*/ 1145219 w 5452350"/>
              <a:gd name="connsiteY625" fmla="*/ 890871 h 5664344"/>
              <a:gd name="connsiteX626" fmla="*/ 1180331 w 5452350"/>
              <a:gd name="connsiteY626" fmla="*/ 1200868 h 5664344"/>
              <a:gd name="connsiteX627" fmla="*/ 1193497 w 5452350"/>
              <a:gd name="connsiteY627" fmla="*/ 1200868 h 5664344"/>
              <a:gd name="connsiteX628" fmla="*/ 1204470 w 5452350"/>
              <a:gd name="connsiteY628" fmla="*/ 1136066 h 5664344"/>
              <a:gd name="connsiteX629" fmla="*/ 1206665 w 5452350"/>
              <a:gd name="connsiteY629" fmla="*/ 978441 h 5664344"/>
              <a:gd name="connsiteX630" fmla="*/ 1224220 w 5452350"/>
              <a:gd name="connsiteY630" fmla="*/ 924147 h 5664344"/>
              <a:gd name="connsiteX631" fmla="*/ 1252748 w 5452350"/>
              <a:gd name="connsiteY631" fmla="*/ 1046744 h 5664344"/>
              <a:gd name="connsiteX632" fmla="*/ 1279082 w 5452350"/>
              <a:gd name="connsiteY632" fmla="*/ 1011717 h 5664344"/>
              <a:gd name="connsiteX633" fmla="*/ 1301027 w 5452350"/>
              <a:gd name="connsiteY633" fmla="*/ 1062507 h 5664344"/>
              <a:gd name="connsiteX634" fmla="*/ 1320779 w 5452350"/>
              <a:gd name="connsiteY634" fmla="*/ 1206121 h 5664344"/>
              <a:gd name="connsiteX635" fmla="*/ 1333945 w 5452350"/>
              <a:gd name="connsiteY635" fmla="*/ 1207872 h 5664344"/>
              <a:gd name="connsiteX636" fmla="*/ 1347111 w 5452350"/>
              <a:gd name="connsiteY636" fmla="*/ 1048497 h 5664344"/>
              <a:gd name="connsiteX637" fmla="*/ 1355890 w 5452350"/>
              <a:gd name="connsiteY637" fmla="*/ 1046744 h 5664344"/>
              <a:gd name="connsiteX638" fmla="*/ 1355890 w 5452350"/>
              <a:gd name="connsiteY638" fmla="*/ 1164089 h 5664344"/>
              <a:gd name="connsiteX639" fmla="*/ 1401974 w 5452350"/>
              <a:gd name="connsiteY639" fmla="*/ 1081773 h 5664344"/>
              <a:gd name="connsiteX640" fmla="*/ 1399779 w 5452350"/>
              <a:gd name="connsiteY640" fmla="*/ 1018723 h 5664344"/>
              <a:gd name="connsiteX641" fmla="*/ 1399779 w 5452350"/>
              <a:gd name="connsiteY641" fmla="*/ 955672 h 5664344"/>
              <a:gd name="connsiteX642" fmla="*/ 1400834 w 5452350"/>
              <a:gd name="connsiteY642" fmla="*/ 951886 h 5664344"/>
              <a:gd name="connsiteX643" fmla="*/ 1399263 w 5452350"/>
              <a:gd name="connsiteY643" fmla="*/ 913259 h 5664344"/>
              <a:gd name="connsiteX644" fmla="*/ 1414623 w 5452350"/>
              <a:gd name="connsiteY644" fmla="*/ 732865 h 5664344"/>
              <a:gd name="connsiteX645" fmla="*/ 1416819 w 5452350"/>
              <a:gd name="connsiteY645" fmla="*/ 482416 h 5664344"/>
              <a:gd name="connsiteX646" fmla="*/ 1423402 w 5452350"/>
              <a:gd name="connsiteY646" fmla="*/ 435129 h 5664344"/>
              <a:gd name="connsiteX647" fmla="*/ 1462902 w 5452350"/>
              <a:gd name="connsiteY647" fmla="*/ 760887 h 5664344"/>
              <a:gd name="connsiteX648" fmla="*/ 1473875 w 5452350"/>
              <a:gd name="connsiteY648" fmla="*/ 760887 h 5664344"/>
              <a:gd name="connsiteX649" fmla="*/ 1473875 w 5452350"/>
              <a:gd name="connsiteY649" fmla="*/ 654053 h 5664344"/>
              <a:gd name="connsiteX650" fmla="*/ 1480459 w 5452350"/>
              <a:gd name="connsiteY650" fmla="*/ 652301 h 5664344"/>
              <a:gd name="connsiteX651" fmla="*/ 1480459 w 5452350"/>
              <a:gd name="connsiteY651" fmla="*/ 717102 h 5664344"/>
              <a:gd name="connsiteX652" fmla="*/ 1489237 w 5452350"/>
              <a:gd name="connsiteY652" fmla="*/ 717102 h 5664344"/>
              <a:gd name="connsiteX653" fmla="*/ 1508987 w 5452350"/>
              <a:gd name="connsiteY653" fmla="*/ 587499 h 5664344"/>
              <a:gd name="connsiteX654" fmla="*/ 1548488 w 5452350"/>
              <a:gd name="connsiteY654" fmla="*/ 484167 h 5664344"/>
              <a:gd name="connsiteX655" fmla="*/ 1605544 w 5452350"/>
              <a:gd name="connsiteY655" fmla="*/ 470156 h 5664344"/>
              <a:gd name="connsiteX656" fmla="*/ 1609934 w 5452350"/>
              <a:gd name="connsiteY656" fmla="*/ 470156 h 5664344"/>
              <a:gd name="connsiteX657" fmla="*/ 1752576 w 5452350"/>
              <a:gd name="connsiteY657" fmla="*/ 408858 h 5664344"/>
              <a:gd name="connsiteX658" fmla="*/ 1785492 w 5452350"/>
              <a:gd name="connsiteY658" fmla="*/ 640041 h 5664344"/>
              <a:gd name="connsiteX659" fmla="*/ 1798659 w 5452350"/>
              <a:gd name="connsiteY659" fmla="*/ 638290 h 5664344"/>
              <a:gd name="connsiteX660" fmla="*/ 1798659 w 5452350"/>
              <a:gd name="connsiteY660" fmla="*/ 396598 h 5664344"/>
              <a:gd name="connsiteX661" fmla="*/ 1803048 w 5452350"/>
              <a:gd name="connsiteY661" fmla="*/ 396598 h 5664344"/>
              <a:gd name="connsiteX662" fmla="*/ 1831577 w 5452350"/>
              <a:gd name="connsiteY662" fmla="*/ 596257 h 5664344"/>
              <a:gd name="connsiteX663" fmla="*/ 1842550 w 5452350"/>
              <a:gd name="connsiteY663" fmla="*/ 594505 h 5664344"/>
              <a:gd name="connsiteX664" fmla="*/ 1831577 w 5452350"/>
              <a:gd name="connsiteY664" fmla="*/ 505184 h 5664344"/>
              <a:gd name="connsiteX665" fmla="*/ 1844744 w 5452350"/>
              <a:gd name="connsiteY665" fmla="*/ 426371 h 5664344"/>
              <a:gd name="connsiteX666" fmla="*/ 1879856 w 5452350"/>
              <a:gd name="connsiteY666" fmla="*/ 736368 h 5664344"/>
              <a:gd name="connsiteX667" fmla="*/ 1893022 w 5452350"/>
              <a:gd name="connsiteY667" fmla="*/ 736368 h 5664344"/>
              <a:gd name="connsiteX668" fmla="*/ 1903995 w 5452350"/>
              <a:gd name="connsiteY668" fmla="*/ 671566 h 5664344"/>
              <a:gd name="connsiteX669" fmla="*/ 1906190 w 5452350"/>
              <a:gd name="connsiteY669" fmla="*/ 513941 h 5664344"/>
              <a:gd name="connsiteX670" fmla="*/ 1923745 w 5452350"/>
              <a:gd name="connsiteY670" fmla="*/ 459647 h 5664344"/>
              <a:gd name="connsiteX671" fmla="*/ 1952273 w 5452350"/>
              <a:gd name="connsiteY671" fmla="*/ 582245 h 5664344"/>
              <a:gd name="connsiteX672" fmla="*/ 1978607 w 5452350"/>
              <a:gd name="connsiteY672" fmla="*/ 547217 h 5664344"/>
              <a:gd name="connsiteX673" fmla="*/ 2000552 w 5452350"/>
              <a:gd name="connsiteY673" fmla="*/ 598008 h 5664344"/>
              <a:gd name="connsiteX674" fmla="*/ 2020304 w 5452350"/>
              <a:gd name="connsiteY674" fmla="*/ 741622 h 5664344"/>
              <a:gd name="connsiteX675" fmla="*/ 2033470 w 5452350"/>
              <a:gd name="connsiteY675" fmla="*/ 743373 h 5664344"/>
              <a:gd name="connsiteX676" fmla="*/ 2046636 w 5452350"/>
              <a:gd name="connsiteY676" fmla="*/ 583997 h 5664344"/>
              <a:gd name="connsiteX677" fmla="*/ 2055415 w 5452350"/>
              <a:gd name="connsiteY677" fmla="*/ 582245 h 5664344"/>
              <a:gd name="connsiteX678" fmla="*/ 2055415 w 5452350"/>
              <a:gd name="connsiteY678" fmla="*/ 699589 h 5664344"/>
              <a:gd name="connsiteX679" fmla="*/ 2101499 w 5452350"/>
              <a:gd name="connsiteY679" fmla="*/ 617274 h 5664344"/>
              <a:gd name="connsiteX680" fmla="*/ 2099304 w 5452350"/>
              <a:gd name="connsiteY680" fmla="*/ 554223 h 5664344"/>
              <a:gd name="connsiteX681" fmla="*/ 2099304 w 5452350"/>
              <a:gd name="connsiteY681" fmla="*/ 491172 h 5664344"/>
              <a:gd name="connsiteX682" fmla="*/ 2116861 w 5452350"/>
              <a:gd name="connsiteY682" fmla="*/ 428123 h 5664344"/>
              <a:gd name="connsiteX683" fmla="*/ 2156361 w 5452350"/>
              <a:gd name="connsiteY683" fmla="*/ 485919 h 5664344"/>
              <a:gd name="connsiteX684" fmla="*/ 2162944 w 5452350"/>
              <a:gd name="connsiteY684" fmla="*/ 447388 h 5664344"/>
              <a:gd name="connsiteX685" fmla="*/ 2171723 w 5452350"/>
              <a:gd name="connsiteY685" fmla="*/ 447388 h 5664344"/>
              <a:gd name="connsiteX686" fmla="*/ 2184889 w 5452350"/>
              <a:gd name="connsiteY686" fmla="*/ 583997 h 5664344"/>
              <a:gd name="connsiteX687" fmla="*/ 2209029 w 5452350"/>
              <a:gd name="connsiteY687" fmla="*/ 825688 h 5664344"/>
              <a:gd name="connsiteX688" fmla="*/ 2219178 w 5452350"/>
              <a:gd name="connsiteY688" fmla="*/ 894431 h 5664344"/>
              <a:gd name="connsiteX689" fmla="*/ 2219896 w 5452350"/>
              <a:gd name="connsiteY689" fmla="*/ 896334 h 5664344"/>
              <a:gd name="connsiteX690" fmla="*/ 2228263 w 5452350"/>
              <a:gd name="connsiteY690" fmla="*/ 877812 h 5664344"/>
              <a:gd name="connsiteX691" fmla="*/ 2248013 w 5452350"/>
              <a:gd name="connsiteY691" fmla="*/ 854277 h 5664344"/>
              <a:gd name="connsiteX692" fmla="*/ 2305070 w 5452350"/>
              <a:gd name="connsiteY692" fmla="*/ 840267 h 5664344"/>
              <a:gd name="connsiteX693" fmla="*/ 2309459 w 5452350"/>
              <a:gd name="connsiteY693" fmla="*/ 840267 h 5664344"/>
              <a:gd name="connsiteX694" fmla="*/ 2430856 w 5452350"/>
              <a:gd name="connsiteY694" fmla="*/ 788098 h 5664344"/>
              <a:gd name="connsiteX695" fmla="*/ 2434327 w 5452350"/>
              <a:gd name="connsiteY695" fmla="*/ 763167 h 5664344"/>
              <a:gd name="connsiteX696" fmla="*/ 2437029 w 5452350"/>
              <a:gd name="connsiteY696" fmla="*/ 785446 h 5664344"/>
              <a:gd name="connsiteX697" fmla="*/ 2452101 w 5452350"/>
              <a:gd name="connsiteY697" fmla="*/ 778969 h 5664344"/>
              <a:gd name="connsiteX698" fmla="*/ 2465063 w 5452350"/>
              <a:gd name="connsiteY698" fmla="*/ 952602 h 5664344"/>
              <a:gd name="connsiteX699" fmla="*/ 2484800 w 5452350"/>
              <a:gd name="connsiteY699" fmla="*/ 1009520 h 5664344"/>
              <a:gd name="connsiteX700" fmla="*/ 2484800 w 5452350"/>
              <a:gd name="connsiteY700" fmla="*/ 982091 h 5664344"/>
              <a:gd name="connsiteX701" fmla="*/ 2491384 w 5452350"/>
              <a:gd name="connsiteY701" fmla="*/ 980339 h 5664344"/>
              <a:gd name="connsiteX702" fmla="*/ 2491384 w 5452350"/>
              <a:gd name="connsiteY702" fmla="*/ 1009305 h 5664344"/>
              <a:gd name="connsiteX703" fmla="*/ 2498185 w 5452350"/>
              <a:gd name="connsiteY703" fmla="*/ 1008400 h 5664344"/>
              <a:gd name="connsiteX704" fmla="*/ 2498185 w 5452350"/>
              <a:gd name="connsiteY704" fmla="*/ 766708 h 5664344"/>
              <a:gd name="connsiteX705" fmla="*/ 2502573 w 5452350"/>
              <a:gd name="connsiteY705" fmla="*/ 766708 h 5664344"/>
              <a:gd name="connsiteX706" fmla="*/ 2521934 w 5452350"/>
              <a:gd name="connsiteY706" fmla="*/ 902202 h 5664344"/>
              <a:gd name="connsiteX707" fmla="*/ 2528142 w 5452350"/>
              <a:gd name="connsiteY707" fmla="*/ 861245 h 5664344"/>
              <a:gd name="connsiteX708" fmla="*/ 2528281 w 5452350"/>
              <a:gd name="connsiteY708" fmla="*/ 860937 h 5664344"/>
              <a:gd name="connsiteX709" fmla="*/ 2526988 w 5452350"/>
              <a:gd name="connsiteY709" fmla="*/ 854360 h 5664344"/>
              <a:gd name="connsiteX710" fmla="*/ 2544270 w 5452350"/>
              <a:gd name="connsiteY710" fmla="*/ 796482 h 5664344"/>
              <a:gd name="connsiteX711" fmla="*/ 2547639 w 5452350"/>
              <a:gd name="connsiteY711" fmla="*/ 826234 h 5664344"/>
              <a:gd name="connsiteX712" fmla="*/ 2559413 w 5452350"/>
              <a:gd name="connsiteY712" fmla="*/ 812205 h 5664344"/>
              <a:gd name="connsiteX713" fmla="*/ 2616470 w 5452350"/>
              <a:gd name="connsiteY713" fmla="*/ 798194 h 5664344"/>
              <a:gd name="connsiteX714" fmla="*/ 2620858 w 5452350"/>
              <a:gd name="connsiteY714" fmla="*/ 798194 h 5664344"/>
              <a:gd name="connsiteX715" fmla="*/ 2763501 w 5452350"/>
              <a:gd name="connsiteY715" fmla="*/ 736896 h 5664344"/>
              <a:gd name="connsiteX716" fmla="*/ 2796418 w 5452350"/>
              <a:gd name="connsiteY716" fmla="*/ 968079 h 5664344"/>
              <a:gd name="connsiteX717" fmla="*/ 2798805 w 5452350"/>
              <a:gd name="connsiteY717" fmla="*/ 967762 h 5664344"/>
              <a:gd name="connsiteX718" fmla="*/ 2797458 w 5452350"/>
              <a:gd name="connsiteY718" fmla="*/ 955859 h 5664344"/>
              <a:gd name="connsiteX719" fmla="*/ 2798830 w 5452350"/>
              <a:gd name="connsiteY719" fmla="*/ 924333 h 5664344"/>
              <a:gd name="connsiteX720" fmla="*/ 2798830 w 5452350"/>
              <a:gd name="connsiteY720" fmla="*/ 861283 h 5664344"/>
              <a:gd name="connsiteX721" fmla="*/ 2809585 w 5452350"/>
              <a:gd name="connsiteY721" fmla="*/ 822661 h 5664344"/>
              <a:gd name="connsiteX722" fmla="*/ 2809585 w 5452350"/>
              <a:gd name="connsiteY722" fmla="*/ 724636 h 5664344"/>
              <a:gd name="connsiteX723" fmla="*/ 2813973 w 5452350"/>
              <a:gd name="connsiteY723" fmla="*/ 724636 h 5664344"/>
              <a:gd name="connsiteX724" fmla="*/ 2831597 w 5452350"/>
              <a:gd name="connsiteY724" fmla="*/ 847972 h 5664344"/>
              <a:gd name="connsiteX725" fmla="*/ 2844854 w 5452350"/>
              <a:gd name="connsiteY725" fmla="*/ 852370 h 5664344"/>
              <a:gd name="connsiteX726" fmla="*/ 2842502 w 5452350"/>
              <a:gd name="connsiteY726" fmla="*/ 833222 h 5664344"/>
              <a:gd name="connsiteX727" fmla="*/ 2855669 w 5452350"/>
              <a:gd name="connsiteY727" fmla="*/ 754409 h 5664344"/>
              <a:gd name="connsiteX728" fmla="*/ 2862815 w 5452350"/>
              <a:gd name="connsiteY728" fmla="*/ 817499 h 5664344"/>
              <a:gd name="connsiteX729" fmla="*/ 2871249 w 5452350"/>
              <a:gd name="connsiteY729" fmla="*/ 817499 h 5664344"/>
              <a:gd name="connsiteX730" fmla="*/ 2884415 w 5452350"/>
              <a:gd name="connsiteY730" fmla="*/ 954108 h 5664344"/>
              <a:gd name="connsiteX731" fmla="*/ 2896933 w 5452350"/>
              <a:gd name="connsiteY731" fmla="*/ 1064406 h 5664344"/>
              <a:gd name="connsiteX732" fmla="*/ 2903947 w 5452350"/>
              <a:gd name="connsiteY732" fmla="*/ 1064406 h 5664344"/>
              <a:gd name="connsiteX733" fmla="*/ 2914921 w 5452350"/>
              <a:gd name="connsiteY733" fmla="*/ 999604 h 5664344"/>
              <a:gd name="connsiteX734" fmla="*/ 2917115 w 5452350"/>
              <a:gd name="connsiteY734" fmla="*/ 841979 h 5664344"/>
              <a:gd name="connsiteX735" fmla="*/ 2934670 w 5452350"/>
              <a:gd name="connsiteY735" fmla="*/ 787685 h 5664344"/>
              <a:gd name="connsiteX736" fmla="*/ 2963198 w 5452350"/>
              <a:gd name="connsiteY736" fmla="*/ 910283 h 5664344"/>
              <a:gd name="connsiteX737" fmla="*/ 2989533 w 5452350"/>
              <a:gd name="connsiteY737" fmla="*/ 875255 h 5664344"/>
              <a:gd name="connsiteX738" fmla="*/ 3011477 w 5452350"/>
              <a:gd name="connsiteY738" fmla="*/ 926046 h 5664344"/>
              <a:gd name="connsiteX739" fmla="*/ 3031229 w 5452350"/>
              <a:gd name="connsiteY739" fmla="*/ 1069660 h 5664344"/>
              <a:gd name="connsiteX740" fmla="*/ 3044395 w 5452350"/>
              <a:gd name="connsiteY740" fmla="*/ 1071411 h 5664344"/>
              <a:gd name="connsiteX741" fmla="*/ 3057562 w 5452350"/>
              <a:gd name="connsiteY741" fmla="*/ 912035 h 5664344"/>
              <a:gd name="connsiteX742" fmla="*/ 3066340 w 5452350"/>
              <a:gd name="connsiteY742" fmla="*/ 910283 h 5664344"/>
              <a:gd name="connsiteX743" fmla="*/ 3066340 w 5452350"/>
              <a:gd name="connsiteY743" fmla="*/ 1027627 h 5664344"/>
              <a:gd name="connsiteX744" fmla="*/ 3095451 w 5452350"/>
              <a:gd name="connsiteY744" fmla="*/ 1009839 h 5664344"/>
              <a:gd name="connsiteX745" fmla="*/ 3110158 w 5452350"/>
              <a:gd name="connsiteY745" fmla="*/ 992146 h 5664344"/>
              <a:gd name="connsiteX746" fmla="*/ 3109711 w 5452350"/>
              <a:gd name="connsiteY746" fmla="*/ 981161 h 5664344"/>
              <a:gd name="connsiteX747" fmla="*/ 3112227 w 5452350"/>
              <a:gd name="connsiteY747" fmla="*/ 943565 h 5664344"/>
              <a:gd name="connsiteX748" fmla="*/ 3108858 w 5452350"/>
              <a:gd name="connsiteY748" fmla="*/ 913786 h 5664344"/>
              <a:gd name="connsiteX749" fmla="*/ 3110230 w 5452350"/>
              <a:gd name="connsiteY749" fmla="*/ 882261 h 5664344"/>
              <a:gd name="connsiteX750" fmla="*/ 3110230 w 5452350"/>
              <a:gd name="connsiteY750" fmla="*/ 819210 h 5664344"/>
              <a:gd name="connsiteX751" fmla="*/ 3125896 w 5452350"/>
              <a:gd name="connsiteY751" fmla="*/ 762948 h 5664344"/>
              <a:gd name="connsiteX752" fmla="*/ 3127815 w 5452350"/>
              <a:gd name="connsiteY752" fmla="*/ 674886 h 5664344"/>
              <a:gd name="connsiteX753" fmla="*/ 3127267 w 5452350"/>
              <a:gd name="connsiteY753" fmla="*/ 550318 h 5664344"/>
              <a:gd name="connsiteX754" fmla="*/ 3133851 w 5452350"/>
              <a:gd name="connsiteY754" fmla="*/ 503031 h 5664344"/>
              <a:gd name="connsiteX755" fmla="*/ 3169782 w 5452350"/>
              <a:gd name="connsiteY755" fmla="*/ 799352 h 5664344"/>
              <a:gd name="connsiteX756" fmla="*/ 3173869 w 5452350"/>
              <a:gd name="connsiteY756" fmla="*/ 775426 h 5664344"/>
              <a:gd name="connsiteX757" fmla="*/ 3182648 w 5452350"/>
              <a:gd name="connsiteY757" fmla="*/ 775426 h 5664344"/>
              <a:gd name="connsiteX758" fmla="*/ 3184323 w 5452350"/>
              <a:gd name="connsiteY758" fmla="*/ 792804 h 5664344"/>
              <a:gd name="connsiteX759" fmla="*/ 3184323 w 5452350"/>
              <a:gd name="connsiteY759" fmla="*/ 721955 h 5664344"/>
              <a:gd name="connsiteX760" fmla="*/ 3190907 w 5452350"/>
              <a:gd name="connsiteY760" fmla="*/ 720203 h 5664344"/>
              <a:gd name="connsiteX761" fmla="*/ 3190907 w 5452350"/>
              <a:gd name="connsiteY761" fmla="*/ 785004 h 5664344"/>
              <a:gd name="connsiteX762" fmla="*/ 3199685 w 5452350"/>
              <a:gd name="connsiteY762" fmla="*/ 785004 h 5664344"/>
              <a:gd name="connsiteX763" fmla="*/ 3219436 w 5452350"/>
              <a:gd name="connsiteY763" fmla="*/ 655401 h 5664344"/>
              <a:gd name="connsiteX764" fmla="*/ 3258936 w 5452350"/>
              <a:gd name="connsiteY764" fmla="*/ 552069 h 5664344"/>
              <a:gd name="connsiteX765" fmla="*/ 3315993 w 5452350"/>
              <a:gd name="connsiteY765" fmla="*/ 538058 h 5664344"/>
              <a:gd name="connsiteX766" fmla="*/ 3320382 w 5452350"/>
              <a:gd name="connsiteY766" fmla="*/ 538058 h 5664344"/>
              <a:gd name="connsiteX767" fmla="*/ 3463024 w 5452350"/>
              <a:gd name="connsiteY767" fmla="*/ 476760 h 5664344"/>
              <a:gd name="connsiteX768" fmla="*/ 3495941 w 5452350"/>
              <a:gd name="connsiteY768" fmla="*/ 707943 h 5664344"/>
              <a:gd name="connsiteX769" fmla="*/ 3509108 w 5452350"/>
              <a:gd name="connsiteY769" fmla="*/ 706192 h 5664344"/>
              <a:gd name="connsiteX770" fmla="*/ 3509108 w 5452350"/>
              <a:gd name="connsiteY770" fmla="*/ 464500 h 5664344"/>
              <a:gd name="connsiteX771" fmla="*/ 3513496 w 5452350"/>
              <a:gd name="connsiteY771" fmla="*/ 464500 h 5664344"/>
              <a:gd name="connsiteX772" fmla="*/ 3542025 w 5452350"/>
              <a:gd name="connsiteY772" fmla="*/ 664159 h 5664344"/>
              <a:gd name="connsiteX773" fmla="*/ 3552999 w 5452350"/>
              <a:gd name="connsiteY773" fmla="*/ 662407 h 5664344"/>
              <a:gd name="connsiteX774" fmla="*/ 3542025 w 5452350"/>
              <a:gd name="connsiteY774" fmla="*/ 573086 h 5664344"/>
              <a:gd name="connsiteX775" fmla="*/ 3555193 w 5452350"/>
              <a:gd name="connsiteY775" fmla="*/ 494273 h 5664344"/>
              <a:gd name="connsiteX776" fmla="*/ 3590305 w 5452350"/>
              <a:gd name="connsiteY776" fmla="*/ 804270 h 5664344"/>
              <a:gd name="connsiteX777" fmla="*/ 3603470 w 5452350"/>
              <a:gd name="connsiteY777" fmla="*/ 804270 h 5664344"/>
              <a:gd name="connsiteX778" fmla="*/ 3614444 w 5452350"/>
              <a:gd name="connsiteY778" fmla="*/ 739468 h 5664344"/>
              <a:gd name="connsiteX779" fmla="*/ 3616638 w 5452350"/>
              <a:gd name="connsiteY779" fmla="*/ 581843 h 5664344"/>
              <a:gd name="connsiteX780" fmla="*/ 3634193 w 5452350"/>
              <a:gd name="connsiteY780" fmla="*/ 527549 h 5664344"/>
              <a:gd name="connsiteX781" fmla="*/ 3662721 w 5452350"/>
              <a:gd name="connsiteY781" fmla="*/ 650147 h 5664344"/>
              <a:gd name="connsiteX782" fmla="*/ 3689056 w 5452350"/>
              <a:gd name="connsiteY782" fmla="*/ 615119 h 5664344"/>
              <a:gd name="connsiteX783" fmla="*/ 3711001 w 5452350"/>
              <a:gd name="connsiteY783" fmla="*/ 665910 h 5664344"/>
              <a:gd name="connsiteX784" fmla="*/ 3730752 w 5452350"/>
              <a:gd name="connsiteY784" fmla="*/ 809524 h 5664344"/>
              <a:gd name="connsiteX785" fmla="*/ 3743918 w 5452350"/>
              <a:gd name="connsiteY785" fmla="*/ 811275 h 5664344"/>
              <a:gd name="connsiteX786" fmla="*/ 3757085 w 5452350"/>
              <a:gd name="connsiteY786" fmla="*/ 651899 h 5664344"/>
              <a:gd name="connsiteX787" fmla="*/ 3765863 w 5452350"/>
              <a:gd name="connsiteY787" fmla="*/ 650147 h 5664344"/>
              <a:gd name="connsiteX788" fmla="*/ 3765863 w 5452350"/>
              <a:gd name="connsiteY788" fmla="*/ 767491 h 5664344"/>
              <a:gd name="connsiteX789" fmla="*/ 3811947 w 5452350"/>
              <a:gd name="connsiteY789" fmla="*/ 685176 h 5664344"/>
              <a:gd name="connsiteX790" fmla="*/ 3809753 w 5452350"/>
              <a:gd name="connsiteY790" fmla="*/ 622125 h 5664344"/>
              <a:gd name="connsiteX791" fmla="*/ 3809753 w 5452350"/>
              <a:gd name="connsiteY791" fmla="*/ 559074 h 5664344"/>
              <a:gd name="connsiteX792" fmla="*/ 3810807 w 5452350"/>
              <a:gd name="connsiteY792" fmla="*/ 555288 h 5664344"/>
              <a:gd name="connsiteX793" fmla="*/ 3809236 w 5452350"/>
              <a:gd name="connsiteY793" fmla="*/ 516661 h 5664344"/>
              <a:gd name="connsiteX794" fmla="*/ 3824596 w 5452350"/>
              <a:gd name="connsiteY794" fmla="*/ 336267 h 5664344"/>
              <a:gd name="connsiteX795" fmla="*/ 3826793 w 5452350"/>
              <a:gd name="connsiteY795" fmla="*/ 85818 h 5664344"/>
              <a:gd name="connsiteX796" fmla="*/ 3833375 w 5452350"/>
              <a:gd name="connsiteY796" fmla="*/ 38531 h 5664344"/>
              <a:gd name="connsiteX797" fmla="*/ 3872876 w 5452350"/>
              <a:gd name="connsiteY797" fmla="*/ 364290 h 5664344"/>
              <a:gd name="connsiteX798" fmla="*/ 3883848 w 5452350"/>
              <a:gd name="connsiteY798" fmla="*/ 364290 h 5664344"/>
              <a:gd name="connsiteX799" fmla="*/ 3883848 w 5452350"/>
              <a:gd name="connsiteY799" fmla="*/ 257455 h 5664344"/>
              <a:gd name="connsiteX800" fmla="*/ 3890432 w 5452350"/>
              <a:gd name="connsiteY800" fmla="*/ 255703 h 5664344"/>
              <a:gd name="connsiteX801" fmla="*/ 3890432 w 5452350"/>
              <a:gd name="connsiteY801" fmla="*/ 320504 h 5664344"/>
              <a:gd name="connsiteX802" fmla="*/ 3899210 w 5452350"/>
              <a:gd name="connsiteY802" fmla="*/ 320504 h 5664344"/>
              <a:gd name="connsiteX803" fmla="*/ 3918961 w 5452350"/>
              <a:gd name="connsiteY803" fmla="*/ 190902 h 5664344"/>
              <a:gd name="connsiteX804" fmla="*/ 3958461 w 5452350"/>
              <a:gd name="connsiteY804" fmla="*/ 87569 h 5664344"/>
              <a:gd name="connsiteX805" fmla="*/ 4015518 w 5452350"/>
              <a:gd name="connsiteY805" fmla="*/ 73559 h 5664344"/>
              <a:gd name="connsiteX806" fmla="*/ 4019907 w 5452350"/>
              <a:gd name="connsiteY806" fmla="*/ 73559 h 5664344"/>
              <a:gd name="connsiteX807" fmla="*/ 4162549 w 5452350"/>
              <a:gd name="connsiteY807" fmla="*/ 12260 h 5664344"/>
              <a:gd name="connsiteX808" fmla="*/ 4195466 w 5452350"/>
              <a:gd name="connsiteY808" fmla="*/ 243443 h 5664344"/>
              <a:gd name="connsiteX809" fmla="*/ 4208633 w 5452350"/>
              <a:gd name="connsiteY809" fmla="*/ 241692 h 5664344"/>
              <a:gd name="connsiteX810" fmla="*/ 4208633 w 5452350"/>
              <a:gd name="connsiteY810" fmla="*/ 0 h 5664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5452350" h="5664344">
                <a:moveTo>
                  <a:pt x="5448247" y="3505266"/>
                </a:moveTo>
                <a:cubicBezTo>
                  <a:pt x="5450299" y="3505266"/>
                  <a:pt x="5452350" y="3505266"/>
                  <a:pt x="5452350" y="3505266"/>
                </a:cubicBezTo>
                <a:cubicBezTo>
                  <a:pt x="5452350" y="3620959"/>
                  <a:pt x="5452350" y="3736652"/>
                  <a:pt x="5452350" y="3852344"/>
                </a:cubicBezTo>
                <a:cubicBezTo>
                  <a:pt x="5452350" y="3852344"/>
                  <a:pt x="5450299" y="3852344"/>
                  <a:pt x="5448247" y="3852344"/>
                </a:cubicBezTo>
                <a:cubicBezTo>
                  <a:pt x="5448247" y="3736652"/>
                  <a:pt x="5448247" y="3620959"/>
                  <a:pt x="5448247" y="3505266"/>
                </a:cubicBezTo>
                <a:close/>
                <a:moveTo>
                  <a:pt x="5397455" y="1105195"/>
                </a:moveTo>
                <a:cubicBezTo>
                  <a:pt x="5406159" y="1105195"/>
                  <a:pt x="5414863" y="1105195"/>
                  <a:pt x="5421391" y="1105195"/>
                </a:cubicBezTo>
                <a:cubicBezTo>
                  <a:pt x="5425742" y="1495853"/>
                  <a:pt x="5427919" y="1886511"/>
                  <a:pt x="5434447" y="2277169"/>
                </a:cubicBezTo>
                <a:cubicBezTo>
                  <a:pt x="5443150" y="2669579"/>
                  <a:pt x="5460557" y="3061990"/>
                  <a:pt x="5438799" y="3456152"/>
                </a:cubicBezTo>
                <a:cubicBezTo>
                  <a:pt x="5423567" y="2671331"/>
                  <a:pt x="5388751" y="1888263"/>
                  <a:pt x="5397455" y="1105195"/>
                </a:cubicBezTo>
                <a:close/>
                <a:moveTo>
                  <a:pt x="4208633" y="0"/>
                </a:moveTo>
                <a:cubicBezTo>
                  <a:pt x="4210827" y="0"/>
                  <a:pt x="4213021" y="0"/>
                  <a:pt x="4213021" y="0"/>
                </a:cubicBezTo>
                <a:cubicBezTo>
                  <a:pt x="4221801" y="66553"/>
                  <a:pt x="4232772" y="133106"/>
                  <a:pt x="4241550" y="199659"/>
                </a:cubicBezTo>
                <a:cubicBezTo>
                  <a:pt x="4245939" y="197907"/>
                  <a:pt x="4248134" y="197907"/>
                  <a:pt x="4252523" y="197907"/>
                </a:cubicBezTo>
                <a:cubicBezTo>
                  <a:pt x="4250329" y="168134"/>
                  <a:pt x="4245939" y="138360"/>
                  <a:pt x="4241550" y="108587"/>
                </a:cubicBezTo>
                <a:cubicBezTo>
                  <a:pt x="4239355" y="80564"/>
                  <a:pt x="4217411" y="52542"/>
                  <a:pt x="4254717" y="29774"/>
                </a:cubicBezTo>
                <a:cubicBezTo>
                  <a:pt x="4265689" y="134857"/>
                  <a:pt x="4278857" y="236438"/>
                  <a:pt x="4289829" y="339770"/>
                </a:cubicBezTo>
                <a:cubicBezTo>
                  <a:pt x="4294218" y="339770"/>
                  <a:pt x="4298607" y="339770"/>
                  <a:pt x="4302995" y="339770"/>
                </a:cubicBezTo>
                <a:cubicBezTo>
                  <a:pt x="4307385" y="318753"/>
                  <a:pt x="4313969" y="297737"/>
                  <a:pt x="4313969" y="274968"/>
                </a:cubicBezTo>
                <a:cubicBezTo>
                  <a:pt x="4316163" y="222427"/>
                  <a:pt x="4313969" y="169885"/>
                  <a:pt x="4316163" y="117343"/>
                </a:cubicBezTo>
                <a:cubicBezTo>
                  <a:pt x="4316163" y="99829"/>
                  <a:pt x="4322746" y="80564"/>
                  <a:pt x="4333719" y="63049"/>
                </a:cubicBezTo>
                <a:cubicBezTo>
                  <a:pt x="4342497" y="101580"/>
                  <a:pt x="4351275" y="140111"/>
                  <a:pt x="4362246" y="185647"/>
                </a:cubicBezTo>
                <a:cubicBezTo>
                  <a:pt x="4371025" y="173388"/>
                  <a:pt x="4377608" y="166382"/>
                  <a:pt x="4388581" y="150620"/>
                </a:cubicBezTo>
                <a:cubicBezTo>
                  <a:pt x="4397359" y="171637"/>
                  <a:pt x="4406137" y="185647"/>
                  <a:pt x="4410525" y="201410"/>
                </a:cubicBezTo>
                <a:cubicBezTo>
                  <a:pt x="4417109" y="248698"/>
                  <a:pt x="4423693" y="297737"/>
                  <a:pt x="4430277" y="345024"/>
                </a:cubicBezTo>
                <a:cubicBezTo>
                  <a:pt x="4434665" y="345024"/>
                  <a:pt x="4439055" y="346775"/>
                  <a:pt x="4443443" y="346775"/>
                </a:cubicBezTo>
                <a:cubicBezTo>
                  <a:pt x="4447831" y="292483"/>
                  <a:pt x="4452220" y="239941"/>
                  <a:pt x="4456610" y="187400"/>
                </a:cubicBezTo>
                <a:cubicBezTo>
                  <a:pt x="4458805" y="185647"/>
                  <a:pt x="4463193" y="185647"/>
                  <a:pt x="4465388" y="185647"/>
                </a:cubicBezTo>
                <a:cubicBezTo>
                  <a:pt x="4465388" y="222427"/>
                  <a:pt x="4465388" y="260957"/>
                  <a:pt x="4465388" y="302992"/>
                </a:cubicBezTo>
                <a:cubicBezTo>
                  <a:pt x="4513667" y="280223"/>
                  <a:pt x="4522445" y="253952"/>
                  <a:pt x="4511472" y="220676"/>
                </a:cubicBezTo>
                <a:cubicBezTo>
                  <a:pt x="4504888" y="199659"/>
                  <a:pt x="4509278" y="178641"/>
                  <a:pt x="4509278" y="157625"/>
                </a:cubicBezTo>
                <a:cubicBezTo>
                  <a:pt x="4509278" y="136609"/>
                  <a:pt x="4507083" y="115592"/>
                  <a:pt x="4509278" y="94575"/>
                </a:cubicBezTo>
                <a:cubicBezTo>
                  <a:pt x="4511472" y="73559"/>
                  <a:pt x="4518056" y="52542"/>
                  <a:pt x="4526834" y="31525"/>
                </a:cubicBezTo>
                <a:cubicBezTo>
                  <a:pt x="4537805" y="52542"/>
                  <a:pt x="4518056" y="84067"/>
                  <a:pt x="4566335" y="89322"/>
                </a:cubicBezTo>
                <a:cubicBezTo>
                  <a:pt x="4568529" y="77061"/>
                  <a:pt x="4570723" y="63049"/>
                  <a:pt x="4572917" y="50791"/>
                </a:cubicBezTo>
                <a:cubicBezTo>
                  <a:pt x="4575111" y="50791"/>
                  <a:pt x="4579502" y="50791"/>
                  <a:pt x="4581697" y="50791"/>
                </a:cubicBezTo>
                <a:cubicBezTo>
                  <a:pt x="4586085" y="96327"/>
                  <a:pt x="4590473" y="141863"/>
                  <a:pt x="4594863" y="187400"/>
                </a:cubicBezTo>
                <a:cubicBezTo>
                  <a:pt x="4603641" y="267963"/>
                  <a:pt x="4614614" y="348528"/>
                  <a:pt x="4619003" y="429091"/>
                </a:cubicBezTo>
                <a:cubicBezTo>
                  <a:pt x="4620099" y="452735"/>
                  <a:pt x="4623391" y="475503"/>
                  <a:pt x="4629151" y="497833"/>
                </a:cubicBezTo>
                <a:lnTo>
                  <a:pt x="4629870" y="499736"/>
                </a:lnTo>
                <a:lnTo>
                  <a:pt x="4638237" y="481214"/>
                </a:lnTo>
                <a:cubicBezTo>
                  <a:pt x="4643311" y="473004"/>
                  <a:pt x="4649758" y="465123"/>
                  <a:pt x="4657987" y="457680"/>
                </a:cubicBezTo>
                <a:cubicBezTo>
                  <a:pt x="4673348" y="443669"/>
                  <a:pt x="4682127" y="413896"/>
                  <a:pt x="4715043" y="443669"/>
                </a:cubicBezTo>
                <a:cubicBezTo>
                  <a:pt x="4715043" y="443669"/>
                  <a:pt x="4717238" y="443669"/>
                  <a:pt x="4719433" y="443669"/>
                </a:cubicBezTo>
                <a:cubicBezTo>
                  <a:pt x="4765517" y="422652"/>
                  <a:pt x="4813796" y="401636"/>
                  <a:pt x="4862075" y="382371"/>
                </a:cubicBezTo>
                <a:cubicBezTo>
                  <a:pt x="4842323" y="461183"/>
                  <a:pt x="4866464" y="536493"/>
                  <a:pt x="4894993" y="613554"/>
                </a:cubicBezTo>
                <a:cubicBezTo>
                  <a:pt x="4899381" y="613554"/>
                  <a:pt x="4903770" y="613554"/>
                  <a:pt x="4908159" y="611803"/>
                </a:cubicBezTo>
                <a:cubicBezTo>
                  <a:pt x="4908159" y="531239"/>
                  <a:pt x="4908159" y="450675"/>
                  <a:pt x="4908159" y="370111"/>
                </a:cubicBezTo>
                <a:cubicBezTo>
                  <a:pt x="4910353" y="370111"/>
                  <a:pt x="4912547" y="370111"/>
                  <a:pt x="4912547" y="370111"/>
                </a:cubicBezTo>
                <a:cubicBezTo>
                  <a:pt x="4921326" y="436663"/>
                  <a:pt x="4932297" y="503216"/>
                  <a:pt x="4941076" y="569770"/>
                </a:cubicBezTo>
                <a:cubicBezTo>
                  <a:pt x="4945465" y="568018"/>
                  <a:pt x="4947661" y="568018"/>
                  <a:pt x="4952049" y="568018"/>
                </a:cubicBezTo>
                <a:cubicBezTo>
                  <a:pt x="4949855" y="538244"/>
                  <a:pt x="4945465" y="508471"/>
                  <a:pt x="4941076" y="478697"/>
                </a:cubicBezTo>
                <a:cubicBezTo>
                  <a:pt x="4938881" y="450675"/>
                  <a:pt x="4916937" y="422652"/>
                  <a:pt x="4954243" y="399884"/>
                </a:cubicBezTo>
                <a:cubicBezTo>
                  <a:pt x="4965215" y="504968"/>
                  <a:pt x="4978383" y="606548"/>
                  <a:pt x="4989355" y="709881"/>
                </a:cubicBezTo>
                <a:cubicBezTo>
                  <a:pt x="4993744" y="709881"/>
                  <a:pt x="4998133" y="709881"/>
                  <a:pt x="5002521" y="709881"/>
                </a:cubicBezTo>
                <a:cubicBezTo>
                  <a:pt x="5006911" y="688864"/>
                  <a:pt x="5013495" y="667848"/>
                  <a:pt x="5013495" y="645079"/>
                </a:cubicBezTo>
                <a:cubicBezTo>
                  <a:pt x="5015689" y="592538"/>
                  <a:pt x="5013495" y="539995"/>
                  <a:pt x="5015689" y="487454"/>
                </a:cubicBezTo>
                <a:cubicBezTo>
                  <a:pt x="5015689" y="469940"/>
                  <a:pt x="5022271" y="450675"/>
                  <a:pt x="5033244" y="433160"/>
                </a:cubicBezTo>
                <a:cubicBezTo>
                  <a:pt x="5042023" y="471691"/>
                  <a:pt x="5050801" y="510222"/>
                  <a:pt x="5061773" y="555758"/>
                </a:cubicBezTo>
                <a:cubicBezTo>
                  <a:pt x="5070551" y="543499"/>
                  <a:pt x="5077135" y="536493"/>
                  <a:pt x="5088107" y="520730"/>
                </a:cubicBezTo>
                <a:cubicBezTo>
                  <a:pt x="5096885" y="541747"/>
                  <a:pt x="5105663" y="555758"/>
                  <a:pt x="5110051" y="571521"/>
                </a:cubicBezTo>
                <a:cubicBezTo>
                  <a:pt x="5116635" y="618808"/>
                  <a:pt x="5123218" y="667848"/>
                  <a:pt x="5129803" y="715135"/>
                </a:cubicBezTo>
                <a:cubicBezTo>
                  <a:pt x="5134191" y="715135"/>
                  <a:pt x="5138580" y="716886"/>
                  <a:pt x="5142969" y="716886"/>
                </a:cubicBezTo>
                <a:cubicBezTo>
                  <a:pt x="5147357" y="662593"/>
                  <a:pt x="5151747" y="610052"/>
                  <a:pt x="5156135" y="557510"/>
                </a:cubicBezTo>
                <a:cubicBezTo>
                  <a:pt x="5158331" y="555758"/>
                  <a:pt x="5162719" y="555758"/>
                  <a:pt x="5164915" y="555758"/>
                </a:cubicBezTo>
                <a:cubicBezTo>
                  <a:pt x="5164915" y="592538"/>
                  <a:pt x="5164915" y="631068"/>
                  <a:pt x="5164915" y="673102"/>
                </a:cubicBezTo>
                <a:cubicBezTo>
                  <a:pt x="5213192" y="650334"/>
                  <a:pt x="5221971" y="624062"/>
                  <a:pt x="5210998" y="590787"/>
                </a:cubicBezTo>
                <a:cubicBezTo>
                  <a:pt x="5204415" y="569770"/>
                  <a:pt x="5208803" y="548752"/>
                  <a:pt x="5208803" y="527736"/>
                </a:cubicBezTo>
                <a:cubicBezTo>
                  <a:pt x="5208803" y="506720"/>
                  <a:pt x="5206609" y="485703"/>
                  <a:pt x="5208803" y="464685"/>
                </a:cubicBezTo>
                <a:cubicBezTo>
                  <a:pt x="5210998" y="443669"/>
                  <a:pt x="5217583" y="422652"/>
                  <a:pt x="5226360" y="401636"/>
                </a:cubicBezTo>
                <a:cubicBezTo>
                  <a:pt x="5237331" y="422652"/>
                  <a:pt x="5217583" y="454178"/>
                  <a:pt x="5265861" y="459432"/>
                </a:cubicBezTo>
                <a:cubicBezTo>
                  <a:pt x="5268055" y="447172"/>
                  <a:pt x="5270249" y="433160"/>
                  <a:pt x="5272443" y="420901"/>
                </a:cubicBezTo>
                <a:cubicBezTo>
                  <a:pt x="5274637" y="420901"/>
                  <a:pt x="5279028" y="420901"/>
                  <a:pt x="5281222" y="420901"/>
                </a:cubicBezTo>
                <a:cubicBezTo>
                  <a:pt x="5285611" y="466438"/>
                  <a:pt x="5289999" y="511974"/>
                  <a:pt x="5294389" y="557510"/>
                </a:cubicBezTo>
                <a:cubicBezTo>
                  <a:pt x="5303167" y="638074"/>
                  <a:pt x="5314139" y="718638"/>
                  <a:pt x="5318529" y="799201"/>
                </a:cubicBezTo>
                <a:cubicBezTo>
                  <a:pt x="5320723" y="846489"/>
                  <a:pt x="5331695" y="890274"/>
                  <a:pt x="5353640" y="934059"/>
                </a:cubicBezTo>
                <a:cubicBezTo>
                  <a:pt x="5358029" y="946319"/>
                  <a:pt x="5355835" y="960330"/>
                  <a:pt x="5355835" y="974341"/>
                </a:cubicBezTo>
                <a:cubicBezTo>
                  <a:pt x="5358029" y="1124960"/>
                  <a:pt x="5362417" y="1273829"/>
                  <a:pt x="5362417" y="1422697"/>
                </a:cubicBezTo>
                <a:cubicBezTo>
                  <a:pt x="5360223" y="1540041"/>
                  <a:pt x="5347057" y="1657384"/>
                  <a:pt x="5347057" y="1776479"/>
                </a:cubicBezTo>
                <a:cubicBezTo>
                  <a:pt x="5347057" y="1953369"/>
                  <a:pt x="5353640" y="2132011"/>
                  <a:pt x="5358029" y="2310653"/>
                </a:cubicBezTo>
                <a:cubicBezTo>
                  <a:pt x="5362417" y="2494550"/>
                  <a:pt x="5369002" y="2678445"/>
                  <a:pt x="5375585" y="2862341"/>
                </a:cubicBezTo>
                <a:cubicBezTo>
                  <a:pt x="5379973" y="3091774"/>
                  <a:pt x="5388751" y="3321206"/>
                  <a:pt x="5388751" y="3550639"/>
                </a:cubicBezTo>
                <a:cubicBezTo>
                  <a:pt x="5386557" y="3759055"/>
                  <a:pt x="5373391" y="3969221"/>
                  <a:pt x="5366806" y="4177638"/>
                </a:cubicBezTo>
                <a:cubicBezTo>
                  <a:pt x="5362417" y="4279218"/>
                  <a:pt x="5360223" y="4382550"/>
                  <a:pt x="5353640" y="4484131"/>
                </a:cubicBezTo>
                <a:cubicBezTo>
                  <a:pt x="5351445" y="4520911"/>
                  <a:pt x="5331695" y="4555938"/>
                  <a:pt x="5329501" y="4590966"/>
                </a:cubicBezTo>
                <a:cubicBezTo>
                  <a:pt x="5327305" y="4675032"/>
                  <a:pt x="5329501" y="4760851"/>
                  <a:pt x="5320723" y="4844918"/>
                </a:cubicBezTo>
                <a:cubicBezTo>
                  <a:pt x="5305361" y="4668027"/>
                  <a:pt x="5333889" y="4491136"/>
                  <a:pt x="5318529" y="4314246"/>
                </a:cubicBezTo>
                <a:cubicBezTo>
                  <a:pt x="5309751" y="4314246"/>
                  <a:pt x="5300972" y="4314246"/>
                  <a:pt x="5292195" y="4314246"/>
                </a:cubicBezTo>
                <a:cubicBezTo>
                  <a:pt x="5285611" y="4445600"/>
                  <a:pt x="5276832" y="4576954"/>
                  <a:pt x="5268055" y="4708309"/>
                </a:cubicBezTo>
                <a:cubicBezTo>
                  <a:pt x="5268055" y="4708309"/>
                  <a:pt x="5265861" y="4708309"/>
                  <a:pt x="5265861" y="4708309"/>
                </a:cubicBezTo>
                <a:cubicBezTo>
                  <a:pt x="5265861" y="4657519"/>
                  <a:pt x="5265861" y="4604978"/>
                  <a:pt x="5265861" y="4554187"/>
                </a:cubicBezTo>
                <a:cubicBezTo>
                  <a:pt x="5265861" y="4473622"/>
                  <a:pt x="5281222" y="4393058"/>
                  <a:pt x="5263666" y="4315997"/>
                </a:cubicBezTo>
                <a:cubicBezTo>
                  <a:pt x="5243915" y="4219670"/>
                  <a:pt x="5246109" y="4125096"/>
                  <a:pt x="5257083" y="4028768"/>
                </a:cubicBezTo>
                <a:cubicBezTo>
                  <a:pt x="5265861" y="3949956"/>
                  <a:pt x="5261471" y="3871143"/>
                  <a:pt x="5261471" y="3790579"/>
                </a:cubicBezTo>
                <a:cubicBezTo>
                  <a:pt x="5261471" y="3711766"/>
                  <a:pt x="5261471" y="3632953"/>
                  <a:pt x="5259277" y="3554141"/>
                </a:cubicBezTo>
                <a:cubicBezTo>
                  <a:pt x="5259277" y="3547136"/>
                  <a:pt x="5259277" y="3541881"/>
                  <a:pt x="5252693" y="3534876"/>
                </a:cubicBezTo>
                <a:cubicBezTo>
                  <a:pt x="5237331" y="3986735"/>
                  <a:pt x="5193443" y="4435091"/>
                  <a:pt x="5129803" y="4893956"/>
                </a:cubicBezTo>
                <a:cubicBezTo>
                  <a:pt x="5114441" y="4876442"/>
                  <a:pt x="5105663" y="4869437"/>
                  <a:pt x="5092495" y="4853674"/>
                </a:cubicBezTo>
                <a:cubicBezTo>
                  <a:pt x="5092495" y="4879945"/>
                  <a:pt x="5092495" y="4895708"/>
                  <a:pt x="5092495" y="4913222"/>
                </a:cubicBezTo>
                <a:cubicBezTo>
                  <a:pt x="5090301" y="4913222"/>
                  <a:pt x="5088107" y="4913222"/>
                  <a:pt x="5085912" y="4913222"/>
                </a:cubicBezTo>
                <a:cubicBezTo>
                  <a:pt x="5081523" y="4771359"/>
                  <a:pt x="5077135" y="4629496"/>
                  <a:pt x="5072745" y="4489385"/>
                </a:cubicBezTo>
                <a:cubicBezTo>
                  <a:pt x="5026661" y="4599723"/>
                  <a:pt x="5046412" y="4713563"/>
                  <a:pt x="5031050" y="4825653"/>
                </a:cubicBezTo>
                <a:cubicBezTo>
                  <a:pt x="5031050" y="4597970"/>
                  <a:pt x="5031050" y="4370290"/>
                  <a:pt x="5031050" y="4142609"/>
                </a:cubicBezTo>
                <a:cubicBezTo>
                  <a:pt x="5026661" y="4142609"/>
                  <a:pt x="5022271" y="4142609"/>
                  <a:pt x="5015689" y="4140858"/>
                </a:cubicBezTo>
                <a:cubicBezTo>
                  <a:pt x="5009106" y="4191648"/>
                  <a:pt x="5002521" y="4242439"/>
                  <a:pt x="4993744" y="4301986"/>
                </a:cubicBezTo>
                <a:cubicBezTo>
                  <a:pt x="4993744" y="4230179"/>
                  <a:pt x="4993744" y="4168880"/>
                  <a:pt x="4993744" y="4107581"/>
                </a:cubicBezTo>
                <a:cubicBezTo>
                  <a:pt x="4989355" y="4107581"/>
                  <a:pt x="4984967" y="4107581"/>
                  <a:pt x="4982771" y="4107581"/>
                </a:cubicBezTo>
                <a:cubicBezTo>
                  <a:pt x="4969603" y="4319501"/>
                  <a:pt x="4958632" y="4533170"/>
                  <a:pt x="4947661" y="4748591"/>
                </a:cubicBezTo>
                <a:cubicBezTo>
                  <a:pt x="4945465" y="4738082"/>
                  <a:pt x="4943270" y="4731077"/>
                  <a:pt x="4941076" y="4722321"/>
                </a:cubicBezTo>
                <a:cubicBezTo>
                  <a:pt x="4936687" y="4722321"/>
                  <a:pt x="4934493" y="4722321"/>
                  <a:pt x="4932297" y="4722321"/>
                </a:cubicBezTo>
                <a:cubicBezTo>
                  <a:pt x="4930103" y="4748591"/>
                  <a:pt x="4930103" y="4774862"/>
                  <a:pt x="4925715" y="4806388"/>
                </a:cubicBezTo>
                <a:cubicBezTo>
                  <a:pt x="4921326" y="4797629"/>
                  <a:pt x="4919132" y="4794127"/>
                  <a:pt x="4919132" y="4790625"/>
                </a:cubicBezTo>
                <a:cubicBezTo>
                  <a:pt x="4919132" y="4603225"/>
                  <a:pt x="4919132" y="4415826"/>
                  <a:pt x="4919132" y="4228427"/>
                </a:cubicBezTo>
                <a:cubicBezTo>
                  <a:pt x="4919132" y="4216168"/>
                  <a:pt x="4912547" y="4202156"/>
                  <a:pt x="4908159" y="4189897"/>
                </a:cubicBezTo>
                <a:cubicBezTo>
                  <a:pt x="4905964" y="4177638"/>
                  <a:pt x="4899381" y="4167129"/>
                  <a:pt x="4890603" y="4154869"/>
                </a:cubicBezTo>
                <a:cubicBezTo>
                  <a:pt x="4862075" y="4258201"/>
                  <a:pt x="4873047" y="4366788"/>
                  <a:pt x="4855491" y="4471871"/>
                </a:cubicBezTo>
                <a:cubicBezTo>
                  <a:pt x="4855491" y="4337013"/>
                  <a:pt x="4855491" y="4202156"/>
                  <a:pt x="4855491" y="4067299"/>
                </a:cubicBezTo>
                <a:cubicBezTo>
                  <a:pt x="4846713" y="4067299"/>
                  <a:pt x="4840129" y="4067299"/>
                  <a:pt x="4833547" y="4067299"/>
                </a:cubicBezTo>
                <a:cubicBezTo>
                  <a:pt x="4826963" y="4151367"/>
                  <a:pt x="4815990" y="4237185"/>
                  <a:pt x="4811601" y="4323003"/>
                </a:cubicBezTo>
                <a:cubicBezTo>
                  <a:pt x="4809407" y="4408821"/>
                  <a:pt x="4811601" y="4494640"/>
                  <a:pt x="4811601" y="4580458"/>
                </a:cubicBezTo>
                <a:cubicBezTo>
                  <a:pt x="4805017" y="4580458"/>
                  <a:pt x="4798435" y="4580458"/>
                  <a:pt x="4794046" y="4580458"/>
                </a:cubicBezTo>
                <a:cubicBezTo>
                  <a:pt x="4794046" y="4333511"/>
                  <a:pt x="4794046" y="4084813"/>
                  <a:pt x="4794046" y="3837867"/>
                </a:cubicBezTo>
                <a:cubicBezTo>
                  <a:pt x="4787461" y="3837867"/>
                  <a:pt x="4780879" y="3837867"/>
                  <a:pt x="4776489" y="3837867"/>
                </a:cubicBezTo>
                <a:cubicBezTo>
                  <a:pt x="4776489" y="3871143"/>
                  <a:pt x="4776489" y="3902669"/>
                  <a:pt x="4776489" y="3935945"/>
                </a:cubicBezTo>
                <a:cubicBezTo>
                  <a:pt x="4776489" y="4020012"/>
                  <a:pt x="4791851" y="4105830"/>
                  <a:pt x="4769907" y="4186394"/>
                </a:cubicBezTo>
                <a:cubicBezTo>
                  <a:pt x="4730405" y="4333511"/>
                  <a:pt x="4761129" y="4482380"/>
                  <a:pt x="4752349" y="4629496"/>
                </a:cubicBezTo>
                <a:cubicBezTo>
                  <a:pt x="4750155" y="4648762"/>
                  <a:pt x="4754544" y="4668027"/>
                  <a:pt x="4750155" y="4689044"/>
                </a:cubicBezTo>
                <a:cubicBezTo>
                  <a:pt x="4745767" y="4676784"/>
                  <a:pt x="4743573" y="4662772"/>
                  <a:pt x="4741378" y="4648762"/>
                </a:cubicBezTo>
                <a:cubicBezTo>
                  <a:pt x="4732601" y="4590966"/>
                  <a:pt x="4717238" y="4531418"/>
                  <a:pt x="4717238" y="4473622"/>
                </a:cubicBezTo>
                <a:cubicBezTo>
                  <a:pt x="4719433" y="4365037"/>
                  <a:pt x="4730405" y="4258201"/>
                  <a:pt x="4734795" y="4149615"/>
                </a:cubicBezTo>
                <a:cubicBezTo>
                  <a:pt x="4736989" y="4112835"/>
                  <a:pt x="4732601" y="4074304"/>
                  <a:pt x="4730405" y="4037526"/>
                </a:cubicBezTo>
                <a:cubicBezTo>
                  <a:pt x="4730405" y="4034022"/>
                  <a:pt x="4723821" y="4030520"/>
                  <a:pt x="4715043" y="4021763"/>
                </a:cubicBezTo>
                <a:cubicBezTo>
                  <a:pt x="4708461" y="4105830"/>
                  <a:pt x="4704072" y="4182891"/>
                  <a:pt x="4697487" y="4261705"/>
                </a:cubicBezTo>
                <a:cubicBezTo>
                  <a:pt x="4695293" y="4261705"/>
                  <a:pt x="4695293" y="4261705"/>
                  <a:pt x="4693099" y="4261705"/>
                </a:cubicBezTo>
                <a:cubicBezTo>
                  <a:pt x="4688710" y="4221422"/>
                  <a:pt x="4684321" y="4181140"/>
                  <a:pt x="4679932" y="4140858"/>
                </a:cubicBezTo>
                <a:cubicBezTo>
                  <a:pt x="4675543" y="4140858"/>
                  <a:pt x="4668959" y="4140858"/>
                  <a:pt x="4664570" y="4140858"/>
                </a:cubicBezTo>
                <a:cubicBezTo>
                  <a:pt x="4662375" y="4196903"/>
                  <a:pt x="4657987" y="4254699"/>
                  <a:pt x="4655793" y="4312494"/>
                </a:cubicBezTo>
                <a:cubicBezTo>
                  <a:pt x="4655793" y="4396560"/>
                  <a:pt x="4660181" y="4480627"/>
                  <a:pt x="4660181" y="4562943"/>
                </a:cubicBezTo>
                <a:cubicBezTo>
                  <a:pt x="4660181" y="4576954"/>
                  <a:pt x="4651404" y="4590966"/>
                  <a:pt x="4647013" y="4603225"/>
                </a:cubicBezTo>
                <a:cubicBezTo>
                  <a:pt x="4642625" y="4603225"/>
                  <a:pt x="4636042" y="4603225"/>
                  <a:pt x="4631653" y="4601474"/>
                </a:cubicBezTo>
                <a:lnTo>
                  <a:pt x="4631653" y="4213517"/>
                </a:lnTo>
                <a:lnTo>
                  <a:pt x="4629974" y="4220855"/>
                </a:lnTo>
                <a:cubicBezTo>
                  <a:pt x="4627779" y="4304922"/>
                  <a:pt x="4629974" y="4390740"/>
                  <a:pt x="4621197" y="4474807"/>
                </a:cubicBezTo>
                <a:cubicBezTo>
                  <a:pt x="4613515" y="4386361"/>
                  <a:pt x="4616807" y="4297916"/>
                  <a:pt x="4620099" y="4209471"/>
                </a:cubicBezTo>
                <a:lnTo>
                  <a:pt x="4622225" y="4130349"/>
                </a:lnTo>
                <a:lnTo>
                  <a:pt x="4618487" y="4130349"/>
                </a:lnTo>
                <a:cubicBezTo>
                  <a:pt x="4618487" y="4154869"/>
                  <a:pt x="4618487" y="4179389"/>
                  <a:pt x="4618487" y="4203909"/>
                </a:cubicBezTo>
                <a:cubicBezTo>
                  <a:pt x="4616291" y="4203909"/>
                  <a:pt x="4614096" y="4203909"/>
                  <a:pt x="4611902" y="4203909"/>
                </a:cubicBezTo>
                <a:cubicBezTo>
                  <a:pt x="4611902" y="4160123"/>
                  <a:pt x="4611902" y="4116338"/>
                  <a:pt x="4611902" y="4072553"/>
                </a:cubicBezTo>
                <a:cubicBezTo>
                  <a:pt x="4614096" y="4072553"/>
                  <a:pt x="4614096" y="4072553"/>
                  <a:pt x="4616291" y="4072553"/>
                </a:cubicBezTo>
                <a:lnTo>
                  <a:pt x="4622683" y="4113356"/>
                </a:lnTo>
                <a:lnTo>
                  <a:pt x="4623665" y="4076803"/>
                </a:lnTo>
                <a:cubicBezTo>
                  <a:pt x="4623940" y="4032581"/>
                  <a:pt x="4622843" y="3988358"/>
                  <a:pt x="4619003" y="3944135"/>
                </a:cubicBezTo>
                <a:cubicBezTo>
                  <a:pt x="4610225" y="3944135"/>
                  <a:pt x="4601446" y="3944135"/>
                  <a:pt x="4592668" y="3944135"/>
                </a:cubicBezTo>
                <a:cubicBezTo>
                  <a:pt x="4586085" y="4075489"/>
                  <a:pt x="4577306" y="4206844"/>
                  <a:pt x="4568529" y="4338199"/>
                </a:cubicBezTo>
                <a:cubicBezTo>
                  <a:pt x="4568529" y="4338199"/>
                  <a:pt x="4566335" y="4338199"/>
                  <a:pt x="4566335" y="4338199"/>
                </a:cubicBezTo>
                <a:cubicBezTo>
                  <a:pt x="4566335" y="4287408"/>
                  <a:pt x="4566335" y="4234867"/>
                  <a:pt x="4566335" y="4184076"/>
                </a:cubicBezTo>
                <a:cubicBezTo>
                  <a:pt x="4566335" y="4103512"/>
                  <a:pt x="4581697" y="4022948"/>
                  <a:pt x="4564140" y="3945886"/>
                </a:cubicBezTo>
                <a:cubicBezTo>
                  <a:pt x="4544389" y="3849559"/>
                  <a:pt x="4546584" y="3754985"/>
                  <a:pt x="4557557" y="3658657"/>
                </a:cubicBezTo>
                <a:cubicBezTo>
                  <a:pt x="4566335" y="3579845"/>
                  <a:pt x="4561946" y="3501033"/>
                  <a:pt x="4561946" y="3420469"/>
                </a:cubicBezTo>
                <a:cubicBezTo>
                  <a:pt x="4561946" y="3341656"/>
                  <a:pt x="4561946" y="3262843"/>
                  <a:pt x="4559751" y="3184031"/>
                </a:cubicBezTo>
                <a:cubicBezTo>
                  <a:pt x="4559751" y="3177025"/>
                  <a:pt x="4559751" y="3171770"/>
                  <a:pt x="4553167" y="3164765"/>
                </a:cubicBezTo>
                <a:cubicBezTo>
                  <a:pt x="4537805" y="3616625"/>
                  <a:pt x="4493917" y="4064981"/>
                  <a:pt x="4430277" y="4523846"/>
                </a:cubicBezTo>
                <a:cubicBezTo>
                  <a:pt x="4414915" y="4506332"/>
                  <a:pt x="4406137" y="4499326"/>
                  <a:pt x="4392969" y="4483564"/>
                </a:cubicBezTo>
                <a:cubicBezTo>
                  <a:pt x="4392969" y="4509835"/>
                  <a:pt x="4392969" y="4525597"/>
                  <a:pt x="4392969" y="4543111"/>
                </a:cubicBezTo>
                <a:cubicBezTo>
                  <a:pt x="4390775" y="4543111"/>
                  <a:pt x="4388581" y="4543111"/>
                  <a:pt x="4386387" y="4543111"/>
                </a:cubicBezTo>
                <a:cubicBezTo>
                  <a:pt x="4381997" y="4401248"/>
                  <a:pt x="4377609" y="4259385"/>
                  <a:pt x="4373219" y="4119275"/>
                </a:cubicBezTo>
                <a:cubicBezTo>
                  <a:pt x="4327135" y="4229612"/>
                  <a:pt x="4346886" y="4343452"/>
                  <a:pt x="4331524" y="4455542"/>
                </a:cubicBezTo>
                <a:cubicBezTo>
                  <a:pt x="4331524" y="4227860"/>
                  <a:pt x="4331524" y="4000179"/>
                  <a:pt x="4331524" y="3772498"/>
                </a:cubicBezTo>
                <a:cubicBezTo>
                  <a:pt x="4327135" y="3772498"/>
                  <a:pt x="4322746" y="3772498"/>
                  <a:pt x="4316163" y="3770747"/>
                </a:cubicBezTo>
                <a:cubicBezTo>
                  <a:pt x="4309580" y="3821538"/>
                  <a:pt x="4302995" y="3872328"/>
                  <a:pt x="4294218" y="3931875"/>
                </a:cubicBezTo>
                <a:cubicBezTo>
                  <a:pt x="4294218" y="3860069"/>
                  <a:pt x="4294218" y="3798769"/>
                  <a:pt x="4294218" y="3737471"/>
                </a:cubicBezTo>
                <a:cubicBezTo>
                  <a:pt x="4289829" y="3737471"/>
                  <a:pt x="4285440" y="3737471"/>
                  <a:pt x="4283245" y="3737471"/>
                </a:cubicBezTo>
                <a:cubicBezTo>
                  <a:pt x="4270078" y="3949390"/>
                  <a:pt x="4259107" y="4163059"/>
                  <a:pt x="4248134" y="4378481"/>
                </a:cubicBezTo>
                <a:cubicBezTo>
                  <a:pt x="4245939" y="4367972"/>
                  <a:pt x="4243745" y="4360967"/>
                  <a:pt x="4241550" y="4352210"/>
                </a:cubicBezTo>
                <a:cubicBezTo>
                  <a:pt x="4237161" y="4352210"/>
                  <a:pt x="4234966" y="4352210"/>
                  <a:pt x="4232772" y="4352210"/>
                </a:cubicBezTo>
                <a:cubicBezTo>
                  <a:pt x="4230577" y="4378481"/>
                  <a:pt x="4230577" y="4404752"/>
                  <a:pt x="4226189" y="4436277"/>
                </a:cubicBezTo>
                <a:cubicBezTo>
                  <a:pt x="4221801" y="4427519"/>
                  <a:pt x="4219606" y="4424017"/>
                  <a:pt x="4219606" y="4420514"/>
                </a:cubicBezTo>
                <a:cubicBezTo>
                  <a:pt x="4219606" y="4233114"/>
                  <a:pt x="4219606" y="4045716"/>
                  <a:pt x="4219606" y="3858316"/>
                </a:cubicBezTo>
                <a:cubicBezTo>
                  <a:pt x="4219606" y="3846057"/>
                  <a:pt x="4213021" y="3832045"/>
                  <a:pt x="4208633" y="3819787"/>
                </a:cubicBezTo>
                <a:cubicBezTo>
                  <a:pt x="4206439" y="3807527"/>
                  <a:pt x="4199855" y="3797018"/>
                  <a:pt x="4191077" y="3784758"/>
                </a:cubicBezTo>
                <a:cubicBezTo>
                  <a:pt x="4162549" y="3888090"/>
                  <a:pt x="4173521" y="3996677"/>
                  <a:pt x="4155965" y="4101761"/>
                </a:cubicBezTo>
                <a:cubicBezTo>
                  <a:pt x="4155965" y="3966903"/>
                  <a:pt x="4155965" y="3832045"/>
                  <a:pt x="4155965" y="3697188"/>
                </a:cubicBezTo>
                <a:cubicBezTo>
                  <a:pt x="4147187" y="3697188"/>
                  <a:pt x="4140603" y="3697188"/>
                  <a:pt x="4134021" y="3697188"/>
                </a:cubicBezTo>
                <a:cubicBezTo>
                  <a:pt x="4127437" y="3781256"/>
                  <a:pt x="4116464" y="3867074"/>
                  <a:pt x="4112075" y="3952892"/>
                </a:cubicBezTo>
                <a:cubicBezTo>
                  <a:pt x="4109881" y="4038710"/>
                  <a:pt x="4112075" y="4124529"/>
                  <a:pt x="4112075" y="4210347"/>
                </a:cubicBezTo>
                <a:cubicBezTo>
                  <a:pt x="4105492" y="4210347"/>
                  <a:pt x="4098909" y="4210347"/>
                  <a:pt x="4094520" y="4210347"/>
                </a:cubicBezTo>
                <a:cubicBezTo>
                  <a:pt x="4094520" y="3963401"/>
                  <a:pt x="4094520" y="3714702"/>
                  <a:pt x="4094520" y="3467756"/>
                </a:cubicBezTo>
                <a:cubicBezTo>
                  <a:pt x="4087935" y="3467756"/>
                  <a:pt x="4081353" y="3467756"/>
                  <a:pt x="4076964" y="3467756"/>
                </a:cubicBezTo>
                <a:cubicBezTo>
                  <a:pt x="4076964" y="3501033"/>
                  <a:pt x="4076964" y="3532558"/>
                  <a:pt x="4076964" y="3565834"/>
                </a:cubicBezTo>
                <a:cubicBezTo>
                  <a:pt x="4076964" y="3649901"/>
                  <a:pt x="4092326" y="3735719"/>
                  <a:pt x="4070380" y="3816284"/>
                </a:cubicBezTo>
                <a:lnTo>
                  <a:pt x="4053299" y="3920248"/>
                </a:lnTo>
                <a:lnTo>
                  <a:pt x="4053299" y="3946733"/>
                </a:lnTo>
                <a:lnTo>
                  <a:pt x="4051827" y="3946733"/>
                </a:lnTo>
                <a:lnTo>
                  <a:pt x="4050081" y="4037835"/>
                </a:lnTo>
                <a:cubicBezTo>
                  <a:pt x="4051727" y="4111831"/>
                  <a:pt x="4057213" y="4185827"/>
                  <a:pt x="4052824" y="4259385"/>
                </a:cubicBezTo>
                <a:cubicBezTo>
                  <a:pt x="4050629" y="4278651"/>
                  <a:pt x="4055018" y="4297916"/>
                  <a:pt x="4050629" y="4318934"/>
                </a:cubicBezTo>
                <a:cubicBezTo>
                  <a:pt x="4046241" y="4306674"/>
                  <a:pt x="4044047" y="4292662"/>
                  <a:pt x="4041852" y="4278651"/>
                </a:cubicBezTo>
                <a:cubicBezTo>
                  <a:pt x="4033074" y="4220855"/>
                  <a:pt x="4017712" y="4161308"/>
                  <a:pt x="4017712" y="4103512"/>
                </a:cubicBezTo>
                <a:cubicBezTo>
                  <a:pt x="4019906" y="3994926"/>
                  <a:pt x="4030879" y="3888090"/>
                  <a:pt x="4035268" y="3779504"/>
                </a:cubicBezTo>
                <a:cubicBezTo>
                  <a:pt x="4037463" y="3742724"/>
                  <a:pt x="4033075" y="3704194"/>
                  <a:pt x="4030879" y="3667415"/>
                </a:cubicBezTo>
                <a:cubicBezTo>
                  <a:pt x="4030879" y="3663912"/>
                  <a:pt x="4024296" y="3660410"/>
                  <a:pt x="4015518" y="3651652"/>
                </a:cubicBezTo>
                <a:cubicBezTo>
                  <a:pt x="4008935" y="3735719"/>
                  <a:pt x="4004546" y="3812780"/>
                  <a:pt x="3997961" y="3891594"/>
                </a:cubicBezTo>
                <a:cubicBezTo>
                  <a:pt x="3995767" y="3891594"/>
                  <a:pt x="3995767" y="3891594"/>
                  <a:pt x="3993573" y="3891594"/>
                </a:cubicBezTo>
                <a:lnTo>
                  <a:pt x="3984769" y="3810792"/>
                </a:lnTo>
                <a:lnTo>
                  <a:pt x="3980374" y="3958527"/>
                </a:lnTo>
                <a:cubicBezTo>
                  <a:pt x="3975985" y="4063172"/>
                  <a:pt x="3971047" y="4167818"/>
                  <a:pt x="3967755" y="4272027"/>
                </a:cubicBezTo>
                <a:cubicBezTo>
                  <a:pt x="3963367" y="4373607"/>
                  <a:pt x="3961172" y="4476939"/>
                  <a:pt x="3954589" y="4578520"/>
                </a:cubicBezTo>
                <a:cubicBezTo>
                  <a:pt x="3952395" y="4615300"/>
                  <a:pt x="3932643" y="4650327"/>
                  <a:pt x="3930449" y="4685355"/>
                </a:cubicBezTo>
                <a:cubicBezTo>
                  <a:pt x="3928255" y="4769422"/>
                  <a:pt x="3930449" y="4855240"/>
                  <a:pt x="3921672" y="4939307"/>
                </a:cubicBezTo>
                <a:cubicBezTo>
                  <a:pt x="3906310" y="4762416"/>
                  <a:pt x="3934838" y="4585526"/>
                  <a:pt x="3919477" y="4408635"/>
                </a:cubicBezTo>
                <a:cubicBezTo>
                  <a:pt x="3910699" y="4408635"/>
                  <a:pt x="3901921" y="4408635"/>
                  <a:pt x="3893143" y="4408635"/>
                </a:cubicBezTo>
                <a:cubicBezTo>
                  <a:pt x="3886560" y="4539989"/>
                  <a:pt x="3877781" y="4671343"/>
                  <a:pt x="3869004" y="4802699"/>
                </a:cubicBezTo>
                <a:cubicBezTo>
                  <a:pt x="3869004" y="4802699"/>
                  <a:pt x="3866809" y="4802699"/>
                  <a:pt x="3866809" y="4802699"/>
                </a:cubicBezTo>
                <a:cubicBezTo>
                  <a:pt x="3866809" y="4751908"/>
                  <a:pt x="3866809" y="4699367"/>
                  <a:pt x="3866809" y="4648576"/>
                </a:cubicBezTo>
                <a:cubicBezTo>
                  <a:pt x="3866809" y="4568012"/>
                  <a:pt x="3882171" y="4487448"/>
                  <a:pt x="3864615" y="4410386"/>
                </a:cubicBezTo>
                <a:cubicBezTo>
                  <a:pt x="3844864" y="4314059"/>
                  <a:pt x="3847058" y="4219485"/>
                  <a:pt x="3858031" y="4123157"/>
                </a:cubicBezTo>
                <a:cubicBezTo>
                  <a:pt x="3866809" y="4044345"/>
                  <a:pt x="3862420" y="3965532"/>
                  <a:pt x="3862420" y="3884968"/>
                </a:cubicBezTo>
                <a:cubicBezTo>
                  <a:pt x="3862420" y="3806155"/>
                  <a:pt x="3862420" y="3727343"/>
                  <a:pt x="3860227" y="3648530"/>
                </a:cubicBezTo>
                <a:cubicBezTo>
                  <a:pt x="3860227" y="3641525"/>
                  <a:pt x="3860227" y="3636270"/>
                  <a:pt x="3853643" y="3629265"/>
                </a:cubicBezTo>
                <a:cubicBezTo>
                  <a:pt x="3838281" y="4081125"/>
                  <a:pt x="3794392" y="4529481"/>
                  <a:pt x="3730751" y="4988346"/>
                </a:cubicBezTo>
                <a:cubicBezTo>
                  <a:pt x="3715389" y="4970832"/>
                  <a:pt x="3706612" y="4963826"/>
                  <a:pt x="3693444" y="4948064"/>
                </a:cubicBezTo>
                <a:cubicBezTo>
                  <a:pt x="3693444" y="4974334"/>
                  <a:pt x="3693444" y="4990097"/>
                  <a:pt x="3693444" y="5007611"/>
                </a:cubicBezTo>
                <a:cubicBezTo>
                  <a:pt x="3691250" y="5007611"/>
                  <a:pt x="3689056" y="5007611"/>
                  <a:pt x="3686861" y="5007611"/>
                </a:cubicBezTo>
                <a:cubicBezTo>
                  <a:pt x="3682472" y="4865748"/>
                  <a:pt x="3678083" y="4723885"/>
                  <a:pt x="3673695" y="4583775"/>
                </a:cubicBezTo>
                <a:cubicBezTo>
                  <a:pt x="3627609" y="4694112"/>
                  <a:pt x="3647361" y="4807952"/>
                  <a:pt x="3631999" y="4920042"/>
                </a:cubicBezTo>
                <a:cubicBezTo>
                  <a:pt x="3631999" y="4692360"/>
                  <a:pt x="3631999" y="4464679"/>
                  <a:pt x="3631998" y="4236998"/>
                </a:cubicBezTo>
                <a:cubicBezTo>
                  <a:pt x="3627609" y="4236998"/>
                  <a:pt x="3623221" y="4236998"/>
                  <a:pt x="3616638" y="4235247"/>
                </a:cubicBezTo>
                <a:cubicBezTo>
                  <a:pt x="3610055" y="4286038"/>
                  <a:pt x="3603470" y="4336828"/>
                  <a:pt x="3594693" y="4396375"/>
                </a:cubicBezTo>
                <a:cubicBezTo>
                  <a:pt x="3594693" y="4324568"/>
                  <a:pt x="3594693" y="4263269"/>
                  <a:pt x="3594693" y="4201971"/>
                </a:cubicBezTo>
                <a:cubicBezTo>
                  <a:pt x="3590303" y="4201971"/>
                  <a:pt x="3585915" y="4201971"/>
                  <a:pt x="3583721" y="4201971"/>
                </a:cubicBezTo>
                <a:cubicBezTo>
                  <a:pt x="3570553" y="4413890"/>
                  <a:pt x="3559581" y="4627559"/>
                  <a:pt x="3548609" y="4842981"/>
                </a:cubicBezTo>
                <a:cubicBezTo>
                  <a:pt x="3546415" y="4832471"/>
                  <a:pt x="3544219" y="4825467"/>
                  <a:pt x="3542025" y="4816710"/>
                </a:cubicBezTo>
                <a:cubicBezTo>
                  <a:pt x="3537635" y="4816710"/>
                  <a:pt x="3535441" y="4816710"/>
                  <a:pt x="3533247" y="4816710"/>
                </a:cubicBezTo>
                <a:cubicBezTo>
                  <a:pt x="3531053" y="4842981"/>
                  <a:pt x="3531053" y="4869251"/>
                  <a:pt x="3526664" y="4900777"/>
                </a:cubicBezTo>
                <a:cubicBezTo>
                  <a:pt x="3522275" y="4892019"/>
                  <a:pt x="3520081" y="4888516"/>
                  <a:pt x="3520081" y="4885014"/>
                </a:cubicBezTo>
                <a:cubicBezTo>
                  <a:pt x="3520081" y="4697614"/>
                  <a:pt x="3520081" y="4510215"/>
                  <a:pt x="3520081" y="4322816"/>
                </a:cubicBezTo>
                <a:cubicBezTo>
                  <a:pt x="3520081" y="4310557"/>
                  <a:pt x="3513496" y="4296545"/>
                  <a:pt x="3509108" y="4284286"/>
                </a:cubicBezTo>
                <a:cubicBezTo>
                  <a:pt x="3506913" y="4272027"/>
                  <a:pt x="3500329" y="4261518"/>
                  <a:pt x="3491552" y="4249258"/>
                </a:cubicBezTo>
                <a:cubicBezTo>
                  <a:pt x="3463023" y="4352590"/>
                  <a:pt x="3473996" y="4461177"/>
                  <a:pt x="3456441" y="4566260"/>
                </a:cubicBezTo>
                <a:cubicBezTo>
                  <a:pt x="3456441" y="4431403"/>
                  <a:pt x="3456441" y="4296545"/>
                  <a:pt x="3456441" y="4161688"/>
                </a:cubicBezTo>
                <a:cubicBezTo>
                  <a:pt x="3447661" y="4161688"/>
                  <a:pt x="3441079" y="4161688"/>
                  <a:pt x="3434495" y="4161688"/>
                </a:cubicBezTo>
                <a:cubicBezTo>
                  <a:pt x="3427912" y="4245756"/>
                  <a:pt x="3416939" y="4331574"/>
                  <a:pt x="3412550" y="4417392"/>
                </a:cubicBezTo>
                <a:cubicBezTo>
                  <a:pt x="3410355" y="4503210"/>
                  <a:pt x="3412550" y="4589029"/>
                  <a:pt x="3412550" y="4674847"/>
                </a:cubicBezTo>
                <a:cubicBezTo>
                  <a:pt x="3405967" y="4674847"/>
                  <a:pt x="3399384" y="4674847"/>
                  <a:pt x="3394995" y="4674847"/>
                </a:cubicBezTo>
                <a:cubicBezTo>
                  <a:pt x="3394995" y="4427900"/>
                  <a:pt x="3394995" y="4179202"/>
                  <a:pt x="3394995" y="3932256"/>
                </a:cubicBezTo>
                <a:cubicBezTo>
                  <a:pt x="3388411" y="3932256"/>
                  <a:pt x="3381827" y="3932256"/>
                  <a:pt x="3377439" y="3932256"/>
                </a:cubicBezTo>
                <a:cubicBezTo>
                  <a:pt x="3377439" y="3965532"/>
                  <a:pt x="3377439" y="3997058"/>
                  <a:pt x="3377439" y="4030334"/>
                </a:cubicBezTo>
                <a:cubicBezTo>
                  <a:pt x="3377439" y="4114401"/>
                  <a:pt x="3392801" y="4200219"/>
                  <a:pt x="3370855" y="4280784"/>
                </a:cubicBezTo>
                <a:cubicBezTo>
                  <a:pt x="3331354" y="4427900"/>
                  <a:pt x="3362078" y="4576769"/>
                  <a:pt x="3353299" y="4723885"/>
                </a:cubicBezTo>
                <a:cubicBezTo>
                  <a:pt x="3351105" y="4743151"/>
                  <a:pt x="3355493" y="4762416"/>
                  <a:pt x="3351105" y="4783433"/>
                </a:cubicBezTo>
                <a:cubicBezTo>
                  <a:pt x="3346716" y="4771173"/>
                  <a:pt x="3344521" y="4757161"/>
                  <a:pt x="3342327" y="4743151"/>
                </a:cubicBezTo>
                <a:cubicBezTo>
                  <a:pt x="3333549" y="4685355"/>
                  <a:pt x="3318187" y="4625808"/>
                  <a:pt x="3318187" y="4568012"/>
                </a:cubicBezTo>
                <a:cubicBezTo>
                  <a:pt x="3320381" y="4459426"/>
                  <a:pt x="3331354" y="4352590"/>
                  <a:pt x="3335743" y="4244004"/>
                </a:cubicBezTo>
                <a:cubicBezTo>
                  <a:pt x="3337938" y="4207224"/>
                  <a:pt x="3333549" y="4168693"/>
                  <a:pt x="3331354" y="4131915"/>
                </a:cubicBezTo>
                <a:cubicBezTo>
                  <a:pt x="3331354" y="4128411"/>
                  <a:pt x="3324770" y="4124909"/>
                  <a:pt x="3315993" y="4116152"/>
                </a:cubicBezTo>
                <a:cubicBezTo>
                  <a:pt x="3309410" y="4200219"/>
                  <a:pt x="3305021" y="4277280"/>
                  <a:pt x="3298437" y="4356093"/>
                </a:cubicBezTo>
                <a:cubicBezTo>
                  <a:pt x="3296242" y="4356093"/>
                  <a:pt x="3296242" y="4356093"/>
                  <a:pt x="3294048" y="4356093"/>
                </a:cubicBezTo>
                <a:cubicBezTo>
                  <a:pt x="3289659" y="4315810"/>
                  <a:pt x="3285270" y="4275528"/>
                  <a:pt x="3280881" y="4235247"/>
                </a:cubicBezTo>
                <a:lnTo>
                  <a:pt x="3280183" y="4235247"/>
                </a:lnTo>
                <a:lnTo>
                  <a:pt x="3268232" y="4532162"/>
                </a:lnTo>
                <a:cubicBezTo>
                  <a:pt x="3263843" y="4633742"/>
                  <a:pt x="3261649" y="4737074"/>
                  <a:pt x="3255066" y="4838656"/>
                </a:cubicBezTo>
                <a:cubicBezTo>
                  <a:pt x="3252872" y="4875435"/>
                  <a:pt x="3233120" y="4910463"/>
                  <a:pt x="3230926" y="4945490"/>
                </a:cubicBezTo>
                <a:cubicBezTo>
                  <a:pt x="3228731" y="5029557"/>
                  <a:pt x="3230926" y="5115376"/>
                  <a:pt x="3222149" y="5199443"/>
                </a:cubicBezTo>
                <a:cubicBezTo>
                  <a:pt x="3206787" y="5022551"/>
                  <a:pt x="3235315" y="4845661"/>
                  <a:pt x="3219954" y="4668771"/>
                </a:cubicBezTo>
                <a:cubicBezTo>
                  <a:pt x="3211176" y="4668771"/>
                  <a:pt x="3202398" y="4668771"/>
                  <a:pt x="3193620" y="4668771"/>
                </a:cubicBezTo>
                <a:cubicBezTo>
                  <a:pt x="3187037" y="4800125"/>
                  <a:pt x="3178258" y="4931479"/>
                  <a:pt x="3169481" y="5062835"/>
                </a:cubicBezTo>
                <a:cubicBezTo>
                  <a:pt x="3169481" y="5062835"/>
                  <a:pt x="3167286" y="5062835"/>
                  <a:pt x="3167286" y="5062835"/>
                </a:cubicBezTo>
                <a:cubicBezTo>
                  <a:pt x="3167286" y="5012043"/>
                  <a:pt x="3167286" y="4959502"/>
                  <a:pt x="3167286" y="4908712"/>
                </a:cubicBezTo>
                <a:cubicBezTo>
                  <a:pt x="3167286" y="4828147"/>
                  <a:pt x="3182648" y="4747584"/>
                  <a:pt x="3165092" y="4670522"/>
                </a:cubicBezTo>
                <a:cubicBezTo>
                  <a:pt x="3145341" y="4574195"/>
                  <a:pt x="3147535" y="4479621"/>
                  <a:pt x="3158508" y="4383293"/>
                </a:cubicBezTo>
                <a:cubicBezTo>
                  <a:pt x="3167286" y="4304481"/>
                  <a:pt x="3162897" y="4225668"/>
                  <a:pt x="3162897" y="4145104"/>
                </a:cubicBezTo>
                <a:cubicBezTo>
                  <a:pt x="3162897" y="4066291"/>
                  <a:pt x="3162897" y="3987479"/>
                  <a:pt x="3160703" y="3908666"/>
                </a:cubicBezTo>
                <a:cubicBezTo>
                  <a:pt x="3160703" y="3901661"/>
                  <a:pt x="3160703" y="3896406"/>
                  <a:pt x="3154119" y="3889401"/>
                </a:cubicBezTo>
                <a:cubicBezTo>
                  <a:pt x="3138757" y="4341260"/>
                  <a:pt x="3094869" y="4789617"/>
                  <a:pt x="3031228" y="5248481"/>
                </a:cubicBezTo>
                <a:cubicBezTo>
                  <a:pt x="3015866" y="5230967"/>
                  <a:pt x="3007089" y="5223961"/>
                  <a:pt x="2993921" y="5208200"/>
                </a:cubicBezTo>
                <a:cubicBezTo>
                  <a:pt x="2993921" y="5234470"/>
                  <a:pt x="2993921" y="5250233"/>
                  <a:pt x="2993921" y="5267747"/>
                </a:cubicBezTo>
                <a:cubicBezTo>
                  <a:pt x="2991727" y="5267747"/>
                  <a:pt x="2989533" y="5267747"/>
                  <a:pt x="2987338" y="5267747"/>
                </a:cubicBezTo>
                <a:cubicBezTo>
                  <a:pt x="2982949" y="5125884"/>
                  <a:pt x="2978560" y="4984021"/>
                  <a:pt x="2974171" y="4843910"/>
                </a:cubicBezTo>
                <a:cubicBezTo>
                  <a:pt x="2928087" y="4954248"/>
                  <a:pt x="2947838" y="5068088"/>
                  <a:pt x="2932476" y="5180178"/>
                </a:cubicBezTo>
                <a:lnTo>
                  <a:pt x="2932476" y="4930866"/>
                </a:lnTo>
                <a:lnTo>
                  <a:pt x="2931597" y="4934803"/>
                </a:lnTo>
                <a:cubicBezTo>
                  <a:pt x="2926111" y="4952536"/>
                  <a:pt x="2920624" y="4970050"/>
                  <a:pt x="2919527" y="4987563"/>
                </a:cubicBezTo>
                <a:cubicBezTo>
                  <a:pt x="2917332" y="5071630"/>
                  <a:pt x="2919527" y="5157449"/>
                  <a:pt x="2910749" y="5241515"/>
                </a:cubicBezTo>
                <a:cubicBezTo>
                  <a:pt x="2895387" y="5064624"/>
                  <a:pt x="2923916" y="4887734"/>
                  <a:pt x="2908555" y="4710844"/>
                </a:cubicBezTo>
                <a:cubicBezTo>
                  <a:pt x="2899777" y="4710844"/>
                  <a:pt x="2890998" y="4710844"/>
                  <a:pt x="2882221" y="4710844"/>
                </a:cubicBezTo>
                <a:cubicBezTo>
                  <a:pt x="2875637" y="4842197"/>
                  <a:pt x="2866858" y="4973552"/>
                  <a:pt x="2858081" y="5104907"/>
                </a:cubicBezTo>
                <a:cubicBezTo>
                  <a:pt x="2858081" y="5104907"/>
                  <a:pt x="2855887" y="5104907"/>
                  <a:pt x="2855887" y="5104907"/>
                </a:cubicBezTo>
                <a:lnTo>
                  <a:pt x="2855887" y="4978957"/>
                </a:lnTo>
                <a:lnTo>
                  <a:pt x="2849086" y="5103116"/>
                </a:lnTo>
                <a:cubicBezTo>
                  <a:pt x="2846891" y="5092607"/>
                  <a:pt x="2844696" y="5085602"/>
                  <a:pt x="2842502" y="5076845"/>
                </a:cubicBezTo>
                <a:cubicBezTo>
                  <a:pt x="2838112" y="5076845"/>
                  <a:pt x="2835918" y="5076845"/>
                  <a:pt x="2833724" y="5076845"/>
                </a:cubicBezTo>
                <a:cubicBezTo>
                  <a:pt x="2831529" y="5103116"/>
                  <a:pt x="2831529" y="5129387"/>
                  <a:pt x="2827141" y="5160912"/>
                </a:cubicBezTo>
                <a:cubicBezTo>
                  <a:pt x="2822752" y="5152155"/>
                  <a:pt x="2820558" y="5148652"/>
                  <a:pt x="2820558" y="5145149"/>
                </a:cubicBezTo>
                <a:cubicBezTo>
                  <a:pt x="2820558" y="4957750"/>
                  <a:pt x="2820558" y="4770351"/>
                  <a:pt x="2820558" y="4582952"/>
                </a:cubicBezTo>
                <a:cubicBezTo>
                  <a:pt x="2820558" y="4570693"/>
                  <a:pt x="2813973" y="4556681"/>
                  <a:pt x="2809585" y="4544422"/>
                </a:cubicBezTo>
                <a:lnTo>
                  <a:pt x="2805109" y="4535493"/>
                </a:lnTo>
                <a:lnTo>
                  <a:pt x="2799379" y="4608387"/>
                </a:lnTo>
                <a:cubicBezTo>
                  <a:pt x="2778531" y="4834316"/>
                  <a:pt x="2751649" y="5061122"/>
                  <a:pt x="2719829" y="5290554"/>
                </a:cubicBezTo>
                <a:cubicBezTo>
                  <a:pt x="2704467" y="5273040"/>
                  <a:pt x="2695689" y="5266034"/>
                  <a:pt x="2682521" y="5250272"/>
                </a:cubicBezTo>
                <a:cubicBezTo>
                  <a:pt x="2682521" y="5276543"/>
                  <a:pt x="2682521" y="5292305"/>
                  <a:pt x="2682521" y="5309819"/>
                </a:cubicBezTo>
                <a:cubicBezTo>
                  <a:pt x="2680327" y="5309819"/>
                  <a:pt x="2678133" y="5309819"/>
                  <a:pt x="2675939" y="5309819"/>
                </a:cubicBezTo>
                <a:cubicBezTo>
                  <a:pt x="2671550" y="5167956"/>
                  <a:pt x="2667161" y="5026093"/>
                  <a:pt x="2662772" y="4885983"/>
                </a:cubicBezTo>
                <a:lnTo>
                  <a:pt x="2654328" y="4915552"/>
                </a:lnTo>
                <a:lnTo>
                  <a:pt x="2653776" y="4984021"/>
                </a:lnTo>
                <a:cubicBezTo>
                  <a:pt x="2651581" y="5003286"/>
                  <a:pt x="2655970" y="5022551"/>
                  <a:pt x="2651581" y="5043569"/>
                </a:cubicBezTo>
                <a:cubicBezTo>
                  <a:pt x="2647193" y="5031309"/>
                  <a:pt x="2644999" y="5017297"/>
                  <a:pt x="2642804" y="5003286"/>
                </a:cubicBezTo>
                <a:lnTo>
                  <a:pt x="2638192" y="4976997"/>
                </a:lnTo>
                <a:lnTo>
                  <a:pt x="2630403" y="5053459"/>
                </a:lnTo>
                <a:cubicBezTo>
                  <a:pt x="2627660" y="5109723"/>
                  <a:pt x="2628757" y="5166205"/>
                  <a:pt x="2621076" y="5222250"/>
                </a:cubicBezTo>
                <a:lnTo>
                  <a:pt x="2621076" y="4852211"/>
                </a:lnTo>
                <a:lnTo>
                  <a:pt x="2618664" y="4828147"/>
                </a:lnTo>
                <a:lnTo>
                  <a:pt x="2621076" y="4779021"/>
                </a:lnTo>
                <a:lnTo>
                  <a:pt x="2621076" y="4539207"/>
                </a:lnTo>
                <a:cubicBezTo>
                  <a:pt x="2616688" y="4539207"/>
                  <a:pt x="2612298" y="4539207"/>
                  <a:pt x="2605715" y="4537456"/>
                </a:cubicBezTo>
                <a:lnTo>
                  <a:pt x="2603544" y="4553989"/>
                </a:lnTo>
                <a:lnTo>
                  <a:pt x="2598913" y="4616229"/>
                </a:lnTo>
                <a:lnTo>
                  <a:pt x="2595355" y="4616229"/>
                </a:lnTo>
                <a:lnTo>
                  <a:pt x="2583770" y="4698584"/>
                </a:lnTo>
                <a:cubicBezTo>
                  <a:pt x="2583770" y="4662681"/>
                  <a:pt x="2583770" y="4629404"/>
                  <a:pt x="2583770" y="4597441"/>
                </a:cubicBezTo>
                <a:lnTo>
                  <a:pt x="2583770" y="4517523"/>
                </a:lnTo>
                <a:lnTo>
                  <a:pt x="2582316" y="4504179"/>
                </a:lnTo>
                <a:lnTo>
                  <a:pt x="2572798" y="4504179"/>
                </a:lnTo>
                <a:lnTo>
                  <a:pt x="2558833" y="4759134"/>
                </a:lnTo>
                <a:lnTo>
                  <a:pt x="2561607" y="4917468"/>
                </a:lnTo>
                <a:cubicBezTo>
                  <a:pt x="2561607" y="4931479"/>
                  <a:pt x="2552830" y="4945490"/>
                  <a:pt x="2548440" y="4957750"/>
                </a:cubicBezTo>
                <a:lnTo>
                  <a:pt x="2547957" y="4957695"/>
                </a:lnTo>
                <a:lnTo>
                  <a:pt x="2537687" y="5145189"/>
                </a:lnTo>
                <a:cubicBezTo>
                  <a:pt x="2535492" y="5134680"/>
                  <a:pt x="2533297" y="5127675"/>
                  <a:pt x="2531102" y="5118918"/>
                </a:cubicBezTo>
                <a:cubicBezTo>
                  <a:pt x="2526713" y="5118918"/>
                  <a:pt x="2524519" y="5118918"/>
                  <a:pt x="2522324" y="5118918"/>
                </a:cubicBezTo>
                <a:cubicBezTo>
                  <a:pt x="2520130" y="5145189"/>
                  <a:pt x="2520130" y="5171460"/>
                  <a:pt x="2515741" y="5202985"/>
                </a:cubicBezTo>
                <a:cubicBezTo>
                  <a:pt x="2511353" y="5194227"/>
                  <a:pt x="2509158" y="5190725"/>
                  <a:pt x="2509158" y="5187222"/>
                </a:cubicBezTo>
                <a:cubicBezTo>
                  <a:pt x="2509158" y="4999823"/>
                  <a:pt x="2509158" y="4812424"/>
                  <a:pt x="2509158" y="4625024"/>
                </a:cubicBezTo>
                <a:cubicBezTo>
                  <a:pt x="2509158" y="4612766"/>
                  <a:pt x="2502573" y="4598754"/>
                  <a:pt x="2498185" y="4586495"/>
                </a:cubicBezTo>
                <a:cubicBezTo>
                  <a:pt x="2495991" y="4574235"/>
                  <a:pt x="2489407" y="4563726"/>
                  <a:pt x="2480629" y="4551467"/>
                </a:cubicBezTo>
                <a:cubicBezTo>
                  <a:pt x="2452101" y="4654799"/>
                  <a:pt x="2463073" y="4763385"/>
                  <a:pt x="2445518" y="4868469"/>
                </a:cubicBezTo>
                <a:cubicBezTo>
                  <a:pt x="2445518" y="4733611"/>
                  <a:pt x="2445518" y="4598754"/>
                  <a:pt x="2445518" y="4463896"/>
                </a:cubicBezTo>
                <a:cubicBezTo>
                  <a:pt x="2436739" y="4463896"/>
                  <a:pt x="2430156" y="4463896"/>
                  <a:pt x="2423573" y="4463896"/>
                </a:cubicBezTo>
                <a:cubicBezTo>
                  <a:pt x="2416990" y="4547965"/>
                  <a:pt x="2406017" y="4633783"/>
                  <a:pt x="2401628" y="4719600"/>
                </a:cubicBezTo>
                <a:cubicBezTo>
                  <a:pt x="2399433" y="4805418"/>
                  <a:pt x="2401628" y="4891238"/>
                  <a:pt x="2401628" y="4977055"/>
                </a:cubicBezTo>
                <a:cubicBezTo>
                  <a:pt x="2395044" y="4977055"/>
                  <a:pt x="2388461" y="4977055"/>
                  <a:pt x="2384073" y="4977055"/>
                </a:cubicBezTo>
                <a:cubicBezTo>
                  <a:pt x="2384073" y="4730109"/>
                  <a:pt x="2384073" y="4481410"/>
                  <a:pt x="2384073" y="4234465"/>
                </a:cubicBezTo>
                <a:cubicBezTo>
                  <a:pt x="2377488" y="4234465"/>
                  <a:pt x="2370905" y="4234465"/>
                  <a:pt x="2366516" y="4234465"/>
                </a:cubicBezTo>
                <a:cubicBezTo>
                  <a:pt x="2366516" y="4267741"/>
                  <a:pt x="2366516" y="4299266"/>
                  <a:pt x="2366516" y="4332543"/>
                </a:cubicBezTo>
                <a:cubicBezTo>
                  <a:pt x="2366516" y="4416610"/>
                  <a:pt x="2381878" y="4502427"/>
                  <a:pt x="2359933" y="4582992"/>
                </a:cubicBezTo>
                <a:cubicBezTo>
                  <a:pt x="2320431" y="4730109"/>
                  <a:pt x="2351155" y="4878977"/>
                  <a:pt x="2342376" y="5026093"/>
                </a:cubicBezTo>
                <a:cubicBezTo>
                  <a:pt x="2340182" y="5045359"/>
                  <a:pt x="2344570" y="5064624"/>
                  <a:pt x="2340182" y="5085642"/>
                </a:cubicBezTo>
                <a:cubicBezTo>
                  <a:pt x="2335793" y="5073382"/>
                  <a:pt x="2333599" y="5059370"/>
                  <a:pt x="2331405" y="5045359"/>
                </a:cubicBezTo>
                <a:cubicBezTo>
                  <a:pt x="2322627" y="4987563"/>
                  <a:pt x="2307264" y="4928016"/>
                  <a:pt x="2307264" y="4870220"/>
                </a:cubicBezTo>
                <a:cubicBezTo>
                  <a:pt x="2309459" y="4761634"/>
                  <a:pt x="2320431" y="4654799"/>
                  <a:pt x="2324821" y="4546212"/>
                </a:cubicBezTo>
                <a:cubicBezTo>
                  <a:pt x="2327016" y="4509432"/>
                  <a:pt x="2322627" y="4470902"/>
                  <a:pt x="2320431" y="4434124"/>
                </a:cubicBezTo>
                <a:cubicBezTo>
                  <a:pt x="2320431" y="4430620"/>
                  <a:pt x="2313848" y="4427118"/>
                  <a:pt x="2305070" y="4418361"/>
                </a:cubicBezTo>
                <a:cubicBezTo>
                  <a:pt x="2298487" y="4502427"/>
                  <a:pt x="2294099" y="4579489"/>
                  <a:pt x="2287514" y="4658302"/>
                </a:cubicBezTo>
                <a:cubicBezTo>
                  <a:pt x="2285319" y="4658302"/>
                  <a:pt x="2285319" y="4658302"/>
                  <a:pt x="2283125" y="4658302"/>
                </a:cubicBezTo>
                <a:cubicBezTo>
                  <a:pt x="2278737" y="4618020"/>
                  <a:pt x="2274348" y="4577738"/>
                  <a:pt x="2269958" y="4537456"/>
                </a:cubicBezTo>
                <a:cubicBezTo>
                  <a:pt x="2265569" y="4537456"/>
                  <a:pt x="2258986" y="4537456"/>
                  <a:pt x="2254596" y="4537456"/>
                </a:cubicBezTo>
                <a:cubicBezTo>
                  <a:pt x="2252402" y="4593501"/>
                  <a:pt x="2248013" y="4651297"/>
                  <a:pt x="2245819" y="4709091"/>
                </a:cubicBezTo>
                <a:cubicBezTo>
                  <a:pt x="2245819" y="4793158"/>
                  <a:pt x="2250208" y="4877225"/>
                  <a:pt x="2250208" y="4959541"/>
                </a:cubicBezTo>
                <a:cubicBezTo>
                  <a:pt x="2250208" y="4973552"/>
                  <a:pt x="2241431" y="4987563"/>
                  <a:pt x="2237040" y="4999823"/>
                </a:cubicBezTo>
                <a:cubicBezTo>
                  <a:pt x="2232651" y="4999823"/>
                  <a:pt x="2226069" y="4999823"/>
                  <a:pt x="2221680" y="4998072"/>
                </a:cubicBezTo>
                <a:lnTo>
                  <a:pt x="2221680" y="4610115"/>
                </a:lnTo>
                <a:lnTo>
                  <a:pt x="2220001" y="4617453"/>
                </a:lnTo>
                <a:cubicBezTo>
                  <a:pt x="2217806" y="4701519"/>
                  <a:pt x="2220001" y="4787338"/>
                  <a:pt x="2211223" y="4871405"/>
                </a:cubicBezTo>
                <a:cubicBezTo>
                  <a:pt x="2203542" y="4782959"/>
                  <a:pt x="2206833" y="4694514"/>
                  <a:pt x="2210126" y="4606069"/>
                </a:cubicBezTo>
                <a:lnTo>
                  <a:pt x="2212252" y="4526947"/>
                </a:lnTo>
                <a:lnTo>
                  <a:pt x="2208513" y="4526947"/>
                </a:lnTo>
                <a:cubicBezTo>
                  <a:pt x="2208513" y="4551467"/>
                  <a:pt x="2208513" y="4575986"/>
                  <a:pt x="2208513" y="4600506"/>
                </a:cubicBezTo>
                <a:cubicBezTo>
                  <a:pt x="2206318" y="4600506"/>
                  <a:pt x="2204123" y="4600506"/>
                  <a:pt x="2201928" y="4600506"/>
                </a:cubicBezTo>
                <a:cubicBezTo>
                  <a:pt x="2201928" y="4556721"/>
                  <a:pt x="2201928" y="4512936"/>
                  <a:pt x="2201928" y="4469151"/>
                </a:cubicBezTo>
                <a:cubicBezTo>
                  <a:pt x="2204123" y="4469151"/>
                  <a:pt x="2204123" y="4469151"/>
                  <a:pt x="2206318" y="4469151"/>
                </a:cubicBezTo>
                <a:lnTo>
                  <a:pt x="2212709" y="4509954"/>
                </a:lnTo>
                <a:lnTo>
                  <a:pt x="2213692" y="4473400"/>
                </a:lnTo>
                <a:cubicBezTo>
                  <a:pt x="2213967" y="4429178"/>
                  <a:pt x="2212869" y="4384955"/>
                  <a:pt x="2209029" y="4340733"/>
                </a:cubicBezTo>
                <a:cubicBezTo>
                  <a:pt x="2200251" y="4340733"/>
                  <a:pt x="2191473" y="4340733"/>
                  <a:pt x="2182694" y="4340733"/>
                </a:cubicBezTo>
                <a:cubicBezTo>
                  <a:pt x="2176111" y="4472087"/>
                  <a:pt x="2167333" y="4603441"/>
                  <a:pt x="2158555" y="4734796"/>
                </a:cubicBezTo>
                <a:cubicBezTo>
                  <a:pt x="2158555" y="4734796"/>
                  <a:pt x="2156361" y="4734796"/>
                  <a:pt x="2156361" y="4734796"/>
                </a:cubicBezTo>
                <a:cubicBezTo>
                  <a:pt x="2156361" y="4684006"/>
                  <a:pt x="2156361" y="4631464"/>
                  <a:pt x="2156361" y="4580674"/>
                </a:cubicBezTo>
                <a:cubicBezTo>
                  <a:pt x="2156361" y="4500109"/>
                  <a:pt x="2171723" y="4419545"/>
                  <a:pt x="2154167" y="4342484"/>
                </a:cubicBezTo>
                <a:cubicBezTo>
                  <a:pt x="2134416" y="4246157"/>
                  <a:pt x="2136610" y="4151582"/>
                  <a:pt x="2147584" y="4055255"/>
                </a:cubicBezTo>
                <a:cubicBezTo>
                  <a:pt x="2156361" y="3976443"/>
                  <a:pt x="2151972" y="3897630"/>
                  <a:pt x="2151972" y="3817066"/>
                </a:cubicBezTo>
                <a:cubicBezTo>
                  <a:pt x="2151972" y="3738253"/>
                  <a:pt x="2151972" y="3659440"/>
                  <a:pt x="2149778" y="3580628"/>
                </a:cubicBezTo>
                <a:cubicBezTo>
                  <a:pt x="2149778" y="3573623"/>
                  <a:pt x="2149778" y="3568368"/>
                  <a:pt x="2143194" y="3561363"/>
                </a:cubicBezTo>
                <a:cubicBezTo>
                  <a:pt x="2127832" y="4013222"/>
                  <a:pt x="2083943" y="4461578"/>
                  <a:pt x="2020304" y="4920443"/>
                </a:cubicBezTo>
                <a:cubicBezTo>
                  <a:pt x="2004942" y="4902929"/>
                  <a:pt x="1996164" y="4895924"/>
                  <a:pt x="1982996" y="4880161"/>
                </a:cubicBezTo>
                <a:cubicBezTo>
                  <a:pt x="1982996" y="4906432"/>
                  <a:pt x="1982996" y="4922194"/>
                  <a:pt x="1982996" y="4939709"/>
                </a:cubicBezTo>
                <a:cubicBezTo>
                  <a:pt x="1980802" y="4939709"/>
                  <a:pt x="1978607" y="4939709"/>
                  <a:pt x="1976413" y="4939709"/>
                </a:cubicBezTo>
                <a:cubicBezTo>
                  <a:pt x="1972024" y="4797846"/>
                  <a:pt x="1967636" y="4655983"/>
                  <a:pt x="1963246" y="4515872"/>
                </a:cubicBezTo>
                <a:cubicBezTo>
                  <a:pt x="1917162" y="4626210"/>
                  <a:pt x="1936913" y="4740050"/>
                  <a:pt x="1921551" y="4852140"/>
                </a:cubicBezTo>
                <a:cubicBezTo>
                  <a:pt x="1921551" y="4624457"/>
                  <a:pt x="1921551" y="4396777"/>
                  <a:pt x="1921551" y="4169096"/>
                </a:cubicBezTo>
                <a:cubicBezTo>
                  <a:pt x="1917162" y="4169096"/>
                  <a:pt x="1912772" y="4169096"/>
                  <a:pt x="1906190" y="4167345"/>
                </a:cubicBezTo>
                <a:cubicBezTo>
                  <a:pt x="1899607" y="4218135"/>
                  <a:pt x="1893022" y="4268926"/>
                  <a:pt x="1884245" y="4328473"/>
                </a:cubicBezTo>
                <a:cubicBezTo>
                  <a:pt x="1884245" y="4256666"/>
                  <a:pt x="1884245" y="4195367"/>
                  <a:pt x="1884245" y="4134068"/>
                </a:cubicBezTo>
                <a:cubicBezTo>
                  <a:pt x="1879855" y="4134068"/>
                  <a:pt x="1875466" y="4134068"/>
                  <a:pt x="1873272" y="4134068"/>
                </a:cubicBezTo>
                <a:cubicBezTo>
                  <a:pt x="1860104" y="4345988"/>
                  <a:pt x="1849133" y="4559656"/>
                  <a:pt x="1838160" y="4775078"/>
                </a:cubicBezTo>
                <a:cubicBezTo>
                  <a:pt x="1835966" y="4764569"/>
                  <a:pt x="1833771" y="4757564"/>
                  <a:pt x="1831577" y="4748808"/>
                </a:cubicBezTo>
                <a:cubicBezTo>
                  <a:pt x="1827187" y="4748808"/>
                  <a:pt x="1824993" y="4748808"/>
                  <a:pt x="1822798" y="4748808"/>
                </a:cubicBezTo>
                <a:cubicBezTo>
                  <a:pt x="1820604" y="4775078"/>
                  <a:pt x="1820604" y="4801349"/>
                  <a:pt x="1816215" y="4832874"/>
                </a:cubicBezTo>
                <a:cubicBezTo>
                  <a:pt x="1811827" y="4824116"/>
                  <a:pt x="1809633" y="4820614"/>
                  <a:pt x="1809633" y="4817111"/>
                </a:cubicBezTo>
                <a:cubicBezTo>
                  <a:pt x="1809633" y="4629712"/>
                  <a:pt x="1809633" y="4442313"/>
                  <a:pt x="1809633" y="4254914"/>
                </a:cubicBezTo>
                <a:cubicBezTo>
                  <a:pt x="1809633" y="4242655"/>
                  <a:pt x="1803048" y="4228643"/>
                  <a:pt x="1798659" y="4216384"/>
                </a:cubicBezTo>
                <a:cubicBezTo>
                  <a:pt x="1796465" y="4204125"/>
                  <a:pt x="1789881" y="4193616"/>
                  <a:pt x="1781104" y="4181356"/>
                </a:cubicBezTo>
                <a:cubicBezTo>
                  <a:pt x="1752575" y="4284688"/>
                  <a:pt x="1763547" y="4393275"/>
                  <a:pt x="1745992" y="4498358"/>
                </a:cubicBezTo>
                <a:cubicBezTo>
                  <a:pt x="1745992" y="4363500"/>
                  <a:pt x="1745992" y="4228643"/>
                  <a:pt x="1745992" y="4093786"/>
                </a:cubicBezTo>
                <a:cubicBezTo>
                  <a:pt x="1737214" y="4093786"/>
                  <a:pt x="1730630" y="4093786"/>
                  <a:pt x="1724047" y="4093786"/>
                </a:cubicBezTo>
                <a:cubicBezTo>
                  <a:pt x="1717463" y="4177854"/>
                  <a:pt x="1706491" y="4263672"/>
                  <a:pt x="1702101" y="4349490"/>
                </a:cubicBezTo>
                <a:cubicBezTo>
                  <a:pt x="1699907" y="4435308"/>
                  <a:pt x="1702101" y="4521127"/>
                  <a:pt x="1702101" y="4606945"/>
                </a:cubicBezTo>
                <a:cubicBezTo>
                  <a:pt x="1695518" y="4606945"/>
                  <a:pt x="1688935" y="4606945"/>
                  <a:pt x="1684547" y="4606945"/>
                </a:cubicBezTo>
                <a:cubicBezTo>
                  <a:pt x="1684547" y="4359998"/>
                  <a:pt x="1684547" y="4111300"/>
                  <a:pt x="1684547" y="3864354"/>
                </a:cubicBezTo>
                <a:cubicBezTo>
                  <a:pt x="1677962" y="3864354"/>
                  <a:pt x="1671379" y="3864354"/>
                  <a:pt x="1666990" y="3864354"/>
                </a:cubicBezTo>
                <a:cubicBezTo>
                  <a:pt x="1666990" y="3897630"/>
                  <a:pt x="1666990" y="3929156"/>
                  <a:pt x="1666990" y="3962432"/>
                </a:cubicBezTo>
                <a:cubicBezTo>
                  <a:pt x="1666990" y="4046499"/>
                  <a:pt x="1682352" y="4132317"/>
                  <a:pt x="1660407" y="4212881"/>
                </a:cubicBezTo>
                <a:lnTo>
                  <a:pt x="1643326" y="4316846"/>
                </a:lnTo>
                <a:lnTo>
                  <a:pt x="1643326" y="4343331"/>
                </a:lnTo>
                <a:lnTo>
                  <a:pt x="1641854" y="4343331"/>
                </a:lnTo>
                <a:lnTo>
                  <a:pt x="1640108" y="4434433"/>
                </a:lnTo>
                <a:cubicBezTo>
                  <a:pt x="1641753" y="4508429"/>
                  <a:pt x="1647240" y="4582425"/>
                  <a:pt x="1642850" y="4655983"/>
                </a:cubicBezTo>
                <a:cubicBezTo>
                  <a:pt x="1640656" y="4675249"/>
                  <a:pt x="1645045" y="4694514"/>
                  <a:pt x="1640656" y="4715531"/>
                </a:cubicBezTo>
                <a:cubicBezTo>
                  <a:pt x="1636267" y="4703271"/>
                  <a:pt x="1634073" y="4689259"/>
                  <a:pt x="1631879" y="4675249"/>
                </a:cubicBezTo>
                <a:cubicBezTo>
                  <a:pt x="1623101" y="4617453"/>
                  <a:pt x="1607739" y="4557905"/>
                  <a:pt x="1607739" y="4500109"/>
                </a:cubicBezTo>
                <a:cubicBezTo>
                  <a:pt x="1609933" y="4391524"/>
                  <a:pt x="1620905" y="4284688"/>
                  <a:pt x="1625295" y="4176101"/>
                </a:cubicBezTo>
                <a:cubicBezTo>
                  <a:pt x="1627489" y="4139322"/>
                  <a:pt x="1623102" y="4100791"/>
                  <a:pt x="1620905" y="4064013"/>
                </a:cubicBezTo>
                <a:cubicBezTo>
                  <a:pt x="1620905" y="4060509"/>
                  <a:pt x="1614322" y="4057007"/>
                  <a:pt x="1605544" y="4048250"/>
                </a:cubicBezTo>
                <a:cubicBezTo>
                  <a:pt x="1598961" y="4132317"/>
                  <a:pt x="1594573" y="4209378"/>
                  <a:pt x="1587988" y="4288192"/>
                </a:cubicBezTo>
                <a:cubicBezTo>
                  <a:pt x="1585794" y="4288192"/>
                  <a:pt x="1585794" y="4288192"/>
                  <a:pt x="1583599" y="4288192"/>
                </a:cubicBezTo>
                <a:lnTo>
                  <a:pt x="1574795" y="4207389"/>
                </a:lnTo>
                <a:lnTo>
                  <a:pt x="1570400" y="4355124"/>
                </a:lnTo>
                <a:cubicBezTo>
                  <a:pt x="1566012" y="4459770"/>
                  <a:pt x="1561074" y="4564416"/>
                  <a:pt x="1557782" y="4668625"/>
                </a:cubicBezTo>
                <a:cubicBezTo>
                  <a:pt x="1553393" y="4770205"/>
                  <a:pt x="1551199" y="4873537"/>
                  <a:pt x="1544616" y="4975118"/>
                </a:cubicBezTo>
                <a:cubicBezTo>
                  <a:pt x="1542421" y="5011897"/>
                  <a:pt x="1522670" y="5046925"/>
                  <a:pt x="1520476" y="5081952"/>
                </a:cubicBezTo>
                <a:cubicBezTo>
                  <a:pt x="1518281" y="5166019"/>
                  <a:pt x="1520476" y="5251838"/>
                  <a:pt x="1511698" y="5335904"/>
                </a:cubicBezTo>
                <a:cubicBezTo>
                  <a:pt x="1496336" y="5159013"/>
                  <a:pt x="1524864" y="4982123"/>
                  <a:pt x="1509504" y="4805233"/>
                </a:cubicBezTo>
                <a:cubicBezTo>
                  <a:pt x="1500726" y="4805233"/>
                  <a:pt x="1491948" y="4805233"/>
                  <a:pt x="1483170" y="4805233"/>
                </a:cubicBezTo>
                <a:cubicBezTo>
                  <a:pt x="1476587" y="4936587"/>
                  <a:pt x="1467808" y="5067941"/>
                  <a:pt x="1459030" y="5199296"/>
                </a:cubicBezTo>
                <a:cubicBezTo>
                  <a:pt x="1459030" y="5199296"/>
                  <a:pt x="1456836" y="5199296"/>
                  <a:pt x="1456836" y="5199296"/>
                </a:cubicBezTo>
                <a:cubicBezTo>
                  <a:pt x="1456836" y="5148506"/>
                  <a:pt x="1456836" y="5095964"/>
                  <a:pt x="1456836" y="5045174"/>
                </a:cubicBezTo>
                <a:cubicBezTo>
                  <a:pt x="1456836" y="4964609"/>
                  <a:pt x="1472198" y="4884045"/>
                  <a:pt x="1454642" y="4806984"/>
                </a:cubicBezTo>
                <a:cubicBezTo>
                  <a:pt x="1434890" y="4710657"/>
                  <a:pt x="1437085" y="4616082"/>
                  <a:pt x="1448058" y="4519755"/>
                </a:cubicBezTo>
                <a:cubicBezTo>
                  <a:pt x="1456836" y="4440942"/>
                  <a:pt x="1452447" y="4362130"/>
                  <a:pt x="1452447" y="4281566"/>
                </a:cubicBezTo>
                <a:cubicBezTo>
                  <a:pt x="1452447" y="4202753"/>
                  <a:pt x="1452447" y="4123940"/>
                  <a:pt x="1450253" y="4045128"/>
                </a:cubicBezTo>
                <a:cubicBezTo>
                  <a:pt x="1450253" y="4038122"/>
                  <a:pt x="1450253" y="4032868"/>
                  <a:pt x="1443669" y="4025863"/>
                </a:cubicBezTo>
                <a:cubicBezTo>
                  <a:pt x="1428307" y="4477722"/>
                  <a:pt x="1384418" y="4926078"/>
                  <a:pt x="1320778" y="5384943"/>
                </a:cubicBezTo>
                <a:cubicBezTo>
                  <a:pt x="1305416" y="5367429"/>
                  <a:pt x="1296639" y="5360423"/>
                  <a:pt x="1283471" y="5344661"/>
                </a:cubicBezTo>
                <a:cubicBezTo>
                  <a:pt x="1283471" y="5370932"/>
                  <a:pt x="1283471" y="5386694"/>
                  <a:pt x="1283471" y="5404208"/>
                </a:cubicBezTo>
                <a:cubicBezTo>
                  <a:pt x="1281277" y="5404208"/>
                  <a:pt x="1279082" y="5404208"/>
                  <a:pt x="1276888" y="5404208"/>
                </a:cubicBezTo>
                <a:cubicBezTo>
                  <a:pt x="1272498" y="5262345"/>
                  <a:pt x="1268110" y="5120482"/>
                  <a:pt x="1263721" y="4980372"/>
                </a:cubicBezTo>
                <a:cubicBezTo>
                  <a:pt x="1217636" y="5090710"/>
                  <a:pt x="1237388" y="5204549"/>
                  <a:pt x="1222026" y="5316639"/>
                </a:cubicBezTo>
                <a:cubicBezTo>
                  <a:pt x="1222026" y="5088957"/>
                  <a:pt x="1222026" y="4861276"/>
                  <a:pt x="1222025" y="4633596"/>
                </a:cubicBezTo>
                <a:cubicBezTo>
                  <a:pt x="1217636" y="4633596"/>
                  <a:pt x="1213248" y="4633596"/>
                  <a:pt x="1206665" y="4631845"/>
                </a:cubicBezTo>
                <a:cubicBezTo>
                  <a:pt x="1200082" y="4682635"/>
                  <a:pt x="1193497" y="4733426"/>
                  <a:pt x="1184720" y="4792973"/>
                </a:cubicBezTo>
                <a:cubicBezTo>
                  <a:pt x="1184720" y="4721166"/>
                  <a:pt x="1184720" y="4659866"/>
                  <a:pt x="1184720" y="4598568"/>
                </a:cubicBezTo>
                <a:cubicBezTo>
                  <a:pt x="1180330" y="4598568"/>
                  <a:pt x="1175941" y="4598568"/>
                  <a:pt x="1173747" y="4598568"/>
                </a:cubicBezTo>
                <a:cubicBezTo>
                  <a:pt x="1160579" y="4810487"/>
                  <a:pt x="1149608" y="5024156"/>
                  <a:pt x="1138635" y="5239578"/>
                </a:cubicBezTo>
                <a:cubicBezTo>
                  <a:pt x="1136441" y="5229069"/>
                  <a:pt x="1134246" y="5222064"/>
                  <a:pt x="1132052" y="5213307"/>
                </a:cubicBezTo>
                <a:cubicBezTo>
                  <a:pt x="1127662" y="5213307"/>
                  <a:pt x="1125468" y="5213307"/>
                  <a:pt x="1123273" y="5213307"/>
                </a:cubicBezTo>
                <a:cubicBezTo>
                  <a:pt x="1121079" y="5239578"/>
                  <a:pt x="1121079" y="5265849"/>
                  <a:pt x="1116691" y="5297374"/>
                </a:cubicBezTo>
                <a:cubicBezTo>
                  <a:pt x="1112302" y="5288616"/>
                  <a:pt x="1110108" y="5285114"/>
                  <a:pt x="1110108" y="5281611"/>
                </a:cubicBezTo>
                <a:cubicBezTo>
                  <a:pt x="1110108" y="5094212"/>
                  <a:pt x="1110108" y="4906813"/>
                  <a:pt x="1110108" y="4719414"/>
                </a:cubicBezTo>
                <a:cubicBezTo>
                  <a:pt x="1110108" y="4707155"/>
                  <a:pt x="1103523" y="4693143"/>
                  <a:pt x="1099134" y="4680884"/>
                </a:cubicBezTo>
                <a:cubicBezTo>
                  <a:pt x="1096940" y="4668625"/>
                  <a:pt x="1090356" y="4658115"/>
                  <a:pt x="1081579" y="4645856"/>
                </a:cubicBezTo>
                <a:cubicBezTo>
                  <a:pt x="1053050" y="4749188"/>
                  <a:pt x="1064023" y="4857774"/>
                  <a:pt x="1046467" y="4962858"/>
                </a:cubicBezTo>
                <a:cubicBezTo>
                  <a:pt x="1046467" y="4828000"/>
                  <a:pt x="1046467" y="4693143"/>
                  <a:pt x="1046467" y="4558286"/>
                </a:cubicBezTo>
                <a:cubicBezTo>
                  <a:pt x="1037688" y="4558286"/>
                  <a:pt x="1031105" y="4558286"/>
                  <a:pt x="1024522" y="4558286"/>
                </a:cubicBezTo>
                <a:cubicBezTo>
                  <a:pt x="1017938" y="4642354"/>
                  <a:pt x="1006966" y="4728172"/>
                  <a:pt x="1002576" y="4813990"/>
                </a:cubicBezTo>
                <a:cubicBezTo>
                  <a:pt x="1000382" y="4899807"/>
                  <a:pt x="1002576" y="4985627"/>
                  <a:pt x="1002576" y="5071445"/>
                </a:cubicBezTo>
                <a:cubicBezTo>
                  <a:pt x="995993" y="5071445"/>
                  <a:pt x="989411" y="5071445"/>
                  <a:pt x="985022" y="5071445"/>
                </a:cubicBezTo>
                <a:cubicBezTo>
                  <a:pt x="985022" y="4824498"/>
                  <a:pt x="985022" y="4575800"/>
                  <a:pt x="985022" y="4328854"/>
                </a:cubicBezTo>
                <a:cubicBezTo>
                  <a:pt x="978437" y="4328854"/>
                  <a:pt x="971854" y="4328854"/>
                  <a:pt x="967466" y="4328854"/>
                </a:cubicBezTo>
                <a:cubicBezTo>
                  <a:pt x="967466" y="4362130"/>
                  <a:pt x="967466" y="4393655"/>
                  <a:pt x="967466" y="4426932"/>
                </a:cubicBezTo>
                <a:cubicBezTo>
                  <a:pt x="967466" y="4510999"/>
                  <a:pt x="982828" y="4596816"/>
                  <a:pt x="960882" y="4677381"/>
                </a:cubicBezTo>
                <a:cubicBezTo>
                  <a:pt x="921380" y="4824498"/>
                  <a:pt x="952104" y="4973366"/>
                  <a:pt x="943325" y="5120482"/>
                </a:cubicBezTo>
                <a:cubicBezTo>
                  <a:pt x="941131" y="5139748"/>
                  <a:pt x="945520" y="5159013"/>
                  <a:pt x="941131" y="5180031"/>
                </a:cubicBezTo>
                <a:cubicBezTo>
                  <a:pt x="936742" y="5167771"/>
                  <a:pt x="934548" y="5153759"/>
                  <a:pt x="932354" y="5139748"/>
                </a:cubicBezTo>
                <a:cubicBezTo>
                  <a:pt x="923576" y="5081952"/>
                  <a:pt x="908214" y="5022405"/>
                  <a:pt x="908214" y="4964609"/>
                </a:cubicBezTo>
                <a:cubicBezTo>
                  <a:pt x="910408" y="4856023"/>
                  <a:pt x="921380" y="4749188"/>
                  <a:pt x="925770" y="4640601"/>
                </a:cubicBezTo>
                <a:cubicBezTo>
                  <a:pt x="927964" y="4603821"/>
                  <a:pt x="923576" y="4565291"/>
                  <a:pt x="921380" y="4528513"/>
                </a:cubicBezTo>
                <a:cubicBezTo>
                  <a:pt x="921380" y="4525009"/>
                  <a:pt x="914797" y="4521507"/>
                  <a:pt x="906019" y="4512750"/>
                </a:cubicBezTo>
                <a:cubicBezTo>
                  <a:pt x="899436" y="4596816"/>
                  <a:pt x="895048" y="4673878"/>
                  <a:pt x="888463" y="4752691"/>
                </a:cubicBezTo>
                <a:cubicBezTo>
                  <a:pt x="886269" y="4752691"/>
                  <a:pt x="886269" y="4752691"/>
                  <a:pt x="884074" y="4752691"/>
                </a:cubicBezTo>
                <a:cubicBezTo>
                  <a:pt x="879686" y="4712408"/>
                  <a:pt x="875296" y="4672126"/>
                  <a:pt x="870908" y="4631845"/>
                </a:cubicBezTo>
                <a:lnTo>
                  <a:pt x="870210" y="4631845"/>
                </a:lnTo>
                <a:lnTo>
                  <a:pt x="858259" y="4928760"/>
                </a:lnTo>
                <a:cubicBezTo>
                  <a:pt x="853870" y="5030340"/>
                  <a:pt x="851676" y="5133672"/>
                  <a:pt x="845093" y="5235254"/>
                </a:cubicBezTo>
                <a:cubicBezTo>
                  <a:pt x="842898" y="5272033"/>
                  <a:pt x="823147" y="5307060"/>
                  <a:pt x="820953" y="5342088"/>
                </a:cubicBezTo>
                <a:cubicBezTo>
                  <a:pt x="818758" y="5426154"/>
                  <a:pt x="820953" y="5511974"/>
                  <a:pt x="812175" y="5596040"/>
                </a:cubicBezTo>
                <a:cubicBezTo>
                  <a:pt x="796813" y="5419149"/>
                  <a:pt x="825341" y="5242258"/>
                  <a:pt x="809981" y="5065369"/>
                </a:cubicBezTo>
                <a:cubicBezTo>
                  <a:pt x="801203" y="5065369"/>
                  <a:pt x="792425" y="5065369"/>
                  <a:pt x="783646" y="5065369"/>
                </a:cubicBezTo>
                <a:cubicBezTo>
                  <a:pt x="777064" y="5196723"/>
                  <a:pt x="768285" y="5328077"/>
                  <a:pt x="759507" y="5459432"/>
                </a:cubicBezTo>
                <a:cubicBezTo>
                  <a:pt x="759507" y="5459432"/>
                  <a:pt x="757313" y="5459432"/>
                  <a:pt x="757313" y="5459432"/>
                </a:cubicBezTo>
                <a:cubicBezTo>
                  <a:pt x="757313" y="5408641"/>
                  <a:pt x="757313" y="5356100"/>
                  <a:pt x="757313" y="5305309"/>
                </a:cubicBezTo>
                <a:cubicBezTo>
                  <a:pt x="757313" y="5224744"/>
                  <a:pt x="772675" y="5144181"/>
                  <a:pt x="755119" y="5067120"/>
                </a:cubicBezTo>
                <a:cubicBezTo>
                  <a:pt x="735367" y="4970793"/>
                  <a:pt x="737561" y="4876218"/>
                  <a:pt x="748535" y="4779891"/>
                </a:cubicBezTo>
                <a:cubicBezTo>
                  <a:pt x="757313" y="4701078"/>
                  <a:pt x="752923" y="4622265"/>
                  <a:pt x="752923" y="4541702"/>
                </a:cubicBezTo>
                <a:cubicBezTo>
                  <a:pt x="752923" y="4462888"/>
                  <a:pt x="752923" y="4384076"/>
                  <a:pt x="750729" y="4305264"/>
                </a:cubicBezTo>
                <a:cubicBezTo>
                  <a:pt x="750729" y="4298258"/>
                  <a:pt x="750729" y="4293004"/>
                  <a:pt x="744146" y="4285999"/>
                </a:cubicBezTo>
                <a:cubicBezTo>
                  <a:pt x="728784" y="4737858"/>
                  <a:pt x="684895" y="5186214"/>
                  <a:pt x="621255" y="5645078"/>
                </a:cubicBezTo>
                <a:cubicBezTo>
                  <a:pt x="605893" y="5627564"/>
                  <a:pt x="597115" y="5620559"/>
                  <a:pt x="583948" y="5604797"/>
                </a:cubicBezTo>
                <a:cubicBezTo>
                  <a:pt x="583948" y="5631068"/>
                  <a:pt x="583948" y="5646830"/>
                  <a:pt x="583948" y="5664344"/>
                </a:cubicBezTo>
                <a:cubicBezTo>
                  <a:pt x="581753" y="5664344"/>
                  <a:pt x="579559" y="5664344"/>
                  <a:pt x="577365" y="5664344"/>
                </a:cubicBezTo>
                <a:cubicBezTo>
                  <a:pt x="572975" y="5522481"/>
                  <a:pt x="568587" y="5380618"/>
                  <a:pt x="564198" y="5240507"/>
                </a:cubicBezTo>
                <a:cubicBezTo>
                  <a:pt x="518113" y="5350846"/>
                  <a:pt x="537865" y="5464685"/>
                  <a:pt x="522503" y="5576775"/>
                </a:cubicBezTo>
                <a:cubicBezTo>
                  <a:pt x="522503" y="5349093"/>
                  <a:pt x="522503" y="5121412"/>
                  <a:pt x="522502" y="4893732"/>
                </a:cubicBezTo>
                <a:cubicBezTo>
                  <a:pt x="518113" y="4893732"/>
                  <a:pt x="513724" y="4893732"/>
                  <a:pt x="507141" y="4891981"/>
                </a:cubicBezTo>
                <a:cubicBezTo>
                  <a:pt x="500559" y="4942771"/>
                  <a:pt x="493974" y="4993562"/>
                  <a:pt x="485197" y="5053109"/>
                </a:cubicBezTo>
                <a:cubicBezTo>
                  <a:pt x="485197" y="4981301"/>
                  <a:pt x="485197" y="4920002"/>
                  <a:pt x="485197" y="4858704"/>
                </a:cubicBezTo>
                <a:cubicBezTo>
                  <a:pt x="480807" y="4858704"/>
                  <a:pt x="476418" y="4858704"/>
                  <a:pt x="474224" y="4858704"/>
                </a:cubicBezTo>
                <a:cubicBezTo>
                  <a:pt x="461056" y="5070623"/>
                  <a:pt x="450085" y="5284291"/>
                  <a:pt x="439112" y="5499713"/>
                </a:cubicBezTo>
                <a:cubicBezTo>
                  <a:pt x="436918" y="5489205"/>
                  <a:pt x="434723" y="5482199"/>
                  <a:pt x="432529" y="5473443"/>
                </a:cubicBezTo>
                <a:cubicBezTo>
                  <a:pt x="428139" y="5473443"/>
                  <a:pt x="425945" y="5473443"/>
                  <a:pt x="423750" y="5473443"/>
                </a:cubicBezTo>
                <a:cubicBezTo>
                  <a:pt x="421556" y="5499713"/>
                  <a:pt x="421556" y="5525984"/>
                  <a:pt x="417167" y="5557510"/>
                </a:cubicBezTo>
                <a:cubicBezTo>
                  <a:pt x="412779" y="5548752"/>
                  <a:pt x="410584" y="5545250"/>
                  <a:pt x="410584" y="5541746"/>
                </a:cubicBezTo>
                <a:cubicBezTo>
                  <a:pt x="410584" y="5354348"/>
                  <a:pt x="410584" y="5166948"/>
                  <a:pt x="410584" y="4979550"/>
                </a:cubicBezTo>
                <a:cubicBezTo>
                  <a:pt x="410584" y="4967291"/>
                  <a:pt x="404000" y="4953279"/>
                  <a:pt x="399611" y="4941020"/>
                </a:cubicBezTo>
                <a:cubicBezTo>
                  <a:pt x="397417" y="4928760"/>
                  <a:pt x="390834" y="4918251"/>
                  <a:pt x="382056" y="4905991"/>
                </a:cubicBezTo>
                <a:cubicBezTo>
                  <a:pt x="353528" y="5009324"/>
                  <a:pt x="364499" y="5117910"/>
                  <a:pt x="346944" y="5222993"/>
                </a:cubicBezTo>
                <a:cubicBezTo>
                  <a:pt x="346944" y="5088136"/>
                  <a:pt x="346944" y="4953279"/>
                  <a:pt x="346944" y="4818422"/>
                </a:cubicBezTo>
                <a:cubicBezTo>
                  <a:pt x="338165" y="4818422"/>
                  <a:pt x="331582" y="4818422"/>
                  <a:pt x="324999" y="4818422"/>
                </a:cubicBezTo>
                <a:cubicBezTo>
                  <a:pt x="318416" y="4902489"/>
                  <a:pt x="307443" y="4988307"/>
                  <a:pt x="303054" y="5074125"/>
                </a:cubicBezTo>
                <a:cubicBezTo>
                  <a:pt x="300859" y="5159943"/>
                  <a:pt x="303054" y="5245762"/>
                  <a:pt x="303054" y="5331580"/>
                </a:cubicBezTo>
                <a:cubicBezTo>
                  <a:pt x="296470" y="5331580"/>
                  <a:pt x="289887" y="5331580"/>
                  <a:pt x="285499" y="5331580"/>
                </a:cubicBezTo>
                <a:cubicBezTo>
                  <a:pt x="285499" y="5084634"/>
                  <a:pt x="285499" y="4835936"/>
                  <a:pt x="285499" y="4588989"/>
                </a:cubicBezTo>
                <a:cubicBezTo>
                  <a:pt x="278914" y="4588989"/>
                  <a:pt x="272331" y="4588989"/>
                  <a:pt x="267942" y="4588989"/>
                </a:cubicBezTo>
                <a:cubicBezTo>
                  <a:pt x="267942" y="4622265"/>
                  <a:pt x="267942" y="4653791"/>
                  <a:pt x="267942" y="4687067"/>
                </a:cubicBezTo>
                <a:cubicBezTo>
                  <a:pt x="267942" y="4771134"/>
                  <a:pt x="283304" y="4856952"/>
                  <a:pt x="261359" y="4937516"/>
                </a:cubicBezTo>
                <a:cubicBezTo>
                  <a:pt x="221857" y="5084634"/>
                  <a:pt x="252581" y="5233502"/>
                  <a:pt x="243802" y="5380618"/>
                </a:cubicBezTo>
                <a:cubicBezTo>
                  <a:pt x="241608" y="5399884"/>
                  <a:pt x="245997" y="5419149"/>
                  <a:pt x="241608" y="5440166"/>
                </a:cubicBezTo>
                <a:cubicBezTo>
                  <a:pt x="237219" y="5427907"/>
                  <a:pt x="235025" y="5413895"/>
                  <a:pt x="232831" y="5399884"/>
                </a:cubicBezTo>
                <a:cubicBezTo>
                  <a:pt x="224053" y="5342088"/>
                  <a:pt x="208691" y="5282540"/>
                  <a:pt x="208691" y="5224744"/>
                </a:cubicBezTo>
                <a:cubicBezTo>
                  <a:pt x="210885" y="5116159"/>
                  <a:pt x="221857" y="5009324"/>
                  <a:pt x="226248" y="4900737"/>
                </a:cubicBezTo>
                <a:cubicBezTo>
                  <a:pt x="228442" y="4863957"/>
                  <a:pt x="224053" y="4825426"/>
                  <a:pt x="221857" y="4788648"/>
                </a:cubicBezTo>
                <a:cubicBezTo>
                  <a:pt x="221857" y="4785145"/>
                  <a:pt x="215274" y="4781643"/>
                  <a:pt x="206496" y="4772885"/>
                </a:cubicBezTo>
                <a:cubicBezTo>
                  <a:pt x="199913" y="4856952"/>
                  <a:pt x="195525" y="4934014"/>
                  <a:pt x="188940" y="5012827"/>
                </a:cubicBezTo>
                <a:cubicBezTo>
                  <a:pt x="186746" y="5012827"/>
                  <a:pt x="186746" y="5012827"/>
                  <a:pt x="184551" y="5012827"/>
                </a:cubicBezTo>
                <a:cubicBezTo>
                  <a:pt x="180163" y="4972544"/>
                  <a:pt x="175774" y="4932262"/>
                  <a:pt x="171385" y="4891981"/>
                </a:cubicBezTo>
                <a:cubicBezTo>
                  <a:pt x="166995" y="4891981"/>
                  <a:pt x="160411" y="4891981"/>
                  <a:pt x="156023" y="4891981"/>
                </a:cubicBezTo>
                <a:cubicBezTo>
                  <a:pt x="153828" y="4948026"/>
                  <a:pt x="149440" y="5005821"/>
                  <a:pt x="147245" y="5063616"/>
                </a:cubicBezTo>
                <a:cubicBezTo>
                  <a:pt x="147245" y="5147683"/>
                  <a:pt x="151634" y="5231750"/>
                  <a:pt x="151634" y="5314066"/>
                </a:cubicBezTo>
                <a:cubicBezTo>
                  <a:pt x="151634" y="5328077"/>
                  <a:pt x="142857" y="5342088"/>
                  <a:pt x="138466" y="5354348"/>
                </a:cubicBezTo>
                <a:cubicBezTo>
                  <a:pt x="134078" y="5354348"/>
                  <a:pt x="127495" y="5354348"/>
                  <a:pt x="123105" y="5352597"/>
                </a:cubicBezTo>
                <a:cubicBezTo>
                  <a:pt x="123105" y="5194972"/>
                  <a:pt x="123105" y="5039097"/>
                  <a:pt x="123105" y="4881471"/>
                </a:cubicBezTo>
                <a:cubicBezTo>
                  <a:pt x="118717" y="4881471"/>
                  <a:pt x="114328" y="4881471"/>
                  <a:pt x="109939" y="4881471"/>
                </a:cubicBezTo>
                <a:cubicBezTo>
                  <a:pt x="109939" y="4905991"/>
                  <a:pt x="109939" y="4930511"/>
                  <a:pt x="109939" y="4955031"/>
                </a:cubicBezTo>
                <a:cubicBezTo>
                  <a:pt x="107743" y="4955031"/>
                  <a:pt x="105549" y="4955031"/>
                  <a:pt x="103355" y="4955031"/>
                </a:cubicBezTo>
                <a:cubicBezTo>
                  <a:pt x="103355" y="4911246"/>
                  <a:pt x="103355" y="4867461"/>
                  <a:pt x="103355" y="4823675"/>
                </a:cubicBezTo>
                <a:cubicBezTo>
                  <a:pt x="105549" y="4823675"/>
                  <a:pt x="105549" y="4823675"/>
                  <a:pt x="107743" y="4823675"/>
                </a:cubicBezTo>
                <a:cubicBezTo>
                  <a:pt x="109939" y="4837687"/>
                  <a:pt x="112134" y="4851698"/>
                  <a:pt x="114328" y="4865710"/>
                </a:cubicBezTo>
                <a:cubicBezTo>
                  <a:pt x="116522" y="4865710"/>
                  <a:pt x="118717" y="4865710"/>
                  <a:pt x="120911" y="4865710"/>
                </a:cubicBezTo>
                <a:cubicBezTo>
                  <a:pt x="120911" y="4795654"/>
                  <a:pt x="120911" y="4723847"/>
                  <a:pt x="120911" y="4653791"/>
                </a:cubicBezTo>
                <a:cubicBezTo>
                  <a:pt x="120911" y="4653791"/>
                  <a:pt x="118717" y="4653791"/>
                  <a:pt x="118717" y="4653791"/>
                </a:cubicBezTo>
                <a:cubicBezTo>
                  <a:pt x="118717" y="4692322"/>
                  <a:pt x="118717" y="4730852"/>
                  <a:pt x="118717" y="4769383"/>
                </a:cubicBezTo>
                <a:cubicBezTo>
                  <a:pt x="118717" y="4769383"/>
                  <a:pt x="116522" y="4769383"/>
                  <a:pt x="116522" y="4769383"/>
                </a:cubicBezTo>
                <a:cubicBezTo>
                  <a:pt x="96772" y="4215943"/>
                  <a:pt x="74827" y="3662503"/>
                  <a:pt x="55077" y="3109064"/>
                </a:cubicBezTo>
                <a:cubicBezTo>
                  <a:pt x="50688" y="3109064"/>
                  <a:pt x="46298" y="3109064"/>
                  <a:pt x="39715" y="3109064"/>
                </a:cubicBezTo>
                <a:cubicBezTo>
                  <a:pt x="50688" y="3373523"/>
                  <a:pt x="59466" y="3637983"/>
                  <a:pt x="68243" y="3904195"/>
                </a:cubicBezTo>
                <a:cubicBezTo>
                  <a:pt x="66049" y="3904195"/>
                  <a:pt x="63854" y="3904195"/>
                  <a:pt x="59466" y="3904195"/>
                </a:cubicBezTo>
                <a:cubicBezTo>
                  <a:pt x="59466" y="3893687"/>
                  <a:pt x="57271" y="3881427"/>
                  <a:pt x="57271" y="3870919"/>
                </a:cubicBezTo>
                <a:cubicBezTo>
                  <a:pt x="48494" y="3627475"/>
                  <a:pt x="37521" y="3384032"/>
                  <a:pt x="30937" y="3140588"/>
                </a:cubicBezTo>
                <a:cubicBezTo>
                  <a:pt x="22160" y="2855111"/>
                  <a:pt x="17771" y="2567884"/>
                  <a:pt x="13381" y="2282406"/>
                </a:cubicBezTo>
                <a:cubicBezTo>
                  <a:pt x="13381" y="2233367"/>
                  <a:pt x="24354" y="2184329"/>
                  <a:pt x="22160" y="2137042"/>
                </a:cubicBezTo>
                <a:cubicBezTo>
                  <a:pt x="15575" y="1970659"/>
                  <a:pt x="4603" y="1804276"/>
                  <a:pt x="215" y="1637895"/>
                </a:cubicBezTo>
                <a:cubicBezTo>
                  <a:pt x="-1980" y="1578347"/>
                  <a:pt x="13381" y="1517048"/>
                  <a:pt x="15575" y="1457501"/>
                </a:cubicBezTo>
                <a:cubicBezTo>
                  <a:pt x="19965" y="1373434"/>
                  <a:pt x="17771" y="1289367"/>
                  <a:pt x="17771" y="1207051"/>
                </a:cubicBezTo>
                <a:cubicBezTo>
                  <a:pt x="17771" y="1191290"/>
                  <a:pt x="22160" y="1177278"/>
                  <a:pt x="24354" y="1159764"/>
                </a:cubicBezTo>
                <a:cubicBezTo>
                  <a:pt x="37521" y="1270102"/>
                  <a:pt x="50688" y="1378688"/>
                  <a:pt x="63854" y="1485523"/>
                </a:cubicBezTo>
                <a:cubicBezTo>
                  <a:pt x="68243" y="1485523"/>
                  <a:pt x="70438" y="1485523"/>
                  <a:pt x="74827" y="1485523"/>
                </a:cubicBezTo>
                <a:cubicBezTo>
                  <a:pt x="74827" y="1450496"/>
                  <a:pt x="74827" y="1413716"/>
                  <a:pt x="74827" y="1378688"/>
                </a:cubicBezTo>
                <a:cubicBezTo>
                  <a:pt x="77021" y="1378688"/>
                  <a:pt x="79216" y="1376937"/>
                  <a:pt x="81411" y="1376937"/>
                </a:cubicBezTo>
                <a:cubicBezTo>
                  <a:pt x="81411" y="1399705"/>
                  <a:pt x="81411" y="1420722"/>
                  <a:pt x="81411" y="1441738"/>
                </a:cubicBezTo>
                <a:cubicBezTo>
                  <a:pt x="83606" y="1441738"/>
                  <a:pt x="87994" y="1441738"/>
                  <a:pt x="90189" y="1441738"/>
                </a:cubicBezTo>
                <a:cubicBezTo>
                  <a:pt x="96772" y="1399705"/>
                  <a:pt x="105549" y="1355920"/>
                  <a:pt x="109939" y="1312135"/>
                </a:cubicBezTo>
                <a:cubicBezTo>
                  <a:pt x="112134" y="1275356"/>
                  <a:pt x="116522" y="1238577"/>
                  <a:pt x="149440" y="1208802"/>
                </a:cubicBezTo>
                <a:cubicBezTo>
                  <a:pt x="164801" y="1194792"/>
                  <a:pt x="173580" y="1165019"/>
                  <a:pt x="206496" y="1194792"/>
                </a:cubicBezTo>
                <a:cubicBezTo>
                  <a:pt x="206496" y="1194792"/>
                  <a:pt x="208691" y="1194792"/>
                  <a:pt x="210885" y="1194792"/>
                </a:cubicBezTo>
                <a:cubicBezTo>
                  <a:pt x="256970" y="1173775"/>
                  <a:pt x="305248" y="1152759"/>
                  <a:pt x="353528" y="1133494"/>
                </a:cubicBezTo>
                <a:cubicBezTo>
                  <a:pt x="333776" y="1212306"/>
                  <a:pt x="357916" y="1287615"/>
                  <a:pt x="386444" y="1364677"/>
                </a:cubicBezTo>
                <a:cubicBezTo>
                  <a:pt x="390834" y="1364677"/>
                  <a:pt x="395222" y="1364677"/>
                  <a:pt x="399611" y="1362925"/>
                </a:cubicBezTo>
                <a:cubicBezTo>
                  <a:pt x="399611" y="1282362"/>
                  <a:pt x="399611" y="1201797"/>
                  <a:pt x="399611" y="1121233"/>
                </a:cubicBezTo>
                <a:cubicBezTo>
                  <a:pt x="401805" y="1121233"/>
                  <a:pt x="404000" y="1121233"/>
                  <a:pt x="404000" y="1121233"/>
                </a:cubicBezTo>
                <a:cubicBezTo>
                  <a:pt x="412779" y="1187786"/>
                  <a:pt x="423750" y="1254339"/>
                  <a:pt x="432529" y="1320892"/>
                </a:cubicBezTo>
                <a:cubicBezTo>
                  <a:pt x="436918" y="1319141"/>
                  <a:pt x="439112" y="1319141"/>
                  <a:pt x="443502" y="1319141"/>
                </a:cubicBezTo>
                <a:cubicBezTo>
                  <a:pt x="441307" y="1289367"/>
                  <a:pt x="436918" y="1259594"/>
                  <a:pt x="432529" y="1229820"/>
                </a:cubicBezTo>
                <a:cubicBezTo>
                  <a:pt x="430334" y="1201797"/>
                  <a:pt x="408390" y="1173775"/>
                  <a:pt x="445696" y="1151007"/>
                </a:cubicBezTo>
                <a:cubicBezTo>
                  <a:pt x="456668" y="1256091"/>
                  <a:pt x="469835" y="1357671"/>
                  <a:pt x="480808" y="1461004"/>
                </a:cubicBezTo>
                <a:cubicBezTo>
                  <a:pt x="485197" y="1461004"/>
                  <a:pt x="489585" y="1461004"/>
                  <a:pt x="493974" y="1461004"/>
                </a:cubicBezTo>
                <a:cubicBezTo>
                  <a:pt x="498364" y="1439987"/>
                  <a:pt x="504947" y="1418970"/>
                  <a:pt x="504947" y="1396202"/>
                </a:cubicBezTo>
                <a:cubicBezTo>
                  <a:pt x="507141" y="1343660"/>
                  <a:pt x="504947" y="1291118"/>
                  <a:pt x="507141" y="1238577"/>
                </a:cubicBezTo>
                <a:cubicBezTo>
                  <a:pt x="507141" y="1221063"/>
                  <a:pt x="513724" y="1201797"/>
                  <a:pt x="524697" y="1184283"/>
                </a:cubicBezTo>
                <a:cubicBezTo>
                  <a:pt x="533476" y="1222814"/>
                  <a:pt x="542253" y="1261345"/>
                  <a:pt x="553225" y="1306880"/>
                </a:cubicBezTo>
                <a:cubicBezTo>
                  <a:pt x="562004" y="1294622"/>
                  <a:pt x="568587" y="1287615"/>
                  <a:pt x="579559" y="1271853"/>
                </a:cubicBezTo>
                <a:cubicBezTo>
                  <a:pt x="588338" y="1292870"/>
                  <a:pt x="597115" y="1306880"/>
                  <a:pt x="601504" y="1322643"/>
                </a:cubicBezTo>
                <a:cubicBezTo>
                  <a:pt x="608088" y="1369931"/>
                  <a:pt x="614671" y="1418970"/>
                  <a:pt x="621256" y="1466257"/>
                </a:cubicBezTo>
                <a:cubicBezTo>
                  <a:pt x="625644" y="1466257"/>
                  <a:pt x="630033" y="1468008"/>
                  <a:pt x="634422" y="1468008"/>
                </a:cubicBezTo>
                <a:cubicBezTo>
                  <a:pt x="638810" y="1413716"/>
                  <a:pt x="643199" y="1361174"/>
                  <a:pt x="647588" y="1308633"/>
                </a:cubicBezTo>
                <a:cubicBezTo>
                  <a:pt x="649783" y="1306880"/>
                  <a:pt x="654172" y="1306880"/>
                  <a:pt x="656366" y="1306880"/>
                </a:cubicBezTo>
                <a:cubicBezTo>
                  <a:pt x="656366" y="1343660"/>
                  <a:pt x="656366" y="1382191"/>
                  <a:pt x="656366" y="1424225"/>
                </a:cubicBezTo>
                <a:cubicBezTo>
                  <a:pt x="668436" y="1418533"/>
                  <a:pt x="678037" y="1412622"/>
                  <a:pt x="685477" y="1406437"/>
                </a:cubicBezTo>
                <a:lnTo>
                  <a:pt x="700185" y="1388744"/>
                </a:lnTo>
                <a:lnTo>
                  <a:pt x="699738" y="1377759"/>
                </a:lnTo>
                <a:lnTo>
                  <a:pt x="702253" y="1340163"/>
                </a:lnTo>
                <a:lnTo>
                  <a:pt x="698885" y="1310384"/>
                </a:lnTo>
                <a:cubicBezTo>
                  <a:pt x="699159" y="1299876"/>
                  <a:pt x="700256" y="1289367"/>
                  <a:pt x="700256" y="1278859"/>
                </a:cubicBezTo>
                <a:cubicBezTo>
                  <a:pt x="700256" y="1257842"/>
                  <a:pt x="698062" y="1236826"/>
                  <a:pt x="700256" y="1215808"/>
                </a:cubicBezTo>
                <a:lnTo>
                  <a:pt x="715922" y="1159545"/>
                </a:lnTo>
                <a:lnTo>
                  <a:pt x="717842" y="1071484"/>
                </a:lnTo>
                <a:cubicBezTo>
                  <a:pt x="717842" y="1029669"/>
                  <a:pt x="717294" y="988074"/>
                  <a:pt x="717294" y="946915"/>
                </a:cubicBezTo>
                <a:cubicBezTo>
                  <a:pt x="717294" y="931154"/>
                  <a:pt x="721683" y="917142"/>
                  <a:pt x="723877" y="899628"/>
                </a:cubicBezTo>
                <a:lnTo>
                  <a:pt x="759809" y="1195949"/>
                </a:lnTo>
                <a:lnTo>
                  <a:pt x="763896" y="1172024"/>
                </a:lnTo>
                <a:cubicBezTo>
                  <a:pt x="766090" y="1172024"/>
                  <a:pt x="770481" y="1172024"/>
                  <a:pt x="772675" y="1172024"/>
                </a:cubicBezTo>
                <a:lnTo>
                  <a:pt x="774350" y="1189402"/>
                </a:lnTo>
                <a:lnTo>
                  <a:pt x="774350" y="1118552"/>
                </a:lnTo>
                <a:cubicBezTo>
                  <a:pt x="776544" y="1118552"/>
                  <a:pt x="778739" y="1116801"/>
                  <a:pt x="780934" y="1116801"/>
                </a:cubicBezTo>
                <a:cubicBezTo>
                  <a:pt x="780934" y="1139569"/>
                  <a:pt x="780934" y="1160586"/>
                  <a:pt x="780934" y="1181602"/>
                </a:cubicBezTo>
                <a:cubicBezTo>
                  <a:pt x="783129" y="1181602"/>
                  <a:pt x="787517" y="1181602"/>
                  <a:pt x="789712" y="1181602"/>
                </a:cubicBezTo>
                <a:cubicBezTo>
                  <a:pt x="796295" y="1139569"/>
                  <a:pt x="805072" y="1095784"/>
                  <a:pt x="809462" y="1051999"/>
                </a:cubicBezTo>
                <a:cubicBezTo>
                  <a:pt x="811657" y="1015221"/>
                  <a:pt x="816045" y="978441"/>
                  <a:pt x="848963" y="948666"/>
                </a:cubicBezTo>
                <a:cubicBezTo>
                  <a:pt x="864324" y="934656"/>
                  <a:pt x="873103" y="904883"/>
                  <a:pt x="906019" y="934656"/>
                </a:cubicBezTo>
                <a:cubicBezTo>
                  <a:pt x="906019" y="934656"/>
                  <a:pt x="908214" y="934656"/>
                  <a:pt x="910409" y="934656"/>
                </a:cubicBezTo>
                <a:cubicBezTo>
                  <a:pt x="956493" y="913639"/>
                  <a:pt x="1004772" y="892623"/>
                  <a:pt x="1053051" y="873358"/>
                </a:cubicBezTo>
                <a:cubicBezTo>
                  <a:pt x="1033299" y="952170"/>
                  <a:pt x="1057440" y="1027479"/>
                  <a:pt x="1085967" y="1104541"/>
                </a:cubicBezTo>
                <a:cubicBezTo>
                  <a:pt x="1090357" y="1104541"/>
                  <a:pt x="1094746" y="1104541"/>
                  <a:pt x="1099134" y="1102789"/>
                </a:cubicBezTo>
                <a:cubicBezTo>
                  <a:pt x="1099134" y="1022226"/>
                  <a:pt x="1099134" y="941661"/>
                  <a:pt x="1099134" y="861097"/>
                </a:cubicBezTo>
                <a:cubicBezTo>
                  <a:pt x="1101329" y="861097"/>
                  <a:pt x="1103523" y="861097"/>
                  <a:pt x="1103523" y="861097"/>
                </a:cubicBezTo>
                <a:cubicBezTo>
                  <a:pt x="1112302" y="927650"/>
                  <a:pt x="1123273" y="994203"/>
                  <a:pt x="1132052" y="1060756"/>
                </a:cubicBezTo>
                <a:cubicBezTo>
                  <a:pt x="1136441" y="1059005"/>
                  <a:pt x="1138635" y="1059005"/>
                  <a:pt x="1143025" y="1059005"/>
                </a:cubicBezTo>
                <a:cubicBezTo>
                  <a:pt x="1140831" y="1029231"/>
                  <a:pt x="1136441" y="999457"/>
                  <a:pt x="1132052" y="969684"/>
                </a:cubicBezTo>
                <a:cubicBezTo>
                  <a:pt x="1129857" y="941661"/>
                  <a:pt x="1107913" y="913639"/>
                  <a:pt x="1145219" y="890871"/>
                </a:cubicBezTo>
                <a:cubicBezTo>
                  <a:pt x="1156191" y="995955"/>
                  <a:pt x="1169359" y="1097535"/>
                  <a:pt x="1180331" y="1200868"/>
                </a:cubicBezTo>
                <a:cubicBezTo>
                  <a:pt x="1184720" y="1200868"/>
                  <a:pt x="1189108" y="1200868"/>
                  <a:pt x="1193497" y="1200868"/>
                </a:cubicBezTo>
                <a:cubicBezTo>
                  <a:pt x="1197887" y="1179851"/>
                  <a:pt x="1204470" y="1158834"/>
                  <a:pt x="1204470" y="1136066"/>
                </a:cubicBezTo>
                <a:cubicBezTo>
                  <a:pt x="1206665" y="1083524"/>
                  <a:pt x="1204470" y="1030982"/>
                  <a:pt x="1206665" y="978441"/>
                </a:cubicBezTo>
                <a:cubicBezTo>
                  <a:pt x="1206665" y="960927"/>
                  <a:pt x="1213248" y="941661"/>
                  <a:pt x="1224220" y="924147"/>
                </a:cubicBezTo>
                <a:cubicBezTo>
                  <a:pt x="1232999" y="962678"/>
                  <a:pt x="1241776" y="1001209"/>
                  <a:pt x="1252748" y="1046744"/>
                </a:cubicBezTo>
                <a:cubicBezTo>
                  <a:pt x="1261527" y="1034486"/>
                  <a:pt x="1268110" y="1027479"/>
                  <a:pt x="1279082" y="1011717"/>
                </a:cubicBezTo>
                <a:cubicBezTo>
                  <a:pt x="1287861" y="1032734"/>
                  <a:pt x="1296639" y="1046744"/>
                  <a:pt x="1301027" y="1062507"/>
                </a:cubicBezTo>
                <a:cubicBezTo>
                  <a:pt x="1307611" y="1109795"/>
                  <a:pt x="1314194" y="1158834"/>
                  <a:pt x="1320779" y="1206121"/>
                </a:cubicBezTo>
                <a:cubicBezTo>
                  <a:pt x="1325167" y="1206121"/>
                  <a:pt x="1329556" y="1207872"/>
                  <a:pt x="1333945" y="1207872"/>
                </a:cubicBezTo>
                <a:cubicBezTo>
                  <a:pt x="1338333" y="1153580"/>
                  <a:pt x="1342722" y="1101038"/>
                  <a:pt x="1347111" y="1048497"/>
                </a:cubicBezTo>
                <a:cubicBezTo>
                  <a:pt x="1349307" y="1046744"/>
                  <a:pt x="1353695" y="1046744"/>
                  <a:pt x="1355890" y="1046744"/>
                </a:cubicBezTo>
                <a:cubicBezTo>
                  <a:pt x="1355890" y="1083524"/>
                  <a:pt x="1355890" y="1122055"/>
                  <a:pt x="1355890" y="1164089"/>
                </a:cubicBezTo>
                <a:cubicBezTo>
                  <a:pt x="1404168" y="1141320"/>
                  <a:pt x="1412947" y="1115049"/>
                  <a:pt x="1401974" y="1081773"/>
                </a:cubicBezTo>
                <a:cubicBezTo>
                  <a:pt x="1395390" y="1060756"/>
                  <a:pt x="1399779" y="1039739"/>
                  <a:pt x="1399779" y="1018723"/>
                </a:cubicBezTo>
                <a:cubicBezTo>
                  <a:pt x="1399779" y="997706"/>
                  <a:pt x="1397585" y="976690"/>
                  <a:pt x="1399779" y="955672"/>
                </a:cubicBezTo>
                <a:lnTo>
                  <a:pt x="1400834" y="951886"/>
                </a:lnTo>
                <a:lnTo>
                  <a:pt x="1399263" y="913259"/>
                </a:lnTo>
                <a:cubicBezTo>
                  <a:pt x="1397068" y="853711"/>
                  <a:pt x="1412429" y="792412"/>
                  <a:pt x="1414623" y="732865"/>
                </a:cubicBezTo>
                <a:cubicBezTo>
                  <a:pt x="1419013" y="648798"/>
                  <a:pt x="1416819" y="564731"/>
                  <a:pt x="1416819" y="482416"/>
                </a:cubicBezTo>
                <a:cubicBezTo>
                  <a:pt x="1416819" y="466654"/>
                  <a:pt x="1421208" y="452642"/>
                  <a:pt x="1423402" y="435129"/>
                </a:cubicBezTo>
                <a:cubicBezTo>
                  <a:pt x="1436569" y="545466"/>
                  <a:pt x="1449736" y="654053"/>
                  <a:pt x="1462902" y="760887"/>
                </a:cubicBezTo>
                <a:cubicBezTo>
                  <a:pt x="1467291" y="760887"/>
                  <a:pt x="1469486" y="760887"/>
                  <a:pt x="1473875" y="760887"/>
                </a:cubicBezTo>
                <a:cubicBezTo>
                  <a:pt x="1473875" y="725860"/>
                  <a:pt x="1473875" y="689080"/>
                  <a:pt x="1473875" y="654053"/>
                </a:cubicBezTo>
                <a:cubicBezTo>
                  <a:pt x="1476069" y="654053"/>
                  <a:pt x="1478264" y="652301"/>
                  <a:pt x="1480459" y="652301"/>
                </a:cubicBezTo>
                <a:cubicBezTo>
                  <a:pt x="1480459" y="675069"/>
                  <a:pt x="1480459" y="696086"/>
                  <a:pt x="1480459" y="717102"/>
                </a:cubicBezTo>
                <a:cubicBezTo>
                  <a:pt x="1482654" y="717102"/>
                  <a:pt x="1487042" y="717102"/>
                  <a:pt x="1489237" y="717102"/>
                </a:cubicBezTo>
                <a:cubicBezTo>
                  <a:pt x="1495820" y="675069"/>
                  <a:pt x="1504597" y="631284"/>
                  <a:pt x="1508987" y="587499"/>
                </a:cubicBezTo>
                <a:cubicBezTo>
                  <a:pt x="1511182" y="550721"/>
                  <a:pt x="1515570" y="513941"/>
                  <a:pt x="1548488" y="484167"/>
                </a:cubicBezTo>
                <a:cubicBezTo>
                  <a:pt x="1563849" y="470156"/>
                  <a:pt x="1572628" y="440383"/>
                  <a:pt x="1605544" y="470156"/>
                </a:cubicBezTo>
                <a:cubicBezTo>
                  <a:pt x="1605544" y="470156"/>
                  <a:pt x="1607739" y="470156"/>
                  <a:pt x="1609934" y="470156"/>
                </a:cubicBezTo>
                <a:cubicBezTo>
                  <a:pt x="1656018" y="449139"/>
                  <a:pt x="1704297" y="428123"/>
                  <a:pt x="1752576" y="408858"/>
                </a:cubicBezTo>
                <a:cubicBezTo>
                  <a:pt x="1732824" y="487670"/>
                  <a:pt x="1756965" y="562980"/>
                  <a:pt x="1785492" y="640041"/>
                </a:cubicBezTo>
                <a:cubicBezTo>
                  <a:pt x="1789882" y="640041"/>
                  <a:pt x="1794271" y="640041"/>
                  <a:pt x="1798659" y="638290"/>
                </a:cubicBezTo>
                <a:cubicBezTo>
                  <a:pt x="1798659" y="557726"/>
                  <a:pt x="1798659" y="477162"/>
                  <a:pt x="1798659" y="396598"/>
                </a:cubicBezTo>
                <a:cubicBezTo>
                  <a:pt x="1800853" y="396598"/>
                  <a:pt x="1803048" y="396598"/>
                  <a:pt x="1803048" y="396598"/>
                </a:cubicBezTo>
                <a:cubicBezTo>
                  <a:pt x="1811827" y="463150"/>
                  <a:pt x="1822798" y="529703"/>
                  <a:pt x="1831577" y="596257"/>
                </a:cubicBezTo>
                <a:cubicBezTo>
                  <a:pt x="1835966" y="594505"/>
                  <a:pt x="1838160" y="594505"/>
                  <a:pt x="1842550" y="594505"/>
                </a:cubicBezTo>
                <a:cubicBezTo>
                  <a:pt x="1840356" y="564731"/>
                  <a:pt x="1835966" y="534958"/>
                  <a:pt x="1831577" y="505184"/>
                </a:cubicBezTo>
                <a:cubicBezTo>
                  <a:pt x="1829382" y="477162"/>
                  <a:pt x="1807438" y="449139"/>
                  <a:pt x="1844744" y="426371"/>
                </a:cubicBezTo>
                <a:cubicBezTo>
                  <a:pt x="1855716" y="531455"/>
                  <a:pt x="1868883" y="633035"/>
                  <a:pt x="1879856" y="736368"/>
                </a:cubicBezTo>
                <a:cubicBezTo>
                  <a:pt x="1884245" y="736368"/>
                  <a:pt x="1888633" y="736368"/>
                  <a:pt x="1893022" y="736368"/>
                </a:cubicBezTo>
                <a:cubicBezTo>
                  <a:pt x="1897412" y="715351"/>
                  <a:pt x="1903995" y="694335"/>
                  <a:pt x="1903995" y="671566"/>
                </a:cubicBezTo>
                <a:cubicBezTo>
                  <a:pt x="1906190" y="619025"/>
                  <a:pt x="1903995" y="566482"/>
                  <a:pt x="1906190" y="513941"/>
                </a:cubicBezTo>
                <a:cubicBezTo>
                  <a:pt x="1906190" y="496427"/>
                  <a:pt x="1912772" y="477162"/>
                  <a:pt x="1923745" y="459647"/>
                </a:cubicBezTo>
                <a:cubicBezTo>
                  <a:pt x="1932524" y="498178"/>
                  <a:pt x="1941301" y="536709"/>
                  <a:pt x="1952273" y="582245"/>
                </a:cubicBezTo>
                <a:cubicBezTo>
                  <a:pt x="1961052" y="569986"/>
                  <a:pt x="1967635" y="562980"/>
                  <a:pt x="1978607" y="547217"/>
                </a:cubicBezTo>
                <a:cubicBezTo>
                  <a:pt x="1987386" y="568234"/>
                  <a:pt x="1996164" y="582245"/>
                  <a:pt x="2000552" y="598008"/>
                </a:cubicBezTo>
                <a:cubicBezTo>
                  <a:pt x="2007136" y="645295"/>
                  <a:pt x="2013719" y="694335"/>
                  <a:pt x="2020304" y="741622"/>
                </a:cubicBezTo>
                <a:cubicBezTo>
                  <a:pt x="2024692" y="741622"/>
                  <a:pt x="2029081" y="743373"/>
                  <a:pt x="2033470" y="743373"/>
                </a:cubicBezTo>
                <a:cubicBezTo>
                  <a:pt x="2037858" y="689080"/>
                  <a:pt x="2042247" y="636539"/>
                  <a:pt x="2046636" y="583997"/>
                </a:cubicBezTo>
                <a:cubicBezTo>
                  <a:pt x="2048832" y="582245"/>
                  <a:pt x="2053220" y="582245"/>
                  <a:pt x="2055415" y="582245"/>
                </a:cubicBezTo>
                <a:cubicBezTo>
                  <a:pt x="2055415" y="619025"/>
                  <a:pt x="2055415" y="657555"/>
                  <a:pt x="2055415" y="699589"/>
                </a:cubicBezTo>
                <a:cubicBezTo>
                  <a:pt x="2103693" y="676821"/>
                  <a:pt x="2112472" y="650549"/>
                  <a:pt x="2101499" y="617274"/>
                </a:cubicBezTo>
                <a:cubicBezTo>
                  <a:pt x="2094915" y="596257"/>
                  <a:pt x="2099304" y="575239"/>
                  <a:pt x="2099304" y="554223"/>
                </a:cubicBezTo>
                <a:cubicBezTo>
                  <a:pt x="2099304" y="533207"/>
                  <a:pt x="2097110" y="512190"/>
                  <a:pt x="2099304" y="491172"/>
                </a:cubicBezTo>
                <a:cubicBezTo>
                  <a:pt x="2101499" y="470156"/>
                  <a:pt x="2108082" y="449139"/>
                  <a:pt x="2116861" y="428123"/>
                </a:cubicBezTo>
                <a:cubicBezTo>
                  <a:pt x="2127832" y="449139"/>
                  <a:pt x="2108082" y="480665"/>
                  <a:pt x="2156361" y="485919"/>
                </a:cubicBezTo>
                <a:cubicBezTo>
                  <a:pt x="2158555" y="473659"/>
                  <a:pt x="2160750" y="459647"/>
                  <a:pt x="2162944" y="447388"/>
                </a:cubicBezTo>
                <a:cubicBezTo>
                  <a:pt x="2165138" y="447388"/>
                  <a:pt x="2169529" y="447388"/>
                  <a:pt x="2171723" y="447388"/>
                </a:cubicBezTo>
                <a:cubicBezTo>
                  <a:pt x="2176111" y="492925"/>
                  <a:pt x="2180500" y="538461"/>
                  <a:pt x="2184889" y="583997"/>
                </a:cubicBezTo>
                <a:cubicBezTo>
                  <a:pt x="2193667" y="664560"/>
                  <a:pt x="2204640" y="745125"/>
                  <a:pt x="2209029" y="825688"/>
                </a:cubicBezTo>
                <a:cubicBezTo>
                  <a:pt x="2210126" y="849333"/>
                  <a:pt x="2213417" y="872101"/>
                  <a:pt x="2219178" y="894431"/>
                </a:cubicBezTo>
                <a:lnTo>
                  <a:pt x="2219896" y="896334"/>
                </a:lnTo>
                <a:lnTo>
                  <a:pt x="2228263" y="877812"/>
                </a:lnTo>
                <a:cubicBezTo>
                  <a:pt x="2233338" y="869602"/>
                  <a:pt x="2239784" y="861721"/>
                  <a:pt x="2248013" y="854277"/>
                </a:cubicBezTo>
                <a:cubicBezTo>
                  <a:pt x="2263375" y="840267"/>
                  <a:pt x="2272153" y="810494"/>
                  <a:pt x="2305070" y="840267"/>
                </a:cubicBezTo>
                <a:cubicBezTo>
                  <a:pt x="2305070" y="840267"/>
                  <a:pt x="2307264" y="840267"/>
                  <a:pt x="2309459" y="840267"/>
                </a:cubicBezTo>
                <a:lnTo>
                  <a:pt x="2430856" y="788098"/>
                </a:lnTo>
                <a:lnTo>
                  <a:pt x="2434327" y="763167"/>
                </a:lnTo>
                <a:lnTo>
                  <a:pt x="2437029" y="785446"/>
                </a:lnTo>
                <a:lnTo>
                  <a:pt x="2452101" y="778969"/>
                </a:lnTo>
                <a:cubicBezTo>
                  <a:pt x="2437288" y="838078"/>
                  <a:pt x="2447163" y="895216"/>
                  <a:pt x="2465063" y="952602"/>
                </a:cubicBezTo>
                <a:lnTo>
                  <a:pt x="2484800" y="1009520"/>
                </a:lnTo>
                <a:lnTo>
                  <a:pt x="2484800" y="982091"/>
                </a:lnTo>
                <a:cubicBezTo>
                  <a:pt x="2486994" y="982091"/>
                  <a:pt x="2489189" y="980339"/>
                  <a:pt x="2491384" y="980339"/>
                </a:cubicBezTo>
                <a:lnTo>
                  <a:pt x="2491384" y="1009305"/>
                </a:lnTo>
                <a:lnTo>
                  <a:pt x="2498185" y="1008400"/>
                </a:lnTo>
                <a:cubicBezTo>
                  <a:pt x="2498185" y="927837"/>
                  <a:pt x="2498185" y="847272"/>
                  <a:pt x="2498185" y="766708"/>
                </a:cubicBezTo>
                <a:cubicBezTo>
                  <a:pt x="2500379" y="766708"/>
                  <a:pt x="2502573" y="766708"/>
                  <a:pt x="2502573" y="766708"/>
                </a:cubicBezTo>
                <a:lnTo>
                  <a:pt x="2521934" y="902202"/>
                </a:lnTo>
                <a:lnTo>
                  <a:pt x="2528142" y="861245"/>
                </a:lnTo>
                <a:lnTo>
                  <a:pt x="2528281" y="860937"/>
                </a:lnTo>
                <a:lnTo>
                  <a:pt x="2526988" y="854360"/>
                </a:lnTo>
                <a:cubicBezTo>
                  <a:pt x="2521639" y="833590"/>
                  <a:pt x="2516290" y="813558"/>
                  <a:pt x="2544270" y="796482"/>
                </a:cubicBezTo>
                <a:lnTo>
                  <a:pt x="2547639" y="826234"/>
                </a:lnTo>
                <a:lnTo>
                  <a:pt x="2559413" y="812205"/>
                </a:lnTo>
                <a:cubicBezTo>
                  <a:pt x="2574774" y="798194"/>
                  <a:pt x="2583553" y="768421"/>
                  <a:pt x="2616470" y="798194"/>
                </a:cubicBezTo>
                <a:cubicBezTo>
                  <a:pt x="2616470" y="798194"/>
                  <a:pt x="2618665" y="798194"/>
                  <a:pt x="2620858" y="798194"/>
                </a:cubicBezTo>
                <a:cubicBezTo>
                  <a:pt x="2666943" y="777177"/>
                  <a:pt x="2715222" y="756161"/>
                  <a:pt x="2763501" y="736896"/>
                </a:cubicBezTo>
                <a:cubicBezTo>
                  <a:pt x="2743750" y="815708"/>
                  <a:pt x="2767890" y="891018"/>
                  <a:pt x="2796418" y="968079"/>
                </a:cubicBezTo>
                <a:lnTo>
                  <a:pt x="2798805" y="967762"/>
                </a:lnTo>
                <a:lnTo>
                  <a:pt x="2797458" y="955859"/>
                </a:lnTo>
                <a:cubicBezTo>
                  <a:pt x="2797733" y="945350"/>
                  <a:pt x="2798830" y="934842"/>
                  <a:pt x="2798830" y="924333"/>
                </a:cubicBezTo>
                <a:cubicBezTo>
                  <a:pt x="2798830" y="903317"/>
                  <a:pt x="2796636" y="882300"/>
                  <a:pt x="2798830" y="861283"/>
                </a:cubicBezTo>
                <a:lnTo>
                  <a:pt x="2809585" y="822661"/>
                </a:lnTo>
                <a:lnTo>
                  <a:pt x="2809585" y="724636"/>
                </a:lnTo>
                <a:cubicBezTo>
                  <a:pt x="2811779" y="724636"/>
                  <a:pt x="2813973" y="724636"/>
                  <a:pt x="2813973" y="724636"/>
                </a:cubicBezTo>
                <a:lnTo>
                  <a:pt x="2831597" y="847972"/>
                </a:lnTo>
                <a:lnTo>
                  <a:pt x="2844854" y="852370"/>
                </a:lnTo>
                <a:lnTo>
                  <a:pt x="2842502" y="833222"/>
                </a:lnTo>
                <a:cubicBezTo>
                  <a:pt x="2840307" y="805200"/>
                  <a:pt x="2818363" y="777177"/>
                  <a:pt x="2855669" y="754409"/>
                </a:cubicBezTo>
                <a:lnTo>
                  <a:pt x="2862815" y="817499"/>
                </a:lnTo>
                <a:lnTo>
                  <a:pt x="2871249" y="817499"/>
                </a:lnTo>
                <a:cubicBezTo>
                  <a:pt x="2875637" y="863035"/>
                  <a:pt x="2880026" y="908571"/>
                  <a:pt x="2884415" y="954108"/>
                </a:cubicBezTo>
                <a:lnTo>
                  <a:pt x="2896933" y="1064406"/>
                </a:lnTo>
                <a:lnTo>
                  <a:pt x="2903947" y="1064406"/>
                </a:lnTo>
                <a:cubicBezTo>
                  <a:pt x="2908337" y="1043389"/>
                  <a:pt x="2914921" y="1022373"/>
                  <a:pt x="2914921" y="999604"/>
                </a:cubicBezTo>
                <a:cubicBezTo>
                  <a:pt x="2917115" y="947063"/>
                  <a:pt x="2914921" y="894521"/>
                  <a:pt x="2917115" y="841979"/>
                </a:cubicBezTo>
                <a:cubicBezTo>
                  <a:pt x="2917115" y="824465"/>
                  <a:pt x="2923698" y="805200"/>
                  <a:pt x="2934670" y="787685"/>
                </a:cubicBezTo>
                <a:cubicBezTo>
                  <a:pt x="2943449" y="826216"/>
                  <a:pt x="2952227" y="864747"/>
                  <a:pt x="2963198" y="910283"/>
                </a:cubicBezTo>
                <a:cubicBezTo>
                  <a:pt x="2971977" y="898024"/>
                  <a:pt x="2978560" y="891018"/>
                  <a:pt x="2989533" y="875255"/>
                </a:cubicBezTo>
                <a:cubicBezTo>
                  <a:pt x="2998311" y="896272"/>
                  <a:pt x="3007089" y="910283"/>
                  <a:pt x="3011477" y="926046"/>
                </a:cubicBezTo>
                <a:cubicBezTo>
                  <a:pt x="3018061" y="973334"/>
                  <a:pt x="3024644" y="1022373"/>
                  <a:pt x="3031229" y="1069660"/>
                </a:cubicBezTo>
                <a:cubicBezTo>
                  <a:pt x="3035618" y="1069660"/>
                  <a:pt x="3040006" y="1071411"/>
                  <a:pt x="3044395" y="1071411"/>
                </a:cubicBezTo>
                <a:cubicBezTo>
                  <a:pt x="3048783" y="1017118"/>
                  <a:pt x="3053172" y="964577"/>
                  <a:pt x="3057562" y="912035"/>
                </a:cubicBezTo>
                <a:cubicBezTo>
                  <a:pt x="3059757" y="910283"/>
                  <a:pt x="3064145" y="910283"/>
                  <a:pt x="3066340" y="910283"/>
                </a:cubicBezTo>
                <a:cubicBezTo>
                  <a:pt x="3066340" y="947063"/>
                  <a:pt x="3066340" y="985593"/>
                  <a:pt x="3066340" y="1027627"/>
                </a:cubicBezTo>
                <a:cubicBezTo>
                  <a:pt x="3078409" y="1021935"/>
                  <a:pt x="3088010" y="1016024"/>
                  <a:pt x="3095451" y="1009839"/>
                </a:cubicBezTo>
                <a:lnTo>
                  <a:pt x="3110158" y="992146"/>
                </a:lnTo>
                <a:lnTo>
                  <a:pt x="3109711" y="981161"/>
                </a:lnTo>
                <a:lnTo>
                  <a:pt x="3112227" y="943565"/>
                </a:lnTo>
                <a:lnTo>
                  <a:pt x="3108858" y="913786"/>
                </a:lnTo>
                <a:cubicBezTo>
                  <a:pt x="3109133" y="903278"/>
                  <a:pt x="3110230" y="892770"/>
                  <a:pt x="3110230" y="882261"/>
                </a:cubicBezTo>
                <a:cubicBezTo>
                  <a:pt x="3110230" y="861245"/>
                  <a:pt x="3108035" y="840228"/>
                  <a:pt x="3110230" y="819210"/>
                </a:cubicBezTo>
                <a:lnTo>
                  <a:pt x="3125896" y="762948"/>
                </a:lnTo>
                <a:lnTo>
                  <a:pt x="3127815" y="674886"/>
                </a:lnTo>
                <a:cubicBezTo>
                  <a:pt x="3127815" y="633072"/>
                  <a:pt x="3127267" y="591476"/>
                  <a:pt x="3127267" y="550318"/>
                </a:cubicBezTo>
                <a:cubicBezTo>
                  <a:pt x="3127267" y="534556"/>
                  <a:pt x="3131656" y="520544"/>
                  <a:pt x="3133851" y="503031"/>
                </a:cubicBezTo>
                <a:lnTo>
                  <a:pt x="3169782" y="799352"/>
                </a:lnTo>
                <a:lnTo>
                  <a:pt x="3173869" y="775426"/>
                </a:lnTo>
                <a:cubicBezTo>
                  <a:pt x="3176063" y="775426"/>
                  <a:pt x="3180454" y="775426"/>
                  <a:pt x="3182648" y="775426"/>
                </a:cubicBezTo>
                <a:lnTo>
                  <a:pt x="3184323" y="792804"/>
                </a:lnTo>
                <a:lnTo>
                  <a:pt x="3184323" y="721955"/>
                </a:lnTo>
                <a:cubicBezTo>
                  <a:pt x="3186517" y="721955"/>
                  <a:pt x="3188713" y="720203"/>
                  <a:pt x="3190907" y="720203"/>
                </a:cubicBezTo>
                <a:cubicBezTo>
                  <a:pt x="3190907" y="742971"/>
                  <a:pt x="3190907" y="763988"/>
                  <a:pt x="3190907" y="785004"/>
                </a:cubicBezTo>
                <a:cubicBezTo>
                  <a:pt x="3193102" y="785004"/>
                  <a:pt x="3197491" y="785004"/>
                  <a:pt x="3199685" y="785004"/>
                </a:cubicBezTo>
                <a:cubicBezTo>
                  <a:pt x="3206268" y="742971"/>
                  <a:pt x="3215045" y="699186"/>
                  <a:pt x="3219436" y="655401"/>
                </a:cubicBezTo>
                <a:cubicBezTo>
                  <a:pt x="3221630" y="618623"/>
                  <a:pt x="3226019" y="581843"/>
                  <a:pt x="3258936" y="552069"/>
                </a:cubicBezTo>
                <a:cubicBezTo>
                  <a:pt x="3274297" y="538058"/>
                  <a:pt x="3283076" y="508285"/>
                  <a:pt x="3315993" y="538058"/>
                </a:cubicBezTo>
                <a:cubicBezTo>
                  <a:pt x="3315993" y="538058"/>
                  <a:pt x="3318187" y="538058"/>
                  <a:pt x="3320382" y="538058"/>
                </a:cubicBezTo>
                <a:cubicBezTo>
                  <a:pt x="3366467" y="517041"/>
                  <a:pt x="3414745" y="496025"/>
                  <a:pt x="3463024" y="476760"/>
                </a:cubicBezTo>
                <a:cubicBezTo>
                  <a:pt x="3443273" y="555572"/>
                  <a:pt x="3467413" y="630882"/>
                  <a:pt x="3495941" y="707943"/>
                </a:cubicBezTo>
                <a:cubicBezTo>
                  <a:pt x="3500331" y="707943"/>
                  <a:pt x="3504719" y="707943"/>
                  <a:pt x="3509108" y="706192"/>
                </a:cubicBezTo>
                <a:cubicBezTo>
                  <a:pt x="3509108" y="625629"/>
                  <a:pt x="3509108" y="545064"/>
                  <a:pt x="3509108" y="464500"/>
                </a:cubicBezTo>
                <a:cubicBezTo>
                  <a:pt x="3511302" y="464500"/>
                  <a:pt x="3513496" y="464500"/>
                  <a:pt x="3513496" y="464500"/>
                </a:cubicBezTo>
                <a:cubicBezTo>
                  <a:pt x="3522275" y="531053"/>
                  <a:pt x="3533247" y="597605"/>
                  <a:pt x="3542025" y="664159"/>
                </a:cubicBezTo>
                <a:cubicBezTo>
                  <a:pt x="3546415" y="662407"/>
                  <a:pt x="3548609" y="662407"/>
                  <a:pt x="3552999" y="662407"/>
                </a:cubicBezTo>
                <a:cubicBezTo>
                  <a:pt x="3550804" y="632634"/>
                  <a:pt x="3546415" y="602860"/>
                  <a:pt x="3542025" y="573086"/>
                </a:cubicBezTo>
                <a:cubicBezTo>
                  <a:pt x="3539831" y="545064"/>
                  <a:pt x="3517887" y="517041"/>
                  <a:pt x="3555193" y="494273"/>
                </a:cubicBezTo>
                <a:cubicBezTo>
                  <a:pt x="3566164" y="599357"/>
                  <a:pt x="3579332" y="700937"/>
                  <a:pt x="3590305" y="804270"/>
                </a:cubicBezTo>
                <a:cubicBezTo>
                  <a:pt x="3594693" y="804270"/>
                  <a:pt x="3599082" y="804270"/>
                  <a:pt x="3603470" y="804270"/>
                </a:cubicBezTo>
                <a:cubicBezTo>
                  <a:pt x="3607861" y="783253"/>
                  <a:pt x="3614444" y="762237"/>
                  <a:pt x="3614444" y="739468"/>
                </a:cubicBezTo>
                <a:cubicBezTo>
                  <a:pt x="3616638" y="686927"/>
                  <a:pt x="3614444" y="634385"/>
                  <a:pt x="3616638" y="581843"/>
                </a:cubicBezTo>
                <a:cubicBezTo>
                  <a:pt x="3616638" y="564329"/>
                  <a:pt x="3623221" y="545064"/>
                  <a:pt x="3634193" y="527549"/>
                </a:cubicBezTo>
                <a:cubicBezTo>
                  <a:pt x="3642973" y="566080"/>
                  <a:pt x="3651750" y="604611"/>
                  <a:pt x="3662721" y="650147"/>
                </a:cubicBezTo>
                <a:cubicBezTo>
                  <a:pt x="3671500" y="637888"/>
                  <a:pt x="3678083" y="630882"/>
                  <a:pt x="3689056" y="615119"/>
                </a:cubicBezTo>
                <a:cubicBezTo>
                  <a:pt x="3697835" y="636136"/>
                  <a:pt x="3706612" y="650147"/>
                  <a:pt x="3711001" y="665910"/>
                </a:cubicBezTo>
                <a:cubicBezTo>
                  <a:pt x="3717585" y="713198"/>
                  <a:pt x="3724167" y="762237"/>
                  <a:pt x="3730752" y="809524"/>
                </a:cubicBezTo>
                <a:cubicBezTo>
                  <a:pt x="3735141" y="809524"/>
                  <a:pt x="3739529" y="811275"/>
                  <a:pt x="3743918" y="811275"/>
                </a:cubicBezTo>
                <a:cubicBezTo>
                  <a:pt x="3748307" y="756982"/>
                  <a:pt x="3752695" y="704441"/>
                  <a:pt x="3757085" y="651899"/>
                </a:cubicBezTo>
                <a:cubicBezTo>
                  <a:pt x="3759280" y="650147"/>
                  <a:pt x="3763669" y="650147"/>
                  <a:pt x="3765863" y="650147"/>
                </a:cubicBezTo>
                <a:cubicBezTo>
                  <a:pt x="3765863" y="686927"/>
                  <a:pt x="3765863" y="725457"/>
                  <a:pt x="3765863" y="767491"/>
                </a:cubicBezTo>
                <a:cubicBezTo>
                  <a:pt x="3814141" y="744723"/>
                  <a:pt x="3822921" y="718451"/>
                  <a:pt x="3811947" y="685176"/>
                </a:cubicBezTo>
                <a:cubicBezTo>
                  <a:pt x="3805363" y="664159"/>
                  <a:pt x="3809753" y="643141"/>
                  <a:pt x="3809753" y="622125"/>
                </a:cubicBezTo>
                <a:cubicBezTo>
                  <a:pt x="3809753" y="601109"/>
                  <a:pt x="3807559" y="580092"/>
                  <a:pt x="3809753" y="559074"/>
                </a:cubicBezTo>
                <a:lnTo>
                  <a:pt x="3810807" y="555288"/>
                </a:lnTo>
                <a:lnTo>
                  <a:pt x="3809236" y="516661"/>
                </a:lnTo>
                <a:cubicBezTo>
                  <a:pt x="3807042" y="457113"/>
                  <a:pt x="3822402" y="395815"/>
                  <a:pt x="3824596" y="336267"/>
                </a:cubicBezTo>
                <a:cubicBezTo>
                  <a:pt x="3828987" y="252201"/>
                  <a:pt x="3826793" y="168134"/>
                  <a:pt x="3826793" y="85818"/>
                </a:cubicBezTo>
                <a:cubicBezTo>
                  <a:pt x="3826793" y="70056"/>
                  <a:pt x="3831181" y="56044"/>
                  <a:pt x="3833375" y="38531"/>
                </a:cubicBezTo>
                <a:cubicBezTo>
                  <a:pt x="3846542" y="148869"/>
                  <a:pt x="3859710" y="257455"/>
                  <a:pt x="3872876" y="364290"/>
                </a:cubicBezTo>
                <a:cubicBezTo>
                  <a:pt x="3877264" y="364290"/>
                  <a:pt x="3879459" y="364290"/>
                  <a:pt x="3883848" y="364290"/>
                </a:cubicBezTo>
                <a:cubicBezTo>
                  <a:pt x="3883848" y="329263"/>
                  <a:pt x="3883848" y="292483"/>
                  <a:pt x="3883848" y="257455"/>
                </a:cubicBezTo>
                <a:cubicBezTo>
                  <a:pt x="3886043" y="257455"/>
                  <a:pt x="3888238" y="255703"/>
                  <a:pt x="3890432" y="255703"/>
                </a:cubicBezTo>
                <a:cubicBezTo>
                  <a:pt x="3890432" y="278471"/>
                  <a:pt x="3890432" y="299488"/>
                  <a:pt x="3890432" y="320504"/>
                </a:cubicBezTo>
                <a:cubicBezTo>
                  <a:pt x="3892627" y="320504"/>
                  <a:pt x="3897016" y="320504"/>
                  <a:pt x="3899210" y="320504"/>
                </a:cubicBezTo>
                <a:cubicBezTo>
                  <a:pt x="3905793" y="278471"/>
                  <a:pt x="3914570" y="234686"/>
                  <a:pt x="3918961" y="190902"/>
                </a:cubicBezTo>
                <a:cubicBezTo>
                  <a:pt x="3921155" y="154123"/>
                  <a:pt x="3925544" y="117343"/>
                  <a:pt x="3958461" y="87569"/>
                </a:cubicBezTo>
                <a:cubicBezTo>
                  <a:pt x="3973822" y="73559"/>
                  <a:pt x="3982601" y="43786"/>
                  <a:pt x="4015518" y="73559"/>
                </a:cubicBezTo>
                <a:cubicBezTo>
                  <a:pt x="4015518" y="73559"/>
                  <a:pt x="4017712" y="73559"/>
                  <a:pt x="4019907" y="73559"/>
                </a:cubicBezTo>
                <a:cubicBezTo>
                  <a:pt x="4065991" y="52542"/>
                  <a:pt x="4114270" y="31525"/>
                  <a:pt x="4162549" y="12260"/>
                </a:cubicBezTo>
                <a:cubicBezTo>
                  <a:pt x="4142798" y="91073"/>
                  <a:pt x="4166938" y="166382"/>
                  <a:pt x="4195466" y="243443"/>
                </a:cubicBezTo>
                <a:cubicBezTo>
                  <a:pt x="4199855" y="243443"/>
                  <a:pt x="4204244" y="243443"/>
                  <a:pt x="4208633" y="241692"/>
                </a:cubicBezTo>
                <a:cubicBezTo>
                  <a:pt x="4208633" y="161129"/>
                  <a:pt x="4208633" y="80564"/>
                  <a:pt x="4208633"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19662876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6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E8CE3DF8-9B78-422F-BE52-9C3DAEE64ADB}"/>
              </a:ext>
            </a:extLst>
          </p:cNvPr>
          <p:cNvSpPr>
            <a:spLocks noGrp="1"/>
          </p:cNvSpPr>
          <p:nvPr>
            <p:ph type="pic" sz="quarter" idx="22"/>
          </p:nvPr>
        </p:nvSpPr>
        <p:spPr>
          <a:xfrm>
            <a:off x="803042" y="1330568"/>
            <a:ext cx="7297970" cy="6439999"/>
          </a:xfrm>
          <a:custGeom>
            <a:avLst/>
            <a:gdLst>
              <a:gd name="connsiteX0" fmla="*/ 1752600 w 5491712"/>
              <a:gd name="connsiteY0" fmla="*/ 4844417 h 4906666"/>
              <a:gd name="connsiteX1" fmla="*/ 1685925 w 5491712"/>
              <a:gd name="connsiteY1" fmla="*/ 4906406 h 4906666"/>
              <a:gd name="connsiteX2" fmla="*/ 1752600 w 5491712"/>
              <a:gd name="connsiteY2" fmla="*/ 4844417 h 4906666"/>
              <a:gd name="connsiteX3" fmla="*/ 1090793 w 5491712"/>
              <a:gd name="connsiteY3" fmla="*/ 4592925 h 4906666"/>
              <a:gd name="connsiteX4" fmla="*/ 1090437 w 5491712"/>
              <a:gd name="connsiteY4" fmla="*/ 4593543 h 4906666"/>
              <a:gd name="connsiteX5" fmla="*/ 1090793 w 5491712"/>
              <a:gd name="connsiteY5" fmla="*/ 4593381 h 4906666"/>
              <a:gd name="connsiteX6" fmla="*/ 983639 w 5491712"/>
              <a:gd name="connsiteY6" fmla="*/ 4141155 h 4906666"/>
              <a:gd name="connsiteX7" fmla="*/ 995851 w 5491712"/>
              <a:gd name="connsiteY7" fmla="*/ 4144247 h 4906666"/>
              <a:gd name="connsiteX8" fmla="*/ 968375 w 5491712"/>
              <a:gd name="connsiteY8" fmla="*/ 4199893 h 4906666"/>
              <a:gd name="connsiteX9" fmla="*/ 983639 w 5491712"/>
              <a:gd name="connsiteY9" fmla="*/ 4141155 h 4906666"/>
              <a:gd name="connsiteX10" fmla="*/ 649887 w 5491712"/>
              <a:gd name="connsiteY10" fmla="*/ 3914142 h 4906666"/>
              <a:gd name="connsiteX11" fmla="*/ 618996 w 5491712"/>
              <a:gd name="connsiteY11" fmla="*/ 3966190 h 4906666"/>
              <a:gd name="connsiteX12" fmla="*/ 581925 w 5491712"/>
              <a:gd name="connsiteY12" fmla="*/ 3996806 h 4906666"/>
              <a:gd name="connsiteX13" fmla="*/ 557212 w 5491712"/>
              <a:gd name="connsiteY13" fmla="*/ 3990682 h 4906666"/>
              <a:gd name="connsiteX14" fmla="*/ 563390 w 5491712"/>
              <a:gd name="connsiteY14" fmla="*/ 3978436 h 4906666"/>
              <a:gd name="connsiteX15" fmla="*/ 578836 w 5491712"/>
              <a:gd name="connsiteY15" fmla="*/ 3987621 h 4906666"/>
              <a:gd name="connsiteX16" fmla="*/ 649887 w 5491712"/>
              <a:gd name="connsiteY16" fmla="*/ 3914142 h 4906666"/>
              <a:gd name="connsiteX17" fmla="*/ 1183097 w 5491712"/>
              <a:gd name="connsiteY17" fmla="*/ 3777698 h 4906666"/>
              <a:gd name="connsiteX18" fmla="*/ 1208088 w 5491712"/>
              <a:gd name="connsiteY18" fmla="*/ 3780395 h 4906666"/>
              <a:gd name="connsiteX19" fmla="*/ 1158875 w 5491712"/>
              <a:gd name="connsiteY19" fmla="*/ 3822067 h 4906666"/>
              <a:gd name="connsiteX20" fmla="*/ 1162011 w 5491712"/>
              <a:gd name="connsiteY20" fmla="*/ 3800027 h 4906666"/>
              <a:gd name="connsiteX21" fmla="*/ 1162598 w 5491712"/>
              <a:gd name="connsiteY21" fmla="*/ 3797907 h 4906666"/>
              <a:gd name="connsiteX22" fmla="*/ 1163104 w 5491712"/>
              <a:gd name="connsiteY22" fmla="*/ 3794627 h 4906666"/>
              <a:gd name="connsiteX23" fmla="*/ 1164050 w 5491712"/>
              <a:gd name="connsiteY23" fmla="*/ 3792675 h 4906666"/>
              <a:gd name="connsiteX24" fmla="*/ 1165795 w 5491712"/>
              <a:gd name="connsiteY24" fmla="*/ 3786383 h 4906666"/>
              <a:gd name="connsiteX25" fmla="*/ 1167518 w 5491712"/>
              <a:gd name="connsiteY25" fmla="*/ 3785519 h 4906666"/>
              <a:gd name="connsiteX26" fmla="*/ 1169640 w 5491712"/>
              <a:gd name="connsiteY26" fmla="*/ 3781140 h 4906666"/>
              <a:gd name="connsiteX27" fmla="*/ 1373275 w 5491712"/>
              <a:gd name="connsiteY27" fmla="*/ 3568067 h 4906666"/>
              <a:gd name="connsiteX28" fmla="*/ 1376362 w 5491712"/>
              <a:gd name="connsiteY28" fmla="*/ 3607996 h 4906666"/>
              <a:gd name="connsiteX29" fmla="*/ 1370188 w 5491712"/>
              <a:gd name="connsiteY29" fmla="*/ 3601854 h 4906666"/>
              <a:gd name="connsiteX30" fmla="*/ 1333146 w 5491712"/>
              <a:gd name="connsiteY30" fmla="*/ 3657140 h 4906666"/>
              <a:gd name="connsiteX31" fmla="*/ 1274497 w 5491712"/>
              <a:gd name="connsiteY31" fmla="*/ 3709355 h 4906666"/>
              <a:gd name="connsiteX32" fmla="*/ 1265237 w 5491712"/>
              <a:gd name="connsiteY32" fmla="*/ 3672498 h 4906666"/>
              <a:gd name="connsiteX33" fmla="*/ 1320799 w 5491712"/>
              <a:gd name="connsiteY33" fmla="*/ 3626425 h 4906666"/>
              <a:gd name="connsiteX34" fmla="*/ 1373275 w 5491712"/>
              <a:gd name="connsiteY34" fmla="*/ 3568067 h 4906666"/>
              <a:gd name="connsiteX35" fmla="*/ 1328236 w 5491712"/>
              <a:gd name="connsiteY35" fmla="*/ 3559855 h 4906666"/>
              <a:gd name="connsiteX36" fmla="*/ 1321292 w 5491712"/>
              <a:gd name="connsiteY36" fmla="*/ 3571242 h 4906666"/>
              <a:gd name="connsiteX37" fmla="*/ 1318226 w 5491712"/>
              <a:gd name="connsiteY37" fmla="*/ 3568226 h 4906666"/>
              <a:gd name="connsiteX38" fmla="*/ 1470491 w 5491712"/>
              <a:gd name="connsiteY38" fmla="*/ 3513447 h 4906666"/>
              <a:gd name="connsiteX39" fmla="*/ 1472038 w 5491712"/>
              <a:gd name="connsiteY39" fmla="*/ 3513766 h 4906666"/>
              <a:gd name="connsiteX40" fmla="*/ 1472023 w 5491712"/>
              <a:gd name="connsiteY40" fmla="*/ 3513829 h 4906666"/>
              <a:gd name="connsiteX41" fmla="*/ 1470491 w 5491712"/>
              <a:gd name="connsiteY41" fmla="*/ 3513447 h 4906666"/>
              <a:gd name="connsiteX42" fmla="*/ 1379537 w 5491712"/>
              <a:gd name="connsiteY42" fmla="*/ 3510917 h 4906666"/>
              <a:gd name="connsiteX43" fmla="*/ 1379537 w 5491712"/>
              <a:gd name="connsiteY43" fmla="*/ 3516949 h 4906666"/>
              <a:gd name="connsiteX44" fmla="*/ 1328236 w 5491712"/>
              <a:gd name="connsiteY44" fmla="*/ 3559855 h 4906666"/>
              <a:gd name="connsiteX45" fmla="*/ 1330488 w 5491712"/>
              <a:gd name="connsiteY45" fmla="*/ 3556161 h 4906666"/>
              <a:gd name="connsiteX46" fmla="*/ 1293702 w 5491712"/>
              <a:gd name="connsiteY46" fmla="*/ 3547112 h 4906666"/>
              <a:gd name="connsiteX47" fmla="*/ 1290637 w 5491712"/>
              <a:gd name="connsiteY47" fmla="*/ 3538063 h 4906666"/>
              <a:gd name="connsiteX48" fmla="*/ 1379537 w 5491712"/>
              <a:gd name="connsiteY48" fmla="*/ 3510917 h 4906666"/>
              <a:gd name="connsiteX49" fmla="*/ 314994 w 5491712"/>
              <a:gd name="connsiteY49" fmla="*/ 3347512 h 4906666"/>
              <a:gd name="connsiteX50" fmla="*/ 326583 w 5491712"/>
              <a:gd name="connsiteY50" fmla="*/ 3348622 h 4906666"/>
              <a:gd name="connsiteX51" fmla="*/ 333793 w 5491712"/>
              <a:gd name="connsiteY51" fmla="*/ 3349312 h 4906666"/>
              <a:gd name="connsiteX52" fmla="*/ 365125 w 5491712"/>
              <a:gd name="connsiteY52" fmla="*/ 3366454 h 4906666"/>
              <a:gd name="connsiteX53" fmla="*/ 327818 w 5491712"/>
              <a:gd name="connsiteY53" fmla="*/ 3399792 h 4906666"/>
              <a:gd name="connsiteX54" fmla="*/ 290512 w 5491712"/>
              <a:gd name="connsiteY54" fmla="*/ 3387669 h 4906666"/>
              <a:gd name="connsiteX55" fmla="*/ 302607 w 5491712"/>
              <a:gd name="connsiteY55" fmla="*/ 3360488 h 4906666"/>
              <a:gd name="connsiteX56" fmla="*/ 310553 w 5491712"/>
              <a:gd name="connsiteY56" fmla="*/ 3352164 h 4906666"/>
              <a:gd name="connsiteX57" fmla="*/ 646444 w 5491712"/>
              <a:gd name="connsiteY57" fmla="*/ 3283905 h 4906666"/>
              <a:gd name="connsiteX58" fmla="*/ 615800 w 5491712"/>
              <a:gd name="connsiteY58" fmla="*/ 3332939 h 4906666"/>
              <a:gd name="connsiteX59" fmla="*/ 588219 w 5491712"/>
              <a:gd name="connsiteY59" fmla="*/ 3360521 h 4906666"/>
              <a:gd name="connsiteX60" fmla="*/ 649509 w 5491712"/>
              <a:gd name="connsiteY60" fmla="*/ 3360521 h 4906666"/>
              <a:gd name="connsiteX61" fmla="*/ 649509 w 5491712"/>
              <a:gd name="connsiteY61" fmla="*/ 3415684 h 4906666"/>
              <a:gd name="connsiteX62" fmla="*/ 649509 w 5491712"/>
              <a:gd name="connsiteY62" fmla="*/ 3789571 h 4906666"/>
              <a:gd name="connsiteX63" fmla="*/ 612735 w 5491712"/>
              <a:gd name="connsiteY63" fmla="*/ 3829411 h 4906666"/>
              <a:gd name="connsiteX64" fmla="*/ 585155 w 5491712"/>
              <a:gd name="connsiteY64" fmla="*/ 3838605 h 4906666"/>
              <a:gd name="connsiteX65" fmla="*/ 529994 w 5491712"/>
              <a:gd name="connsiteY65" fmla="*/ 3856993 h 4906666"/>
              <a:gd name="connsiteX66" fmla="*/ 548381 w 5491712"/>
              <a:gd name="connsiteY66" fmla="*/ 3817153 h 4906666"/>
              <a:gd name="connsiteX67" fmla="*/ 514672 w 5491712"/>
              <a:gd name="connsiteY67" fmla="*/ 3807959 h 4906666"/>
              <a:gd name="connsiteX68" fmla="*/ 536123 w 5491712"/>
              <a:gd name="connsiteY68" fmla="*/ 3765054 h 4906666"/>
              <a:gd name="connsiteX69" fmla="*/ 496285 w 5491712"/>
              <a:gd name="connsiteY69" fmla="*/ 3768119 h 4906666"/>
              <a:gd name="connsiteX70" fmla="*/ 450318 w 5491712"/>
              <a:gd name="connsiteY70" fmla="*/ 3777313 h 4906666"/>
              <a:gd name="connsiteX71" fmla="*/ 453382 w 5491712"/>
              <a:gd name="connsiteY71" fmla="*/ 3752795 h 4906666"/>
              <a:gd name="connsiteX72" fmla="*/ 290965 w 5491712"/>
              <a:gd name="connsiteY72" fmla="*/ 3820218 h 4906666"/>
              <a:gd name="connsiteX73" fmla="*/ 287900 w 5491712"/>
              <a:gd name="connsiteY73" fmla="*/ 3817153 h 4906666"/>
              <a:gd name="connsiteX74" fmla="*/ 398221 w 5491712"/>
              <a:gd name="connsiteY74" fmla="*/ 3743601 h 4906666"/>
              <a:gd name="connsiteX75" fmla="*/ 373706 w 5491712"/>
              <a:gd name="connsiteY75" fmla="*/ 3703761 h 4906666"/>
              <a:gd name="connsiteX76" fmla="*/ 358383 w 5491712"/>
              <a:gd name="connsiteY76" fmla="*/ 3694567 h 4906666"/>
              <a:gd name="connsiteX77" fmla="*/ 303222 w 5491712"/>
              <a:gd name="connsiteY77" fmla="*/ 3691503 h 4906666"/>
              <a:gd name="connsiteX78" fmla="*/ 244997 w 5491712"/>
              <a:gd name="connsiteY78" fmla="*/ 3725214 h 4906666"/>
              <a:gd name="connsiteX79" fmla="*/ 312416 w 5491712"/>
              <a:gd name="connsiteY79" fmla="*/ 3587305 h 4906666"/>
              <a:gd name="connsiteX80" fmla="*/ 180643 w 5491712"/>
              <a:gd name="connsiteY80" fmla="*/ 3697632 h 4906666"/>
              <a:gd name="connsiteX81" fmla="*/ 171450 w 5491712"/>
              <a:gd name="connsiteY81" fmla="*/ 3688438 h 4906666"/>
              <a:gd name="connsiteX82" fmla="*/ 217417 w 5491712"/>
              <a:gd name="connsiteY82" fmla="*/ 3627145 h 4906666"/>
              <a:gd name="connsiteX83" fmla="*/ 294029 w 5491712"/>
              <a:gd name="connsiteY83" fmla="*/ 3550529 h 4906666"/>
              <a:gd name="connsiteX84" fmla="*/ 309351 w 5491712"/>
              <a:gd name="connsiteY84" fmla="*/ 3544400 h 4906666"/>
              <a:gd name="connsiteX85" fmla="*/ 361448 w 5491712"/>
              <a:gd name="connsiteY85" fmla="*/ 3522947 h 4906666"/>
              <a:gd name="connsiteX86" fmla="*/ 444189 w 5491712"/>
              <a:gd name="connsiteY86" fmla="*/ 3446331 h 4906666"/>
              <a:gd name="connsiteX87" fmla="*/ 434995 w 5491712"/>
              <a:gd name="connsiteY87" fmla="*/ 3424878 h 4906666"/>
              <a:gd name="connsiteX88" fmla="*/ 646444 w 5491712"/>
              <a:gd name="connsiteY88" fmla="*/ 3283905 h 4906666"/>
              <a:gd name="connsiteX89" fmla="*/ 266700 w 5491712"/>
              <a:gd name="connsiteY89" fmla="*/ 3231517 h 4906666"/>
              <a:gd name="connsiteX90" fmla="*/ 210910 w 5491712"/>
              <a:gd name="connsiteY90" fmla="*/ 3299780 h 4906666"/>
              <a:gd name="connsiteX91" fmla="*/ 201612 w 5491712"/>
              <a:gd name="connsiteY91" fmla="*/ 3293574 h 4906666"/>
              <a:gd name="connsiteX92" fmla="*/ 266700 w 5491712"/>
              <a:gd name="connsiteY92" fmla="*/ 3231517 h 4906666"/>
              <a:gd name="connsiteX93" fmla="*/ 159605 w 5491712"/>
              <a:gd name="connsiteY93" fmla="*/ 1913892 h 4906666"/>
              <a:gd name="connsiteX94" fmla="*/ 180975 w 5491712"/>
              <a:gd name="connsiteY94" fmla="*/ 1925997 h 4906666"/>
              <a:gd name="connsiteX95" fmla="*/ 101600 w 5491712"/>
              <a:gd name="connsiteY95" fmla="*/ 1986520 h 4906666"/>
              <a:gd name="connsiteX96" fmla="*/ 135181 w 5491712"/>
              <a:gd name="connsiteY96" fmla="*/ 1947180 h 4906666"/>
              <a:gd name="connsiteX97" fmla="*/ 159605 w 5491712"/>
              <a:gd name="connsiteY97" fmla="*/ 1913892 h 4906666"/>
              <a:gd name="connsiteX98" fmla="*/ 649287 w 5491712"/>
              <a:gd name="connsiteY98" fmla="*/ 1891667 h 4906666"/>
              <a:gd name="connsiteX99" fmla="*/ 649287 w 5491712"/>
              <a:gd name="connsiteY99" fmla="*/ 1937705 h 4906666"/>
              <a:gd name="connsiteX100" fmla="*/ 588962 w 5491712"/>
              <a:gd name="connsiteY100" fmla="*/ 1937705 h 4906666"/>
              <a:gd name="connsiteX101" fmla="*/ 649287 w 5491712"/>
              <a:gd name="connsiteY101" fmla="*/ 1891667 h 4906666"/>
              <a:gd name="connsiteX102" fmla="*/ 560567 w 5491712"/>
              <a:gd name="connsiteY102" fmla="*/ 1459867 h 4906666"/>
              <a:gd name="connsiteX103" fmla="*/ 560897 w 5491712"/>
              <a:gd name="connsiteY103" fmla="*/ 1459961 h 4906666"/>
              <a:gd name="connsiteX104" fmla="*/ 560959 w 5491712"/>
              <a:gd name="connsiteY104" fmla="*/ 1459867 h 4906666"/>
              <a:gd name="connsiteX105" fmla="*/ 582263 w 5491712"/>
              <a:gd name="connsiteY105" fmla="*/ 1465948 h 4906666"/>
              <a:gd name="connsiteX106" fmla="*/ 621831 w 5491712"/>
              <a:gd name="connsiteY106" fmla="*/ 1459867 h 4906666"/>
              <a:gd name="connsiteX107" fmla="*/ 649400 w 5491712"/>
              <a:gd name="connsiteY107" fmla="*/ 1490470 h 4906666"/>
              <a:gd name="connsiteX108" fmla="*/ 652463 w 5491712"/>
              <a:gd name="connsiteY108" fmla="*/ 1827103 h 4906666"/>
              <a:gd name="connsiteX109" fmla="*/ 621831 w 5491712"/>
              <a:gd name="connsiteY109" fmla="*/ 1894430 h 4906666"/>
              <a:gd name="connsiteX110" fmla="*/ 560567 w 5491712"/>
              <a:gd name="connsiteY110" fmla="*/ 1940335 h 4906666"/>
              <a:gd name="connsiteX111" fmla="*/ 569756 w 5491712"/>
              <a:gd name="connsiteY111" fmla="*/ 1952576 h 4906666"/>
              <a:gd name="connsiteX112" fmla="*/ 609578 w 5491712"/>
              <a:gd name="connsiteY112" fmla="*/ 1961757 h 4906666"/>
              <a:gd name="connsiteX113" fmla="*/ 609578 w 5491712"/>
              <a:gd name="connsiteY113" fmla="*/ 1967877 h 4906666"/>
              <a:gd name="connsiteX114" fmla="*/ 582009 w 5491712"/>
              <a:gd name="connsiteY114" fmla="*/ 1973998 h 4906666"/>
              <a:gd name="connsiteX115" fmla="*/ 588135 w 5491712"/>
              <a:gd name="connsiteY115" fmla="*/ 1980119 h 4906666"/>
              <a:gd name="connsiteX116" fmla="*/ 563630 w 5491712"/>
              <a:gd name="connsiteY116" fmla="*/ 2041325 h 4906666"/>
              <a:gd name="connsiteX117" fmla="*/ 496239 w 5491712"/>
              <a:gd name="connsiteY117" fmla="*/ 2130073 h 4906666"/>
              <a:gd name="connsiteX118" fmla="*/ 480923 w 5491712"/>
              <a:gd name="connsiteY118" fmla="*/ 2139254 h 4906666"/>
              <a:gd name="connsiteX119" fmla="*/ 456418 w 5491712"/>
              <a:gd name="connsiteY119" fmla="*/ 2154556 h 4906666"/>
              <a:gd name="connsiteX120" fmla="*/ 477860 w 5491712"/>
              <a:gd name="connsiteY120" fmla="*/ 2188219 h 4906666"/>
              <a:gd name="connsiteX121" fmla="*/ 649400 w 5491712"/>
              <a:gd name="connsiteY121" fmla="*/ 1992360 h 4906666"/>
              <a:gd name="connsiteX122" fmla="*/ 649400 w 5491712"/>
              <a:gd name="connsiteY122" fmla="*/ 2022963 h 4906666"/>
              <a:gd name="connsiteX123" fmla="*/ 649400 w 5491712"/>
              <a:gd name="connsiteY123" fmla="*/ 3136913 h 4906666"/>
              <a:gd name="connsiteX124" fmla="*/ 575883 w 5491712"/>
              <a:gd name="connsiteY124" fmla="*/ 3210361 h 4906666"/>
              <a:gd name="connsiteX125" fmla="*/ 511555 w 5491712"/>
              <a:gd name="connsiteY125" fmla="*/ 3253205 h 4906666"/>
              <a:gd name="connsiteX126" fmla="*/ 468670 w 5491712"/>
              <a:gd name="connsiteY126" fmla="*/ 3265446 h 4906666"/>
              <a:gd name="connsiteX127" fmla="*/ 502366 w 5491712"/>
              <a:gd name="connsiteY127" fmla="*/ 3195059 h 4906666"/>
              <a:gd name="connsiteX128" fmla="*/ 450291 w 5491712"/>
              <a:gd name="connsiteY128" fmla="*/ 3237903 h 4906666"/>
              <a:gd name="connsiteX129" fmla="*/ 416596 w 5491712"/>
              <a:gd name="connsiteY129" fmla="*/ 3277687 h 4906666"/>
              <a:gd name="connsiteX130" fmla="*/ 349205 w 5491712"/>
              <a:gd name="connsiteY130" fmla="*/ 3323592 h 4906666"/>
              <a:gd name="connsiteX131" fmla="*/ 343079 w 5491712"/>
              <a:gd name="connsiteY131" fmla="*/ 3314411 h 4906666"/>
              <a:gd name="connsiteX132" fmla="*/ 361458 w 5491712"/>
              <a:gd name="connsiteY132" fmla="*/ 3299109 h 4906666"/>
              <a:gd name="connsiteX133" fmla="*/ 330826 w 5491712"/>
              <a:gd name="connsiteY133" fmla="*/ 3289928 h 4906666"/>
              <a:gd name="connsiteX134" fmla="*/ 398217 w 5491712"/>
              <a:gd name="connsiteY134" fmla="*/ 3250145 h 4906666"/>
              <a:gd name="connsiteX135" fmla="*/ 416596 w 5491712"/>
              <a:gd name="connsiteY135" fmla="*/ 3222602 h 4906666"/>
              <a:gd name="connsiteX136" fmla="*/ 379837 w 5491712"/>
              <a:gd name="connsiteY136" fmla="*/ 3228722 h 4906666"/>
              <a:gd name="connsiteX137" fmla="*/ 456418 w 5491712"/>
              <a:gd name="connsiteY137" fmla="*/ 3075707 h 4906666"/>
              <a:gd name="connsiteX138" fmla="*/ 444165 w 5491712"/>
              <a:gd name="connsiteY138" fmla="*/ 3051225 h 4906666"/>
              <a:gd name="connsiteX139" fmla="*/ 398217 w 5491712"/>
              <a:gd name="connsiteY139" fmla="*/ 3109371 h 4906666"/>
              <a:gd name="connsiteX140" fmla="*/ 355332 w 5491712"/>
              <a:gd name="connsiteY140" fmla="*/ 3078768 h 4906666"/>
              <a:gd name="connsiteX141" fmla="*/ 373711 w 5491712"/>
              <a:gd name="connsiteY141" fmla="*/ 3008381 h 4906666"/>
              <a:gd name="connsiteX142" fmla="*/ 281815 w 5491712"/>
              <a:gd name="connsiteY142" fmla="*/ 3078768 h 4906666"/>
              <a:gd name="connsiteX143" fmla="*/ 275688 w 5491712"/>
              <a:gd name="connsiteY143" fmla="*/ 3072647 h 4906666"/>
              <a:gd name="connsiteX144" fmla="*/ 312447 w 5491712"/>
              <a:gd name="connsiteY144" fmla="*/ 3032863 h 4906666"/>
              <a:gd name="connsiteX145" fmla="*/ 284878 w 5491712"/>
              <a:gd name="connsiteY145" fmla="*/ 2990019 h 4906666"/>
              <a:gd name="connsiteX146" fmla="*/ 300194 w 5491712"/>
              <a:gd name="connsiteY146" fmla="*/ 2956355 h 4906666"/>
              <a:gd name="connsiteX147" fmla="*/ 232803 w 5491712"/>
              <a:gd name="connsiteY147" fmla="*/ 2974717 h 4906666"/>
              <a:gd name="connsiteX148" fmla="*/ 226677 w 5491712"/>
              <a:gd name="connsiteY148" fmla="*/ 2968597 h 4906666"/>
              <a:gd name="connsiteX149" fmla="*/ 257309 w 5491712"/>
              <a:gd name="connsiteY149" fmla="*/ 2950235 h 4906666"/>
              <a:gd name="connsiteX150" fmla="*/ 143970 w 5491712"/>
              <a:gd name="connsiteY150" fmla="*/ 2931873 h 4906666"/>
              <a:gd name="connsiteX151" fmla="*/ 128654 w 5491712"/>
              <a:gd name="connsiteY151" fmla="*/ 2898210 h 4906666"/>
              <a:gd name="connsiteX152" fmla="*/ 150097 w 5491712"/>
              <a:gd name="connsiteY152" fmla="*/ 2809461 h 4906666"/>
              <a:gd name="connsiteX153" fmla="*/ 189919 w 5491712"/>
              <a:gd name="connsiteY153" fmla="*/ 2711531 h 4906666"/>
              <a:gd name="connsiteX154" fmla="*/ 205235 w 5491712"/>
              <a:gd name="connsiteY154" fmla="*/ 2653385 h 4906666"/>
              <a:gd name="connsiteX155" fmla="*/ 272625 w 5491712"/>
              <a:gd name="connsiteY155" fmla="*/ 2546275 h 4906666"/>
              <a:gd name="connsiteX156" fmla="*/ 254246 w 5491712"/>
              <a:gd name="connsiteY156" fmla="*/ 2521792 h 4906666"/>
              <a:gd name="connsiteX157" fmla="*/ 278752 w 5491712"/>
              <a:gd name="connsiteY157" fmla="*/ 2460586 h 4906666"/>
              <a:gd name="connsiteX158" fmla="*/ 275688 w 5491712"/>
              <a:gd name="connsiteY158" fmla="*/ 2445285 h 4906666"/>
              <a:gd name="connsiteX159" fmla="*/ 217487 w 5491712"/>
              <a:gd name="connsiteY159" fmla="*/ 2491189 h 4906666"/>
              <a:gd name="connsiteX160" fmla="*/ 214424 w 5491712"/>
              <a:gd name="connsiteY160" fmla="*/ 2463646 h 4906666"/>
              <a:gd name="connsiteX161" fmla="*/ 122528 w 5491712"/>
              <a:gd name="connsiteY161" fmla="*/ 2561576 h 4906666"/>
              <a:gd name="connsiteX162" fmla="*/ 101086 w 5491712"/>
              <a:gd name="connsiteY162" fmla="*/ 2515672 h 4906666"/>
              <a:gd name="connsiteX163" fmla="*/ 125591 w 5491712"/>
              <a:gd name="connsiteY163" fmla="*/ 2475888 h 4906666"/>
              <a:gd name="connsiteX164" fmla="*/ 85770 w 5491712"/>
              <a:gd name="connsiteY164" fmla="*/ 2485069 h 4906666"/>
              <a:gd name="connsiteX165" fmla="*/ 15316 w 5491712"/>
              <a:gd name="connsiteY165" fmla="*/ 2561576 h 4906666"/>
              <a:gd name="connsiteX166" fmla="*/ 3063 w 5491712"/>
              <a:gd name="connsiteY166" fmla="*/ 2552395 h 4906666"/>
              <a:gd name="connsiteX167" fmla="*/ 21442 w 5491712"/>
              <a:gd name="connsiteY167" fmla="*/ 2521792 h 4906666"/>
              <a:gd name="connsiteX168" fmla="*/ 30632 w 5491712"/>
              <a:gd name="connsiteY168" fmla="*/ 2512611 h 4906666"/>
              <a:gd name="connsiteX169" fmla="*/ 15316 w 5491712"/>
              <a:gd name="connsiteY169" fmla="*/ 2482008 h 4906666"/>
              <a:gd name="connsiteX170" fmla="*/ 0 w 5491712"/>
              <a:gd name="connsiteY170" fmla="*/ 2488129 h 4906666"/>
              <a:gd name="connsiteX171" fmla="*/ 214424 w 5491712"/>
              <a:gd name="connsiteY171" fmla="*/ 2136194 h 4906666"/>
              <a:gd name="connsiteX172" fmla="*/ 189919 w 5491712"/>
              <a:gd name="connsiteY172" fmla="*/ 2145375 h 4906666"/>
              <a:gd name="connsiteX173" fmla="*/ 205235 w 5491712"/>
              <a:gd name="connsiteY173" fmla="*/ 2105591 h 4906666"/>
              <a:gd name="connsiteX174" fmla="*/ 113338 w 5491712"/>
              <a:gd name="connsiteY174" fmla="*/ 2163737 h 4906666"/>
              <a:gd name="connsiteX175" fmla="*/ 88833 w 5491712"/>
              <a:gd name="connsiteY175" fmla="*/ 2123953 h 4906666"/>
              <a:gd name="connsiteX176" fmla="*/ 82706 w 5491712"/>
              <a:gd name="connsiteY176" fmla="*/ 2127013 h 4906666"/>
              <a:gd name="connsiteX177" fmla="*/ 94959 w 5491712"/>
              <a:gd name="connsiteY177" fmla="*/ 2053566 h 4906666"/>
              <a:gd name="connsiteX178" fmla="*/ 116402 w 5491712"/>
              <a:gd name="connsiteY178" fmla="*/ 2026023 h 4906666"/>
              <a:gd name="connsiteX179" fmla="*/ 186855 w 5491712"/>
              <a:gd name="connsiteY179" fmla="*/ 1958696 h 4906666"/>
              <a:gd name="connsiteX180" fmla="*/ 226677 w 5491712"/>
              <a:gd name="connsiteY180" fmla="*/ 1888309 h 4906666"/>
              <a:gd name="connsiteX181" fmla="*/ 266499 w 5491712"/>
              <a:gd name="connsiteY181" fmla="*/ 1799561 h 4906666"/>
              <a:gd name="connsiteX182" fmla="*/ 208298 w 5491712"/>
              <a:gd name="connsiteY182" fmla="*/ 1851586 h 4906666"/>
              <a:gd name="connsiteX183" fmla="*/ 202171 w 5491712"/>
              <a:gd name="connsiteY183" fmla="*/ 1845465 h 4906666"/>
              <a:gd name="connsiteX184" fmla="*/ 263436 w 5491712"/>
              <a:gd name="connsiteY184" fmla="*/ 1710812 h 4906666"/>
              <a:gd name="connsiteX185" fmla="*/ 269562 w 5491712"/>
              <a:gd name="connsiteY185" fmla="*/ 1713872 h 4906666"/>
              <a:gd name="connsiteX186" fmla="*/ 254246 w 5491712"/>
              <a:gd name="connsiteY186" fmla="*/ 1750596 h 4906666"/>
              <a:gd name="connsiteX187" fmla="*/ 269562 w 5491712"/>
              <a:gd name="connsiteY187" fmla="*/ 1759777 h 4906666"/>
              <a:gd name="connsiteX188" fmla="*/ 324700 w 5491712"/>
              <a:gd name="connsiteY188" fmla="*/ 1716932 h 4906666"/>
              <a:gd name="connsiteX189" fmla="*/ 309384 w 5491712"/>
              <a:gd name="connsiteY189" fmla="*/ 1753656 h 4906666"/>
              <a:gd name="connsiteX190" fmla="*/ 318573 w 5491712"/>
              <a:gd name="connsiteY190" fmla="*/ 1759777 h 4906666"/>
              <a:gd name="connsiteX191" fmla="*/ 404343 w 5491712"/>
              <a:gd name="connsiteY191" fmla="*/ 1628184 h 4906666"/>
              <a:gd name="connsiteX192" fmla="*/ 434975 w 5491712"/>
              <a:gd name="connsiteY192" fmla="*/ 1554736 h 4906666"/>
              <a:gd name="connsiteX193" fmla="*/ 447228 w 5491712"/>
              <a:gd name="connsiteY193" fmla="*/ 1548616 h 4906666"/>
              <a:gd name="connsiteX194" fmla="*/ 490113 w 5491712"/>
              <a:gd name="connsiteY194" fmla="*/ 1521073 h 4906666"/>
              <a:gd name="connsiteX195" fmla="*/ 560567 w 5491712"/>
              <a:gd name="connsiteY195" fmla="*/ 1459867 h 4906666"/>
              <a:gd name="connsiteX196" fmla="*/ 852488 w 5491712"/>
              <a:gd name="connsiteY196" fmla="*/ 1343980 h 4906666"/>
              <a:gd name="connsiteX197" fmla="*/ 821428 w 5491712"/>
              <a:gd name="connsiteY197" fmla="*/ 1413830 h 4906666"/>
              <a:gd name="connsiteX198" fmla="*/ 821002 w 5491712"/>
              <a:gd name="connsiteY198" fmla="*/ 1413795 h 4906666"/>
              <a:gd name="connsiteX199" fmla="*/ 820720 w 5491712"/>
              <a:gd name="connsiteY199" fmla="*/ 1414450 h 4906666"/>
              <a:gd name="connsiteX200" fmla="*/ 783941 w 5491712"/>
              <a:gd name="connsiteY200" fmla="*/ 1411390 h 4906666"/>
              <a:gd name="connsiteX201" fmla="*/ 780876 w 5491712"/>
              <a:gd name="connsiteY201" fmla="*/ 1402211 h 4906666"/>
              <a:gd name="connsiteX202" fmla="*/ 781151 w 5491712"/>
              <a:gd name="connsiteY202" fmla="*/ 1401978 h 4906666"/>
              <a:gd name="connsiteX203" fmla="*/ 781050 w 5491712"/>
              <a:gd name="connsiteY203" fmla="*/ 1401682 h 4906666"/>
              <a:gd name="connsiteX204" fmla="*/ 802938 w 5491712"/>
              <a:gd name="connsiteY204" fmla="*/ 1383516 h 4906666"/>
              <a:gd name="connsiteX205" fmla="*/ 813824 w 5491712"/>
              <a:gd name="connsiteY205" fmla="*/ 1374290 h 4906666"/>
              <a:gd name="connsiteX206" fmla="*/ 851370 w 5491712"/>
              <a:gd name="connsiteY206" fmla="*/ 1344075 h 4906666"/>
              <a:gd name="connsiteX207" fmla="*/ 850841 w 5491712"/>
              <a:gd name="connsiteY207" fmla="*/ 1345278 h 4906666"/>
              <a:gd name="connsiteX208" fmla="*/ 800244 w 5491712"/>
              <a:gd name="connsiteY208" fmla="*/ 1301117 h 4906666"/>
              <a:gd name="connsiteX209" fmla="*/ 806450 w 5491712"/>
              <a:gd name="connsiteY209" fmla="*/ 1313443 h 4906666"/>
              <a:gd name="connsiteX210" fmla="*/ 763010 w 5491712"/>
              <a:gd name="connsiteY210" fmla="*/ 1350423 h 4906666"/>
              <a:gd name="connsiteX211" fmla="*/ 738187 w 5491712"/>
              <a:gd name="connsiteY211" fmla="*/ 1353505 h 4906666"/>
              <a:gd name="connsiteX212" fmla="*/ 741290 w 5491712"/>
              <a:gd name="connsiteY212" fmla="*/ 1328852 h 4906666"/>
              <a:gd name="connsiteX213" fmla="*/ 800244 w 5491712"/>
              <a:gd name="connsiteY213" fmla="*/ 1301117 h 4906666"/>
              <a:gd name="connsiteX214" fmla="*/ 1116239 w 5491712"/>
              <a:gd name="connsiteY214" fmla="*/ 1218567 h 4906666"/>
              <a:gd name="connsiteX215" fmla="*/ 1122363 w 5491712"/>
              <a:gd name="connsiteY215" fmla="*/ 1221591 h 4906666"/>
              <a:gd name="connsiteX216" fmla="*/ 1107055 w 5491712"/>
              <a:gd name="connsiteY216" fmla="*/ 1282067 h 4906666"/>
              <a:gd name="connsiteX217" fmla="*/ 1106013 w 5491712"/>
              <a:gd name="connsiteY217" fmla="*/ 1281942 h 4906666"/>
              <a:gd name="connsiteX218" fmla="*/ 1105761 w 5491712"/>
              <a:gd name="connsiteY218" fmla="*/ 1282880 h 4906666"/>
              <a:gd name="connsiteX219" fmla="*/ 1078177 w 5491712"/>
              <a:gd name="connsiteY219" fmla="*/ 1279820 h 4906666"/>
              <a:gd name="connsiteX220" fmla="*/ 1114956 w 5491712"/>
              <a:gd name="connsiteY220" fmla="*/ 1218625 h 4906666"/>
              <a:gd name="connsiteX221" fmla="*/ 1115914 w 5491712"/>
              <a:gd name="connsiteY221" fmla="*/ 1219103 h 4906666"/>
              <a:gd name="connsiteX222" fmla="*/ 1162226 w 5491712"/>
              <a:gd name="connsiteY222" fmla="*/ 1142367 h 4906666"/>
              <a:gd name="connsiteX223" fmla="*/ 1171575 w 5491712"/>
              <a:gd name="connsiteY223" fmla="*/ 1151459 h 4906666"/>
              <a:gd name="connsiteX224" fmla="*/ 1096785 w 5491712"/>
              <a:gd name="connsiteY224" fmla="*/ 1209042 h 4906666"/>
              <a:gd name="connsiteX225" fmla="*/ 1087437 w 5491712"/>
              <a:gd name="connsiteY225" fmla="*/ 1199950 h 4906666"/>
              <a:gd name="connsiteX226" fmla="*/ 1162226 w 5491712"/>
              <a:gd name="connsiteY226" fmla="*/ 1142367 h 4906666"/>
              <a:gd name="connsiteX227" fmla="*/ 1516465 w 5491712"/>
              <a:gd name="connsiteY227" fmla="*/ 949384 h 4906666"/>
              <a:gd name="connsiteX228" fmla="*/ 1513621 w 5491712"/>
              <a:gd name="connsiteY228" fmla="*/ 952224 h 4906666"/>
              <a:gd name="connsiteX229" fmla="*/ 1516465 w 5491712"/>
              <a:gd name="connsiteY229" fmla="*/ 952442 h 4906666"/>
              <a:gd name="connsiteX230" fmla="*/ 3659541 w 5491712"/>
              <a:gd name="connsiteY230" fmla="*/ 820114 h 4906666"/>
              <a:gd name="connsiteX231" fmla="*/ 3661904 w 5491712"/>
              <a:gd name="connsiteY231" fmla="*/ 844334 h 4906666"/>
              <a:gd name="connsiteX232" fmla="*/ 3661904 w 5491712"/>
              <a:gd name="connsiteY232" fmla="*/ 844335 h 4906666"/>
              <a:gd name="connsiteX233" fmla="*/ 3661904 w 5491712"/>
              <a:gd name="connsiteY233" fmla="*/ 844342 h 4906666"/>
              <a:gd name="connsiteX234" fmla="*/ 3616325 w 5491712"/>
              <a:gd name="connsiteY234" fmla="*/ 872510 h 4906666"/>
              <a:gd name="connsiteX235" fmla="*/ 3616343 w 5491712"/>
              <a:gd name="connsiteY235" fmla="*/ 872495 h 4906666"/>
              <a:gd name="connsiteX236" fmla="*/ 3616325 w 5491712"/>
              <a:gd name="connsiteY236" fmla="*/ 872502 h 4906666"/>
              <a:gd name="connsiteX237" fmla="*/ 3647183 w 5491712"/>
              <a:gd name="connsiteY237" fmla="*/ 847857 h 4906666"/>
              <a:gd name="connsiteX238" fmla="*/ 3632531 w 5491712"/>
              <a:gd name="connsiteY238" fmla="*/ 847857 h 4906666"/>
              <a:gd name="connsiteX239" fmla="*/ 3622499 w 5491712"/>
              <a:gd name="connsiteY239" fmla="*/ 847857 h 4906666"/>
              <a:gd name="connsiteX240" fmla="*/ 3619412 w 5491712"/>
              <a:gd name="connsiteY240" fmla="*/ 841694 h 4906666"/>
              <a:gd name="connsiteX241" fmla="*/ 3619415 w 5491712"/>
              <a:gd name="connsiteY241" fmla="*/ 841692 h 4906666"/>
              <a:gd name="connsiteX242" fmla="*/ 3619412 w 5491712"/>
              <a:gd name="connsiteY242" fmla="*/ 841686 h 4906666"/>
              <a:gd name="connsiteX243" fmla="*/ 3659541 w 5491712"/>
              <a:gd name="connsiteY243" fmla="*/ 820114 h 4906666"/>
              <a:gd name="connsiteX244" fmla="*/ 1817687 w 5491712"/>
              <a:gd name="connsiteY244" fmla="*/ 641181 h 4906666"/>
              <a:gd name="connsiteX245" fmla="*/ 1817687 w 5491712"/>
              <a:gd name="connsiteY245" fmla="*/ 641940 h 4906666"/>
              <a:gd name="connsiteX246" fmla="*/ 1817969 w 5491712"/>
              <a:gd name="connsiteY246" fmla="*/ 641455 h 4906666"/>
              <a:gd name="connsiteX247" fmla="*/ 1816831 w 5491712"/>
              <a:gd name="connsiteY247" fmla="*/ 640351 h 4906666"/>
              <a:gd name="connsiteX248" fmla="*/ 1816831 w 5491712"/>
              <a:gd name="connsiteY248" fmla="*/ 642803 h 4906666"/>
              <a:gd name="connsiteX249" fmla="*/ 1817553 w 5491712"/>
              <a:gd name="connsiteY249" fmla="*/ 641051 h 4906666"/>
              <a:gd name="connsiteX250" fmla="*/ 3962141 w 5491712"/>
              <a:gd name="connsiteY250" fmla="*/ 316182 h 4906666"/>
              <a:gd name="connsiteX251" fmla="*/ 3977652 w 5491712"/>
              <a:gd name="connsiteY251" fmla="*/ 317369 h 4906666"/>
              <a:gd name="connsiteX252" fmla="*/ 3977744 w 5491712"/>
              <a:gd name="connsiteY252" fmla="*/ 317366 h 4906666"/>
              <a:gd name="connsiteX253" fmla="*/ 4011612 w 5491712"/>
              <a:gd name="connsiteY253" fmla="*/ 330615 h 4906666"/>
              <a:gd name="connsiteX254" fmla="*/ 4011603 w 5491712"/>
              <a:gd name="connsiteY254" fmla="*/ 330621 h 4906666"/>
              <a:gd name="connsiteX255" fmla="*/ 4011612 w 5491712"/>
              <a:gd name="connsiteY255" fmla="*/ 330625 h 4906666"/>
              <a:gd name="connsiteX256" fmla="*/ 3932237 w 5491712"/>
              <a:gd name="connsiteY256" fmla="*/ 377214 h 4906666"/>
              <a:gd name="connsiteX257" fmla="*/ 3932240 w 5491712"/>
              <a:gd name="connsiteY257" fmla="*/ 377203 h 4906666"/>
              <a:gd name="connsiteX258" fmla="*/ 3932237 w 5491712"/>
              <a:gd name="connsiteY258" fmla="*/ 377205 h 4906666"/>
              <a:gd name="connsiteX259" fmla="*/ 3932286 w 5491712"/>
              <a:gd name="connsiteY259" fmla="*/ 377053 h 4906666"/>
              <a:gd name="connsiteX260" fmla="*/ 3940205 w 5491712"/>
              <a:gd name="connsiteY260" fmla="*/ 351185 h 4906666"/>
              <a:gd name="connsiteX261" fmla="*/ 3944065 w 5491712"/>
              <a:gd name="connsiteY261" fmla="*/ 340713 h 4906666"/>
              <a:gd name="connsiteX262" fmla="*/ 3945498 w 5491712"/>
              <a:gd name="connsiteY262" fmla="*/ 336294 h 4906666"/>
              <a:gd name="connsiteX263" fmla="*/ 3945923 w 5491712"/>
              <a:gd name="connsiteY263" fmla="*/ 335674 h 4906666"/>
              <a:gd name="connsiteX264" fmla="*/ 3946962 w 5491712"/>
              <a:gd name="connsiteY264" fmla="*/ 332855 h 4906666"/>
              <a:gd name="connsiteX265" fmla="*/ 3950599 w 5491712"/>
              <a:gd name="connsiteY265" fmla="*/ 328860 h 4906666"/>
              <a:gd name="connsiteX266" fmla="*/ 3958186 w 5491712"/>
              <a:gd name="connsiteY266" fmla="*/ 317803 h 4906666"/>
              <a:gd name="connsiteX267" fmla="*/ 3960716 w 5491712"/>
              <a:gd name="connsiteY267" fmla="*/ 317746 h 4906666"/>
              <a:gd name="connsiteX268" fmla="*/ 3079506 w 5491712"/>
              <a:gd name="connsiteY268" fmla="*/ 260506 h 4906666"/>
              <a:gd name="connsiteX269" fmla="*/ 3079506 w 5491712"/>
              <a:gd name="connsiteY269" fmla="*/ 260507 h 4906666"/>
              <a:gd name="connsiteX270" fmla="*/ 3079551 w 5491712"/>
              <a:gd name="connsiteY270" fmla="*/ 260732 h 4906666"/>
              <a:gd name="connsiteX271" fmla="*/ 3113088 w 5491712"/>
              <a:gd name="connsiteY271" fmla="*/ 242266 h 4906666"/>
              <a:gd name="connsiteX272" fmla="*/ 3112979 w 5491712"/>
              <a:gd name="connsiteY272" fmla="*/ 242768 h 4906666"/>
              <a:gd name="connsiteX273" fmla="*/ 3113307 w 5491712"/>
              <a:gd name="connsiteY273" fmla="*/ 242583 h 4906666"/>
              <a:gd name="connsiteX274" fmla="*/ 3101047 w 5491712"/>
              <a:gd name="connsiteY274" fmla="*/ 291539 h 4906666"/>
              <a:gd name="connsiteX275" fmla="*/ 3100887 w 5491712"/>
              <a:gd name="connsiteY275" fmla="*/ 291533 h 4906666"/>
              <a:gd name="connsiteX276" fmla="*/ 3100876 w 5491712"/>
              <a:gd name="connsiteY276" fmla="*/ 291572 h 4906666"/>
              <a:gd name="connsiteX277" fmla="*/ 3073400 w 5491712"/>
              <a:gd name="connsiteY277" fmla="*/ 288491 h 4906666"/>
              <a:gd name="connsiteX278" fmla="*/ 3079224 w 5491712"/>
              <a:gd name="connsiteY278" fmla="*/ 259097 h 4906666"/>
              <a:gd name="connsiteX279" fmla="*/ 3079215 w 5491712"/>
              <a:gd name="connsiteY279" fmla="*/ 259052 h 4906666"/>
              <a:gd name="connsiteX280" fmla="*/ 3079037 w 5491712"/>
              <a:gd name="connsiteY280" fmla="*/ 258168 h 4906666"/>
              <a:gd name="connsiteX281" fmla="*/ 3079038 w 5491712"/>
              <a:gd name="connsiteY281" fmla="*/ 258167 h 4906666"/>
              <a:gd name="connsiteX282" fmla="*/ 3079037 w 5491712"/>
              <a:gd name="connsiteY282" fmla="*/ 258167 h 4906666"/>
              <a:gd name="connsiteX283" fmla="*/ 3079451 w 5491712"/>
              <a:gd name="connsiteY283" fmla="*/ 257953 h 4906666"/>
              <a:gd name="connsiteX284" fmla="*/ 3079506 w 5491712"/>
              <a:gd name="connsiteY284" fmla="*/ 257674 h 4906666"/>
              <a:gd name="connsiteX285" fmla="*/ 3079506 w 5491712"/>
              <a:gd name="connsiteY285" fmla="*/ 257925 h 4906666"/>
              <a:gd name="connsiteX286" fmla="*/ 3079593 w 5491712"/>
              <a:gd name="connsiteY286" fmla="*/ 257881 h 4906666"/>
              <a:gd name="connsiteX287" fmla="*/ 3079593 w 5491712"/>
              <a:gd name="connsiteY287" fmla="*/ 257882 h 4906666"/>
              <a:gd name="connsiteX288" fmla="*/ 3079593 w 5491712"/>
              <a:gd name="connsiteY288" fmla="*/ 260710 h 4906666"/>
              <a:gd name="connsiteX289" fmla="*/ 3092862 w 5491712"/>
              <a:gd name="connsiteY289" fmla="*/ 253822 h 4906666"/>
              <a:gd name="connsiteX290" fmla="*/ 3113088 w 5491712"/>
              <a:gd name="connsiteY290" fmla="*/ 242266 h 4906666"/>
              <a:gd name="connsiteX291" fmla="*/ 2861981 w 5491712"/>
              <a:gd name="connsiteY291" fmla="*/ 858 h 4906666"/>
              <a:gd name="connsiteX292" fmla="*/ 2932475 w 5491712"/>
              <a:gd name="connsiteY292" fmla="*/ 3917 h 4906666"/>
              <a:gd name="connsiteX293" fmla="*/ 2987644 w 5491712"/>
              <a:gd name="connsiteY293" fmla="*/ 28395 h 4906666"/>
              <a:gd name="connsiteX294" fmla="*/ 3027488 w 5491712"/>
              <a:gd name="connsiteY294" fmla="*/ 49818 h 4906666"/>
              <a:gd name="connsiteX295" fmla="*/ 3027487 w 5491712"/>
              <a:gd name="connsiteY295" fmla="*/ 49818 h 4906666"/>
              <a:gd name="connsiteX296" fmla="*/ 3027488 w 5491712"/>
              <a:gd name="connsiteY296" fmla="*/ 49819 h 4906666"/>
              <a:gd name="connsiteX297" fmla="*/ 2996839 w 5491712"/>
              <a:gd name="connsiteY297" fmla="*/ 74297 h 4906666"/>
              <a:gd name="connsiteX298" fmla="*/ 2990709 w 5491712"/>
              <a:gd name="connsiteY298" fmla="*/ 101834 h 4906666"/>
              <a:gd name="connsiteX299" fmla="*/ 2989943 w 5491712"/>
              <a:gd name="connsiteY299" fmla="*/ 111394 h 4906666"/>
              <a:gd name="connsiteX300" fmla="*/ 2993774 w 5491712"/>
              <a:gd name="connsiteY300" fmla="*/ 123252 h 4906666"/>
              <a:gd name="connsiteX301" fmla="*/ 3061203 w 5491712"/>
              <a:gd name="connsiteY301" fmla="*/ 132430 h 4906666"/>
              <a:gd name="connsiteX302" fmla="*/ 3064268 w 5491712"/>
              <a:gd name="connsiteY302" fmla="*/ 211985 h 4906666"/>
              <a:gd name="connsiteX303" fmla="*/ 3073463 w 5491712"/>
              <a:gd name="connsiteY303" fmla="*/ 230343 h 4906666"/>
              <a:gd name="connsiteX304" fmla="*/ 3079037 w 5491712"/>
              <a:gd name="connsiteY304" fmla="*/ 258167 h 4906666"/>
              <a:gd name="connsiteX305" fmla="*/ 3079037 w 5491712"/>
              <a:gd name="connsiteY305" fmla="*/ 258168 h 4906666"/>
              <a:gd name="connsiteX306" fmla="*/ 2978449 w 5491712"/>
              <a:gd name="connsiteY306" fmla="*/ 309898 h 4906666"/>
              <a:gd name="connsiteX307" fmla="*/ 2978450 w 5491712"/>
              <a:gd name="connsiteY307" fmla="*/ 309896 h 4906666"/>
              <a:gd name="connsiteX308" fmla="*/ 2978449 w 5491712"/>
              <a:gd name="connsiteY308" fmla="*/ 309896 h 4906666"/>
              <a:gd name="connsiteX309" fmla="*/ 2984579 w 5491712"/>
              <a:gd name="connsiteY309" fmla="*/ 288479 h 4906666"/>
              <a:gd name="connsiteX310" fmla="*/ 2957474 w 5491712"/>
              <a:gd name="connsiteY310" fmla="*/ 286472 h 4906666"/>
              <a:gd name="connsiteX311" fmla="*/ 2925100 w 5491712"/>
              <a:gd name="connsiteY311" fmla="*/ 316879 h 4906666"/>
              <a:gd name="connsiteX312" fmla="*/ 2904891 w 5491712"/>
              <a:gd name="connsiteY312" fmla="*/ 325196 h 4906666"/>
              <a:gd name="connsiteX313" fmla="*/ 2911020 w 5491712"/>
              <a:gd name="connsiteY313" fmla="*/ 334375 h 4906666"/>
              <a:gd name="connsiteX314" fmla="*/ 2975384 w 5491712"/>
              <a:gd name="connsiteY314" fmla="*/ 316016 h 4906666"/>
              <a:gd name="connsiteX315" fmla="*/ 2975382 w 5491712"/>
              <a:gd name="connsiteY315" fmla="*/ 316018 h 4906666"/>
              <a:gd name="connsiteX316" fmla="*/ 2975384 w 5491712"/>
              <a:gd name="connsiteY316" fmla="*/ 316018 h 4906666"/>
              <a:gd name="connsiteX317" fmla="*/ 2920215 w 5491712"/>
              <a:gd name="connsiteY317" fmla="*/ 374153 h 4906666"/>
              <a:gd name="connsiteX318" fmla="*/ 2920215 w 5491712"/>
              <a:gd name="connsiteY318" fmla="*/ 374151 h 4906666"/>
              <a:gd name="connsiteX319" fmla="*/ 2920215 w 5491712"/>
              <a:gd name="connsiteY319" fmla="*/ 368033 h 4906666"/>
              <a:gd name="connsiteX320" fmla="*/ 2843592 w 5491712"/>
              <a:gd name="connsiteY320" fmla="*/ 392511 h 4906666"/>
              <a:gd name="connsiteX321" fmla="*/ 2848572 w 5491712"/>
              <a:gd name="connsiteY321" fmla="*/ 410437 h 4906666"/>
              <a:gd name="connsiteX322" fmla="*/ 2886501 w 5491712"/>
              <a:gd name="connsiteY322" fmla="*/ 410868 h 4906666"/>
              <a:gd name="connsiteX323" fmla="*/ 2886499 w 5491712"/>
              <a:gd name="connsiteY323" fmla="*/ 410871 h 4906666"/>
              <a:gd name="connsiteX324" fmla="*/ 2886501 w 5491712"/>
              <a:gd name="connsiteY324" fmla="*/ 410870 h 4906666"/>
              <a:gd name="connsiteX325" fmla="*/ 2865046 w 5491712"/>
              <a:gd name="connsiteY325" fmla="*/ 438407 h 4906666"/>
              <a:gd name="connsiteX326" fmla="*/ 2859299 w 5491712"/>
              <a:gd name="connsiteY326" fmla="*/ 449117 h 4906666"/>
              <a:gd name="connsiteX327" fmla="*/ 2855852 w 5491712"/>
              <a:gd name="connsiteY327" fmla="*/ 459824 h 4906666"/>
              <a:gd name="connsiteX328" fmla="*/ 2869260 w 5491712"/>
              <a:gd name="connsiteY328" fmla="*/ 465178 h 4906666"/>
              <a:gd name="connsiteX329" fmla="*/ 2880371 w 5491712"/>
              <a:gd name="connsiteY329" fmla="*/ 465943 h 4906666"/>
              <a:gd name="connsiteX330" fmla="*/ 2935540 w 5491712"/>
              <a:gd name="connsiteY330" fmla="*/ 453705 h 4906666"/>
              <a:gd name="connsiteX331" fmla="*/ 2981514 w 5491712"/>
              <a:gd name="connsiteY331" fmla="*/ 478183 h 4906666"/>
              <a:gd name="connsiteX332" fmla="*/ 3024423 w 5491712"/>
              <a:gd name="connsiteY332" fmla="*/ 490421 h 4906666"/>
              <a:gd name="connsiteX333" fmla="*/ 3024422 w 5491712"/>
              <a:gd name="connsiteY333" fmla="*/ 490423 h 4906666"/>
              <a:gd name="connsiteX334" fmla="*/ 3024423 w 5491712"/>
              <a:gd name="connsiteY334" fmla="*/ 490423 h 4906666"/>
              <a:gd name="connsiteX335" fmla="*/ 3019060 w 5491712"/>
              <a:gd name="connsiteY335" fmla="*/ 507252 h 4906666"/>
              <a:gd name="connsiteX336" fmla="*/ 3009100 w 5491712"/>
              <a:gd name="connsiteY336" fmla="*/ 533257 h 4906666"/>
              <a:gd name="connsiteX337" fmla="*/ 3041664 w 5491712"/>
              <a:gd name="connsiteY337" fmla="*/ 518341 h 4906666"/>
              <a:gd name="connsiteX338" fmla="*/ 3067333 w 5491712"/>
              <a:gd name="connsiteY338" fmla="*/ 505720 h 4906666"/>
              <a:gd name="connsiteX339" fmla="*/ 3113307 w 5491712"/>
              <a:gd name="connsiteY339" fmla="*/ 465943 h 4906666"/>
              <a:gd name="connsiteX340" fmla="*/ 3113307 w 5491712"/>
              <a:gd name="connsiteY340" fmla="*/ 465945 h 4906666"/>
              <a:gd name="connsiteX341" fmla="*/ 3113307 w 5491712"/>
              <a:gd name="connsiteY341" fmla="*/ 484302 h 4906666"/>
              <a:gd name="connsiteX342" fmla="*/ 3119437 w 5491712"/>
              <a:gd name="connsiteY342" fmla="*/ 484302 h 4906666"/>
              <a:gd name="connsiteX343" fmla="*/ 3119437 w 5491712"/>
              <a:gd name="connsiteY343" fmla="*/ 450646 h 4906666"/>
              <a:gd name="connsiteX344" fmla="*/ 3119437 w 5491712"/>
              <a:gd name="connsiteY344" fmla="*/ 450644 h 4906666"/>
              <a:gd name="connsiteX345" fmla="*/ 3147020 w 5491712"/>
              <a:gd name="connsiteY345" fmla="*/ 420048 h 4906666"/>
              <a:gd name="connsiteX346" fmla="*/ 3140892 w 5491712"/>
              <a:gd name="connsiteY346" fmla="*/ 407810 h 4906666"/>
              <a:gd name="connsiteX347" fmla="*/ 3064268 w 5491712"/>
              <a:gd name="connsiteY347" fmla="*/ 420049 h 4906666"/>
              <a:gd name="connsiteX348" fmla="*/ 3064270 w 5491712"/>
              <a:gd name="connsiteY348" fmla="*/ 420046 h 4906666"/>
              <a:gd name="connsiteX349" fmla="*/ 3064268 w 5491712"/>
              <a:gd name="connsiteY349" fmla="*/ 420047 h 4906666"/>
              <a:gd name="connsiteX350" fmla="*/ 3097981 w 5491712"/>
              <a:gd name="connsiteY350" fmla="*/ 392510 h 4906666"/>
              <a:gd name="connsiteX351" fmla="*/ 3073463 w 5491712"/>
              <a:gd name="connsiteY351" fmla="*/ 346615 h 4906666"/>
              <a:gd name="connsiteX352" fmla="*/ 3073464 w 5491712"/>
              <a:gd name="connsiteY352" fmla="*/ 346614 h 4906666"/>
              <a:gd name="connsiteX353" fmla="*/ 3073463 w 5491712"/>
              <a:gd name="connsiteY353" fmla="*/ 346614 h 4906666"/>
              <a:gd name="connsiteX354" fmla="*/ 3128632 w 5491712"/>
              <a:gd name="connsiteY354" fmla="*/ 282358 h 4906666"/>
              <a:gd name="connsiteX355" fmla="*/ 3137827 w 5491712"/>
              <a:gd name="connsiteY355" fmla="*/ 285418 h 4906666"/>
              <a:gd name="connsiteX356" fmla="*/ 3137827 w 5491712"/>
              <a:gd name="connsiteY356" fmla="*/ 285420 h 4906666"/>
              <a:gd name="connsiteX357" fmla="*/ 3131697 w 5491712"/>
              <a:gd name="connsiteY357" fmla="*/ 343554 h 4906666"/>
              <a:gd name="connsiteX358" fmla="*/ 3160431 w 5491712"/>
              <a:gd name="connsiteY358" fmla="*/ 335904 h 4906666"/>
              <a:gd name="connsiteX359" fmla="*/ 3186866 w 5491712"/>
              <a:gd name="connsiteY359" fmla="*/ 328255 h 4906666"/>
              <a:gd name="connsiteX360" fmla="*/ 3260425 w 5491712"/>
              <a:gd name="connsiteY360" fmla="*/ 368032 h 4906666"/>
              <a:gd name="connsiteX361" fmla="*/ 3260424 w 5491712"/>
              <a:gd name="connsiteY361" fmla="*/ 368033 h 4906666"/>
              <a:gd name="connsiteX362" fmla="*/ 3260425 w 5491712"/>
              <a:gd name="connsiteY362" fmla="*/ 368033 h 4906666"/>
              <a:gd name="connsiteX363" fmla="*/ 3242036 w 5491712"/>
              <a:gd name="connsiteY363" fmla="*/ 398629 h 4906666"/>
              <a:gd name="connsiteX364" fmla="*/ 3280347 w 5491712"/>
              <a:gd name="connsiteY364" fmla="*/ 394039 h 4906666"/>
              <a:gd name="connsiteX365" fmla="*/ 3318659 w 5491712"/>
              <a:gd name="connsiteY365" fmla="*/ 389450 h 4906666"/>
              <a:gd name="connsiteX366" fmla="*/ 3318658 w 5491712"/>
              <a:gd name="connsiteY366" fmla="*/ 389451 h 4906666"/>
              <a:gd name="connsiteX367" fmla="*/ 3318659 w 5491712"/>
              <a:gd name="connsiteY367" fmla="*/ 389451 h 4906666"/>
              <a:gd name="connsiteX368" fmla="*/ 3314061 w 5491712"/>
              <a:gd name="connsiteY368" fmla="*/ 404368 h 4906666"/>
              <a:gd name="connsiteX369" fmla="*/ 3309465 w 5491712"/>
              <a:gd name="connsiteY369" fmla="*/ 416987 h 4906666"/>
              <a:gd name="connsiteX370" fmla="*/ 3321724 w 5491712"/>
              <a:gd name="connsiteY370" fmla="*/ 420047 h 4906666"/>
              <a:gd name="connsiteX371" fmla="*/ 3352373 w 5491712"/>
              <a:gd name="connsiteY371" fmla="*/ 361912 h 4906666"/>
              <a:gd name="connsiteX372" fmla="*/ 3349309 w 5491712"/>
              <a:gd name="connsiteY372" fmla="*/ 349675 h 4906666"/>
              <a:gd name="connsiteX373" fmla="*/ 3349309 w 5491712"/>
              <a:gd name="connsiteY373" fmla="*/ 349673 h 4906666"/>
              <a:gd name="connsiteX374" fmla="*/ 3364633 w 5491712"/>
              <a:gd name="connsiteY374" fmla="*/ 344701 h 4906666"/>
              <a:gd name="connsiteX375" fmla="*/ 3389149 w 5491712"/>
              <a:gd name="connsiteY375" fmla="*/ 337435 h 4906666"/>
              <a:gd name="connsiteX376" fmla="*/ 3369230 w 5491712"/>
              <a:gd name="connsiteY376" fmla="*/ 333228 h 4906666"/>
              <a:gd name="connsiteX377" fmla="*/ 3358503 w 5491712"/>
              <a:gd name="connsiteY377" fmla="*/ 331316 h 4906666"/>
              <a:gd name="connsiteX378" fmla="*/ 3358510 w 5491712"/>
              <a:gd name="connsiteY378" fmla="*/ 331316 h 4906666"/>
              <a:gd name="connsiteX379" fmla="*/ 3358503 w 5491712"/>
              <a:gd name="connsiteY379" fmla="*/ 331314 h 4906666"/>
              <a:gd name="connsiteX380" fmla="*/ 3499491 w 5491712"/>
              <a:gd name="connsiteY380" fmla="*/ 215043 h 4906666"/>
              <a:gd name="connsiteX381" fmla="*/ 3499491 w 5491712"/>
              <a:gd name="connsiteY381" fmla="*/ 215045 h 4906666"/>
              <a:gd name="connsiteX382" fmla="*/ 3499491 w 5491712"/>
              <a:gd name="connsiteY382" fmla="*/ 248701 h 4906666"/>
              <a:gd name="connsiteX383" fmla="*/ 3545466 w 5491712"/>
              <a:gd name="connsiteY383" fmla="*/ 236462 h 4906666"/>
              <a:gd name="connsiteX384" fmla="*/ 3600635 w 5491712"/>
              <a:gd name="connsiteY384" fmla="*/ 221163 h 4906666"/>
              <a:gd name="connsiteX385" fmla="*/ 3710973 w 5491712"/>
              <a:gd name="connsiteY385" fmla="*/ 141610 h 4906666"/>
              <a:gd name="connsiteX386" fmla="*/ 3750818 w 5491712"/>
              <a:gd name="connsiteY386" fmla="*/ 107952 h 4906666"/>
              <a:gd name="connsiteX387" fmla="*/ 3763077 w 5491712"/>
              <a:gd name="connsiteY387" fmla="*/ 98773 h 4906666"/>
              <a:gd name="connsiteX388" fmla="*/ 3891806 w 5491712"/>
              <a:gd name="connsiteY388" fmla="*/ 107952 h 4906666"/>
              <a:gd name="connsiteX389" fmla="*/ 3931650 w 5491712"/>
              <a:gd name="connsiteY389" fmla="*/ 120191 h 4906666"/>
              <a:gd name="connsiteX390" fmla="*/ 3931649 w 5491712"/>
              <a:gd name="connsiteY390" fmla="*/ 120193 h 4906666"/>
              <a:gd name="connsiteX391" fmla="*/ 3931650 w 5491712"/>
              <a:gd name="connsiteY391" fmla="*/ 120193 h 4906666"/>
              <a:gd name="connsiteX392" fmla="*/ 3910195 w 5491712"/>
              <a:gd name="connsiteY392" fmla="*/ 147731 h 4906666"/>
              <a:gd name="connsiteX393" fmla="*/ 3904065 w 5491712"/>
              <a:gd name="connsiteY393" fmla="*/ 175267 h 4906666"/>
              <a:gd name="connsiteX394" fmla="*/ 3910195 w 5491712"/>
              <a:gd name="connsiteY394" fmla="*/ 199745 h 4906666"/>
              <a:gd name="connsiteX395" fmla="*/ 3974559 w 5491712"/>
              <a:gd name="connsiteY395" fmla="*/ 193625 h 4906666"/>
              <a:gd name="connsiteX396" fmla="*/ 4011339 w 5491712"/>
              <a:gd name="connsiteY396" fmla="*/ 236462 h 4906666"/>
              <a:gd name="connsiteX397" fmla="*/ 4011339 w 5491712"/>
              <a:gd name="connsiteY397" fmla="*/ 236463 h 4906666"/>
              <a:gd name="connsiteX398" fmla="*/ 4011339 w 5491712"/>
              <a:gd name="connsiteY398" fmla="*/ 236464 h 4906666"/>
              <a:gd name="connsiteX399" fmla="*/ 3989884 w 5491712"/>
              <a:gd name="connsiteY399" fmla="*/ 279300 h 4906666"/>
              <a:gd name="connsiteX400" fmla="*/ 3977625 w 5491712"/>
              <a:gd name="connsiteY400" fmla="*/ 297658 h 4906666"/>
              <a:gd name="connsiteX401" fmla="*/ 3894871 w 5491712"/>
              <a:gd name="connsiteY401" fmla="*/ 371094 h 4906666"/>
              <a:gd name="connsiteX402" fmla="*/ 3877630 w 5491712"/>
              <a:gd name="connsiteY402" fmla="*/ 396719 h 4906666"/>
              <a:gd name="connsiteX403" fmla="*/ 3858092 w 5491712"/>
              <a:gd name="connsiteY403" fmla="*/ 429226 h 4906666"/>
              <a:gd name="connsiteX404" fmla="*/ 3891040 w 5491712"/>
              <a:gd name="connsiteY404" fmla="*/ 412780 h 4906666"/>
              <a:gd name="connsiteX405" fmla="*/ 3919390 w 5491712"/>
              <a:gd name="connsiteY405" fmla="*/ 398629 h 4906666"/>
              <a:gd name="connsiteX406" fmla="*/ 3919389 w 5491712"/>
              <a:gd name="connsiteY406" fmla="*/ 398631 h 4906666"/>
              <a:gd name="connsiteX407" fmla="*/ 3919390 w 5491712"/>
              <a:gd name="connsiteY407" fmla="*/ 398631 h 4906666"/>
              <a:gd name="connsiteX408" fmla="*/ 3865945 w 5491712"/>
              <a:gd name="connsiteY408" fmla="*/ 499746 h 4906666"/>
              <a:gd name="connsiteX409" fmla="*/ 3833629 w 5491712"/>
              <a:gd name="connsiteY409" fmla="*/ 520982 h 4906666"/>
              <a:gd name="connsiteX410" fmla="*/ 3833602 w 5491712"/>
              <a:gd name="connsiteY410" fmla="*/ 521028 h 4906666"/>
              <a:gd name="connsiteX411" fmla="*/ 3850428 w 5491712"/>
              <a:gd name="connsiteY411" fmla="*/ 524845 h 4906666"/>
              <a:gd name="connsiteX412" fmla="*/ 3867286 w 5491712"/>
              <a:gd name="connsiteY412" fmla="*/ 524080 h 4906666"/>
              <a:gd name="connsiteX413" fmla="*/ 3907131 w 5491712"/>
              <a:gd name="connsiteY413" fmla="*/ 508782 h 4906666"/>
              <a:gd name="connsiteX414" fmla="*/ 3907865 w 5491712"/>
              <a:gd name="connsiteY414" fmla="*/ 508388 h 4906666"/>
              <a:gd name="connsiteX415" fmla="*/ 3907536 w 5491712"/>
              <a:gd name="connsiteY415" fmla="*/ 508460 h 4906666"/>
              <a:gd name="connsiteX416" fmla="*/ 4032504 w 5491712"/>
              <a:gd name="connsiteY416" fmla="*/ 440705 h 4906666"/>
              <a:gd name="connsiteX417" fmla="*/ 4038600 w 5491712"/>
              <a:gd name="connsiteY417" fmla="*/ 449944 h 4906666"/>
              <a:gd name="connsiteX418" fmla="*/ 4038499 w 5491712"/>
              <a:gd name="connsiteY418" fmla="*/ 450012 h 4906666"/>
              <a:gd name="connsiteX419" fmla="*/ 4038923 w 5491712"/>
              <a:gd name="connsiteY419" fmla="*/ 450646 h 4906666"/>
              <a:gd name="connsiteX420" fmla="*/ 4002144 w 5491712"/>
              <a:gd name="connsiteY420" fmla="*/ 475124 h 4906666"/>
              <a:gd name="connsiteX421" fmla="*/ 3965365 w 5491712"/>
              <a:gd name="connsiteY421" fmla="*/ 527140 h 4906666"/>
              <a:gd name="connsiteX422" fmla="*/ 3964580 w 5491712"/>
              <a:gd name="connsiteY422" fmla="*/ 528838 h 4906666"/>
              <a:gd name="connsiteX423" fmla="*/ 3961447 w 5491712"/>
              <a:gd name="connsiteY423" fmla="*/ 535696 h 4906666"/>
              <a:gd name="connsiteX424" fmla="*/ 3961385 w 5491712"/>
              <a:gd name="connsiteY424" fmla="*/ 535749 h 4906666"/>
              <a:gd name="connsiteX425" fmla="*/ 3961342 w 5491712"/>
              <a:gd name="connsiteY425" fmla="*/ 535841 h 4906666"/>
              <a:gd name="connsiteX426" fmla="*/ 3955794 w 5491712"/>
              <a:gd name="connsiteY426" fmla="*/ 540456 h 4906666"/>
              <a:gd name="connsiteX427" fmla="*/ 3951732 w 5491712"/>
              <a:gd name="connsiteY427" fmla="*/ 543877 h 4906666"/>
              <a:gd name="connsiteX428" fmla="*/ 3929106 w 5491712"/>
              <a:gd name="connsiteY428" fmla="*/ 560642 h 4906666"/>
              <a:gd name="connsiteX429" fmla="*/ 4063443 w 5491712"/>
              <a:gd name="connsiteY429" fmla="*/ 521019 h 4906666"/>
              <a:gd name="connsiteX430" fmla="*/ 4063442 w 5491712"/>
              <a:gd name="connsiteY430" fmla="*/ 521021 h 4906666"/>
              <a:gd name="connsiteX431" fmla="*/ 4063443 w 5491712"/>
              <a:gd name="connsiteY431" fmla="*/ 521021 h 4906666"/>
              <a:gd name="connsiteX432" fmla="*/ 3956170 w 5491712"/>
              <a:gd name="connsiteY432" fmla="*/ 606693 h 4906666"/>
              <a:gd name="connsiteX433" fmla="*/ 3864221 w 5491712"/>
              <a:gd name="connsiteY433" fmla="*/ 670948 h 4906666"/>
              <a:gd name="connsiteX434" fmla="*/ 3833571 w 5491712"/>
              <a:gd name="connsiteY434" fmla="*/ 710724 h 4906666"/>
              <a:gd name="connsiteX435" fmla="*/ 3821312 w 5491712"/>
              <a:gd name="connsiteY435" fmla="*/ 716844 h 4906666"/>
              <a:gd name="connsiteX436" fmla="*/ 3741623 w 5491712"/>
              <a:gd name="connsiteY436" fmla="*/ 738262 h 4906666"/>
              <a:gd name="connsiteX437" fmla="*/ 3735493 w 5491712"/>
              <a:gd name="connsiteY437" fmla="*/ 735202 h 4906666"/>
              <a:gd name="connsiteX438" fmla="*/ 3735494 w 5491712"/>
              <a:gd name="connsiteY438" fmla="*/ 735201 h 4906666"/>
              <a:gd name="connsiteX439" fmla="*/ 3735493 w 5491712"/>
              <a:gd name="connsiteY439" fmla="*/ 735201 h 4906666"/>
              <a:gd name="connsiteX440" fmla="*/ 3772273 w 5491712"/>
              <a:gd name="connsiteY440" fmla="*/ 704603 h 4906666"/>
              <a:gd name="connsiteX441" fmla="*/ 3769207 w 5491712"/>
              <a:gd name="connsiteY441" fmla="*/ 695426 h 4906666"/>
              <a:gd name="connsiteX442" fmla="*/ 3674194 w 5491712"/>
              <a:gd name="connsiteY442" fmla="*/ 747441 h 4906666"/>
              <a:gd name="connsiteX443" fmla="*/ 3671895 w 5491712"/>
              <a:gd name="connsiteY443" fmla="*/ 760827 h 4906666"/>
              <a:gd name="connsiteX444" fmla="*/ 3674194 w 5491712"/>
              <a:gd name="connsiteY444" fmla="*/ 781096 h 4906666"/>
              <a:gd name="connsiteX445" fmla="*/ 3674194 w 5491712"/>
              <a:gd name="connsiteY445" fmla="*/ 781097 h 4906666"/>
              <a:gd name="connsiteX446" fmla="*/ 3674194 w 5491712"/>
              <a:gd name="connsiteY446" fmla="*/ 781098 h 4906666"/>
              <a:gd name="connsiteX447" fmla="*/ 3597570 w 5491712"/>
              <a:gd name="connsiteY447" fmla="*/ 793337 h 4906666"/>
              <a:gd name="connsiteX448" fmla="*/ 3576115 w 5491712"/>
              <a:gd name="connsiteY448" fmla="*/ 799457 h 4906666"/>
              <a:gd name="connsiteX449" fmla="*/ 3517882 w 5491712"/>
              <a:gd name="connsiteY449" fmla="*/ 866769 h 4906666"/>
              <a:gd name="connsiteX450" fmla="*/ 3535696 w 5491712"/>
              <a:gd name="connsiteY450" fmla="*/ 874275 h 4906666"/>
              <a:gd name="connsiteX451" fmla="*/ 3582748 w 5491712"/>
              <a:gd name="connsiteY451" fmla="*/ 887393 h 4906666"/>
              <a:gd name="connsiteX452" fmla="*/ 3582748 w 5491712"/>
              <a:gd name="connsiteY452" fmla="*/ 887394 h 4906666"/>
              <a:gd name="connsiteX453" fmla="*/ 3582245 w 5491712"/>
              <a:gd name="connsiteY453" fmla="*/ 906546 h 4906666"/>
              <a:gd name="connsiteX454" fmla="*/ 3614427 w 5491712"/>
              <a:gd name="connsiteY454" fmla="*/ 927917 h 4906666"/>
              <a:gd name="connsiteX455" fmla="*/ 3710973 w 5491712"/>
              <a:gd name="connsiteY455" fmla="*/ 897367 h 4906666"/>
              <a:gd name="connsiteX456" fmla="*/ 3775337 w 5491712"/>
              <a:gd name="connsiteY456" fmla="*/ 860650 h 4906666"/>
              <a:gd name="connsiteX457" fmla="*/ 3783383 w 5491712"/>
              <a:gd name="connsiteY457" fmla="*/ 853383 h 4906666"/>
              <a:gd name="connsiteX458" fmla="*/ 3793726 w 5491712"/>
              <a:gd name="connsiteY458" fmla="*/ 839233 h 4906666"/>
              <a:gd name="connsiteX459" fmla="*/ 3766526 w 5491712"/>
              <a:gd name="connsiteY459" fmla="*/ 843823 h 4906666"/>
              <a:gd name="connsiteX460" fmla="*/ 3741623 w 5491712"/>
              <a:gd name="connsiteY460" fmla="*/ 848412 h 4906666"/>
              <a:gd name="connsiteX461" fmla="*/ 3741627 w 5491712"/>
              <a:gd name="connsiteY461" fmla="*/ 848410 h 4906666"/>
              <a:gd name="connsiteX462" fmla="*/ 3741623 w 5491712"/>
              <a:gd name="connsiteY462" fmla="*/ 848411 h 4906666"/>
              <a:gd name="connsiteX463" fmla="*/ 3882611 w 5491712"/>
              <a:gd name="connsiteY463" fmla="*/ 765798 h 4906666"/>
              <a:gd name="connsiteX464" fmla="*/ 3885676 w 5491712"/>
              <a:gd name="connsiteY464" fmla="*/ 774977 h 4906666"/>
              <a:gd name="connsiteX465" fmla="*/ 3885676 w 5491712"/>
              <a:gd name="connsiteY465" fmla="*/ 774978 h 4906666"/>
              <a:gd name="connsiteX466" fmla="*/ 3818247 w 5491712"/>
              <a:gd name="connsiteY466" fmla="*/ 820875 h 4906666"/>
              <a:gd name="connsiteX467" fmla="*/ 3812117 w 5491712"/>
              <a:gd name="connsiteY467" fmla="*/ 836173 h 4906666"/>
              <a:gd name="connsiteX468" fmla="*/ 3798325 w 5491712"/>
              <a:gd name="connsiteY468" fmla="*/ 864858 h 4906666"/>
              <a:gd name="connsiteX469" fmla="*/ 3784533 w 5491712"/>
              <a:gd name="connsiteY469" fmla="*/ 900426 h 4906666"/>
              <a:gd name="connsiteX470" fmla="*/ 3850045 w 5491712"/>
              <a:gd name="connsiteY470" fmla="*/ 868682 h 4906666"/>
              <a:gd name="connsiteX471" fmla="*/ 3913260 w 5491712"/>
              <a:gd name="connsiteY471" fmla="*/ 839232 h 4906666"/>
              <a:gd name="connsiteX472" fmla="*/ 3913259 w 5491712"/>
              <a:gd name="connsiteY472" fmla="*/ 839234 h 4906666"/>
              <a:gd name="connsiteX473" fmla="*/ 3913260 w 5491712"/>
              <a:gd name="connsiteY473" fmla="*/ 839233 h 4906666"/>
              <a:gd name="connsiteX474" fmla="*/ 3789992 w 5491712"/>
              <a:gd name="connsiteY474" fmla="*/ 950675 h 4906666"/>
              <a:gd name="connsiteX475" fmla="*/ 3741624 w 5491712"/>
              <a:gd name="connsiteY475" fmla="*/ 983040 h 4906666"/>
              <a:gd name="connsiteX476" fmla="*/ 3775337 w 5491712"/>
              <a:gd name="connsiteY476" fmla="*/ 998338 h 4906666"/>
              <a:gd name="connsiteX477" fmla="*/ 3775335 w 5491712"/>
              <a:gd name="connsiteY477" fmla="*/ 998339 h 4906666"/>
              <a:gd name="connsiteX478" fmla="*/ 3775337 w 5491712"/>
              <a:gd name="connsiteY478" fmla="*/ 998340 h 4906666"/>
              <a:gd name="connsiteX479" fmla="*/ 3765376 w 5491712"/>
              <a:gd name="connsiteY479" fmla="*/ 1002929 h 4906666"/>
              <a:gd name="connsiteX480" fmla="*/ 3750820 w 5491712"/>
              <a:gd name="connsiteY480" fmla="*/ 1007519 h 4906666"/>
              <a:gd name="connsiteX481" fmla="*/ 3780318 w 5491712"/>
              <a:gd name="connsiteY481" fmla="*/ 1023199 h 4906666"/>
              <a:gd name="connsiteX482" fmla="*/ 3784532 w 5491712"/>
              <a:gd name="connsiteY482" fmla="*/ 1050354 h 4906666"/>
              <a:gd name="connsiteX483" fmla="*/ 3845831 w 5491712"/>
              <a:gd name="connsiteY483" fmla="*/ 1083995 h 4906666"/>
              <a:gd name="connsiteX484" fmla="*/ 4032793 w 5491712"/>
              <a:gd name="connsiteY484" fmla="*/ 1019757 h 4906666"/>
              <a:gd name="connsiteX485" fmla="*/ 4143132 w 5491712"/>
              <a:gd name="connsiteY485" fmla="*/ 961622 h 4906666"/>
              <a:gd name="connsiteX486" fmla="*/ 4182977 w 5491712"/>
              <a:gd name="connsiteY486" fmla="*/ 955502 h 4906666"/>
              <a:gd name="connsiteX487" fmla="*/ 4262665 w 5491712"/>
              <a:gd name="connsiteY487" fmla="*/ 943263 h 4906666"/>
              <a:gd name="connsiteX488" fmla="*/ 4415913 w 5491712"/>
              <a:gd name="connsiteY488" fmla="*/ 915726 h 4906666"/>
              <a:gd name="connsiteX489" fmla="*/ 4495602 w 5491712"/>
              <a:gd name="connsiteY489" fmla="*/ 915726 h 4906666"/>
              <a:gd name="connsiteX490" fmla="*/ 4495601 w 5491712"/>
              <a:gd name="connsiteY490" fmla="*/ 915727 h 4906666"/>
              <a:gd name="connsiteX491" fmla="*/ 4495602 w 5491712"/>
              <a:gd name="connsiteY491" fmla="*/ 915727 h 4906666"/>
              <a:gd name="connsiteX492" fmla="*/ 4481810 w 5491712"/>
              <a:gd name="connsiteY492" fmla="*/ 931026 h 4906666"/>
              <a:gd name="connsiteX493" fmla="*/ 4468019 w 5491712"/>
              <a:gd name="connsiteY493" fmla="*/ 946323 h 4906666"/>
              <a:gd name="connsiteX494" fmla="*/ 4526634 w 5491712"/>
              <a:gd name="connsiteY494" fmla="*/ 943263 h 4906666"/>
              <a:gd name="connsiteX495" fmla="*/ 4578355 w 5491712"/>
              <a:gd name="connsiteY495" fmla="*/ 940203 h 4906666"/>
              <a:gd name="connsiteX496" fmla="*/ 4578351 w 5491712"/>
              <a:gd name="connsiteY496" fmla="*/ 940205 h 4906666"/>
              <a:gd name="connsiteX497" fmla="*/ 4578355 w 5491712"/>
              <a:gd name="connsiteY497" fmla="*/ 940205 h 4906666"/>
              <a:gd name="connsiteX498" fmla="*/ 4513992 w 5491712"/>
              <a:gd name="connsiteY498" fmla="*/ 973862 h 4906666"/>
              <a:gd name="connsiteX499" fmla="*/ 4520121 w 5491712"/>
              <a:gd name="connsiteY499" fmla="*/ 986100 h 4906666"/>
              <a:gd name="connsiteX500" fmla="*/ 4602875 w 5491712"/>
              <a:gd name="connsiteY500" fmla="*/ 958561 h 4906666"/>
              <a:gd name="connsiteX501" fmla="*/ 4602875 w 5491712"/>
              <a:gd name="connsiteY501" fmla="*/ 958564 h 4906666"/>
              <a:gd name="connsiteX502" fmla="*/ 4600959 w 5491712"/>
              <a:gd name="connsiteY502" fmla="*/ 966595 h 4906666"/>
              <a:gd name="connsiteX503" fmla="*/ 4596746 w 5491712"/>
              <a:gd name="connsiteY503" fmla="*/ 976920 h 4906666"/>
              <a:gd name="connsiteX504" fmla="*/ 4709382 w 5491712"/>
              <a:gd name="connsiteY504" fmla="*/ 950147 h 4906666"/>
              <a:gd name="connsiteX505" fmla="*/ 4817422 w 5491712"/>
              <a:gd name="connsiteY505" fmla="*/ 918785 h 4906666"/>
              <a:gd name="connsiteX506" fmla="*/ 4909371 w 5491712"/>
              <a:gd name="connsiteY506" fmla="*/ 900426 h 4906666"/>
              <a:gd name="connsiteX507" fmla="*/ 4927761 w 5491712"/>
              <a:gd name="connsiteY507" fmla="*/ 909605 h 4906666"/>
              <a:gd name="connsiteX508" fmla="*/ 4958410 w 5491712"/>
              <a:gd name="connsiteY508" fmla="*/ 915726 h 4906666"/>
              <a:gd name="connsiteX509" fmla="*/ 5056489 w 5491712"/>
              <a:gd name="connsiteY509" fmla="*/ 915726 h 4906666"/>
              <a:gd name="connsiteX510" fmla="*/ 5136177 w 5491712"/>
              <a:gd name="connsiteY510" fmla="*/ 909605 h 4906666"/>
              <a:gd name="connsiteX511" fmla="*/ 5188281 w 5491712"/>
              <a:gd name="connsiteY511" fmla="*/ 894307 h 4906666"/>
              <a:gd name="connsiteX512" fmla="*/ 5191347 w 5491712"/>
              <a:gd name="connsiteY512" fmla="*/ 903486 h 4906666"/>
              <a:gd name="connsiteX513" fmla="*/ 5191347 w 5491712"/>
              <a:gd name="connsiteY513" fmla="*/ 903488 h 4906666"/>
              <a:gd name="connsiteX514" fmla="*/ 5151503 w 5491712"/>
              <a:gd name="connsiteY514" fmla="*/ 924905 h 4906666"/>
              <a:gd name="connsiteX515" fmla="*/ 5188282 w 5491712"/>
              <a:gd name="connsiteY515" fmla="*/ 951295 h 4906666"/>
              <a:gd name="connsiteX516" fmla="*/ 5225061 w 5491712"/>
              <a:gd name="connsiteY516" fmla="*/ 979980 h 4906666"/>
              <a:gd name="connsiteX517" fmla="*/ 5225060 w 5491712"/>
              <a:gd name="connsiteY517" fmla="*/ 979981 h 4906666"/>
              <a:gd name="connsiteX518" fmla="*/ 5225061 w 5491712"/>
              <a:gd name="connsiteY518" fmla="*/ 979981 h 4906666"/>
              <a:gd name="connsiteX519" fmla="*/ 5200542 w 5491712"/>
              <a:gd name="connsiteY519" fmla="*/ 1016697 h 4906666"/>
              <a:gd name="connsiteX520" fmla="*/ 5252645 w 5491712"/>
              <a:gd name="connsiteY520" fmla="*/ 1038115 h 4906666"/>
              <a:gd name="connsiteX521" fmla="*/ 5252644 w 5491712"/>
              <a:gd name="connsiteY521" fmla="*/ 1038116 h 4906666"/>
              <a:gd name="connsiteX522" fmla="*/ 5252645 w 5491712"/>
              <a:gd name="connsiteY522" fmla="*/ 1038117 h 4906666"/>
              <a:gd name="connsiteX523" fmla="*/ 5234257 w 5491712"/>
              <a:gd name="connsiteY523" fmla="*/ 1062594 h 4906666"/>
              <a:gd name="connsiteX524" fmla="*/ 5255711 w 5491712"/>
              <a:gd name="connsiteY524" fmla="*/ 1096234 h 4906666"/>
              <a:gd name="connsiteX525" fmla="*/ 5188281 w 5491712"/>
              <a:gd name="connsiteY525" fmla="*/ 1178848 h 4906666"/>
              <a:gd name="connsiteX526" fmla="*/ 5139243 w 5491712"/>
              <a:gd name="connsiteY526" fmla="*/ 1203326 h 4906666"/>
              <a:gd name="connsiteX527" fmla="*/ 5041164 w 5491712"/>
              <a:gd name="connsiteY527" fmla="*/ 1261462 h 4906666"/>
              <a:gd name="connsiteX528" fmla="*/ 4979865 w 5491712"/>
              <a:gd name="connsiteY528" fmla="*/ 1298179 h 4906666"/>
              <a:gd name="connsiteX529" fmla="*/ 5035034 w 5491712"/>
              <a:gd name="connsiteY529" fmla="*/ 1298179 h 4906666"/>
              <a:gd name="connsiteX530" fmla="*/ 5038099 w 5491712"/>
              <a:gd name="connsiteY530" fmla="*/ 1304298 h 4906666"/>
              <a:gd name="connsiteX531" fmla="*/ 4854201 w 5491712"/>
              <a:gd name="connsiteY531" fmla="*/ 1377733 h 4906666"/>
              <a:gd name="connsiteX532" fmla="*/ 4857267 w 5491712"/>
              <a:gd name="connsiteY532" fmla="*/ 1389972 h 4906666"/>
              <a:gd name="connsiteX533" fmla="*/ 4940021 w 5491712"/>
              <a:gd name="connsiteY533" fmla="*/ 1383852 h 4906666"/>
              <a:gd name="connsiteX534" fmla="*/ 4943085 w 5491712"/>
              <a:gd name="connsiteY534" fmla="*/ 1389972 h 4906666"/>
              <a:gd name="connsiteX535" fmla="*/ 4734668 w 5491712"/>
              <a:gd name="connsiteY535" fmla="*/ 1484824 h 4906666"/>
              <a:gd name="connsiteX536" fmla="*/ 4667239 w 5491712"/>
              <a:gd name="connsiteY536" fmla="*/ 1509302 h 4906666"/>
              <a:gd name="connsiteX537" fmla="*/ 4645785 w 5491712"/>
              <a:gd name="connsiteY537" fmla="*/ 1515422 h 4906666"/>
              <a:gd name="connsiteX538" fmla="*/ 4495602 w 5491712"/>
              <a:gd name="connsiteY538" fmla="*/ 1564378 h 4906666"/>
              <a:gd name="connsiteX539" fmla="*/ 4431238 w 5491712"/>
              <a:gd name="connsiteY539" fmla="*/ 1579677 h 4906666"/>
              <a:gd name="connsiteX540" fmla="*/ 4415913 w 5491712"/>
              <a:gd name="connsiteY540" fmla="*/ 1573557 h 4906666"/>
              <a:gd name="connsiteX541" fmla="*/ 4293315 w 5491712"/>
              <a:gd name="connsiteY541" fmla="*/ 1625573 h 4906666"/>
              <a:gd name="connsiteX542" fmla="*/ 4271860 w 5491712"/>
              <a:gd name="connsiteY542" fmla="*/ 1631693 h 4906666"/>
              <a:gd name="connsiteX543" fmla="*/ 4235081 w 5491712"/>
              <a:gd name="connsiteY543" fmla="*/ 1720426 h 4906666"/>
              <a:gd name="connsiteX544" fmla="*/ 4241211 w 5491712"/>
              <a:gd name="connsiteY544" fmla="*/ 1729605 h 4906666"/>
              <a:gd name="connsiteX545" fmla="*/ 4330094 w 5491712"/>
              <a:gd name="connsiteY545" fmla="*/ 1699008 h 4906666"/>
              <a:gd name="connsiteX546" fmla="*/ 4244275 w 5491712"/>
              <a:gd name="connsiteY546" fmla="*/ 1738785 h 4906666"/>
              <a:gd name="connsiteX547" fmla="*/ 4186041 w 5491712"/>
              <a:gd name="connsiteY547" fmla="*/ 1787741 h 4906666"/>
              <a:gd name="connsiteX548" fmla="*/ 4115547 w 5491712"/>
              <a:gd name="connsiteY548" fmla="*/ 1861175 h 4906666"/>
              <a:gd name="connsiteX549" fmla="*/ 4302510 w 5491712"/>
              <a:gd name="connsiteY549" fmla="*/ 1781621 h 4906666"/>
              <a:gd name="connsiteX550" fmla="*/ 4308639 w 5491712"/>
              <a:gd name="connsiteY550" fmla="*/ 1741844 h 4906666"/>
              <a:gd name="connsiteX551" fmla="*/ 4314769 w 5491712"/>
              <a:gd name="connsiteY551" fmla="*/ 1744904 h 4906666"/>
              <a:gd name="connsiteX552" fmla="*/ 4317835 w 5491712"/>
              <a:gd name="connsiteY552" fmla="*/ 1769382 h 4906666"/>
              <a:gd name="connsiteX553" fmla="*/ 4382199 w 5491712"/>
              <a:gd name="connsiteY553" fmla="*/ 1754083 h 4906666"/>
              <a:gd name="connsiteX554" fmla="*/ 4369939 w 5491712"/>
              <a:gd name="connsiteY554" fmla="*/ 1778561 h 4906666"/>
              <a:gd name="connsiteX555" fmla="*/ 4440433 w 5491712"/>
              <a:gd name="connsiteY555" fmla="*/ 1772442 h 4906666"/>
              <a:gd name="connsiteX556" fmla="*/ 4495602 w 5491712"/>
              <a:gd name="connsiteY556" fmla="*/ 1723486 h 4906666"/>
              <a:gd name="connsiteX557" fmla="*/ 4452693 w 5491712"/>
              <a:gd name="connsiteY557" fmla="*/ 1729605 h 4906666"/>
              <a:gd name="connsiteX558" fmla="*/ 4574668 w 5491712"/>
              <a:gd name="connsiteY558" fmla="*/ 1679263 h 4906666"/>
              <a:gd name="connsiteX559" fmla="*/ 4613974 w 5491712"/>
              <a:gd name="connsiteY559" fmla="*/ 1668721 h 4906666"/>
              <a:gd name="connsiteX560" fmla="*/ 4615267 w 5491712"/>
              <a:gd name="connsiteY560" fmla="*/ 1667830 h 4906666"/>
              <a:gd name="connsiteX561" fmla="*/ 4615329 w 5491712"/>
              <a:gd name="connsiteY561" fmla="*/ 1667830 h 4906666"/>
              <a:gd name="connsiteX562" fmla="*/ 4627395 w 5491712"/>
              <a:gd name="connsiteY562" fmla="*/ 1631693 h 4906666"/>
              <a:gd name="connsiteX563" fmla="*/ 4602875 w 5491712"/>
              <a:gd name="connsiteY563" fmla="*/ 1631693 h 4906666"/>
              <a:gd name="connsiteX564" fmla="*/ 4651915 w 5491712"/>
              <a:gd name="connsiteY564" fmla="*/ 1613334 h 4906666"/>
              <a:gd name="connsiteX565" fmla="*/ 4673369 w 5491712"/>
              <a:gd name="connsiteY565" fmla="*/ 1582737 h 4906666"/>
              <a:gd name="connsiteX566" fmla="*/ 4449627 w 5491712"/>
              <a:gd name="connsiteY566" fmla="*/ 1662290 h 4906666"/>
              <a:gd name="connsiteX567" fmla="*/ 4572226 w 5491712"/>
              <a:gd name="connsiteY567" fmla="*/ 1573557 h 4906666"/>
              <a:gd name="connsiteX568" fmla="*/ 4572226 w 5491712"/>
              <a:gd name="connsiteY568" fmla="*/ 1582737 h 4906666"/>
              <a:gd name="connsiteX569" fmla="*/ 4602875 w 5491712"/>
              <a:gd name="connsiteY569" fmla="*/ 1598035 h 4906666"/>
              <a:gd name="connsiteX570" fmla="*/ 4648849 w 5491712"/>
              <a:gd name="connsiteY570" fmla="*/ 1558259 h 4906666"/>
              <a:gd name="connsiteX571" fmla="*/ 4799033 w 5491712"/>
              <a:gd name="connsiteY571" fmla="*/ 1512362 h 4906666"/>
              <a:gd name="connsiteX572" fmla="*/ 4765318 w 5491712"/>
              <a:gd name="connsiteY572" fmla="*/ 1490944 h 4906666"/>
              <a:gd name="connsiteX573" fmla="*/ 4832747 w 5491712"/>
              <a:gd name="connsiteY573" fmla="*/ 1472585 h 4906666"/>
              <a:gd name="connsiteX574" fmla="*/ 4838877 w 5491712"/>
              <a:gd name="connsiteY574" fmla="*/ 1484824 h 4906666"/>
              <a:gd name="connsiteX575" fmla="*/ 4808227 w 5491712"/>
              <a:gd name="connsiteY575" fmla="*/ 1509302 h 4906666"/>
              <a:gd name="connsiteX576" fmla="*/ 4808227 w 5491712"/>
              <a:gd name="connsiteY576" fmla="*/ 1515422 h 4906666"/>
              <a:gd name="connsiteX577" fmla="*/ 4838877 w 5491712"/>
              <a:gd name="connsiteY577" fmla="*/ 1509302 h 4906666"/>
              <a:gd name="connsiteX578" fmla="*/ 4854201 w 5491712"/>
              <a:gd name="connsiteY578" fmla="*/ 1564378 h 4906666"/>
              <a:gd name="connsiteX579" fmla="*/ 4890981 w 5491712"/>
              <a:gd name="connsiteY579" fmla="*/ 1604155 h 4906666"/>
              <a:gd name="connsiteX580" fmla="*/ 4912436 w 5491712"/>
              <a:gd name="connsiteY580" fmla="*/ 1634753 h 4906666"/>
              <a:gd name="connsiteX581" fmla="*/ 4927761 w 5491712"/>
              <a:gd name="connsiteY581" fmla="*/ 1613334 h 4906666"/>
              <a:gd name="connsiteX582" fmla="*/ 4961475 w 5491712"/>
              <a:gd name="connsiteY582" fmla="*/ 1637812 h 4906666"/>
              <a:gd name="connsiteX583" fmla="*/ 4909371 w 5491712"/>
              <a:gd name="connsiteY583" fmla="*/ 1683709 h 4906666"/>
              <a:gd name="connsiteX584" fmla="*/ 4946150 w 5491712"/>
              <a:gd name="connsiteY584" fmla="*/ 1692888 h 4906666"/>
              <a:gd name="connsiteX585" fmla="*/ 4918566 w 5491712"/>
              <a:gd name="connsiteY585" fmla="*/ 1717366 h 4906666"/>
              <a:gd name="connsiteX586" fmla="*/ 4952280 w 5491712"/>
              <a:gd name="connsiteY586" fmla="*/ 1711247 h 4906666"/>
              <a:gd name="connsiteX587" fmla="*/ 5001319 w 5491712"/>
              <a:gd name="connsiteY587" fmla="*/ 1680649 h 4906666"/>
              <a:gd name="connsiteX588" fmla="*/ 5031969 w 5491712"/>
              <a:gd name="connsiteY588" fmla="*/ 1757143 h 4906666"/>
              <a:gd name="connsiteX589" fmla="*/ 4998255 w 5491712"/>
              <a:gd name="connsiteY589" fmla="*/ 1806099 h 4906666"/>
              <a:gd name="connsiteX590" fmla="*/ 5053423 w 5491712"/>
              <a:gd name="connsiteY590" fmla="*/ 1803040 h 4906666"/>
              <a:gd name="connsiteX591" fmla="*/ 4933891 w 5491712"/>
              <a:gd name="connsiteY591" fmla="*/ 1925430 h 4906666"/>
              <a:gd name="connsiteX592" fmla="*/ 4940021 w 5491712"/>
              <a:gd name="connsiteY592" fmla="*/ 1900952 h 4906666"/>
              <a:gd name="connsiteX593" fmla="*/ 4869526 w 5491712"/>
              <a:gd name="connsiteY593" fmla="*/ 1934609 h 4906666"/>
              <a:gd name="connsiteX594" fmla="*/ 4863397 w 5491712"/>
              <a:gd name="connsiteY594" fmla="*/ 1925430 h 4906666"/>
              <a:gd name="connsiteX595" fmla="*/ 4894046 w 5491712"/>
              <a:gd name="connsiteY595" fmla="*/ 1907071 h 4906666"/>
              <a:gd name="connsiteX596" fmla="*/ 4887916 w 5491712"/>
              <a:gd name="connsiteY596" fmla="*/ 1897892 h 4906666"/>
              <a:gd name="connsiteX597" fmla="*/ 4789837 w 5491712"/>
              <a:gd name="connsiteY597" fmla="*/ 1956028 h 4906666"/>
              <a:gd name="connsiteX598" fmla="*/ 4795967 w 5491712"/>
              <a:gd name="connsiteY598" fmla="*/ 1968267 h 4906666"/>
              <a:gd name="connsiteX599" fmla="*/ 4845007 w 5491712"/>
              <a:gd name="connsiteY599" fmla="*/ 1949908 h 4906666"/>
              <a:gd name="connsiteX600" fmla="*/ 4848072 w 5491712"/>
              <a:gd name="connsiteY600" fmla="*/ 1959087 h 4906666"/>
              <a:gd name="connsiteX601" fmla="*/ 4762253 w 5491712"/>
              <a:gd name="connsiteY601" fmla="*/ 2041701 h 4906666"/>
              <a:gd name="connsiteX602" fmla="*/ 4756123 w 5491712"/>
              <a:gd name="connsiteY602" fmla="*/ 2001924 h 4906666"/>
              <a:gd name="connsiteX603" fmla="*/ 4685629 w 5491712"/>
              <a:gd name="connsiteY603" fmla="*/ 2038641 h 4906666"/>
              <a:gd name="connsiteX604" fmla="*/ 4710149 w 5491712"/>
              <a:gd name="connsiteY604" fmla="*/ 2047820 h 4906666"/>
              <a:gd name="connsiteX605" fmla="*/ 4731603 w 5491712"/>
              <a:gd name="connsiteY605" fmla="*/ 2109016 h 4906666"/>
              <a:gd name="connsiteX606" fmla="*/ 4814357 w 5491712"/>
              <a:gd name="connsiteY606" fmla="*/ 2124315 h 4906666"/>
              <a:gd name="connsiteX607" fmla="*/ 4740798 w 5491712"/>
              <a:gd name="connsiteY607" fmla="*/ 2203868 h 4906666"/>
              <a:gd name="connsiteX608" fmla="*/ 4777578 w 5491712"/>
              <a:gd name="connsiteY608" fmla="*/ 2197749 h 4906666"/>
              <a:gd name="connsiteX609" fmla="*/ 4780643 w 5491712"/>
              <a:gd name="connsiteY609" fmla="*/ 2206928 h 4906666"/>
              <a:gd name="connsiteX610" fmla="*/ 4740798 w 5491712"/>
              <a:gd name="connsiteY610" fmla="*/ 2240586 h 4906666"/>
              <a:gd name="connsiteX611" fmla="*/ 4789837 w 5491712"/>
              <a:gd name="connsiteY611" fmla="*/ 2246705 h 4906666"/>
              <a:gd name="connsiteX612" fmla="*/ 4814357 w 5491712"/>
              <a:gd name="connsiteY612" fmla="*/ 2237526 h 4906666"/>
              <a:gd name="connsiteX613" fmla="*/ 4878721 w 5491712"/>
              <a:gd name="connsiteY613" fmla="*/ 2191629 h 4906666"/>
              <a:gd name="connsiteX614" fmla="*/ 4894046 w 5491712"/>
              <a:gd name="connsiteY614" fmla="*/ 2191629 h 4906666"/>
              <a:gd name="connsiteX615" fmla="*/ 4872591 w 5491712"/>
              <a:gd name="connsiteY615" fmla="*/ 2209988 h 4906666"/>
              <a:gd name="connsiteX616" fmla="*/ 4878721 w 5491712"/>
              <a:gd name="connsiteY616" fmla="*/ 2258944 h 4906666"/>
              <a:gd name="connsiteX617" fmla="*/ 4912436 w 5491712"/>
              <a:gd name="connsiteY617" fmla="*/ 2274243 h 4906666"/>
              <a:gd name="connsiteX618" fmla="*/ 4998255 w 5491712"/>
              <a:gd name="connsiteY618" fmla="*/ 2246705 h 4906666"/>
              <a:gd name="connsiteX619" fmla="*/ 5252645 w 5491712"/>
              <a:gd name="connsiteY619" fmla="*/ 2164092 h 4906666"/>
              <a:gd name="connsiteX620" fmla="*/ 5362984 w 5491712"/>
              <a:gd name="connsiteY620" fmla="*/ 2167151 h 4906666"/>
              <a:gd name="connsiteX621" fmla="*/ 5261841 w 5491712"/>
              <a:gd name="connsiteY621" fmla="*/ 2182450 h 4906666"/>
              <a:gd name="connsiteX622" fmla="*/ 5261841 w 5491712"/>
              <a:gd name="connsiteY622" fmla="*/ 2188570 h 4906666"/>
              <a:gd name="connsiteX623" fmla="*/ 5292490 w 5491712"/>
              <a:gd name="connsiteY623" fmla="*/ 2197749 h 4906666"/>
              <a:gd name="connsiteX624" fmla="*/ 5277165 w 5491712"/>
              <a:gd name="connsiteY624" fmla="*/ 2240586 h 4906666"/>
              <a:gd name="connsiteX625" fmla="*/ 5267971 w 5491712"/>
              <a:gd name="connsiteY625" fmla="*/ 2258944 h 4906666"/>
              <a:gd name="connsiteX626" fmla="*/ 5160697 w 5491712"/>
              <a:gd name="connsiteY626" fmla="*/ 2353797 h 4906666"/>
              <a:gd name="connsiteX627" fmla="*/ 5105528 w 5491712"/>
              <a:gd name="connsiteY627" fmla="*/ 2390514 h 4906666"/>
              <a:gd name="connsiteX628" fmla="*/ 5081008 w 5491712"/>
              <a:gd name="connsiteY628" fmla="*/ 2433351 h 4906666"/>
              <a:gd name="connsiteX629" fmla="*/ 5090203 w 5491712"/>
              <a:gd name="connsiteY629" fmla="*/ 2442530 h 4906666"/>
              <a:gd name="connsiteX630" fmla="*/ 5151502 w 5491712"/>
              <a:gd name="connsiteY630" fmla="*/ 2418052 h 4906666"/>
              <a:gd name="connsiteX631" fmla="*/ 5123917 w 5491712"/>
              <a:gd name="connsiteY631" fmla="*/ 2460888 h 4906666"/>
              <a:gd name="connsiteX632" fmla="*/ 5243451 w 5491712"/>
              <a:gd name="connsiteY632" fmla="*/ 2399693 h 4906666"/>
              <a:gd name="connsiteX633" fmla="*/ 5249581 w 5491712"/>
              <a:gd name="connsiteY633" fmla="*/ 2405813 h 4906666"/>
              <a:gd name="connsiteX634" fmla="*/ 5172957 w 5491712"/>
              <a:gd name="connsiteY634" fmla="*/ 2512904 h 4906666"/>
              <a:gd name="connsiteX635" fmla="*/ 5261841 w 5491712"/>
              <a:gd name="connsiteY635" fmla="*/ 2460888 h 4906666"/>
              <a:gd name="connsiteX636" fmla="*/ 5264905 w 5491712"/>
              <a:gd name="connsiteY636" fmla="*/ 2467008 h 4906666"/>
              <a:gd name="connsiteX637" fmla="*/ 5243451 w 5491712"/>
              <a:gd name="connsiteY637" fmla="*/ 2494546 h 4906666"/>
              <a:gd name="connsiteX638" fmla="*/ 5246516 w 5491712"/>
              <a:gd name="connsiteY638" fmla="*/ 2497606 h 4906666"/>
              <a:gd name="connsiteX639" fmla="*/ 5375244 w 5491712"/>
              <a:gd name="connsiteY639" fmla="*/ 2418052 h 4906666"/>
              <a:gd name="connsiteX640" fmla="*/ 5381374 w 5491712"/>
              <a:gd name="connsiteY640" fmla="*/ 2463948 h 4906666"/>
              <a:gd name="connsiteX641" fmla="*/ 5362984 w 5491712"/>
              <a:gd name="connsiteY641" fmla="*/ 2506785 h 4906666"/>
              <a:gd name="connsiteX642" fmla="*/ 5372179 w 5491712"/>
              <a:gd name="connsiteY642" fmla="*/ 2509845 h 4906666"/>
              <a:gd name="connsiteX643" fmla="*/ 5482517 w 5491712"/>
              <a:gd name="connsiteY643" fmla="*/ 2445590 h 4906666"/>
              <a:gd name="connsiteX644" fmla="*/ 5454933 w 5491712"/>
              <a:gd name="connsiteY644" fmla="*/ 2500665 h 4906666"/>
              <a:gd name="connsiteX645" fmla="*/ 5491712 w 5491712"/>
              <a:gd name="connsiteY645" fmla="*/ 2497606 h 4906666"/>
              <a:gd name="connsiteX646" fmla="*/ 5169892 w 5491712"/>
              <a:gd name="connsiteY646" fmla="*/ 2800522 h 4906666"/>
              <a:gd name="connsiteX647" fmla="*/ 5160697 w 5491712"/>
              <a:gd name="connsiteY647" fmla="*/ 2757685 h 4906666"/>
              <a:gd name="connsiteX648" fmla="*/ 5099398 w 5491712"/>
              <a:gd name="connsiteY648" fmla="*/ 2803582 h 4906666"/>
              <a:gd name="connsiteX649" fmla="*/ 5016644 w 5491712"/>
              <a:gd name="connsiteY649" fmla="*/ 2858658 h 4906666"/>
              <a:gd name="connsiteX650" fmla="*/ 4924695 w 5491712"/>
              <a:gd name="connsiteY650" fmla="*/ 2938211 h 4906666"/>
              <a:gd name="connsiteX651" fmla="*/ 4881786 w 5491712"/>
              <a:gd name="connsiteY651" fmla="*/ 2965749 h 4906666"/>
              <a:gd name="connsiteX652" fmla="*/ 4838877 w 5491712"/>
              <a:gd name="connsiteY652" fmla="*/ 3008586 h 4906666"/>
              <a:gd name="connsiteX653" fmla="*/ 4837250 w 5491712"/>
              <a:gd name="connsiteY653" fmla="*/ 3041390 h 4906666"/>
              <a:gd name="connsiteX654" fmla="*/ 4836930 w 5491712"/>
              <a:gd name="connsiteY654" fmla="*/ 3047885 h 4906666"/>
              <a:gd name="connsiteX655" fmla="*/ 4814491 w 5491712"/>
              <a:gd name="connsiteY655" fmla="*/ 3070444 h 4906666"/>
              <a:gd name="connsiteX656" fmla="*/ 4741465 w 5491712"/>
              <a:gd name="connsiteY656" fmla="*/ 3134680 h 4906666"/>
              <a:gd name="connsiteX657" fmla="*/ 4732337 w 5491712"/>
              <a:gd name="connsiteY657" fmla="*/ 3131621 h 4906666"/>
              <a:gd name="connsiteX658" fmla="*/ 4732493 w 5491712"/>
              <a:gd name="connsiteY658" fmla="*/ 3131273 h 4906666"/>
              <a:gd name="connsiteX659" fmla="*/ 4731603 w 5491712"/>
              <a:gd name="connsiteY659" fmla="*/ 3130976 h 4906666"/>
              <a:gd name="connsiteX660" fmla="*/ 4759188 w 5491712"/>
              <a:gd name="connsiteY660" fmla="*/ 3069781 h 4906666"/>
              <a:gd name="connsiteX661" fmla="*/ 4618200 w 5491712"/>
              <a:gd name="connsiteY661" fmla="*/ 3219709 h 4906666"/>
              <a:gd name="connsiteX662" fmla="*/ 4602875 w 5491712"/>
              <a:gd name="connsiteY662" fmla="*/ 3262546 h 4906666"/>
              <a:gd name="connsiteX663" fmla="*/ 4523187 w 5491712"/>
              <a:gd name="connsiteY663" fmla="*/ 3354339 h 4906666"/>
              <a:gd name="connsiteX664" fmla="*/ 4449627 w 5491712"/>
              <a:gd name="connsiteY664" fmla="*/ 3412474 h 4906666"/>
              <a:gd name="connsiteX665" fmla="*/ 4415913 w 5491712"/>
              <a:gd name="connsiteY665" fmla="*/ 3440012 h 4906666"/>
              <a:gd name="connsiteX666" fmla="*/ 4437368 w 5491712"/>
              <a:gd name="connsiteY666" fmla="*/ 3412474 h 4906666"/>
              <a:gd name="connsiteX667" fmla="*/ 4327029 w 5491712"/>
              <a:gd name="connsiteY667" fmla="*/ 3495088 h 4906666"/>
              <a:gd name="connsiteX668" fmla="*/ 4222821 w 5491712"/>
              <a:gd name="connsiteY668" fmla="*/ 3589941 h 4906666"/>
              <a:gd name="connsiteX669" fmla="*/ 4228951 w 5491712"/>
              <a:gd name="connsiteY669" fmla="*/ 3596060 h 4906666"/>
              <a:gd name="connsiteX670" fmla="*/ 4336224 w 5491712"/>
              <a:gd name="connsiteY670" fmla="*/ 3507327 h 4906666"/>
              <a:gd name="connsiteX671" fmla="*/ 4342354 w 5491712"/>
              <a:gd name="connsiteY671" fmla="*/ 3513447 h 4906666"/>
              <a:gd name="connsiteX672" fmla="*/ 4225886 w 5491712"/>
              <a:gd name="connsiteY672" fmla="*/ 3611359 h 4906666"/>
              <a:gd name="connsiteX673" fmla="*/ 4115547 w 5491712"/>
              <a:gd name="connsiteY673" fmla="*/ 3709272 h 4906666"/>
              <a:gd name="connsiteX674" fmla="*/ 3996014 w 5491712"/>
              <a:gd name="connsiteY674" fmla="*/ 3804124 h 4906666"/>
              <a:gd name="connsiteX675" fmla="*/ 3879546 w 5491712"/>
              <a:gd name="connsiteY675" fmla="*/ 3871439 h 4906666"/>
              <a:gd name="connsiteX676" fmla="*/ 3484167 w 5491712"/>
              <a:gd name="connsiteY676" fmla="*/ 4107041 h 4906666"/>
              <a:gd name="connsiteX677" fmla="*/ 3183801 w 5491712"/>
              <a:gd name="connsiteY677" fmla="*/ 4266149 h 4906666"/>
              <a:gd name="connsiteX678" fmla="*/ 2990709 w 5491712"/>
              <a:gd name="connsiteY678" fmla="*/ 4376300 h 4906666"/>
              <a:gd name="connsiteX679" fmla="*/ 2978449 w 5491712"/>
              <a:gd name="connsiteY679" fmla="*/ 4388539 h 4906666"/>
              <a:gd name="connsiteX680" fmla="*/ 2861981 w 5491712"/>
              <a:gd name="connsiteY680" fmla="*/ 4465033 h 4906666"/>
              <a:gd name="connsiteX681" fmla="*/ 2773097 w 5491712"/>
              <a:gd name="connsiteY681" fmla="*/ 4510929 h 4906666"/>
              <a:gd name="connsiteX682" fmla="*/ 2797617 w 5491712"/>
              <a:gd name="connsiteY682" fmla="*/ 4483392 h 4906666"/>
              <a:gd name="connsiteX683" fmla="*/ 2671953 w 5491712"/>
              <a:gd name="connsiteY683" fmla="*/ 4550706 h 4906666"/>
              <a:gd name="connsiteX684" fmla="*/ 2635174 w 5491712"/>
              <a:gd name="connsiteY684" fmla="*/ 4517049 h 4906666"/>
              <a:gd name="connsiteX685" fmla="*/ 2604524 w 5491712"/>
              <a:gd name="connsiteY685" fmla="*/ 4553766 h 4906666"/>
              <a:gd name="connsiteX686" fmla="*/ 2647434 w 5491712"/>
              <a:gd name="connsiteY686" fmla="*/ 4566005 h 4906666"/>
              <a:gd name="connsiteX687" fmla="*/ 2647260 w 5491712"/>
              <a:gd name="connsiteY687" fmla="*/ 4566740 h 4906666"/>
              <a:gd name="connsiteX688" fmla="*/ 2647950 w 5491712"/>
              <a:gd name="connsiteY688" fmla="*/ 4566832 h 4906666"/>
              <a:gd name="connsiteX689" fmla="*/ 2638663 w 5491712"/>
              <a:gd name="connsiteY689" fmla="*/ 4591324 h 4906666"/>
              <a:gd name="connsiteX690" fmla="*/ 2601711 w 5491712"/>
              <a:gd name="connsiteY690" fmla="*/ 4612642 h 4906666"/>
              <a:gd name="connsiteX691" fmla="*/ 2602001 w 5491712"/>
              <a:gd name="connsiteY691" fmla="*/ 4614920 h 4906666"/>
              <a:gd name="connsiteX692" fmla="*/ 2601515 w 5491712"/>
              <a:gd name="connsiteY692" fmla="*/ 4615167 h 4906666"/>
              <a:gd name="connsiteX693" fmla="*/ 2601515 w 5491712"/>
              <a:gd name="connsiteY693" fmla="*/ 4615817 h 4906666"/>
              <a:gd name="connsiteX694" fmla="*/ 2601438 w 5491712"/>
              <a:gd name="connsiteY694" fmla="*/ 4615206 h 4906666"/>
              <a:gd name="connsiteX695" fmla="*/ 2601088 w 5491712"/>
              <a:gd name="connsiteY695" fmla="*/ 4615383 h 4906666"/>
              <a:gd name="connsiteX696" fmla="*/ 2599544 w 5491712"/>
              <a:gd name="connsiteY696" fmla="*/ 4629878 h 4906666"/>
              <a:gd name="connsiteX697" fmla="*/ 2595329 w 5491712"/>
              <a:gd name="connsiteY697" fmla="*/ 4645559 h 4906666"/>
              <a:gd name="connsiteX698" fmla="*/ 2478861 w 5491712"/>
              <a:gd name="connsiteY698" fmla="*/ 4780189 h 4906666"/>
              <a:gd name="connsiteX699" fmla="*/ 2454342 w 5491712"/>
              <a:gd name="connsiteY699" fmla="*/ 4789368 h 4906666"/>
              <a:gd name="connsiteX700" fmla="*/ 2417562 w 5491712"/>
              <a:gd name="connsiteY700" fmla="*/ 4838324 h 4906666"/>
              <a:gd name="connsiteX701" fmla="*/ 2365458 w 5491712"/>
              <a:gd name="connsiteY701" fmla="*/ 4835264 h 4906666"/>
              <a:gd name="connsiteX702" fmla="*/ 2325613 w 5491712"/>
              <a:gd name="connsiteY702" fmla="*/ 4887280 h 4906666"/>
              <a:gd name="connsiteX703" fmla="*/ 2362393 w 5491712"/>
              <a:gd name="connsiteY703" fmla="*/ 4789368 h 4906666"/>
              <a:gd name="connsiteX704" fmla="*/ 2362393 w 5491712"/>
              <a:gd name="connsiteY704" fmla="*/ 4749591 h 4906666"/>
              <a:gd name="connsiteX705" fmla="*/ 2371588 w 5491712"/>
              <a:gd name="connsiteY705" fmla="*/ 4712874 h 4906666"/>
              <a:gd name="connsiteX706" fmla="*/ 2389978 w 5491712"/>
              <a:gd name="connsiteY706" fmla="*/ 4697575 h 4906666"/>
              <a:gd name="connsiteX707" fmla="*/ 2383848 w 5491712"/>
              <a:gd name="connsiteY707" fmla="*/ 4688396 h 4906666"/>
              <a:gd name="connsiteX708" fmla="*/ 2252055 w 5491712"/>
              <a:gd name="connsiteY708" fmla="*/ 4749591 h 4906666"/>
              <a:gd name="connsiteX709" fmla="*/ 2255119 w 5491712"/>
              <a:gd name="connsiteY709" fmla="*/ 4709814 h 4906666"/>
              <a:gd name="connsiteX710" fmla="*/ 2224470 w 5491712"/>
              <a:gd name="connsiteY710" fmla="*/ 4709814 h 4906666"/>
              <a:gd name="connsiteX711" fmla="*/ 2233665 w 5491712"/>
              <a:gd name="connsiteY711" fmla="*/ 4663918 h 4906666"/>
              <a:gd name="connsiteX712" fmla="*/ 2135586 w 5491712"/>
              <a:gd name="connsiteY712" fmla="*/ 4676157 h 4906666"/>
              <a:gd name="connsiteX713" fmla="*/ 2016053 w 5491712"/>
              <a:gd name="connsiteY713" fmla="*/ 4752651 h 4906666"/>
              <a:gd name="connsiteX714" fmla="*/ 2012988 w 5491712"/>
              <a:gd name="connsiteY714" fmla="*/ 4752651 h 4906666"/>
              <a:gd name="connsiteX715" fmla="*/ 2120261 w 5491712"/>
              <a:gd name="connsiteY715" fmla="*/ 4648619 h 4906666"/>
              <a:gd name="connsiteX716" fmla="*/ 2111067 w 5491712"/>
              <a:gd name="connsiteY716" fmla="*/ 4639440 h 4906666"/>
              <a:gd name="connsiteX717" fmla="*/ 2071222 w 5491712"/>
              <a:gd name="connsiteY717" fmla="*/ 4663918 h 4906666"/>
              <a:gd name="connsiteX718" fmla="*/ 2065092 w 5491712"/>
              <a:gd name="connsiteY718" fmla="*/ 4630260 h 4906666"/>
              <a:gd name="connsiteX719" fmla="*/ 1997663 w 5491712"/>
              <a:gd name="connsiteY719" fmla="*/ 4624141 h 4906666"/>
              <a:gd name="connsiteX720" fmla="*/ 1997663 w 5491712"/>
              <a:gd name="connsiteY720" fmla="*/ 4648619 h 4906666"/>
              <a:gd name="connsiteX721" fmla="*/ 1960884 w 5491712"/>
              <a:gd name="connsiteY721" fmla="*/ 4666977 h 4906666"/>
              <a:gd name="connsiteX722" fmla="*/ 1945559 w 5491712"/>
              <a:gd name="connsiteY722" fmla="*/ 4630260 h 4906666"/>
              <a:gd name="connsiteX723" fmla="*/ 1970079 w 5491712"/>
              <a:gd name="connsiteY723" fmla="*/ 4566005 h 4906666"/>
              <a:gd name="connsiteX724" fmla="*/ 1963949 w 5491712"/>
              <a:gd name="connsiteY724" fmla="*/ 4559886 h 4906666"/>
              <a:gd name="connsiteX725" fmla="*/ 1924104 w 5491712"/>
              <a:gd name="connsiteY725" fmla="*/ 4605782 h 4906666"/>
              <a:gd name="connsiteX726" fmla="*/ 1875065 w 5491712"/>
              <a:gd name="connsiteY726" fmla="*/ 4660858 h 4906666"/>
              <a:gd name="connsiteX727" fmla="*/ 1884260 w 5491712"/>
              <a:gd name="connsiteY727" fmla="*/ 4599663 h 4906666"/>
              <a:gd name="connsiteX728" fmla="*/ 1798441 w 5491712"/>
              <a:gd name="connsiteY728" fmla="*/ 4703695 h 4906666"/>
              <a:gd name="connsiteX729" fmla="*/ 1792311 w 5491712"/>
              <a:gd name="connsiteY729" fmla="*/ 4700635 h 4906666"/>
              <a:gd name="connsiteX730" fmla="*/ 1807636 w 5491712"/>
              <a:gd name="connsiteY730" fmla="*/ 4670037 h 4906666"/>
              <a:gd name="connsiteX731" fmla="*/ 1807636 w 5491712"/>
              <a:gd name="connsiteY731" fmla="*/ 4666977 h 4906666"/>
              <a:gd name="connsiteX732" fmla="*/ 1805029 w 5491712"/>
              <a:gd name="connsiteY732" fmla="*/ 4666977 h 4906666"/>
              <a:gd name="connsiteX733" fmla="*/ 1804944 w 5491712"/>
              <a:gd name="connsiteY733" fmla="*/ 4667077 h 4906666"/>
              <a:gd name="connsiteX734" fmla="*/ 1804382 w 5491712"/>
              <a:gd name="connsiteY734" fmla="*/ 4667195 h 4906666"/>
              <a:gd name="connsiteX735" fmla="*/ 1746337 w 5491712"/>
              <a:gd name="connsiteY735" fmla="*/ 4734292 h 4906666"/>
              <a:gd name="connsiteX736" fmla="*/ 1694233 w 5491712"/>
              <a:gd name="connsiteY736" fmla="*/ 4783248 h 4906666"/>
              <a:gd name="connsiteX737" fmla="*/ 1703428 w 5491712"/>
              <a:gd name="connsiteY737" fmla="*/ 4792428 h 4906666"/>
              <a:gd name="connsiteX738" fmla="*/ 1752467 w 5491712"/>
              <a:gd name="connsiteY738" fmla="*/ 4752651 h 4906666"/>
              <a:gd name="connsiteX739" fmla="*/ 1743272 w 5491712"/>
              <a:gd name="connsiteY739" fmla="*/ 4819965 h 4906666"/>
              <a:gd name="connsiteX740" fmla="*/ 1688103 w 5491712"/>
              <a:gd name="connsiteY740" fmla="*/ 4881161 h 4906666"/>
              <a:gd name="connsiteX741" fmla="*/ 1678908 w 5491712"/>
              <a:gd name="connsiteY741" fmla="*/ 4875041 h 4906666"/>
              <a:gd name="connsiteX742" fmla="*/ 1706492 w 5491712"/>
              <a:gd name="connsiteY742" fmla="*/ 4823025 h 4906666"/>
              <a:gd name="connsiteX743" fmla="*/ 1666648 w 5491712"/>
              <a:gd name="connsiteY743" fmla="*/ 4844444 h 4906666"/>
              <a:gd name="connsiteX744" fmla="*/ 1681973 w 5491712"/>
              <a:gd name="connsiteY744" fmla="*/ 4816906 h 4906666"/>
              <a:gd name="connsiteX745" fmla="*/ 1639063 w 5491712"/>
              <a:gd name="connsiteY745" fmla="*/ 4795487 h 4906666"/>
              <a:gd name="connsiteX746" fmla="*/ 1547115 w 5491712"/>
              <a:gd name="connsiteY746" fmla="*/ 4819965 h 4906666"/>
              <a:gd name="connsiteX747" fmla="*/ 1574699 w 5491712"/>
              <a:gd name="connsiteY747" fmla="*/ 4777129 h 4906666"/>
              <a:gd name="connsiteX748" fmla="*/ 1583894 w 5491712"/>
              <a:gd name="connsiteY748" fmla="*/ 4737352 h 4906666"/>
              <a:gd name="connsiteX749" fmla="*/ 1574699 w 5491712"/>
              <a:gd name="connsiteY749" fmla="*/ 4734292 h 4906666"/>
              <a:gd name="connsiteX750" fmla="*/ 1593089 w 5491712"/>
              <a:gd name="connsiteY750" fmla="*/ 4700635 h 4906666"/>
              <a:gd name="connsiteX751" fmla="*/ 1590024 w 5491712"/>
              <a:gd name="connsiteY751" fmla="*/ 4697575 h 4906666"/>
              <a:gd name="connsiteX752" fmla="*/ 1550180 w 5491712"/>
              <a:gd name="connsiteY752" fmla="*/ 4731232 h 4906666"/>
              <a:gd name="connsiteX753" fmla="*/ 1540985 w 5491712"/>
              <a:gd name="connsiteY753" fmla="*/ 4728173 h 4906666"/>
              <a:gd name="connsiteX754" fmla="*/ 1565505 w 5491712"/>
              <a:gd name="connsiteY754" fmla="*/ 4673097 h 4906666"/>
              <a:gd name="connsiteX755" fmla="*/ 1510335 w 5491712"/>
              <a:gd name="connsiteY755" fmla="*/ 4700635 h 4906666"/>
              <a:gd name="connsiteX756" fmla="*/ 1501141 w 5491712"/>
              <a:gd name="connsiteY756" fmla="*/ 4734292 h 4906666"/>
              <a:gd name="connsiteX757" fmla="*/ 1488881 w 5491712"/>
              <a:gd name="connsiteY757" fmla="*/ 4758770 h 4906666"/>
              <a:gd name="connsiteX758" fmla="*/ 1436776 w 5491712"/>
              <a:gd name="connsiteY758" fmla="*/ 4807726 h 4906666"/>
              <a:gd name="connsiteX759" fmla="*/ 1452101 w 5491712"/>
              <a:gd name="connsiteY759" fmla="*/ 4777129 h 4906666"/>
              <a:gd name="connsiteX760" fmla="*/ 1427582 w 5491712"/>
              <a:gd name="connsiteY760" fmla="*/ 4731232 h 4906666"/>
              <a:gd name="connsiteX761" fmla="*/ 1396932 w 5491712"/>
              <a:gd name="connsiteY761" fmla="*/ 4749591 h 4906666"/>
              <a:gd name="connsiteX762" fmla="*/ 1424517 w 5491712"/>
              <a:gd name="connsiteY762" fmla="*/ 4676157 h 4906666"/>
              <a:gd name="connsiteX763" fmla="*/ 1418387 w 5491712"/>
              <a:gd name="connsiteY763" fmla="*/ 4670037 h 4906666"/>
              <a:gd name="connsiteX764" fmla="*/ 1341763 w 5491712"/>
              <a:gd name="connsiteY764" fmla="*/ 4743471 h 4906666"/>
              <a:gd name="connsiteX765" fmla="*/ 1234489 w 5491712"/>
              <a:gd name="connsiteY765" fmla="*/ 4810786 h 4906666"/>
              <a:gd name="connsiteX766" fmla="*/ 1160930 w 5491712"/>
              <a:gd name="connsiteY766" fmla="*/ 4832205 h 4906666"/>
              <a:gd name="connsiteX767" fmla="*/ 1105761 w 5491712"/>
              <a:gd name="connsiteY767" fmla="*/ 4819965 h 4906666"/>
              <a:gd name="connsiteX768" fmla="*/ 1133346 w 5491712"/>
              <a:gd name="connsiteY768" fmla="*/ 4774069 h 4906666"/>
              <a:gd name="connsiteX769" fmla="*/ 1148671 w 5491712"/>
              <a:gd name="connsiteY769" fmla="*/ 4740412 h 4906666"/>
              <a:gd name="connsiteX770" fmla="*/ 1118021 w 5491712"/>
              <a:gd name="connsiteY770" fmla="*/ 4749591 h 4906666"/>
              <a:gd name="connsiteX771" fmla="*/ 1136411 w 5491712"/>
              <a:gd name="connsiteY771" fmla="*/ 4718993 h 4906666"/>
              <a:gd name="connsiteX772" fmla="*/ 1084307 w 5491712"/>
              <a:gd name="connsiteY772" fmla="*/ 4737352 h 4906666"/>
              <a:gd name="connsiteX773" fmla="*/ 1044462 w 5491712"/>
              <a:gd name="connsiteY773" fmla="*/ 4758770 h 4906666"/>
              <a:gd name="connsiteX774" fmla="*/ 1026072 w 5491712"/>
              <a:gd name="connsiteY774" fmla="*/ 4715934 h 4906666"/>
              <a:gd name="connsiteX775" fmla="*/ 1016878 w 5491712"/>
              <a:gd name="connsiteY775" fmla="*/ 4718993 h 4906666"/>
              <a:gd name="connsiteX776" fmla="*/ 1029137 w 5491712"/>
              <a:gd name="connsiteY776" fmla="*/ 4673097 h 4906666"/>
              <a:gd name="connsiteX777" fmla="*/ 1081242 w 5491712"/>
              <a:gd name="connsiteY777" fmla="*/ 4608842 h 4906666"/>
              <a:gd name="connsiteX778" fmla="*/ 1086989 w 5491712"/>
              <a:gd name="connsiteY778" fmla="*/ 4600810 h 4906666"/>
              <a:gd name="connsiteX779" fmla="*/ 1090244 w 5491712"/>
              <a:gd name="connsiteY779" fmla="*/ 4591059 h 4906666"/>
              <a:gd name="connsiteX780" fmla="*/ 1033054 w 5491712"/>
              <a:gd name="connsiteY780" fmla="*/ 4606292 h 4906666"/>
              <a:gd name="connsiteX781" fmla="*/ 1032478 w 5491712"/>
              <a:gd name="connsiteY781" fmla="*/ 4605710 h 4906666"/>
              <a:gd name="connsiteX782" fmla="*/ 1032202 w 5491712"/>
              <a:gd name="connsiteY782" fmla="*/ 4605782 h 4906666"/>
              <a:gd name="connsiteX783" fmla="*/ 1023007 w 5491712"/>
              <a:gd name="connsiteY783" fmla="*/ 4596603 h 4906666"/>
              <a:gd name="connsiteX784" fmla="*/ 1121086 w 5491712"/>
              <a:gd name="connsiteY784" fmla="*/ 4507870 h 4906666"/>
              <a:gd name="connsiteX785" fmla="*/ 1121089 w 5491712"/>
              <a:gd name="connsiteY785" fmla="*/ 4507953 h 4906666"/>
              <a:gd name="connsiteX786" fmla="*/ 1121183 w 5491712"/>
              <a:gd name="connsiteY786" fmla="*/ 4507867 h 4906666"/>
              <a:gd name="connsiteX787" fmla="*/ 1113965 w 5491712"/>
              <a:gd name="connsiteY787" fmla="*/ 4553235 h 4906666"/>
              <a:gd name="connsiteX788" fmla="*/ 1091259 w 5491712"/>
              <a:gd name="connsiteY788" fmla="*/ 4593170 h 4906666"/>
              <a:gd name="connsiteX789" fmla="*/ 1124151 w 5491712"/>
              <a:gd name="connsiteY789" fmla="*/ 4578244 h 4906666"/>
              <a:gd name="connsiteX790" fmla="*/ 1139476 w 5491712"/>
              <a:gd name="connsiteY790" fmla="*/ 4544587 h 4906666"/>
              <a:gd name="connsiteX791" fmla="*/ 1145606 w 5491712"/>
              <a:gd name="connsiteY791" fmla="*/ 4529288 h 4906666"/>
              <a:gd name="connsiteX792" fmla="*/ 1216100 w 5491712"/>
              <a:gd name="connsiteY792" fmla="*/ 4434435 h 4906666"/>
              <a:gd name="connsiteX793" fmla="*/ 1216100 w 5491712"/>
              <a:gd name="connsiteY793" fmla="*/ 4425256 h 4906666"/>
              <a:gd name="connsiteX794" fmla="*/ 1145606 w 5491712"/>
              <a:gd name="connsiteY794" fmla="*/ 4477272 h 4906666"/>
              <a:gd name="connsiteX795" fmla="*/ 1136411 w 5491712"/>
              <a:gd name="connsiteY795" fmla="*/ 4468093 h 4906666"/>
              <a:gd name="connsiteX796" fmla="*/ 1176255 w 5491712"/>
              <a:gd name="connsiteY796" fmla="*/ 4416077 h 4906666"/>
              <a:gd name="connsiteX797" fmla="*/ 1173190 w 5491712"/>
              <a:gd name="connsiteY797" fmla="*/ 4367121 h 4906666"/>
              <a:gd name="connsiteX798" fmla="*/ 1163995 w 5491712"/>
              <a:gd name="connsiteY798" fmla="*/ 4299806 h 4906666"/>
              <a:gd name="connsiteX799" fmla="*/ 1114956 w 5491712"/>
              <a:gd name="connsiteY799" fmla="*/ 4324284 h 4906666"/>
              <a:gd name="connsiteX800" fmla="*/ 1108826 w 5491712"/>
              <a:gd name="connsiteY800" fmla="*/ 4321224 h 4906666"/>
              <a:gd name="connsiteX801" fmla="*/ 1148671 w 5491712"/>
              <a:gd name="connsiteY801" fmla="*/ 4263089 h 4906666"/>
              <a:gd name="connsiteX802" fmla="*/ 1167060 w 5491712"/>
              <a:gd name="connsiteY802" fmla="*/ 4211073 h 4906666"/>
              <a:gd name="connsiteX803" fmla="*/ 1167060 w 5491712"/>
              <a:gd name="connsiteY803" fmla="*/ 4183535 h 4906666"/>
              <a:gd name="connsiteX804" fmla="*/ 1127216 w 5491712"/>
              <a:gd name="connsiteY804" fmla="*/ 4217192 h 4906666"/>
              <a:gd name="connsiteX805" fmla="*/ 1167060 w 5491712"/>
              <a:gd name="connsiteY805" fmla="*/ 4131519 h 4906666"/>
              <a:gd name="connsiteX806" fmla="*/ 1129515 w 5491712"/>
              <a:gd name="connsiteY806" fmla="*/ 4157144 h 4906666"/>
              <a:gd name="connsiteX807" fmla="*/ 1102562 w 5491712"/>
              <a:gd name="connsiteY807" fmla="*/ 4176230 h 4906666"/>
              <a:gd name="connsiteX808" fmla="*/ 1100602 w 5491712"/>
              <a:gd name="connsiteY808" fmla="*/ 4183568 h 4906666"/>
              <a:gd name="connsiteX809" fmla="*/ 1091081 w 5491712"/>
              <a:gd name="connsiteY809" fmla="*/ 4193734 h 4906666"/>
              <a:gd name="connsiteX810" fmla="*/ 1075613 w 5491712"/>
              <a:gd name="connsiteY810" fmla="*/ 4227024 h 4906666"/>
              <a:gd name="connsiteX811" fmla="*/ 1041892 w 5491712"/>
              <a:gd name="connsiteY811" fmla="*/ 4273206 h 4906666"/>
              <a:gd name="connsiteX812" fmla="*/ 1033462 w 5491712"/>
              <a:gd name="connsiteY812" fmla="*/ 4278978 h 4906666"/>
              <a:gd name="connsiteX813" fmla="*/ 1020851 w 5491712"/>
              <a:gd name="connsiteY813" fmla="*/ 4282331 h 4906666"/>
              <a:gd name="connsiteX814" fmla="*/ 986957 w 5491712"/>
              <a:gd name="connsiteY814" fmla="*/ 4361695 h 4906666"/>
              <a:gd name="connsiteX815" fmla="*/ 989595 w 5491712"/>
              <a:gd name="connsiteY815" fmla="*/ 4366922 h 4906666"/>
              <a:gd name="connsiteX816" fmla="*/ 1003852 w 5491712"/>
              <a:gd name="connsiteY816" fmla="*/ 4357559 h 4906666"/>
              <a:gd name="connsiteX817" fmla="*/ 1023007 w 5491712"/>
              <a:gd name="connsiteY817" fmla="*/ 4345702 h 4906666"/>
              <a:gd name="connsiteX818" fmla="*/ 1021321 w 5491712"/>
              <a:gd name="connsiteY818" fmla="*/ 4348038 h 4906666"/>
              <a:gd name="connsiteX819" fmla="*/ 1023937 w 5491712"/>
              <a:gd name="connsiteY819" fmla="*/ 4346431 h 4906666"/>
              <a:gd name="connsiteX820" fmla="*/ 928407 w 5491712"/>
              <a:gd name="connsiteY820" fmla="*/ 4477705 h 4906666"/>
              <a:gd name="connsiteX821" fmla="*/ 919162 w 5491712"/>
              <a:gd name="connsiteY821" fmla="*/ 4471599 h 4906666"/>
              <a:gd name="connsiteX822" fmla="*/ 919256 w 5491712"/>
              <a:gd name="connsiteY822" fmla="*/ 4471457 h 4906666"/>
              <a:gd name="connsiteX823" fmla="*/ 918799 w 5491712"/>
              <a:gd name="connsiteY823" fmla="*/ 4471153 h 4906666"/>
              <a:gd name="connsiteX824" fmla="*/ 964773 w 5491712"/>
              <a:gd name="connsiteY824" fmla="*/ 4400778 h 4906666"/>
              <a:gd name="connsiteX825" fmla="*/ 967838 w 5491712"/>
              <a:gd name="connsiteY825" fmla="*/ 4391599 h 4906666"/>
              <a:gd name="connsiteX826" fmla="*/ 983163 w 5491712"/>
              <a:gd name="connsiteY826" fmla="*/ 4299806 h 4906666"/>
              <a:gd name="connsiteX827" fmla="*/ 863630 w 5491712"/>
              <a:gd name="connsiteY827" fmla="*/ 4425256 h 4906666"/>
              <a:gd name="connsiteX828" fmla="*/ 946384 w 5491712"/>
              <a:gd name="connsiteY828" fmla="*/ 4263089 h 4906666"/>
              <a:gd name="connsiteX829" fmla="*/ 1007683 w 5491712"/>
              <a:gd name="connsiteY829" fmla="*/ 4171296 h 4906666"/>
              <a:gd name="connsiteX830" fmla="*/ 1035267 w 5491712"/>
              <a:gd name="connsiteY830" fmla="*/ 4116220 h 4906666"/>
              <a:gd name="connsiteX831" fmla="*/ 1059787 w 5491712"/>
              <a:gd name="connsiteY831" fmla="*/ 4067264 h 4906666"/>
              <a:gd name="connsiteX832" fmla="*/ 1096566 w 5491712"/>
              <a:gd name="connsiteY832" fmla="*/ 4024427 h 4906666"/>
              <a:gd name="connsiteX833" fmla="*/ 1105761 w 5491712"/>
              <a:gd name="connsiteY833" fmla="*/ 4064204 h 4906666"/>
              <a:gd name="connsiteX834" fmla="*/ 1160930 w 5491712"/>
              <a:gd name="connsiteY834" fmla="*/ 3987710 h 4906666"/>
              <a:gd name="connsiteX835" fmla="*/ 1179320 w 5491712"/>
              <a:gd name="connsiteY835" fmla="*/ 3932634 h 4906666"/>
              <a:gd name="connsiteX836" fmla="*/ 1173190 w 5491712"/>
              <a:gd name="connsiteY836" fmla="*/ 3923455 h 4906666"/>
              <a:gd name="connsiteX837" fmla="*/ 1206905 w 5491712"/>
              <a:gd name="connsiteY837" fmla="*/ 3862260 h 4906666"/>
              <a:gd name="connsiteX838" fmla="*/ 1228359 w 5491712"/>
              <a:gd name="connsiteY838" fmla="*/ 3834722 h 4906666"/>
              <a:gd name="connsiteX839" fmla="*/ 1240619 w 5491712"/>
              <a:gd name="connsiteY839" fmla="*/ 3865320 h 4906666"/>
              <a:gd name="connsiteX840" fmla="*/ 1280464 w 5491712"/>
              <a:gd name="connsiteY840" fmla="*/ 3825543 h 4906666"/>
              <a:gd name="connsiteX841" fmla="*/ 1304983 w 5491712"/>
              <a:gd name="connsiteY841" fmla="*/ 3791885 h 4906666"/>
              <a:gd name="connsiteX842" fmla="*/ 1445971 w 5491712"/>
              <a:gd name="connsiteY842" fmla="*/ 3626658 h 4906666"/>
              <a:gd name="connsiteX843" fmla="*/ 1519530 w 5491712"/>
              <a:gd name="connsiteY843" fmla="*/ 3522626 h 4906666"/>
              <a:gd name="connsiteX844" fmla="*/ 1492712 w 5491712"/>
              <a:gd name="connsiteY844" fmla="*/ 3518036 h 4906666"/>
              <a:gd name="connsiteX845" fmla="*/ 1482514 w 5491712"/>
              <a:gd name="connsiteY845" fmla="*/ 3515930 h 4906666"/>
              <a:gd name="connsiteX846" fmla="*/ 1472038 w 5491712"/>
              <a:gd name="connsiteY846" fmla="*/ 3513766 h 4906666"/>
              <a:gd name="connsiteX847" fmla="*/ 1473556 w 5491712"/>
              <a:gd name="connsiteY847" fmla="*/ 3507327 h 4906666"/>
              <a:gd name="connsiteX848" fmla="*/ 1467426 w 5491712"/>
              <a:gd name="connsiteY848" fmla="*/ 3492028 h 4906666"/>
              <a:gd name="connsiteX849" fmla="*/ 1455166 w 5491712"/>
              <a:gd name="connsiteY849" fmla="*/ 3510387 h 4906666"/>
              <a:gd name="connsiteX850" fmla="*/ 1449036 w 5491712"/>
              <a:gd name="connsiteY850" fmla="*/ 3507327 h 4906666"/>
              <a:gd name="connsiteX851" fmla="*/ 1470491 w 5491712"/>
              <a:gd name="connsiteY851" fmla="*/ 3397176 h 4906666"/>
              <a:gd name="connsiteX852" fmla="*/ 1363218 w 5491712"/>
              <a:gd name="connsiteY852" fmla="*/ 3482849 h 4906666"/>
              <a:gd name="connsiteX853" fmla="*/ 1329503 w 5491712"/>
              <a:gd name="connsiteY853" fmla="*/ 3492028 h 4906666"/>
              <a:gd name="connsiteX854" fmla="*/ 1209970 w 5491712"/>
              <a:gd name="connsiteY854" fmla="*/ 3580762 h 4906666"/>
              <a:gd name="connsiteX855" fmla="*/ 1206905 w 5491712"/>
              <a:gd name="connsiteY855" fmla="*/ 3608300 h 4906666"/>
              <a:gd name="connsiteX856" fmla="*/ 1301918 w 5491712"/>
              <a:gd name="connsiteY856" fmla="*/ 3577702 h 4906666"/>
              <a:gd name="connsiteX857" fmla="*/ 1277399 w 5491712"/>
              <a:gd name="connsiteY857" fmla="*/ 3577702 h 4906666"/>
              <a:gd name="connsiteX858" fmla="*/ 1213035 w 5491712"/>
              <a:gd name="connsiteY858" fmla="*/ 3648076 h 4906666"/>
              <a:gd name="connsiteX859" fmla="*/ 1252879 w 5491712"/>
              <a:gd name="connsiteY859" fmla="*/ 3632778 h 4906666"/>
              <a:gd name="connsiteX860" fmla="*/ 1240619 w 5491712"/>
              <a:gd name="connsiteY860" fmla="*/ 3617479 h 4906666"/>
              <a:gd name="connsiteX861" fmla="*/ 1176255 w 5491712"/>
              <a:gd name="connsiteY861" fmla="*/ 3657256 h 4906666"/>
              <a:gd name="connsiteX862" fmla="*/ 1185450 w 5491712"/>
              <a:gd name="connsiteY862" fmla="*/ 3638897 h 4906666"/>
              <a:gd name="connsiteX863" fmla="*/ 1188515 w 5491712"/>
              <a:gd name="connsiteY863" fmla="*/ 3605240 h 4906666"/>
              <a:gd name="connsiteX864" fmla="*/ 1035267 w 5491712"/>
              <a:gd name="connsiteY864" fmla="*/ 3764347 h 4906666"/>
              <a:gd name="connsiteX865" fmla="*/ 1170125 w 5491712"/>
              <a:gd name="connsiteY865" fmla="*/ 3663375 h 4906666"/>
              <a:gd name="connsiteX866" fmla="*/ 1169689 w 5491712"/>
              <a:gd name="connsiteY866" fmla="*/ 3664711 h 4906666"/>
              <a:gd name="connsiteX867" fmla="*/ 1171575 w 5491712"/>
              <a:gd name="connsiteY867" fmla="*/ 3663317 h 4906666"/>
              <a:gd name="connsiteX868" fmla="*/ 1159282 w 5491712"/>
              <a:gd name="connsiteY868" fmla="*/ 3693922 h 4906666"/>
              <a:gd name="connsiteX869" fmla="*/ 1060938 w 5491712"/>
              <a:gd name="connsiteY869" fmla="*/ 3785735 h 4906666"/>
              <a:gd name="connsiteX870" fmla="*/ 1024059 w 5491712"/>
              <a:gd name="connsiteY870" fmla="*/ 3825521 h 4906666"/>
              <a:gd name="connsiteX871" fmla="*/ 1024059 w 5491712"/>
              <a:gd name="connsiteY871" fmla="*/ 3840823 h 4906666"/>
              <a:gd name="connsiteX872" fmla="*/ 1028667 w 5491712"/>
              <a:gd name="connsiteY872" fmla="*/ 3841882 h 4906666"/>
              <a:gd name="connsiteX873" fmla="*/ 1035267 w 5491712"/>
              <a:gd name="connsiteY873" fmla="*/ 3840841 h 4906666"/>
              <a:gd name="connsiteX874" fmla="*/ 1059787 w 5491712"/>
              <a:gd name="connsiteY874" fmla="*/ 3831662 h 4906666"/>
              <a:gd name="connsiteX875" fmla="*/ 1059463 w 5491712"/>
              <a:gd name="connsiteY875" fmla="*/ 3832019 h 4906666"/>
              <a:gd name="connsiteX876" fmla="*/ 1060938 w 5491712"/>
              <a:gd name="connsiteY876" fmla="*/ 3831642 h 4906666"/>
              <a:gd name="connsiteX877" fmla="*/ 944155 w 5491712"/>
              <a:gd name="connsiteY877" fmla="*/ 3960180 h 4906666"/>
              <a:gd name="connsiteX878" fmla="*/ 943652 w 5491712"/>
              <a:gd name="connsiteY878" fmla="*/ 3959805 h 4906666"/>
              <a:gd name="connsiteX879" fmla="*/ 943319 w 5491712"/>
              <a:gd name="connsiteY879" fmla="*/ 3960172 h 4906666"/>
              <a:gd name="connsiteX880" fmla="*/ 931059 w 5491712"/>
              <a:gd name="connsiteY880" fmla="*/ 3950993 h 4906666"/>
              <a:gd name="connsiteX881" fmla="*/ 989293 w 5491712"/>
              <a:gd name="connsiteY881" fmla="*/ 3880618 h 4906666"/>
              <a:gd name="connsiteX882" fmla="*/ 998488 w 5491712"/>
              <a:gd name="connsiteY882" fmla="*/ 3846961 h 4906666"/>
              <a:gd name="connsiteX883" fmla="*/ 1019943 w 5491712"/>
              <a:gd name="connsiteY883" fmla="*/ 3785766 h 4906666"/>
              <a:gd name="connsiteX884" fmla="*/ 888149 w 5491712"/>
              <a:gd name="connsiteY884" fmla="*/ 3883678 h 4906666"/>
              <a:gd name="connsiteX885" fmla="*/ 903474 w 5491712"/>
              <a:gd name="connsiteY885" fmla="*/ 3828602 h 4906666"/>
              <a:gd name="connsiteX886" fmla="*/ 894279 w 5491712"/>
              <a:gd name="connsiteY886" fmla="*/ 3822483 h 4906666"/>
              <a:gd name="connsiteX887" fmla="*/ 836045 w 5491712"/>
              <a:gd name="connsiteY887" fmla="*/ 3877559 h 4906666"/>
              <a:gd name="connsiteX888" fmla="*/ 811526 w 5491712"/>
              <a:gd name="connsiteY888" fmla="*/ 3892857 h 4906666"/>
              <a:gd name="connsiteX889" fmla="*/ 787006 w 5491712"/>
              <a:gd name="connsiteY889" fmla="*/ 3905096 h 4906666"/>
              <a:gd name="connsiteX890" fmla="*/ 734902 w 5491712"/>
              <a:gd name="connsiteY890" fmla="*/ 3874499 h 4906666"/>
              <a:gd name="connsiteX891" fmla="*/ 734902 w 5491712"/>
              <a:gd name="connsiteY891" fmla="*/ 3287024 h 4906666"/>
              <a:gd name="connsiteX892" fmla="*/ 734902 w 5491712"/>
              <a:gd name="connsiteY892" fmla="*/ 3228889 h 4906666"/>
              <a:gd name="connsiteX893" fmla="*/ 734902 w 5491712"/>
              <a:gd name="connsiteY893" fmla="*/ 3161574 h 4906666"/>
              <a:gd name="connsiteX894" fmla="*/ 734902 w 5491712"/>
              <a:gd name="connsiteY894" fmla="*/ 2057000 h 4906666"/>
              <a:gd name="connsiteX895" fmla="*/ 734902 w 5491712"/>
              <a:gd name="connsiteY895" fmla="*/ 1995805 h 4906666"/>
              <a:gd name="connsiteX896" fmla="*/ 756356 w 5491712"/>
              <a:gd name="connsiteY896" fmla="*/ 2023342 h 4906666"/>
              <a:gd name="connsiteX897" fmla="*/ 787006 w 5491712"/>
              <a:gd name="connsiteY897" fmla="*/ 1873414 h 4906666"/>
              <a:gd name="connsiteX898" fmla="*/ 860565 w 5491712"/>
              <a:gd name="connsiteY898" fmla="*/ 1894832 h 4906666"/>
              <a:gd name="connsiteX899" fmla="*/ 900409 w 5491712"/>
              <a:gd name="connsiteY899" fmla="*/ 1781621 h 4906666"/>
              <a:gd name="connsiteX900" fmla="*/ 931059 w 5491712"/>
              <a:gd name="connsiteY900" fmla="*/ 1799980 h 4906666"/>
              <a:gd name="connsiteX901" fmla="*/ 949449 w 5491712"/>
              <a:gd name="connsiteY901" fmla="*/ 1769382 h 4906666"/>
              <a:gd name="connsiteX902" fmla="*/ 983163 w 5491712"/>
              <a:gd name="connsiteY902" fmla="*/ 1778561 h 4906666"/>
              <a:gd name="connsiteX903" fmla="*/ 1029137 w 5491712"/>
              <a:gd name="connsiteY903" fmla="*/ 1784681 h 4906666"/>
              <a:gd name="connsiteX904" fmla="*/ 1013813 w 5491712"/>
              <a:gd name="connsiteY904" fmla="*/ 1772442 h 4906666"/>
              <a:gd name="connsiteX905" fmla="*/ 1102696 w 5491712"/>
              <a:gd name="connsiteY905" fmla="*/ 1695948 h 4906666"/>
              <a:gd name="connsiteX906" fmla="*/ 1081242 w 5491712"/>
              <a:gd name="connsiteY906" fmla="*/ 1695948 h 4906666"/>
              <a:gd name="connsiteX907" fmla="*/ 1081242 w 5491712"/>
              <a:gd name="connsiteY907" fmla="*/ 1686769 h 4906666"/>
              <a:gd name="connsiteX908" fmla="*/ 1124151 w 5491712"/>
              <a:gd name="connsiteY908" fmla="*/ 1683709 h 4906666"/>
              <a:gd name="connsiteX909" fmla="*/ 1130281 w 5491712"/>
              <a:gd name="connsiteY909" fmla="*/ 1695948 h 4906666"/>
              <a:gd name="connsiteX910" fmla="*/ 1154801 w 5491712"/>
              <a:gd name="connsiteY910" fmla="*/ 1656171 h 4906666"/>
              <a:gd name="connsiteX911" fmla="*/ 1163995 w 5491712"/>
              <a:gd name="connsiteY911" fmla="*/ 1717366 h 4906666"/>
              <a:gd name="connsiteX912" fmla="*/ 1206905 w 5491712"/>
              <a:gd name="connsiteY912" fmla="*/ 1671470 h 4906666"/>
              <a:gd name="connsiteX913" fmla="*/ 1151736 w 5491712"/>
              <a:gd name="connsiteY913" fmla="*/ 1628633 h 4906666"/>
              <a:gd name="connsiteX914" fmla="*/ 1194645 w 5491712"/>
              <a:gd name="connsiteY914" fmla="*/ 1567438 h 4906666"/>
              <a:gd name="connsiteX915" fmla="*/ 1194645 w 5491712"/>
              <a:gd name="connsiteY915" fmla="*/ 1637812 h 4906666"/>
              <a:gd name="connsiteX916" fmla="*/ 1206905 w 5491712"/>
              <a:gd name="connsiteY916" fmla="*/ 1640872 h 4906666"/>
              <a:gd name="connsiteX917" fmla="*/ 1262074 w 5491712"/>
              <a:gd name="connsiteY917" fmla="*/ 1555199 h 4906666"/>
              <a:gd name="connsiteX918" fmla="*/ 1255944 w 5491712"/>
              <a:gd name="connsiteY918" fmla="*/ 1549079 h 4906666"/>
              <a:gd name="connsiteX919" fmla="*/ 1222230 w 5491712"/>
              <a:gd name="connsiteY919" fmla="*/ 1591916 h 4906666"/>
              <a:gd name="connsiteX920" fmla="*/ 1197710 w 5491712"/>
              <a:gd name="connsiteY920" fmla="*/ 1555199 h 4906666"/>
              <a:gd name="connsiteX921" fmla="*/ 1105761 w 5491712"/>
              <a:gd name="connsiteY921" fmla="*/ 1582737 h 4906666"/>
              <a:gd name="connsiteX922" fmla="*/ 1111891 w 5491712"/>
              <a:gd name="connsiteY922" fmla="*/ 1549079 h 4906666"/>
              <a:gd name="connsiteX923" fmla="*/ 1157866 w 5491712"/>
              <a:gd name="connsiteY923" fmla="*/ 1466466 h 4906666"/>
              <a:gd name="connsiteX924" fmla="*/ 1065917 w 5491712"/>
              <a:gd name="connsiteY924" fmla="*/ 1521541 h 4906666"/>
              <a:gd name="connsiteX925" fmla="*/ 1062852 w 5491712"/>
              <a:gd name="connsiteY925" fmla="*/ 1512362 h 4906666"/>
              <a:gd name="connsiteX926" fmla="*/ 1081242 w 5491712"/>
              <a:gd name="connsiteY926" fmla="*/ 1481764 h 4906666"/>
              <a:gd name="connsiteX927" fmla="*/ 1072047 w 5491712"/>
              <a:gd name="connsiteY927" fmla="*/ 1475645 h 4906666"/>
              <a:gd name="connsiteX928" fmla="*/ 1062852 w 5491712"/>
              <a:gd name="connsiteY928" fmla="*/ 1564378 h 4906666"/>
              <a:gd name="connsiteX929" fmla="*/ 1010748 w 5491712"/>
              <a:gd name="connsiteY929" fmla="*/ 1582737 h 4906666"/>
              <a:gd name="connsiteX930" fmla="*/ 1029137 w 5491712"/>
              <a:gd name="connsiteY930" fmla="*/ 1549079 h 4906666"/>
              <a:gd name="connsiteX931" fmla="*/ 1023007 w 5491712"/>
              <a:gd name="connsiteY931" fmla="*/ 1542960 h 4906666"/>
              <a:gd name="connsiteX932" fmla="*/ 875890 w 5491712"/>
              <a:gd name="connsiteY932" fmla="*/ 1659231 h 4906666"/>
              <a:gd name="connsiteX933" fmla="*/ 734902 w 5491712"/>
              <a:gd name="connsiteY933" fmla="*/ 1778561 h 4906666"/>
              <a:gd name="connsiteX934" fmla="*/ 734902 w 5491712"/>
              <a:gd name="connsiteY934" fmla="*/ 1509302 h 4906666"/>
              <a:gd name="connsiteX935" fmla="*/ 744097 w 5491712"/>
              <a:gd name="connsiteY935" fmla="*/ 1484824 h 4906666"/>
              <a:gd name="connsiteX936" fmla="*/ 820720 w 5491712"/>
              <a:gd name="connsiteY936" fmla="*/ 1414450 h 4906666"/>
              <a:gd name="connsiteX937" fmla="*/ 912669 w 5491712"/>
              <a:gd name="connsiteY937" fmla="*/ 1344075 h 4906666"/>
              <a:gd name="connsiteX938" fmla="*/ 906539 w 5491712"/>
              <a:gd name="connsiteY938" fmla="*/ 1393031 h 4906666"/>
              <a:gd name="connsiteX939" fmla="*/ 934124 w 5491712"/>
              <a:gd name="connsiteY939" fmla="*/ 1380792 h 4906666"/>
              <a:gd name="connsiteX940" fmla="*/ 940254 w 5491712"/>
              <a:gd name="connsiteY940" fmla="*/ 1386912 h 4906666"/>
              <a:gd name="connsiteX941" fmla="*/ 903474 w 5491712"/>
              <a:gd name="connsiteY941" fmla="*/ 1414450 h 4906666"/>
              <a:gd name="connsiteX942" fmla="*/ 1023007 w 5491712"/>
              <a:gd name="connsiteY942" fmla="*/ 1365494 h 4906666"/>
              <a:gd name="connsiteX943" fmla="*/ 1078177 w 5491712"/>
              <a:gd name="connsiteY943" fmla="*/ 1279820 h 4906666"/>
              <a:gd name="connsiteX944" fmla="*/ 1068982 w 5491712"/>
              <a:gd name="connsiteY944" fmla="*/ 1313478 h 4906666"/>
              <a:gd name="connsiteX945" fmla="*/ 1075112 w 5491712"/>
              <a:gd name="connsiteY945" fmla="*/ 1319597 h 4906666"/>
              <a:gd name="connsiteX946" fmla="*/ 1139476 w 5491712"/>
              <a:gd name="connsiteY946" fmla="*/ 1276760 h 4906666"/>
              <a:gd name="connsiteX947" fmla="*/ 1262074 w 5491712"/>
              <a:gd name="connsiteY947" fmla="*/ 1172728 h 4906666"/>
              <a:gd name="connsiteX948" fmla="*/ 1433711 w 5491712"/>
              <a:gd name="connsiteY948" fmla="*/ 1047294 h 4906666"/>
              <a:gd name="connsiteX949" fmla="*/ 1449419 w 5491712"/>
              <a:gd name="connsiteY949" fmla="*/ 1037732 h 4906666"/>
              <a:gd name="connsiteX950" fmla="*/ 1453107 w 5491712"/>
              <a:gd name="connsiteY950" fmla="*/ 1029653 h 4906666"/>
              <a:gd name="connsiteX951" fmla="*/ 1449036 w 5491712"/>
              <a:gd name="connsiteY951" fmla="*/ 1016698 h 4906666"/>
              <a:gd name="connsiteX952" fmla="*/ 1449037 w 5491712"/>
              <a:gd name="connsiteY952" fmla="*/ 1016698 h 4906666"/>
              <a:gd name="connsiteX953" fmla="*/ 1449036 w 5491712"/>
              <a:gd name="connsiteY953" fmla="*/ 1016697 h 4906666"/>
              <a:gd name="connsiteX954" fmla="*/ 1467426 w 5491712"/>
              <a:gd name="connsiteY954" fmla="*/ 998338 h 4906666"/>
              <a:gd name="connsiteX955" fmla="*/ 1513618 w 5491712"/>
              <a:gd name="connsiteY955" fmla="*/ 952225 h 4906666"/>
              <a:gd name="connsiteX956" fmla="*/ 1476621 w 5491712"/>
              <a:gd name="connsiteY956" fmla="*/ 949384 h 4906666"/>
              <a:gd name="connsiteX957" fmla="*/ 1476621 w 5491712"/>
              <a:gd name="connsiteY957" fmla="*/ 949382 h 4906666"/>
              <a:gd name="connsiteX958" fmla="*/ 1479686 w 5491712"/>
              <a:gd name="connsiteY958" fmla="*/ 927966 h 4906666"/>
              <a:gd name="connsiteX959" fmla="*/ 1473556 w 5491712"/>
              <a:gd name="connsiteY959" fmla="*/ 921847 h 4906666"/>
              <a:gd name="connsiteX960" fmla="*/ 1372412 w 5491712"/>
              <a:gd name="connsiteY960" fmla="*/ 1010579 h 4906666"/>
              <a:gd name="connsiteX961" fmla="*/ 1371646 w 5491712"/>
              <a:gd name="connsiteY961" fmla="*/ 1019375 h 4906666"/>
              <a:gd name="connsiteX962" fmla="*/ 1375477 w 5491712"/>
              <a:gd name="connsiteY962" fmla="*/ 1035056 h 4906666"/>
              <a:gd name="connsiteX963" fmla="*/ 1375477 w 5491712"/>
              <a:gd name="connsiteY963" fmla="*/ 1035057 h 4906666"/>
              <a:gd name="connsiteX964" fmla="*/ 1335633 w 5491712"/>
              <a:gd name="connsiteY964" fmla="*/ 1068714 h 4906666"/>
              <a:gd name="connsiteX965" fmla="*/ 1335633 w 5491712"/>
              <a:gd name="connsiteY965" fmla="*/ 1068712 h 4906666"/>
              <a:gd name="connsiteX966" fmla="*/ 1340230 w 5491712"/>
              <a:gd name="connsiteY966" fmla="*/ 1054179 h 4906666"/>
              <a:gd name="connsiteX967" fmla="*/ 1344827 w 5491712"/>
              <a:gd name="connsiteY967" fmla="*/ 1044237 h 4906666"/>
              <a:gd name="connsiteX968" fmla="*/ 1293107 w 5491712"/>
              <a:gd name="connsiteY968" fmla="*/ 1065654 h 4906666"/>
              <a:gd name="connsiteX969" fmla="*/ 1243684 w 5491712"/>
              <a:gd name="connsiteY969" fmla="*/ 1087055 h 4906666"/>
              <a:gd name="connsiteX970" fmla="*/ 1240619 w 5491712"/>
              <a:gd name="connsiteY970" fmla="*/ 1080936 h 4906666"/>
              <a:gd name="connsiteX971" fmla="*/ 1283529 w 5491712"/>
              <a:gd name="connsiteY971" fmla="*/ 1044235 h 4906666"/>
              <a:gd name="connsiteX972" fmla="*/ 1415322 w 5491712"/>
              <a:gd name="connsiteY972" fmla="*/ 952442 h 4906666"/>
              <a:gd name="connsiteX973" fmla="*/ 1430647 w 5491712"/>
              <a:gd name="connsiteY973" fmla="*/ 937143 h 4906666"/>
              <a:gd name="connsiteX974" fmla="*/ 1491946 w 5491712"/>
              <a:gd name="connsiteY974" fmla="*/ 915726 h 4906666"/>
              <a:gd name="connsiteX975" fmla="*/ 1560524 w 5491712"/>
              <a:gd name="connsiteY975" fmla="*/ 859502 h 4906666"/>
              <a:gd name="connsiteX976" fmla="*/ 1626803 w 5491712"/>
              <a:gd name="connsiteY976" fmla="*/ 805575 h 4906666"/>
              <a:gd name="connsiteX977" fmla="*/ 1620674 w 5491712"/>
              <a:gd name="connsiteY977" fmla="*/ 796396 h 4906666"/>
              <a:gd name="connsiteX978" fmla="*/ 1501141 w 5491712"/>
              <a:gd name="connsiteY978" fmla="*/ 885130 h 4906666"/>
              <a:gd name="connsiteX979" fmla="*/ 1501141 w 5491712"/>
              <a:gd name="connsiteY979" fmla="*/ 885127 h 4906666"/>
              <a:gd name="connsiteX980" fmla="*/ 1547115 w 5491712"/>
              <a:gd name="connsiteY980" fmla="*/ 830052 h 4906666"/>
              <a:gd name="connsiteX981" fmla="*/ 1577764 w 5491712"/>
              <a:gd name="connsiteY981" fmla="*/ 799455 h 4906666"/>
              <a:gd name="connsiteX982" fmla="*/ 1608414 w 5491712"/>
              <a:gd name="connsiteY982" fmla="*/ 759678 h 4906666"/>
              <a:gd name="connsiteX983" fmla="*/ 1614544 w 5491712"/>
              <a:gd name="connsiteY983" fmla="*/ 784157 h 4906666"/>
              <a:gd name="connsiteX984" fmla="*/ 1623739 w 5491712"/>
              <a:gd name="connsiteY984" fmla="*/ 778037 h 4906666"/>
              <a:gd name="connsiteX985" fmla="*/ 1712622 w 5491712"/>
              <a:gd name="connsiteY985" fmla="*/ 680125 h 4906666"/>
              <a:gd name="connsiteX986" fmla="*/ 1737142 w 5491712"/>
              <a:gd name="connsiteY986" fmla="*/ 655648 h 4906666"/>
              <a:gd name="connsiteX987" fmla="*/ 1755532 w 5491712"/>
              <a:gd name="connsiteY987" fmla="*/ 646468 h 4906666"/>
              <a:gd name="connsiteX988" fmla="*/ 1822961 w 5491712"/>
              <a:gd name="connsiteY988" fmla="*/ 579154 h 4906666"/>
              <a:gd name="connsiteX989" fmla="*/ 1862805 w 5491712"/>
              <a:gd name="connsiteY989" fmla="*/ 563855 h 4906666"/>
              <a:gd name="connsiteX990" fmla="*/ 1862804 w 5491712"/>
              <a:gd name="connsiteY990" fmla="*/ 563857 h 4906666"/>
              <a:gd name="connsiteX991" fmla="*/ 1862805 w 5491712"/>
              <a:gd name="connsiteY991" fmla="*/ 563857 h 4906666"/>
              <a:gd name="connsiteX992" fmla="*/ 1838669 w 5491712"/>
              <a:gd name="connsiteY992" fmla="*/ 605929 h 4906666"/>
              <a:gd name="connsiteX993" fmla="*/ 1817970 w 5491712"/>
              <a:gd name="connsiteY993" fmla="*/ 641454 h 4906666"/>
              <a:gd name="connsiteX994" fmla="*/ 1830575 w 5491712"/>
              <a:gd name="connsiteY994" fmla="*/ 653687 h 4906666"/>
              <a:gd name="connsiteX995" fmla="*/ 1830587 w 5491712"/>
              <a:gd name="connsiteY995" fmla="*/ 653689 h 4906666"/>
              <a:gd name="connsiteX996" fmla="*/ 1847661 w 5491712"/>
              <a:gd name="connsiteY996" fmla="*/ 653091 h 4906666"/>
              <a:gd name="connsiteX997" fmla="*/ 1868935 w 5491712"/>
              <a:gd name="connsiteY997" fmla="*/ 640349 h 4906666"/>
              <a:gd name="connsiteX998" fmla="*/ 1954754 w 5491712"/>
              <a:gd name="connsiteY998" fmla="*/ 554676 h 4906666"/>
              <a:gd name="connsiteX999" fmla="*/ 1957819 w 5491712"/>
              <a:gd name="connsiteY999" fmla="*/ 551616 h 4906666"/>
              <a:gd name="connsiteX1000" fmla="*/ 2022183 w 5491712"/>
              <a:gd name="connsiteY1000" fmla="*/ 496541 h 4906666"/>
              <a:gd name="connsiteX1001" fmla="*/ 2040573 w 5491712"/>
              <a:gd name="connsiteY1001" fmla="*/ 487362 h 4906666"/>
              <a:gd name="connsiteX1002" fmla="*/ 2062027 w 5491712"/>
              <a:gd name="connsiteY1002" fmla="*/ 479330 h 4906666"/>
              <a:gd name="connsiteX1003" fmla="*/ 2065092 w 5491712"/>
              <a:gd name="connsiteY1003" fmla="*/ 450646 h 4906666"/>
              <a:gd name="connsiteX1004" fmla="*/ 2018735 w 5491712"/>
              <a:gd name="connsiteY1004" fmla="*/ 476750 h 4906666"/>
              <a:gd name="connsiteX1005" fmla="*/ 1884260 w 5491712"/>
              <a:gd name="connsiteY1005" fmla="*/ 551618 h 4906666"/>
              <a:gd name="connsiteX1006" fmla="*/ 1875065 w 5491712"/>
              <a:gd name="connsiteY1006" fmla="*/ 539379 h 4906666"/>
              <a:gd name="connsiteX1007" fmla="*/ 1875066 w 5491712"/>
              <a:gd name="connsiteY1007" fmla="*/ 539379 h 4906666"/>
              <a:gd name="connsiteX1008" fmla="*/ 1875065 w 5491712"/>
              <a:gd name="connsiteY1008" fmla="*/ 539377 h 4906666"/>
              <a:gd name="connsiteX1009" fmla="*/ 1973144 w 5491712"/>
              <a:gd name="connsiteY1009" fmla="*/ 462883 h 4906666"/>
              <a:gd name="connsiteX1010" fmla="*/ 2282704 w 5491712"/>
              <a:gd name="connsiteY1010" fmla="*/ 233403 h 4906666"/>
              <a:gd name="connsiteX1011" fmla="*/ 2344003 w 5491712"/>
              <a:gd name="connsiteY1011" fmla="*/ 242582 h 4906666"/>
              <a:gd name="connsiteX1012" fmla="*/ 2399172 w 5491712"/>
              <a:gd name="connsiteY1012" fmla="*/ 251761 h 4906666"/>
              <a:gd name="connsiteX1013" fmla="*/ 2684213 w 5491712"/>
              <a:gd name="connsiteY1013" fmla="*/ 92654 h 4906666"/>
              <a:gd name="connsiteX1014" fmla="*/ 2825201 w 5491712"/>
              <a:gd name="connsiteY1014" fmla="*/ 25336 h 4906666"/>
              <a:gd name="connsiteX1015" fmla="*/ 2861981 w 5491712"/>
              <a:gd name="connsiteY1015" fmla="*/ 858 h 4906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Lst>
            <a:rect l="l" t="t" r="r" b="b"/>
            <a:pathLst>
              <a:path w="5491712" h="4906666">
                <a:moveTo>
                  <a:pt x="1752600" y="4844417"/>
                </a:moveTo>
                <a:cubicBezTo>
                  <a:pt x="1749569" y="4884710"/>
                  <a:pt x="1722293" y="4909505"/>
                  <a:pt x="1685925" y="4906406"/>
                </a:cubicBezTo>
                <a:cubicBezTo>
                  <a:pt x="1710170" y="4884710"/>
                  <a:pt x="1731385" y="4863014"/>
                  <a:pt x="1752600" y="4844417"/>
                </a:cubicBezTo>
                <a:close/>
                <a:moveTo>
                  <a:pt x="1090793" y="4592925"/>
                </a:moveTo>
                <a:lnTo>
                  <a:pt x="1090437" y="4593543"/>
                </a:lnTo>
                <a:lnTo>
                  <a:pt x="1090793" y="4593381"/>
                </a:lnTo>
                <a:close/>
                <a:moveTo>
                  <a:pt x="983639" y="4141155"/>
                </a:moveTo>
                <a:cubicBezTo>
                  <a:pt x="989745" y="4141155"/>
                  <a:pt x="992798" y="4141155"/>
                  <a:pt x="995851" y="4144247"/>
                </a:cubicBezTo>
                <a:cubicBezTo>
                  <a:pt x="989745" y="4159704"/>
                  <a:pt x="1008063" y="4187527"/>
                  <a:pt x="968375" y="4199893"/>
                </a:cubicBezTo>
                <a:cubicBezTo>
                  <a:pt x="974481" y="4178253"/>
                  <a:pt x="980586" y="4159704"/>
                  <a:pt x="983639" y="4141155"/>
                </a:cubicBezTo>
                <a:close/>
                <a:moveTo>
                  <a:pt x="649887" y="3914142"/>
                </a:moveTo>
                <a:cubicBezTo>
                  <a:pt x="643709" y="3932512"/>
                  <a:pt x="671512" y="3966190"/>
                  <a:pt x="618996" y="3966190"/>
                </a:cubicBezTo>
                <a:cubicBezTo>
                  <a:pt x="606639" y="3966190"/>
                  <a:pt x="594282" y="3987621"/>
                  <a:pt x="581925" y="3996806"/>
                </a:cubicBezTo>
                <a:cubicBezTo>
                  <a:pt x="575747" y="3999867"/>
                  <a:pt x="566479" y="3993744"/>
                  <a:pt x="557212" y="3990682"/>
                </a:cubicBezTo>
                <a:cubicBezTo>
                  <a:pt x="560301" y="3987621"/>
                  <a:pt x="560301" y="3984559"/>
                  <a:pt x="563390" y="3978436"/>
                </a:cubicBezTo>
                <a:cubicBezTo>
                  <a:pt x="566479" y="3981498"/>
                  <a:pt x="572658" y="3984559"/>
                  <a:pt x="578836" y="3987621"/>
                </a:cubicBezTo>
                <a:cubicBezTo>
                  <a:pt x="594282" y="3953943"/>
                  <a:pt x="600460" y="3914142"/>
                  <a:pt x="649887" y="3914142"/>
                </a:cubicBezTo>
                <a:close/>
                <a:moveTo>
                  <a:pt x="1183097" y="3777698"/>
                </a:moveTo>
                <a:cubicBezTo>
                  <a:pt x="1189248" y="3777791"/>
                  <a:pt x="1197322" y="3778907"/>
                  <a:pt x="1208088" y="3780395"/>
                </a:cubicBezTo>
                <a:cubicBezTo>
                  <a:pt x="1189633" y="3795278"/>
                  <a:pt x="1174254" y="3807184"/>
                  <a:pt x="1158875" y="3822067"/>
                </a:cubicBezTo>
                <a:cubicBezTo>
                  <a:pt x="1160028" y="3813138"/>
                  <a:pt x="1160965" y="3805882"/>
                  <a:pt x="1162011" y="3800027"/>
                </a:cubicBezTo>
                <a:lnTo>
                  <a:pt x="1162598" y="3797907"/>
                </a:lnTo>
                <a:lnTo>
                  <a:pt x="1163104" y="3794627"/>
                </a:lnTo>
                <a:lnTo>
                  <a:pt x="1164050" y="3792675"/>
                </a:lnTo>
                <a:lnTo>
                  <a:pt x="1165795" y="3786383"/>
                </a:lnTo>
                <a:lnTo>
                  <a:pt x="1167518" y="3785519"/>
                </a:lnTo>
                <a:lnTo>
                  <a:pt x="1169640" y="3781140"/>
                </a:lnTo>
                <a:close/>
                <a:moveTo>
                  <a:pt x="1373275" y="3568067"/>
                </a:moveTo>
                <a:cubicBezTo>
                  <a:pt x="1376362" y="3586496"/>
                  <a:pt x="1376362" y="3595711"/>
                  <a:pt x="1376362" y="3607996"/>
                </a:cubicBezTo>
                <a:cubicBezTo>
                  <a:pt x="1376362" y="3604925"/>
                  <a:pt x="1373275" y="3604925"/>
                  <a:pt x="1370188" y="3601854"/>
                </a:cubicBezTo>
                <a:cubicBezTo>
                  <a:pt x="1357841" y="3620282"/>
                  <a:pt x="1348581" y="3641783"/>
                  <a:pt x="1333146" y="3657140"/>
                </a:cubicBezTo>
                <a:cubicBezTo>
                  <a:pt x="1314626" y="3675569"/>
                  <a:pt x="1296105" y="3690926"/>
                  <a:pt x="1274497" y="3709355"/>
                </a:cubicBezTo>
                <a:cubicBezTo>
                  <a:pt x="1271410" y="3697069"/>
                  <a:pt x="1268324" y="3687855"/>
                  <a:pt x="1265237" y="3672498"/>
                </a:cubicBezTo>
                <a:cubicBezTo>
                  <a:pt x="1305365" y="3681712"/>
                  <a:pt x="1311539" y="3660212"/>
                  <a:pt x="1320799" y="3626425"/>
                </a:cubicBezTo>
                <a:cubicBezTo>
                  <a:pt x="1326973" y="3604925"/>
                  <a:pt x="1351667" y="3589568"/>
                  <a:pt x="1373275" y="3568067"/>
                </a:cubicBezTo>
                <a:close/>
                <a:moveTo>
                  <a:pt x="1328236" y="3559855"/>
                </a:moveTo>
                <a:lnTo>
                  <a:pt x="1321292" y="3571242"/>
                </a:lnTo>
                <a:cubicBezTo>
                  <a:pt x="1318226" y="3571242"/>
                  <a:pt x="1318226" y="3568226"/>
                  <a:pt x="1318226" y="3568226"/>
                </a:cubicBezTo>
                <a:close/>
                <a:moveTo>
                  <a:pt x="1470491" y="3513447"/>
                </a:moveTo>
                <a:lnTo>
                  <a:pt x="1472038" y="3513766"/>
                </a:lnTo>
                <a:lnTo>
                  <a:pt x="1472023" y="3513829"/>
                </a:lnTo>
                <a:cubicBezTo>
                  <a:pt x="1471257" y="3514977"/>
                  <a:pt x="1470491" y="3514977"/>
                  <a:pt x="1470491" y="3513447"/>
                </a:cubicBezTo>
                <a:close/>
                <a:moveTo>
                  <a:pt x="1379537" y="3510917"/>
                </a:moveTo>
                <a:cubicBezTo>
                  <a:pt x="1379537" y="3510917"/>
                  <a:pt x="1379537" y="3513933"/>
                  <a:pt x="1379537" y="3516949"/>
                </a:cubicBezTo>
                <a:lnTo>
                  <a:pt x="1328236" y="3559855"/>
                </a:lnTo>
                <a:lnTo>
                  <a:pt x="1330488" y="3556161"/>
                </a:lnTo>
                <a:cubicBezTo>
                  <a:pt x="1315161" y="3553145"/>
                  <a:pt x="1302899" y="3550128"/>
                  <a:pt x="1293702" y="3547112"/>
                </a:cubicBezTo>
                <a:cubicBezTo>
                  <a:pt x="1290637" y="3544096"/>
                  <a:pt x="1290637" y="3541079"/>
                  <a:pt x="1290637" y="3538063"/>
                </a:cubicBezTo>
                <a:cubicBezTo>
                  <a:pt x="1318226" y="3529014"/>
                  <a:pt x="1348882" y="3519966"/>
                  <a:pt x="1379537" y="3510917"/>
                </a:cubicBezTo>
                <a:close/>
                <a:moveTo>
                  <a:pt x="314994" y="3347512"/>
                </a:moveTo>
                <a:lnTo>
                  <a:pt x="326583" y="3348622"/>
                </a:lnTo>
                <a:lnTo>
                  <a:pt x="333793" y="3349312"/>
                </a:lnTo>
                <a:cubicBezTo>
                  <a:pt x="341808" y="3352437"/>
                  <a:pt x="351912" y="3358120"/>
                  <a:pt x="365125" y="3366454"/>
                </a:cubicBezTo>
                <a:cubicBezTo>
                  <a:pt x="352689" y="3375546"/>
                  <a:pt x="343363" y="3387669"/>
                  <a:pt x="327818" y="3399792"/>
                </a:cubicBezTo>
                <a:cubicBezTo>
                  <a:pt x="315383" y="3396761"/>
                  <a:pt x="302947" y="3393730"/>
                  <a:pt x="290512" y="3387669"/>
                </a:cubicBezTo>
                <a:cubicBezTo>
                  <a:pt x="295175" y="3376304"/>
                  <a:pt x="298867" y="3367212"/>
                  <a:pt x="302607" y="3360488"/>
                </a:cubicBezTo>
                <a:lnTo>
                  <a:pt x="310553" y="3352164"/>
                </a:lnTo>
                <a:close/>
                <a:moveTo>
                  <a:pt x="646444" y="3283905"/>
                </a:moveTo>
                <a:cubicBezTo>
                  <a:pt x="655638" y="3320680"/>
                  <a:pt x="655638" y="3320680"/>
                  <a:pt x="615800" y="3332939"/>
                </a:cubicBezTo>
                <a:cubicBezTo>
                  <a:pt x="606606" y="3336004"/>
                  <a:pt x="600477" y="3348262"/>
                  <a:pt x="588219" y="3360521"/>
                </a:cubicBezTo>
                <a:cubicBezTo>
                  <a:pt x="615800" y="3360521"/>
                  <a:pt x="631122" y="3360521"/>
                  <a:pt x="649509" y="3360521"/>
                </a:cubicBezTo>
                <a:cubicBezTo>
                  <a:pt x="649509" y="3378909"/>
                  <a:pt x="649509" y="3397296"/>
                  <a:pt x="649509" y="3415684"/>
                </a:cubicBezTo>
                <a:cubicBezTo>
                  <a:pt x="649509" y="3541335"/>
                  <a:pt x="649509" y="3663921"/>
                  <a:pt x="649509" y="3789571"/>
                </a:cubicBezTo>
                <a:cubicBezTo>
                  <a:pt x="649509" y="3814088"/>
                  <a:pt x="652573" y="3841670"/>
                  <a:pt x="612735" y="3829411"/>
                </a:cubicBezTo>
                <a:cubicBezTo>
                  <a:pt x="606606" y="3826347"/>
                  <a:pt x="594348" y="3835541"/>
                  <a:pt x="585155" y="3838605"/>
                </a:cubicBezTo>
                <a:cubicBezTo>
                  <a:pt x="569832" y="3844735"/>
                  <a:pt x="554510" y="3850864"/>
                  <a:pt x="529994" y="3856993"/>
                </a:cubicBezTo>
                <a:cubicBezTo>
                  <a:pt x="539187" y="3835541"/>
                  <a:pt x="545316" y="3826347"/>
                  <a:pt x="548381" y="3817153"/>
                </a:cubicBezTo>
                <a:cubicBezTo>
                  <a:pt x="539187" y="3814088"/>
                  <a:pt x="526930" y="3811024"/>
                  <a:pt x="514672" y="3807959"/>
                </a:cubicBezTo>
                <a:cubicBezTo>
                  <a:pt x="523865" y="3795700"/>
                  <a:pt x="529994" y="3780377"/>
                  <a:pt x="536123" y="3765054"/>
                </a:cubicBezTo>
                <a:cubicBezTo>
                  <a:pt x="523865" y="3768119"/>
                  <a:pt x="508543" y="3768119"/>
                  <a:pt x="496285" y="3768119"/>
                </a:cubicBezTo>
                <a:cubicBezTo>
                  <a:pt x="480962" y="3771183"/>
                  <a:pt x="465640" y="3774248"/>
                  <a:pt x="450318" y="3777313"/>
                </a:cubicBezTo>
                <a:cubicBezTo>
                  <a:pt x="450318" y="3768119"/>
                  <a:pt x="450318" y="3761989"/>
                  <a:pt x="453382" y="3752795"/>
                </a:cubicBezTo>
                <a:cubicBezTo>
                  <a:pt x="398221" y="3774248"/>
                  <a:pt x="343061" y="3798765"/>
                  <a:pt x="290965" y="3820218"/>
                </a:cubicBezTo>
                <a:cubicBezTo>
                  <a:pt x="287900" y="3820218"/>
                  <a:pt x="287900" y="3817153"/>
                  <a:pt x="287900" y="3817153"/>
                </a:cubicBezTo>
                <a:cubicBezTo>
                  <a:pt x="327738" y="3789571"/>
                  <a:pt x="364512" y="3765054"/>
                  <a:pt x="398221" y="3743601"/>
                </a:cubicBezTo>
                <a:cubicBezTo>
                  <a:pt x="389028" y="3728278"/>
                  <a:pt x="379834" y="3716020"/>
                  <a:pt x="373706" y="3703761"/>
                </a:cubicBezTo>
                <a:cubicBezTo>
                  <a:pt x="370641" y="3697632"/>
                  <a:pt x="364512" y="3694567"/>
                  <a:pt x="358383" y="3694567"/>
                </a:cubicBezTo>
                <a:cubicBezTo>
                  <a:pt x="339996" y="3691503"/>
                  <a:pt x="321609" y="3691503"/>
                  <a:pt x="303222" y="3691503"/>
                </a:cubicBezTo>
                <a:cubicBezTo>
                  <a:pt x="303222" y="3719084"/>
                  <a:pt x="281771" y="3734408"/>
                  <a:pt x="244997" y="3725214"/>
                </a:cubicBezTo>
                <a:cubicBezTo>
                  <a:pt x="235804" y="3660856"/>
                  <a:pt x="294029" y="3636339"/>
                  <a:pt x="312416" y="3587305"/>
                </a:cubicBezTo>
                <a:cubicBezTo>
                  <a:pt x="269513" y="3624080"/>
                  <a:pt x="226610" y="3660856"/>
                  <a:pt x="180643" y="3697632"/>
                </a:cubicBezTo>
                <a:cubicBezTo>
                  <a:pt x="177579" y="3694567"/>
                  <a:pt x="174514" y="3691503"/>
                  <a:pt x="171450" y="3688438"/>
                </a:cubicBezTo>
                <a:cubicBezTo>
                  <a:pt x="186772" y="3666985"/>
                  <a:pt x="199030" y="3645533"/>
                  <a:pt x="217417" y="3627145"/>
                </a:cubicBezTo>
                <a:cubicBezTo>
                  <a:pt x="241933" y="3599563"/>
                  <a:pt x="269513" y="3575046"/>
                  <a:pt x="294029" y="3550529"/>
                </a:cubicBezTo>
                <a:cubicBezTo>
                  <a:pt x="297093" y="3547464"/>
                  <a:pt x="306287" y="3541335"/>
                  <a:pt x="309351" y="3544400"/>
                </a:cubicBezTo>
                <a:cubicBezTo>
                  <a:pt x="339996" y="3565852"/>
                  <a:pt x="346125" y="3538270"/>
                  <a:pt x="361448" y="3522947"/>
                </a:cubicBezTo>
                <a:cubicBezTo>
                  <a:pt x="389028" y="3495365"/>
                  <a:pt x="416608" y="3470848"/>
                  <a:pt x="444189" y="3446331"/>
                </a:cubicBezTo>
                <a:cubicBezTo>
                  <a:pt x="441124" y="3440201"/>
                  <a:pt x="438060" y="3431008"/>
                  <a:pt x="434995" y="3424878"/>
                </a:cubicBezTo>
                <a:cubicBezTo>
                  <a:pt x="505478" y="3375844"/>
                  <a:pt x="575961" y="3329874"/>
                  <a:pt x="646444" y="3283905"/>
                </a:cubicBezTo>
                <a:close/>
                <a:moveTo>
                  <a:pt x="266700" y="3231517"/>
                </a:moveTo>
                <a:cubicBezTo>
                  <a:pt x="245004" y="3259443"/>
                  <a:pt x="226407" y="3281163"/>
                  <a:pt x="210910" y="3299780"/>
                </a:cubicBezTo>
                <a:cubicBezTo>
                  <a:pt x="207811" y="3296677"/>
                  <a:pt x="204711" y="3296677"/>
                  <a:pt x="201612" y="3293574"/>
                </a:cubicBezTo>
                <a:cubicBezTo>
                  <a:pt x="220208" y="3274957"/>
                  <a:pt x="217109" y="3237722"/>
                  <a:pt x="266700" y="3231517"/>
                </a:cubicBezTo>
                <a:close/>
                <a:moveTo>
                  <a:pt x="159605" y="1913892"/>
                </a:moveTo>
                <a:cubicBezTo>
                  <a:pt x="165710" y="1916918"/>
                  <a:pt x="171816" y="1919944"/>
                  <a:pt x="180975" y="1925997"/>
                </a:cubicBezTo>
                <a:cubicBezTo>
                  <a:pt x="150446" y="1944154"/>
                  <a:pt x="168763" y="2010730"/>
                  <a:pt x="101600" y="1986520"/>
                </a:cubicBezTo>
                <a:cubicBezTo>
                  <a:pt x="107706" y="1971389"/>
                  <a:pt x="104653" y="1950206"/>
                  <a:pt x="135181" y="1947180"/>
                </a:cubicBezTo>
                <a:cubicBezTo>
                  <a:pt x="144340" y="1947180"/>
                  <a:pt x="150446" y="1925997"/>
                  <a:pt x="159605" y="1913892"/>
                </a:cubicBezTo>
                <a:close/>
                <a:moveTo>
                  <a:pt x="649287" y="1891667"/>
                </a:moveTo>
                <a:cubicBezTo>
                  <a:pt x="649287" y="1916220"/>
                  <a:pt x="649287" y="1925428"/>
                  <a:pt x="649287" y="1937705"/>
                </a:cubicBezTo>
                <a:cubicBezTo>
                  <a:pt x="634206" y="1937705"/>
                  <a:pt x="616108" y="1937705"/>
                  <a:pt x="588962" y="1937705"/>
                </a:cubicBezTo>
                <a:cubicBezTo>
                  <a:pt x="613092" y="1919290"/>
                  <a:pt x="625157" y="1910082"/>
                  <a:pt x="649287" y="1891667"/>
                </a:cubicBezTo>
                <a:close/>
                <a:moveTo>
                  <a:pt x="560567" y="1459867"/>
                </a:moveTo>
                <a:lnTo>
                  <a:pt x="560897" y="1459961"/>
                </a:lnTo>
                <a:lnTo>
                  <a:pt x="560959" y="1459867"/>
                </a:lnTo>
                <a:lnTo>
                  <a:pt x="582263" y="1465948"/>
                </a:lnTo>
                <a:lnTo>
                  <a:pt x="621831" y="1459867"/>
                </a:lnTo>
                <a:cubicBezTo>
                  <a:pt x="624894" y="1472108"/>
                  <a:pt x="618768" y="1496591"/>
                  <a:pt x="649400" y="1490470"/>
                </a:cubicBezTo>
                <a:cubicBezTo>
                  <a:pt x="649400" y="1603701"/>
                  <a:pt x="649400" y="1716932"/>
                  <a:pt x="652463" y="1827103"/>
                </a:cubicBezTo>
                <a:cubicBezTo>
                  <a:pt x="652463" y="1857706"/>
                  <a:pt x="646336" y="1879128"/>
                  <a:pt x="621831" y="1894430"/>
                </a:cubicBezTo>
                <a:cubicBezTo>
                  <a:pt x="600388" y="1909732"/>
                  <a:pt x="582009" y="1925033"/>
                  <a:pt x="560567" y="1940335"/>
                </a:cubicBezTo>
                <a:cubicBezTo>
                  <a:pt x="563630" y="1943395"/>
                  <a:pt x="566693" y="1949515"/>
                  <a:pt x="569756" y="1952576"/>
                </a:cubicBezTo>
                <a:cubicBezTo>
                  <a:pt x="585072" y="1955636"/>
                  <a:pt x="597325" y="1958696"/>
                  <a:pt x="609578" y="1961757"/>
                </a:cubicBezTo>
                <a:cubicBezTo>
                  <a:pt x="609578" y="1964817"/>
                  <a:pt x="609578" y="1964817"/>
                  <a:pt x="609578" y="1967877"/>
                </a:cubicBezTo>
                <a:cubicBezTo>
                  <a:pt x="600388" y="1970938"/>
                  <a:pt x="591199" y="1970938"/>
                  <a:pt x="582009" y="1973998"/>
                </a:cubicBezTo>
                <a:cubicBezTo>
                  <a:pt x="585072" y="1977058"/>
                  <a:pt x="585072" y="1977058"/>
                  <a:pt x="588135" y="1980119"/>
                </a:cubicBezTo>
                <a:cubicBezTo>
                  <a:pt x="582009" y="2001541"/>
                  <a:pt x="575883" y="2022963"/>
                  <a:pt x="563630" y="2041325"/>
                </a:cubicBezTo>
                <a:cubicBezTo>
                  <a:pt x="545251" y="2071928"/>
                  <a:pt x="520745" y="2099470"/>
                  <a:pt x="496239" y="2130073"/>
                </a:cubicBezTo>
                <a:cubicBezTo>
                  <a:pt x="493176" y="2133134"/>
                  <a:pt x="487050" y="2136194"/>
                  <a:pt x="480923" y="2139254"/>
                </a:cubicBezTo>
                <a:cubicBezTo>
                  <a:pt x="474797" y="2145375"/>
                  <a:pt x="465607" y="2151495"/>
                  <a:pt x="456418" y="2154556"/>
                </a:cubicBezTo>
                <a:cubicBezTo>
                  <a:pt x="462544" y="2163737"/>
                  <a:pt x="465607" y="2172918"/>
                  <a:pt x="477860" y="2188219"/>
                </a:cubicBezTo>
                <a:cubicBezTo>
                  <a:pt x="536061" y="2117832"/>
                  <a:pt x="591199" y="2056626"/>
                  <a:pt x="649400" y="1992360"/>
                </a:cubicBezTo>
                <a:cubicBezTo>
                  <a:pt x="649400" y="2007661"/>
                  <a:pt x="649400" y="2013782"/>
                  <a:pt x="649400" y="2022963"/>
                </a:cubicBezTo>
                <a:cubicBezTo>
                  <a:pt x="649400" y="2393259"/>
                  <a:pt x="649400" y="2766617"/>
                  <a:pt x="649400" y="3136913"/>
                </a:cubicBezTo>
                <a:cubicBezTo>
                  <a:pt x="649400" y="3191999"/>
                  <a:pt x="627957" y="3204240"/>
                  <a:pt x="575883" y="3210361"/>
                </a:cubicBezTo>
                <a:cubicBezTo>
                  <a:pt x="551377" y="3213421"/>
                  <a:pt x="529935" y="3240964"/>
                  <a:pt x="511555" y="3253205"/>
                </a:cubicBezTo>
                <a:cubicBezTo>
                  <a:pt x="496239" y="3256265"/>
                  <a:pt x="483986" y="3262386"/>
                  <a:pt x="468670" y="3265446"/>
                </a:cubicBezTo>
                <a:cubicBezTo>
                  <a:pt x="477860" y="3240964"/>
                  <a:pt x="490113" y="3219541"/>
                  <a:pt x="502366" y="3195059"/>
                </a:cubicBezTo>
                <a:cubicBezTo>
                  <a:pt x="480923" y="3204240"/>
                  <a:pt x="456418" y="3207300"/>
                  <a:pt x="450291" y="3237903"/>
                </a:cubicBezTo>
                <a:cubicBezTo>
                  <a:pt x="450291" y="3253205"/>
                  <a:pt x="428849" y="3268506"/>
                  <a:pt x="416596" y="3277687"/>
                </a:cubicBezTo>
                <a:cubicBezTo>
                  <a:pt x="395153" y="3296049"/>
                  <a:pt x="373711" y="3308290"/>
                  <a:pt x="349205" y="3323592"/>
                </a:cubicBezTo>
                <a:cubicBezTo>
                  <a:pt x="349205" y="3320532"/>
                  <a:pt x="346142" y="3317471"/>
                  <a:pt x="343079" y="3314411"/>
                </a:cubicBezTo>
                <a:cubicBezTo>
                  <a:pt x="349205" y="3311351"/>
                  <a:pt x="352269" y="3305230"/>
                  <a:pt x="361458" y="3299109"/>
                </a:cubicBezTo>
                <a:cubicBezTo>
                  <a:pt x="349205" y="3296049"/>
                  <a:pt x="340016" y="3292989"/>
                  <a:pt x="330826" y="3289928"/>
                </a:cubicBezTo>
                <a:cubicBezTo>
                  <a:pt x="346142" y="3268506"/>
                  <a:pt x="361458" y="3237903"/>
                  <a:pt x="398217" y="3250145"/>
                </a:cubicBezTo>
                <a:cubicBezTo>
                  <a:pt x="404343" y="3253205"/>
                  <a:pt x="413533" y="3234843"/>
                  <a:pt x="416596" y="3222602"/>
                </a:cubicBezTo>
                <a:cubicBezTo>
                  <a:pt x="407406" y="3222602"/>
                  <a:pt x="398217" y="3225662"/>
                  <a:pt x="379837" y="3228722"/>
                </a:cubicBezTo>
                <a:cubicBezTo>
                  <a:pt x="407406" y="3173637"/>
                  <a:pt x="431912" y="3127732"/>
                  <a:pt x="456418" y="3075707"/>
                </a:cubicBezTo>
                <a:cubicBezTo>
                  <a:pt x="456418" y="3075707"/>
                  <a:pt x="453354" y="3066526"/>
                  <a:pt x="444165" y="3051225"/>
                </a:cubicBezTo>
                <a:cubicBezTo>
                  <a:pt x="428849" y="3072647"/>
                  <a:pt x="413533" y="3091009"/>
                  <a:pt x="398217" y="3109371"/>
                </a:cubicBezTo>
                <a:cubicBezTo>
                  <a:pt x="385964" y="3100190"/>
                  <a:pt x="373711" y="3091009"/>
                  <a:pt x="355332" y="3078768"/>
                </a:cubicBezTo>
                <a:cubicBezTo>
                  <a:pt x="361458" y="3063466"/>
                  <a:pt x="364521" y="3038984"/>
                  <a:pt x="373711" y="3008381"/>
                </a:cubicBezTo>
                <a:cubicBezTo>
                  <a:pt x="336952" y="3035923"/>
                  <a:pt x="309384" y="3057345"/>
                  <a:pt x="281815" y="3078768"/>
                </a:cubicBezTo>
                <a:cubicBezTo>
                  <a:pt x="278752" y="3078768"/>
                  <a:pt x="278752" y="3075707"/>
                  <a:pt x="275688" y="3072647"/>
                </a:cubicBezTo>
                <a:cubicBezTo>
                  <a:pt x="287941" y="3060406"/>
                  <a:pt x="297131" y="3048164"/>
                  <a:pt x="312447" y="3032863"/>
                </a:cubicBezTo>
                <a:cubicBezTo>
                  <a:pt x="303257" y="3020622"/>
                  <a:pt x="294068" y="3005320"/>
                  <a:pt x="284878" y="2990019"/>
                </a:cubicBezTo>
                <a:cubicBezTo>
                  <a:pt x="287941" y="2983898"/>
                  <a:pt x="291004" y="2974717"/>
                  <a:pt x="300194" y="2956355"/>
                </a:cubicBezTo>
                <a:cubicBezTo>
                  <a:pt x="272625" y="2965536"/>
                  <a:pt x="251183" y="2968597"/>
                  <a:pt x="232803" y="2974717"/>
                </a:cubicBezTo>
                <a:cubicBezTo>
                  <a:pt x="229740" y="2974717"/>
                  <a:pt x="229740" y="2971657"/>
                  <a:pt x="226677" y="2968597"/>
                </a:cubicBezTo>
                <a:cubicBezTo>
                  <a:pt x="235867" y="2965536"/>
                  <a:pt x="241993" y="2959416"/>
                  <a:pt x="257309" y="2950235"/>
                </a:cubicBezTo>
                <a:cubicBezTo>
                  <a:pt x="214424" y="2944114"/>
                  <a:pt x="183792" y="2937994"/>
                  <a:pt x="143970" y="2931873"/>
                </a:cubicBezTo>
                <a:cubicBezTo>
                  <a:pt x="140907" y="2928813"/>
                  <a:pt x="134781" y="2913511"/>
                  <a:pt x="128654" y="2898210"/>
                </a:cubicBezTo>
                <a:cubicBezTo>
                  <a:pt x="116402" y="2867607"/>
                  <a:pt x="125591" y="2827823"/>
                  <a:pt x="150097" y="2809461"/>
                </a:cubicBezTo>
                <a:cubicBezTo>
                  <a:pt x="177666" y="2781918"/>
                  <a:pt x="192982" y="2751315"/>
                  <a:pt x="189919" y="2711531"/>
                </a:cubicBezTo>
                <a:cubicBezTo>
                  <a:pt x="189919" y="2690109"/>
                  <a:pt x="196045" y="2668687"/>
                  <a:pt x="205235" y="2653385"/>
                </a:cubicBezTo>
                <a:cubicBezTo>
                  <a:pt x="226677" y="2616662"/>
                  <a:pt x="248119" y="2582998"/>
                  <a:pt x="272625" y="2546275"/>
                </a:cubicBezTo>
                <a:cubicBezTo>
                  <a:pt x="257309" y="2543214"/>
                  <a:pt x="238930" y="2546275"/>
                  <a:pt x="254246" y="2521792"/>
                </a:cubicBezTo>
                <a:cubicBezTo>
                  <a:pt x="266499" y="2503430"/>
                  <a:pt x="272625" y="2482008"/>
                  <a:pt x="278752" y="2460586"/>
                </a:cubicBezTo>
                <a:cubicBezTo>
                  <a:pt x="281815" y="2457526"/>
                  <a:pt x="278752" y="2451405"/>
                  <a:pt x="275688" y="2445285"/>
                </a:cubicBezTo>
                <a:cubicBezTo>
                  <a:pt x="257309" y="2460586"/>
                  <a:pt x="238930" y="2475888"/>
                  <a:pt x="217487" y="2491189"/>
                </a:cubicBezTo>
                <a:cubicBezTo>
                  <a:pt x="217487" y="2485069"/>
                  <a:pt x="217487" y="2478948"/>
                  <a:pt x="214424" y="2463646"/>
                </a:cubicBezTo>
                <a:cubicBezTo>
                  <a:pt x="183792" y="2497310"/>
                  <a:pt x="156223" y="2527913"/>
                  <a:pt x="122528" y="2561576"/>
                </a:cubicBezTo>
                <a:cubicBezTo>
                  <a:pt x="125591" y="2537094"/>
                  <a:pt x="143970" y="2512611"/>
                  <a:pt x="101086" y="2515672"/>
                </a:cubicBezTo>
                <a:cubicBezTo>
                  <a:pt x="110275" y="2503430"/>
                  <a:pt x="113338" y="2494250"/>
                  <a:pt x="125591" y="2475888"/>
                </a:cubicBezTo>
                <a:cubicBezTo>
                  <a:pt x="107212" y="2478948"/>
                  <a:pt x="91896" y="2478948"/>
                  <a:pt x="85770" y="2485069"/>
                </a:cubicBezTo>
                <a:cubicBezTo>
                  <a:pt x="61264" y="2509551"/>
                  <a:pt x="39821" y="2534033"/>
                  <a:pt x="15316" y="2561576"/>
                </a:cubicBezTo>
                <a:cubicBezTo>
                  <a:pt x="12253" y="2558516"/>
                  <a:pt x="6126" y="2555456"/>
                  <a:pt x="3063" y="2552395"/>
                </a:cubicBezTo>
                <a:cubicBezTo>
                  <a:pt x="9189" y="2543214"/>
                  <a:pt x="15316" y="2534033"/>
                  <a:pt x="21442" y="2521792"/>
                </a:cubicBezTo>
                <a:cubicBezTo>
                  <a:pt x="24505" y="2518732"/>
                  <a:pt x="30632" y="2512611"/>
                  <a:pt x="30632" y="2512611"/>
                </a:cubicBezTo>
                <a:cubicBezTo>
                  <a:pt x="27569" y="2503430"/>
                  <a:pt x="21442" y="2494250"/>
                  <a:pt x="15316" y="2482008"/>
                </a:cubicBezTo>
                <a:cubicBezTo>
                  <a:pt x="12253" y="2485069"/>
                  <a:pt x="6126" y="2485069"/>
                  <a:pt x="0" y="2488129"/>
                </a:cubicBezTo>
                <a:cubicBezTo>
                  <a:pt x="70454" y="2371837"/>
                  <a:pt x="140907" y="2255546"/>
                  <a:pt x="214424" y="2136194"/>
                </a:cubicBezTo>
                <a:cubicBezTo>
                  <a:pt x="205235" y="2139254"/>
                  <a:pt x="199108" y="2142315"/>
                  <a:pt x="189919" y="2145375"/>
                </a:cubicBezTo>
                <a:cubicBezTo>
                  <a:pt x="192982" y="2133134"/>
                  <a:pt x="199108" y="2123953"/>
                  <a:pt x="205235" y="2105591"/>
                </a:cubicBezTo>
                <a:cubicBezTo>
                  <a:pt x="168476" y="2130073"/>
                  <a:pt x="137844" y="2148435"/>
                  <a:pt x="113338" y="2163737"/>
                </a:cubicBezTo>
                <a:cubicBezTo>
                  <a:pt x="107212" y="2151495"/>
                  <a:pt x="98022" y="2136194"/>
                  <a:pt x="88833" y="2123953"/>
                </a:cubicBezTo>
                <a:cubicBezTo>
                  <a:pt x="85770" y="2123953"/>
                  <a:pt x="85770" y="2127013"/>
                  <a:pt x="82706" y="2127013"/>
                </a:cubicBezTo>
                <a:cubicBezTo>
                  <a:pt x="85770" y="2102531"/>
                  <a:pt x="88833" y="2078048"/>
                  <a:pt x="94959" y="2053566"/>
                </a:cubicBezTo>
                <a:cubicBezTo>
                  <a:pt x="98022" y="2044385"/>
                  <a:pt x="107212" y="2035204"/>
                  <a:pt x="116402" y="2026023"/>
                </a:cubicBezTo>
                <a:cubicBezTo>
                  <a:pt x="137844" y="2004601"/>
                  <a:pt x="165413" y="1983179"/>
                  <a:pt x="186855" y="1958696"/>
                </a:cubicBezTo>
                <a:cubicBezTo>
                  <a:pt x="205235" y="1937274"/>
                  <a:pt x="214424" y="1912792"/>
                  <a:pt x="226677" y="1888309"/>
                </a:cubicBezTo>
                <a:cubicBezTo>
                  <a:pt x="238930" y="1863827"/>
                  <a:pt x="251183" y="1836284"/>
                  <a:pt x="266499" y="1799561"/>
                </a:cubicBezTo>
                <a:cubicBezTo>
                  <a:pt x="241993" y="1820983"/>
                  <a:pt x="226677" y="1836284"/>
                  <a:pt x="208298" y="1851586"/>
                </a:cubicBezTo>
                <a:cubicBezTo>
                  <a:pt x="205235" y="1851586"/>
                  <a:pt x="202171" y="1848525"/>
                  <a:pt x="202171" y="1845465"/>
                </a:cubicBezTo>
                <a:cubicBezTo>
                  <a:pt x="220551" y="1802621"/>
                  <a:pt x="241993" y="1756716"/>
                  <a:pt x="263436" y="1710812"/>
                </a:cubicBezTo>
                <a:cubicBezTo>
                  <a:pt x="266499" y="1713872"/>
                  <a:pt x="269562" y="1713872"/>
                  <a:pt x="269562" y="1713872"/>
                </a:cubicBezTo>
                <a:cubicBezTo>
                  <a:pt x="266499" y="1726113"/>
                  <a:pt x="260372" y="1738355"/>
                  <a:pt x="254246" y="1750596"/>
                </a:cubicBezTo>
                <a:cubicBezTo>
                  <a:pt x="260372" y="1753656"/>
                  <a:pt x="266499" y="1756716"/>
                  <a:pt x="269562" y="1759777"/>
                </a:cubicBezTo>
                <a:cubicBezTo>
                  <a:pt x="287941" y="1744475"/>
                  <a:pt x="303257" y="1732234"/>
                  <a:pt x="324700" y="1716932"/>
                </a:cubicBezTo>
                <a:cubicBezTo>
                  <a:pt x="318573" y="1732234"/>
                  <a:pt x="315510" y="1741415"/>
                  <a:pt x="309384" y="1753656"/>
                </a:cubicBezTo>
                <a:cubicBezTo>
                  <a:pt x="312447" y="1756716"/>
                  <a:pt x="315510" y="1756716"/>
                  <a:pt x="318573" y="1759777"/>
                </a:cubicBezTo>
                <a:cubicBezTo>
                  <a:pt x="346142" y="1716932"/>
                  <a:pt x="376774" y="1671028"/>
                  <a:pt x="404343" y="1628184"/>
                </a:cubicBezTo>
                <a:cubicBezTo>
                  <a:pt x="416596" y="1603701"/>
                  <a:pt x="422722" y="1579219"/>
                  <a:pt x="434975" y="1554736"/>
                </a:cubicBezTo>
                <a:cubicBezTo>
                  <a:pt x="434975" y="1551676"/>
                  <a:pt x="444165" y="1551676"/>
                  <a:pt x="447228" y="1548616"/>
                </a:cubicBezTo>
                <a:cubicBezTo>
                  <a:pt x="462544" y="1539435"/>
                  <a:pt x="477860" y="1533314"/>
                  <a:pt x="490113" y="1521073"/>
                </a:cubicBezTo>
                <a:cubicBezTo>
                  <a:pt x="514618" y="1502711"/>
                  <a:pt x="536061" y="1481289"/>
                  <a:pt x="560567" y="1459867"/>
                </a:cubicBezTo>
                <a:close/>
                <a:moveTo>
                  <a:pt x="852488" y="1343980"/>
                </a:moveTo>
                <a:cubicBezTo>
                  <a:pt x="840064" y="1371312"/>
                  <a:pt x="830746" y="1392571"/>
                  <a:pt x="821428" y="1413830"/>
                </a:cubicBezTo>
                <a:lnTo>
                  <a:pt x="821002" y="1413795"/>
                </a:lnTo>
                <a:lnTo>
                  <a:pt x="820720" y="1414450"/>
                </a:lnTo>
                <a:cubicBezTo>
                  <a:pt x="808461" y="1414450"/>
                  <a:pt x="796201" y="1411390"/>
                  <a:pt x="783941" y="1411390"/>
                </a:cubicBezTo>
                <a:cubicBezTo>
                  <a:pt x="783941" y="1408330"/>
                  <a:pt x="780876" y="1405270"/>
                  <a:pt x="780876" y="1402211"/>
                </a:cubicBezTo>
                <a:lnTo>
                  <a:pt x="781151" y="1401978"/>
                </a:lnTo>
                <a:lnTo>
                  <a:pt x="781050" y="1401682"/>
                </a:lnTo>
                <a:lnTo>
                  <a:pt x="802938" y="1383516"/>
                </a:lnTo>
                <a:lnTo>
                  <a:pt x="813824" y="1374290"/>
                </a:lnTo>
                <a:cubicBezTo>
                  <a:pt x="825318" y="1364729"/>
                  <a:pt x="837578" y="1354785"/>
                  <a:pt x="851370" y="1344075"/>
                </a:cubicBezTo>
                <a:lnTo>
                  <a:pt x="850841" y="1345278"/>
                </a:lnTo>
                <a:close/>
                <a:moveTo>
                  <a:pt x="800244" y="1301117"/>
                </a:moveTo>
                <a:cubicBezTo>
                  <a:pt x="803347" y="1304199"/>
                  <a:pt x="803347" y="1307280"/>
                  <a:pt x="806450" y="1313443"/>
                </a:cubicBezTo>
                <a:cubicBezTo>
                  <a:pt x="794038" y="1325770"/>
                  <a:pt x="778524" y="1338097"/>
                  <a:pt x="763010" y="1350423"/>
                </a:cubicBezTo>
                <a:cubicBezTo>
                  <a:pt x="756804" y="1353505"/>
                  <a:pt x="747495" y="1353505"/>
                  <a:pt x="738187" y="1353505"/>
                </a:cubicBezTo>
                <a:cubicBezTo>
                  <a:pt x="741290" y="1344260"/>
                  <a:pt x="738187" y="1331933"/>
                  <a:pt x="741290" y="1328852"/>
                </a:cubicBezTo>
                <a:cubicBezTo>
                  <a:pt x="759907" y="1319607"/>
                  <a:pt x="781627" y="1310362"/>
                  <a:pt x="800244" y="1301117"/>
                </a:cubicBezTo>
                <a:close/>
                <a:moveTo>
                  <a:pt x="1116239" y="1218567"/>
                </a:moveTo>
                <a:cubicBezTo>
                  <a:pt x="1119301" y="1221591"/>
                  <a:pt x="1122363" y="1221591"/>
                  <a:pt x="1122363" y="1221591"/>
                </a:cubicBezTo>
                <a:cubicBezTo>
                  <a:pt x="1119301" y="1239734"/>
                  <a:pt x="1113178" y="1257876"/>
                  <a:pt x="1107055" y="1282067"/>
                </a:cubicBezTo>
                <a:lnTo>
                  <a:pt x="1106013" y="1281942"/>
                </a:lnTo>
                <a:lnTo>
                  <a:pt x="1105761" y="1282880"/>
                </a:lnTo>
                <a:cubicBezTo>
                  <a:pt x="1099631" y="1282880"/>
                  <a:pt x="1087372" y="1279820"/>
                  <a:pt x="1078177" y="1279820"/>
                </a:cubicBezTo>
                <a:cubicBezTo>
                  <a:pt x="1090437" y="1261462"/>
                  <a:pt x="1102696" y="1240043"/>
                  <a:pt x="1114956" y="1218625"/>
                </a:cubicBezTo>
                <a:lnTo>
                  <a:pt x="1115914" y="1219103"/>
                </a:lnTo>
                <a:close/>
                <a:moveTo>
                  <a:pt x="1162226" y="1142367"/>
                </a:moveTo>
                <a:cubicBezTo>
                  <a:pt x="1165342" y="1145398"/>
                  <a:pt x="1168459" y="1148428"/>
                  <a:pt x="1171575" y="1151459"/>
                </a:cubicBezTo>
                <a:cubicBezTo>
                  <a:pt x="1146645" y="1172674"/>
                  <a:pt x="1121715" y="1190858"/>
                  <a:pt x="1096785" y="1209042"/>
                </a:cubicBezTo>
                <a:cubicBezTo>
                  <a:pt x="1093669" y="1206011"/>
                  <a:pt x="1090553" y="1202981"/>
                  <a:pt x="1087437" y="1199950"/>
                </a:cubicBezTo>
                <a:cubicBezTo>
                  <a:pt x="1112367" y="1181766"/>
                  <a:pt x="1137296" y="1160551"/>
                  <a:pt x="1162226" y="1142367"/>
                </a:cubicBezTo>
                <a:close/>
                <a:moveTo>
                  <a:pt x="1516465" y="949384"/>
                </a:moveTo>
                <a:lnTo>
                  <a:pt x="1513621" y="952224"/>
                </a:lnTo>
                <a:lnTo>
                  <a:pt x="1516465" y="952442"/>
                </a:lnTo>
                <a:close/>
                <a:moveTo>
                  <a:pt x="3659541" y="820114"/>
                </a:moveTo>
                <a:cubicBezTo>
                  <a:pt x="3662628" y="830130"/>
                  <a:pt x="3663207" y="838026"/>
                  <a:pt x="3661904" y="844334"/>
                </a:cubicBezTo>
                <a:lnTo>
                  <a:pt x="3661904" y="844335"/>
                </a:lnTo>
                <a:lnTo>
                  <a:pt x="3661904" y="844342"/>
                </a:lnTo>
                <a:cubicBezTo>
                  <a:pt x="3657997" y="863265"/>
                  <a:pt x="3637161" y="867888"/>
                  <a:pt x="3616325" y="872510"/>
                </a:cubicBezTo>
                <a:lnTo>
                  <a:pt x="3616343" y="872495"/>
                </a:lnTo>
                <a:lnTo>
                  <a:pt x="3616325" y="872502"/>
                </a:lnTo>
                <a:lnTo>
                  <a:pt x="3647183" y="847857"/>
                </a:lnTo>
                <a:lnTo>
                  <a:pt x="3632531" y="847857"/>
                </a:lnTo>
                <a:cubicBezTo>
                  <a:pt x="3628672" y="847857"/>
                  <a:pt x="3625586" y="847857"/>
                  <a:pt x="3622499" y="847857"/>
                </a:cubicBezTo>
                <a:cubicBezTo>
                  <a:pt x="3619412" y="844775"/>
                  <a:pt x="3619412" y="844775"/>
                  <a:pt x="3619412" y="841694"/>
                </a:cubicBezTo>
                <a:lnTo>
                  <a:pt x="3619415" y="841692"/>
                </a:lnTo>
                <a:lnTo>
                  <a:pt x="3619412" y="841686"/>
                </a:lnTo>
                <a:cubicBezTo>
                  <a:pt x="3631759" y="835522"/>
                  <a:pt x="3647193" y="826277"/>
                  <a:pt x="3659541" y="820114"/>
                </a:cubicBezTo>
                <a:close/>
                <a:moveTo>
                  <a:pt x="1817687" y="641181"/>
                </a:moveTo>
                <a:lnTo>
                  <a:pt x="1817687" y="641940"/>
                </a:lnTo>
                <a:lnTo>
                  <a:pt x="1817969" y="641455"/>
                </a:lnTo>
                <a:close/>
                <a:moveTo>
                  <a:pt x="1816831" y="640351"/>
                </a:moveTo>
                <a:lnTo>
                  <a:pt x="1816831" y="642803"/>
                </a:lnTo>
                <a:lnTo>
                  <a:pt x="1817553" y="641051"/>
                </a:lnTo>
                <a:close/>
                <a:moveTo>
                  <a:pt x="3962141" y="316182"/>
                </a:moveTo>
                <a:lnTo>
                  <a:pt x="3977652" y="317369"/>
                </a:lnTo>
                <a:lnTo>
                  <a:pt x="3977744" y="317366"/>
                </a:lnTo>
                <a:cubicBezTo>
                  <a:pt x="3986235" y="319744"/>
                  <a:pt x="3997111" y="324403"/>
                  <a:pt x="4011612" y="330615"/>
                </a:cubicBezTo>
                <a:lnTo>
                  <a:pt x="4011603" y="330621"/>
                </a:lnTo>
                <a:lnTo>
                  <a:pt x="4011612" y="330625"/>
                </a:lnTo>
                <a:cubicBezTo>
                  <a:pt x="3984136" y="346155"/>
                  <a:pt x="3959713" y="361684"/>
                  <a:pt x="3932237" y="377214"/>
                </a:cubicBezTo>
                <a:lnTo>
                  <a:pt x="3932240" y="377203"/>
                </a:lnTo>
                <a:lnTo>
                  <a:pt x="3932237" y="377205"/>
                </a:lnTo>
                <a:lnTo>
                  <a:pt x="3932286" y="377053"/>
                </a:lnTo>
                <a:lnTo>
                  <a:pt x="3940205" y="351185"/>
                </a:lnTo>
                <a:lnTo>
                  <a:pt x="3944065" y="340713"/>
                </a:lnTo>
                <a:lnTo>
                  <a:pt x="3945498" y="336294"/>
                </a:lnTo>
                <a:lnTo>
                  <a:pt x="3945923" y="335674"/>
                </a:lnTo>
                <a:lnTo>
                  <a:pt x="3946962" y="332855"/>
                </a:lnTo>
                <a:lnTo>
                  <a:pt x="3950599" y="328860"/>
                </a:lnTo>
                <a:lnTo>
                  <a:pt x="3958186" y="317803"/>
                </a:lnTo>
                <a:lnTo>
                  <a:pt x="3960716" y="317746"/>
                </a:lnTo>
                <a:close/>
                <a:moveTo>
                  <a:pt x="3079506" y="260506"/>
                </a:moveTo>
                <a:lnTo>
                  <a:pt x="3079506" y="260507"/>
                </a:lnTo>
                <a:lnTo>
                  <a:pt x="3079551" y="260732"/>
                </a:lnTo>
                <a:close/>
                <a:moveTo>
                  <a:pt x="3113088" y="242266"/>
                </a:moveTo>
                <a:lnTo>
                  <a:pt x="3112979" y="242768"/>
                </a:lnTo>
                <a:lnTo>
                  <a:pt x="3113307" y="242583"/>
                </a:lnTo>
                <a:cubicBezTo>
                  <a:pt x="3107177" y="264002"/>
                  <a:pt x="3107177" y="279300"/>
                  <a:pt x="3101047" y="291539"/>
                </a:cubicBezTo>
                <a:lnTo>
                  <a:pt x="3100887" y="291533"/>
                </a:lnTo>
                <a:lnTo>
                  <a:pt x="3100876" y="291572"/>
                </a:lnTo>
                <a:cubicBezTo>
                  <a:pt x="3100876" y="294654"/>
                  <a:pt x="3082559" y="288491"/>
                  <a:pt x="3073400" y="288491"/>
                </a:cubicBezTo>
                <a:lnTo>
                  <a:pt x="3079224" y="259097"/>
                </a:lnTo>
                <a:lnTo>
                  <a:pt x="3079215" y="259052"/>
                </a:lnTo>
                <a:lnTo>
                  <a:pt x="3079037" y="258168"/>
                </a:lnTo>
                <a:lnTo>
                  <a:pt x="3079038" y="258167"/>
                </a:lnTo>
                <a:lnTo>
                  <a:pt x="3079037" y="258167"/>
                </a:lnTo>
                <a:lnTo>
                  <a:pt x="3079451" y="257953"/>
                </a:lnTo>
                <a:lnTo>
                  <a:pt x="3079506" y="257674"/>
                </a:lnTo>
                <a:lnTo>
                  <a:pt x="3079506" y="257925"/>
                </a:lnTo>
                <a:lnTo>
                  <a:pt x="3079593" y="257881"/>
                </a:lnTo>
                <a:lnTo>
                  <a:pt x="3079593" y="257882"/>
                </a:lnTo>
                <a:lnTo>
                  <a:pt x="3079593" y="260710"/>
                </a:lnTo>
                <a:lnTo>
                  <a:pt x="3092862" y="253822"/>
                </a:lnTo>
                <a:cubicBezTo>
                  <a:pt x="3097823" y="250740"/>
                  <a:pt x="3103929" y="246889"/>
                  <a:pt x="3113088" y="242266"/>
                </a:cubicBezTo>
                <a:close/>
                <a:moveTo>
                  <a:pt x="2861981" y="858"/>
                </a:moveTo>
                <a:cubicBezTo>
                  <a:pt x="2886501" y="-2203"/>
                  <a:pt x="2907955" y="3917"/>
                  <a:pt x="2932475" y="3917"/>
                </a:cubicBezTo>
                <a:cubicBezTo>
                  <a:pt x="2956995" y="3917"/>
                  <a:pt x="2975384" y="6977"/>
                  <a:pt x="2987644" y="28395"/>
                </a:cubicBezTo>
                <a:cubicBezTo>
                  <a:pt x="2993774" y="37579"/>
                  <a:pt x="3009099" y="40638"/>
                  <a:pt x="3027488" y="49818"/>
                </a:cubicBezTo>
                <a:lnTo>
                  <a:pt x="3027487" y="49818"/>
                </a:lnTo>
                <a:lnTo>
                  <a:pt x="3027488" y="49819"/>
                </a:lnTo>
                <a:cubicBezTo>
                  <a:pt x="3015229" y="58998"/>
                  <a:pt x="3006034" y="65118"/>
                  <a:pt x="2996839" y="74297"/>
                </a:cubicBezTo>
                <a:cubicBezTo>
                  <a:pt x="2990709" y="80415"/>
                  <a:pt x="2990709" y="92655"/>
                  <a:pt x="2990709" y="101834"/>
                </a:cubicBezTo>
                <a:lnTo>
                  <a:pt x="2989943" y="111394"/>
                </a:lnTo>
                <a:lnTo>
                  <a:pt x="2993774" y="123252"/>
                </a:lnTo>
                <a:cubicBezTo>
                  <a:pt x="3012163" y="126311"/>
                  <a:pt x="3033618" y="129370"/>
                  <a:pt x="3061203" y="132430"/>
                </a:cubicBezTo>
                <a:cubicBezTo>
                  <a:pt x="3061203" y="156908"/>
                  <a:pt x="3061203" y="184446"/>
                  <a:pt x="3064268" y="211985"/>
                </a:cubicBezTo>
                <a:cubicBezTo>
                  <a:pt x="3064268" y="218103"/>
                  <a:pt x="3073463" y="224223"/>
                  <a:pt x="3073463" y="230343"/>
                </a:cubicBezTo>
                <a:lnTo>
                  <a:pt x="3079037" y="258167"/>
                </a:lnTo>
                <a:lnTo>
                  <a:pt x="3079037" y="258168"/>
                </a:lnTo>
                <a:lnTo>
                  <a:pt x="2978449" y="309898"/>
                </a:lnTo>
                <a:lnTo>
                  <a:pt x="2978450" y="309896"/>
                </a:lnTo>
                <a:lnTo>
                  <a:pt x="2978449" y="309896"/>
                </a:lnTo>
                <a:lnTo>
                  <a:pt x="2984579" y="288479"/>
                </a:lnTo>
                <a:lnTo>
                  <a:pt x="2957474" y="286472"/>
                </a:lnTo>
                <a:cubicBezTo>
                  <a:pt x="2943490" y="291635"/>
                  <a:pt x="2936019" y="307125"/>
                  <a:pt x="2925100" y="316879"/>
                </a:cubicBezTo>
                <a:lnTo>
                  <a:pt x="2904891" y="325196"/>
                </a:lnTo>
                <a:lnTo>
                  <a:pt x="2911020" y="334375"/>
                </a:lnTo>
                <a:cubicBezTo>
                  <a:pt x="2929410" y="331314"/>
                  <a:pt x="2947799" y="325195"/>
                  <a:pt x="2975384" y="316016"/>
                </a:cubicBezTo>
                <a:lnTo>
                  <a:pt x="2975382" y="316018"/>
                </a:lnTo>
                <a:lnTo>
                  <a:pt x="2975384" y="316018"/>
                </a:lnTo>
                <a:cubicBezTo>
                  <a:pt x="2953929" y="340495"/>
                  <a:pt x="2938605" y="358854"/>
                  <a:pt x="2920215" y="374153"/>
                </a:cubicBezTo>
                <a:lnTo>
                  <a:pt x="2920215" y="374151"/>
                </a:lnTo>
                <a:lnTo>
                  <a:pt x="2920215" y="368033"/>
                </a:lnTo>
                <a:lnTo>
                  <a:pt x="2843592" y="392511"/>
                </a:lnTo>
                <a:lnTo>
                  <a:pt x="2848572" y="410437"/>
                </a:lnTo>
                <a:cubicBezTo>
                  <a:pt x="2854318" y="423489"/>
                  <a:pt x="2863513" y="422342"/>
                  <a:pt x="2886501" y="410868"/>
                </a:cubicBezTo>
                <a:lnTo>
                  <a:pt x="2886499" y="410871"/>
                </a:lnTo>
                <a:lnTo>
                  <a:pt x="2886501" y="410870"/>
                </a:lnTo>
                <a:cubicBezTo>
                  <a:pt x="2880371" y="420049"/>
                  <a:pt x="2871176" y="429228"/>
                  <a:pt x="2865046" y="438407"/>
                </a:cubicBezTo>
                <a:cubicBezTo>
                  <a:pt x="2861981" y="441467"/>
                  <a:pt x="2860448" y="445292"/>
                  <a:pt x="2859299" y="449117"/>
                </a:cubicBezTo>
                <a:lnTo>
                  <a:pt x="2855852" y="459824"/>
                </a:lnTo>
                <a:lnTo>
                  <a:pt x="2869260" y="465178"/>
                </a:lnTo>
                <a:cubicBezTo>
                  <a:pt x="2873475" y="466708"/>
                  <a:pt x="2877306" y="467473"/>
                  <a:pt x="2880371" y="465943"/>
                </a:cubicBezTo>
                <a:cubicBezTo>
                  <a:pt x="2898760" y="462883"/>
                  <a:pt x="2917150" y="456764"/>
                  <a:pt x="2935540" y="453705"/>
                </a:cubicBezTo>
                <a:cubicBezTo>
                  <a:pt x="2947799" y="465943"/>
                  <a:pt x="2947799" y="502660"/>
                  <a:pt x="2981514" y="478183"/>
                </a:cubicBezTo>
                <a:cubicBezTo>
                  <a:pt x="2987644" y="472063"/>
                  <a:pt x="3009099" y="484302"/>
                  <a:pt x="3024423" y="490421"/>
                </a:cubicBezTo>
                <a:lnTo>
                  <a:pt x="3024422" y="490423"/>
                </a:lnTo>
                <a:lnTo>
                  <a:pt x="3024423" y="490423"/>
                </a:lnTo>
                <a:cubicBezTo>
                  <a:pt x="3022891" y="495013"/>
                  <a:pt x="3021358" y="500368"/>
                  <a:pt x="3019060" y="507252"/>
                </a:cubicBezTo>
                <a:lnTo>
                  <a:pt x="3009100" y="533257"/>
                </a:lnTo>
                <a:lnTo>
                  <a:pt x="3041664" y="518341"/>
                </a:lnTo>
                <a:cubicBezTo>
                  <a:pt x="3051242" y="514134"/>
                  <a:pt x="3059671" y="510309"/>
                  <a:pt x="3067333" y="505720"/>
                </a:cubicBezTo>
                <a:cubicBezTo>
                  <a:pt x="3082657" y="496541"/>
                  <a:pt x="3094917" y="481242"/>
                  <a:pt x="3113307" y="465943"/>
                </a:cubicBezTo>
                <a:lnTo>
                  <a:pt x="3113307" y="465945"/>
                </a:lnTo>
                <a:lnTo>
                  <a:pt x="3113307" y="484302"/>
                </a:lnTo>
                <a:cubicBezTo>
                  <a:pt x="3116372" y="484302"/>
                  <a:pt x="3119437" y="484302"/>
                  <a:pt x="3119437" y="484302"/>
                </a:cubicBezTo>
                <a:lnTo>
                  <a:pt x="3119437" y="450646"/>
                </a:lnTo>
                <a:lnTo>
                  <a:pt x="3119437" y="450644"/>
                </a:lnTo>
                <a:lnTo>
                  <a:pt x="3147020" y="420048"/>
                </a:lnTo>
                <a:lnTo>
                  <a:pt x="3140892" y="407810"/>
                </a:lnTo>
                <a:cubicBezTo>
                  <a:pt x="3119437" y="410870"/>
                  <a:pt x="3094917" y="413930"/>
                  <a:pt x="3064268" y="420049"/>
                </a:cubicBezTo>
                <a:lnTo>
                  <a:pt x="3064270" y="420046"/>
                </a:lnTo>
                <a:lnTo>
                  <a:pt x="3064268" y="420047"/>
                </a:lnTo>
                <a:lnTo>
                  <a:pt x="3097981" y="392510"/>
                </a:lnTo>
                <a:lnTo>
                  <a:pt x="3073463" y="346615"/>
                </a:lnTo>
                <a:lnTo>
                  <a:pt x="3073464" y="346614"/>
                </a:lnTo>
                <a:lnTo>
                  <a:pt x="3073463" y="346614"/>
                </a:lnTo>
                <a:cubicBezTo>
                  <a:pt x="3091853" y="325195"/>
                  <a:pt x="3110242" y="303777"/>
                  <a:pt x="3128632" y="282358"/>
                </a:cubicBezTo>
                <a:cubicBezTo>
                  <a:pt x="3131697" y="282358"/>
                  <a:pt x="3134762" y="285418"/>
                  <a:pt x="3137827" y="285418"/>
                </a:cubicBezTo>
                <a:lnTo>
                  <a:pt x="3137827" y="285420"/>
                </a:lnTo>
                <a:lnTo>
                  <a:pt x="3131697" y="343554"/>
                </a:lnTo>
                <a:lnTo>
                  <a:pt x="3160431" y="335904"/>
                </a:lnTo>
                <a:cubicBezTo>
                  <a:pt x="3169242" y="333610"/>
                  <a:pt x="3177671" y="331314"/>
                  <a:pt x="3186866" y="328255"/>
                </a:cubicBezTo>
                <a:cubicBezTo>
                  <a:pt x="3205256" y="368032"/>
                  <a:pt x="3226711" y="380270"/>
                  <a:pt x="3260425" y="368032"/>
                </a:cubicBezTo>
                <a:lnTo>
                  <a:pt x="3260424" y="368033"/>
                </a:lnTo>
                <a:lnTo>
                  <a:pt x="3260425" y="368033"/>
                </a:lnTo>
                <a:lnTo>
                  <a:pt x="3242036" y="398629"/>
                </a:lnTo>
                <a:lnTo>
                  <a:pt x="3280347" y="394039"/>
                </a:lnTo>
                <a:cubicBezTo>
                  <a:pt x="3292607" y="392510"/>
                  <a:pt x="3304867" y="390980"/>
                  <a:pt x="3318659" y="389450"/>
                </a:cubicBezTo>
                <a:lnTo>
                  <a:pt x="3318658" y="389451"/>
                </a:lnTo>
                <a:lnTo>
                  <a:pt x="3318659" y="389451"/>
                </a:lnTo>
                <a:cubicBezTo>
                  <a:pt x="3317127" y="395571"/>
                  <a:pt x="3315594" y="400160"/>
                  <a:pt x="3314061" y="404368"/>
                </a:cubicBezTo>
                <a:lnTo>
                  <a:pt x="3309465" y="416987"/>
                </a:lnTo>
                <a:lnTo>
                  <a:pt x="3321724" y="420047"/>
                </a:lnTo>
                <a:lnTo>
                  <a:pt x="3352373" y="361912"/>
                </a:lnTo>
                <a:lnTo>
                  <a:pt x="3349309" y="349675"/>
                </a:lnTo>
                <a:lnTo>
                  <a:pt x="3349309" y="349673"/>
                </a:lnTo>
                <a:cubicBezTo>
                  <a:pt x="3353906" y="348143"/>
                  <a:pt x="3358503" y="346614"/>
                  <a:pt x="3364633" y="344701"/>
                </a:cubicBezTo>
                <a:lnTo>
                  <a:pt x="3389149" y="337435"/>
                </a:lnTo>
                <a:lnTo>
                  <a:pt x="3369230" y="333228"/>
                </a:lnTo>
                <a:cubicBezTo>
                  <a:pt x="3364633" y="332081"/>
                  <a:pt x="3361568" y="331316"/>
                  <a:pt x="3358503" y="331316"/>
                </a:cubicBezTo>
                <a:lnTo>
                  <a:pt x="3358510" y="331316"/>
                </a:lnTo>
                <a:lnTo>
                  <a:pt x="3358503" y="331314"/>
                </a:lnTo>
                <a:cubicBezTo>
                  <a:pt x="3444322" y="337434"/>
                  <a:pt x="3453517" y="254820"/>
                  <a:pt x="3499491" y="215043"/>
                </a:cubicBezTo>
                <a:lnTo>
                  <a:pt x="3499491" y="215045"/>
                </a:lnTo>
                <a:lnTo>
                  <a:pt x="3499491" y="248701"/>
                </a:lnTo>
                <a:cubicBezTo>
                  <a:pt x="3517881" y="245642"/>
                  <a:pt x="3533206" y="242582"/>
                  <a:pt x="3545466" y="236462"/>
                </a:cubicBezTo>
                <a:cubicBezTo>
                  <a:pt x="3566921" y="233403"/>
                  <a:pt x="3585310" y="230343"/>
                  <a:pt x="3600635" y="221163"/>
                </a:cubicBezTo>
                <a:cubicBezTo>
                  <a:pt x="3640479" y="196685"/>
                  <a:pt x="3677259" y="169147"/>
                  <a:pt x="3710973" y="141610"/>
                </a:cubicBezTo>
                <a:cubicBezTo>
                  <a:pt x="3726298" y="132430"/>
                  <a:pt x="3738558" y="120191"/>
                  <a:pt x="3750818" y="107952"/>
                </a:cubicBezTo>
                <a:cubicBezTo>
                  <a:pt x="3753883" y="104892"/>
                  <a:pt x="3760013" y="98773"/>
                  <a:pt x="3763077" y="98773"/>
                </a:cubicBezTo>
                <a:cubicBezTo>
                  <a:pt x="3805987" y="101833"/>
                  <a:pt x="3848896" y="71236"/>
                  <a:pt x="3891806" y="107952"/>
                </a:cubicBezTo>
                <a:cubicBezTo>
                  <a:pt x="3897935" y="114072"/>
                  <a:pt x="3913260" y="114072"/>
                  <a:pt x="3931650" y="120191"/>
                </a:cubicBezTo>
                <a:lnTo>
                  <a:pt x="3931649" y="120193"/>
                </a:lnTo>
                <a:lnTo>
                  <a:pt x="3931650" y="120193"/>
                </a:lnTo>
                <a:cubicBezTo>
                  <a:pt x="3922455" y="129371"/>
                  <a:pt x="3916325" y="138551"/>
                  <a:pt x="3910195" y="147731"/>
                </a:cubicBezTo>
                <a:lnTo>
                  <a:pt x="3904065" y="175267"/>
                </a:lnTo>
                <a:lnTo>
                  <a:pt x="3910195" y="199745"/>
                </a:lnTo>
                <a:cubicBezTo>
                  <a:pt x="3931650" y="196685"/>
                  <a:pt x="3956170" y="193625"/>
                  <a:pt x="3974559" y="193625"/>
                </a:cubicBezTo>
                <a:cubicBezTo>
                  <a:pt x="3986819" y="208924"/>
                  <a:pt x="3999079" y="221163"/>
                  <a:pt x="4011339" y="236462"/>
                </a:cubicBezTo>
                <a:lnTo>
                  <a:pt x="4011339" y="236463"/>
                </a:lnTo>
                <a:lnTo>
                  <a:pt x="4011339" y="236464"/>
                </a:lnTo>
                <a:cubicBezTo>
                  <a:pt x="4005209" y="245644"/>
                  <a:pt x="3999079" y="264002"/>
                  <a:pt x="3989884" y="279300"/>
                </a:cubicBezTo>
                <a:cubicBezTo>
                  <a:pt x="3986819" y="288479"/>
                  <a:pt x="3980689" y="297658"/>
                  <a:pt x="3977625" y="297658"/>
                </a:cubicBezTo>
                <a:cubicBezTo>
                  <a:pt x="3928585" y="300719"/>
                  <a:pt x="3916325" y="340495"/>
                  <a:pt x="3894871" y="371094"/>
                </a:cubicBezTo>
                <a:cubicBezTo>
                  <a:pt x="3888741" y="378742"/>
                  <a:pt x="3883377" y="387156"/>
                  <a:pt x="3877630" y="396719"/>
                </a:cubicBezTo>
                <a:lnTo>
                  <a:pt x="3858092" y="429226"/>
                </a:lnTo>
                <a:lnTo>
                  <a:pt x="3891040" y="412780"/>
                </a:lnTo>
                <a:cubicBezTo>
                  <a:pt x="3901001" y="407808"/>
                  <a:pt x="3910195" y="403219"/>
                  <a:pt x="3919390" y="398629"/>
                </a:cubicBezTo>
                <a:lnTo>
                  <a:pt x="3919389" y="398631"/>
                </a:lnTo>
                <a:lnTo>
                  <a:pt x="3919390" y="398631"/>
                </a:lnTo>
                <a:cubicBezTo>
                  <a:pt x="3903299" y="435348"/>
                  <a:pt x="3892380" y="473786"/>
                  <a:pt x="3865945" y="499746"/>
                </a:cubicBezTo>
                <a:lnTo>
                  <a:pt x="3833629" y="520982"/>
                </a:lnTo>
                <a:lnTo>
                  <a:pt x="3833602" y="521028"/>
                </a:lnTo>
                <a:lnTo>
                  <a:pt x="3850428" y="524845"/>
                </a:lnTo>
                <a:cubicBezTo>
                  <a:pt x="3855792" y="525610"/>
                  <a:pt x="3861156" y="525610"/>
                  <a:pt x="3867286" y="524080"/>
                </a:cubicBezTo>
                <a:cubicBezTo>
                  <a:pt x="3879546" y="521021"/>
                  <a:pt x="3891806" y="514901"/>
                  <a:pt x="3907131" y="508782"/>
                </a:cubicBezTo>
                <a:lnTo>
                  <a:pt x="3907865" y="508388"/>
                </a:lnTo>
                <a:lnTo>
                  <a:pt x="3907536" y="508460"/>
                </a:lnTo>
                <a:cubicBezTo>
                  <a:pt x="3950208" y="486901"/>
                  <a:pt x="3992880" y="465343"/>
                  <a:pt x="4032504" y="440705"/>
                </a:cubicBezTo>
                <a:cubicBezTo>
                  <a:pt x="4035552" y="443784"/>
                  <a:pt x="4038600" y="446864"/>
                  <a:pt x="4038600" y="449944"/>
                </a:cubicBezTo>
                <a:lnTo>
                  <a:pt x="4038499" y="450012"/>
                </a:lnTo>
                <a:lnTo>
                  <a:pt x="4038923" y="450646"/>
                </a:lnTo>
                <a:cubicBezTo>
                  <a:pt x="4026664" y="459826"/>
                  <a:pt x="4014404" y="465945"/>
                  <a:pt x="4002144" y="475124"/>
                </a:cubicBezTo>
                <a:cubicBezTo>
                  <a:pt x="3980689" y="487363"/>
                  <a:pt x="3971495" y="502662"/>
                  <a:pt x="3965365" y="527140"/>
                </a:cubicBezTo>
                <a:lnTo>
                  <a:pt x="3964580" y="528838"/>
                </a:lnTo>
                <a:lnTo>
                  <a:pt x="3961447" y="535696"/>
                </a:lnTo>
                <a:lnTo>
                  <a:pt x="3961385" y="535749"/>
                </a:lnTo>
                <a:lnTo>
                  <a:pt x="3961342" y="535841"/>
                </a:lnTo>
                <a:lnTo>
                  <a:pt x="3955794" y="540456"/>
                </a:lnTo>
                <a:lnTo>
                  <a:pt x="3951732" y="543877"/>
                </a:lnTo>
                <a:lnTo>
                  <a:pt x="3929106" y="560642"/>
                </a:lnTo>
                <a:lnTo>
                  <a:pt x="4063443" y="521019"/>
                </a:lnTo>
                <a:lnTo>
                  <a:pt x="4063442" y="521021"/>
                </a:lnTo>
                <a:lnTo>
                  <a:pt x="4063443" y="521021"/>
                </a:lnTo>
                <a:cubicBezTo>
                  <a:pt x="4051183" y="569977"/>
                  <a:pt x="4002144" y="585275"/>
                  <a:pt x="3956170" y="606693"/>
                </a:cubicBezTo>
                <a:cubicBezTo>
                  <a:pt x="3922455" y="621992"/>
                  <a:pt x="3879546" y="628112"/>
                  <a:pt x="3864221" y="670948"/>
                </a:cubicBezTo>
                <a:cubicBezTo>
                  <a:pt x="3858091" y="683187"/>
                  <a:pt x="3827441" y="683187"/>
                  <a:pt x="3833571" y="710724"/>
                </a:cubicBezTo>
                <a:cubicBezTo>
                  <a:pt x="3836637" y="710724"/>
                  <a:pt x="3824377" y="719904"/>
                  <a:pt x="3821312" y="716844"/>
                </a:cubicBezTo>
                <a:cubicBezTo>
                  <a:pt x="3790662" y="704605"/>
                  <a:pt x="3769207" y="735202"/>
                  <a:pt x="3741623" y="738262"/>
                </a:cubicBezTo>
                <a:cubicBezTo>
                  <a:pt x="3738558" y="738262"/>
                  <a:pt x="3738558" y="735202"/>
                  <a:pt x="3735493" y="735202"/>
                </a:cubicBezTo>
                <a:lnTo>
                  <a:pt x="3735494" y="735201"/>
                </a:lnTo>
                <a:lnTo>
                  <a:pt x="3735493" y="735201"/>
                </a:lnTo>
                <a:lnTo>
                  <a:pt x="3772273" y="704603"/>
                </a:lnTo>
                <a:lnTo>
                  <a:pt x="3769207" y="695426"/>
                </a:lnTo>
                <a:cubicBezTo>
                  <a:pt x="3735493" y="713784"/>
                  <a:pt x="3704843" y="729083"/>
                  <a:pt x="3674194" y="747441"/>
                </a:cubicBezTo>
                <a:lnTo>
                  <a:pt x="3671895" y="760827"/>
                </a:lnTo>
                <a:lnTo>
                  <a:pt x="3674194" y="781096"/>
                </a:lnTo>
                <a:lnTo>
                  <a:pt x="3674194" y="781097"/>
                </a:lnTo>
                <a:lnTo>
                  <a:pt x="3674194" y="781098"/>
                </a:lnTo>
                <a:cubicBezTo>
                  <a:pt x="3652739" y="793337"/>
                  <a:pt x="3631285" y="817815"/>
                  <a:pt x="3597570" y="793337"/>
                </a:cubicBezTo>
                <a:cubicBezTo>
                  <a:pt x="3594505" y="790277"/>
                  <a:pt x="3582245" y="796396"/>
                  <a:pt x="3576115" y="799457"/>
                </a:cubicBezTo>
                <a:lnTo>
                  <a:pt x="3517882" y="866769"/>
                </a:lnTo>
                <a:lnTo>
                  <a:pt x="3535696" y="874275"/>
                </a:lnTo>
                <a:cubicBezTo>
                  <a:pt x="3554373" y="873916"/>
                  <a:pt x="3579037" y="863100"/>
                  <a:pt x="3582748" y="887393"/>
                </a:cubicBezTo>
                <a:lnTo>
                  <a:pt x="3582748" y="887394"/>
                </a:lnTo>
                <a:lnTo>
                  <a:pt x="3582245" y="906546"/>
                </a:lnTo>
                <a:lnTo>
                  <a:pt x="3614427" y="927917"/>
                </a:lnTo>
                <a:cubicBezTo>
                  <a:pt x="3646609" y="940968"/>
                  <a:pt x="3678791" y="929494"/>
                  <a:pt x="3710973" y="897367"/>
                </a:cubicBezTo>
                <a:cubicBezTo>
                  <a:pt x="3726298" y="882069"/>
                  <a:pt x="3753883" y="872888"/>
                  <a:pt x="3775337" y="860650"/>
                </a:cubicBezTo>
                <a:cubicBezTo>
                  <a:pt x="3778402" y="859120"/>
                  <a:pt x="3780701" y="856825"/>
                  <a:pt x="3783383" y="853383"/>
                </a:cubicBezTo>
                <a:lnTo>
                  <a:pt x="3793726" y="839233"/>
                </a:lnTo>
                <a:lnTo>
                  <a:pt x="3766526" y="843823"/>
                </a:lnTo>
                <a:cubicBezTo>
                  <a:pt x="3758480" y="845353"/>
                  <a:pt x="3750818" y="846883"/>
                  <a:pt x="3741623" y="848412"/>
                </a:cubicBezTo>
                <a:lnTo>
                  <a:pt x="3741627" y="848410"/>
                </a:lnTo>
                <a:lnTo>
                  <a:pt x="3741623" y="848411"/>
                </a:lnTo>
                <a:cubicBezTo>
                  <a:pt x="3793727" y="817813"/>
                  <a:pt x="3836637" y="793335"/>
                  <a:pt x="3882611" y="765798"/>
                </a:cubicBezTo>
                <a:cubicBezTo>
                  <a:pt x="3882611" y="768857"/>
                  <a:pt x="3885676" y="771917"/>
                  <a:pt x="3885676" y="774977"/>
                </a:cubicBezTo>
                <a:lnTo>
                  <a:pt x="3885676" y="774978"/>
                </a:lnTo>
                <a:cubicBezTo>
                  <a:pt x="3864221" y="790277"/>
                  <a:pt x="3842767" y="802517"/>
                  <a:pt x="3818247" y="820875"/>
                </a:cubicBezTo>
                <a:cubicBezTo>
                  <a:pt x="3815182" y="823935"/>
                  <a:pt x="3812117" y="830054"/>
                  <a:pt x="3812117" y="836173"/>
                </a:cubicBezTo>
                <a:cubicBezTo>
                  <a:pt x="3807519" y="845353"/>
                  <a:pt x="3802922" y="854532"/>
                  <a:pt x="3798325" y="864858"/>
                </a:cubicBezTo>
                <a:lnTo>
                  <a:pt x="3784533" y="900426"/>
                </a:lnTo>
                <a:lnTo>
                  <a:pt x="3850045" y="868682"/>
                </a:lnTo>
                <a:cubicBezTo>
                  <a:pt x="3871883" y="858355"/>
                  <a:pt x="3893338" y="848411"/>
                  <a:pt x="3913260" y="839232"/>
                </a:cubicBezTo>
                <a:lnTo>
                  <a:pt x="3913259" y="839234"/>
                </a:lnTo>
                <a:lnTo>
                  <a:pt x="3913260" y="839233"/>
                </a:lnTo>
                <a:cubicBezTo>
                  <a:pt x="3897169" y="903488"/>
                  <a:pt x="3841426" y="922994"/>
                  <a:pt x="3789992" y="950675"/>
                </a:cubicBezTo>
                <a:lnTo>
                  <a:pt x="3741624" y="983040"/>
                </a:lnTo>
                <a:lnTo>
                  <a:pt x="3775337" y="998338"/>
                </a:lnTo>
                <a:lnTo>
                  <a:pt x="3775335" y="998339"/>
                </a:lnTo>
                <a:lnTo>
                  <a:pt x="3775337" y="998340"/>
                </a:lnTo>
                <a:cubicBezTo>
                  <a:pt x="3772272" y="999869"/>
                  <a:pt x="3769207" y="1001400"/>
                  <a:pt x="3765376" y="1002929"/>
                </a:cubicBezTo>
                <a:lnTo>
                  <a:pt x="3750820" y="1007519"/>
                </a:lnTo>
                <a:lnTo>
                  <a:pt x="3780318" y="1023199"/>
                </a:lnTo>
                <a:cubicBezTo>
                  <a:pt x="3786064" y="1029701"/>
                  <a:pt x="3787597" y="1038115"/>
                  <a:pt x="3784532" y="1050354"/>
                </a:cubicBezTo>
                <a:cubicBezTo>
                  <a:pt x="3778402" y="1068712"/>
                  <a:pt x="3824377" y="1090115"/>
                  <a:pt x="3845831" y="1083995"/>
                </a:cubicBezTo>
                <a:cubicBezTo>
                  <a:pt x="3907131" y="1062593"/>
                  <a:pt x="3971495" y="1044235"/>
                  <a:pt x="4032793" y="1019757"/>
                </a:cubicBezTo>
                <a:cubicBezTo>
                  <a:pt x="4069573" y="1004458"/>
                  <a:pt x="4118612" y="1004458"/>
                  <a:pt x="4143132" y="961622"/>
                </a:cubicBezTo>
                <a:cubicBezTo>
                  <a:pt x="4149262" y="955502"/>
                  <a:pt x="4167652" y="952442"/>
                  <a:pt x="4182977" y="955502"/>
                </a:cubicBezTo>
                <a:cubicBezTo>
                  <a:pt x="4210561" y="955502"/>
                  <a:pt x="4235081" y="949382"/>
                  <a:pt x="4262665" y="943263"/>
                </a:cubicBezTo>
                <a:cubicBezTo>
                  <a:pt x="4311705" y="927964"/>
                  <a:pt x="4360744" y="906546"/>
                  <a:pt x="4415913" y="915726"/>
                </a:cubicBezTo>
                <a:cubicBezTo>
                  <a:pt x="4440433" y="918785"/>
                  <a:pt x="4464952" y="915726"/>
                  <a:pt x="4495602" y="915726"/>
                </a:cubicBezTo>
                <a:lnTo>
                  <a:pt x="4495601" y="915727"/>
                </a:lnTo>
                <a:lnTo>
                  <a:pt x="4495602" y="915727"/>
                </a:lnTo>
                <a:cubicBezTo>
                  <a:pt x="4489472" y="921847"/>
                  <a:pt x="4485641" y="926436"/>
                  <a:pt x="4481810" y="931026"/>
                </a:cubicBezTo>
                <a:lnTo>
                  <a:pt x="4468019" y="946323"/>
                </a:lnTo>
                <a:lnTo>
                  <a:pt x="4526634" y="943263"/>
                </a:lnTo>
                <a:cubicBezTo>
                  <a:pt x="4544641" y="942498"/>
                  <a:pt x="4561498" y="941733"/>
                  <a:pt x="4578355" y="940203"/>
                </a:cubicBezTo>
                <a:lnTo>
                  <a:pt x="4578351" y="940205"/>
                </a:lnTo>
                <a:lnTo>
                  <a:pt x="4578355" y="940205"/>
                </a:lnTo>
                <a:lnTo>
                  <a:pt x="4513992" y="973862"/>
                </a:lnTo>
                <a:lnTo>
                  <a:pt x="4520121" y="986100"/>
                </a:lnTo>
                <a:cubicBezTo>
                  <a:pt x="4547706" y="976920"/>
                  <a:pt x="4575291" y="967741"/>
                  <a:pt x="4602875" y="958561"/>
                </a:cubicBezTo>
                <a:lnTo>
                  <a:pt x="4602875" y="958564"/>
                </a:lnTo>
                <a:cubicBezTo>
                  <a:pt x="4602875" y="961623"/>
                  <a:pt x="4602109" y="963918"/>
                  <a:pt x="4600959" y="966595"/>
                </a:cubicBezTo>
                <a:lnTo>
                  <a:pt x="4596746" y="976920"/>
                </a:lnTo>
                <a:lnTo>
                  <a:pt x="4709382" y="950147"/>
                </a:lnTo>
                <a:cubicBezTo>
                  <a:pt x="4746162" y="940968"/>
                  <a:pt x="4782175" y="931024"/>
                  <a:pt x="4817422" y="918785"/>
                </a:cubicBezTo>
                <a:cubicBezTo>
                  <a:pt x="4848072" y="906546"/>
                  <a:pt x="4875656" y="897367"/>
                  <a:pt x="4909371" y="900426"/>
                </a:cubicBezTo>
                <a:cubicBezTo>
                  <a:pt x="4915501" y="900426"/>
                  <a:pt x="4921631" y="906546"/>
                  <a:pt x="4927761" y="909605"/>
                </a:cubicBezTo>
                <a:cubicBezTo>
                  <a:pt x="4936955" y="912665"/>
                  <a:pt x="4946150" y="915726"/>
                  <a:pt x="4958410" y="915726"/>
                </a:cubicBezTo>
                <a:cubicBezTo>
                  <a:pt x="4989059" y="915726"/>
                  <a:pt x="5025839" y="906546"/>
                  <a:pt x="5056489" y="915726"/>
                </a:cubicBezTo>
                <a:cubicBezTo>
                  <a:pt x="5087138" y="924904"/>
                  <a:pt x="5111658" y="915726"/>
                  <a:pt x="5136177" y="909605"/>
                </a:cubicBezTo>
                <a:cubicBezTo>
                  <a:pt x="5154567" y="903486"/>
                  <a:pt x="5169892" y="900426"/>
                  <a:pt x="5188281" y="894307"/>
                </a:cubicBezTo>
                <a:cubicBezTo>
                  <a:pt x="5188281" y="897367"/>
                  <a:pt x="5191347" y="900426"/>
                  <a:pt x="5191347" y="903486"/>
                </a:cubicBezTo>
                <a:lnTo>
                  <a:pt x="5191347" y="903488"/>
                </a:lnTo>
                <a:lnTo>
                  <a:pt x="5151503" y="924905"/>
                </a:lnTo>
                <a:lnTo>
                  <a:pt x="5188282" y="951295"/>
                </a:lnTo>
                <a:cubicBezTo>
                  <a:pt x="5200541" y="960092"/>
                  <a:pt x="5212801" y="969271"/>
                  <a:pt x="5225061" y="979980"/>
                </a:cubicBezTo>
                <a:lnTo>
                  <a:pt x="5225060" y="979981"/>
                </a:lnTo>
                <a:lnTo>
                  <a:pt x="5225061" y="979981"/>
                </a:lnTo>
                <a:lnTo>
                  <a:pt x="5200542" y="1016697"/>
                </a:lnTo>
                <a:lnTo>
                  <a:pt x="5252645" y="1038115"/>
                </a:lnTo>
                <a:lnTo>
                  <a:pt x="5252644" y="1038116"/>
                </a:lnTo>
                <a:lnTo>
                  <a:pt x="5252645" y="1038117"/>
                </a:lnTo>
                <a:lnTo>
                  <a:pt x="5234257" y="1062594"/>
                </a:lnTo>
                <a:lnTo>
                  <a:pt x="5255711" y="1096234"/>
                </a:lnTo>
                <a:cubicBezTo>
                  <a:pt x="5231191" y="1123772"/>
                  <a:pt x="5191347" y="1132952"/>
                  <a:pt x="5188281" y="1178848"/>
                </a:cubicBezTo>
                <a:cubicBezTo>
                  <a:pt x="5185217" y="1188027"/>
                  <a:pt x="5157632" y="1194147"/>
                  <a:pt x="5139243" y="1203326"/>
                </a:cubicBezTo>
                <a:cubicBezTo>
                  <a:pt x="5105528" y="1221685"/>
                  <a:pt x="5056489" y="1233924"/>
                  <a:pt x="5041164" y="1261462"/>
                </a:cubicBezTo>
                <a:cubicBezTo>
                  <a:pt x="5022774" y="1292059"/>
                  <a:pt x="4998255" y="1279820"/>
                  <a:pt x="4979865" y="1298179"/>
                </a:cubicBezTo>
                <a:cubicBezTo>
                  <a:pt x="5001319" y="1298179"/>
                  <a:pt x="5016644" y="1298179"/>
                  <a:pt x="5035034" y="1298179"/>
                </a:cubicBezTo>
                <a:cubicBezTo>
                  <a:pt x="5038099" y="1301239"/>
                  <a:pt x="5038099" y="1301239"/>
                  <a:pt x="5038099" y="1304298"/>
                </a:cubicBezTo>
                <a:cubicBezTo>
                  <a:pt x="4976800" y="1328776"/>
                  <a:pt x="4915501" y="1353254"/>
                  <a:pt x="4854201" y="1377733"/>
                </a:cubicBezTo>
                <a:cubicBezTo>
                  <a:pt x="4854201" y="1380792"/>
                  <a:pt x="4854201" y="1386912"/>
                  <a:pt x="4857267" y="1389972"/>
                </a:cubicBezTo>
                <a:cubicBezTo>
                  <a:pt x="4884851" y="1389972"/>
                  <a:pt x="4912436" y="1386912"/>
                  <a:pt x="4940021" y="1383852"/>
                </a:cubicBezTo>
                <a:cubicBezTo>
                  <a:pt x="4943085" y="1386912"/>
                  <a:pt x="4943085" y="1386912"/>
                  <a:pt x="4943085" y="1389972"/>
                </a:cubicBezTo>
                <a:cubicBezTo>
                  <a:pt x="4875656" y="1420569"/>
                  <a:pt x="4805162" y="1451167"/>
                  <a:pt x="4734668" y="1484824"/>
                </a:cubicBezTo>
                <a:cubicBezTo>
                  <a:pt x="4713214" y="1494004"/>
                  <a:pt x="4691759" y="1503183"/>
                  <a:pt x="4667239" y="1509302"/>
                </a:cubicBezTo>
                <a:cubicBezTo>
                  <a:pt x="4661109" y="1512362"/>
                  <a:pt x="4651915" y="1518482"/>
                  <a:pt x="4645785" y="1515422"/>
                </a:cubicBezTo>
                <a:cubicBezTo>
                  <a:pt x="4587551" y="1506243"/>
                  <a:pt x="4541576" y="1536840"/>
                  <a:pt x="4495602" y="1564378"/>
                </a:cubicBezTo>
                <a:cubicBezTo>
                  <a:pt x="4477212" y="1573557"/>
                  <a:pt x="4452693" y="1576617"/>
                  <a:pt x="4431238" y="1579677"/>
                </a:cubicBezTo>
                <a:cubicBezTo>
                  <a:pt x="4425108" y="1579677"/>
                  <a:pt x="4415913" y="1573557"/>
                  <a:pt x="4415913" y="1573557"/>
                </a:cubicBezTo>
                <a:cubicBezTo>
                  <a:pt x="4382199" y="1610274"/>
                  <a:pt x="4320899" y="1576617"/>
                  <a:pt x="4293315" y="1625573"/>
                </a:cubicBezTo>
                <a:cubicBezTo>
                  <a:pt x="4293315" y="1631693"/>
                  <a:pt x="4277990" y="1628633"/>
                  <a:pt x="4271860" y="1631693"/>
                </a:cubicBezTo>
                <a:cubicBezTo>
                  <a:pt x="4259600" y="1659231"/>
                  <a:pt x="4247341" y="1689828"/>
                  <a:pt x="4235081" y="1720426"/>
                </a:cubicBezTo>
                <a:cubicBezTo>
                  <a:pt x="4238145" y="1723486"/>
                  <a:pt x="4238145" y="1726545"/>
                  <a:pt x="4241211" y="1729605"/>
                </a:cubicBezTo>
                <a:cubicBezTo>
                  <a:pt x="4259600" y="1692888"/>
                  <a:pt x="4284120" y="1671470"/>
                  <a:pt x="4330094" y="1699008"/>
                </a:cubicBezTo>
                <a:cubicBezTo>
                  <a:pt x="4299445" y="1714306"/>
                  <a:pt x="4271860" y="1723486"/>
                  <a:pt x="4244275" y="1738785"/>
                </a:cubicBezTo>
                <a:cubicBezTo>
                  <a:pt x="4222821" y="1751024"/>
                  <a:pt x="4204431" y="1769382"/>
                  <a:pt x="4186041" y="1787741"/>
                </a:cubicBezTo>
                <a:cubicBezTo>
                  <a:pt x="4161522" y="1809159"/>
                  <a:pt x="4137002" y="1833637"/>
                  <a:pt x="4115547" y="1861175"/>
                </a:cubicBezTo>
                <a:cubicBezTo>
                  <a:pt x="4176847" y="1833637"/>
                  <a:pt x="4241211" y="1806099"/>
                  <a:pt x="4302510" y="1781621"/>
                </a:cubicBezTo>
                <a:cubicBezTo>
                  <a:pt x="4305575" y="1763263"/>
                  <a:pt x="4308639" y="1754083"/>
                  <a:pt x="4308639" y="1741844"/>
                </a:cubicBezTo>
                <a:cubicBezTo>
                  <a:pt x="4311705" y="1744904"/>
                  <a:pt x="4314769" y="1744904"/>
                  <a:pt x="4314769" y="1744904"/>
                </a:cubicBezTo>
                <a:cubicBezTo>
                  <a:pt x="4317835" y="1751024"/>
                  <a:pt x="4317835" y="1760203"/>
                  <a:pt x="4317835" y="1769382"/>
                </a:cubicBezTo>
                <a:cubicBezTo>
                  <a:pt x="4339289" y="1766322"/>
                  <a:pt x="4357679" y="1760203"/>
                  <a:pt x="4382199" y="1754083"/>
                </a:cubicBezTo>
                <a:cubicBezTo>
                  <a:pt x="4376069" y="1766322"/>
                  <a:pt x="4373003" y="1769382"/>
                  <a:pt x="4369939" y="1778561"/>
                </a:cubicBezTo>
                <a:cubicBezTo>
                  <a:pt x="4397523" y="1775502"/>
                  <a:pt x="4422043" y="1775502"/>
                  <a:pt x="4440433" y="1772442"/>
                </a:cubicBezTo>
                <a:cubicBezTo>
                  <a:pt x="4458822" y="1757143"/>
                  <a:pt x="4474147" y="1741844"/>
                  <a:pt x="4495602" y="1723486"/>
                </a:cubicBezTo>
                <a:cubicBezTo>
                  <a:pt x="4480277" y="1726545"/>
                  <a:pt x="4468017" y="1726545"/>
                  <a:pt x="4452693" y="1729605"/>
                </a:cubicBezTo>
                <a:cubicBezTo>
                  <a:pt x="4489472" y="1695183"/>
                  <a:pt x="4533148" y="1688299"/>
                  <a:pt x="4574668" y="1679263"/>
                </a:cubicBezTo>
                <a:lnTo>
                  <a:pt x="4613974" y="1668721"/>
                </a:lnTo>
                <a:lnTo>
                  <a:pt x="4615267" y="1667830"/>
                </a:lnTo>
                <a:lnTo>
                  <a:pt x="4615329" y="1667830"/>
                </a:lnTo>
                <a:lnTo>
                  <a:pt x="4627395" y="1631693"/>
                </a:lnTo>
                <a:cubicBezTo>
                  <a:pt x="4621265" y="1631693"/>
                  <a:pt x="4615135" y="1631693"/>
                  <a:pt x="4602875" y="1631693"/>
                </a:cubicBezTo>
                <a:cubicBezTo>
                  <a:pt x="4624330" y="1625573"/>
                  <a:pt x="4639655" y="1613334"/>
                  <a:pt x="4651915" y="1613334"/>
                </a:cubicBezTo>
                <a:cubicBezTo>
                  <a:pt x="4682564" y="1616394"/>
                  <a:pt x="4679499" y="1604155"/>
                  <a:pt x="4673369" y="1582737"/>
                </a:cubicBezTo>
                <a:cubicBezTo>
                  <a:pt x="4599810" y="1610274"/>
                  <a:pt x="4526251" y="1634753"/>
                  <a:pt x="4449627" y="1662290"/>
                </a:cubicBezTo>
                <a:cubicBezTo>
                  <a:pt x="4492537" y="1631693"/>
                  <a:pt x="4532381" y="1601095"/>
                  <a:pt x="4572226" y="1573557"/>
                </a:cubicBezTo>
                <a:cubicBezTo>
                  <a:pt x="4572226" y="1576617"/>
                  <a:pt x="4572226" y="1579677"/>
                  <a:pt x="4572226" y="1582737"/>
                </a:cubicBezTo>
                <a:cubicBezTo>
                  <a:pt x="4581421" y="1588856"/>
                  <a:pt x="4590615" y="1591916"/>
                  <a:pt x="4602875" y="1598035"/>
                </a:cubicBezTo>
                <a:cubicBezTo>
                  <a:pt x="4609005" y="1552139"/>
                  <a:pt x="4630460" y="1542960"/>
                  <a:pt x="4648849" y="1558259"/>
                </a:cubicBezTo>
                <a:cubicBezTo>
                  <a:pt x="4700954" y="1542960"/>
                  <a:pt x="4746928" y="1527661"/>
                  <a:pt x="4799033" y="1512362"/>
                </a:cubicBezTo>
                <a:cubicBezTo>
                  <a:pt x="4792903" y="1506243"/>
                  <a:pt x="4783707" y="1503183"/>
                  <a:pt x="4765318" y="1490944"/>
                </a:cubicBezTo>
                <a:cubicBezTo>
                  <a:pt x="4792903" y="1484824"/>
                  <a:pt x="4814357" y="1478705"/>
                  <a:pt x="4832747" y="1472585"/>
                </a:cubicBezTo>
                <a:cubicBezTo>
                  <a:pt x="4835812" y="1475645"/>
                  <a:pt x="4835812" y="1478705"/>
                  <a:pt x="4838877" y="1484824"/>
                </a:cubicBezTo>
                <a:cubicBezTo>
                  <a:pt x="4826617" y="1490944"/>
                  <a:pt x="4817422" y="1500123"/>
                  <a:pt x="4808227" y="1509302"/>
                </a:cubicBezTo>
                <a:cubicBezTo>
                  <a:pt x="4808227" y="1509302"/>
                  <a:pt x="4808227" y="1512362"/>
                  <a:pt x="4808227" y="1515422"/>
                </a:cubicBezTo>
                <a:cubicBezTo>
                  <a:pt x="4820487" y="1512362"/>
                  <a:pt x="4832747" y="1509302"/>
                  <a:pt x="4838877" y="1509302"/>
                </a:cubicBezTo>
                <a:cubicBezTo>
                  <a:pt x="4841942" y="1527661"/>
                  <a:pt x="4851137" y="1546019"/>
                  <a:pt x="4854201" y="1564378"/>
                </a:cubicBezTo>
                <a:cubicBezTo>
                  <a:pt x="4854201" y="1591916"/>
                  <a:pt x="4869526" y="1598035"/>
                  <a:pt x="4890981" y="1604155"/>
                </a:cubicBezTo>
                <a:cubicBezTo>
                  <a:pt x="4897111" y="1607215"/>
                  <a:pt x="4903241" y="1619454"/>
                  <a:pt x="4912436" y="1634753"/>
                </a:cubicBezTo>
                <a:cubicBezTo>
                  <a:pt x="4915501" y="1628633"/>
                  <a:pt x="4921631" y="1619454"/>
                  <a:pt x="4927761" y="1613334"/>
                </a:cubicBezTo>
                <a:cubicBezTo>
                  <a:pt x="4936955" y="1619454"/>
                  <a:pt x="4949215" y="1628633"/>
                  <a:pt x="4961475" y="1637812"/>
                </a:cubicBezTo>
                <a:cubicBezTo>
                  <a:pt x="4943085" y="1653111"/>
                  <a:pt x="4927761" y="1668410"/>
                  <a:pt x="4909371" y="1683709"/>
                </a:cubicBezTo>
                <a:cubicBezTo>
                  <a:pt x="4921631" y="1686769"/>
                  <a:pt x="4933891" y="1689828"/>
                  <a:pt x="4946150" y="1692888"/>
                </a:cubicBezTo>
                <a:cubicBezTo>
                  <a:pt x="4936955" y="1702067"/>
                  <a:pt x="4927761" y="1708187"/>
                  <a:pt x="4918566" y="1717366"/>
                </a:cubicBezTo>
                <a:cubicBezTo>
                  <a:pt x="4943085" y="1738785"/>
                  <a:pt x="4940021" y="1735725"/>
                  <a:pt x="4952280" y="1711247"/>
                </a:cubicBezTo>
                <a:cubicBezTo>
                  <a:pt x="4964540" y="1695948"/>
                  <a:pt x="4989059" y="1689828"/>
                  <a:pt x="5001319" y="1680649"/>
                </a:cubicBezTo>
                <a:cubicBezTo>
                  <a:pt x="5010515" y="1708187"/>
                  <a:pt x="5019709" y="1732665"/>
                  <a:pt x="5031969" y="1757143"/>
                </a:cubicBezTo>
                <a:cubicBezTo>
                  <a:pt x="5022774" y="1769382"/>
                  <a:pt x="5013579" y="1784681"/>
                  <a:pt x="4998255" y="1806099"/>
                </a:cubicBezTo>
                <a:cubicBezTo>
                  <a:pt x="5022774" y="1803040"/>
                  <a:pt x="5038099" y="1803040"/>
                  <a:pt x="5053423" y="1803040"/>
                </a:cubicBezTo>
                <a:cubicBezTo>
                  <a:pt x="5047293" y="1845876"/>
                  <a:pt x="4979865" y="1916251"/>
                  <a:pt x="4933891" y="1925430"/>
                </a:cubicBezTo>
                <a:cubicBezTo>
                  <a:pt x="4933891" y="1919310"/>
                  <a:pt x="4936955" y="1913191"/>
                  <a:pt x="4940021" y="1900952"/>
                </a:cubicBezTo>
                <a:cubicBezTo>
                  <a:pt x="4912436" y="1913191"/>
                  <a:pt x="4890981" y="1922370"/>
                  <a:pt x="4869526" y="1934609"/>
                </a:cubicBezTo>
                <a:cubicBezTo>
                  <a:pt x="4869526" y="1931550"/>
                  <a:pt x="4866461" y="1928490"/>
                  <a:pt x="4863397" y="1925430"/>
                </a:cubicBezTo>
                <a:cubicBezTo>
                  <a:pt x="4872591" y="1919310"/>
                  <a:pt x="4881786" y="1913191"/>
                  <a:pt x="4894046" y="1907071"/>
                </a:cubicBezTo>
                <a:cubicBezTo>
                  <a:pt x="4890981" y="1904012"/>
                  <a:pt x="4887916" y="1900952"/>
                  <a:pt x="4887916" y="1897892"/>
                </a:cubicBezTo>
                <a:cubicBezTo>
                  <a:pt x="4854201" y="1916251"/>
                  <a:pt x="4823552" y="1934609"/>
                  <a:pt x="4789837" y="1956028"/>
                </a:cubicBezTo>
                <a:cubicBezTo>
                  <a:pt x="4792903" y="1959087"/>
                  <a:pt x="4795967" y="1962147"/>
                  <a:pt x="4795967" y="1968267"/>
                </a:cubicBezTo>
                <a:cubicBezTo>
                  <a:pt x="4811292" y="1962147"/>
                  <a:pt x="4826617" y="1956028"/>
                  <a:pt x="4845007" y="1949908"/>
                </a:cubicBezTo>
                <a:cubicBezTo>
                  <a:pt x="4845007" y="1952968"/>
                  <a:pt x="4848072" y="1956028"/>
                  <a:pt x="4848072" y="1959087"/>
                </a:cubicBezTo>
                <a:cubicBezTo>
                  <a:pt x="4820487" y="1983565"/>
                  <a:pt x="4792903" y="2011103"/>
                  <a:pt x="4762253" y="2041701"/>
                </a:cubicBezTo>
                <a:cubicBezTo>
                  <a:pt x="4759188" y="2026402"/>
                  <a:pt x="4759188" y="2014163"/>
                  <a:pt x="4756123" y="2001924"/>
                </a:cubicBezTo>
                <a:cubicBezTo>
                  <a:pt x="4731603" y="2014163"/>
                  <a:pt x="4710149" y="2026402"/>
                  <a:pt x="4685629" y="2038641"/>
                </a:cubicBezTo>
                <a:cubicBezTo>
                  <a:pt x="4694824" y="2041701"/>
                  <a:pt x="4704019" y="2044761"/>
                  <a:pt x="4710149" y="2047820"/>
                </a:cubicBezTo>
                <a:cubicBezTo>
                  <a:pt x="4685629" y="2081478"/>
                  <a:pt x="4734668" y="2087597"/>
                  <a:pt x="4731603" y="2109016"/>
                </a:cubicBezTo>
                <a:cubicBezTo>
                  <a:pt x="4759188" y="2112076"/>
                  <a:pt x="4783707" y="2118195"/>
                  <a:pt x="4814357" y="2124315"/>
                </a:cubicBezTo>
                <a:cubicBezTo>
                  <a:pt x="4783707" y="2145733"/>
                  <a:pt x="4746928" y="2161032"/>
                  <a:pt x="4740798" y="2203868"/>
                </a:cubicBezTo>
                <a:cubicBezTo>
                  <a:pt x="4749993" y="2200809"/>
                  <a:pt x="4762253" y="2200809"/>
                  <a:pt x="4777578" y="2197749"/>
                </a:cubicBezTo>
                <a:cubicBezTo>
                  <a:pt x="4777578" y="2200809"/>
                  <a:pt x="4780643" y="2203868"/>
                  <a:pt x="4780643" y="2206928"/>
                </a:cubicBezTo>
                <a:cubicBezTo>
                  <a:pt x="4768383" y="2219167"/>
                  <a:pt x="4753058" y="2228347"/>
                  <a:pt x="4740798" y="2240586"/>
                </a:cubicBezTo>
                <a:cubicBezTo>
                  <a:pt x="4756123" y="2243645"/>
                  <a:pt x="4771448" y="2246705"/>
                  <a:pt x="4789837" y="2246705"/>
                </a:cubicBezTo>
                <a:cubicBezTo>
                  <a:pt x="4799033" y="2246705"/>
                  <a:pt x="4811292" y="2240586"/>
                  <a:pt x="4814357" y="2237526"/>
                </a:cubicBezTo>
                <a:cubicBezTo>
                  <a:pt x="4817422" y="2197749"/>
                  <a:pt x="4857267" y="2206928"/>
                  <a:pt x="4878721" y="2191629"/>
                </a:cubicBezTo>
                <a:cubicBezTo>
                  <a:pt x="4881786" y="2191629"/>
                  <a:pt x="4884851" y="2191629"/>
                  <a:pt x="4894046" y="2191629"/>
                </a:cubicBezTo>
                <a:cubicBezTo>
                  <a:pt x="4881786" y="2200809"/>
                  <a:pt x="4875656" y="2206928"/>
                  <a:pt x="4872591" y="2209988"/>
                </a:cubicBezTo>
                <a:cubicBezTo>
                  <a:pt x="4875656" y="2228347"/>
                  <a:pt x="4875656" y="2243645"/>
                  <a:pt x="4878721" y="2258944"/>
                </a:cubicBezTo>
                <a:cubicBezTo>
                  <a:pt x="4884851" y="2262004"/>
                  <a:pt x="4894046" y="2268123"/>
                  <a:pt x="4912436" y="2274243"/>
                </a:cubicBezTo>
                <a:cubicBezTo>
                  <a:pt x="4933891" y="2268123"/>
                  <a:pt x="4967605" y="2255884"/>
                  <a:pt x="4998255" y="2246705"/>
                </a:cubicBezTo>
                <a:cubicBezTo>
                  <a:pt x="5081008" y="2219167"/>
                  <a:pt x="5166827" y="2188570"/>
                  <a:pt x="5252645" y="2164092"/>
                </a:cubicBezTo>
                <a:cubicBezTo>
                  <a:pt x="5286360" y="2154912"/>
                  <a:pt x="5323139" y="2164092"/>
                  <a:pt x="5362984" y="2167151"/>
                </a:cubicBezTo>
                <a:cubicBezTo>
                  <a:pt x="5329269" y="2170211"/>
                  <a:pt x="5295555" y="2176331"/>
                  <a:pt x="5261841" y="2182450"/>
                </a:cubicBezTo>
                <a:cubicBezTo>
                  <a:pt x="5261841" y="2182450"/>
                  <a:pt x="5261841" y="2185510"/>
                  <a:pt x="5261841" y="2188570"/>
                </a:cubicBezTo>
                <a:cubicBezTo>
                  <a:pt x="5274101" y="2191629"/>
                  <a:pt x="5283295" y="2194689"/>
                  <a:pt x="5292490" y="2197749"/>
                </a:cubicBezTo>
                <a:cubicBezTo>
                  <a:pt x="5286360" y="2209988"/>
                  <a:pt x="5283295" y="2225287"/>
                  <a:pt x="5277165" y="2240586"/>
                </a:cubicBezTo>
                <a:cubicBezTo>
                  <a:pt x="5274101" y="2246705"/>
                  <a:pt x="5274101" y="2252825"/>
                  <a:pt x="5267971" y="2258944"/>
                </a:cubicBezTo>
                <a:cubicBezTo>
                  <a:pt x="5234256" y="2289542"/>
                  <a:pt x="5197477" y="2323199"/>
                  <a:pt x="5160697" y="2353797"/>
                </a:cubicBezTo>
                <a:cubicBezTo>
                  <a:pt x="5145373" y="2369096"/>
                  <a:pt x="5123917" y="2378275"/>
                  <a:pt x="5105528" y="2390514"/>
                </a:cubicBezTo>
                <a:cubicBezTo>
                  <a:pt x="5096333" y="2402753"/>
                  <a:pt x="5087138" y="2418052"/>
                  <a:pt x="5081008" y="2433351"/>
                </a:cubicBezTo>
                <a:cubicBezTo>
                  <a:pt x="5084073" y="2436410"/>
                  <a:pt x="5087138" y="2439470"/>
                  <a:pt x="5090203" y="2442530"/>
                </a:cubicBezTo>
                <a:cubicBezTo>
                  <a:pt x="5108593" y="2436410"/>
                  <a:pt x="5126983" y="2427231"/>
                  <a:pt x="5151502" y="2418052"/>
                </a:cubicBezTo>
                <a:cubicBezTo>
                  <a:pt x="5139243" y="2436410"/>
                  <a:pt x="5133113" y="2445590"/>
                  <a:pt x="5123917" y="2460888"/>
                </a:cubicBezTo>
                <a:cubicBezTo>
                  <a:pt x="5169892" y="2436410"/>
                  <a:pt x="5206671" y="2418052"/>
                  <a:pt x="5243451" y="2399693"/>
                </a:cubicBezTo>
                <a:cubicBezTo>
                  <a:pt x="5246516" y="2402753"/>
                  <a:pt x="5246516" y="2405813"/>
                  <a:pt x="5249581" y="2405813"/>
                </a:cubicBezTo>
                <a:cubicBezTo>
                  <a:pt x="5225061" y="2439470"/>
                  <a:pt x="5200541" y="2473127"/>
                  <a:pt x="5172957" y="2512904"/>
                </a:cubicBezTo>
                <a:cubicBezTo>
                  <a:pt x="5206671" y="2491486"/>
                  <a:pt x="5234256" y="2476187"/>
                  <a:pt x="5261841" y="2460888"/>
                </a:cubicBezTo>
                <a:cubicBezTo>
                  <a:pt x="5261841" y="2463948"/>
                  <a:pt x="5261841" y="2463948"/>
                  <a:pt x="5264905" y="2467008"/>
                </a:cubicBezTo>
                <a:cubicBezTo>
                  <a:pt x="5258775" y="2476187"/>
                  <a:pt x="5249581" y="2485367"/>
                  <a:pt x="5243451" y="2494546"/>
                </a:cubicBezTo>
                <a:cubicBezTo>
                  <a:pt x="5243451" y="2494546"/>
                  <a:pt x="5246516" y="2494546"/>
                  <a:pt x="5246516" y="2497606"/>
                </a:cubicBezTo>
                <a:cubicBezTo>
                  <a:pt x="5289425" y="2470068"/>
                  <a:pt x="5332335" y="2445590"/>
                  <a:pt x="5375244" y="2418052"/>
                </a:cubicBezTo>
                <a:cubicBezTo>
                  <a:pt x="5387504" y="2433351"/>
                  <a:pt x="5326205" y="2457829"/>
                  <a:pt x="5381374" y="2463948"/>
                </a:cubicBezTo>
                <a:cubicBezTo>
                  <a:pt x="5375244" y="2479247"/>
                  <a:pt x="5369114" y="2491486"/>
                  <a:pt x="5362984" y="2506785"/>
                </a:cubicBezTo>
                <a:cubicBezTo>
                  <a:pt x="5366049" y="2506785"/>
                  <a:pt x="5369114" y="2509845"/>
                  <a:pt x="5372179" y="2509845"/>
                </a:cubicBezTo>
                <a:cubicBezTo>
                  <a:pt x="5408959" y="2488426"/>
                  <a:pt x="5445738" y="2467008"/>
                  <a:pt x="5482517" y="2445590"/>
                </a:cubicBezTo>
                <a:cubicBezTo>
                  <a:pt x="5507037" y="2494546"/>
                  <a:pt x="5445738" y="2467008"/>
                  <a:pt x="5454933" y="2500665"/>
                </a:cubicBezTo>
                <a:cubicBezTo>
                  <a:pt x="5464127" y="2500665"/>
                  <a:pt x="5476387" y="2500665"/>
                  <a:pt x="5491712" y="2497606"/>
                </a:cubicBezTo>
                <a:cubicBezTo>
                  <a:pt x="5390569" y="2604697"/>
                  <a:pt x="5292490" y="2711789"/>
                  <a:pt x="5169892" y="2800522"/>
                </a:cubicBezTo>
                <a:cubicBezTo>
                  <a:pt x="5166827" y="2785223"/>
                  <a:pt x="5163762" y="2776044"/>
                  <a:pt x="5160697" y="2757685"/>
                </a:cubicBezTo>
                <a:cubicBezTo>
                  <a:pt x="5139243" y="2776044"/>
                  <a:pt x="5117787" y="2791343"/>
                  <a:pt x="5099398" y="2803582"/>
                </a:cubicBezTo>
                <a:cubicBezTo>
                  <a:pt x="5071813" y="2821940"/>
                  <a:pt x="5044229" y="2840299"/>
                  <a:pt x="5016644" y="2858658"/>
                </a:cubicBezTo>
                <a:cubicBezTo>
                  <a:pt x="4985995" y="2883136"/>
                  <a:pt x="4955345" y="2913733"/>
                  <a:pt x="4924695" y="2938211"/>
                </a:cubicBezTo>
                <a:cubicBezTo>
                  <a:pt x="4912436" y="2947391"/>
                  <a:pt x="4912436" y="2977988"/>
                  <a:pt x="4881786" y="2965749"/>
                </a:cubicBezTo>
                <a:cubicBezTo>
                  <a:pt x="4875656" y="2962689"/>
                  <a:pt x="4854201" y="2993287"/>
                  <a:pt x="4838877" y="3008586"/>
                </a:cubicBezTo>
                <a:lnTo>
                  <a:pt x="4837250" y="3041390"/>
                </a:lnTo>
                <a:lnTo>
                  <a:pt x="4836930" y="3047885"/>
                </a:lnTo>
                <a:cubicBezTo>
                  <a:pt x="4833508" y="3059738"/>
                  <a:pt x="4826662" y="3068915"/>
                  <a:pt x="4814491" y="3070444"/>
                </a:cubicBezTo>
                <a:cubicBezTo>
                  <a:pt x="4771892" y="3076562"/>
                  <a:pt x="4762764" y="3110209"/>
                  <a:pt x="4741465" y="3134680"/>
                </a:cubicBezTo>
                <a:cubicBezTo>
                  <a:pt x="4738422" y="3134680"/>
                  <a:pt x="4735380" y="3131621"/>
                  <a:pt x="4732337" y="3131621"/>
                </a:cubicBezTo>
                <a:lnTo>
                  <a:pt x="4732493" y="3131273"/>
                </a:lnTo>
                <a:lnTo>
                  <a:pt x="4731603" y="3130976"/>
                </a:lnTo>
                <a:cubicBezTo>
                  <a:pt x="4740798" y="3109558"/>
                  <a:pt x="4749993" y="3088140"/>
                  <a:pt x="4759188" y="3069781"/>
                </a:cubicBezTo>
                <a:cubicBezTo>
                  <a:pt x="4713214" y="3118737"/>
                  <a:pt x="4667239" y="3170753"/>
                  <a:pt x="4618200" y="3219709"/>
                </a:cubicBezTo>
                <a:cubicBezTo>
                  <a:pt x="4609005" y="3231949"/>
                  <a:pt x="4599810" y="3241128"/>
                  <a:pt x="4602875" y="3262546"/>
                </a:cubicBezTo>
                <a:cubicBezTo>
                  <a:pt x="4605940" y="3296204"/>
                  <a:pt x="4556901" y="3348219"/>
                  <a:pt x="4523187" y="3354339"/>
                </a:cubicBezTo>
                <a:cubicBezTo>
                  <a:pt x="4486407" y="3360459"/>
                  <a:pt x="4458822" y="3372698"/>
                  <a:pt x="4449627" y="3412474"/>
                </a:cubicBezTo>
                <a:cubicBezTo>
                  <a:pt x="4446563" y="3424714"/>
                  <a:pt x="4431238" y="3433893"/>
                  <a:pt x="4415913" y="3440012"/>
                </a:cubicBezTo>
                <a:cubicBezTo>
                  <a:pt x="4425108" y="3430833"/>
                  <a:pt x="4431238" y="3421654"/>
                  <a:pt x="4437368" y="3412474"/>
                </a:cubicBezTo>
                <a:cubicBezTo>
                  <a:pt x="4385263" y="3418594"/>
                  <a:pt x="4366874" y="3467550"/>
                  <a:pt x="4327029" y="3495088"/>
                </a:cubicBezTo>
                <a:cubicBezTo>
                  <a:pt x="4290250" y="3519566"/>
                  <a:pt x="4256535" y="3556284"/>
                  <a:pt x="4222821" y="3589941"/>
                </a:cubicBezTo>
                <a:cubicBezTo>
                  <a:pt x="4225886" y="3589941"/>
                  <a:pt x="4225886" y="3593001"/>
                  <a:pt x="4228951" y="3596060"/>
                </a:cubicBezTo>
                <a:cubicBezTo>
                  <a:pt x="4265730" y="3565463"/>
                  <a:pt x="4302510" y="3534865"/>
                  <a:pt x="4336224" y="3507327"/>
                </a:cubicBezTo>
                <a:cubicBezTo>
                  <a:pt x="4339289" y="3507327"/>
                  <a:pt x="4342354" y="3510387"/>
                  <a:pt x="4342354" y="3513447"/>
                </a:cubicBezTo>
                <a:cubicBezTo>
                  <a:pt x="4302510" y="3544044"/>
                  <a:pt x="4265730" y="3577702"/>
                  <a:pt x="4225886" y="3611359"/>
                </a:cubicBezTo>
                <a:cubicBezTo>
                  <a:pt x="4189106" y="3645017"/>
                  <a:pt x="4155392" y="3678674"/>
                  <a:pt x="4115547" y="3709272"/>
                </a:cubicBezTo>
                <a:cubicBezTo>
                  <a:pt x="4078768" y="3739869"/>
                  <a:pt x="4038923" y="3773527"/>
                  <a:pt x="3996014" y="3804124"/>
                </a:cubicBezTo>
                <a:cubicBezTo>
                  <a:pt x="3959235" y="3828602"/>
                  <a:pt x="3913260" y="3843901"/>
                  <a:pt x="3879546" y="3871439"/>
                </a:cubicBezTo>
                <a:cubicBezTo>
                  <a:pt x="3756948" y="3966292"/>
                  <a:pt x="3622090" y="4036666"/>
                  <a:pt x="3484167" y="4107041"/>
                </a:cubicBezTo>
                <a:cubicBezTo>
                  <a:pt x="3386088" y="4162116"/>
                  <a:pt x="3281879" y="4211073"/>
                  <a:pt x="3183801" y="4266149"/>
                </a:cubicBezTo>
                <a:cubicBezTo>
                  <a:pt x="3116372" y="4299806"/>
                  <a:pt x="3055073" y="4339583"/>
                  <a:pt x="2990709" y="4376300"/>
                </a:cubicBezTo>
                <a:cubicBezTo>
                  <a:pt x="2987644" y="4379360"/>
                  <a:pt x="2981514" y="4382419"/>
                  <a:pt x="2978449" y="4388539"/>
                </a:cubicBezTo>
                <a:cubicBezTo>
                  <a:pt x="2941669" y="4416077"/>
                  <a:pt x="2917150" y="4455854"/>
                  <a:pt x="2861981" y="4465033"/>
                </a:cubicBezTo>
                <a:cubicBezTo>
                  <a:pt x="2831331" y="4468093"/>
                  <a:pt x="2800682" y="4495631"/>
                  <a:pt x="2773097" y="4510929"/>
                </a:cubicBezTo>
                <a:cubicBezTo>
                  <a:pt x="2779227" y="4504810"/>
                  <a:pt x="2788422" y="4495631"/>
                  <a:pt x="2797617" y="4483392"/>
                </a:cubicBezTo>
                <a:cubicBezTo>
                  <a:pt x="2733253" y="4468093"/>
                  <a:pt x="2699538" y="4510929"/>
                  <a:pt x="2671953" y="4550706"/>
                </a:cubicBezTo>
                <a:cubicBezTo>
                  <a:pt x="2656629" y="4532348"/>
                  <a:pt x="2644369" y="4526228"/>
                  <a:pt x="2635174" y="4517049"/>
                </a:cubicBezTo>
                <a:cubicBezTo>
                  <a:pt x="2625979" y="4529288"/>
                  <a:pt x="2616784" y="4541527"/>
                  <a:pt x="2604524" y="4553766"/>
                </a:cubicBezTo>
                <a:cubicBezTo>
                  <a:pt x="2629044" y="4529288"/>
                  <a:pt x="2629044" y="4575185"/>
                  <a:pt x="2647434" y="4566005"/>
                </a:cubicBezTo>
                <a:lnTo>
                  <a:pt x="2647260" y="4566740"/>
                </a:lnTo>
                <a:lnTo>
                  <a:pt x="2647950" y="4566832"/>
                </a:lnTo>
                <a:cubicBezTo>
                  <a:pt x="2644854" y="4576016"/>
                  <a:pt x="2644854" y="4588263"/>
                  <a:pt x="2638663" y="4591324"/>
                </a:cubicBezTo>
                <a:lnTo>
                  <a:pt x="2601711" y="4612642"/>
                </a:lnTo>
                <a:lnTo>
                  <a:pt x="2602001" y="4614920"/>
                </a:lnTo>
                <a:lnTo>
                  <a:pt x="2601515" y="4615167"/>
                </a:lnTo>
                <a:lnTo>
                  <a:pt x="2601515" y="4615817"/>
                </a:lnTo>
                <a:lnTo>
                  <a:pt x="2601438" y="4615206"/>
                </a:lnTo>
                <a:lnTo>
                  <a:pt x="2601088" y="4615383"/>
                </a:lnTo>
                <a:lnTo>
                  <a:pt x="2599544" y="4629878"/>
                </a:lnTo>
                <a:cubicBezTo>
                  <a:pt x="2599161" y="4635615"/>
                  <a:pt x="2598394" y="4640969"/>
                  <a:pt x="2595329" y="4645559"/>
                </a:cubicBezTo>
                <a:cubicBezTo>
                  <a:pt x="2555485" y="4691455"/>
                  <a:pt x="2518706" y="4737352"/>
                  <a:pt x="2478861" y="4780189"/>
                </a:cubicBezTo>
                <a:cubicBezTo>
                  <a:pt x="2472731" y="4789368"/>
                  <a:pt x="2457407" y="4786308"/>
                  <a:pt x="2454342" y="4789368"/>
                </a:cubicBezTo>
                <a:cubicBezTo>
                  <a:pt x="2439017" y="4807726"/>
                  <a:pt x="2432887" y="4832205"/>
                  <a:pt x="2417562" y="4838324"/>
                </a:cubicBezTo>
                <a:cubicBezTo>
                  <a:pt x="2402237" y="4847503"/>
                  <a:pt x="2380783" y="4838324"/>
                  <a:pt x="2365458" y="4835264"/>
                </a:cubicBezTo>
                <a:cubicBezTo>
                  <a:pt x="2353198" y="4850563"/>
                  <a:pt x="2344003" y="4865862"/>
                  <a:pt x="2325613" y="4887280"/>
                </a:cubicBezTo>
                <a:cubicBezTo>
                  <a:pt x="2325613" y="4841384"/>
                  <a:pt x="2337873" y="4810786"/>
                  <a:pt x="2362393" y="4789368"/>
                </a:cubicBezTo>
                <a:cubicBezTo>
                  <a:pt x="2374653" y="4777129"/>
                  <a:pt x="2383848" y="4764890"/>
                  <a:pt x="2362393" y="4749591"/>
                </a:cubicBezTo>
                <a:cubicBezTo>
                  <a:pt x="2359328" y="4746531"/>
                  <a:pt x="2365458" y="4725113"/>
                  <a:pt x="2371588" y="4712874"/>
                </a:cubicBezTo>
                <a:cubicBezTo>
                  <a:pt x="2374653" y="4706754"/>
                  <a:pt x="2383848" y="4700635"/>
                  <a:pt x="2389978" y="4697575"/>
                </a:cubicBezTo>
                <a:cubicBezTo>
                  <a:pt x="2386913" y="4694515"/>
                  <a:pt x="2383848" y="4691455"/>
                  <a:pt x="2383848" y="4688396"/>
                </a:cubicBezTo>
                <a:cubicBezTo>
                  <a:pt x="2340938" y="4706754"/>
                  <a:pt x="2301094" y="4728173"/>
                  <a:pt x="2252055" y="4749591"/>
                </a:cubicBezTo>
                <a:cubicBezTo>
                  <a:pt x="2252055" y="4731232"/>
                  <a:pt x="2255119" y="4718993"/>
                  <a:pt x="2255119" y="4709814"/>
                </a:cubicBezTo>
                <a:cubicBezTo>
                  <a:pt x="2245925" y="4709814"/>
                  <a:pt x="2236730" y="4709814"/>
                  <a:pt x="2224470" y="4709814"/>
                </a:cubicBezTo>
                <a:cubicBezTo>
                  <a:pt x="2227535" y="4694515"/>
                  <a:pt x="2230600" y="4679216"/>
                  <a:pt x="2233665" y="4663918"/>
                </a:cubicBezTo>
                <a:cubicBezTo>
                  <a:pt x="2206080" y="4666977"/>
                  <a:pt x="2178496" y="4694515"/>
                  <a:pt x="2135586" y="4676157"/>
                </a:cubicBezTo>
                <a:cubicBezTo>
                  <a:pt x="2101872" y="4697575"/>
                  <a:pt x="2058962" y="4725113"/>
                  <a:pt x="2016053" y="4752651"/>
                </a:cubicBezTo>
                <a:cubicBezTo>
                  <a:pt x="2012988" y="4752651"/>
                  <a:pt x="2012988" y="4752651"/>
                  <a:pt x="2012988" y="4752651"/>
                </a:cubicBezTo>
                <a:cubicBezTo>
                  <a:pt x="2049767" y="4718993"/>
                  <a:pt x="2083482" y="4682276"/>
                  <a:pt x="2120261" y="4648619"/>
                </a:cubicBezTo>
                <a:cubicBezTo>
                  <a:pt x="2117197" y="4645559"/>
                  <a:pt x="2114132" y="4642499"/>
                  <a:pt x="2111067" y="4639440"/>
                </a:cubicBezTo>
                <a:cubicBezTo>
                  <a:pt x="2098807" y="4648619"/>
                  <a:pt x="2083482" y="4657798"/>
                  <a:pt x="2071222" y="4663918"/>
                </a:cubicBezTo>
                <a:cubicBezTo>
                  <a:pt x="2068157" y="4651679"/>
                  <a:pt x="2065092" y="4636380"/>
                  <a:pt x="2065092" y="4630260"/>
                </a:cubicBezTo>
                <a:cubicBezTo>
                  <a:pt x="2037508" y="4627200"/>
                  <a:pt x="2016053" y="4624141"/>
                  <a:pt x="1997663" y="4624141"/>
                </a:cubicBezTo>
                <a:cubicBezTo>
                  <a:pt x="1997663" y="4627200"/>
                  <a:pt x="2000728" y="4642499"/>
                  <a:pt x="1997663" y="4648619"/>
                </a:cubicBezTo>
                <a:cubicBezTo>
                  <a:pt x="1988468" y="4660858"/>
                  <a:pt x="1979274" y="4682276"/>
                  <a:pt x="1960884" y="4666977"/>
                </a:cubicBezTo>
                <a:cubicBezTo>
                  <a:pt x="1951689" y="4660858"/>
                  <a:pt x="1942494" y="4642499"/>
                  <a:pt x="1945559" y="4630260"/>
                </a:cubicBezTo>
                <a:cubicBezTo>
                  <a:pt x="1948624" y="4608842"/>
                  <a:pt x="1960884" y="4587424"/>
                  <a:pt x="1970079" y="4566005"/>
                </a:cubicBezTo>
                <a:cubicBezTo>
                  <a:pt x="1967014" y="4566005"/>
                  <a:pt x="1963949" y="4562945"/>
                  <a:pt x="1963949" y="4559886"/>
                </a:cubicBezTo>
                <a:cubicBezTo>
                  <a:pt x="1951689" y="4575185"/>
                  <a:pt x="1939429" y="4593543"/>
                  <a:pt x="1924104" y="4605782"/>
                </a:cubicBezTo>
                <a:cubicBezTo>
                  <a:pt x="1908780" y="4624141"/>
                  <a:pt x="1893455" y="4639440"/>
                  <a:pt x="1875065" y="4660858"/>
                </a:cubicBezTo>
                <a:cubicBezTo>
                  <a:pt x="1878130" y="4639440"/>
                  <a:pt x="1881195" y="4624141"/>
                  <a:pt x="1884260" y="4599663"/>
                </a:cubicBezTo>
                <a:cubicBezTo>
                  <a:pt x="1850545" y="4639440"/>
                  <a:pt x="1826026" y="4670037"/>
                  <a:pt x="1798441" y="4703695"/>
                </a:cubicBezTo>
                <a:cubicBezTo>
                  <a:pt x="1795376" y="4703695"/>
                  <a:pt x="1795376" y="4700635"/>
                  <a:pt x="1792311" y="4700635"/>
                </a:cubicBezTo>
                <a:cubicBezTo>
                  <a:pt x="1798441" y="4691455"/>
                  <a:pt x="1804571" y="4682276"/>
                  <a:pt x="1807636" y="4670037"/>
                </a:cubicBezTo>
                <a:cubicBezTo>
                  <a:pt x="1810701" y="4670037"/>
                  <a:pt x="1807636" y="4670037"/>
                  <a:pt x="1807636" y="4666977"/>
                </a:cubicBezTo>
                <a:lnTo>
                  <a:pt x="1805029" y="4666977"/>
                </a:lnTo>
                <a:lnTo>
                  <a:pt x="1804944" y="4667077"/>
                </a:lnTo>
                <a:lnTo>
                  <a:pt x="1804382" y="4667195"/>
                </a:lnTo>
                <a:lnTo>
                  <a:pt x="1746337" y="4734292"/>
                </a:lnTo>
                <a:cubicBezTo>
                  <a:pt x="1731012" y="4752651"/>
                  <a:pt x="1712622" y="4767950"/>
                  <a:pt x="1694233" y="4783248"/>
                </a:cubicBezTo>
                <a:cubicBezTo>
                  <a:pt x="1697298" y="4786308"/>
                  <a:pt x="1700363" y="4789368"/>
                  <a:pt x="1703428" y="4792428"/>
                </a:cubicBezTo>
                <a:cubicBezTo>
                  <a:pt x="1718752" y="4777129"/>
                  <a:pt x="1737142" y="4764890"/>
                  <a:pt x="1752467" y="4752651"/>
                </a:cubicBezTo>
                <a:cubicBezTo>
                  <a:pt x="1734077" y="4774069"/>
                  <a:pt x="1773922" y="4798547"/>
                  <a:pt x="1743272" y="4819965"/>
                </a:cubicBezTo>
                <a:cubicBezTo>
                  <a:pt x="1721817" y="4835264"/>
                  <a:pt x="1706492" y="4859742"/>
                  <a:pt x="1688103" y="4881161"/>
                </a:cubicBezTo>
                <a:cubicBezTo>
                  <a:pt x="1685038" y="4878101"/>
                  <a:pt x="1681973" y="4878101"/>
                  <a:pt x="1678908" y="4875041"/>
                </a:cubicBezTo>
                <a:cubicBezTo>
                  <a:pt x="1688103" y="4859742"/>
                  <a:pt x="1694233" y="4844444"/>
                  <a:pt x="1706492" y="4823025"/>
                </a:cubicBezTo>
                <a:cubicBezTo>
                  <a:pt x="1691168" y="4832205"/>
                  <a:pt x="1681973" y="4835264"/>
                  <a:pt x="1666648" y="4844444"/>
                </a:cubicBezTo>
                <a:cubicBezTo>
                  <a:pt x="1672778" y="4832205"/>
                  <a:pt x="1675843" y="4826085"/>
                  <a:pt x="1681973" y="4816906"/>
                </a:cubicBezTo>
                <a:cubicBezTo>
                  <a:pt x="1666648" y="4807726"/>
                  <a:pt x="1648258" y="4798547"/>
                  <a:pt x="1639063" y="4795487"/>
                </a:cubicBezTo>
                <a:cubicBezTo>
                  <a:pt x="1605349" y="4804667"/>
                  <a:pt x="1580829" y="4810786"/>
                  <a:pt x="1547115" y="4819965"/>
                </a:cubicBezTo>
                <a:cubicBezTo>
                  <a:pt x="1556310" y="4804667"/>
                  <a:pt x="1568570" y="4792428"/>
                  <a:pt x="1574699" y="4777129"/>
                </a:cubicBezTo>
                <a:cubicBezTo>
                  <a:pt x="1580829" y="4764890"/>
                  <a:pt x="1580829" y="4749591"/>
                  <a:pt x="1583894" y="4737352"/>
                </a:cubicBezTo>
                <a:cubicBezTo>
                  <a:pt x="1580829" y="4737352"/>
                  <a:pt x="1577764" y="4734292"/>
                  <a:pt x="1574699" y="4734292"/>
                </a:cubicBezTo>
                <a:cubicBezTo>
                  <a:pt x="1580829" y="4722053"/>
                  <a:pt x="1586959" y="4712874"/>
                  <a:pt x="1593089" y="4700635"/>
                </a:cubicBezTo>
                <a:cubicBezTo>
                  <a:pt x="1593089" y="4700635"/>
                  <a:pt x="1590024" y="4700635"/>
                  <a:pt x="1590024" y="4697575"/>
                </a:cubicBezTo>
                <a:cubicBezTo>
                  <a:pt x="1577764" y="4709814"/>
                  <a:pt x="1562440" y="4722053"/>
                  <a:pt x="1550180" y="4731232"/>
                </a:cubicBezTo>
                <a:cubicBezTo>
                  <a:pt x="1547115" y="4731232"/>
                  <a:pt x="1544050" y="4728173"/>
                  <a:pt x="1540985" y="4728173"/>
                </a:cubicBezTo>
                <a:cubicBezTo>
                  <a:pt x="1550180" y="4709814"/>
                  <a:pt x="1559375" y="4688396"/>
                  <a:pt x="1565505" y="4673097"/>
                </a:cubicBezTo>
                <a:cubicBezTo>
                  <a:pt x="1550180" y="4679216"/>
                  <a:pt x="1528725" y="4688396"/>
                  <a:pt x="1510335" y="4700635"/>
                </a:cubicBezTo>
                <a:cubicBezTo>
                  <a:pt x="1507270" y="4703695"/>
                  <a:pt x="1479686" y="4712874"/>
                  <a:pt x="1501141" y="4734292"/>
                </a:cubicBezTo>
                <a:cubicBezTo>
                  <a:pt x="1504205" y="4734292"/>
                  <a:pt x="1495011" y="4752651"/>
                  <a:pt x="1488881" y="4758770"/>
                </a:cubicBezTo>
                <a:cubicBezTo>
                  <a:pt x="1473556" y="4777129"/>
                  <a:pt x="1458231" y="4795487"/>
                  <a:pt x="1436776" y="4807726"/>
                </a:cubicBezTo>
                <a:cubicBezTo>
                  <a:pt x="1442906" y="4798547"/>
                  <a:pt x="1445971" y="4789368"/>
                  <a:pt x="1452101" y="4777129"/>
                </a:cubicBezTo>
                <a:cubicBezTo>
                  <a:pt x="1445971" y="4761830"/>
                  <a:pt x="1436776" y="4749591"/>
                  <a:pt x="1427582" y="4731232"/>
                </a:cubicBezTo>
                <a:cubicBezTo>
                  <a:pt x="1418387" y="4734292"/>
                  <a:pt x="1412257" y="4740412"/>
                  <a:pt x="1396932" y="4749591"/>
                </a:cubicBezTo>
                <a:cubicBezTo>
                  <a:pt x="1406127" y="4722053"/>
                  <a:pt x="1415322" y="4697575"/>
                  <a:pt x="1424517" y="4676157"/>
                </a:cubicBezTo>
                <a:cubicBezTo>
                  <a:pt x="1421452" y="4673097"/>
                  <a:pt x="1418387" y="4673097"/>
                  <a:pt x="1418387" y="4670037"/>
                </a:cubicBezTo>
                <a:cubicBezTo>
                  <a:pt x="1390802" y="4694515"/>
                  <a:pt x="1357088" y="4712874"/>
                  <a:pt x="1341763" y="4743471"/>
                </a:cubicBezTo>
                <a:cubicBezTo>
                  <a:pt x="1317243" y="4786308"/>
                  <a:pt x="1274334" y="4798547"/>
                  <a:pt x="1234489" y="4810786"/>
                </a:cubicBezTo>
                <a:cubicBezTo>
                  <a:pt x="1209970" y="4819965"/>
                  <a:pt x="1185450" y="4829145"/>
                  <a:pt x="1160930" y="4832205"/>
                </a:cubicBezTo>
                <a:cubicBezTo>
                  <a:pt x="1142541" y="4832205"/>
                  <a:pt x="1124151" y="4823025"/>
                  <a:pt x="1105761" y="4819965"/>
                </a:cubicBezTo>
                <a:cubicBezTo>
                  <a:pt x="1105761" y="4804667"/>
                  <a:pt x="1102696" y="4783248"/>
                  <a:pt x="1133346" y="4774069"/>
                </a:cubicBezTo>
                <a:cubicBezTo>
                  <a:pt x="1139476" y="4774069"/>
                  <a:pt x="1142541" y="4755710"/>
                  <a:pt x="1148671" y="4740412"/>
                </a:cubicBezTo>
                <a:cubicBezTo>
                  <a:pt x="1133346" y="4746531"/>
                  <a:pt x="1127216" y="4746531"/>
                  <a:pt x="1118021" y="4749591"/>
                </a:cubicBezTo>
                <a:cubicBezTo>
                  <a:pt x="1124151" y="4740412"/>
                  <a:pt x="1130281" y="4731232"/>
                  <a:pt x="1136411" y="4718993"/>
                </a:cubicBezTo>
                <a:cubicBezTo>
                  <a:pt x="1118021" y="4725113"/>
                  <a:pt x="1102696" y="4728173"/>
                  <a:pt x="1084307" y="4737352"/>
                </a:cubicBezTo>
                <a:cubicBezTo>
                  <a:pt x="1068982" y="4743471"/>
                  <a:pt x="1056722" y="4752651"/>
                  <a:pt x="1044462" y="4758770"/>
                </a:cubicBezTo>
                <a:cubicBezTo>
                  <a:pt x="1038332" y="4746531"/>
                  <a:pt x="1032202" y="4731232"/>
                  <a:pt x="1026072" y="4715934"/>
                </a:cubicBezTo>
                <a:cubicBezTo>
                  <a:pt x="1023007" y="4715934"/>
                  <a:pt x="1019943" y="4715934"/>
                  <a:pt x="1016878" y="4718993"/>
                </a:cubicBezTo>
                <a:cubicBezTo>
                  <a:pt x="1019943" y="4703695"/>
                  <a:pt x="1026072" y="4688396"/>
                  <a:pt x="1029137" y="4673097"/>
                </a:cubicBezTo>
                <a:cubicBezTo>
                  <a:pt x="1035267" y="4639440"/>
                  <a:pt x="1053657" y="4621081"/>
                  <a:pt x="1081242" y="4608842"/>
                </a:cubicBezTo>
                <a:cubicBezTo>
                  <a:pt x="1084307" y="4607312"/>
                  <a:pt x="1085839" y="4604252"/>
                  <a:pt x="1086989" y="4600810"/>
                </a:cubicBezTo>
                <a:lnTo>
                  <a:pt x="1090244" y="4591059"/>
                </a:lnTo>
                <a:lnTo>
                  <a:pt x="1033054" y="4606292"/>
                </a:lnTo>
                <a:lnTo>
                  <a:pt x="1032478" y="4605710"/>
                </a:lnTo>
                <a:lnTo>
                  <a:pt x="1032202" y="4605782"/>
                </a:lnTo>
                <a:cubicBezTo>
                  <a:pt x="1029137" y="4602722"/>
                  <a:pt x="1026072" y="4599663"/>
                  <a:pt x="1023007" y="4596603"/>
                </a:cubicBezTo>
                <a:cubicBezTo>
                  <a:pt x="1056722" y="4566005"/>
                  <a:pt x="1087372" y="4538467"/>
                  <a:pt x="1121086" y="4507870"/>
                </a:cubicBezTo>
                <a:lnTo>
                  <a:pt x="1121089" y="4507953"/>
                </a:lnTo>
                <a:lnTo>
                  <a:pt x="1121183" y="4507867"/>
                </a:lnTo>
                <a:cubicBezTo>
                  <a:pt x="1125741" y="4524784"/>
                  <a:pt x="1121183" y="4539394"/>
                  <a:pt x="1113965" y="4553235"/>
                </a:cubicBezTo>
                <a:lnTo>
                  <a:pt x="1091259" y="4593170"/>
                </a:lnTo>
                <a:lnTo>
                  <a:pt x="1124151" y="4578244"/>
                </a:lnTo>
                <a:cubicBezTo>
                  <a:pt x="1132580" y="4570595"/>
                  <a:pt x="1137943" y="4559886"/>
                  <a:pt x="1139476" y="4544587"/>
                </a:cubicBezTo>
                <a:cubicBezTo>
                  <a:pt x="1139476" y="4538467"/>
                  <a:pt x="1142541" y="4532348"/>
                  <a:pt x="1145606" y="4529288"/>
                </a:cubicBezTo>
                <a:cubicBezTo>
                  <a:pt x="1170125" y="4495631"/>
                  <a:pt x="1191580" y="4465033"/>
                  <a:pt x="1216100" y="4434435"/>
                </a:cubicBezTo>
                <a:cubicBezTo>
                  <a:pt x="1216100" y="4431376"/>
                  <a:pt x="1216100" y="4428316"/>
                  <a:pt x="1216100" y="4425256"/>
                </a:cubicBezTo>
                <a:cubicBezTo>
                  <a:pt x="1191580" y="4443615"/>
                  <a:pt x="1167060" y="4458914"/>
                  <a:pt x="1145606" y="4477272"/>
                </a:cubicBezTo>
                <a:cubicBezTo>
                  <a:pt x="1142541" y="4474212"/>
                  <a:pt x="1139476" y="4471153"/>
                  <a:pt x="1136411" y="4468093"/>
                </a:cubicBezTo>
                <a:cubicBezTo>
                  <a:pt x="1151736" y="4452794"/>
                  <a:pt x="1167060" y="4434435"/>
                  <a:pt x="1176255" y="4416077"/>
                </a:cubicBezTo>
                <a:cubicBezTo>
                  <a:pt x="1182385" y="4400778"/>
                  <a:pt x="1209970" y="4373240"/>
                  <a:pt x="1173190" y="4367121"/>
                </a:cubicBezTo>
                <a:cubicBezTo>
                  <a:pt x="1170125" y="4342643"/>
                  <a:pt x="1167060" y="4321224"/>
                  <a:pt x="1163995" y="4299806"/>
                </a:cubicBezTo>
                <a:cubicBezTo>
                  <a:pt x="1148671" y="4305925"/>
                  <a:pt x="1133346" y="4315105"/>
                  <a:pt x="1114956" y="4324284"/>
                </a:cubicBezTo>
                <a:cubicBezTo>
                  <a:pt x="1114956" y="4324284"/>
                  <a:pt x="1111891" y="4321224"/>
                  <a:pt x="1108826" y="4321224"/>
                </a:cubicBezTo>
                <a:cubicBezTo>
                  <a:pt x="1124151" y="4302866"/>
                  <a:pt x="1139476" y="4281447"/>
                  <a:pt x="1148671" y="4263089"/>
                </a:cubicBezTo>
                <a:cubicBezTo>
                  <a:pt x="1157866" y="4244730"/>
                  <a:pt x="1163995" y="4229431"/>
                  <a:pt x="1167060" y="4211073"/>
                </a:cubicBezTo>
                <a:cubicBezTo>
                  <a:pt x="1170125" y="4204953"/>
                  <a:pt x="1167060" y="4195774"/>
                  <a:pt x="1167060" y="4183535"/>
                </a:cubicBezTo>
                <a:cubicBezTo>
                  <a:pt x="1157866" y="4192714"/>
                  <a:pt x="1145606" y="4201894"/>
                  <a:pt x="1127216" y="4217192"/>
                </a:cubicBezTo>
                <a:cubicBezTo>
                  <a:pt x="1142541" y="4186595"/>
                  <a:pt x="1151736" y="4162116"/>
                  <a:pt x="1167060" y="4131519"/>
                </a:cubicBezTo>
                <a:cubicBezTo>
                  <a:pt x="1153268" y="4140698"/>
                  <a:pt x="1141008" y="4149113"/>
                  <a:pt x="1129515" y="4157144"/>
                </a:cubicBezTo>
                <a:lnTo>
                  <a:pt x="1102562" y="4176230"/>
                </a:lnTo>
                <a:lnTo>
                  <a:pt x="1100602" y="4183568"/>
                </a:lnTo>
                <a:lnTo>
                  <a:pt x="1091081" y="4193734"/>
                </a:lnTo>
                <a:lnTo>
                  <a:pt x="1075613" y="4227024"/>
                </a:lnTo>
                <a:cubicBezTo>
                  <a:pt x="1066416" y="4242418"/>
                  <a:pt x="1057220" y="4257812"/>
                  <a:pt x="1041892" y="4273206"/>
                </a:cubicBezTo>
                <a:cubicBezTo>
                  <a:pt x="1040359" y="4276285"/>
                  <a:pt x="1037294" y="4277824"/>
                  <a:pt x="1033462" y="4278978"/>
                </a:cubicBezTo>
                <a:lnTo>
                  <a:pt x="1020851" y="4282331"/>
                </a:lnTo>
                <a:lnTo>
                  <a:pt x="986957" y="4361695"/>
                </a:lnTo>
                <a:lnTo>
                  <a:pt x="989595" y="4366922"/>
                </a:lnTo>
                <a:lnTo>
                  <a:pt x="1003852" y="4357559"/>
                </a:lnTo>
                <a:cubicBezTo>
                  <a:pt x="1009215" y="4354117"/>
                  <a:pt x="1015345" y="4350292"/>
                  <a:pt x="1023007" y="4345702"/>
                </a:cubicBezTo>
                <a:lnTo>
                  <a:pt x="1021321" y="4348038"/>
                </a:lnTo>
                <a:lnTo>
                  <a:pt x="1023937" y="4346431"/>
                </a:lnTo>
                <a:cubicBezTo>
                  <a:pt x="990039" y="4392224"/>
                  <a:pt x="959223" y="4434965"/>
                  <a:pt x="928407" y="4477705"/>
                </a:cubicBezTo>
                <a:cubicBezTo>
                  <a:pt x="925325" y="4474652"/>
                  <a:pt x="922243" y="4471599"/>
                  <a:pt x="919162" y="4471599"/>
                </a:cubicBezTo>
                <a:lnTo>
                  <a:pt x="919256" y="4471457"/>
                </a:lnTo>
                <a:lnTo>
                  <a:pt x="918799" y="4471153"/>
                </a:lnTo>
                <a:cubicBezTo>
                  <a:pt x="934124" y="4446674"/>
                  <a:pt x="949449" y="4425256"/>
                  <a:pt x="964773" y="4400778"/>
                </a:cubicBezTo>
                <a:cubicBezTo>
                  <a:pt x="967838" y="4400778"/>
                  <a:pt x="967838" y="4394659"/>
                  <a:pt x="967838" y="4391599"/>
                </a:cubicBezTo>
                <a:cubicBezTo>
                  <a:pt x="949449" y="4357941"/>
                  <a:pt x="973968" y="4330404"/>
                  <a:pt x="983163" y="4299806"/>
                </a:cubicBezTo>
                <a:cubicBezTo>
                  <a:pt x="943319" y="4342643"/>
                  <a:pt x="903474" y="4385479"/>
                  <a:pt x="863630" y="4425256"/>
                </a:cubicBezTo>
                <a:cubicBezTo>
                  <a:pt x="857500" y="4354882"/>
                  <a:pt x="909604" y="4312045"/>
                  <a:pt x="946384" y="4263089"/>
                </a:cubicBezTo>
                <a:cubicBezTo>
                  <a:pt x="967838" y="4232491"/>
                  <a:pt x="998488" y="4204953"/>
                  <a:pt x="1007683" y="4171296"/>
                </a:cubicBezTo>
                <a:cubicBezTo>
                  <a:pt x="1013813" y="4146818"/>
                  <a:pt x="1019943" y="4131519"/>
                  <a:pt x="1035267" y="4116220"/>
                </a:cubicBezTo>
                <a:cubicBezTo>
                  <a:pt x="1016878" y="4082563"/>
                  <a:pt x="1023007" y="4079503"/>
                  <a:pt x="1059787" y="4067264"/>
                </a:cubicBezTo>
                <a:cubicBezTo>
                  <a:pt x="1072047" y="4064204"/>
                  <a:pt x="1081242" y="4042786"/>
                  <a:pt x="1096566" y="4024427"/>
                </a:cubicBezTo>
                <a:cubicBezTo>
                  <a:pt x="1099631" y="4036666"/>
                  <a:pt x="1102696" y="4045846"/>
                  <a:pt x="1105761" y="4064204"/>
                </a:cubicBezTo>
                <a:cubicBezTo>
                  <a:pt x="1127216" y="4036666"/>
                  <a:pt x="1142541" y="4012188"/>
                  <a:pt x="1160930" y="3987710"/>
                </a:cubicBezTo>
                <a:cubicBezTo>
                  <a:pt x="1173190" y="3972411"/>
                  <a:pt x="1191580" y="3957112"/>
                  <a:pt x="1179320" y="3932634"/>
                </a:cubicBezTo>
                <a:cubicBezTo>
                  <a:pt x="1179320" y="3926515"/>
                  <a:pt x="1173190" y="3923455"/>
                  <a:pt x="1173190" y="3923455"/>
                </a:cubicBezTo>
                <a:cubicBezTo>
                  <a:pt x="1185450" y="3902037"/>
                  <a:pt x="1194645" y="3880618"/>
                  <a:pt x="1206905" y="3862260"/>
                </a:cubicBezTo>
                <a:cubicBezTo>
                  <a:pt x="1213035" y="3853081"/>
                  <a:pt x="1222230" y="3843901"/>
                  <a:pt x="1228359" y="3834722"/>
                </a:cubicBezTo>
                <a:cubicBezTo>
                  <a:pt x="1231424" y="3843901"/>
                  <a:pt x="1237554" y="3853081"/>
                  <a:pt x="1240619" y="3865320"/>
                </a:cubicBezTo>
                <a:cubicBezTo>
                  <a:pt x="1262074" y="3862260"/>
                  <a:pt x="1277399" y="3850021"/>
                  <a:pt x="1280464" y="3825543"/>
                </a:cubicBezTo>
                <a:cubicBezTo>
                  <a:pt x="1289659" y="3813304"/>
                  <a:pt x="1295789" y="3804124"/>
                  <a:pt x="1304983" y="3791885"/>
                </a:cubicBezTo>
                <a:cubicBezTo>
                  <a:pt x="1341763" y="3727630"/>
                  <a:pt x="1399997" y="3684794"/>
                  <a:pt x="1445971" y="3626658"/>
                </a:cubicBezTo>
                <a:cubicBezTo>
                  <a:pt x="1467426" y="3596060"/>
                  <a:pt x="1488881" y="3562403"/>
                  <a:pt x="1519530" y="3522626"/>
                </a:cubicBezTo>
                <a:cubicBezTo>
                  <a:pt x="1508803" y="3521096"/>
                  <a:pt x="1500374" y="3519566"/>
                  <a:pt x="1492712" y="3518036"/>
                </a:cubicBezTo>
                <a:lnTo>
                  <a:pt x="1482514" y="3515930"/>
                </a:lnTo>
                <a:lnTo>
                  <a:pt x="1472038" y="3513766"/>
                </a:lnTo>
                <a:lnTo>
                  <a:pt x="1473556" y="3507327"/>
                </a:lnTo>
                <a:cubicBezTo>
                  <a:pt x="1473556" y="3504267"/>
                  <a:pt x="1470491" y="3501208"/>
                  <a:pt x="1467426" y="3492028"/>
                </a:cubicBezTo>
                <a:cubicBezTo>
                  <a:pt x="1461296" y="3498148"/>
                  <a:pt x="1458231" y="3504267"/>
                  <a:pt x="1455166" y="3510387"/>
                </a:cubicBezTo>
                <a:cubicBezTo>
                  <a:pt x="1452101" y="3510387"/>
                  <a:pt x="1452101" y="3507327"/>
                  <a:pt x="1449036" y="3507327"/>
                </a:cubicBezTo>
                <a:cubicBezTo>
                  <a:pt x="1455166" y="3473670"/>
                  <a:pt x="1461296" y="3440012"/>
                  <a:pt x="1470491" y="3397176"/>
                </a:cubicBezTo>
                <a:cubicBezTo>
                  <a:pt x="1433711" y="3427773"/>
                  <a:pt x="1396932" y="3455311"/>
                  <a:pt x="1363218" y="3482849"/>
                </a:cubicBezTo>
                <a:cubicBezTo>
                  <a:pt x="1354023" y="3488969"/>
                  <a:pt x="1338698" y="3485909"/>
                  <a:pt x="1329503" y="3492028"/>
                </a:cubicBezTo>
                <a:cubicBezTo>
                  <a:pt x="1289659" y="3522626"/>
                  <a:pt x="1249814" y="3550164"/>
                  <a:pt x="1209970" y="3580762"/>
                </a:cubicBezTo>
                <a:cubicBezTo>
                  <a:pt x="1203840" y="3583821"/>
                  <a:pt x="1203840" y="3596060"/>
                  <a:pt x="1206905" y="3608300"/>
                </a:cubicBezTo>
                <a:cubicBezTo>
                  <a:pt x="1237554" y="3593001"/>
                  <a:pt x="1255944" y="3544044"/>
                  <a:pt x="1301918" y="3577702"/>
                </a:cubicBezTo>
                <a:cubicBezTo>
                  <a:pt x="1292724" y="3577702"/>
                  <a:pt x="1286594" y="3577702"/>
                  <a:pt x="1277399" y="3577702"/>
                </a:cubicBezTo>
                <a:cubicBezTo>
                  <a:pt x="1280464" y="3629718"/>
                  <a:pt x="1259009" y="3663375"/>
                  <a:pt x="1213035" y="3648076"/>
                </a:cubicBezTo>
                <a:cubicBezTo>
                  <a:pt x="1225295" y="3645017"/>
                  <a:pt x="1240619" y="3638897"/>
                  <a:pt x="1252879" y="3632778"/>
                </a:cubicBezTo>
                <a:cubicBezTo>
                  <a:pt x="1249814" y="3626658"/>
                  <a:pt x="1243684" y="3623598"/>
                  <a:pt x="1240619" y="3617479"/>
                </a:cubicBezTo>
                <a:cubicBezTo>
                  <a:pt x="1219165" y="3632778"/>
                  <a:pt x="1197710" y="3645017"/>
                  <a:pt x="1176255" y="3657256"/>
                </a:cubicBezTo>
                <a:cubicBezTo>
                  <a:pt x="1179320" y="3654196"/>
                  <a:pt x="1185450" y="3645017"/>
                  <a:pt x="1185450" y="3638897"/>
                </a:cubicBezTo>
                <a:cubicBezTo>
                  <a:pt x="1188515" y="3629718"/>
                  <a:pt x="1188515" y="3620539"/>
                  <a:pt x="1188515" y="3605240"/>
                </a:cubicBezTo>
                <a:cubicBezTo>
                  <a:pt x="1127216" y="3654196"/>
                  <a:pt x="1078177" y="3703152"/>
                  <a:pt x="1035267" y="3764347"/>
                </a:cubicBezTo>
                <a:cubicBezTo>
                  <a:pt x="1078177" y="3730690"/>
                  <a:pt x="1121086" y="3700092"/>
                  <a:pt x="1170125" y="3663375"/>
                </a:cubicBezTo>
                <a:lnTo>
                  <a:pt x="1169689" y="3664711"/>
                </a:lnTo>
                <a:lnTo>
                  <a:pt x="1171575" y="3663317"/>
                </a:lnTo>
                <a:cubicBezTo>
                  <a:pt x="1165428" y="3678619"/>
                  <a:pt x="1165428" y="3687801"/>
                  <a:pt x="1159282" y="3693922"/>
                </a:cubicBezTo>
                <a:cubicBezTo>
                  <a:pt x="1125476" y="3724526"/>
                  <a:pt x="1094744" y="3755131"/>
                  <a:pt x="1060938" y="3785735"/>
                </a:cubicBezTo>
                <a:cubicBezTo>
                  <a:pt x="1048645" y="3797977"/>
                  <a:pt x="1036352" y="3810219"/>
                  <a:pt x="1024059" y="3825521"/>
                </a:cubicBezTo>
                <a:cubicBezTo>
                  <a:pt x="1020986" y="3828581"/>
                  <a:pt x="1024059" y="3834702"/>
                  <a:pt x="1024059" y="3840823"/>
                </a:cubicBezTo>
                <a:lnTo>
                  <a:pt x="1028667" y="3841882"/>
                </a:lnTo>
                <a:lnTo>
                  <a:pt x="1035267" y="3840841"/>
                </a:lnTo>
                <a:cubicBezTo>
                  <a:pt x="1041397" y="3837782"/>
                  <a:pt x="1050592" y="3831662"/>
                  <a:pt x="1059787" y="3831662"/>
                </a:cubicBezTo>
                <a:lnTo>
                  <a:pt x="1059463" y="3832019"/>
                </a:lnTo>
                <a:lnTo>
                  <a:pt x="1060938" y="3831642"/>
                </a:lnTo>
                <a:cubicBezTo>
                  <a:pt x="1024059" y="3874488"/>
                  <a:pt x="984107" y="3917334"/>
                  <a:pt x="944155" y="3960180"/>
                </a:cubicBezTo>
                <a:lnTo>
                  <a:pt x="943652" y="3959805"/>
                </a:lnTo>
                <a:lnTo>
                  <a:pt x="943319" y="3960172"/>
                </a:lnTo>
                <a:cubicBezTo>
                  <a:pt x="940254" y="3957112"/>
                  <a:pt x="937189" y="3954053"/>
                  <a:pt x="931059" y="3950993"/>
                </a:cubicBezTo>
                <a:cubicBezTo>
                  <a:pt x="952514" y="3926515"/>
                  <a:pt x="970903" y="3905096"/>
                  <a:pt x="989293" y="3880618"/>
                </a:cubicBezTo>
                <a:cubicBezTo>
                  <a:pt x="995423" y="3871439"/>
                  <a:pt x="995423" y="3859200"/>
                  <a:pt x="998488" y="3846961"/>
                </a:cubicBezTo>
                <a:cubicBezTo>
                  <a:pt x="1004618" y="3825543"/>
                  <a:pt x="1013813" y="3807184"/>
                  <a:pt x="1019943" y="3785766"/>
                </a:cubicBezTo>
                <a:cubicBezTo>
                  <a:pt x="977033" y="3819423"/>
                  <a:pt x="937189" y="3850021"/>
                  <a:pt x="888149" y="3883678"/>
                </a:cubicBezTo>
                <a:cubicBezTo>
                  <a:pt x="894279" y="3865320"/>
                  <a:pt x="897344" y="3846961"/>
                  <a:pt x="903474" y="3828602"/>
                </a:cubicBezTo>
                <a:cubicBezTo>
                  <a:pt x="900409" y="3825543"/>
                  <a:pt x="897344" y="3825543"/>
                  <a:pt x="894279" y="3822483"/>
                </a:cubicBezTo>
                <a:cubicBezTo>
                  <a:pt x="875890" y="3840841"/>
                  <a:pt x="857500" y="3859200"/>
                  <a:pt x="836045" y="3877559"/>
                </a:cubicBezTo>
                <a:cubicBezTo>
                  <a:pt x="829915" y="3883678"/>
                  <a:pt x="820720" y="3889798"/>
                  <a:pt x="811526" y="3892857"/>
                </a:cubicBezTo>
                <a:cubicBezTo>
                  <a:pt x="802331" y="3898977"/>
                  <a:pt x="793136" y="3898977"/>
                  <a:pt x="787006" y="3905096"/>
                </a:cubicBezTo>
                <a:cubicBezTo>
                  <a:pt x="737967" y="3932634"/>
                  <a:pt x="734902" y="3932634"/>
                  <a:pt x="734902" y="3874499"/>
                </a:cubicBezTo>
                <a:cubicBezTo>
                  <a:pt x="734902" y="3678674"/>
                  <a:pt x="734902" y="3482849"/>
                  <a:pt x="734902" y="3287024"/>
                </a:cubicBezTo>
                <a:cubicBezTo>
                  <a:pt x="734902" y="3268666"/>
                  <a:pt x="741032" y="3250307"/>
                  <a:pt x="734902" y="3228889"/>
                </a:cubicBezTo>
                <a:cubicBezTo>
                  <a:pt x="731837" y="3207470"/>
                  <a:pt x="734902" y="3182992"/>
                  <a:pt x="734902" y="3161574"/>
                </a:cubicBezTo>
                <a:cubicBezTo>
                  <a:pt x="734902" y="2791343"/>
                  <a:pt x="734902" y="2424171"/>
                  <a:pt x="734902" y="2057000"/>
                </a:cubicBezTo>
                <a:cubicBezTo>
                  <a:pt x="734902" y="2038641"/>
                  <a:pt x="734902" y="2023342"/>
                  <a:pt x="734902" y="1995805"/>
                </a:cubicBezTo>
                <a:cubicBezTo>
                  <a:pt x="744097" y="2008044"/>
                  <a:pt x="747162" y="2014163"/>
                  <a:pt x="756356" y="2023342"/>
                </a:cubicBezTo>
                <a:cubicBezTo>
                  <a:pt x="765551" y="1974386"/>
                  <a:pt x="774746" y="1925430"/>
                  <a:pt x="787006" y="1873414"/>
                </a:cubicBezTo>
                <a:cubicBezTo>
                  <a:pt x="808461" y="1879534"/>
                  <a:pt x="836045" y="1888713"/>
                  <a:pt x="860565" y="1894832"/>
                </a:cubicBezTo>
                <a:cubicBezTo>
                  <a:pt x="872825" y="1858115"/>
                  <a:pt x="885085" y="1821398"/>
                  <a:pt x="900409" y="1781621"/>
                </a:cubicBezTo>
                <a:cubicBezTo>
                  <a:pt x="915734" y="1790800"/>
                  <a:pt x="924929" y="1793860"/>
                  <a:pt x="931059" y="1799980"/>
                </a:cubicBezTo>
                <a:cubicBezTo>
                  <a:pt x="937189" y="1787741"/>
                  <a:pt x="940254" y="1772442"/>
                  <a:pt x="949449" y="1769382"/>
                </a:cubicBezTo>
                <a:cubicBezTo>
                  <a:pt x="958643" y="1766322"/>
                  <a:pt x="970903" y="1775502"/>
                  <a:pt x="983163" y="1778561"/>
                </a:cubicBezTo>
                <a:cubicBezTo>
                  <a:pt x="998488" y="1781621"/>
                  <a:pt x="1013813" y="1781621"/>
                  <a:pt x="1029137" y="1784681"/>
                </a:cubicBezTo>
                <a:cubicBezTo>
                  <a:pt x="1023007" y="1781621"/>
                  <a:pt x="1019943" y="1775502"/>
                  <a:pt x="1013813" y="1772442"/>
                </a:cubicBezTo>
                <a:cubicBezTo>
                  <a:pt x="1044462" y="1744904"/>
                  <a:pt x="1075112" y="1720426"/>
                  <a:pt x="1102696" y="1695948"/>
                </a:cubicBezTo>
                <a:cubicBezTo>
                  <a:pt x="1099631" y="1695948"/>
                  <a:pt x="1090437" y="1695948"/>
                  <a:pt x="1081242" y="1695948"/>
                </a:cubicBezTo>
                <a:cubicBezTo>
                  <a:pt x="1081242" y="1692888"/>
                  <a:pt x="1081242" y="1689828"/>
                  <a:pt x="1081242" y="1686769"/>
                </a:cubicBezTo>
                <a:cubicBezTo>
                  <a:pt x="1096566" y="1686769"/>
                  <a:pt x="1108826" y="1686769"/>
                  <a:pt x="1124151" y="1683709"/>
                </a:cubicBezTo>
                <a:cubicBezTo>
                  <a:pt x="1127216" y="1686769"/>
                  <a:pt x="1127216" y="1692888"/>
                  <a:pt x="1130281" y="1695948"/>
                </a:cubicBezTo>
                <a:cubicBezTo>
                  <a:pt x="1136411" y="1683709"/>
                  <a:pt x="1142541" y="1674529"/>
                  <a:pt x="1154801" y="1656171"/>
                </a:cubicBezTo>
                <a:cubicBezTo>
                  <a:pt x="1157866" y="1680649"/>
                  <a:pt x="1160930" y="1695948"/>
                  <a:pt x="1163995" y="1717366"/>
                </a:cubicBezTo>
                <a:cubicBezTo>
                  <a:pt x="1185450" y="1705127"/>
                  <a:pt x="1216100" y="1699008"/>
                  <a:pt x="1206905" y="1671470"/>
                </a:cubicBezTo>
                <a:cubicBezTo>
                  <a:pt x="1200775" y="1653111"/>
                  <a:pt x="1173190" y="1643932"/>
                  <a:pt x="1151736" y="1628633"/>
                </a:cubicBezTo>
                <a:cubicBezTo>
                  <a:pt x="1160930" y="1613334"/>
                  <a:pt x="1176255" y="1591916"/>
                  <a:pt x="1194645" y="1567438"/>
                </a:cubicBezTo>
                <a:cubicBezTo>
                  <a:pt x="1194645" y="1594976"/>
                  <a:pt x="1194645" y="1616394"/>
                  <a:pt x="1194645" y="1637812"/>
                </a:cubicBezTo>
                <a:cubicBezTo>
                  <a:pt x="1197710" y="1637812"/>
                  <a:pt x="1203840" y="1637812"/>
                  <a:pt x="1206905" y="1640872"/>
                </a:cubicBezTo>
                <a:cubicBezTo>
                  <a:pt x="1225295" y="1610274"/>
                  <a:pt x="1243684" y="1582737"/>
                  <a:pt x="1262074" y="1555199"/>
                </a:cubicBezTo>
                <a:cubicBezTo>
                  <a:pt x="1259009" y="1552139"/>
                  <a:pt x="1259009" y="1552139"/>
                  <a:pt x="1255944" y="1549079"/>
                </a:cubicBezTo>
                <a:cubicBezTo>
                  <a:pt x="1243684" y="1561318"/>
                  <a:pt x="1231424" y="1576617"/>
                  <a:pt x="1222230" y="1591916"/>
                </a:cubicBezTo>
                <a:cubicBezTo>
                  <a:pt x="1213035" y="1576617"/>
                  <a:pt x="1203840" y="1567438"/>
                  <a:pt x="1197710" y="1555199"/>
                </a:cubicBezTo>
                <a:cubicBezTo>
                  <a:pt x="1170125" y="1576617"/>
                  <a:pt x="1142541" y="1598035"/>
                  <a:pt x="1105761" y="1582737"/>
                </a:cubicBezTo>
                <a:cubicBezTo>
                  <a:pt x="1105761" y="1570498"/>
                  <a:pt x="1108826" y="1561318"/>
                  <a:pt x="1111891" y="1549079"/>
                </a:cubicBezTo>
                <a:cubicBezTo>
                  <a:pt x="1160930" y="1536840"/>
                  <a:pt x="1160930" y="1536840"/>
                  <a:pt x="1157866" y="1466466"/>
                </a:cubicBezTo>
                <a:cubicBezTo>
                  <a:pt x="1127216" y="1484824"/>
                  <a:pt x="1096566" y="1503183"/>
                  <a:pt x="1065917" y="1521541"/>
                </a:cubicBezTo>
                <a:cubicBezTo>
                  <a:pt x="1065917" y="1518482"/>
                  <a:pt x="1065917" y="1515422"/>
                  <a:pt x="1062852" y="1512362"/>
                </a:cubicBezTo>
                <a:cubicBezTo>
                  <a:pt x="1068982" y="1503183"/>
                  <a:pt x="1075112" y="1490944"/>
                  <a:pt x="1081242" y="1481764"/>
                </a:cubicBezTo>
                <a:cubicBezTo>
                  <a:pt x="1078177" y="1478705"/>
                  <a:pt x="1075112" y="1478705"/>
                  <a:pt x="1072047" y="1475645"/>
                </a:cubicBezTo>
                <a:cubicBezTo>
                  <a:pt x="1050592" y="1503183"/>
                  <a:pt x="1032202" y="1530721"/>
                  <a:pt x="1062852" y="1564378"/>
                </a:cubicBezTo>
                <a:cubicBezTo>
                  <a:pt x="1047527" y="1570498"/>
                  <a:pt x="1032202" y="1573557"/>
                  <a:pt x="1010748" y="1582737"/>
                </a:cubicBezTo>
                <a:cubicBezTo>
                  <a:pt x="1019943" y="1567438"/>
                  <a:pt x="1023007" y="1558259"/>
                  <a:pt x="1029137" y="1549079"/>
                </a:cubicBezTo>
                <a:cubicBezTo>
                  <a:pt x="1026072" y="1546019"/>
                  <a:pt x="1023007" y="1546019"/>
                  <a:pt x="1023007" y="1542960"/>
                </a:cubicBezTo>
                <a:cubicBezTo>
                  <a:pt x="973968" y="1582737"/>
                  <a:pt x="927994" y="1625573"/>
                  <a:pt x="875890" y="1659231"/>
                </a:cubicBezTo>
                <a:cubicBezTo>
                  <a:pt x="823785" y="1692888"/>
                  <a:pt x="802331" y="1760203"/>
                  <a:pt x="734902" y="1778561"/>
                </a:cubicBezTo>
                <a:cubicBezTo>
                  <a:pt x="734902" y="1686769"/>
                  <a:pt x="734902" y="1598035"/>
                  <a:pt x="734902" y="1509302"/>
                </a:cubicBezTo>
                <a:cubicBezTo>
                  <a:pt x="734902" y="1503183"/>
                  <a:pt x="737967" y="1490944"/>
                  <a:pt x="744097" y="1484824"/>
                </a:cubicBezTo>
                <a:cubicBezTo>
                  <a:pt x="768616" y="1460346"/>
                  <a:pt x="796201" y="1438928"/>
                  <a:pt x="820720" y="1414450"/>
                </a:cubicBezTo>
                <a:cubicBezTo>
                  <a:pt x="851370" y="1393031"/>
                  <a:pt x="878955" y="1368553"/>
                  <a:pt x="912669" y="1344075"/>
                </a:cubicBezTo>
                <a:cubicBezTo>
                  <a:pt x="909604" y="1362434"/>
                  <a:pt x="906539" y="1377733"/>
                  <a:pt x="906539" y="1393031"/>
                </a:cubicBezTo>
                <a:cubicBezTo>
                  <a:pt x="918799" y="1389972"/>
                  <a:pt x="927994" y="1386912"/>
                  <a:pt x="934124" y="1380792"/>
                </a:cubicBezTo>
                <a:cubicBezTo>
                  <a:pt x="937189" y="1383852"/>
                  <a:pt x="937189" y="1383852"/>
                  <a:pt x="940254" y="1386912"/>
                </a:cubicBezTo>
                <a:cubicBezTo>
                  <a:pt x="927994" y="1396091"/>
                  <a:pt x="915734" y="1405270"/>
                  <a:pt x="903474" y="1414450"/>
                </a:cubicBezTo>
                <a:cubicBezTo>
                  <a:pt x="943319" y="1402211"/>
                  <a:pt x="967838" y="1362434"/>
                  <a:pt x="1023007" y="1365494"/>
                </a:cubicBezTo>
                <a:cubicBezTo>
                  <a:pt x="1019943" y="1331836"/>
                  <a:pt x="1016878" y="1285940"/>
                  <a:pt x="1078177" y="1279820"/>
                </a:cubicBezTo>
                <a:cubicBezTo>
                  <a:pt x="1075112" y="1292059"/>
                  <a:pt x="1072047" y="1301239"/>
                  <a:pt x="1068982" y="1313478"/>
                </a:cubicBezTo>
                <a:cubicBezTo>
                  <a:pt x="1072047" y="1313478"/>
                  <a:pt x="1075112" y="1316537"/>
                  <a:pt x="1075112" y="1319597"/>
                </a:cubicBezTo>
                <a:cubicBezTo>
                  <a:pt x="1096566" y="1304298"/>
                  <a:pt x="1121086" y="1292059"/>
                  <a:pt x="1139476" y="1276760"/>
                </a:cubicBezTo>
                <a:cubicBezTo>
                  <a:pt x="1179320" y="1243103"/>
                  <a:pt x="1219165" y="1206386"/>
                  <a:pt x="1262074" y="1172728"/>
                </a:cubicBezTo>
                <a:cubicBezTo>
                  <a:pt x="1317243" y="1129892"/>
                  <a:pt x="1375477" y="1090115"/>
                  <a:pt x="1433711" y="1047294"/>
                </a:cubicBezTo>
                <a:cubicBezTo>
                  <a:pt x="1438309" y="1044235"/>
                  <a:pt x="1445205" y="1041939"/>
                  <a:pt x="1449419" y="1037732"/>
                </a:cubicBezTo>
                <a:lnTo>
                  <a:pt x="1453107" y="1029653"/>
                </a:lnTo>
                <a:lnTo>
                  <a:pt x="1449036" y="1016698"/>
                </a:lnTo>
                <a:lnTo>
                  <a:pt x="1449037" y="1016698"/>
                </a:lnTo>
                <a:lnTo>
                  <a:pt x="1449036" y="1016697"/>
                </a:lnTo>
                <a:cubicBezTo>
                  <a:pt x="1449036" y="1016697"/>
                  <a:pt x="1461296" y="1004458"/>
                  <a:pt x="1467426" y="998338"/>
                </a:cubicBezTo>
                <a:lnTo>
                  <a:pt x="1513618" y="952225"/>
                </a:lnTo>
                <a:lnTo>
                  <a:pt x="1476621" y="949384"/>
                </a:lnTo>
                <a:lnTo>
                  <a:pt x="1476621" y="949382"/>
                </a:lnTo>
                <a:lnTo>
                  <a:pt x="1479686" y="927966"/>
                </a:lnTo>
                <a:lnTo>
                  <a:pt x="1473556" y="921847"/>
                </a:lnTo>
                <a:cubicBezTo>
                  <a:pt x="1439841" y="952444"/>
                  <a:pt x="1406127" y="979981"/>
                  <a:pt x="1372412" y="1010579"/>
                </a:cubicBezTo>
                <a:lnTo>
                  <a:pt x="1371646" y="1019375"/>
                </a:lnTo>
                <a:lnTo>
                  <a:pt x="1375477" y="1035056"/>
                </a:lnTo>
                <a:lnTo>
                  <a:pt x="1375477" y="1035057"/>
                </a:lnTo>
                <a:cubicBezTo>
                  <a:pt x="1366282" y="1041177"/>
                  <a:pt x="1354023" y="1053416"/>
                  <a:pt x="1335633" y="1068714"/>
                </a:cubicBezTo>
                <a:lnTo>
                  <a:pt x="1335633" y="1068712"/>
                </a:lnTo>
                <a:cubicBezTo>
                  <a:pt x="1337165" y="1062593"/>
                  <a:pt x="1338698" y="1058004"/>
                  <a:pt x="1340230" y="1054179"/>
                </a:cubicBezTo>
                <a:lnTo>
                  <a:pt x="1344827" y="1044237"/>
                </a:lnTo>
                <a:lnTo>
                  <a:pt x="1293107" y="1065654"/>
                </a:lnTo>
                <a:cubicBezTo>
                  <a:pt x="1276633" y="1072538"/>
                  <a:pt x="1260542" y="1079407"/>
                  <a:pt x="1243684" y="1087055"/>
                </a:cubicBezTo>
                <a:cubicBezTo>
                  <a:pt x="1243684" y="1087055"/>
                  <a:pt x="1240619" y="1083995"/>
                  <a:pt x="1240619" y="1080936"/>
                </a:cubicBezTo>
                <a:cubicBezTo>
                  <a:pt x="1255944" y="1068712"/>
                  <a:pt x="1268204" y="1056473"/>
                  <a:pt x="1283529" y="1044235"/>
                </a:cubicBezTo>
                <a:cubicBezTo>
                  <a:pt x="1329503" y="1013637"/>
                  <a:pt x="1372412" y="983040"/>
                  <a:pt x="1415322" y="952442"/>
                </a:cubicBezTo>
                <a:cubicBezTo>
                  <a:pt x="1421452" y="949382"/>
                  <a:pt x="1427582" y="943263"/>
                  <a:pt x="1430647" y="937143"/>
                </a:cubicBezTo>
                <a:cubicBezTo>
                  <a:pt x="1445971" y="897367"/>
                  <a:pt x="1473556" y="909605"/>
                  <a:pt x="1491946" y="915726"/>
                </a:cubicBezTo>
                <a:cubicBezTo>
                  <a:pt x="1514933" y="895837"/>
                  <a:pt x="1537920" y="877478"/>
                  <a:pt x="1560524" y="859502"/>
                </a:cubicBezTo>
                <a:lnTo>
                  <a:pt x="1626803" y="805575"/>
                </a:lnTo>
                <a:lnTo>
                  <a:pt x="1620674" y="796396"/>
                </a:lnTo>
                <a:cubicBezTo>
                  <a:pt x="1580829" y="826994"/>
                  <a:pt x="1540985" y="857592"/>
                  <a:pt x="1501141" y="885130"/>
                </a:cubicBezTo>
                <a:lnTo>
                  <a:pt x="1501141" y="885127"/>
                </a:lnTo>
                <a:cubicBezTo>
                  <a:pt x="1507270" y="848411"/>
                  <a:pt x="1510335" y="845351"/>
                  <a:pt x="1547115" y="830052"/>
                </a:cubicBezTo>
                <a:cubicBezTo>
                  <a:pt x="1559375" y="823933"/>
                  <a:pt x="1568570" y="808634"/>
                  <a:pt x="1577764" y="799455"/>
                </a:cubicBezTo>
                <a:cubicBezTo>
                  <a:pt x="1586959" y="787216"/>
                  <a:pt x="1596154" y="774977"/>
                  <a:pt x="1608414" y="759678"/>
                </a:cubicBezTo>
                <a:cubicBezTo>
                  <a:pt x="1611479" y="771917"/>
                  <a:pt x="1611479" y="778037"/>
                  <a:pt x="1614544" y="784157"/>
                </a:cubicBezTo>
                <a:cubicBezTo>
                  <a:pt x="1617609" y="781096"/>
                  <a:pt x="1620674" y="781096"/>
                  <a:pt x="1623739" y="778037"/>
                </a:cubicBezTo>
                <a:cubicBezTo>
                  <a:pt x="1654388" y="747439"/>
                  <a:pt x="1700363" y="729081"/>
                  <a:pt x="1712622" y="680125"/>
                </a:cubicBezTo>
                <a:cubicBezTo>
                  <a:pt x="1715687" y="670946"/>
                  <a:pt x="1731012" y="664827"/>
                  <a:pt x="1737142" y="655648"/>
                </a:cubicBezTo>
                <a:cubicBezTo>
                  <a:pt x="1743272" y="652588"/>
                  <a:pt x="1752467" y="652588"/>
                  <a:pt x="1755532" y="646468"/>
                </a:cubicBezTo>
                <a:cubicBezTo>
                  <a:pt x="1780051" y="625050"/>
                  <a:pt x="1798441" y="600572"/>
                  <a:pt x="1822961" y="579154"/>
                </a:cubicBezTo>
                <a:cubicBezTo>
                  <a:pt x="1829091" y="569975"/>
                  <a:pt x="1844416" y="569975"/>
                  <a:pt x="1862805" y="563855"/>
                </a:cubicBezTo>
                <a:lnTo>
                  <a:pt x="1862804" y="563857"/>
                </a:lnTo>
                <a:lnTo>
                  <a:pt x="1862805" y="563857"/>
                </a:lnTo>
                <a:cubicBezTo>
                  <a:pt x="1853611" y="579155"/>
                  <a:pt x="1845948" y="592925"/>
                  <a:pt x="1838669" y="605929"/>
                </a:cubicBezTo>
                <a:lnTo>
                  <a:pt x="1817970" y="641454"/>
                </a:lnTo>
                <a:lnTo>
                  <a:pt x="1830575" y="653687"/>
                </a:lnTo>
                <a:lnTo>
                  <a:pt x="1830587" y="653689"/>
                </a:lnTo>
                <a:lnTo>
                  <a:pt x="1847661" y="653091"/>
                </a:lnTo>
                <a:lnTo>
                  <a:pt x="1868935" y="640349"/>
                </a:lnTo>
                <a:cubicBezTo>
                  <a:pt x="1899585" y="612811"/>
                  <a:pt x="1936364" y="594452"/>
                  <a:pt x="1954754" y="554676"/>
                </a:cubicBezTo>
                <a:cubicBezTo>
                  <a:pt x="1954754" y="554676"/>
                  <a:pt x="1954754" y="551616"/>
                  <a:pt x="1957819" y="551616"/>
                </a:cubicBezTo>
                <a:cubicBezTo>
                  <a:pt x="1991533" y="548556"/>
                  <a:pt x="1997663" y="508780"/>
                  <a:pt x="2022183" y="496541"/>
                </a:cubicBezTo>
                <a:cubicBezTo>
                  <a:pt x="2028313" y="493481"/>
                  <a:pt x="2034443" y="484302"/>
                  <a:pt x="2040573" y="487362"/>
                </a:cubicBezTo>
                <a:cubicBezTo>
                  <a:pt x="2054365" y="490421"/>
                  <a:pt x="2059729" y="486597"/>
                  <a:pt x="2062027" y="479330"/>
                </a:cubicBezTo>
                <a:lnTo>
                  <a:pt x="2065092" y="450646"/>
                </a:lnTo>
                <a:lnTo>
                  <a:pt x="2018735" y="476750"/>
                </a:lnTo>
                <a:cubicBezTo>
                  <a:pt x="1973910" y="505148"/>
                  <a:pt x="1932533" y="537849"/>
                  <a:pt x="1884260" y="551618"/>
                </a:cubicBezTo>
                <a:cubicBezTo>
                  <a:pt x="1881195" y="548559"/>
                  <a:pt x="1878130" y="542439"/>
                  <a:pt x="1875065" y="539379"/>
                </a:cubicBezTo>
                <a:lnTo>
                  <a:pt x="1875066" y="539379"/>
                </a:lnTo>
                <a:lnTo>
                  <a:pt x="1875065" y="539377"/>
                </a:lnTo>
                <a:cubicBezTo>
                  <a:pt x="1908780" y="514899"/>
                  <a:pt x="1939429" y="487362"/>
                  <a:pt x="1973144" y="462883"/>
                </a:cubicBezTo>
                <a:cubicBezTo>
                  <a:pt x="2077352" y="386390"/>
                  <a:pt x="2181561" y="309896"/>
                  <a:pt x="2282704" y="233403"/>
                </a:cubicBezTo>
                <a:cubicBezTo>
                  <a:pt x="2307224" y="218103"/>
                  <a:pt x="2325613" y="221163"/>
                  <a:pt x="2344003" y="242582"/>
                </a:cubicBezTo>
                <a:cubicBezTo>
                  <a:pt x="2359328" y="260940"/>
                  <a:pt x="2377718" y="267060"/>
                  <a:pt x="2399172" y="251761"/>
                </a:cubicBezTo>
                <a:cubicBezTo>
                  <a:pt x="2494186" y="196685"/>
                  <a:pt x="2589200" y="144669"/>
                  <a:pt x="2684213" y="92654"/>
                </a:cubicBezTo>
                <a:cubicBezTo>
                  <a:pt x="2730188" y="68175"/>
                  <a:pt x="2776162" y="46758"/>
                  <a:pt x="2825201" y="25336"/>
                </a:cubicBezTo>
                <a:cubicBezTo>
                  <a:pt x="2837461" y="16155"/>
                  <a:pt x="2849721" y="858"/>
                  <a:pt x="2861981" y="858"/>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23675853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7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xmlns="" id="{F6D912A0-7904-405B-9015-E420D7F3994D}"/>
              </a:ext>
            </a:extLst>
          </p:cNvPr>
          <p:cNvSpPr>
            <a:spLocks noGrp="1"/>
          </p:cNvSpPr>
          <p:nvPr>
            <p:ph type="pic" sz="quarter" idx="22"/>
          </p:nvPr>
        </p:nvSpPr>
        <p:spPr>
          <a:xfrm>
            <a:off x="8113991" y="1287206"/>
            <a:ext cx="7736046" cy="6807100"/>
          </a:xfrm>
          <a:custGeom>
            <a:avLst/>
            <a:gdLst>
              <a:gd name="connsiteX0" fmla="*/ 3400609 w 5821363"/>
              <a:gd name="connsiteY0" fmla="*/ 4452797 h 5186362"/>
              <a:gd name="connsiteX1" fmla="*/ 3442456 w 5821363"/>
              <a:gd name="connsiteY1" fmla="*/ 4482677 h 5186362"/>
              <a:gd name="connsiteX2" fmla="*/ 3440635 w 5821363"/>
              <a:gd name="connsiteY2" fmla="*/ 4480437 h 5186362"/>
              <a:gd name="connsiteX3" fmla="*/ 3427445 w 5821363"/>
              <a:gd name="connsiteY3" fmla="*/ 4465195 h 5186362"/>
              <a:gd name="connsiteX4" fmla="*/ 3421956 w 5821363"/>
              <a:gd name="connsiteY4" fmla="*/ 4460667 h 5186362"/>
              <a:gd name="connsiteX5" fmla="*/ 3407888 w 5821363"/>
              <a:gd name="connsiteY5" fmla="*/ 4454524 h 5186362"/>
              <a:gd name="connsiteX6" fmla="*/ 3405021 w 5821363"/>
              <a:gd name="connsiteY6" fmla="*/ 4453547 h 5186362"/>
              <a:gd name="connsiteX7" fmla="*/ 1985963 w 5821363"/>
              <a:gd name="connsiteY7" fmla="*/ 4410074 h 5186362"/>
              <a:gd name="connsiteX8" fmla="*/ 2212771 w 5821363"/>
              <a:gd name="connsiteY8" fmla="*/ 4410074 h 5186362"/>
              <a:gd name="connsiteX9" fmla="*/ 2234226 w 5821363"/>
              <a:gd name="connsiteY9" fmla="*/ 4452831 h 5186362"/>
              <a:gd name="connsiteX10" fmla="*/ 2206641 w 5821363"/>
              <a:gd name="connsiteY10" fmla="*/ 4443669 h 5186362"/>
              <a:gd name="connsiteX11" fmla="*/ 2209706 w 5821363"/>
              <a:gd name="connsiteY11" fmla="*/ 4458939 h 5186362"/>
              <a:gd name="connsiteX12" fmla="*/ 2286331 w 5821363"/>
              <a:gd name="connsiteY12" fmla="*/ 4590263 h 5186362"/>
              <a:gd name="connsiteX13" fmla="*/ 2283266 w 5821363"/>
              <a:gd name="connsiteY13" fmla="*/ 4599425 h 5186362"/>
              <a:gd name="connsiteX14" fmla="*/ 2277136 w 5821363"/>
              <a:gd name="connsiteY14" fmla="*/ 4666614 h 5186362"/>
              <a:gd name="connsiteX15" fmla="*/ 2295526 w 5821363"/>
              <a:gd name="connsiteY15" fmla="*/ 4727695 h 5186362"/>
              <a:gd name="connsiteX16" fmla="*/ 2243421 w 5821363"/>
              <a:gd name="connsiteY16" fmla="*/ 4730749 h 5186362"/>
              <a:gd name="connsiteX17" fmla="*/ 2221966 w 5821363"/>
              <a:gd name="connsiteY17" fmla="*/ 4669668 h 5186362"/>
              <a:gd name="connsiteX18" fmla="*/ 2163732 w 5821363"/>
              <a:gd name="connsiteY18" fmla="*/ 4614695 h 5186362"/>
              <a:gd name="connsiteX19" fmla="*/ 2133082 w 5821363"/>
              <a:gd name="connsiteY19" fmla="*/ 4587209 h 5186362"/>
              <a:gd name="connsiteX20" fmla="*/ 2080977 w 5821363"/>
              <a:gd name="connsiteY20" fmla="*/ 4559723 h 5186362"/>
              <a:gd name="connsiteX21" fmla="*/ 2001288 w 5821363"/>
              <a:gd name="connsiteY21" fmla="*/ 4474209 h 5186362"/>
              <a:gd name="connsiteX22" fmla="*/ 1985963 w 5821363"/>
              <a:gd name="connsiteY22" fmla="*/ 4410074 h 5186362"/>
              <a:gd name="connsiteX23" fmla="*/ 2353021 w 5821363"/>
              <a:gd name="connsiteY23" fmla="*/ 4404245 h 5186362"/>
              <a:gd name="connsiteX24" fmla="*/ 2377291 w 5821363"/>
              <a:gd name="connsiteY24" fmla="*/ 4404892 h 5186362"/>
              <a:gd name="connsiteX25" fmla="*/ 2380947 w 5821363"/>
              <a:gd name="connsiteY25" fmla="*/ 4406637 h 5186362"/>
              <a:gd name="connsiteX26" fmla="*/ 2384116 w 5821363"/>
              <a:gd name="connsiteY26" fmla="*/ 4406909 h 5186362"/>
              <a:gd name="connsiteX27" fmla="*/ 2387413 w 5821363"/>
              <a:gd name="connsiteY27" fmla="*/ 4409724 h 5186362"/>
              <a:gd name="connsiteX28" fmla="*/ 2395680 w 5821363"/>
              <a:gd name="connsiteY28" fmla="*/ 4413670 h 5186362"/>
              <a:gd name="connsiteX29" fmla="*/ 2400804 w 5821363"/>
              <a:gd name="connsiteY29" fmla="*/ 4421157 h 5186362"/>
              <a:gd name="connsiteX30" fmla="*/ 2404252 w 5821363"/>
              <a:gd name="connsiteY30" fmla="*/ 4424101 h 5186362"/>
              <a:gd name="connsiteX31" fmla="*/ 2404948 w 5821363"/>
              <a:gd name="connsiteY31" fmla="*/ 4427211 h 5186362"/>
              <a:gd name="connsiteX32" fmla="*/ 2407338 w 5821363"/>
              <a:gd name="connsiteY32" fmla="*/ 4430703 h 5186362"/>
              <a:gd name="connsiteX33" fmla="*/ 2411413 w 5821363"/>
              <a:gd name="connsiteY33" fmla="*/ 4456112 h 5186362"/>
              <a:gd name="connsiteX34" fmla="*/ 2312988 w 5821363"/>
              <a:gd name="connsiteY34" fmla="*/ 4415820 h 5186362"/>
              <a:gd name="connsiteX35" fmla="*/ 2353021 w 5821363"/>
              <a:gd name="connsiteY35" fmla="*/ 4404245 h 5186362"/>
              <a:gd name="connsiteX36" fmla="*/ 3261872 w 5821363"/>
              <a:gd name="connsiteY36" fmla="*/ 4397374 h 5186362"/>
              <a:gd name="connsiteX37" fmla="*/ 3357563 w 5821363"/>
              <a:gd name="connsiteY37" fmla="*/ 4473914 h 5186362"/>
              <a:gd name="connsiteX38" fmla="*/ 3348303 w 5821363"/>
              <a:gd name="connsiteY38" fmla="*/ 4483099 h 5186362"/>
              <a:gd name="connsiteX39" fmla="*/ 3246438 w 5821363"/>
              <a:gd name="connsiteY39" fmla="*/ 4415744 h 5186362"/>
              <a:gd name="connsiteX40" fmla="*/ 3261872 w 5821363"/>
              <a:gd name="connsiteY40" fmla="*/ 4397374 h 5186362"/>
              <a:gd name="connsiteX41" fmla="*/ 4222644 w 5821363"/>
              <a:gd name="connsiteY41" fmla="*/ 4394199 h 5186362"/>
              <a:gd name="connsiteX42" fmla="*/ 4223362 w 5821363"/>
              <a:gd name="connsiteY42" fmla="*/ 4394802 h 5186362"/>
              <a:gd name="connsiteX43" fmla="*/ 4222990 w 5821363"/>
              <a:gd name="connsiteY43" fmla="*/ 4394199 h 5186362"/>
              <a:gd name="connsiteX44" fmla="*/ 4311721 w 5821363"/>
              <a:gd name="connsiteY44" fmla="*/ 4498190 h 5186362"/>
              <a:gd name="connsiteX45" fmla="*/ 4335434 w 5821363"/>
              <a:gd name="connsiteY45" fmla="*/ 4524952 h 5186362"/>
              <a:gd name="connsiteX46" fmla="*/ 4381829 w 5821363"/>
              <a:gd name="connsiteY46" fmla="*/ 4547000 h 5186362"/>
              <a:gd name="connsiteX47" fmla="*/ 4335955 w 5821363"/>
              <a:gd name="connsiteY47" fmla="*/ 4495094 h 5186362"/>
              <a:gd name="connsiteX48" fmla="*/ 4336212 w 5821363"/>
              <a:gd name="connsiteY48" fmla="*/ 4495146 h 5186362"/>
              <a:gd name="connsiteX49" fmla="*/ 4336199 w 5821363"/>
              <a:gd name="connsiteY49" fmla="*/ 4495131 h 5186362"/>
              <a:gd name="connsiteX50" fmla="*/ 4383942 w 5821363"/>
              <a:gd name="connsiteY50" fmla="*/ 4504908 h 5186362"/>
              <a:gd name="connsiteX51" fmla="*/ 4395051 w 5821363"/>
              <a:gd name="connsiteY51" fmla="*/ 4507180 h 5186362"/>
              <a:gd name="connsiteX52" fmla="*/ 4395058 w 5821363"/>
              <a:gd name="connsiteY52" fmla="*/ 4507184 h 5186362"/>
              <a:gd name="connsiteX53" fmla="*/ 4395242 w 5821363"/>
              <a:gd name="connsiteY53" fmla="*/ 4507222 h 5186362"/>
              <a:gd name="connsiteX54" fmla="*/ 4507543 w 5821363"/>
              <a:gd name="connsiteY54" fmla="*/ 4635824 h 5186362"/>
              <a:gd name="connsiteX55" fmla="*/ 4525084 w 5821363"/>
              <a:gd name="connsiteY55" fmla="*/ 4661364 h 5186362"/>
              <a:gd name="connsiteX56" fmla="*/ 4547264 w 5821363"/>
              <a:gd name="connsiteY56" fmla="*/ 4684653 h 5186362"/>
              <a:gd name="connsiteX57" fmla="*/ 4590138 w 5821363"/>
              <a:gd name="connsiteY57" fmla="*/ 4727457 h 5186362"/>
              <a:gd name="connsiteX58" fmla="*/ 4590031 w 5821363"/>
              <a:gd name="connsiteY58" fmla="*/ 4727457 h 5186362"/>
              <a:gd name="connsiteX59" fmla="*/ 4590155 w 5821363"/>
              <a:gd name="connsiteY59" fmla="*/ 4727581 h 5186362"/>
              <a:gd name="connsiteX60" fmla="*/ 4560323 w 5821363"/>
              <a:gd name="connsiteY60" fmla="*/ 4727581 h 5186362"/>
              <a:gd name="connsiteX61" fmla="*/ 4525957 w 5821363"/>
              <a:gd name="connsiteY61" fmla="*/ 4727581 h 5186362"/>
              <a:gd name="connsiteX62" fmla="*/ 4568318 w 5821363"/>
              <a:gd name="connsiteY62" fmla="*/ 4767967 h 5186362"/>
              <a:gd name="connsiteX63" fmla="*/ 4608513 w 5821363"/>
              <a:gd name="connsiteY63" fmla="*/ 4803892 h 5186362"/>
              <a:gd name="connsiteX64" fmla="*/ 4608367 w 5821363"/>
              <a:gd name="connsiteY64" fmla="*/ 4803914 h 5186362"/>
              <a:gd name="connsiteX65" fmla="*/ 4608513 w 5821363"/>
              <a:gd name="connsiteY65" fmla="*/ 4804044 h 5186362"/>
              <a:gd name="connsiteX66" fmla="*/ 4528961 w 5821363"/>
              <a:gd name="connsiteY66" fmla="*/ 4770400 h 5186362"/>
              <a:gd name="connsiteX67" fmla="*/ 4443289 w 5821363"/>
              <a:gd name="connsiteY67" fmla="*/ 4715346 h 5186362"/>
              <a:gd name="connsiteX68" fmla="*/ 4463261 w 5821363"/>
              <a:gd name="connsiteY68" fmla="*/ 4734598 h 5186362"/>
              <a:gd name="connsiteX69" fmla="*/ 4528889 w 5821363"/>
              <a:gd name="connsiteY69" fmla="*/ 4797777 h 5186362"/>
              <a:gd name="connsiteX70" fmla="*/ 4528862 w 5821363"/>
              <a:gd name="connsiteY70" fmla="*/ 4797832 h 5186362"/>
              <a:gd name="connsiteX71" fmla="*/ 4528961 w 5821363"/>
              <a:gd name="connsiteY71" fmla="*/ 4797927 h 5186362"/>
              <a:gd name="connsiteX72" fmla="*/ 4525901 w 5821363"/>
              <a:gd name="connsiteY72" fmla="*/ 4804044 h 5186362"/>
              <a:gd name="connsiteX73" fmla="*/ 4498363 w 5821363"/>
              <a:gd name="connsiteY73" fmla="*/ 4791810 h 5186362"/>
              <a:gd name="connsiteX74" fmla="*/ 4495329 w 5821363"/>
              <a:gd name="connsiteY74" fmla="*/ 4800910 h 5186362"/>
              <a:gd name="connsiteX75" fmla="*/ 4577888 w 5821363"/>
              <a:gd name="connsiteY75" fmla="*/ 4849753 h 5186362"/>
              <a:gd name="connsiteX76" fmla="*/ 4577763 w 5821363"/>
              <a:gd name="connsiteY76" fmla="*/ 4849832 h 5186362"/>
              <a:gd name="connsiteX77" fmla="*/ 4577916 w 5821363"/>
              <a:gd name="connsiteY77" fmla="*/ 4849922 h 5186362"/>
              <a:gd name="connsiteX78" fmla="*/ 4515527 w 5821363"/>
              <a:gd name="connsiteY78" fmla="*/ 4835299 h 5186362"/>
              <a:gd name="connsiteX79" fmla="*/ 4492285 w 5821363"/>
              <a:gd name="connsiteY79" fmla="*/ 4828525 h 5186362"/>
              <a:gd name="connsiteX80" fmla="*/ 4522764 w 5821363"/>
              <a:gd name="connsiteY80" fmla="*/ 4865040 h 5186362"/>
              <a:gd name="connsiteX81" fmla="*/ 4522713 w 5821363"/>
              <a:gd name="connsiteY81" fmla="*/ 4865061 h 5186362"/>
              <a:gd name="connsiteX82" fmla="*/ 4522841 w 5821363"/>
              <a:gd name="connsiteY82" fmla="*/ 4865215 h 5186362"/>
              <a:gd name="connsiteX83" fmla="*/ 4478093 w 5821363"/>
              <a:gd name="connsiteY83" fmla="*/ 4870376 h 5186362"/>
              <a:gd name="connsiteX84" fmla="*/ 4478012 w 5821363"/>
              <a:gd name="connsiteY84" fmla="*/ 4870215 h 5186362"/>
              <a:gd name="connsiteX85" fmla="*/ 4477976 w 5821363"/>
              <a:gd name="connsiteY85" fmla="*/ 4870199 h 5186362"/>
              <a:gd name="connsiteX86" fmla="*/ 4467689 w 5821363"/>
              <a:gd name="connsiteY86" fmla="*/ 4849849 h 5186362"/>
              <a:gd name="connsiteX87" fmla="*/ 4449791 w 5821363"/>
              <a:gd name="connsiteY87" fmla="*/ 4833101 h 5186362"/>
              <a:gd name="connsiteX88" fmla="*/ 4424931 w 5821363"/>
              <a:gd name="connsiteY88" fmla="*/ 4825454 h 5186362"/>
              <a:gd name="connsiteX89" fmla="*/ 4323386 w 5821363"/>
              <a:gd name="connsiteY89" fmla="*/ 4809540 h 5186362"/>
              <a:gd name="connsiteX90" fmla="*/ 4297060 w 5821363"/>
              <a:gd name="connsiteY90" fmla="*/ 4795432 h 5186362"/>
              <a:gd name="connsiteX91" fmla="*/ 4290302 w 5821363"/>
              <a:gd name="connsiteY91" fmla="*/ 4791814 h 5186362"/>
              <a:gd name="connsiteX92" fmla="*/ 4287244 w 5821363"/>
              <a:gd name="connsiteY92" fmla="*/ 4806338 h 5186362"/>
              <a:gd name="connsiteX93" fmla="*/ 4284184 w 5821363"/>
              <a:gd name="connsiteY93" fmla="*/ 4825454 h 5186362"/>
              <a:gd name="connsiteX94" fmla="*/ 4283912 w 5821363"/>
              <a:gd name="connsiteY94" fmla="*/ 4825173 h 5186362"/>
              <a:gd name="connsiteX95" fmla="*/ 4283893 w 5821363"/>
              <a:gd name="connsiteY95" fmla="*/ 4825294 h 5186362"/>
              <a:gd name="connsiteX96" fmla="*/ 4041433 w 5821363"/>
              <a:gd name="connsiteY96" fmla="*/ 4589252 h 5186362"/>
              <a:gd name="connsiteX97" fmla="*/ 3947967 w 5821363"/>
              <a:gd name="connsiteY97" fmla="*/ 4529330 h 5186362"/>
              <a:gd name="connsiteX98" fmla="*/ 4009005 w 5821363"/>
              <a:gd name="connsiteY98" fmla="*/ 4626898 h 5186362"/>
              <a:gd name="connsiteX99" fmla="*/ 4119168 w 5821363"/>
              <a:gd name="connsiteY99" fmla="*/ 4770586 h 5186362"/>
              <a:gd name="connsiteX100" fmla="*/ 4106928 w 5821363"/>
              <a:gd name="connsiteY100" fmla="*/ 4782815 h 5186362"/>
              <a:gd name="connsiteX101" fmla="*/ 4106734 w 5821363"/>
              <a:gd name="connsiteY101" fmla="*/ 4782621 h 5186362"/>
              <a:gd name="connsiteX102" fmla="*/ 4106721 w 5821363"/>
              <a:gd name="connsiteY102" fmla="*/ 4782634 h 5186362"/>
              <a:gd name="connsiteX103" fmla="*/ 4060492 w 5821363"/>
              <a:gd name="connsiteY103" fmla="*/ 4736423 h 5186362"/>
              <a:gd name="connsiteX104" fmla="*/ 4057584 w 5821363"/>
              <a:gd name="connsiteY104" fmla="*/ 4733518 h 5186362"/>
              <a:gd name="connsiteX105" fmla="*/ 4005945 w 5821363"/>
              <a:gd name="connsiteY105" fmla="*/ 4681928 h 5186362"/>
              <a:gd name="connsiteX106" fmla="*/ 4012065 w 5821363"/>
              <a:gd name="connsiteY106" fmla="*/ 4707149 h 5186362"/>
              <a:gd name="connsiteX107" fmla="*/ 4018182 w 5821363"/>
              <a:gd name="connsiteY107" fmla="*/ 4727776 h 5186362"/>
              <a:gd name="connsiteX108" fmla="*/ 4028814 w 5821363"/>
              <a:gd name="connsiteY108" fmla="*/ 4738589 h 5186362"/>
              <a:gd name="connsiteX109" fmla="*/ 4062174 w 5821363"/>
              <a:gd name="connsiteY109" fmla="*/ 4772497 h 5186362"/>
              <a:gd name="connsiteX110" fmla="*/ 4103867 w 5821363"/>
              <a:gd name="connsiteY110" fmla="*/ 4819501 h 5186362"/>
              <a:gd name="connsiteX111" fmla="*/ 4195670 w 5821363"/>
              <a:gd name="connsiteY111" fmla="*/ 4981531 h 5186362"/>
              <a:gd name="connsiteX112" fmla="*/ 4235451 w 5821363"/>
              <a:gd name="connsiteY112" fmla="*/ 5039618 h 5186362"/>
              <a:gd name="connsiteX113" fmla="*/ 4226271 w 5821363"/>
              <a:gd name="connsiteY113" fmla="*/ 5048789 h 5186362"/>
              <a:gd name="connsiteX114" fmla="*/ 4226112 w 5821363"/>
              <a:gd name="connsiteY114" fmla="*/ 5048666 h 5186362"/>
              <a:gd name="connsiteX115" fmla="*/ 4226050 w 5821363"/>
              <a:gd name="connsiteY115" fmla="*/ 5048728 h 5186362"/>
              <a:gd name="connsiteX116" fmla="*/ 4170975 w 5821363"/>
              <a:gd name="connsiteY116" fmla="*/ 5005908 h 5186362"/>
              <a:gd name="connsiteX117" fmla="*/ 4121637 w 5821363"/>
              <a:gd name="connsiteY117" fmla="*/ 4965000 h 5186362"/>
              <a:gd name="connsiteX118" fmla="*/ 4070114 w 5821363"/>
              <a:gd name="connsiteY118" fmla="*/ 4926467 h 5186362"/>
              <a:gd name="connsiteX119" fmla="*/ 4051464 w 5821363"/>
              <a:gd name="connsiteY119" fmla="*/ 4919623 h 5186362"/>
              <a:gd name="connsiteX120" fmla="*/ 4030426 w 5821363"/>
              <a:gd name="connsiteY120" fmla="*/ 4917330 h 5186362"/>
              <a:gd name="connsiteX121" fmla="*/ 4030282 w 5821363"/>
              <a:gd name="connsiteY121" fmla="*/ 4917216 h 5186362"/>
              <a:gd name="connsiteX122" fmla="*/ 4030228 w 5821363"/>
              <a:gd name="connsiteY122" fmla="*/ 4917210 h 5186362"/>
              <a:gd name="connsiteX123" fmla="*/ 4000396 w 5821363"/>
              <a:gd name="connsiteY123" fmla="*/ 4893507 h 5186362"/>
              <a:gd name="connsiteX124" fmla="*/ 3966174 w 5821363"/>
              <a:gd name="connsiteY124" fmla="*/ 4865379 h 5186362"/>
              <a:gd name="connsiteX125" fmla="*/ 4004798 w 5821363"/>
              <a:gd name="connsiteY125" fmla="*/ 4945227 h 5186362"/>
              <a:gd name="connsiteX126" fmla="*/ 4045726 w 5821363"/>
              <a:gd name="connsiteY126" fmla="*/ 5027389 h 5186362"/>
              <a:gd name="connsiteX127" fmla="*/ 4045511 w 5821363"/>
              <a:gd name="connsiteY127" fmla="*/ 5027286 h 5186362"/>
              <a:gd name="connsiteX128" fmla="*/ 4045527 w 5821363"/>
              <a:gd name="connsiteY128" fmla="*/ 5027318 h 5186362"/>
              <a:gd name="connsiteX129" fmla="*/ 4002308 w 5821363"/>
              <a:gd name="connsiteY129" fmla="*/ 5006673 h 5186362"/>
              <a:gd name="connsiteX130" fmla="*/ 3981246 w 5821363"/>
              <a:gd name="connsiteY130" fmla="*/ 4997364 h 5186362"/>
              <a:gd name="connsiteX131" fmla="*/ 3966164 w 5821363"/>
              <a:gd name="connsiteY131" fmla="*/ 4990703 h 5186362"/>
              <a:gd name="connsiteX132" fmla="*/ 3956984 w 5821363"/>
              <a:gd name="connsiteY132" fmla="*/ 5002931 h 5186362"/>
              <a:gd name="connsiteX133" fmla="*/ 4070207 w 5821363"/>
              <a:gd name="connsiteY133" fmla="*/ 5125219 h 5186362"/>
              <a:gd name="connsiteX134" fmla="*/ 4046587 w 5821363"/>
              <a:gd name="connsiteY134" fmla="*/ 5139024 h 5186362"/>
              <a:gd name="connsiteX135" fmla="*/ 4046432 w 5821363"/>
              <a:gd name="connsiteY135" fmla="*/ 5138976 h 5186362"/>
              <a:gd name="connsiteX136" fmla="*/ 4046388 w 5821363"/>
              <a:gd name="connsiteY136" fmla="*/ 5139002 h 5186362"/>
              <a:gd name="connsiteX137" fmla="*/ 4024396 w 5821363"/>
              <a:gd name="connsiteY137" fmla="*/ 5119600 h 5186362"/>
              <a:gd name="connsiteX138" fmla="*/ 4018060 w 5821363"/>
              <a:gd name="connsiteY138" fmla="*/ 5100928 h 5186362"/>
              <a:gd name="connsiteX139" fmla="*/ 4009005 w 5821363"/>
              <a:gd name="connsiteY139" fmla="*/ 5112990 h 5186362"/>
              <a:gd name="connsiteX140" fmla="*/ 4008864 w 5821363"/>
              <a:gd name="connsiteY140" fmla="*/ 5112887 h 5186362"/>
              <a:gd name="connsiteX141" fmla="*/ 4008811 w 5821363"/>
              <a:gd name="connsiteY141" fmla="*/ 5112957 h 5186362"/>
              <a:gd name="connsiteX142" fmla="*/ 3958708 w 5821363"/>
              <a:gd name="connsiteY142" fmla="*/ 5076637 h 5186362"/>
              <a:gd name="connsiteX143" fmla="*/ 3902024 w 5821363"/>
              <a:gd name="connsiteY143" fmla="*/ 5033665 h 5186362"/>
              <a:gd name="connsiteX144" fmla="*/ 3960809 w 5821363"/>
              <a:gd name="connsiteY144" fmla="*/ 5111461 h 5186362"/>
              <a:gd name="connsiteX145" fmla="*/ 4015125 w 5821363"/>
              <a:gd name="connsiteY145" fmla="*/ 5180248 h 5186362"/>
              <a:gd name="connsiteX146" fmla="*/ 4009005 w 5821363"/>
              <a:gd name="connsiteY146" fmla="*/ 5186362 h 5186362"/>
              <a:gd name="connsiteX147" fmla="*/ 4008889 w 5821363"/>
              <a:gd name="connsiteY147" fmla="*/ 5186284 h 5186362"/>
              <a:gd name="connsiteX148" fmla="*/ 4008811 w 5821363"/>
              <a:gd name="connsiteY148" fmla="*/ 5186362 h 5186362"/>
              <a:gd name="connsiteX149" fmla="*/ 3917019 w 5821363"/>
              <a:gd name="connsiteY149" fmla="*/ 5122133 h 5186362"/>
              <a:gd name="connsiteX150" fmla="*/ 3816049 w 5821363"/>
              <a:gd name="connsiteY150" fmla="*/ 5039552 h 5186362"/>
              <a:gd name="connsiteX151" fmla="*/ 3770153 w 5821363"/>
              <a:gd name="connsiteY151" fmla="*/ 4984498 h 5186362"/>
              <a:gd name="connsiteX152" fmla="*/ 3748353 w 5821363"/>
              <a:gd name="connsiteY152" fmla="*/ 4955442 h 5186362"/>
              <a:gd name="connsiteX153" fmla="*/ 3735386 w 5821363"/>
              <a:gd name="connsiteY153" fmla="*/ 4943287 h 5186362"/>
              <a:gd name="connsiteX154" fmla="*/ 3715237 w 5821363"/>
              <a:gd name="connsiteY154" fmla="*/ 4935673 h 5186362"/>
              <a:gd name="connsiteX155" fmla="*/ 3693339 w 5821363"/>
              <a:gd name="connsiteY155" fmla="*/ 4925212 h 5186362"/>
              <a:gd name="connsiteX156" fmla="*/ 3693204 w 5821363"/>
              <a:gd name="connsiteY156" fmla="*/ 4925106 h 5186362"/>
              <a:gd name="connsiteX157" fmla="*/ 3693183 w 5821363"/>
              <a:gd name="connsiteY157" fmla="*/ 4925096 h 5186362"/>
              <a:gd name="connsiteX158" fmla="*/ 3678186 w 5821363"/>
              <a:gd name="connsiteY158" fmla="*/ 4913266 h 5186362"/>
              <a:gd name="connsiteX159" fmla="*/ 3673161 w 5821363"/>
              <a:gd name="connsiteY159" fmla="*/ 4909305 h 5186362"/>
              <a:gd name="connsiteX160" fmla="*/ 3673151 w 5821363"/>
              <a:gd name="connsiteY160" fmla="*/ 4909295 h 5186362"/>
              <a:gd name="connsiteX161" fmla="*/ 3673008 w 5821363"/>
              <a:gd name="connsiteY161" fmla="*/ 4909182 h 5186362"/>
              <a:gd name="connsiteX162" fmla="*/ 3635526 w 5821363"/>
              <a:gd name="connsiteY162" fmla="*/ 4871332 h 5186362"/>
              <a:gd name="connsiteX163" fmla="*/ 3614279 w 5821363"/>
              <a:gd name="connsiteY163" fmla="*/ 4849486 h 5186362"/>
              <a:gd name="connsiteX164" fmla="*/ 3582124 w 5821363"/>
              <a:gd name="connsiteY164" fmla="*/ 4816444 h 5186362"/>
              <a:gd name="connsiteX165" fmla="*/ 3528572 w 5821363"/>
              <a:gd name="connsiteY165" fmla="*/ 4761414 h 5186362"/>
              <a:gd name="connsiteX166" fmla="*/ 3348028 w 5821363"/>
              <a:gd name="connsiteY166" fmla="*/ 4596327 h 5186362"/>
              <a:gd name="connsiteX167" fmla="*/ 3351088 w 5821363"/>
              <a:gd name="connsiteY167" fmla="*/ 4639127 h 5186362"/>
              <a:gd name="connsiteX168" fmla="*/ 3219504 w 5821363"/>
              <a:gd name="connsiteY168" fmla="*/ 4617727 h 5186362"/>
              <a:gd name="connsiteX169" fmla="*/ 3210392 w 5821363"/>
              <a:gd name="connsiteY169" fmla="*/ 4632899 h 5186362"/>
              <a:gd name="connsiteX170" fmla="*/ 3338735 w 5821363"/>
              <a:gd name="connsiteY170" fmla="*/ 4736756 h 5186362"/>
              <a:gd name="connsiteX171" fmla="*/ 3338664 w 5821363"/>
              <a:gd name="connsiteY171" fmla="*/ 4736809 h 5186362"/>
              <a:gd name="connsiteX172" fmla="*/ 3338847 w 5821363"/>
              <a:gd name="connsiteY172" fmla="*/ 4736957 h 5186362"/>
              <a:gd name="connsiteX173" fmla="*/ 3311307 w 5821363"/>
              <a:gd name="connsiteY173" fmla="*/ 4755300 h 5186362"/>
              <a:gd name="connsiteX174" fmla="*/ 3158303 w 5821363"/>
              <a:gd name="connsiteY174" fmla="*/ 4642184 h 5186362"/>
              <a:gd name="connsiteX175" fmla="*/ 3146062 w 5821363"/>
              <a:gd name="connsiteY175" fmla="*/ 4633013 h 5186362"/>
              <a:gd name="connsiteX176" fmla="*/ 3094041 w 5821363"/>
              <a:gd name="connsiteY176" fmla="*/ 4620784 h 5186362"/>
              <a:gd name="connsiteX177" fmla="*/ 3097101 w 5821363"/>
              <a:gd name="connsiteY177" fmla="*/ 4669699 h 5186362"/>
              <a:gd name="connsiteX178" fmla="*/ 2953277 w 5821363"/>
              <a:gd name="connsiteY178" fmla="*/ 4574926 h 5186362"/>
              <a:gd name="connsiteX179" fmla="*/ 2944171 w 5821363"/>
              <a:gd name="connsiteY179" fmla="*/ 4580992 h 5186362"/>
              <a:gd name="connsiteX180" fmla="*/ 3014406 w 5821363"/>
              <a:gd name="connsiteY180" fmla="*/ 4693937 h 5186362"/>
              <a:gd name="connsiteX181" fmla="*/ 3014351 w 5821363"/>
              <a:gd name="connsiteY181" fmla="*/ 4693951 h 5186362"/>
              <a:gd name="connsiteX182" fmla="*/ 3014479 w 5821363"/>
              <a:gd name="connsiteY182" fmla="*/ 4694156 h 5186362"/>
              <a:gd name="connsiteX183" fmla="*/ 2950217 w 5821363"/>
              <a:gd name="connsiteY183" fmla="*/ 4703328 h 5186362"/>
              <a:gd name="connsiteX184" fmla="*/ 2867595 w 5821363"/>
              <a:gd name="connsiteY184" fmla="*/ 4669699 h 5186362"/>
              <a:gd name="connsiteX185" fmla="*/ 2794153 w 5821363"/>
              <a:gd name="connsiteY185" fmla="*/ 4617727 h 5186362"/>
              <a:gd name="connsiteX186" fmla="*/ 2772732 w 5821363"/>
              <a:gd name="connsiteY186" fmla="*/ 4596327 h 5186362"/>
              <a:gd name="connsiteX187" fmla="*/ 2705411 w 5821363"/>
              <a:gd name="connsiteY187" fmla="*/ 4562698 h 5186362"/>
              <a:gd name="connsiteX188" fmla="*/ 2638089 w 5821363"/>
              <a:gd name="connsiteY188" fmla="*/ 4541297 h 5186362"/>
              <a:gd name="connsiteX189" fmla="*/ 2509565 w 5821363"/>
              <a:gd name="connsiteY189" fmla="*/ 4492382 h 5186362"/>
              <a:gd name="connsiteX190" fmla="*/ 2417763 w 5821363"/>
              <a:gd name="connsiteY190" fmla="*/ 4422067 h 5186362"/>
              <a:gd name="connsiteX191" fmla="*/ 2417863 w 5821363"/>
              <a:gd name="connsiteY191" fmla="*/ 4421819 h 5186362"/>
              <a:gd name="connsiteX192" fmla="*/ 2417763 w 5821363"/>
              <a:gd name="connsiteY192" fmla="*/ 4421726 h 5186362"/>
              <a:gd name="connsiteX193" fmla="*/ 2423882 w 5821363"/>
              <a:gd name="connsiteY193" fmla="*/ 4406433 h 5186362"/>
              <a:gd name="connsiteX194" fmla="*/ 2466718 w 5821363"/>
              <a:gd name="connsiteY194" fmla="*/ 4406433 h 5186362"/>
              <a:gd name="connsiteX195" fmla="*/ 3048063 w 5821363"/>
              <a:gd name="connsiteY195" fmla="*/ 4403375 h 5186362"/>
              <a:gd name="connsiteX196" fmla="*/ 3152093 w 5821363"/>
              <a:gd name="connsiteY196" fmla="*/ 4452312 h 5186362"/>
              <a:gd name="connsiteX197" fmla="*/ 3277541 w 5821363"/>
              <a:gd name="connsiteY197" fmla="*/ 4565478 h 5186362"/>
              <a:gd name="connsiteX198" fmla="*/ 3323436 w 5821363"/>
              <a:gd name="connsiteY198" fmla="*/ 4577712 h 5186362"/>
              <a:gd name="connsiteX199" fmla="*/ 3320377 w 5821363"/>
              <a:gd name="connsiteY199" fmla="*/ 4519600 h 5186362"/>
              <a:gd name="connsiteX200" fmla="*/ 3482541 w 5821363"/>
              <a:gd name="connsiteY200" fmla="*/ 4645000 h 5186362"/>
              <a:gd name="connsiteX201" fmla="*/ 3487130 w 5821363"/>
              <a:gd name="connsiteY201" fmla="*/ 4636589 h 5186362"/>
              <a:gd name="connsiteX202" fmla="*/ 3491689 w 5821363"/>
              <a:gd name="connsiteY202" fmla="*/ 4623679 h 5186362"/>
              <a:gd name="connsiteX203" fmla="*/ 3456421 w 5821363"/>
              <a:gd name="connsiteY203" fmla="*/ 4588492 h 5186362"/>
              <a:gd name="connsiteX204" fmla="*/ 3452967 w 5821363"/>
              <a:gd name="connsiteY204" fmla="*/ 4585833 h 5186362"/>
              <a:gd name="connsiteX205" fmla="*/ 3424596 w 5821363"/>
              <a:gd name="connsiteY205" fmla="*/ 4564650 h 5186362"/>
              <a:gd name="connsiteX206" fmla="*/ 3422628 w 5821363"/>
              <a:gd name="connsiteY206" fmla="*/ 4562480 h 5186362"/>
              <a:gd name="connsiteX207" fmla="*/ 3414967 w 5821363"/>
              <a:gd name="connsiteY207" fmla="*/ 4556583 h 5186362"/>
              <a:gd name="connsiteX208" fmla="*/ 3398704 w 5821363"/>
              <a:gd name="connsiteY208" fmla="*/ 4537977 h 5186362"/>
              <a:gd name="connsiteX209" fmla="*/ 3397152 w 5821363"/>
              <a:gd name="connsiteY209" fmla="*/ 4534380 h 5186362"/>
              <a:gd name="connsiteX210" fmla="*/ 3395439 w 5821363"/>
              <a:gd name="connsiteY210" fmla="*/ 4532491 h 5186362"/>
              <a:gd name="connsiteX211" fmla="*/ 3391552 w 5821363"/>
              <a:gd name="connsiteY211" fmla="*/ 4521405 h 5186362"/>
              <a:gd name="connsiteX212" fmla="*/ 3389004 w 5821363"/>
              <a:gd name="connsiteY212" fmla="*/ 4515502 h 5186362"/>
              <a:gd name="connsiteX213" fmla="*/ 3388981 w 5821363"/>
              <a:gd name="connsiteY213" fmla="*/ 4514075 h 5186362"/>
              <a:gd name="connsiteX214" fmla="*/ 3388268 w 5821363"/>
              <a:gd name="connsiteY214" fmla="*/ 4512042 h 5186362"/>
              <a:gd name="connsiteX215" fmla="*/ 3388437 w 5821363"/>
              <a:gd name="connsiteY215" fmla="*/ 4487270 h 5186362"/>
              <a:gd name="connsiteX216" fmla="*/ 3399814 w 5821363"/>
              <a:gd name="connsiteY216" fmla="*/ 4452662 h 5186362"/>
              <a:gd name="connsiteX217" fmla="*/ 3381688 w 5821363"/>
              <a:gd name="connsiteY217" fmla="*/ 4449582 h 5186362"/>
              <a:gd name="connsiteX218" fmla="*/ 3372508 w 5821363"/>
              <a:gd name="connsiteY218" fmla="*/ 4440410 h 5186362"/>
              <a:gd name="connsiteX219" fmla="*/ 3372502 w 5821363"/>
              <a:gd name="connsiteY219" fmla="*/ 4440355 h 5186362"/>
              <a:gd name="connsiteX220" fmla="*/ 3372391 w 5821363"/>
              <a:gd name="connsiteY220" fmla="*/ 4440077 h 5186362"/>
              <a:gd name="connsiteX221" fmla="*/ 3375451 w 5821363"/>
              <a:gd name="connsiteY221" fmla="*/ 4427843 h 5186362"/>
              <a:gd name="connsiteX222" fmla="*/ 3427466 w 5821363"/>
              <a:gd name="connsiteY222" fmla="*/ 4406433 h 5186362"/>
              <a:gd name="connsiteX223" fmla="*/ 3663064 w 5821363"/>
              <a:gd name="connsiteY223" fmla="*/ 4406433 h 5186362"/>
              <a:gd name="connsiteX224" fmla="*/ 3678362 w 5821363"/>
              <a:gd name="connsiteY224" fmla="*/ 4421726 h 5186362"/>
              <a:gd name="connsiteX225" fmla="*/ 3705899 w 5821363"/>
              <a:gd name="connsiteY225" fmla="*/ 4452312 h 5186362"/>
              <a:gd name="connsiteX226" fmla="*/ 3760974 w 5821363"/>
              <a:gd name="connsiteY226" fmla="*/ 4485956 h 5186362"/>
              <a:gd name="connsiteX227" fmla="*/ 3776273 w 5821363"/>
              <a:gd name="connsiteY227" fmla="*/ 4461487 h 5186362"/>
              <a:gd name="connsiteX228" fmla="*/ 3806853 w 5821363"/>
              <a:gd name="connsiteY228" fmla="*/ 4482886 h 5186362"/>
              <a:gd name="connsiteX229" fmla="*/ 3810619 w 5821363"/>
              <a:gd name="connsiteY229" fmla="*/ 4474652 h 5186362"/>
              <a:gd name="connsiteX230" fmla="*/ 3821948 w 5821363"/>
              <a:gd name="connsiteY230" fmla="*/ 4449737 h 5186362"/>
              <a:gd name="connsiteX231" fmla="*/ 3821462 w 5821363"/>
              <a:gd name="connsiteY231" fmla="*/ 4449233 h 5186362"/>
              <a:gd name="connsiteX232" fmla="*/ 3787775 w 5821363"/>
              <a:gd name="connsiteY232" fmla="*/ 4406429 h 5186362"/>
              <a:gd name="connsiteX233" fmla="*/ 4149145 w 5821363"/>
              <a:gd name="connsiteY233" fmla="*/ 4406429 h 5186362"/>
              <a:gd name="connsiteX234" fmla="*/ 4149153 w 5821363"/>
              <a:gd name="connsiteY234" fmla="*/ 4406431 h 5186362"/>
              <a:gd name="connsiteX235" fmla="*/ 4149557 w 5821363"/>
              <a:gd name="connsiteY235" fmla="*/ 4406433 h 5186362"/>
              <a:gd name="connsiteX236" fmla="*/ 4207691 w 5821363"/>
              <a:gd name="connsiteY236" fmla="*/ 4440077 h 5186362"/>
              <a:gd name="connsiteX237" fmla="*/ 4247340 w 5821363"/>
              <a:gd name="connsiteY237" fmla="*/ 4473613 h 5186362"/>
              <a:gd name="connsiteX238" fmla="*/ 4262456 w 5821363"/>
              <a:gd name="connsiteY238" fmla="*/ 4467577 h 5186362"/>
              <a:gd name="connsiteX239" fmla="*/ 4247143 w 5821363"/>
              <a:gd name="connsiteY239" fmla="*/ 4427831 h 5186362"/>
              <a:gd name="connsiteX240" fmla="*/ 4222644 w 5821363"/>
              <a:gd name="connsiteY240" fmla="*/ 4394199 h 5186362"/>
              <a:gd name="connsiteX241" fmla="*/ 4245096 w 5821363"/>
              <a:gd name="connsiteY241" fmla="*/ 4356338 h 5186362"/>
              <a:gd name="connsiteX242" fmla="*/ 4245098 w 5821363"/>
              <a:gd name="connsiteY242" fmla="*/ 4356339 h 5186362"/>
              <a:gd name="connsiteX243" fmla="*/ 4269074 w 5821363"/>
              <a:gd name="connsiteY243" fmla="*/ 4364405 h 5186362"/>
              <a:gd name="connsiteX244" fmla="*/ 4278910 w 5821363"/>
              <a:gd name="connsiteY244" fmla="*/ 4370840 h 5186362"/>
              <a:gd name="connsiteX245" fmla="*/ 4288962 w 5821363"/>
              <a:gd name="connsiteY245" fmla="*/ 4375151 h 5186362"/>
              <a:gd name="connsiteX246" fmla="*/ 4309909 w 5821363"/>
              <a:gd name="connsiteY246" fmla="*/ 4391121 h 5186362"/>
              <a:gd name="connsiteX247" fmla="*/ 4323131 w 5821363"/>
              <a:gd name="connsiteY247" fmla="*/ 4399771 h 5186362"/>
              <a:gd name="connsiteX248" fmla="*/ 4328767 w 5821363"/>
              <a:gd name="connsiteY248" fmla="*/ 4405498 h 5186362"/>
              <a:gd name="connsiteX249" fmla="*/ 4336399 w 5821363"/>
              <a:gd name="connsiteY249" fmla="*/ 4411316 h 5186362"/>
              <a:gd name="connsiteX250" fmla="*/ 4358819 w 5821363"/>
              <a:gd name="connsiteY250" fmla="*/ 4436034 h 5186362"/>
              <a:gd name="connsiteX251" fmla="*/ 4371447 w 5821363"/>
              <a:gd name="connsiteY251" fmla="*/ 4448865 h 5186362"/>
              <a:gd name="connsiteX252" fmla="*/ 4374181 w 5821363"/>
              <a:gd name="connsiteY252" fmla="*/ 4452970 h 5186362"/>
              <a:gd name="connsiteX253" fmla="*/ 4376254 w 5821363"/>
              <a:gd name="connsiteY253" fmla="*/ 4455255 h 5186362"/>
              <a:gd name="connsiteX254" fmla="*/ 4377929 w 5821363"/>
              <a:gd name="connsiteY254" fmla="*/ 4458597 h 5186362"/>
              <a:gd name="connsiteX255" fmla="*/ 4388250 w 5821363"/>
              <a:gd name="connsiteY255" fmla="*/ 4474091 h 5186362"/>
              <a:gd name="connsiteX256" fmla="*/ 4397375 w 5821363"/>
              <a:gd name="connsiteY256" fmla="*/ 4497387 h 5186362"/>
              <a:gd name="connsiteX257" fmla="*/ 4225925 w 5821363"/>
              <a:gd name="connsiteY257" fmla="*/ 4357065 h 5186362"/>
              <a:gd name="connsiteX258" fmla="*/ 4245096 w 5821363"/>
              <a:gd name="connsiteY258" fmla="*/ 4356338 h 5186362"/>
              <a:gd name="connsiteX259" fmla="*/ 5036785 w 5821363"/>
              <a:gd name="connsiteY259" fmla="*/ 4024312 h 5186362"/>
              <a:gd name="connsiteX260" fmla="*/ 5110163 w 5821363"/>
              <a:gd name="connsiteY260" fmla="*/ 4119562 h 5186362"/>
              <a:gd name="connsiteX261" fmla="*/ 5073474 w 5821363"/>
              <a:gd name="connsiteY261" fmla="*/ 4091909 h 5186362"/>
              <a:gd name="connsiteX262" fmla="*/ 5064302 w 5821363"/>
              <a:gd name="connsiteY262" fmla="*/ 4113417 h 5186362"/>
              <a:gd name="connsiteX263" fmla="*/ 5027613 w 5821363"/>
              <a:gd name="connsiteY263" fmla="*/ 4033530 h 5186362"/>
              <a:gd name="connsiteX264" fmla="*/ 5036785 w 5821363"/>
              <a:gd name="connsiteY264" fmla="*/ 4024312 h 5186362"/>
              <a:gd name="connsiteX265" fmla="*/ 3053420 w 5821363"/>
              <a:gd name="connsiteY265" fmla="*/ 3960812 h 5186362"/>
              <a:gd name="connsiteX266" fmla="*/ 3053423 w 5821363"/>
              <a:gd name="connsiteY266" fmla="*/ 3960820 h 5186362"/>
              <a:gd name="connsiteX267" fmla="*/ 3053504 w 5821363"/>
              <a:gd name="connsiteY267" fmla="*/ 3960812 h 5186362"/>
              <a:gd name="connsiteX268" fmla="*/ 3060194 w 5821363"/>
              <a:gd name="connsiteY268" fmla="*/ 3977377 h 5186362"/>
              <a:gd name="connsiteX269" fmla="*/ 3071813 w 5821363"/>
              <a:gd name="connsiteY269" fmla="*/ 4005791 h 5186362"/>
              <a:gd name="connsiteX270" fmla="*/ 3071684 w 5821363"/>
              <a:gd name="connsiteY270" fmla="*/ 4005829 h 5186362"/>
              <a:gd name="connsiteX271" fmla="*/ 3071919 w 5821363"/>
              <a:gd name="connsiteY271" fmla="*/ 4006411 h 5186362"/>
              <a:gd name="connsiteX272" fmla="*/ 3041227 w 5821363"/>
              <a:gd name="connsiteY272" fmla="*/ 4015530 h 5186362"/>
              <a:gd name="connsiteX273" fmla="*/ 3068850 w 5821363"/>
              <a:gd name="connsiteY273" fmla="*/ 4030730 h 5186362"/>
              <a:gd name="connsiteX274" fmla="*/ 3068869 w 5821363"/>
              <a:gd name="connsiteY274" fmla="*/ 4031052 h 5186362"/>
              <a:gd name="connsiteX275" fmla="*/ 3068882 w 5821363"/>
              <a:gd name="connsiteY275" fmla="*/ 4031059 h 5186362"/>
              <a:gd name="connsiteX276" fmla="*/ 3074988 w 5821363"/>
              <a:gd name="connsiteY276" fmla="*/ 4103687 h 5186362"/>
              <a:gd name="connsiteX277" fmla="*/ 2995190 w 5821363"/>
              <a:gd name="connsiteY277" fmla="*/ 4052009 h 5186362"/>
              <a:gd name="connsiteX278" fmla="*/ 3016674 w 5821363"/>
              <a:gd name="connsiteY278" fmla="*/ 4006411 h 5186362"/>
              <a:gd name="connsiteX279" fmla="*/ 2982913 w 5821363"/>
              <a:gd name="connsiteY279" fmla="*/ 3966892 h 5186362"/>
              <a:gd name="connsiteX280" fmla="*/ 2982980 w 5821363"/>
              <a:gd name="connsiteY280" fmla="*/ 3966887 h 5186362"/>
              <a:gd name="connsiteX281" fmla="*/ 2982913 w 5821363"/>
              <a:gd name="connsiteY281" fmla="*/ 3966809 h 5186362"/>
              <a:gd name="connsiteX282" fmla="*/ 3053420 w 5821363"/>
              <a:gd name="connsiteY282" fmla="*/ 3960812 h 5186362"/>
              <a:gd name="connsiteX283" fmla="*/ 3074988 w 5821363"/>
              <a:gd name="connsiteY283" fmla="*/ 3905249 h 5186362"/>
              <a:gd name="connsiteX284" fmla="*/ 3163888 w 5821363"/>
              <a:gd name="connsiteY284" fmla="*/ 3979068 h 5186362"/>
              <a:gd name="connsiteX285" fmla="*/ 3163888 w 5821363"/>
              <a:gd name="connsiteY285" fmla="*/ 3988295 h 5186362"/>
              <a:gd name="connsiteX286" fmla="*/ 3114840 w 5821363"/>
              <a:gd name="connsiteY286" fmla="*/ 3982144 h 5186362"/>
              <a:gd name="connsiteX287" fmla="*/ 3111774 w 5821363"/>
              <a:gd name="connsiteY287" fmla="*/ 4003674 h 5186362"/>
              <a:gd name="connsiteX288" fmla="*/ 3074988 w 5821363"/>
              <a:gd name="connsiteY288" fmla="*/ 3905249 h 5186362"/>
              <a:gd name="connsiteX289" fmla="*/ 5530374 w 5821363"/>
              <a:gd name="connsiteY289" fmla="*/ 3709987 h 5186362"/>
              <a:gd name="connsiteX290" fmla="*/ 5640388 w 5821363"/>
              <a:gd name="connsiteY290" fmla="*/ 3846909 h 5186362"/>
              <a:gd name="connsiteX291" fmla="*/ 5628164 w 5821363"/>
              <a:gd name="connsiteY291" fmla="*/ 3856037 h 5186362"/>
              <a:gd name="connsiteX292" fmla="*/ 5518150 w 5821363"/>
              <a:gd name="connsiteY292" fmla="*/ 3719115 h 5186362"/>
              <a:gd name="connsiteX293" fmla="*/ 5530374 w 5821363"/>
              <a:gd name="connsiteY293" fmla="*/ 3709987 h 5186362"/>
              <a:gd name="connsiteX294" fmla="*/ 486644 w 5821363"/>
              <a:gd name="connsiteY294" fmla="*/ 3245257 h 5186362"/>
              <a:gd name="connsiteX295" fmla="*/ 541735 w 5821363"/>
              <a:gd name="connsiteY295" fmla="*/ 3245257 h 5186362"/>
              <a:gd name="connsiteX296" fmla="*/ 486644 w 5821363"/>
              <a:gd name="connsiteY296" fmla="*/ 3247597 h 5186362"/>
              <a:gd name="connsiteX297" fmla="*/ 5293890 w 5821363"/>
              <a:gd name="connsiteY297" fmla="*/ 1824037 h 5186362"/>
              <a:gd name="connsiteX298" fmla="*/ 5465763 w 5821363"/>
              <a:gd name="connsiteY298" fmla="*/ 1946708 h 5186362"/>
              <a:gd name="connsiteX299" fmla="*/ 5453486 w 5821363"/>
              <a:gd name="connsiteY299" fmla="*/ 1958975 h 5186362"/>
              <a:gd name="connsiteX300" fmla="*/ 5281613 w 5821363"/>
              <a:gd name="connsiteY300" fmla="*/ 1836304 h 5186362"/>
              <a:gd name="connsiteX301" fmla="*/ 5293890 w 5821363"/>
              <a:gd name="connsiteY301" fmla="*/ 1824037 h 5186362"/>
              <a:gd name="connsiteX302" fmla="*/ 744578 w 5821363"/>
              <a:gd name="connsiteY302" fmla="*/ 1637690 h 5186362"/>
              <a:gd name="connsiteX303" fmla="*/ 804942 w 5821363"/>
              <a:gd name="connsiteY303" fmla="*/ 1653380 h 5186362"/>
              <a:gd name="connsiteX304" fmla="*/ 808038 w 5821363"/>
              <a:gd name="connsiteY304" fmla="*/ 1665627 h 5186362"/>
              <a:gd name="connsiteX305" fmla="*/ 795655 w 5821363"/>
              <a:gd name="connsiteY305" fmla="*/ 1668689 h 5186362"/>
              <a:gd name="connsiteX306" fmla="*/ 749221 w 5821363"/>
              <a:gd name="connsiteY306" fmla="*/ 1674812 h 5186362"/>
              <a:gd name="connsiteX307" fmla="*/ 684213 w 5821363"/>
              <a:gd name="connsiteY307" fmla="*/ 1647257 h 5186362"/>
              <a:gd name="connsiteX308" fmla="*/ 744578 w 5821363"/>
              <a:gd name="connsiteY308" fmla="*/ 1637690 h 5186362"/>
              <a:gd name="connsiteX309" fmla="*/ 999938 w 5821363"/>
              <a:gd name="connsiteY309" fmla="*/ 1631949 h 5186362"/>
              <a:gd name="connsiteX310" fmla="*/ 1095468 w 5821363"/>
              <a:gd name="connsiteY310" fmla="*/ 1714499 h 5186362"/>
              <a:gd name="connsiteX311" fmla="*/ 993775 w 5821363"/>
              <a:gd name="connsiteY311" fmla="*/ 1644179 h 5186362"/>
              <a:gd name="connsiteX312" fmla="*/ 999938 w 5821363"/>
              <a:gd name="connsiteY312" fmla="*/ 1631949 h 5186362"/>
              <a:gd name="connsiteX313" fmla="*/ 1133836 w 5821363"/>
              <a:gd name="connsiteY313" fmla="*/ 1608204 h 5186362"/>
              <a:gd name="connsiteX314" fmla="*/ 1152068 w 5821363"/>
              <a:gd name="connsiteY314" fmla="*/ 1610677 h 5186362"/>
              <a:gd name="connsiteX315" fmla="*/ 1154643 w 5821363"/>
              <a:gd name="connsiteY315" fmla="*/ 1612129 h 5186362"/>
              <a:gd name="connsiteX316" fmla="*/ 1157396 w 5821363"/>
              <a:gd name="connsiteY316" fmla="*/ 1612648 h 5186362"/>
              <a:gd name="connsiteX317" fmla="*/ 1159746 w 5821363"/>
              <a:gd name="connsiteY317" fmla="*/ 1615007 h 5186362"/>
              <a:gd name="connsiteX318" fmla="*/ 1166571 w 5821363"/>
              <a:gd name="connsiteY318" fmla="*/ 1618856 h 5186362"/>
              <a:gd name="connsiteX319" fmla="*/ 1170433 w 5821363"/>
              <a:gd name="connsiteY319" fmla="*/ 1625731 h 5186362"/>
              <a:gd name="connsiteX320" fmla="*/ 1173377 w 5821363"/>
              <a:gd name="connsiteY320" fmla="*/ 1628685 h 5186362"/>
              <a:gd name="connsiteX321" fmla="*/ 1173796 w 5821363"/>
              <a:gd name="connsiteY321" fmla="*/ 1631716 h 5186362"/>
              <a:gd name="connsiteX322" fmla="*/ 1175745 w 5821363"/>
              <a:gd name="connsiteY322" fmla="*/ 1635185 h 5186362"/>
              <a:gd name="connsiteX323" fmla="*/ 1177992 w 5821363"/>
              <a:gd name="connsiteY323" fmla="*/ 1662112 h 5186362"/>
              <a:gd name="connsiteX324" fmla="*/ 1106488 w 5821363"/>
              <a:gd name="connsiteY324" fmla="*/ 1609557 h 5186362"/>
              <a:gd name="connsiteX325" fmla="*/ 1133836 w 5821363"/>
              <a:gd name="connsiteY325" fmla="*/ 1608204 h 5186362"/>
              <a:gd name="connsiteX326" fmla="*/ 712280 w 5821363"/>
              <a:gd name="connsiteY326" fmla="*/ 1533524 h 5186362"/>
              <a:gd name="connsiteX327" fmla="*/ 852488 w 5821363"/>
              <a:gd name="connsiteY327" fmla="*/ 1622891 h 5186362"/>
              <a:gd name="connsiteX328" fmla="*/ 843344 w 5821363"/>
              <a:gd name="connsiteY328" fmla="*/ 1638299 h 5186362"/>
              <a:gd name="connsiteX329" fmla="*/ 700088 w 5821363"/>
              <a:gd name="connsiteY329" fmla="*/ 1552014 h 5186362"/>
              <a:gd name="connsiteX330" fmla="*/ 712280 w 5821363"/>
              <a:gd name="connsiteY330" fmla="*/ 1533524 h 5186362"/>
              <a:gd name="connsiteX331" fmla="*/ 1009894 w 5821363"/>
              <a:gd name="connsiteY331" fmla="*/ 1460600 h 5186362"/>
              <a:gd name="connsiteX332" fmla="*/ 1009953 w 5821363"/>
              <a:gd name="connsiteY332" fmla="*/ 1460671 h 5186362"/>
              <a:gd name="connsiteX333" fmla="*/ 1010015 w 5821363"/>
              <a:gd name="connsiteY333" fmla="*/ 1460671 h 5186362"/>
              <a:gd name="connsiteX334" fmla="*/ 1413371 w 5821363"/>
              <a:gd name="connsiteY334" fmla="*/ 684153 h 5186362"/>
              <a:gd name="connsiteX335" fmla="*/ 1413792 w 5821363"/>
              <a:gd name="connsiteY335" fmla="*/ 684470 h 5186362"/>
              <a:gd name="connsiteX336" fmla="*/ 1414022 w 5821363"/>
              <a:gd name="connsiteY336" fmla="*/ 684500 h 5186362"/>
              <a:gd name="connsiteX337" fmla="*/ 1716088 w 5821363"/>
              <a:gd name="connsiteY337" fmla="*/ 231774 h 5186362"/>
              <a:gd name="connsiteX338" fmla="*/ 1751365 w 5821363"/>
              <a:gd name="connsiteY338" fmla="*/ 248987 h 5186362"/>
              <a:gd name="connsiteX339" fmla="*/ 1786642 w 5821363"/>
              <a:gd name="connsiteY339" fmla="*/ 268493 h 5186362"/>
              <a:gd name="connsiteX340" fmla="*/ 1776672 w 5821363"/>
              <a:gd name="connsiteY340" fmla="*/ 251283 h 5186362"/>
              <a:gd name="connsiteX341" fmla="*/ 1771304 w 5821363"/>
              <a:gd name="connsiteY341" fmla="*/ 240955 h 5186362"/>
              <a:gd name="connsiteX342" fmla="*/ 1771305 w 5821363"/>
              <a:gd name="connsiteY342" fmla="*/ 240955 h 5186362"/>
              <a:gd name="connsiteX343" fmla="*/ 1771304 w 5821363"/>
              <a:gd name="connsiteY343" fmla="*/ 240954 h 5186362"/>
              <a:gd name="connsiteX344" fmla="*/ 1827288 w 5821363"/>
              <a:gd name="connsiteY344" fmla="*/ 250517 h 5186362"/>
              <a:gd name="connsiteX345" fmla="*/ 1887872 w 5821363"/>
              <a:gd name="connsiteY345" fmla="*/ 262374 h 5186362"/>
              <a:gd name="connsiteX346" fmla="*/ 1884805 w 5821363"/>
              <a:gd name="connsiteY346" fmla="*/ 231775 h 5186362"/>
              <a:gd name="connsiteX347" fmla="*/ 1884805 w 5821363"/>
              <a:gd name="connsiteY347" fmla="*/ 231774 h 5186362"/>
              <a:gd name="connsiteX348" fmla="*/ 1976832 w 5821363"/>
              <a:gd name="connsiteY348" fmla="*/ 308273 h 5186362"/>
              <a:gd name="connsiteX349" fmla="*/ 2047386 w 5821363"/>
              <a:gd name="connsiteY349" fmla="*/ 360293 h 5186362"/>
              <a:gd name="connsiteX350" fmla="*/ 2124076 w 5821363"/>
              <a:gd name="connsiteY350" fmla="*/ 433732 h 5186362"/>
              <a:gd name="connsiteX351" fmla="*/ 2124075 w 5821363"/>
              <a:gd name="connsiteY351" fmla="*/ 433732 h 5186362"/>
              <a:gd name="connsiteX352" fmla="*/ 2124076 w 5821363"/>
              <a:gd name="connsiteY352" fmla="*/ 433733 h 5186362"/>
              <a:gd name="connsiteX353" fmla="*/ 1820385 w 5821363"/>
              <a:gd name="connsiteY353" fmla="*/ 415373 h 5186362"/>
              <a:gd name="connsiteX354" fmla="*/ 1820385 w 5821363"/>
              <a:gd name="connsiteY354" fmla="*/ 415372 h 5186362"/>
              <a:gd name="connsiteX355" fmla="*/ 1820385 w 5821363"/>
              <a:gd name="connsiteY355" fmla="*/ 400074 h 5186362"/>
              <a:gd name="connsiteX356" fmla="*/ 1820385 w 5821363"/>
              <a:gd name="connsiteY356" fmla="*/ 400072 h 5186362"/>
              <a:gd name="connsiteX357" fmla="*/ 1884803 w 5821363"/>
              <a:gd name="connsiteY357" fmla="*/ 415372 h 5186362"/>
              <a:gd name="connsiteX358" fmla="*/ 1798146 w 5821363"/>
              <a:gd name="connsiteY358" fmla="*/ 330459 h 5186362"/>
              <a:gd name="connsiteX359" fmla="*/ 1716088 w 5821363"/>
              <a:gd name="connsiteY359" fmla="*/ 231775 h 5186362"/>
              <a:gd name="connsiteX360" fmla="*/ 1716089 w 5821363"/>
              <a:gd name="connsiteY360" fmla="*/ 231776 h 5186362"/>
              <a:gd name="connsiteX361" fmla="*/ 1906588 w 5821363"/>
              <a:gd name="connsiteY361" fmla="*/ 204787 h 5186362"/>
              <a:gd name="connsiteX362" fmla="*/ 2055813 w 5821363"/>
              <a:gd name="connsiteY362" fmla="*/ 330200 h 5186362"/>
              <a:gd name="connsiteX363" fmla="*/ 2055812 w 5821363"/>
              <a:gd name="connsiteY363" fmla="*/ 330200 h 5186362"/>
              <a:gd name="connsiteX364" fmla="*/ 2055813 w 5821363"/>
              <a:gd name="connsiteY364" fmla="*/ 330201 h 5186362"/>
              <a:gd name="connsiteX365" fmla="*/ 1906588 w 5821363"/>
              <a:gd name="connsiteY365" fmla="*/ 204788 h 5186362"/>
              <a:gd name="connsiteX366" fmla="*/ 1906589 w 5821363"/>
              <a:gd name="connsiteY366" fmla="*/ 204789 h 5186362"/>
              <a:gd name="connsiteX367" fmla="*/ 2196963 w 5821363"/>
              <a:gd name="connsiteY367" fmla="*/ 121411 h 5186362"/>
              <a:gd name="connsiteX368" fmla="*/ 2215337 w 5821363"/>
              <a:gd name="connsiteY368" fmla="*/ 129756 h 5186362"/>
              <a:gd name="connsiteX369" fmla="*/ 2221739 w 5821363"/>
              <a:gd name="connsiteY369" fmla="*/ 135543 h 5186362"/>
              <a:gd name="connsiteX370" fmla="*/ 2223016 w 5821363"/>
              <a:gd name="connsiteY370" fmla="*/ 136272 h 5186362"/>
              <a:gd name="connsiteX371" fmla="*/ 2245169 w 5821363"/>
              <a:gd name="connsiteY371" fmla="*/ 155295 h 5186362"/>
              <a:gd name="connsiteX372" fmla="*/ 2245193 w 5821363"/>
              <a:gd name="connsiteY372" fmla="*/ 155315 h 5186362"/>
              <a:gd name="connsiteX373" fmla="*/ 2321749 w 5821363"/>
              <a:gd name="connsiteY373" fmla="*/ 188885 h 5186362"/>
              <a:gd name="connsiteX374" fmla="*/ 2389118 w 5821363"/>
              <a:gd name="connsiteY374" fmla="*/ 228559 h 5186362"/>
              <a:gd name="connsiteX375" fmla="*/ 2441176 w 5821363"/>
              <a:gd name="connsiteY375" fmla="*/ 277388 h 5186362"/>
              <a:gd name="connsiteX376" fmla="*/ 2441176 w 5821363"/>
              <a:gd name="connsiteY376" fmla="*/ 277389 h 5186362"/>
              <a:gd name="connsiteX377" fmla="*/ 2435052 w 5821363"/>
              <a:gd name="connsiteY377" fmla="*/ 289597 h 5186362"/>
              <a:gd name="connsiteX378" fmla="*/ 2401367 w 5821363"/>
              <a:gd name="connsiteY378" fmla="*/ 265182 h 5186362"/>
              <a:gd name="connsiteX379" fmla="*/ 2392182 w 5821363"/>
              <a:gd name="connsiteY379" fmla="*/ 268234 h 5186362"/>
              <a:gd name="connsiteX380" fmla="*/ 2401750 w 5821363"/>
              <a:gd name="connsiteY380" fmla="*/ 284636 h 5186362"/>
              <a:gd name="connsiteX381" fmla="*/ 2413616 w 5821363"/>
              <a:gd name="connsiteY381" fmla="*/ 298751 h 5186362"/>
              <a:gd name="connsiteX382" fmla="*/ 2536105 w 5821363"/>
              <a:gd name="connsiteY382" fmla="*/ 384202 h 5186362"/>
              <a:gd name="connsiteX383" fmla="*/ 2557924 w 5821363"/>
              <a:gd name="connsiteY383" fmla="*/ 388017 h 5186362"/>
              <a:gd name="connsiteX384" fmla="*/ 2581611 w 5821363"/>
              <a:gd name="connsiteY384" fmla="*/ 387268 h 5186362"/>
              <a:gd name="connsiteX385" fmla="*/ 2547386 w 5821363"/>
              <a:gd name="connsiteY385" fmla="*/ 366235 h 5186362"/>
              <a:gd name="connsiteX386" fmla="*/ 2511607 w 5821363"/>
              <a:gd name="connsiteY386" fmla="*/ 344530 h 5186362"/>
              <a:gd name="connsiteX387" fmla="*/ 2511669 w 5821363"/>
              <a:gd name="connsiteY387" fmla="*/ 344284 h 5186362"/>
              <a:gd name="connsiteX388" fmla="*/ 2511425 w 5821363"/>
              <a:gd name="connsiteY388" fmla="*/ 344134 h 5186362"/>
              <a:gd name="connsiteX389" fmla="*/ 2514482 w 5821363"/>
              <a:gd name="connsiteY389" fmla="*/ 331787 h 5186362"/>
              <a:gd name="connsiteX390" fmla="*/ 2593975 w 5821363"/>
              <a:gd name="connsiteY390" fmla="*/ 350308 h 5186362"/>
              <a:gd name="connsiteX391" fmla="*/ 2593937 w 5821363"/>
              <a:gd name="connsiteY391" fmla="*/ 350557 h 5186362"/>
              <a:gd name="connsiteX392" fmla="*/ 2594288 w 5821363"/>
              <a:gd name="connsiteY392" fmla="*/ 350633 h 5186362"/>
              <a:gd name="connsiteX393" fmla="*/ 2591991 w 5821363"/>
              <a:gd name="connsiteY393" fmla="*/ 365511 h 5186362"/>
              <a:gd name="connsiteX394" fmla="*/ 2585101 w 5821363"/>
              <a:gd name="connsiteY394" fmla="*/ 387255 h 5186362"/>
              <a:gd name="connsiteX395" fmla="*/ 2598402 w 5821363"/>
              <a:gd name="connsiteY395" fmla="*/ 396219 h 5186362"/>
              <a:gd name="connsiteX396" fmla="*/ 2637159 w 5821363"/>
              <a:gd name="connsiteY396" fmla="*/ 384202 h 5186362"/>
              <a:gd name="connsiteX397" fmla="*/ 2695341 w 5821363"/>
              <a:gd name="connsiteY397" fmla="*/ 381151 h 5186362"/>
              <a:gd name="connsiteX398" fmla="*/ 2732088 w 5821363"/>
              <a:gd name="connsiteY398" fmla="*/ 393358 h 5186362"/>
              <a:gd name="connsiteX399" fmla="*/ 2732087 w 5821363"/>
              <a:gd name="connsiteY399" fmla="*/ 393358 h 5186362"/>
              <a:gd name="connsiteX400" fmla="*/ 2732088 w 5821363"/>
              <a:gd name="connsiteY400" fmla="*/ 393359 h 5186362"/>
              <a:gd name="connsiteX401" fmla="*/ 2333998 w 5821363"/>
              <a:gd name="connsiteY401" fmla="*/ 408618 h 5186362"/>
              <a:gd name="connsiteX402" fmla="*/ 2333998 w 5821363"/>
              <a:gd name="connsiteY402" fmla="*/ 408617 h 5186362"/>
              <a:gd name="connsiteX403" fmla="*/ 2333998 w 5821363"/>
              <a:gd name="connsiteY403" fmla="*/ 393359 h 5186362"/>
              <a:gd name="connsiteX404" fmla="*/ 2333998 w 5821363"/>
              <a:gd name="connsiteY404" fmla="*/ 393358 h 5186362"/>
              <a:gd name="connsiteX405" fmla="*/ 2358496 w 5821363"/>
              <a:gd name="connsiteY405" fmla="*/ 387255 h 5186362"/>
              <a:gd name="connsiteX406" fmla="*/ 2343950 w 5821363"/>
              <a:gd name="connsiteY406" fmla="*/ 348726 h 5186362"/>
              <a:gd name="connsiteX407" fmla="*/ 2324811 w 5821363"/>
              <a:gd name="connsiteY407" fmla="*/ 298752 h 5186362"/>
              <a:gd name="connsiteX408" fmla="*/ 2324811 w 5821363"/>
              <a:gd name="connsiteY408" fmla="*/ 328888 h 5186362"/>
              <a:gd name="connsiteX409" fmla="*/ 2324811 w 5821363"/>
              <a:gd name="connsiteY409" fmla="*/ 328889 h 5186362"/>
              <a:gd name="connsiteX410" fmla="*/ 2324811 w 5821363"/>
              <a:gd name="connsiteY410" fmla="*/ 356736 h 5186362"/>
              <a:gd name="connsiteX411" fmla="*/ 2324811 w 5821363"/>
              <a:gd name="connsiteY411" fmla="*/ 356737 h 5186362"/>
              <a:gd name="connsiteX412" fmla="*/ 2266629 w 5821363"/>
              <a:gd name="connsiteY412" fmla="*/ 317063 h 5186362"/>
              <a:gd name="connsiteX413" fmla="*/ 2266629 w 5821363"/>
              <a:gd name="connsiteY413" fmla="*/ 317062 h 5186362"/>
              <a:gd name="connsiteX414" fmla="*/ 2272753 w 5821363"/>
              <a:gd name="connsiteY414" fmla="*/ 304855 h 5186362"/>
              <a:gd name="connsiteX415" fmla="*/ 2288065 w 5821363"/>
              <a:gd name="connsiteY415" fmla="*/ 307906 h 5186362"/>
              <a:gd name="connsiteX416" fmla="*/ 2312562 w 5821363"/>
              <a:gd name="connsiteY416" fmla="*/ 310958 h 5186362"/>
              <a:gd name="connsiteX417" fmla="*/ 2249021 w 5821363"/>
              <a:gd name="connsiteY417" fmla="*/ 252593 h 5186362"/>
              <a:gd name="connsiteX418" fmla="*/ 2190073 w 5821363"/>
              <a:gd name="connsiteY418" fmla="*/ 201093 h 5186362"/>
              <a:gd name="connsiteX419" fmla="*/ 2190074 w 5821363"/>
              <a:gd name="connsiteY419" fmla="*/ 201093 h 5186362"/>
              <a:gd name="connsiteX420" fmla="*/ 2190073 w 5821363"/>
              <a:gd name="connsiteY420" fmla="*/ 201092 h 5186362"/>
              <a:gd name="connsiteX421" fmla="*/ 2199260 w 5821363"/>
              <a:gd name="connsiteY421" fmla="*/ 188885 h 5186362"/>
              <a:gd name="connsiteX422" fmla="*/ 2229882 w 5821363"/>
              <a:gd name="connsiteY422" fmla="*/ 207196 h 5186362"/>
              <a:gd name="connsiteX423" fmla="*/ 2236006 w 5821363"/>
              <a:gd name="connsiteY423" fmla="*/ 201093 h 5186362"/>
              <a:gd name="connsiteX424" fmla="*/ 2205002 w 5821363"/>
              <a:gd name="connsiteY424" fmla="*/ 164090 h 5186362"/>
              <a:gd name="connsiteX425" fmla="*/ 2171700 w 5821363"/>
              <a:gd name="connsiteY425" fmla="*/ 124798 h 5186362"/>
              <a:gd name="connsiteX426" fmla="*/ 2171701 w 5821363"/>
              <a:gd name="connsiteY426" fmla="*/ 124798 h 5186362"/>
              <a:gd name="connsiteX427" fmla="*/ 2171700 w 5821363"/>
              <a:gd name="connsiteY427" fmla="*/ 124796 h 5186362"/>
              <a:gd name="connsiteX428" fmla="*/ 2196963 w 5821363"/>
              <a:gd name="connsiteY428" fmla="*/ 121411 h 5186362"/>
              <a:gd name="connsiteX429" fmla="*/ 2603500 w 5821363"/>
              <a:gd name="connsiteY429" fmla="*/ 96837 h 5186362"/>
              <a:gd name="connsiteX430" fmla="*/ 2753461 w 5821363"/>
              <a:gd name="connsiteY430" fmla="*/ 219301 h 5186362"/>
              <a:gd name="connsiteX431" fmla="*/ 2781005 w 5821363"/>
              <a:gd name="connsiteY431" fmla="*/ 234610 h 5186362"/>
              <a:gd name="connsiteX432" fmla="*/ 2839154 w 5821363"/>
              <a:gd name="connsiteY432" fmla="*/ 243794 h 5186362"/>
              <a:gd name="connsiteX433" fmla="*/ 3126835 w 5821363"/>
              <a:gd name="connsiteY433" fmla="*/ 378505 h 5186362"/>
              <a:gd name="connsiteX434" fmla="*/ 3197225 w 5821363"/>
              <a:gd name="connsiteY434" fmla="*/ 430552 h 5186362"/>
              <a:gd name="connsiteX435" fmla="*/ 3197224 w 5821363"/>
              <a:gd name="connsiteY435" fmla="*/ 430552 h 5186362"/>
              <a:gd name="connsiteX436" fmla="*/ 3197225 w 5821363"/>
              <a:gd name="connsiteY436" fmla="*/ 430553 h 5186362"/>
              <a:gd name="connsiteX437" fmla="*/ 3160500 w 5821363"/>
              <a:gd name="connsiteY437" fmla="*/ 433615 h 5186362"/>
              <a:gd name="connsiteX438" fmla="*/ 3038082 w 5821363"/>
              <a:gd name="connsiteY438" fmla="*/ 433615 h 5186362"/>
              <a:gd name="connsiteX439" fmla="*/ 2950095 w 5821363"/>
              <a:gd name="connsiteY439" fmla="*/ 428257 h 5186362"/>
              <a:gd name="connsiteX440" fmla="*/ 2868073 w 5821363"/>
              <a:gd name="connsiteY440" fmla="*/ 400404 h 5186362"/>
              <a:gd name="connsiteX441" fmla="*/ 2868074 w 5821363"/>
              <a:gd name="connsiteY441" fmla="*/ 400403 h 5186362"/>
              <a:gd name="connsiteX442" fmla="*/ 2867519 w 5821363"/>
              <a:gd name="connsiteY442" fmla="*/ 400215 h 5186362"/>
              <a:gd name="connsiteX443" fmla="*/ 2867519 w 5821363"/>
              <a:gd name="connsiteY443" fmla="*/ 400216 h 5186362"/>
              <a:gd name="connsiteX444" fmla="*/ 2868073 w 5821363"/>
              <a:gd name="connsiteY444" fmla="*/ 400404 h 5186362"/>
              <a:gd name="connsiteX445" fmla="*/ 2867692 w 5821363"/>
              <a:gd name="connsiteY445" fmla="*/ 401124 h 5186362"/>
              <a:gd name="connsiteX446" fmla="*/ 2870889 w 5821363"/>
              <a:gd name="connsiteY446" fmla="*/ 417909 h 5186362"/>
              <a:gd name="connsiteX447" fmla="*/ 2865126 w 5821363"/>
              <a:gd name="connsiteY447" fmla="*/ 428037 h 5186362"/>
              <a:gd name="connsiteX448" fmla="*/ 2860966 w 5821363"/>
              <a:gd name="connsiteY448" fmla="*/ 428915 h 5186362"/>
              <a:gd name="connsiteX449" fmla="*/ 2859166 w 5821363"/>
              <a:gd name="connsiteY449" fmla="*/ 431032 h 5186362"/>
              <a:gd name="connsiteX450" fmla="*/ 2839154 w 5821363"/>
              <a:gd name="connsiteY450" fmla="*/ 433615 h 5186362"/>
              <a:gd name="connsiteX451" fmla="*/ 2784066 w 5821363"/>
              <a:gd name="connsiteY451" fmla="*/ 427492 h 5186362"/>
              <a:gd name="connsiteX452" fmla="*/ 2735099 w 5821363"/>
              <a:gd name="connsiteY452" fmla="*/ 350951 h 5186362"/>
              <a:gd name="connsiteX453" fmla="*/ 2735483 w 5821363"/>
              <a:gd name="connsiteY453" fmla="*/ 351189 h 5186362"/>
              <a:gd name="connsiteX454" fmla="*/ 2735263 w 5821363"/>
              <a:gd name="connsiteY454" fmla="*/ 350837 h 5186362"/>
              <a:gd name="connsiteX455" fmla="*/ 2821326 w 5821363"/>
              <a:gd name="connsiteY455" fmla="*/ 399756 h 5186362"/>
              <a:gd name="connsiteX456" fmla="*/ 2843226 w 5821363"/>
              <a:gd name="connsiteY456" fmla="*/ 403195 h 5186362"/>
              <a:gd name="connsiteX457" fmla="*/ 2866748 w 5821363"/>
              <a:gd name="connsiteY457" fmla="*/ 399853 h 5186362"/>
              <a:gd name="connsiteX458" fmla="*/ 2875300 w 5821363"/>
              <a:gd name="connsiteY458" fmla="*/ 385438 h 5186362"/>
              <a:gd name="connsiteX459" fmla="*/ 2872478 w 5821363"/>
              <a:gd name="connsiteY459" fmla="*/ 371702 h 5186362"/>
              <a:gd name="connsiteX460" fmla="*/ 2851407 w 5821363"/>
              <a:gd name="connsiteY460" fmla="*/ 360142 h 5186362"/>
              <a:gd name="connsiteX461" fmla="*/ 2851395 w 5821363"/>
              <a:gd name="connsiteY461" fmla="*/ 360137 h 5186362"/>
              <a:gd name="connsiteX462" fmla="*/ 2744280 w 5821363"/>
              <a:gd name="connsiteY462" fmla="*/ 265227 h 5186362"/>
              <a:gd name="connsiteX463" fmla="*/ 2637165 w 5821363"/>
              <a:gd name="connsiteY463" fmla="*/ 139701 h 5186362"/>
              <a:gd name="connsiteX464" fmla="*/ 2603500 w 5821363"/>
              <a:gd name="connsiteY464" fmla="*/ 96839 h 5186362"/>
              <a:gd name="connsiteX465" fmla="*/ 2603501 w 5821363"/>
              <a:gd name="connsiteY465" fmla="*/ 96839 h 5186362"/>
              <a:gd name="connsiteX466" fmla="*/ 3547297 w 5821363"/>
              <a:gd name="connsiteY466" fmla="*/ 0 h 5186362"/>
              <a:gd name="connsiteX467" fmla="*/ 3620753 w 5821363"/>
              <a:gd name="connsiteY467" fmla="*/ 149734 h 5186362"/>
              <a:gd name="connsiteX468" fmla="*/ 3642178 w 5821363"/>
              <a:gd name="connsiteY468" fmla="*/ 125287 h 5186362"/>
              <a:gd name="connsiteX469" fmla="*/ 3651360 w 5821363"/>
              <a:gd name="connsiteY469" fmla="*/ 137511 h 5186362"/>
              <a:gd name="connsiteX470" fmla="*/ 3764604 w 5821363"/>
              <a:gd name="connsiteY470" fmla="*/ 296413 h 5186362"/>
              <a:gd name="connsiteX471" fmla="*/ 3883969 w 5821363"/>
              <a:gd name="connsiteY471" fmla="*/ 440035 h 5186362"/>
              <a:gd name="connsiteX472" fmla="*/ 3887030 w 5821363"/>
              <a:gd name="connsiteY472" fmla="*/ 482816 h 5186362"/>
              <a:gd name="connsiteX473" fmla="*/ 3929879 w 5821363"/>
              <a:gd name="connsiteY473" fmla="*/ 559211 h 5186362"/>
              <a:gd name="connsiteX474" fmla="*/ 4085973 w 5821363"/>
              <a:gd name="connsiteY474" fmla="*/ 742559 h 5186362"/>
              <a:gd name="connsiteX475" fmla="*/ 4190035 w 5821363"/>
              <a:gd name="connsiteY475" fmla="*/ 797563 h 5186362"/>
              <a:gd name="connsiteX476" fmla="*/ 4205338 w 5821363"/>
              <a:gd name="connsiteY476" fmla="*/ 799855 h 5186362"/>
              <a:gd name="connsiteX477" fmla="*/ 4220640 w 5821363"/>
              <a:gd name="connsiteY477" fmla="*/ 806730 h 5186362"/>
              <a:gd name="connsiteX478" fmla="*/ 4167207 w 5821363"/>
              <a:gd name="connsiteY478" fmla="*/ 761286 h 5186362"/>
              <a:gd name="connsiteX479" fmla="*/ 4137025 w 5821363"/>
              <a:gd name="connsiteY479" fmla="*/ 736022 h 5186362"/>
              <a:gd name="connsiteX480" fmla="*/ 4146278 w 5821363"/>
              <a:gd name="connsiteY480" fmla="*/ 723899 h 5186362"/>
              <a:gd name="connsiteX481" fmla="*/ 4146987 w 5821363"/>
              <a:gd name="connsiteY481" fmla="*/ 724487 h 5186362"/>
              <a:gd name="connsiteX482" fmla="*/ 4147185 w 5821363"/>
              <a:gd name="connsiteY482" fmla="*/ 724224 h 5186362"/>
              <a:gd name="connsiteX483" fmla="*/ 4179250 w 5821363"/>
              <a:gd name="connsiteY483" fmla="*/ 751236 h 5186362"/>
              <a:gd name="connsiteX484" fmla="*/ 4244975 w 5821363"/>
              <a:gd name="connsiteY484" fmla="*/ 805728 h 5186362"/>
              <a:gd name="connsiteX485" fmla="*/ 4244578 w 5821363"/>
              <a:gd name="connsiteY485" fmla="*/ 806268 h 5186362"/>
              <a:gd name="connsiteX486" fmla="*/ 4245127 w 5821363"/>
              <a:gd name="connsiteY486" fmla="*/ 806731 h 5186362"/>
              <a:gd name="connsiteX487" fmla="*/ 4232884 w 5821363"/>
              <a:gd name="connsiteY487" fmla="*/ 825066 h 5186362"/>
              <a:gd name="connsiteX488" fmla="*/ 4225280 w 5821363"/>
              <a:gd name="connsiteY488" fmla="*/ 857915 h 5186362"/>
              <a:gd name="connsiteX489" fmla="*/ 4231736 w 5821363"/>
              <a:gd name="connsiteY489" fmla="*/ 881597 h 5186362"/>
              <a:gd name="connsiteX490" fmla="*/ 4297157 w 5821363"/>
              <a:gd name="connsiteY490" fmla="*/ 919795 h 5186362"/>
              <a:gd name="connsiteX491" fmla="*/ 4317052 w 5821363"/>
              <a:gd name="connsiteY491" fmla="*/ 935456 h 5186362"/>
              <a:gd name="connsiteX492" fmla="*/ 4336946 w 5821363"/>
              <a:gd name="connsiteY492" fmla="*/ 953408 h 5186362"/>
              <a:gd name="connsiteX493" fmla="*/ 4331972 w 5821363"/>
              <a:gd name="connsiteY493" fmla="*/ 938512 h 5186362"/>
              <a:gd name="connsiteX494" fmla="*/ 4324703 w 5821363"/>
              <a:gd name="connsiteY494" fmla="*/ 916739 h 5186362"/>
              <a:gd name="connsiteX495" fmla="*/ 4349189 w 5821363"/>
              <a:gd name="connsiteY495" fmla="*/ 935074 h 5186362"/>
              <a:gd name="connsiteX496" fmla="*/ 4497248 w 5821363"/>
              <a:gd name="connsiteY496" fmla="*/ 1119854 h 5186362"/>
              <a:gd name="connsiteX497" fmla="*/ 4551192 w 5821363"/>
              <a:gd name="connsiteY497" fmla="*/ 1176481 h 5186362"/>
              <a:gd name="connsiteX498" fmla="*/ 4633829 w 5821363"/>
              <a:gd name="connsiteY498" fmla="*/ 1255932 h 5186362"/>
              <a:gd name="connsiteX499" fmla="*/ 4753195 w 5821363"/>
              <a:gd name="connsiteY499" fmla="*/ 1368997 h 5186362"/>
              <a:gd name="connsiteX500" fmla="*/ 4845015 w 5821363"/>
              <a:gd name="connsiteY500" fmla="*/ 1439280 h 5186362"/>
              <a:gd name="connsiteX501" fmla="*/ 4924591 w 5821363"/>
              <a:gd name="connsiteY501" fmla="*/ 1530954 h 5186362"/>
              <a:gd name="connsiteX502" fmla="*/ 5013351 w 5821363"/>
              <a:gd name="connsiteY502" fmla="*/ 1592070 h 5186362"/>
              <a:gd name="connsiteX503" fmla="*/ 5074563 w 5821363"/>
              <a:gd name="connsiteY503" fmla="*/ 1662353 h 5186362"/>
              <a:gd name="connsiteX504" fmla="*/ 5166383 w 5821363"/>
              <a:gd name="connsiteY504" fmla="*/ 1772362 h 5186362"/>
              <a:gd name="connsiteX505" fmla="*/ 5233717 w 5821363"/>
              <a:gd name="connsiteY505" fmla="*/ 1836534 h 5186362"/>
              <a:gd name="connsiteX506" fmla="*/ 5319416 w 5821363"/>
              <a:gd name="connsiteY506" fmla="*/ 1894594 h 5186362"/>
              <a:gd name="connsiteX507" fmla="*/ 5343901 w 5821363"/>
              <a:gd name="connsiteY507" fmla="*/ 1928208 h 5186362"/>
              <a:gd name="connsiteX508" fmla="*/ 4890925 w 5821363"/>
              <a:gd name="connsiteY508" fmla="*/ 1558456 h 5186362"/>
              <a:gd name="connsiteX509" fmla="*/ 4875621 w 5821363"/>
              <a:gd name="connsiteY509" fmla="*/ 1573735 h 5186362"/>
              <a:gd name="connsiteX510" fmla="*/ 4924591 w 5821363"/>
              <a:gd name="connsiteY510" fmla="*/ 1631795 h 5186362"/>
              <a:gd name="connsiteX511" fmla="*/ 5056199 w 5821363"/>
              <a:gd name="connsiteY511" fmla="*/ 1763195 h 5186362"/>
              <a:gd name="connsiteX512" fmla="*/ 5160262 w 5821363"/>
              <a:gd name="connsiteY512" fmla="*/ 1851813 h 5186362"/>
              <a:gd name="connsiteX513" fmla="*/ 5209233 w 5821363"/>
              <a:gd name="connsiteY513" fmla="*/ 1903761 h 5186362"/>
              <a:gd name="connsiteX514" fmla="*/ 5395932 w 5821363"/>
              <a:gd name="connsiteY514" fmla="*/ 2038216 h 5186362"/>
              <a:gd name="connsiteX515" fmla="*/ 5431513 w 5821363"/>
              <a:gd name="connsiteY515" fmla="*/ 2053496 h 5186362"/>
              <a:gd name="connsiteX516" fmla="*/ 5468808 w 5821363"/>
              <a:gd name="connsiteY516" fmla="*/ 2068540 h 5186362"/>
              <a:gd name="connsiteX517" fmla="*/ 5468836 w 5821363"/>
              <a:gd name="connsiteY517" fmla="*/ 2068512 h 5186362"/>
              <a:gd name="connsiteX518" fmla="*/ 5547383 w 5821363"/>
              <a:gd name="connsiteY518" fmla="*/ 2093277 h 5186362"/>
              <a:gd name="connsiteX519" fmla="*/ 5558147 w 5821363"/>
              <a:gd name="connsiteY519" fmla="*/ 2096659 h 5186362"/>
              <a:gd name="connsiteX520" fmla="*/ 5656087 w 5821363"/>
              <a:gd name="connsiteY520" fmla="*/ 2126835 h 5186362"/>
              <a:gd name="connsiteX521" fmla="*/ 5655894 w 5821363"/>
              <a:gd name="connsiteY521" fmla="*/ 2126895 h 5186362"/>
              <a:gd name="connsiteX522" fmla="*/ 5656263 w 5821363"/>
              <a:gd name="connsiteY522" fmla="*/ 2127009 h 5186362"/>
              <a:gd name="connsiteX523" fmla="*/ 5495961 w 5821363"/>
              <a:gd name="connsiteY523" fmla="*/ 2113587 h 5186362"/>
              <a:gd name="connsiteX524" fmla="*/ 5465949 w 5821363"/>
              <a:gd name="connsiteY524" fmla="*/ 2071849 h 5186362"/>
              <a:gd name="connsiteX525" fmla="*/ 5405114 w 5821363"/>
              <a:gd name="connsiteY525" fmla="*/ 2074886 h 5186362"/>
              <a:gd name="connsiteX526" fmla="*/ 5487752 w 5821363"/>
              <a:gd name="connsiteY526" fmla="*/ 2145169 h 5186362"/>
              <a:gd name="connsiteX527" fmla="*/ 5478570 w 5821363"/>
              <a:gd name="connsiteY527" fmla="*/ 2160448 h 5186362"/>
              <a:gd name="connsiteX528" fmla="*/ 5334719 w 5821363"/>
              <a:gd name="connsiteY528" fmla="*/ 2111556 h 5186362"/>
              <a:gd name="connsiteX529" fmla="*/ 5340841 w 5821363"/>
              <a:gd name="connsiteY529" fmla="*/ 2145169 h 5186362"/>
              <a:gd name="connsiteX530" fmla="*/ 5288809 w 5821363"/>
              <a:gd name="connsiteY530" fmla="*/ 2132946 h 5186362"/>
              <a:gd name="connsiteX531" fmla="*/ 5288809 w 5821363"/>
              <a:gd name="connsiteY531" fmla="*/ 2148225 h 5186362"/>
              <a:gd name="connsiteX532" fmla="*/ 5034775 w 5821363"/>
              <a:gd name="connsiteY532" fmla="*/ 2025993 h 5186362"/>
              <a:gd name="connsiteX533" fmla="*/ 5074563 w 5821363"/>
              <a:gd name="connsiteY533" fmla="*/ 2123779 h 5186362"/>
              <a:gd name="connsiteX534" fmla="*/ 5037835 w 5821363"/>
              <a:gd name="connsiteY534" fmla="*/ 2123779 h 5186362"/>
              <a:gd name="connsiteX535" fmla="*/ 5053139 w 5821363"/>
              <a:gd name="connsiteY535" fmla="*/ 2132946 h 5186362"/>
              <a:gd name="connsiteX536" fmla="*/ 5175565 w 5821363"/>
              <a:gd name="connsiteY536" fmla="*/ 2221564 h 5186362"/>
              <a:gd name="connsiteX537" fmla="*/ 5175565 w 5821363"/>
              <a:gd name="connsiteY537" fmla="*/ 2227676 h 5186362"/>
              <a:gd name="connsiteX538" fmla="*/ 5166383 w 5821363"/>
              <a:gd name="connsiteY538" fmla="*/ 2227676 h 5186362"/>
              <a:gd name="connsiteX539" fmla="*/ 5337779 w 5821363"/>
              <a:gd name="connsiteY539" fmla="*/ 2389633 h 5186362"/>
              <a:gd name="connsiteX540" fmla="*/ 5429599 w 5821363"/>
              <a:gd name="connsiteY540" fmla="*/ 2569925 h 5186362"/>
              <a:gd name="connsiteX541" fmla="*/ 5441842 w 5821363"/>
              <a:gd name="connsiteY541" fmla="*/ 2524089 h 5186362"/>
              <a:gd name="connsiteX542" fmla="*/ 5509177 w 5821363"/>
              <a:gd name="connsiteY542" fmla="*/ 2566870 h 5186362"/>
              <a:gd name="connsiteX543" fmla="*/ 5457145 w 5821363"/>
              <a:gd name="connsiteY543" fmla="*/ 2579093 h 5186362"/>
              <a:gd name="connsiteX544" fmla="*/ 5435721 w 5821363"/>
              <a:gd name="connsiteY544" fmla="*/ 2603539 h 5186362"/>
              <a:gd name="connsiteX545" fmla="*/ 5451024 w 5821363"/>
              <a:gd name="connsiteY545" fmla="*/ 2631041 h 5186362"/>
              <a:gd name="connsiteX546" fmla="*/ 5518359 w 5821363"/>
              <a:gd name="connsiteY546" fmla="*/ 2725771 h 5186362"/>
              <a:gd name="connsiteX547" fmla="*/ 5481631 w 5821363"/>
              <a:gd name="connsiteY547" fmla="*/ 2716604 h 5186362"/>
              <a:gd name="connsiteX548" fmla="*/ 5496933 w 5821363"/>
              <a:gd name="connsiteY548" fmla="*/ 2744106 h 5186362"/>
              <a:gd name="connsiteX549" fmla="*/ 5487752 w 5821363"/>
              <a:gd name="connsiteY549" fmla="*/ 2750218 h 5186362"/>
              <a:gd name="connsiteX550" fmla="*/ 5435721 w 5821363"/>
              <a:gd name="connsiteY550" fmla="*/ 2692157 h 5186362"/>
              <a:gd name="connsiteX551" fmla="*/ 5460206 w 5821363"/>
              <a:gd name="connsiteY551" fmla="*/ 2777720 h 5186362"/>
              <a:gd name="connsiteX552" fmla="*/ 5512237 w 5821363"/>
              <a:gd name="connsiteY552" fmla="*/ 2841892 h 5186362"/>
              <a:gd name="connsiteX553" fmla="*/ 5475509 w 5821363"/>
              <a:gd name="connsiteY553" fmla="*/ 2771608 h 5186362"/>
              <a:gd name="connsiteX554" fmla="*/ 5484691 w 5821363"/>
              <a:gd name="connsiteY554" fmla="*/ 2765497 h 5186362"/>
              <a:gd name="connsiteX555" fmla="*/ 5533661 w 5821363"/>
              <a:gd name="connsiteY555" fmla="*/ 2838836 h 5186362"/>
              <a:gd name="connsiteX556" fmla="*/ 5607117 w 5821363"/>
              <a:gd name="connsiteY556" fmla="*/ 2994681 h 5186362"/>
              <a:gd name="connsiteX557" fmla="*/ 5460206 w 5821363"/>
              <a:gd name="connsiteY557" fmla="*/ 3049686 h 5186362"/>
              <a:gd name="connsiteX558" fmla="*/ 5454085 w 5821363"/>
              <a:gd name="connsiteY558" fmla="*/ 3147471 h 5186362"/>
              <a:gd name="connsiteX559" fmla="*/ 5438781 w 5821363"/>
              <a:gd name="connsiteY559" fmla="*/ 3147471 h 5186362"/>
              <a:gd name="connsiteX560" fmla="*/ 5499995 w 5821363"/>
              <a:gd name="connsiteY560" fmla="*/ 3217755 h 5186362"/>
              <a:gd name="connsiteX561" fmla="*/ 5677513 w 5821363"/>
              <a:gd name="connsiteY561" fmla="*/ 3419438 h 5186362"/>
              <a:gd name="connsiteX562" fmla="*/ 5726483 w 5821363"/>
              <a:gd name="connsiteY562" fmla="*/ 3505000 h 5186362"/>
              <a:gd name="connsiteX563" fmla="*/ 5717301 w 5821363"/>
              <a:gd name="connsiteY563" fmla="*/ 3511112 h 5186362"/>
              <a:gd name="connsiteX564" fmla="*/ 5671391 w 5821363"/>
              <a:gd name="connsiteY564" fmla="*/ 3477498 h 5186362"/>
              <a:gd name="connsiteX565" fmla="*/ 5668331 w 5821363"/>
              <a:gd name="connsiteY565" fmla="*/ 3477498 h 5186362"/>
              <a:gd name="connsiteX566" fmla="*/ 5717301 w 5821363"/>
              <a:gd name="connsiteY566" fmla="*/ 3544725 h 5186362"/>
              <a:gd name="connsiteX567" fmla="*/ 5708119 w 5821363"/>
              <a:gd name="connsiteY567" fmla="*/ 3553893 h 5186362"/>
              <a:gd name="connsiteX568" fmla="*/ 5671391 w 5821363"/>
              <a:gd name="connsiteY568" fmla="*/ 3523335 h 5186362"/>
              <a:gd name="connsiteX569" fmla="*/ 5662209 w 5821363"/>
              <a:gd name="connsiteY569" fmla="*/ 3532502 h 5186362"/>
              <a:gd name="connsiteX570" fmla="*/ 5717301 w 5821363"/>
              <a:gd name="connsiteY570" fmla="*/ 3587507 h 5186362"/>
              <a:gd name="connsiteX571" fmla="*/ 5720361 w 5821363"/>
              <a:gd name="connsiteY571" fmla="*/ 3581395 h 5186362"/>
              <a:gd name="connsiteX572" fmla="*/ 5757089 w 5821363"/>
              <a:gd name="connsiteY572" fmla="*/ 3682236 h 5186362"/>
              <a:gd name="connsiteX573" fmla="*/ 5698937 w 5821363"/>
              <a:gd name="connsiteY573" fmla="*/ 3660846 h 5186362"/>
              <a:gd name="connsiteX574" fmla="*/ 5821363 w 5821363"/>
              <a:gd name="connsiteY574" fmla="*/ 3844194 h 5186362"/>
              <a:gd name="connsiteX575" fmla="*/ 5815241 w 5821363"/>
              <a:gd name="connsiteY575" fmla="*/ 3850305 h 5186362"/>
              <a:gd name="connsiteX576" fmla="*/ 5781575 w 5821363"/>
              <a:gd name="connsiteY576" fmla="*/ 3825859 h 5186362"/>
              <a:gd name="connsiteX577" fmla="*/ 5775453 w 5821363"/>
              <a:gd name="connsiteY577" fmla="*/ 3828915 h 5186362"/>
              <a:gd name="connsiteX578" fmla="*/ 5781575 w 5821363"/>
              <a:gd name="connsiteY578" fmla="*/ 3847250 h 5186362"/>
              <a:gd name="connsiteX579" fmla="*/ 5668331 w 5821363"/>
              <a:gd name="connsiteY579" fmla="*/ 3801413 h 5186362"/>
              <a:gd name="connsiteX580" fmla="*/ 5668331 w 5821363"/>
              <a:gd name="connsiteY580" fmla="*/ 3819747 h 5186362"/>
              <a:gd name="connsiteX581" fmla="*/ 5576511 w 5821363"/>
              <a:gd name="connsiteY581" fmla="*/ 3737241 h 5186362"/>
              <a:gd name="connsiteX582" fmla="*/ 5515297 w 5821363"/>
              <a:gd name="connsiteY582" fmla="*/ 3660846 h 5186362"/>
              <a:gd name="connsiteX583" fmla="*/ 5395932 w 5821363"/>
              <a:gd name="connsiteY583" fmla="*/ 3563060 h 5186362"/>
              <a:gd name="connsiteX584" fmla="*/ 5340841 w 5821363"/>
              <a:gd name="connsiteY584" fmla="*/ 3535558 h 5186362"/>
              <a:gd name="connsiteX585" fmla="*/ 5343901 w 5821363"/>
              <a:gd name="connsiteY585" fmla="*/ 3602786 h 5186362"/>
              <a:gd name="connsiteX586" fmla="*/ 5270445 w 5821363"/>
              <a:gd name="connsiteY586" fmla="*/ 3553893 h 5186362"/>
              <a:gd name="connsiteX587" fmla="*/ 5276567 w 5821363"/>
              <a:gd name="connsiteY587" fmla="*/ 3547781 h 5186362"/>
              <a:gd name="connsiteX588" fmla="*/ 5319416 w 5821363"/>
              <a:gd name="connsiteY588" fmla="*/ 3566116 h 5186362"/>
              <a:gd name="connsiteX589" fmla="*/ 5270445 w 5821363"/>
              <a:gd name="connsiteY589" fmla="*/ 3526391 h 5186362"/>
              <a:gd name="connsiteX590" fmla="*/ 5160262 w 5821363"/>
              <a:gd name="connsiteY590" fmla="*/ 3459163 h 5186362"/>
              <a:gd name="connsiteX591" fmla="*/ 5227596 w 5821363"/>
              <a:gd name="connsiteY591" fmla="*/ 3566116 h 5186362"/>
              <a:gd name="connsiteX592" fmla="*/ 5288809 w 5821363"/>
              <a:gd name="connsiteY592" fmla="*/ 3624176 h 5186362"/>
              <a:gd name="connsiteX593" fmla="*/ 5356143 w 5821363"/>
              <a:gd name="connsiteY593" fmla="*/ 3654734 h 5186362"/>
              <a:gd name="connsiteX594" fmla="*/ 5426539 w 5821363"/>
              <a:gd name="connsiteY594" fmla="*/ 3776966 h 5186362"/>
              <a:gd name="connsiteX595" fmla="*/ 5389811 w 5821363"/>
              <a:gd name="connsiteY595" fmla="*/ 3731129 h 5186362"/>
              <a:gd name="connsiteX596" fmla="*/ 5282688 w 5821363"/>
              <a:gd name="connsiteY596" fmla="*/ 3663902 h 5186362"/>
              <a:gd name="connsiteX597" fmla="*/ 5221475 w 5821363"/>
              <a:gd name="connsiteY597" fmla="*/ 3621120 h 5186362"/>
              <a:gd name="connsiteX598" fmla="*/ 5157201 w 5821363"/>
              <a:gd name="connsiteY598" fmla="*/ 3575283 h 5186362"/>
              <a:gd name="connsiteX599" fmla="*/ 5346961 w 5821363"/>
              <a:gd name="connsiteY599" fmla="*/ 3780022 h 5186362"/>
              <a:gd name="connsiteX600" fmla="*/ 5304113 w 5821363"/>
              <a:gd name="connsiteY600" fmla="*/ 3786134 h 5186362"/>
              <a:gd name="connsiteX601" fmla="*/ 5371447 w 5821363"/>
              <a:gd name="connsiteY601" fmla="*/ 3822803 h 5186362"/>
              <a:gd name="connsiteX602" fmla="*/ 5463267 w 5821363"/>
              <a:gd name="connsiteY602" fmla="*/ 3981705 h 5186362"/>
              <a:gd name="connsiteX603" fmla="*/ 5417357 w 5821363"/>
              <a:gd name="connsiteY603" fmla="*/ 3945035 h 5186362"/>
              <a:gd name="connsiteX604" fmla="*/ 5258203 w 5821363"/>
              <a:gd name="connsiteY604" fmla="*/ 3792245 h 5186362"/>
              <a:gd name="connsiteX605" fmla="*/ 5441842 w 5821363"/>
              <a:gd name="connsiteY605" fmla="*/ 4039765 h 5186362"/>
              <a:gd name="connsiteX606" fmla="*/ 5386750 w 5821363"/>
              <a:gd name="connsiteY606" fmla="*/ 4033653 h 5186362"/>
              <a:gd name="connsiteX607" fmla="*/ 5441842 w 5821363"/>
              <a:gd name="connsiteY607" fmla="*/ 4100881 h 5186362"/>
              <a:gd name="connsiteX608" fmla="*/ 5435721 w 5821363"/>
              <a:gd name="connsiteY608" fmla="*/ 4106992 h 5186362"/>
              <a:gd name="connsiteX609" fmla="*/ 5346961 w 5821363"/>
              <a:gd name="connsiteY609" fmla="*/ 4055044 h 5186362"/>
              <a:gd name="connsiteX610" fmla="*/ 5392871 w 5821363"/>
              <a:gd name="connsiteY610" fmla="*/ 4110048 h 5186362"/>
              <a:gd name="connsiteX611" fmla="*/ 5383689 w 5821363"/>
              <a:gd name="connsiteY611" fmla="*/ 4119216 h 5186362"/>
              <a:gd name="connsiteX612" fmla="*/ 4820529 w 5821363"/>
              <a:gd name="connsiteY612" fmla="*/ 3615009 h 5186362"/>
              <a:gd name="connsiteX613" fmla="*/ 4841954 w 5821363"/>
              <a:gd name="connsiteY613" fmla="*/ 3718906 h 5186362"/>
              <a:gd name="connsiteX614" fmla="*/ 4765437 w 5821363"/>
              <a:gd name="connsiteY614" fmla="*/ 3703627 h 5186362"/>
              <a:gd name="connsiteX615" fmla="*/ 4817469 w 5821363"/>
              <a:gd name="connsiteY615" fmla="*/ 3792245 h 5186362"/>
              <a:gd name="connsiteX616" fmla="*/ 4915409 w 5821363"/>
              <a:gd name="connsiteY616" fmla="*/ 3896142 h 5186362"/>
              <a:gd name="connsiteX617" fmla="*/ 4927652 w 5821363"/>
              <a:gd name="connsiteY617" fmla="*/ 3877808 h 5186362"/>
              <a:gd name="connsiteX618" fmla="*/ 4964380 w 5821363"/>
              <a:gd name="connsiteY618" fmla="*/ 3981705 h 5186362"/>
              <a:gd name="connsiteX619" fmla="*/ 5019472 w 5821363"/>
              <a:gd name="connsiteY619" fmla="*/ 4085602 h 5186362"/>
              <a:gd name="connsiteX620" fmla="*/ 5102109 w 5821363"/>
              <a:gd name="connsiteY620" fmla="*/ 4189499 h 5186362"/>
              <a:gd name="connsiteX621" fmla="*/ 5031715 w 5821363"/>
              <a:gd name="connsiteY621" fmla="*/ 4161997 h 5186362"/>
              <a:gd name="connsiteX622" fmla="*/ 5111291 w 5821363"/>
              <a:gd name="connsiteY622" fmla="*/ 4278117 h 5186362"/>
              <a:gd name="connsiteX623" fmla="*/ 5007229 w 5821363"/>
              <a:gd name="connsiteY623" fmla="*/ 4189499 h 5186362"/>
              <a:gd name="connsiteX624" fmla="*/ 4998047 w 5821363"/>
              <a:gd name="connsiteY624" fmla="*/ 4247559 h 5186362"/>
              <a:gd name="connsiteX625" fmla="*/ 4952137 w 5821363"/>
              <a:gd name="connsiteY625" fmla="*/ 4195611 h 5186362"/>
              <a:gd name="connsiteX626" fmla="*/ 4936834 w 5821363"/>
              <a:gd name="connsiteY626" fmla="*/ 4244504 h 5186362"/>
              <a:gd name="connsiteX627" fmla="*/ 4909289 w 5821363"/>
              <a:gd name="connsiteY627" fmla="*/ 4217001 h 5186362"/>
              <a:gd name="connsiteX628" fmla="*/ 4869500 w 5821363"/>
              <a:gd name="connsiteY628" fmla="*/ 4210890 h 5186362"/>
              <a:gd name="connsiteX629" fmla="*/ 4789923 w 5821363"/>
              <a:gd name="connsiteY629" fmla="*/ 4201722 h 5186362"/>
              <a:gd name="connsiteX630" fmla="*/ 4765437 w 5821363"/>
              <a:gd name="connsiteY630" fmla="*/ 4195611 h 5186362"/>
              <a:gd name="connsiteX631" fmla="*/ 4578737 w 5821363"/>
              <a:gd name="connsiteY631" fmla="*/ 4033653 h 5186362"/>
              <a:gd name="connsiteX632" fmla="*/ 4434887 w 5821363"/>
              <a:gd name="connsiteY632" fmla="*/ 3929756 h 5186362"/>
              <a:gd name="connsiteX633" fmla="*/ 4395099 w 5821363"/>
              <a:gd name="connsiteY633" fmla="*/ 3929756 h 5186362"/>
              <a:gd name="connsiteX634" fmla="*/ 4367553 w 5821363"/>
              <a:gd name="connsiteY634" fmla="*/ 3996984 h 5186362"/>
              <a:gd name="connsiteX635" fmla="*/ 4321643 w 5821363"/>
              <a:gd name="connsiteY635" fmla="*/ 3966426 h 5186362"/>
              <a:gd name="connsiteX636" fmla="*/ 4315521 w 5821363"/>
              <a:gd name="connsiteY636" fmla="*/ 3969482 h 5186362"/>
              <a:gd name="connsiteX637" fmla="*/ 4343067 w 5821363"/>
              <a:gd name="connsiteY637" fmla="*/ 4018374 h 5186362"/>
              <a:gd name="connsiteX638" fmla="*/ 4340007 w 5821363"/>
              <a:gd name="connsiteY638" fmla="*/ 4024486 h 5186362"/>
              <a:gd name="connsiteX639" fmla="*/ 4300218 w 5821363"/>
              <a:gd name="connsiteY639" fmla="*/ 3978649 h 5186362"/>
              <a:gd name="connsiteX640" fmla="*/ 4294097 w 5821363"/>
              <a:gd name="connsiteY640" fmla="*/ 3981705 h 5186362"/>
              <a:gd name="connsiteX641" fmla="*/ 4318582 w 5821363"/>
              <a:gd name="connsiteY641" fmla="*/ 4030597 h 5186362"/>
              <a:gd name="connsiteX642" fmla="*/ 4287975 w 5821363"/>
              <a:gd name="connsiteY642" fmla="*/ 4088658 h 5186362"/>
              <a:gd name="connsiteX643" fmla="*/ 4272673 w 5821363"/>
              <a:gd name="connsiteY643" fmla="*/ 4146718 h 5186362"/>
              <a:gd name="connsiteX644" fmla="*/ 4242066 w 5821363"/>
              <a:gd name="connsiteY644" fmla="*/ 4143662 h 5186362"/>
              <a:gd name="connsiteX645" fmla="*/ 4165549 w 5821363"/>
              <a:gd name="connsiteY645" fmla="*/ 4207834 h 5186362"/>
              <a:gd name="connsiteX646" fmla="*/ 4180853 w 5821363"/>
              <a:gd name="connsiteY646" fmla="*/ 4244504 h 5186362"/>
              <a:gd name="connsiteX647" fmla="*/ 4107397 w 5821363"/>
              <a:gd name="connsiteY647" fmla="*/ 4189499 h 5186362"/>
              <a:gd name="connsiteX648" fmla="*/ 4098215 w 5821363"/>
              <a:gd name="connsiteY648" fmla="*/ 4198667 h 5186362"/>
              <a:gd name="connsiteX649" fmla="*/ 4190035 w 5821363"/>
              <a:gd name="connsiteY649" fmla="*/ 4287285 h 5186362"/>
              <a:gd name="connsiteX650" fmla="*/ 4196156 w 5821363"/>
              <a:gd name="connsiteY650" fmla="*/ 4342289 h 5186362"/>
              <a:gd name="connsiteX651" fmla="*/ 4098215 w 5821363"/>
              <a:gd name="connsiteY651" fmla="*/ 4278117 h 5186362"/>
              <a:gd name="connsiteX652" fmla="*/ 4000274 w 5821363"/>
              <a:gd name="connsiteY652" fmla="*/ 4253671 h 5186362"/>
              <a:gd name="connsiteX653" fmla="*/ 4055366 w 5821363"/>
              <a:gd name="connsiteY653" fmla="*/ 4317843 h 5186362"/>
              <a:gd name="connsiteX654" fmla="*/ 4054066 w 5821363"/>
              <a:gd name="connsiteY654" fmla="*/ 4317961 h 5186362"/>
              <a:gd name="connsiteX655" fmla="*/ 4054476 w 5821363"/>
              <a:gd name="connsiteY655" fmla="*/ 4318437 h 5186362"/>
              <a:gd name="connsiteX656" fmla="*/ 4020848 w 5821363"/>
              <a:gd name="connsiteY656" fmla="*/ 4321503 h 5186362"/>
              <a:gd name="connsiteX657" fmla="*/ 3791564 w 5821363"/>
              <a:gd name="connsiteY657" fmla="*/ 4324568 h 5186362"/>
              <a:gd name="connsiteX658" fmla="*/ 3660108 w 5821363"/>
              <a:gd name="connsiteY658" fmla="*/ 4247930 h 5186362"/>
              <a:gd name="connsiteX659" fmla="*/ 3597136 w 5821363"/>
              <a:gd name="connsiteY659" fmla="*/ 4190799 h 5186362"/>
              <a:gd name="connsiteX660" fmla="*/ 3623049 w 5821363"/>
              <a:gd name="connsiteY660" fmla="*/ 4229607 h 5186362"/>
              <a:gd name="connsiteX661" fmla="*/ 3654420 w 5821363"/>
              <a:gd name="connsiteY661" fmla="*/ 4281173 h 5186362"/>
              <a:gd name="connsiteX662" fmla="*/ 3654085 w 5821363"/>
              <a:gd name="connsiteY662" fmla="*/ 4280925 h 5186362"/>
              <a:gd name="connsiteX663" fmla="*/ 3654426 w 5821363"/>
              <a:gd name="connsiteY663" fmla="*/ 4281487 h 5186362"/>
              <a:gd name="connsiteX664" fmla="*/ 3618867 w 5821363"/>
              <a:gd name="connsiteY664" fmla="*/ 4255058 h 5186362"/>
              <a:gd name="connsiteX665" fmla="*/ 3590241 w 5821363"/>
              <a:gd name="connsiteY665" fmla="*/ 4235558 h 5186362"/>
              <a:gd name="connsiteX666" fmla="*/ 3623814 w 5821363"/>
              <a:gd name="connsiteY666" fmla="*/ 4314787 h 5186362"/>
              <a:gd name="connsiteX667" fmla="*/ 3614632 w 5821363"/>
              <a:gd name="connsiteY667" fmla="*/ 4327010 h 5186362"/>
              <a:gd name="connsiteX668" fmla="*/ 3614087 w 5821363"/>
              <a:gd name="connsiteY668" fmla="*/ 4326753 h 5186362"/>
              <a:gd name="connsiteX669" fmla="*/ 3613510 w 5821363"/>
              <a:gd name="connsiteY669" fmla="*/ 4327524 h 5186362"/>
              <a:gd name="connsiteX670" fmla="*/ 3556831 w 5821363"/>
              <a:gd name="connsiteY670" fmla="*/ 4300622 h 5186362"/>
              <a:gd name="connsiteX671" fmla="*/ 3558775 w 5821363"/>
              <a:gd name="connsiteY671" fmla="*/ 4306765 h 5186362"/>
              <a:gd name="connsiteX672" fmla="*/ 3565661 w 5821363"/>
              <a:gd name="connsiteY672" fmla="*/ 4320898 h 5186362"/>
              <a:gd name="connsiteX673" fmla="*/ 3564384 w 5821363"/>
              <a:gd name="connsiteY673" fmla="*/ 4320908 h 5186362"/>
              <a:gd name="connsiteX674" fmla="*/ 3564623 w 5821363"/>
              <a:gd name="connsiteY674" fmla="*/ 4321401 h 5186362"/>
              <a:gd name="connsiteX675" fmla="*/ 3372133 w 5821363"/>
              <a:gd name="connsiteY675" fmla="*/ 4318339 h 5186362"/>
              <a:gd name="connsiteX676" fmla="*/ 3304915 w 5821363"/>
              <a:gd name="connsiteY676" fmla="*/ 4269354 h 5186362"/>
              <a:gd name="connsiteX677" fmla="*/ 3179643 w 5821363"/>
              <a:gd name="connsiteY677" fmla="*/ 4128520 h 5186362"/>
              <a:gd name="connsiteX678" fmla="*/ 3179643 w 5821363"/>
              <a:gd name="connsiteY678" fmla="*/ 4116273 h 5186362"/>
              <a:gd name="connsiteX679" fmla="*/ 3179984 w 5821363"/>
              <a:gd name="connsiteY679" fmla="*/ 4116414 h 5186362"/>
              <a:gd name="connsiteX680" fmla="*/ 3180019 w 5821363"/>
              <a:gd name="connsiteY680" fmla="*/ 4116160 h 5186362"/>
              <a:gd name="connsiteX681" fmla="*/ 3299071 w 5821363"/>
              <a:gd name="connsiteY681" fmla="*/ 4164924 h 5186362"/>
              <a:gd name="connsiteX682" fmla="*/ 3311025 w 5821363"/>
              <a:gd name="connsiteY682" fmla="*/ 4149951 h 5186362"/>
              <a:gd name="connsiteX683" fmla="*/ 3216308 w 5821363"/>
              <a:gd name="connsiteY683" fmla="*/ 4058103 h 5186362"/>
              <a:gd name="connsiteX684" fmla="*/ 3228530 w 5821363"/>
              <a:gd name="connsiteY684" fmla="*/ 4042795 h 5186362"/>
              <a:gd name="connsiteX685" fmla="*/ 3228831 w 5821363"/>
              <a:gd name="connsiteY685" fmla="*/ 4043018 h 5186362"/>
              <a:gd name="connsiteX686" fmla="*/ 3228989 w 5821363"/>
              <a:gd name="connsiteY686" fmla="*/ 4042821 h 5186362"/>
              <a:gd name="connsiteX687" fmla="*/ 3380326 w 5821363"/>
              <a:gd name="connsiteY687" fmla="*/ 4154632 h 5186362"/>
              <a:gd name="connsiteX688" fmla="*/ 3354183 w 5821363"/>
              <a:gd name="connsiteY688" fmla="*/ 4115939 h 5186362"/>
              <a:gd name="connsiteX689" fmla="*/ 3268250 w 5821363"/>
              <a:gd name="connsiteY689" fmla="*/ 3984624 h 5186362"/>
              <a:gd name="connsiteX690" fmla="*/ 3268815 w 5821363"/>
              <a:gd name="connsiteY690" fmla="*/ 3984855 h 5186362"/>
              <a:gd name="connsiteX691" fmla="*/ 3268778 w 5821363"/>
              <a:gd name="connsiteY691" fmla="*/ 3984760 h 5186362"/>
              <a:gd name="connsiteX692" fmla="*/ 3317749 w 5821363"/>
              <a:gd name="connsiteY692" fmla="*/ 4006151 h 5186362"/>
              <a:gd name="connsiteX693" fmla="*/ 3320809 w 5821363"/>
              <a:gd name="connsiteY693" fmla="*/ 3975593 h 5186362"/>
              <a:gd name="connsiteX694" fmla="*/ 3320861 w 5821363"/>
              <a:gd name="connsiteY694" fmla="*/ 3975596 h 5186362"/>
              <a:gd name="connsiteX695" fmla="*/ 3320910 w 5821363"/>
              <a:gd name="connsiteY695" fmla="*/ 3975099 h 5186362"/>
              <a:gd name="connsiteX696" fmla="*/ 3348224 w 5821363"/>
              <a:gd name="connsiteY696" fmla="*/ 3981230 h 5186362"/>
              <a:gd name="connsiteX697" fmla="*/ 3373176 w 5821363"/>
              <a:gd name="connsiteY697" fmla="*/ 4009584 h 5186362"/>
              <a:gd name="connsiteX698" fmla="*/ 3421811 w 5821363"/>
              <a:gd name="connsiteY698" fmla="*/ 4064211 h 5186362"/>
              <a:gd name="connsiteX699" fmla="*/ 3437114 w 5821363"/>
              <a:gd name="connsiteY699" fmla="*/ 4061155 h 5186362"/>
              <a:gd name="connsiteX700" fmla="*/ 3437124 w 5821363"/>
              <a:gd name="connsiteY700" fmla="*/ 4061114 h 5186362"/>
              <a:gd name="connsiteX701" fmla="*/ 3436938 w 5821363"/>
              <a:gd name="connsiteY701" fmla="*/ 4060934 h 5186362"/>
              <a:gd name="connsiteX702" fmla="*/ 3449166 w 5821363"/>
              <a:gd name="connsiteY702" fmla="*/ 4011885 h 5186362"/>
              <a:gd name="connsiteX703" fmla="*/ 3513366 w 5821363"/>
              <a:gd name="connsiteY703" fmla="*/ 4057868 h 5186362"/>
              <a:gd name="connsiteX704" fmla="*/ 3522537 w 5821363"/>
              <a:gd name="connsiteY704" fmla="*/ 4051737 h 5186362"/>
              <a:gd name="connsiteX705" fmla="*/ 3511286 w 5821363"/>
              <a:gd name="connsiteY705" fmla="*/ 4039202 h 5186362"/>
              <a:gd name="connsiteX706" fmla="*/ 3467721 w 5821363"/>
              <a:gd name="connsiteY706" fmla="*/ 3990872 h 5186362"/>
              <a:gd name="connsiteX707" fmla="*/ 3467810 w 5821363"/>
              <a:gd name="connsiteY707" fmla="*/ 3990762 h 5186362"/>
              <a:gd name="connsiteX708" fmla="*/ 3467509 w 5821363"/>
              <a:gd name="connsiteY708" fmla="*/ 3990427 h 5186362"/>
              <a:gd name="connsiteX709" fmla="*/ 3479738 w 5821363"/>
              <a:gd name="connsiteY709" fmla="*/ 3975099 h 5186362"/>
              <a:gd name="connsiteX710" fmla="*/ 3576672 w 5821363"/>
              <a:gd name="connsiteY710" fmla="*/ 4049518 h 5186362"/>
              <a:gd name="connsiteX711" fmla="*/ 3675652 w 5821363"/>
              <a:gd name="connsiteY711" fmla="*/ 4125180 h 5186362"/>
              <a:gd name="connsiteX712" fmla="*/ 3681507 w 5821363"/>
              <a:gd name="connsiteY712" fmla="*/ 4122244 h 5186362"/>
              <a:gd name="connsiteX713" fmla="*/ 3666222 w 5821363"/>
              <a:gd name="connsiteY713" fmla="*/ 4091589 h 5186362"/>
              <a:gd name="connsiteX714" fmla="*/ 3632594 w 5821363"/>
              <a:gd name="connsiteY714" fmla="*/ 4054803 h 5186362"/>
              <a:gd name="connsiteX715" fmla="*/ 3641391 w 5821363"/>
              <a:gd name="connsiteY715" fmla="*/ 4059648 h 5186362"/>
              <a:gd name="connsiteX716" fmla="*/ 3687322 w 5821363"/>
              <a:gd name="connsiteY716" fmla="*/ 4084838 h 5186362"/>
              <a:gd name="connsiteX717" fmla="*/ 3737058 w 5821363"/>
              <a:gd name="connsiteY717" fmla="*/ 4110048 h 5186362"/>
              <a:gd name="connsiteX718" fmla="*/ 3795210 w 5821363"/>
              <a:gd name="connsiteY718" fmla="*/ 4161997 h 5186362"/>
              <a:gd name="connsiteX719" fmla="*/ 3861714 w 5821363"/>
              <a:gd name="connsiteY719" fmla="*/ 4186141 h 5186362"/>
              <a:gd name="connsiteX720" fmla="*/ 3856909 w 5821363"/>
              <a:gd name="connsiteY720" fmla="*/ 4172059 h 5186362"/>
              <a:gd name="connsiteX721" fmla="*/ 3849649 w 5821363"/>
              <a:gd name="connsiteY721" fmla="*/ 4152899 h 5186362"/>
              <a:gd name="connsiteX722" fmla="*/ 3850475 w 5821363"/>
              <a:gd name="connsiteY722" fmla="*/ 4153285 h 5186362"/>
              <a:gd name="connsiteX723" fmla="*/ 3850302 w 5821363"/>
              <a:gd name="connsiteY723" fmla="*/ 4152829 h 5186362"/>
              <a:gd name="connsiteX724" fmla="*/ 3957425 w 5821363"/>
              <a:gd name="connsiteY724" fmla="*/ 4204778 h 5186362"/>
              <a:gd name="connsiteX725" fmla="*/ 3951304 w 5821363"/>
              <a:gd name="connsiteY725" fmla="*/ 4207834 h 5186362"/>
              <a:gd name="connsiteX726" fmla="*/ 3988031 w 5821363"/>
              <a:gd name="connsiteY726" fmla="*/ 4244504 h 5186362"/>
              <a:gd name="connsiteX727" fmla="*/ 4015577 w 5821363"/>
              <a:gd name="connsiteY727" fmla="*/ 4210890 h 5186362"/>
              <a:gd name="connsiteX728" fmla="*/ 4027820 w 5821363"/>
              <a:gd name="connsiteY728" fmla="*/ 4217001 h 5186362"/>
              <a:gd name="connsiteX729" fmla="*/ 3936001 w 5821363"/>
              <a:gd name="connsiteY729" fmla="*/ 4140606 h 5186362"/>
              <a:gd name="connsiteX730" fmla="*/ 3786029 w 5821363"/>
              <a:gd name="connsiteY730" fmla="*/ 4039765 h 5186362"/>
              <a:gd name="connsiteX731" fmla="*/ 3574843 w 5821363"/>
              <a:gd name="connsiteY731" fmla="*/ 3871696 h 5186362"/>
              <a:gd name="connsiteX732" fmla="*/ 3486084 w 5821363"/>
              <a:gd name="connsiteY732" fmla="*/ 3856417 h 5186362"/>
              <a:gd name="connsiteX733" fmla="*/ 3391204 w 5821363"/>
              <a:gd name="connsiteY733" fmla="*/ 3828915 h 5186362"/>
              <a:gd name="connsiteX734" fmla="*/ 3366719 w 5821363"/>
              <a:gd name="connsiteY734" fmla="*/ 3822803 h 5186362"/>
              <a:gd name="connsiteX735" fmla="*/ 3375901 w 5821363"/>
              <a:gd name="connsiteY735" fmla="*/ 3853361 h 5186362"/>
              <a:gd name="connsiteX736" fmla="*/ 3348355 w 5821363"/>
              <a:gd name="connsiteY736" fmla="*/ 3838082 h 5186362"/>
              <a:gd name="connsiteX737" fmla="*/ 3345294 w 5821363"/>
              <a:gd name="connsiteY737" fmla="*/ 3844194 h 5186362"/>
              <a:gd name="connsiteX738" fmla="*/ 3415689 w 5821363"/>
              <a:gd name="connsiteY738" fmla="*/ 3926700 h 5186362"/>
              <a:gd name="connsiteX739" fmla="*/ 3409568 w 5821363"/>
              <a:gd name="connsiteY739" fmla="*/ 3932812 h 5186362"/>
              <a:gd name="connsiteX740" fmla="*/ 3271839 w 5821363"/>
              <a:gd name="connsiteY740" fmla="*/ 3825859 h 5186362"/>
              <a:gd name="connsiteX741" fmla="*/ 3121867 w 5821363"/>
              <a:gd name="connsiteY741" fmla="*/ 3718906 h 5186362"/>
              <a:gd name="connsiteX742" fmla="*/ 3097381 w 5821363"/>
              <a:gd name="connsiteY742" fmla="*/ 3718906 h 5186362"/>
              <a:gd name="connsiteX743" fmla="*/ 3048411 w 5821363"/>
              <a:gd name="connsiteY743" fmla="*/ 3685292 h 5186362"/>
              <a:gd name="connsiteX744" fmla="*/ 2978016 w 5821363"/>
              <a:gd name="connsiteY744" fmla="*/ 3630288 h 5186362"/>
              <a:gd name="connsiteX745" fmla="*/ 2828044 w 5821363"/>
              <a:gd name="connsiteY745" fmla="*/ 3523335 h 5186362"/>
              <a:gd name="connsiteX746" fmla="*/ 2687254 w 5821363"/>
              <a:gd name="connsiteY746" fmla="*/ 3453052 h 5186362"/>
              <a:gd name="connsiteX747" fmla="*/ 2601555 w 5821363"/>
              <a:gd name="connsiteY747" fmla="*/ 3428605 h 5186362"/>
              <a:gd name="connsiteX748" fmla="*/ 3072896 w 5821363"/>
              <a:gd name="connsiteY748" fmla="*/ 3813636 h 5186362"/>
              <a:gd name="connsiteX749" fmla="*/ 3002501 w 5821363"/>
              <a:gd name="connsiteY749" fmla="*/ 3789189 h 5186362"/>
              <a:gd name="connsiteX750" fmla="*/ 2996380 w 5821363"/>
              <a:gd name="connsiteY750" fmla="*/ 3776966 h 5186362"/>
              <a:gd name="connsiteX751" fmla="*/ 2889257 w 5821363"/>
              <a:gd name="connsiteY751" fmla="*/ 3703627 h 5186362"/>
              <a:gd name="connsiteX752" fmla="*/ 2907621 w 5821363"/>
              <a:gd name="connsiteY752" fmla="*/ 3743352 h 5186362"/>
              <a:gd name="connsiteX753" fmla="*/ 2837226 w 5821363"/>
              <a:gd name="connsiteY753" fmla="*/ 3691404 h 5186362"/>
              <a:gd name="connsiteX754" fmla="*/ 2834165 w 5821363"/>
              <a:gd name="connsiteY754" fmla="*/ 3697515 h 5186362"/>
              <a:gd name="connsiteX755" fmla="*/ 3008623 w 5821363"/>
              <a:gd name="connsiteY755" fmla="*/ 3856417 h 5186362"/>
              <a:gd name="connsiteX756" fmla="*/ 2965773 w 5821363"/>
              <a:gd name="connsiteY756" fmla="*/ 3859473 h 5186362"/>
              <a:gd name="connsiteX757" fmla="*/ 2834165 w 5821363"/>
              <a:gd name="connsiteY757" fmla="*/ 3761687 h 5186362"/>
              <a:gd name="connsiteX758" fmla="*/ 2708678 w 5821363"/>
              <a:gd name="connsiteY758" fmla="*/ 3651678 h 5186362"/>
              <a:gd name="connsiteX759" fmla="*/ 2696436 w 5821363"/>
              <a:gd name="connsiteY759" fmla="*/ 3666957 h 5186362"/>
              <a:gd name="connsiteX760" fmla="*/ 2769891 w 5821363"/>
              <a:gd name="connsiteY760" fmla="*/ 3725018 h 5186362"/>
              <a:gd name="connsiteX761" fmla="*/ 2873954 w 5821363"/>
              <a:gd name="connsiteY761" fmla="*/ 3831971 h 5186362"/>
              <a:gd name="connsiteX762" fmla="*/ 2858651 w 5821363"/>
              <a:gd name="connsiteY762" fmla="*/ 3862529 h 5186362"/>
              <a:gd name="connsiteX763" fmla="*/ 2797437 w 5821363"/>
              <a:gd name="connsiteY763" fmla="*/ 3874752 h 5186362"/>
              <a:gd name="connsiteX764" fmla="*/ 2696436 w 5821363"/>
              <a:gd name="connsiteY764" fmla="*/ 3828915 h 5186362"/>
              <a:gd name="connsiteX765" fmla="*/ 2681133 w 5821363"/>
              <a:gd name="connsiteY765" fmla="*/ 3804468 h 5186362"/>
              <a:gd name="connsiteX766" fmla="*/ 2531161 w 5821363"/>
              <a:gd name="connsiteY766" fmla="*/ 3660846 h 5186362"/>
              <a:gd name="connsiteX767" fmla="*/ 2558706 w 5821363"/>
              <a:gd name="connsiteY767" fmla="*/ 3682236 h 5186362"/>
              <a:gd name="connsiteX768" fmla="*/ 2546464 w 5821363"/>
              <a:gd name="connsiteY768" fmla="*/ 3694460 h 5186362"/>
              <a:gd name="connsiteX769" fmla="*/ 2545619 w 5821363"/>
              <a:gd name="connsiteY769" fmla="*/ 3693769 h 5186362"/>
              <a:gd name="connsiteX770" fmla="*/ 2545278 w 5821363"/>
              <a:gd name="connsiteY770" fmla="*/ 3694112 h 5186362"/>
              <a:gd name="connsiteX771" fmla="*/ 2461802 w 5821363"/>
              <a:gd name="connsiteY771" fmla="*/ 3625301 h 5186362"/>
              <a:gd name="connsiteX772" fmla="*/ 2445462 w 5821363"/>
              <a:gd name="connsiteY772" fmla="*/ 3611953 h 5186362"/>
              <a:gd name="connsiteX773" fmla="*/ 2445514 w 5821363"/>
              <a:gd name="connsiteY773" fmla="*/ 3611875 h 5186362"/>
              <a:gd name="connsiteX774" fmla="*/ 2444750 w 5821363"/>
              <a:gd name="connsiteY774" fmla="*/ 3611245 h 5186362"/>
              <a:gd name="connsiteX775" fmla="*/ 2450843 w 5821363"/>
              <a:gd name="connsiteY775" fmla="*/ 3602037 h 5186362"/>
              <a:gd name="connsiteX776" fmla="*/ 2496537 w 5821363"/>
              <a:gd name="connsiteY776" fmla="*/ 3620452 h 5186362"/>
              <a:gd name="connsiteX777" fmla="*/ 2496804 w 5821363"/>
              <a:gd name="connsiteY777" fmla="*/ 3620794 h 5186362"/>
              <a:gd name="connsiteX778" fmla="*/ 2497493 w 5821363"/>
              <a:gd name="connsiteY778" fmla="*/ 3621120 h 5186362"/>
              <a:gd name="connsiteX779" fmla="*/ 2530046 w 5821363"/>
              <a:gd name="connsiteY779" fmla="*/ 3662485 h 5186362"/>
              <a:gd name="connsiteX780" fmla="*/ 2530046 w 5821363"/>
              <a:gd name="connsiteY780" fmla="*/ 3660648 h 5186362"/>
              <a:gd name="connsiteX781" fmla="*/ 2521213 w 5821363"/>
              <a:gd name="connsiteY781" fmla="*/ 3634872 h 5186362"/>
              <a:gd name="connsiteX782" fmla="*/ 2506675 w 5821363"/>
              <a:gd name="connsiteY782" fmla="*/ 3605841 h 5186362"/>
              <a:gd name="connsiteX783" fmla="*/ 2469947 w 5821363"/>
              <a:gd name="connsiteY783" fmla="*/ 3566116 h 5186362"/>
              <a:gd name="connsiteX784" fmla="*/ 2537282 w 5821363"/>
              <a:gd name="connsiteY784" fmla="*/ 3544725 h 5186362"/>
              <a:gd name="connsiteX785" fmla="*/ 2537282 w 5821363"/>
              <a:gd name="connsiteY785" fmla="*/ 3544613 h 5186362"/>
              <a:gd name="connsiteX786" fmla="*/ 2536931 w 5821363"/>
              <a:gd name="connsiteY786" fmla="*/ 3544303 h 5186362"/>
              <a:gd name="connsiteX787" fmla="*/ 2536931 w 5821363"/>
              <a:gd name="connsiteY787" fmla="*/ 3529156 h 5186362"/>
              <a:gd name="connsiteX788" fmla="*/ 2440871 w 5821363"/>
              <a:gd name="connsiteY788" fmla="*/ 3449614 h 5186362"/>
              <a:gd name="connsiteX789" fmla="*/ 2362825 w 5821363"/>
              <a:gd name="connsiteY789" fmla="*/ 3349154 h 5186362"/>
              <a:gd name="connsiteX790" fmla="*/ 2436280 w 5821363"/>
              <a:gd name="connsiteY790" fmla="*/ 3394991 h 5186362"/>
              <a:gd name="connsiteX791" fmla="*/ 2372007 w 5821363"/>
              <a:gd name="connsiteY791" fmla="*/ 3306373 h 5186362"/>
              <a:gd name="connsiteX792" fmla="*/ 2289369 w 5821363"/>
              <a:gd name="connsiteY792" fmla="*/ 3260536 h 5186362"/>
              <a:gd name="connsiteX793" fmla="*/ 2218974 w 5821363"/>
              <a:gd name="connsiteY793" fmla="*/ 3214699 h 5186362"/>
              <a:gd name="connsiteX794" fmla="*/ 2280187 w 5821363"/>
              <a:gd name="connsiteY794" fmla="*/ 3294150 h 5186362"/>
              <a:gd name="connsiteX795" fmla="*/ 2264883 w 5821363"/>
              <a:gd name="connsiteY795" fmla="*/ 3309429 h 5186362"/>
              <a:gd name="connsiteX796" fmla="*/ 2197549 w 5821363"/>
              <a:gd name="connsiteY796" fmla="*/ 3257480 h 5186362"/>
              <a:gd name="connsiteX797" fmla="*/ 2194488 w 5821363"/>
              <a:gd name="connsiteY797" fmla="*/ 3260536 h 5186362"/>
              <a:gd name="connsiteX798" fmla="*/ 2304672 w 5821363"/>
              <a:gd name="connsiteY798" fmla="*/ 3407215 h 5186362"/>
              <a:gd name="connsiteX799" fmla="*/ 2451583 w 5821363"/>
              <a:gd name="connsiteY799" fmla="*/ 3505000 h 5186362"/>
              <a:gd name="connsiteX800" fmla="*/ 2408734 w 5821363"/>
              <a:gd name="connsiteY800" fmla="*/ 3535558 h 5186362"/>
              <a:gd name="connsiteX801" fmla="*/ 2329157 w 5821363"/>
              <a:gd name="connsiteY801" fmla="*/ 3462219 h 5186362"/>
              <a:gd name="connsiteX802" fmla="*/ 2283247 w 5821363"/>
              <a:gd name="connsiteY802" fmla="*/ 3495833 h 5186362"/>
              <a:gd name="connsiteX803" fmla="*/ 2316915 w 5821363"/>
              <a:gd name="connsiteY803" fmla="*/ 3523335 h 5186362"/>
              <a:gd name="connsiteX804" fmla="*/ 2280187 w 5821363"/>
              <a:gd name="connsiteY804" fmla="*/ 3532502 h 5186362"/>
              <a:gd name="connsiteX805" fmla="*/ 2433219 w 5821363"/>
              <a:gd name="connsiteY805" fmla="*/ 3654734 h 5186362"/>
              <a:gd name="connsiteX806" fmla="*/ 2427098 w 5821363"/>
              <a:gd name="connsiteY806" fmla="*/ 3663902 h 5186362"/>
              <a:gd name="connsiteX807" fmla="*/ 2362825 w 5821363"/>
              <a:gd name="connsiteY807" fmla="*/ 3627232 h 5186362"/>
              <a:gd name="connsiteX808" fmla="*/ 2338339 w 5821363"/>
              <a:gd name="connsiteY808" fmla="*/ 3645567 h 5186362"/>
              <a:gd name="connsiteX809" fmla="*/ 2482190 w 5821363"/>
              <a:gd name="connsiteY809" fmla="*/ 3758631 h 5186362"/>
              <a:gd name="connsiteX810" fmla="*/ 2476069 w 5821363"/>
              <a:gd name="connsiteY810" fmla="*/ 3764743 h 5186362"/>
              <a:gd name="connsiteX811" fmla="*/ 2433219 w 5821363"/>
              <a:gd name="connsiteY811" fmla="*/ 3752520 h 5186362"/>
              <a:gd name="connsiteX812" fmla="*/ 2427098 w 5821363"/>
              <a:gd name="connsiteY812" fmla="*/ 3764743 h 5186362"/>
              <a:gd name="connsiteX813" fmla="*/ 2537282 w 5821363"/>
              <a:gd name="connsiteY813" fmla="*/ 3880863 h 5186362"/>
              <a:gd name="connsiteX814" fmla="*/ 2638283 w 5821363"/>
              <a:gd name="connsiteY814" fmla="*/ 3920589 h 5186362"/>
              <a:gd name="connsiteX815" fmla="*/ 2705618 w 5821363"/>
              <a:gd name="connsiteY815" fmla="*/ 3981705 h 5186362"/>
              <a:gd name="connsiteX816" fmla="*/ 2708678 w 5821363"/>
              <a:gd name="connsiteY816" fmla="*/ 3948091 h 5186362"/>
              <a:gd name="connsiteX817" fmla="*/ 2708506 w 5821363"/>
              <a:gd name="connsiteY817" fmla="*/ 3947985 h 5186362"/>
              <a:gd name="connsiteX818" fmla="*/ 2707951 w 5821363"/>
              <a:gd name="connsiteY818" fmla="*/ 3948112 h 5186362"/>
              <a:gd name="connsiteX819" fmla="*/ 2667940 w 5821363"/>
              <a:gd name="connsiteY819" fmla="*/ 3923708 h 5186362"/>
              <a:gd name="connsiteX820" fmla="*/ 2674095 w 5821363"/>
              <a:gd name="connsiteY820" fmla="*/ 3914557 h 5186362"/>
              <a:gd name="connsiteX821" fmla="*/ 2674821 w 5821363"/>
              <a:gd name="connsiteY821" fmla="*/ 3914762 h 5186362"/>
              <a:gd name="connsiteX822" fmla="*/ 2675011 w 5821363"/>
              <a:gd name="connsiteY822" fmla="*/ 3914477 h 5186362"/>
              <a:gd name="connsiteX823" fmla="*/ 2685724 w 5821363"/>
              <a:gd name="connsiteY823" fmla="*/ 3917533 h 5186362"/>
              <a:gd name="connsiteX824" fmla="*/ 2704608 w 5821363"/>
              <a:gd name="connsiteY824" fmla="*/ 3920434 h 5186362"/>
              <a:gd name="connsiteX825" fmla="*/ 2671787 w 5821363"/>
              <a:gd name="connsiteY825" fmla="*/ 3892822 h 5186362"/>
              <a:gd name="connsiteX826" fmla="*/ 2643317 w 5821363"/>
              <a:gd name="connsiteY826" fmla="*/ 3871850 h 5186362"/>
              <a:gd name="connsiteX827" fmla="*/ 2597150 w 5821363"/>
              <a:gd name="connsiteY827" fmla="*/ 3835244 h 5186362"/>
              <a:gd name="connsiteX828" fmla="*/ 2603306 w 5821363"/>
              <a:gd name="connsiteY828" fmla="*/ 3792537 h 5186362"/>
              <a:gd name="connsiteX829" fmla="*/ 2604458 w 5821363"/>
              <a:gd name="connsiteY829" fmla="*/ 3793411 h 5186362"/>
              <a:gd name="connsiteX830" fmla="*/ 2604616 w 5821363"/>
              <a:gd name="connsiteY830" fmla="*/ 3792245 h 5186362"/>
              <a:gd name="connsiteX831" fmla="*/ 2748467 w 5821363"/>
              <a:gd name="connsiteY831" fmla="*/ 3902254 h 5186362"/>
              <a:gd name="connsiteX832" fmla="*/ 2742345 w 5821363"/>
              <a:gd name="connsiteY832" fmla="*/ 3911421 h 5186362"/>
              <a:gd name="connsiteX833" fmla="*/ 2742013 w 5821363"/>
              <a:gd name="connsiteY833" fmla="*/ 3911200 h 5186362"/>
              <a:gd name="connsiteX834" fmla="*/ 2741807 w 5821363"/>
              <a:gd name="connsiteY834" fmla="*/ 3911506 h 5186362"/>
              <a:gd name="connsiteX835" fmla="*/ 2696036 w 5821363"/>
              <a:gd name="connsiteY835" fmla="*/ 3881263 h 5186362"/>
              <a:gd name="connsiteX836" fmla="*/ 2690315 w 5821363"/>
              <a:gd name="connsiteY836" fmla="*/ 3886975 h 5186362"/>
              <a:gd name="connsiteX837" fmla="*/ 2748467 w 5821363"/>
              <a:gd name="connsiteY837" fmla="*/ 3938924 h 5186362"/>
              <a:gd name="connsiteX838" fmla="*/ 2840287 w 5821363"/>
              <a:gd name="connsiteY838" fmla="*/ 4024486 h 5186362"/>
              <a:gd name="connsiteX839" fmla="*/ 2981077 w 5821363"/>
              <a:gd name="connsiteY839" fmla="*/ 4128383 h 5186362"/>
              <a:gd name="connsiteX840" fmla="*/ 2971895 w 5821363"/>
              <a:gd name="connsiteY840" fmla="*/ 4143662 h 5186362"/>
              <a:gd name="connsiteX841" fmla="*/ 2938227 w 5821363"/>
              <a:gd name="connsiteY841" fmla="*/ 4131439 h 5186362"/>
              <a:gd name="connsiteX842" fmla="*/ 2935167 w 5821363"/>
              <a:gd name="connsiteY842" fmla="*/ 4140606 h 5186362"/>
              <a:gd name="connsiteX843" fmla="*/ 3005562 w 5821363"/>
              <a:gd name="connsiteY843" fmla="*/ 4165053 h 5186362"/>
              <a:gd name="connsiteX844" fmla="*/ 3036168 w 5821363"/>
              <a:gd name="connsiteY844" fmla="*/ 4174220 h 5186362"/>
              <a:gd name="connsiteX845" fmla="*/ 3108418 w 5821363"/>
              <a:gd name="connsiteY845" fmla="*/ 4222310 h 5186362"/>
              <a:gd name="connsiteX846" fmla="*/ 3124317 w 5821363"/>
              <a:gd name="connsiteY846" fmla="*/ 4215451 h 5186362"/>
              <a:gd name="connsiteX847" fmla="*/ 3135818 w 5821363"/>
              <a:gd name="connsiteY847" fmla="*/ 4213136 h 5186362"/>
              <a:gd name="connsiteX848" fmla="*/ 3136759 w 5821363"/>
              <a:gd name="connsiteY848" fmla="*/ 4214028 h 5186362"/>
              <a:gd name="connsiteX849" fmla="*/ 3137170 w 5821363"/>
              <a:gd name="connsiteY849" fmla="*/ 4213946 h 5186362"/>
              <a:gd name="connsiteX850" fmla="*/ 3241232 w 5821363"/>
              <a:gd name="connsiteY850" fmla="*/ 4311731 h 5186362"/>
              <a:gd name="connsiteX851" fmla="*/ 3232050 w 5821363"/>
              <a:gd name="connsiteY851" fmla="*/ 4320898 h 5186362"/>
              <a:gd name="connsiteX852" fmla="*/ 3231550 w 5821363"/>
              <a:gd name="connsiteY852" fmla="*/ 4320508 h 5186362"/>
              <a:gd name="connsiteX853" fmla="*/ 3230888 w 5821363"/>
              <a:gd name="connsiteY853" fmla="*/ 4321174 h 5186362"/>
              <a:gd name="connsiteX854" fmla="*/ 3107517 w 5821363"/>
              <a:gd name="connsiteY854" fmla="*/ 4224256 h 5186362"/>
              <a:gd name="connsiteX855" fmla="*/ 3152473 w 5821363"/>
              <a:gd name="connsiteY855" fmla="*/ 4278117 h 5186362"/>
              <a:gd name="connsiteX856" fmla="*/ 3192261 w 5821363"/>
              <a:gd name="connsiteY856" fmla="*/ 4314787 h 5186362"/>
              <a:gd name="connsiteX857" fmla="*/ 3120719 w 5821363"/>
              <a:gd name="connsiteY857" fmla="*/ 4304856 h 5186362"/>
              <a:gd name="connsiteX858" fmla="*/ 3120683 w 5821363"/>
              <a:gd name="connsiteY858" fmla="*/ 4304819 h 5186362"/>
              <a:gd name="connsiteX859" fmla="*/ 3119862 w 5821363"/>
              <a:gd name="connsiteY859" fmla="*/ 4303999 h 5186362"/>
              <a:gd name="connsiteX860" fmla="*/ 3140231 w 5821363"/>
              <a:gd name="connsiteY860" fmla="*/ 4278117 h 5186362"/>
              <a:gd name="connsiteX861" fmla="*/ 3060653 w 5821363"/>
              <a:gd name="connsiteY861" fmla="*/ 4262838 h 5186362"/>
              <a:gd name="connsiteX862" fmla="*/ 3078485 w 5821363"/>
              <a:gd name="connsiteY862" fmla="*/ 4267577 h 5186362"/>
              <a:gd name="connsiteX863" fmla="*/ 3083065 w 5821363"/>
              <a:gd name="connsiteY863" fmla="*/ 4270664 h 5186362"/>
              <a:gd name="connsiteX864" fmla="*/ 3093699 w 5821363"/>
              <a:gd name="connsiteY864" fmla="*/ 4277831 h 5186362"/>
              <a:gd name="connsiteX865" fmla="*/ 3099030 w 5821363"/>
              <a:gd name="connsiteY865" fmla="*/ 4283163 h 5186362"/>
              <a:gd name="connsiteX866" fmla="*/ 3119862 w 5821363"/>
              <a:gd name="connsiteY866" fmla="*/ 4303999 h 5186362"/>
              <a:gd name="connsiteX867" fmla="*/ 3106563 w 5821363"/>
              <a:gd name="connsiteY867" fmla="*/ 4320898 h 5186362"/>
              <a:gd name="connsiteX868" fmla="*/ 2307733 w 5821363"/>
              <a:gd name="connsiteY868" fmla="*/ 4320898 h 5186362"/>
              <a:gd name="connsiteX869" fmla="*/ 1949636 w 5821363"/>
              <a:gd name="connsiteY869" fmla="*/ 4323954 h 5186362"/>
              <a:gd name="connsiteX870" fmla="*/ 1799664 w 5821363"/>
              <a:gd name="connsiteY870" fmla="*/ 4268950 h 5186362"/>
              <a:gd name="connsiteX871" fmla="*/ 1744572 w 5821363"/>
              <a:gd name="connsiteY871" fmla="*/ 4213946 h 5186362"/>
              <a:gd name="connsiteX872" fmla="*/ 1723148 w 5821363"/>
              <a:gd name="connsiteY872" fmla="*/ 4213946 h 5186362"/>
              <a:gd name="connsiteX873" fmla="*/ 1717026 w 5821363"/>
              <a:gd name="connsiteY873" fmla="*/ 4268950 h 5186362"/>
              <a:gd name="connsiteX874" fmla="*/ 1643571 w 5821363"/>
              <a:gd name="connsiteY874" fmla="*/ 4217001 h 5186362"/>
              <a:gd name="connsiteX875" fmla="*/ 1557872 w 5821363"/>
              <a:gd name="connsiteY875" fmla="*/ 4128383 h 5186362"/>
              <a:gd name="connsiteX876" fmla="*/ 1331384 w 5821363"/>
              <a:gd name="connsiteY876" fmla="*/ 3969482 h 5186362"/>
              <a:gd name="connsiteX877" fmla="*/ 1270171 w 5821363"/>
              <a:gd name="connsiteY877" fmla="*/ 3893087 h 5186362"/>
              <a:gd name="connsiteX878" fmla="*/ 1230383 w 5821363"/>
              <a:gd name="connsiteY878" fmla="*/ 3865584 h 5186362"/>
              <a:gd name="connsiteX879" fmla="*/ 1132442 w 5821363"/>
              <a:gd name="connsiteY879" fmla="*/ 3758631 h 5186362"/>
              <a:gd name="connsiteX880" fmla="*/ 1098774 w 5821363"/>
              <a:gd name="connsiteY880" fmla="*/ 3725018 h 5186362"/>
              <a:gd name="connsiteX881" fmla="*/ 994712 w 5821363"/>
              <a:gd name="connsiteY881" fmla="*/ 3639455 h 5186362"/>
              <a:gd name="connsiteX882" fmla="*/ 933499 w 5821363"/>
              <a:gd name="connsiteY882" fmla="*/ 3602786 h 5186362"/>
              <a:gd name="connsiteX883" fmla="*/ 957984 w 5821363"/>
              <a:gd name="connsiteY883" fmla="*/ 3578339 h 5186362"/>
              <a:gd name="connsiteX884" fmla="*/ 1120199 w 5821363"/>
              <a:gd name="connsiteY884" fmla="*/ 3715850 h 5186362"/>
              <a:gd name="connsiteX885" fmla="*/ 1294656 w 5821363"/>
              <a:gd name="connsiteY885" fmla="*/ 3847250 h 5186362"/>
              <a:gd name="connsiteX886" fmla="*/ 1303838 w 5821363"/>
              <a:gd name="connsiteY886" fmla="*/ 3838082 h 5186362"/>
              <a:gd name="connsiteX887" fmla="*/ 1196715 w 5821363"/>
              <a:gd name="connsiteY887" fmla="*/ 3737241 h 5186362"/>
              <a:gd name="connsiteX888" fmla="*/ 1107956 w 5821363"/>
              <a:gd name="connsiteY888" fmla="*/ 3642511 h 5186362"/>
              <a:gd name="connsiteX889" fmla="*/ 973288 w 5821363"/>
              <a:gd name="connsiteY889" fmla="*/ 3538614 h 5186362"/>
              <a:gd name="connsiteX890" fmla="*/ 939620 w 5821363"/>
              <a:gd name="connsiteY890" fmla="*/ 3505000 h 5186362"/>
              <a:gd name="connsiteX891" fmla="*/ 878407 w 5821363"/>
              <a:gd name="connsiteY891" fmla="*/ 3480554 h 5186362"/>
              <a:gd name="connsiteX892" fmla="*/ 731496 w 5821363"/>
              <a:gd name="connsiteY892" fmla="*/ 3446940 h 5186362"/>
              <a:gd name="connsiteX893" fmla="*/ 734557 w 5821363"/>
              <a:gd name="connsiteY893" fmla="*/ 3428605 h 5186362"/>
              <a:gd name="connsiteX894" fmla="*/ 789648 w 5821363"/>
              <a:gd name="connsiteY894" fmla="*/ 3419438 h 5186362"/>
              <a:gd name="connsiteX895" fmla="*/ 792709 w 5821363"/>
              <a:gd name="connsiteY895" fmla="*/ 3407215 h 5186362"/>
              <a:gd name="connsiteX896" fmla="*/ 630494 w 5821363"/>
              <a:gd name="connsiteY896" fmla="*/ 3361378 h 5186362"/>
              <a:gd name="connsiteX897" fmla="*/ 477462 w 5821363"/>
              <a:gd name="connsiteY897" fmla="*/ 3288038 h 5186362"/>
              <a:gd name="connsiteX898" fmla="*/ 492765 w 5821363"/>
              <a:gd name="connsiteY898" fmla="*/ 3272759 h 5186362"/>
              <a:gd name="connsiteX899" fmla="*/ 486644 w 5821363"/>
              <a:gd name="connsiteY899" fmla="*/ 3263592 h 5186362"/>
              <a:gd name="connsiteX900" fmla="*/ 404006 w 5821363"/>
              <a:gd name="connsiteY900" fmla="*/ 3281927 h 5186362"/>
              <a:gd name="connsiteX901" fmla="*/ 388703 w 5821363"/>
              <a:gd name="connsiteY901" fmla="*/ 3275815 h 5186362"/>
              <a:gd name="connsiteX902" fmla="*/ 397885 w 5821363"/>
              <a:gd name="connsiteY902" fmla="*/ 3260536 h 5186362"/>
              <a:gd name="connsiteX903" fmla="*/ 469810 w 5821363"/>
              <a:gd name="connsiteY903" fmla="*/ 3248313 h 5186362"/>
              <a:gd name="connsiteX904" fmla="*/ 477370 w 5821363"/>
              <a:gd name="connsiteY904" fmla="*/ 3247991 h 5186362"/>
              <a:gd name="connsiteX905" fmla="*/ 486644 w 5821363"/>
              <a:gd name="connsiteY905" fmla="*/ 3247597 h 5186362"/>
              <a:gd name="connsiteX906" fmla="*/ 486644 w 5821363"/>
              <a:gd name="connsiteY906" fmla="*/ 3251369 h 5186362"/>
              <a:gd name="connsiteX907" fmla="*/ 596827 w 5821363"/>
              <a:gd name="connsiteY907" fmla="*/ 3272759 h 5186362"/>
              <a:gd name="connsiteX908" fmla="*/ 599888 w 5821363"/>
              <a:gd name="connsiteY908" fmla="*/ 3248313 h 5186362"/>
              <a:gd name="connsiteX909" fmla="*/ 768224 w 5821363"/>
              <a:gd name="connsiteY909" fmla="*/ 3260536 h 5186362"/>
              <a:gd name="connsiteX910" fmla="*/ 985530 w 5821363"/>
              <a:gd name="connsiteY910" fmla="*/ 3284982 h 5186362"/>
              <a:gd name="connsiteX911" fmla="*/ 994712 w 5821363"/>
              <a:gd name="connsiteY911" fmla="*/ 3291094 h 5186362"/>
              <a:gd name="connsiteX912" fmla="*/ 970227 w 5821363"/>
              <a:gd name="connsiteY912" fmla="*/ 3297206 h 5186362"/>
              <a:gd name="connsiteX913" fmla="*/ 967166 w 5821363"/>
              <a:gd name="connsiteY913" fmla="*/ 3309429 h 5186362"/>
              <a:gd name="connsiteX914" fmla="*/ 1172230 w 5821363"/>
              <a:gd name="connsiteY914" fmla="*/ 3355266 h 5186362"/>
              <a:gd name="connsiteX915" fmla="*/ 1055925 w 5821363"/>
              <a:gd name="connsiteY915" fmla="*/ 3251369 h 5186362"/>
              <a:gd name="connsiteX916" fmla="*/ 1019197 w 5821363"/>
              <a:gd name="connsiteY916" fmla="*/ 3205532 h 5186362"/>
              <a:gd name="connsiteX917" fmla="*/ 1031440 w 5821363"/>
              <a:gd name="connsiteY917" fmla="*/ 3178029 h 5186362"/>
              <a:gd name="connsiteX918" fmla="*/ 1016137 w 5821363"/>
              <a:gd name="connsiteY918" fmla="*/ 3162750 h 5186362"/>
              <a:gd name="connsiteX919" fmla="*/ 905953 w 5821363"/>
              <a:gd name="connsiteY919" fmla="*/ 3046630 h 5186362"/>
              <a:gd name="connsiteX920" fmla="*/ 847801 w 5821363"/>
              <a:gd name="connsiteY920" fmla="*/ 2991626 h 5186362"/>
              <a:gd name="connsiteX921" fmla="*/ 804952 w 5821363"/>
              <a:gd name="connsiteY921" fmla="*/ 2970235 h 5186362"/>
              <a:gd name="connsiteX922" fmla="*/ 768224 w 5821363"/>
              <a:gd name="connsiteY922" fmla="*/ 2924398 h 5186362"/>
              <a:gd name="connsiteX923" fmla="*/ 700889 w 5821363"/>
              <a:gd name="connsiteY923" fmla="*/ 2832724 h 5186362"/>
              <a:gd name="connsiteX924" fmla="*/ 670283 w 5821363"/>
              <a:gd name="connsiteY924" fmla="*/ 2722715 h 5186362"/>
              <a:gd name="connsiteX925" fmla="*/ 636616 w 5821363"/>
              <a:gd name="connsiteY925" fmla="*/ 2661599 h 5186362"/>
              <a:gd name="connsiteX926" fmla="*/ 700889 w 5821363"/>
              <a:gd name="connsiteY926" fmla="*/ 2679934 h 5186362"/>
              <a:gd name="connsiteX927" fmla="*/ 529493 w 5821363"/>
              <a:gd name="connsiteY927" fmla="*/ 2502698 h 5186362"/>
              <a:gd name="connsiteX928" fmla="*/ 642737 w 5821363"/>
              <a:gd name="connsiteY928" fmla="*/ 2514921 h 5186362"/>
              <a:gd name="connsiteX929" fmla="*/ 593767 w 5821363"/>
              <a:gd name="connsiteY929" fmla="*/ 2414080 h 5186362"/>
              <a:gd name="connsiteX930" fmla="*/ 584585 w 5821363"/>
              <a:gd name="connsiteY930" fmla="*/ 2417136 h 5186362"/>
              <a:gd name="connsiteX931" fmla="*/ 581524 w 5821363"/>
              <a:gd name="connsiteY931" fmla="*/ 2447694 h 5186362"/>
              <a:gd name="connsiteX932" fmla="*/ 532553 w 5821363"/>
              <a:gd name="connsiteY932" fmla="*/ 2407968 h 5186362"/>
              <a:gd name="connsiteX933" fmla="*/ 578463 w 5821363"/>
              <a:gd name="connsiteY933" fmla="*/ 2411024 h 5186362"/>
              <a:gd name="connsiteX934" fmla="*/ 529493 w 5821363"/>
              <a:gd name="connsiteY934" fmla="*/ 2377410 h 5186362"/>
              <a:gd name="connsiteX935" fmla="*/ 498886 w 5821363"/>
              <a:gd name="connsiteY935" fmla="*/ 2285736 h 5186362"/>
              <a:gd name="connsiteX936" fmla="*/ 529493 w 5821363"/>
              <a:gd name="connsiteY936" fmla="*/ 2279625 h 5186362"/>
              <a:gd name="connsiteX937" fmla="*/ 486644 w 5821363"/>
              <a:gd name="connsiteY937" fmla="*/ 2227676 h 5186362"/>
              <a:gd name="connsiteX938" fmla="*/ 529493 w 5821363"/>
              <a:gd name="connsiteY938" fmla="*/ 2224620 h 5186362"/>
              <a:gd name="connsiteX939" fmla="*/ 483583 w 5821363"/>
              <a:gd name="connsiteY939" fmla="*/ 2194062 h 5186362"/>
              <a:gd name="connsiteX940" fmla="*/ 483583 w 5821363"/>
              <a:gd name="connsiteY940" fmla="*/ 2187951 h 5186362"/>
              <a:gd name="connsiteX941" fmla="*/ 541735 w 5821363"/>
              <a:gd name="connsiteY941" fmla="*/ 2194062 h 5186362"/>
              <a:gd name="connsiteX942" fmla="*/ 391763 w 5821363"/>
              <a:gd name="connsiteY942" fmla="*/ 2032105 h 5186362"/>
              <a:gd name="connsiteX943" fmla="*/ 615191 w 5821363"/>
              <a:gd name="connsiteY943" fmla="*/ 2151281 h 5186362"/>
              <a:gd name="connsiteX944" fmla="*/ 615191 w 5821363"/>
              <a:gd name="connsiteY944" fmla="*/ 2010714 h 5186362"/>
              <a:gd name="connsiteX945" fmla="*/ 599888 w 5821363"/>
              <a:gd name="connsiteY945" fmla="*/ 2004603 h 5186362"/>
              <a:gd name="connsiteX946" fmla="*/ 492765 w 5821363"/>
              <a:gd name="connsiteY946" fmla="*/ 1977101 h 5186362"/>
              <a:gd name="connsiteX947" fmla="*/ 609070 w 5821363"/>
              <a:gd name="connsiteY947" fmla="*/ 2059607 h 5186362"/>
              <a:gd name="connsiteX948" fmla="*/ 606009 w 5821363"/>
              <a:gd name="connsiteY948" fmla="*/ 2068774 h 5186362"/>
              <a:gd name="connsiteX949" fmla="*/ 572342 w 5821363"/>
              <a:gd name="connsiteY949" fmla="*/ 2053495 h 5186362"/>
              <a:gd name="connsiteX950" fmla="*/ 489704 w 5821363"/>
              <a:gd name="connsiteY950" fmla="*/ 2022937 h 5186362"/>
              <a:gd name="connsiteX951" fmla="*/ 413188 w 5821363"/>
              <a:gd name="connsiteY951" fmla="*/ 1983212 h 5186362"/>
              <a:gd name="connsiteX952" fmla="*/ 339732 w 5821363"/>
              <a:gd name="connsiteY952" fmla="*/ 1967933 h 5186362"/>
              <a:gd name="connsiteX953" fmla="*/ 385642 w 5821363"/>
              <a:gd name="connsiteY953" fmla="*/ 2032105 h 5186362"/>
              <a:gd name="connsiteX954" fmla="*/ 376460 w 5821363"/>
              <a:gd name="connsiteY954" fmla="*/ 2038216 h 5186362"/>
              <a:gd name="connsiteX955" fmla="*/ 244852 w 5821363"/>
              <a:gd name="connsiteY955" fmla="*/ 1934319 h 5186362"/>
              <a:gd name="connsiteX956" fmla="*/ 116305 w 5821363"/>
              <a:gd name="connsiteY956" fmla="*/ 1821255 h 5186362"/>
              <a:gd name="connsiteX957" fmla="*/ 131608 w 5821363"/>
              <a:gd name="connsiteY957" fmla="*/ 1809032 h 5186362"/>
              <a:gd name="connsiteX958" fmla="*/ 318308 w 5821363"/>
              <a:gd name="connsiteY958" fmla="*/ 1955710 h 5186362"/>
              <a:gd name="connsiteX959" fmla="*/ 217306 w 5821363"/>
              <a:gd name="connsiteY959" fmla="*/ 1842645 h 5186362"/>
              <a:gd name="connsiteX960" fmla="*/ 48970 w 5821363"/>
              <a:gd name="connsiteY960" fmla="*/ 1699023 h 5186362"/>
              <a:gd name="connsiteX961" fmla="*/ 0 w 5821363"/>
              <a:gd name="connsiteY961" fmla="*/ 1625684 h 5186362"/>
              <a:gd name="connsiteX962" fmla="*/ 94880 w 5821363"/>
              <a:gd name="connsiteY962" fmla="*/ 1665409 h 5186362"/>
              <a:gd name="connsiteX963" fmla="*/ 186700 w 5821363"/>
              <a:gd name="connsiteY963" fmla="*/ 1705134 h 5186362"/>
              <a:gd name="connsiteX964" fmla="*/ 281580 w 5821363"/>
              <a:gd name="connsiteY964" fmla="*/ 1726525 h 5186362"/>
              <a:gd name="connsiteX965" fmla="*/ 192821 w 5821363"/>
              <a:gd name="connsiteY965" fmla="*/ 1613460 h 5186362"/>
              <a:gd name="connsiteX966" fmla="*/ 202003 w 5821363"/>
              <a:gd name="connsiteY966" fmla="*/ 1604293 h 5186362"/>
              <a:gd name="connsiteX967" fmla="*/ 272398 w 5821363"/>
              <a:gd name="connsiteY967" fmla="*/ 1622628 h 5186362"/>
              <a:gd name="connsiteX968" fmla="*/ 131608 w 5821363"/>
              <a:gd name="connsiteY968" fmla="*/ 1503452 h 5186362"/>
              <a:gd name="connsiteX969" fmla="*/ 217306 w 5821363"/>
              <a:gd name="connsiteY969" fmla="*/ 1515675 h 5186362"/>
              <a:gd name="connsiteX970" fmla="*/ 306065 w 5821363"/>
              <a:gd name="connsiteY970" fmla="*/ 1549289 h 5186362"/>
              <a:gd name="connsiteX971" fmla="*/ 171396 w 5821363"/>
              <a:gd name="connsiteY971" fmla="*/ 1451503 h 5186362"/>
              <a:gd name="connsiteX972" fmla="*/ 351975 w 5821363"/>
              <a:gd name="connsiteY972" fmla="*/ 1506508 h 5186362"/>
              <a:gd name="connsiteX973" fmla="*/ 303004 w 5821363"/>
              <a:gd name="connsiteY973" fmla="*/ 1445392 h 5186362"/>
              <a:gd name="connsiteX974" fmla="*/ 327490 w 5821363"/>
              <a:gd name="connsiteY974" fmla="*/ 1442336 h 5186362"/>
              <a:gd name="connsiteX975" fmla="*/ 318308 w 5821363"/>
              <a:gd name="connsiteY975" fmla="*/ 1402610 h 5186362"/>
              <a:gd name="connsiteX976" fmla="*/ 355036 w 5821363"/>
              <a:gd name="connsiteY976" fmla="*/ 1402610 h 5186362"/>
              <a:gd name="connsiteX977" fmla="*/ 422370 w 5821363"/>
              <a:gd name="connsiteY977" fmla="*/ 1344550 h 5186362"/>
              <a:gd name="connsiteX978" fmla="*/ 495826 w 5821363"/>
              <a:gd name="connsiteY978" fmla="*/ 1335383 h 5186362"/>
              <a:gd name="connsiteX979" fmla="*/ 547857 w 5821363"/>
              <a:gd name="connsiteY979" fmla="*/ 1332327 h 5186362"/>
              <a:gd name="connsiteX980" fmla="*/ 639676 w 5821363"/>
              <a:gd name="connsiteY980" fmla="*/ 1387331 h 5186362"/>
              <a:gd name="connsiteX981" fmla="*/ 743739 w 5821363"/>
              <a:gd name="connsiteY981" fmla="*/ 1433168 h 5186362"/>
              <a:gd name="connsiteX982" fmla="*/ 707011 w 5821363"/>
              <a:gd name="connsiteY982" fmla="*/ 1448447 h 5186362"/>
              <a:gd name="connsiteX983" fmla="*/ 722314 w 5821363"/>
              <a:gd name="connsiteY983" fmla="*/ 1457615 h 5186362"/>
              <a:gd name="connsiteX984" fmla="*/ 786588 w 5821363"/>
              <a:gd name="connsiteY984" fmla="*/ 1472894 h 5186362"/>
              <a:gd name="connsiteX985" fmla="*/ 869225 w 5821363"/>
              <a:gd name="connsiteY985" fmla="*/ 1570679 h 5186362"/>
              <a:gd name="connsiteX986" fmla="*/ 792709 w 5821363"/>
              <a:gd name="connsiteY986" fmla="*/ 1518731 h 5186362"/>
              <a:gd name="connsiteX987" fmla="*/ 725375 w 5821363"/>
              <a:gd name="connsiteY987" fmla="*/ 1494284 h 5186362"/>
              <a:gd name="connsiteX988" fmla="*/ 694768 w 5821363"/>
              <a:gd name="connsiteY988" fmla="*/ 1521787 h 5186362"/>
              <a:gd name="connsiteX989" fmla="*/ 627434 w 5821363"/>
              <a:gd name="connsiteY989" fmla="*/ 1534010 h 5186362"/>
              <a:gd name="connsiteX990" fmla="*/ 682526 w 5821363"/>
              <a:gd name="connsiteY990" fmla="*/ 1576791 h 5186362"/>
              <a:gd name="connsiteX991" fmla="*/ 703950 w 5821363"/>
              <a:gd name="connsiteY991" fmla="*/ 1604293 h 5186362"/>
              <a:gd name="connsiteX992" fmla="*/ 694768 w 5821363"/>
              <a:gd name="connsiteY992" fmla="*/ 1622628 h 5186362"/>
              <a:gd name="connsiteX993" fmla="*/ 654980 w 5821363"/>
              <a:gd name="connsiteY993" fmla="*/ 1604293 h 5186362"/>
              <a:gd name="connsiteX994" fmla="*/ 630494 w 5821363"/>
              <a:gd name="connsiteY994" fmla="*/ 1573735 h 5186362"/>
              <a:gd name="connsiteX995" fmla="*/ 630494 w 5821363"/>
              <a:gd name="connsiteY995" fmla="*/ 1647074 h 5186362"/>
              <a:gd name="connsiteX996" fmla="*/ 765163 w 5821363"/>
              <a:gd name="connsiteY996" fmla="*/ 1750971 h 5186362"/>
              <a:gd name="connsiteX997" fmla="*/ 804952 w 5821363"/>
              <a:gd name="connsiteY997" fmla="*/ 1754027 h 5186362"/>
              <a:gd name="connsiteX998" fmla="*/ 875347 w 5821363"/>
              <a:gd name="connsiteY998" fmla="*/ 1775418 h 5186362"/>
              <a:gd name="connsiteX999" fmla="*/ 869225 w 5821363"/>
              <a:gd name="connsiteY999" fmla="*/ 1824311 h 5186362"/>
              <a:gd name="connsiteX1000" fmla="*/ 924317 w 5821363"/>
              <a:gd name="connsiteY1000" fmla="*/ 1870148 h 5186362"/>
              <a:gd name="connsiteX1001" fmla="*/ 915135 w 5821363"/>
              <a:gd name="connsiteY1001" fmla="*/ 1885427 h 5186362"/>
              <a:gd name="connsiteX1002" fmla="*/ 762103 w 5821363"/>
              <a:gd name="connsiteY1002" fmla="*/ 1821255 h 5186362"/>
              <a:gd name="connsiteX1003" fmla="*/ 752921 w 5821363"/>
              <a:gd name="connsiteY1003" fmla="*/ 1830422 h 5186362"/>
              <a:gd name="connsiteX1004" fmla="*/ 777406 w 5821363"/>
              <a:gd name="connsiteY1004" fmla="*/ 1851813 h 5186362"/>
              <a:gd name="connsiteX1005" fmla="*/ 850861 w 5821363"/>
              <a:gd name="connsiteY1005" fmla="*/ 1897650 h 5186362"/>
              <a:gd name="connsiteX1006" fmla="*/ 866165 w 5821363"/>
              <a:gd name="connsiteY1006" fmla="*/ 1970989 h 5186362"/>
              <a:gd name="connsiteX1007" fmla="*/ 823316 w 5821363"/>
              <a:gd name="connsiteY1007" fmla="*/ 1958766 h 5186362"/>
              <a:gd name="connsiteX1008" fmla="*/ 893711 w 5821363"/>
              <a:gd name="connsiteY1008" fmla="*/ 2065719 h 5186362"/>
              <a:gd name="connsiteX1009" fmla="*/ 964106 w 5821363"/>
              <a:gd name="connsiteY1009" fmla="*/ 2129890 h 5186362"/>
              <a:gd name="connsiteX1010" fmla="*/ 1098774 w 5821363"/>
              <a:gd name="connsiteY1010" fmla="*/ 2221564 h 5186362"/>
              <a:gd name="connsiteX1011" fmla="*/ 1123260 w 5821363"/>
              <a:gd name="connsiteY1011" fmla="*/ 2255178 h 5186362"/>
              <a:gd name="connsiteX1012" fmla="*/ 1003894 w 5821363"/>
              <a:gd name="connsiteY1012" fmla="*/ 2230732 h 5186362"/>
              <a:gd name="connsiteX1013" fmla="*/ 1000833 w 5821363"/>
              <a:gd name="connsiteY1013" fmla="*/ 2236843 h 5186362"/>
              <a:gd name="connsiteX1014" fmla="*/ 1215079 w 5821363"/>
              <a:gd name="connsiteY1014" fmla="*/ 2377410 h 5186362"/>
              <a:gd name="connsiteX1015" fmla="*/ 1426264 w 5821363"/>
              <a:gd name="connsiteY1015" fmla="*/ 2505754 h 5186362"/>
              <a:gd name="connsiteX1016" fmla="*/ 1441568 w 5821363"/>
              <a:gd name="connsiteY1016" fmla="*/ 2417136 h 5186362"/>
              <a:gd name="connsiteX1017" fmla="*/ 1487477 w 5821363"/>
              <a:gd name="connsiteY1017" fmla="*/ 2429359 h 5186362"/>
              <a:gd name="connsiteX1018" fmla="*/ 1453810 w 5821363"/>
              <a:gd name="connsiteY1018" fmla="*/ 2371299 h 5186362"/>
              <a:gd name="connsiteX1019" fmla="*/ 1377564 w 5821363"/>
              <a:gd name="connsiteY1019" fmla="*/ 2301263 h 5186362"/>
              <a:gd name="connsiteX1020" fmla="*/ 1377059 w 5821363"/>
              <a:gd name="connsiteY1020" fmla="*/ 2301095 h 5186362"/>
              <a:gd name="connsiteX1021" fmla="*/ 1376994 w 5821363"/>
              <a:gd name="connsiteY1021" fmla="*/ 2301042 h 5186362"/>
              <a:gd name="connsiteX1022" fmla="*/ 1347453 w 5821363"/>
              <a:gd name="connsiteY1022" fmla="*/ 2303689 h 5186362"/>
              <a:gd name="connsiteX1023" fmla="*/ 1331384 w 5821363"/>
              <a:gd name="connsiteY1023" fmla="*/ 2331573 h 5186362"/>
              <a:gd name="connsiteX1024" fmla="*/ 1248746 w 5821363"/>
              <a:gd name="connsiteY1024" fmla="*/ 2356020 h 5186362"/>
              <a:gd name="connsiteX1025" fmla="*/ 1221201 w 5821363"/>
              <a:gd name="connsiteY1025" fmla="*/ 2331573 h 5186362"/>
              <a:gd name="connsiteX1026" fmla="*/ 1257928 w 5821363"/>
              <a:gd name="connsiteY1026" fmla="*/ 2319350 h 5186362"/>
              <a:gd name="connsiteX1027" fmla="*/ 1196715 w 5821363"/>
              <a:gd name="connsiteY1027" fmla="*/ 2252122 h 5186362"/>
              <a:gd name="connsiteX1028" fmla="*/ 1196715 w 5821363"/>
              <a:gd name="connsiteY1028" fmla="*/ 2239899 h 5186362"/>
              <a:gd name="connsiteX1029" fmla="*/ 1279353 w 5821363"/>
              <a:gd name="connsiteY1029" fmla="*/ 2264346 h 5186362"/>
              <a:gd name="connsiteX1030" fmla="*/ 1282414 w 5821363"/>
              <a:gd name="connsiteY1030" fmla="*/ 2258234 h 5186362"/>
              <a:gd name="connsiteX1031" fmla="*/ 991652 w 5821363"/>
              <a:gd name="connsiteY1031" fmla="*/ 2044328 h 5186362"/>
              <a:gd name="connsiteX1032" fmla="*/ 994712 w 5821363"/>
              <a:gd name="connsiteY1032" fmla="*/ 2035161 h 5186362"/>
              <a:gd name="connsiteX1033" fmla="*/ 1037561 w 5821363"/>
              <a:gd name="connsiteY1033" fmla="*/ 2050440 h 5186362"/>
              <a:gd name="connsiteX1034" fmla="*/ 979409 w 5821363"/>
              <a:gd name="connsiteY1034" fmla="*/ 1986268 h 5186362"/>
              <a:gd name="connsiteX1035" fmla="*/ 967166 w 5821363"/>
              <a:gd name="connsiteY1035" fmla="*/ 2035161 h 5186362"/>
              <a:gd name="connsiteX1036" fmla="*/ 915135 w 5821363"/>
              <a:gd name="connsiteY1036" fmla="*/ 1998491 h 5186362"/>
              <a:gd name="connsiteX1037" fmla="*/ 945742 w 5821363"/>
              <a:gd name="connsiteY1037" fmla="*/ 1989324 h 5186362"/>
              <a:gd name="connsiteX1038" fmla="*/ 902893 w 5821363"/>
              <a:gd name="connsiteY1038" fmla="*/ 1928208 h 5186362"/>
              <a:gd name="connsiteX1039" fmla="*/ 1065107 w 5821363"/>
              <a:gd name="connsiteY1039" fmla="*/ 2010714 h 5186362"/>
              <a:gd name="connsiteX1040" fmla="*/ 1037561 w 5821363"/>
              <a:gd name="connsiteY1040" fmla="*/ 1958766 h 5186362"/>
              <a:gd name="connsiteX1041" fmla="*/ 1101835 w 5821363"/>
              <a:gd name="connsiteY1041" fmla="*/ 1983212 h 5186362"/>
              <a:gd name="connsiteX1042" fmla="*/ 1114078 w 5821363"/>
              <a:gd name="connsiteY1042" fmla="*/ 1974045 h 5186362"/>
              <a:gd name="connsiteX1043" fmla="*/ 1071229 w 5821363"/>
              <a:gd name="connsiteY1043" fmla="*/ 1925152 h 5186362"/>
              <a:gd name="connsiteX1044" fmla="*/ 1120199 w 5821363"/>
              <a:gd name="connsiteY1044" fmla="*/ 1946543 h 5186362"/>
              <a:gd name="connsiteX1045" fmla="*/ 1126320 w 5821363"/>
              <a:gd name="connsiteY1045" fmla="*/ 1937375 h 5186362"/>
              <a:gd name="connsiteX1046" fmla="*/ 985530 w 5821363"/>
              <a:gd name="connsiteY1046" fmla="*/ 1790697 h 5186362"/>
              <a:gd name="connsiteX1047" fmla="*/ 976348 w 5821363"/>
              <a:gd name="connsiteY1047" fmla="*/ 1796808 h 5186362"/>
              <a:gd name="connsiteX1048" fmla="*/ 1003894 w 5821363"/>
              <a:gd name="connsiteY1048" fmla="*/ 1851813 h 5186362"/>
              <a:gd name="connsiteX1049" fmla="*/ 878407 w 5821363"/>
              <a:gd name="connsiteY1049" fmla="*/ 1772362 h 5186362"/>
              <a:gd name="connsiteX1050" fmla="*/ 909014 w 5821363"/>
              <a:gd name="connsiteY1050" fmla="*/ 1750971 h 5186362"/>
              <a:gd name="connsiteX1051" fmla="*/ 853922 w 5821363"/>
              <a:gd name="connsiteY1051" fmla="*/ 1708190 h 5186362"/>
              <a:gd name="connsiteX1052" fmla="*/ 860043 w 5821363"/>
              <a:gd name="connsiteY1052" fmla="*/ 1695967 h 5186362"/>
              <a:gd name="connsiteX1053" fmla="*/ 982470 w 5821363"/>
              <a:gd name="connsiteY1053" fmla="*/ 1757083 h 5186362"/>
              <a:gd name="connsiteX1054" fmla="*/ 933499 w 5821363"/>
              <a:gd name="connsiteY1054" fmla="*/ 1695967 h 5186362"/>
              <a:gd name="connsiteX1055" fmla="*/ 945742 w 5821363"/>
              <a:gd name="connsiteY1055" fmla="*/ 1686800 h 5186362"/>
              <a:gd name="connsiteX1056" fmla="*/ 1022258 w 5821363"/>
              <a:gd name="connsiteY1056" fmla="*/ 1723469 h 5186362"/>
              <a:gd name="connsiteX1057" fmla="*/ 991652 w 5821363"/>
              <a:gd name="connsiteY1057" fmla="*/ 1683744 h 5186362"/>
              <a:gd name="connsiteX1058" fmla="*/ 997773 w 5821363"/>
              <a:gd name="connsiteY1058" fmla="*/ 1677632 h 5186362"/>
              <a:gd name="connsiteX1059" fmla="*/ 1052865 w 5821363"/>
              <a:gd name="connsiteY1059" fmla="*/ 1741804 h 5186362"/>
              <a:gd name="connsiteX1060" fmla="*/ 1132442 w 5821363"/>
              <a:gd name="connsiteY1060" fmla="*/ 1793753 h 5186362"/>
              <a:gd name="connsiteX1061" fmla="*/ 1205897 w 5821363"/>
              <a:gd name="connsiteY1061" fmla="*/ 1864036 h 5186362"/>
              <a:gd name="connsiteX1062" fmla="*/ 1215079 w 5821363"/>
              <a:gd name="connsiteY1062" fmla="*/ 1854869 h 5186362"/>
              <a:gd name="connsiteX1063" fmla="*/ 1205897 w 5821363"/>
              <a:gd name="connsiteY1063" fmla="*/ 1754027 h 5186362"/>
              <a:gd name="connsiteX1064" fmla="*/ 1267110 w 5821363"/>
              <a:gd name="connsiteY1064" fmla="*/ 1720413 h 5186362"/>
              <a:gd name="connsiteX1065" fmla="*/ 1224261 w 5821363"/>
              <a:gd name="connsiteY1065" fmla="*/ 1692911 h 5186362"/>
              <a:gd name="connsiteX1066" fmla="*/ 1239564 w 5821363"/>
              <a:gd name="connsiteY1066" fmla="*/ 1631795 h 5186362"/>
              <a:gd name="connsiteX1067" fmla="*/ 1276292 w 5821363"/>
              <a:gd name="connsiteY1067" fmla="*/ 1640963 h 5186362"/>
              <a:gd name="connsiteX1068" fmla="*/ 1264050 w 5821363"/>
              <a:gd name="connsiteY1068" fmla="*/ 1610405 h 5186362"/>
              <a:gd name="connsiteX1069" fmla="*/ 1091888 w 5821363"/>
              <a:gd name="connsiteY1069" fmla="*/ 1499537 h 5186362"/>
              <a:gd name="connsiteX1070" fmla="*/ 1025416 w 5821363"/>
              <a:gd name="connsiteY1070" fmla="*/ 1479035 h 5186362"/>
              <a:gd name="connsiteX1071" fmla="*/ 1045908 w 5821363"/>
              <a:gd name="connsiteY1071" fmla="*/ 1495246 h 5186362"/>
              <a:gd name="connsiteX1072" fmla="*/ 1065580 w 5821363"/>
              <a:gd name="connsiteY1072" fmla="*/ 1512286 h 5186362"/>
              <a:gd name="connsiteX1073" fmla="*/ 1065628 w 5821363"/>
              <a:gd name="connsiteY1073" fmla="*/ 1512407 h 5186362"/>
              <a:gd name="connsiteX1074" fmla="*/ 1065872 w 5821363"/>
              <a:gd name="connsiteY1074" fmla="*/ 1512619 h 5186362"/>
              <a:gd name="connsiteX1075" fmla="*/ 1065107 w 5821363"/>
              <a:gd name="connsiteY1075" fmla="*/ 1573735 h 5186362"/>
              <a:gd name="connsiteX1076" fmla="*/ 1020345 w 5821363"/>
              <a:gd name="connsiteY1076" fmla="*/ 1519495 h 5186362"/>
              <a:gd name="connsiteX1077" fmla="*/ 981126 w 5821363"/>
              <a:gd name="connsiteY1077" fmla="*/ 1470469 h 5186362"/>
              <a:gd name="connsiteX1078" fmla="*/ 973138 w 5821363"/>
              <a:gd name="connsiteY1078" fmla="*/ 1460499 h 5186362"/>
              <a:gd name="connsiteX1079" fmla="*/ 994911 w 5821363"/>
              <a:gd name="connsiteY1079" fmla="*/ 1460499 h 5186362"/>
              <a:gd name="connsiteX1080" fmla="*/ 1009720 w 5821363"/>
              <a:gd name="connsiteY1080" fmla="*/ 1460499 h 5186362"/>
              <a:gd name="connsiteX1081" fmla="*/ 973288 w 5821363"/>
              <a:gd name="connsiteY1081" fmla="*/ 1439280 h 5186362"/>
              <a:gd name="connsiteX1082" fmla="*/ 954924 w 5821363"/>
              <a:gd name="connsiteY1082" fmla="*/ 1372052 h 5186362"/>
              <a:gd name="connsiteX1083" fmla="*/ 961045 w 5821363"/>
              <a:gd name="connsiteY1083" fmla="*/ 1375108 h 5186362"/>
              <a:gd name="connsiteX1084" fmla="*/ 982470 w 5821363"/>
              <a:gd name="connsiteY1084" fmla="*/ 1277323 h 5186362"/>
              <a:gd name="connsiteX1085" fmla="*/ 1058986 w 5821363"/>
              <a:gd name="connsiteY1085" fmla="*/ 1283434 h 5186362"/>
              <a:gd name="connsiteX1086" fmla="*/ 1022258 w 5821363"/>
              <a:gd name="connsiteY1086" fmla="*/ 1225374 h 5186362"/>
              <a:gd name="connsiteX1087" fmla="*/ 1049804 w 5821363"/>
              <a:gd name="connsiteY1087" fmla="*/ 1216207 h 5186362"/>
              <a:gd name="connsiteX1088" fmla="*/ 1074289 w 5821363"/>
              <a:gd name="connsiteY1088" fmla="*/ 1109254 h 5186362"/>
              <a:gd name="connsiteX1089" fmla="*/ 1086532 w 5821363"/>
              <a:gd name="connsiteY1089" fmla="*/ 1106198 h 5186362"/>
              <a:gd name="connsiteX1090" fmla="*/ 1058986 w 5821363"/>
              <a:gd name="connsiteY1090" fmla="*/ 1069528 h 5186362"/>
              <a:gd name="connsiteX1091" fmla="*/ 1169169 w 5821363"/>
              <a:gd name="connsiteY1091" fmla="*/ 1026747 h 5186362"/>
              <a:gd name="connsiteX1092" fmla="*/ 1046743 w 5821363"/>
              <a:gd name="connsiteY1092" fmla="*/ 916739 h 5186362"/>
              <a:gd name="connsiteX1093" fmla="*/ 1052865 w 5821363"/>
              <a:gd name="connsiteY1093" fmla="*/ 904516 h 5186362"/>
              <a:gd name="connsiteX1094" fmla="*/ 1126320 w 5821363"/>
              <a:gd name="connsiteY1094" fmla="*/ 944241 h 5186362"/>
              <a:gd name="connsiteX1095" fmla="*/ 1135502 w 5821363"/>
              <a:gd name="connsiteY1095" fmla="*/ 938130 h 5186362"/>
              <a:gd name="connsiteX1096" fmla="*/ 991652 w 5821363"/>
              <a:gd name="connsiteY1096" fmla="*/ 818954 h 5186362"/>
              <a:gd name="connsiteX1097" fmla="*/ 1000833 w 5821363"/>
              <a:gd name="connsiteY1097" fmla="*/ 800619 h 5186362"/>
              <a:gd name="connsiteX1098" fmla="*/ 1068168 w 5821363"/>
              <a:gd name="connsiteY1098" fmla="*/ 834232 h 5186362"/>
              <a:gd name="connsiteX1099" fmla="*/ 1224261 w 5821363"/>
              <a:gd name="connsiteY1099" fmla="*/ 971743 h 5186362"/>
              <a:gd name="connsiteX1100" fmla="*/ 1236504 w 5821363"/>
              <a:gd name="connsiteY1100" fmla="*/ 956465 h 5186362"/>
              <a:gd name="connsiteX1101" fmla="*/ 1184855 w 5821363"/>
              <a:gd name="connsiteY1101" fmla="*/ 915212 h 5186362"/>
              <a:gd name="connsiteX1102" fmla="*/ 1135502 w 5821363"/>
              <a:gd name="connsiteY1102" fmla="*/ 873958 h 5186362"/>
              <a:gd name="connsiteX1103" fmla="*/ 1095714 w 5821363"/>
              <a:gd name="connsiteY1103" fmla="*/ 825066 h 5186362"/>
              <a:gd name="connsiteX1104" fmla="*/ 1046743 w 5821363"/>
              <a:gd name="connsiteY1104" fmla="*/ 785340 h 5186362"/>
              <a:gd name="connsiteX1105" fmla="*/ 1000833 w 5821363"/>
              <a:gd name="connsiteY1105" fmla="*/ 767005 h 5186362"/>
              <a:gd name="connsiteX1106" fmla="*/ 1010015 w 5821363"/>
              <a:gd name="connsiteY1106" fmla="*/ 748670 h 5186362"/>
              <a:gd name="connsiteX1107" fmla="*/ 1117138 w 5821363"/>
              <a:gd name="connsiteY1107" fmla="*/ 803674 h 5186362"/>
              <a:gd name="connsiteX1108" fmla="*/ 1123260 w 5821363"/>
              <a:gd name="connsiteY1108" fmla="*/ 797564 h 5186362"/>
              <a:gd name="connsiteX1109" fmla="*/ 1074289 w 5821363"/>
              <a:gd name="connsiteY1109" fmla="*/ 760894 h 5186362"/>
              <a:gd name="connsiteX1110" fmla="*/ 1074290 w 5821363"/>
              <a:gd name="connsiteY1110" fmla="*/ 760894 h 5186362"/>
              <a:gd name="connsiteX1111" fmla="*/ 1074289 w 5821363"/>
              <a:gd name="connsiteY1111" fmla="*/ 760893 h 5186362"/>
              <a:gd name="connsiteX1112" fmla="*/ 1147745 w 5821363"/>
              <a:gd name="connsiteY1112" fmla="*/ 776172 h 5186362"/>
              <a:gd name="connsiteX1113" fmla="*/ 1242625 w 5821363"/>
              <a:gd name="connsiteY1113" fmla="*/ 806730 h 5186362"/>
              <a:gd name="connsiteX1114" fmla="*/ 1294656 w 5821363"/>
              <a:gd name="connsiteY1114" fmla="*/ 822009 h 5186362"/>
              <a:gd name="connsiteX1115" fmla="*/ 1410961 w 5821363"/>
              <a:gd name="connsiteY1115" fmla="*/ 892293 h 5186362"/>
              <a:gd name="connsiteX1116" fmla="*/ 1423204 w 5821363"/>
              <a:gd name="connsiteY1116" fmla="*/ 880070 h 5186362"/>
              <a:gd name="connsiteX1117" fmla="*/ 1352809 w 5821363"/>
              <a:gd name="connsiteY1117" fmla="*/ 834233 h 5186362"/>
              <a:gd name="connsiteX1118" fmla="*/ 1352809 w 5821363"/>
              <a:gd name="connsiteY1118" fmla="*/ 834232 h 5186362"/>
              <a:gd name="connsiteX1119" fmla="*/ 1365051 w 5821363"/>
              <a:gd name="connsiteY1119" fmla="*/ 822009 h 5186362"/>
              <a:gd name="connsiteX1120" fmla="*/ 1554065 w 5821363"/>
              <a:gd name="connsiteY1120" fmla="*/ 951272 h 5186362"/>
              <a:gd name="connsiteX1121" fmla="*/ 1591539 w 5821363"/>
              <a:gd name="connsiteY1121" fmla="*/ 953409 h 5186362"/>
              <a:gd name="connsiteX1122" fmla="*/ 1542569 w 5821363"/>
              <a:gd name="connsiteY1122" fmla="*/ 922851 h 5186362"/>
              <a:gd name="connsiteX1123" fmla="*/ 1567054 w 5821363"/>
              <a:gd name="connsiteY1123" fmla="*/ 892293 h 5186362"/>
              <a:gd name="connsiteX1124" fmla="*/ 1521145 w 5821363"/>
              <a:gd name="connsiteY1124" fmla="*/ 840345 h 5186362"/>
              <a:gd name="connsiteX1125" fmla="*/ 1521145 w 5821363"/>
              <a:gd name="connsiteY1125" fmla="*/ 840344 h 5186362"/>
              <a:gd name="connsiteX1126" fmla="*/ 1527266 w 5821363"/>
              <a:gd name="connsiteY1126" fmla="*/ 831177 h 5186362"/>
              <a:gd name="connsiteX1127" fmla="*/ 1564759 w 5821363"/>
              <a:gd name="connsiteY1127" fmla="*/ 854859 h 5186362"/>
              <a:gd name="connsiteX1128" fmla="*/ 1606842 w 5821363"/>
              <a:gd name="connsiteY1128" fmla="*/ 883125 h 5186362"/>
              <a:gd name="connsiteX1129" fmla="*/ 1537213 w 5821363"/>
              <a:gd name="connsiteY1129" fmla="*/ 797564 h 5186362"/>
              <a:gd name="connsiteX1130" fmla="*/ 1472174 w 5821363"/>
              <a:gd name="connsiteY1130" fmla="*/ 721169 h 5186362"/>
              <a:gd name="connsiteX1131" fmla="*/ 1426264 w 5821363"/>
              <a:gd name="connsiteY1131" fmla="*/ 693666 h 5186362"/>
              <a:gd name="connsiteX1132" fmla="*/ 1496659 w 5821363"/>
              <a:gd name="connsiteY1132" fmla="*/ 800619 h 5186362"/>
              <a:gd name="connsiteX1133" fmla="*/ 1472174 w 5821363"/>
              <a:gd name="connsiteY1133" fmla="*/ 803675 h 5186362"/>
              <a:gd name="connsiteX1134" fmla="*/ 1471846 w 5821363"/>
              <a:gd name="connsiteY1134" fmla="*/ 803215 h 5186362"/>
              <a:gd name="connsiteX1135" fmla="*/ 1471002 w 5821363"/>
              <a:gd name="connsiteY1135" fmla="*/ 803275 h 5186362"/>
              <a:gd name="connsiteX1136" fmla="*/ 1447342 w 5821363"/>
              <a:gd name="connsiteY1136" fmla="*/ 769980 h 5186362"/>
              <a:gd name="connsiteX1137" fmla="*/ 1428702 w 5821363"/>
              <a:gd name="connsiteY1137" fmla="*/ 739697 h 5186362"/>
              <a:gd name="connsiteX1138" fmla="*/ 1407805 w 5821363"/>
              <a:gd name="connsiteY1138" fmla="*/ 746171 h 5186362"/>
              <a:gd name="connsiteX1139" fmla="*/ 1392597 w 5821363"/>
              <a:gd name="connsiteY1139" fmla="*/ 744708 h 5186362"/>
              <a:gd name="connsiteX1140" fmla="*/ 1392139 w 5821363"/>
              <a:gd name="connsiteY1140" fmla="*/ 744245 h 5186362"/>
              <a:gd name="connsiteX1141" fmla="*/ 1391627 w 5821363"/>
              <a:gd name="connsiteY1141" fmla="*/ 744196 h 5186362"/>
              <a:gd name="connsiteX1142" fmla="*/ 1373309 w 5821363"/>
              <a:gd name="connsiteY1142" fmla="*/ 725587 h 5186362"/>
              <a:gd name="connsiteX1143" fmla="*/ 1359625 w 5821363"/>
              <a:gd name="connsiteY1143" fmla="*/ 700760 h 5186362"/>
              <a:gd name="connsiteX1144" fmla="*/ 1337505 w 5821363"/>
              <a:gd name="connsiteY1144" fmla="*/ 687555 h 5186362"/>
              <a:gd name="connsiteX1145" fmla="*/ 1337553 w 5821363"/>
              <a:gd name="connsiteY1145" fmla="*/ 687460 h 5186362"/>
              <a:gd name="connsiteX1146" fmla="*/ 1336675 w 5821363"/>
              <a:gd name="connsiteY1146" fmla="*/ 686934 h 5186362"/>
              <a:gd name="connsiteX1147" fmla="*/ 1342781 w 5821363"/>
              <a:gd name="connsiteY1147" fmla="*/ 674687 h 5186362"/>
              <a:gd name="connsiteX1148" fmla="*/ 1412792 w 5821363"/>
              <a:gd name="connsiteY1148" fmla="*/ 683845 h 5186362"/>
              <a:gd name="connsiteX1149" fmla="*/ 1370073 w 5821363"/>
              <a:gd name="connsiteY1149" fmla="*/ 661104 h 5186362"/>
              <a:gd name="connsiteX1150" fmla="*/ 1300778 w 5821363"/>
              <a:gd name="connsiteY1150" fmla="*/ 562268 h 5186362"/>
              <a:gd name="connsiteX1151" fmla="*/ 1300778 w 5821363"/>
              <a:gd name="connsiteY1151" fmla="*/ 562267 h 5186362"/>
              <a:gd name="connsiteX1152" fmla="*/ 1313020 w 5821363"/>
              <a:gd name="connsiteY1152" fmla="*/ 504206 h 5186362"/>
              <a:gd name="connsiteX1153" fmla="*/ 1367729 w 5821363"/>
              <a:gd name="connsiteY1153" fmla="*/ 524833 h 5186362"/>
              <a:gd name="connsiteX1154" fmla="*/ 1429325 w 5821363"/>
              <a:gd name="connsiteY1154" fmla="*/ 550043 h 5186362"/>
              <a:gd name="connsiteX1155" fmla="*/ 1424734 w 5821363"/>
              <a:gd name="connsiteY1155" fmla="*/ 535147 h 5186362"/>
              <a:gd name="connsiteX1156" fmla="*/ 1420143 w 5821363"/>
              <a:gd name="connsiteY1156" fmla="*/ 522542 h 5186362"/>
              <a:gd name="connsiteX1157" fmla="*/ 1410961 w 5821363"/>
              <a:gd name="connsiteY1157" fmla="*/ 479761 h 5186362"/>
              <a:gd name="connsiteX1158" fmla="*/ 1352809 w 5821363"/>
              <a:gd name="connsiteY1158" fmla="*/ 436980 h 5186362"/>
              <a:gd name="connsiteX1159" fmla="*/ 1352810 w 5821363"/>
              <a:gd name="connsiteY1159" fmla="*/ 436979 h 5186362"/>
              <a:gd name="connsiteX1160" fmla="*/ 1352809 w 5821363"/>
              <a:gd name="connsiteY1160" fmla="*/ 436979 h 5186362"/>
              <a:gd name="connsiteX1161" fmla="*/ 1435446 w 5821363"/>
              <a:gd name="connsiteY1161" fmla="*/ 418644 h 5186362"/>
              <a:gd name="connsiteX1162" fmla="*/ 1472174 w 5821363"/>
              <a:gd name="connsiteY1162" fmla="*/ 421700 h 5186362"/>
              <a:gd name="connsiteX1163" fmla="*/ 1539509 w 5821363"/>
              <a:gd name="connsiteY1163" fmla="*/ 449202 h 5186362"/>
              <a:gd name="connsiteX1164" fmla="*/ 1726208 w 5821363"/>
              <a:gd name="connsiteY1164" fmla="*/ 571434 h 5186362"/>
              <a:gd name="connsiteX1165" fmla="*/ 1980243 w 5821363"/>
              <a:gd name="connsiteY1165" fmla="*/ 760893 h 5186362"/>
              <a:gd name="connsiteX1166" fmla="*/ 1989425 w 5821363"/>
              <a:gd name="connsiteY1166" fmla="*/ 754782 h 5186362"/>
              <a:gd name="connsiteX1167" fmla="*/ 1961879 w 5821363"/>
              <a:gd name="connsiteY1167" fmla="*/ 693666 h 5186362"/>
              <a:gd name="connsiteX1168" fmla="*/ 1888423 w 5821363"/>
              <a:gd name="connsiteY1168" fmla="*/ 568379 h 5186362"/>
              <a:gd name="connsiteX1169" fmla="*/ 1888423 w 5821363"/>
              <a:gd name="connsiteY1169" fmla="*/ 568378 h 5186362"/>
              <a:gd name="connsiteX1170" fmla="*/ 1908317 w 5821363"/>
              <a:gd name="connsiteY1170" fmla="*/ 572962 h 5186362"/>
              <a:gd name="connsiteX1171" fmla="*/ 1928211 w 5821363"/>
              <a:gd name="connsiteY1171" fmla="*/ 577545 h 5186362"/>
              <a:gd name="connsiteX1172" fmla="*/ 1888423 w 5821363"/>
              <a:gd name="connsiteY1172" fmla="*/ 528654 h 5186362"/>
              <a:gd name="connsiteX1173" fmla="*/ 1888423 w 5821363"/>
              <a:gd name="connsiteY1173" fmla="*/ 528653 h 5186362"/>
              <a:gd name="connsiteX1174" fmla="*/ 1897605 w 5821363"/>
              <a:gd name="connsiteY1174" fmla="*/ 519486 h 5186362"/>
              <a:gd name="connsiteX1175" fmla="*/ 1916352 w 5821363"/>
              <a:gd name="connsiteY1175" fmla="*/ 534000 h 5186362"/>
              <a:gd name="connsiteX1176" fmla="*/ 1937393 w 5821363"/>
              <a:gd name="connsiteY1176" fmla="*/ 553099 h 5186362"/>
              <a:gd name="connsiteX1177" fmla="*/ 1928212 w 5821363"/>
              <a:gd name="connsiteY1177" fmla="*/ 513374 h 5186362"/>
              <a:gd name="connsiteX1178" fmla="*/ 2212852 w 5821363"/>
              <a:gd name="connsiteY1178" fmla="*/ 513374 h 5186362"/>
              <a:gd name="connsiteX1179" fmla="*/ 2776013 w 5821363"/>
              <a:gd name="connsiteY1179" fmla="*/ 513374 h 5186362"/>
              <a:gd name="connsiteX1180" fmla="*/ 2883135 w 5821363"/>
              <a:gd name="connsiteY1180" fmla="*/ 516430 h 5186362"/>
              <a:gd name="connsiteX1181" fmla="*/ 2953531 w 5821363"/>
              <a:gd name="connsiteY1181" fmla="*/ 556155 h 5186362"/>
              <a:gd name="connsiteX1182" fmla="*/ 2972277 w 5821363"/>
              <a:gd name="connsiteY1182" fmla="*/ 568760 h 5186362"/>
              <a:gd name="connsiteX1183" fmla="*/ 2993318 w 5821363"/>
              <a:gd name="connsiteY1183" fmla="*/ 574489 h 5186362"/>
              <a:gd name="connsiteX1184" fmla="*/ 2932106 w 5821363"/>
              <a:gd name="connsiteY1184" fmla="*/ 519486 h 5186362"/>
              <a:gd name="connsiteX1185" fmla="*/ 2938227 w 5821363"/>
              <a:gd name="connsiteY1185" fmla="*/ 513374 h 5186362"/>
              <a:gd name="connsiteX1186" fmla="*/ 2971895 w 5821363"/>
              <a:gd name="connsiteY1186" fmla="*/ 519486 h 5186362"/>
              <a:gd name="connsiteX1187" fmla="*/ 3088199 w 5821363"/>
              <a:gd name="connsiteY1187" fmla="*/ 638662 h 5186362"/>
              <a:gd name="connsiteX1188" fmla="*/ 3030047 w 5821363"/>
              <a:gd name="connsiteY1188" fmla="*/ 605048 h 5186362"/>
              <a:gd name="connsiteX1189" fmla="*/ 3023926 w 5821363"/>
              <a:gd name="connsiteY1189" fmla="*/ 614215 h 5186362"/>
              <a:gd name="connsiteX1190" fmla="*/ 3103503 w 5821363"/>
              <a:gd name="connsiteY1190" fmla="*/ 684499 h 5186362"/>
              <a:gd name="connsiteX1191" fmla="*/ 3112685 w 5821363"/>
              <a:gd name="connsiteY1191" fmla="*/ 675331 h 5186362"/>
              <a:gd name="connsiteX1192" fmla="*/ 3100442 w 5821363"/>
              <a:gd name="connsiteY1192" fmla="*/ 653941 h 5186362"/>
              <a:gd name="connsiteX1193" fmla="*/ 3100442 w 5821363"/>
              <a:gd name="connsiteY1193" fmla="*/ 653940 h 5186362"/>
              <a:gd name="connsiteX1194" fmla="*/ 3115745 w 5821363"/>
              <a:gd name="connsiteY1194" fmla="*/ 660052 h 5186362"/>
              <a:gd name="connsiteX1195" fmla="*/ 3244293 w 5821363"/>
              <a:gd name="connsiteY1195" fmla="*/ 754782 h 5186362"/>
              <a:gd name="connsiteX1196" fmla="*/ 3342234 w 5821363"/>
              <a:gd name="connsiteY1196" fmla="*/ 782284 h 5186362"/>
              <a:gd name="connsiteX1197" fmla="*/ 3362510 w 5821363"/>
              <a:gd name="connsiteY1197" fmla="*/ 778464 h 5186362"/>
              <a:gd name="connsiteX1198" fmla="*/ 3394264 w 5821363"/>
              <a:gd name="connsiteY1198" fmla="*/ 779228 h 5186362"/>
              <a:gd name="connsiteX1199" fmla="*/ 3370927 w 5821363"/>
              <a:gd name="connsiteY1199" fmla="*/ 767005 h 5186362"/>
              <a:gd name="connsiteX1200" fmla="*/ 3354476 w 5821363"/>
              <a:gd name="connsiteY1200" fmla="*/ 754782 h 5186362"/>
              <a:gd name="connsiteX1201" fmla="*/ 3302445 w 5821363"/>
              <a:gd name="connsiteY1201" fmla="*/ 696722 h 5186362"/>
              <a:gd name="connsiteX1202" fmla="*/ 3296324 w 5821363"/>
              <a:gd name="connsiteY1202" fmla="*/ 678387 h 5186362"/>
              <a:gd name="connsiteX1203" fmla="*/ 3207565 w 5821363"/>
              <a:gd name="connsiteY1203" fmla="*/ 626439 h 5186362"/>
              <a:gd name="connsiteX1204" fmla="*/ 3170837 w 5821363"/>
              <a:gd name="connsiteY1204" fmla="*/ 592825 h 5186362"/>
              <a:gd name="connsiteX1205" fmla="*/ 3094321 w 5821363"/>
              <a:gd name="connsiteY1205" fmla="*/ 550044 h 5186362"/>
              <a:gd name="connsiteX1206" fmla="*/ 3054532 w 5821363"/>
              <a:gd name="connsiteY1206" fmla="*/ 531709 h 5186362"/>
              <a:gd name="connsiteX1207" fmla="*/ 3060653 w 5821363"/>
              <a:gd name="connsiteY1207" fmla="*/ 513374 h 5186362"/>
              <a:gd name="connsiteX1208" fmla="*/ 3183080 w 5821363"/>
              <a:gd name="connsiteY1208" fmla="*/ 513374 h 5186362"/>
              <a:gd name="connsiteX1209" fmla="*/ 3446296 w 5821363"/>
              <a:gd name="connsiteY1209" fmla="*/ 574490 h 5186362"/>
              <a:gd name="connsiteX1210" fmla="*/ 3456626 w 5821363"/>
              <a:gd name="connsiteY1210" fmla="*/ 577545 h 5186362"/>
              <a:gd name="connsiteX1211" fmla="*/ 3473841 w 5821363"/>
              <a:gd name="connsiteY1211" fmla="*/ 580601 h 5186362"/>
              <a:gd name="connsiteX1212" fmla="*/ 3434053 w 5821363"/>
              <a:gd name="connsiteY1212" fmla="*/ 516430 h 5186362"/>
              <a:gd name="connsiteX1213" fmla="*/ 3437114 w 5821363"/>
              <a:gd name="connsiteY1213" fmla="*/ 510318 h 5186362"/>
              <a:gd name="connsiteX1214" fmla="*/ 3499475 w 5821363"/>
              <a:gd name="connsiteY1214" fmla="*/ 535528 h 5186362"/>
              <a:gd name="connsiteX1215" fmla="*/ 3568722 w 5821363"/>
              <a:gd name="connsiteY1215" fmla="*/ 565322 h 5186362"/>
              <a:gd name="connsiteX1216" fmla="*/ 3562601 w 5821363"/>
              <a:gd name="connsiteY1216" fmla="*/ 522542 h 5186362"/>
              <a:gd name="connsiteX1217" fmla="*/ 3562601 w 5821363"/>
              <a:gd name="connsiteY1217" fmla="*/ 522541 h 5186362"/>
              <a:gd name="connsiteX1218" fmla="*/ 3615014 w 5821363"/>
              <a:gd name="connsiteY1218" fmla="*/ 554245 h 5186362"/>
              <a:gd name="connsiteX1219" fmla="*/ 3678905 w 5821363"/>
              <a:gd name="connsiteY1219" fmla="*/ 592825 h 5186362"/>
              <a:gd name="connsiteX1220" fmla="*/ 3665132 w 5821363"/>
              <a:gd name="connsiteY1220" fmla="*/ 540876 h 5186362"/>
              <a:gd name="connsiteX1221" fmla="*/ 3651360 w 5821363"/>
              <a:gd name="connsiteY1221" fmla="*/ 498096 h 5186362"/>
              <a:gd name="connsiteX1222" fmla="*/ 3651360 w 5821363"/>
              <a:gd name="connsiteY1222" fmla="*/ 498095 h 5186362"/>
              <a:gd name="connsiteX1223" fmla="*/ 3657481 w 5821363"/>
              <a:gd name="connsiteY1223" fmla="*/ 498095 h 5186362"/>
              <a:gd name="connsiteX1224" fmla="*/ 3657481 w 5821363"/>
              <a:gd name="connsiteY1224" fmla="*/ 430868 h 5186362"/>
              <a:gd name="connsiteX1225" fmla="*/ 3657481 w 5821363"/>
              <a:gd name="connsiteY1225" fmla="*/ 430867 h 5186362"/>
              <a:gd name="connsiteX1226" fmla="*/ 3678905 w 5821363"/>
              <a:gd name="connsiteY1226" fmla="*/ 443090 h 5186362"/>
              <a:gd name="connsiteX1227" fmla="*/ 3675845 w 5821363"/>
              <a:gd name="connsiteY1227" fmla="*/ 427812 h 5186362"/>
              <a:gd name="connsiteX1228" fmla="*/ 3614632 w 5821363"/>
              <a:gd name="connsiteY1228" fmla="*/ 287246 h 5186362"/>
              <a:gd name="connsiteX1229" fmla="*/ 3587086 w 5821363"/>
              <a:gd name="connsiteY1229" fmla="*/ 244464 h 5186362"/>
              <a:gd name="connsiteX1230" fmla="*/ 3566427 w 5821363"/>
              <a:gd name="connsiteY1230" fmla="*/ 205790 h 5186362"/>
              <a:gd name="connsiteX1231" fmla="*/ 3566427 w 5821363"/>
              <a:gd name="connsiteY1231" fmla="*/ 205789 h 5186362"/>
              <a:gd name="connsiteX1232" fmla="*/ 3568722 w 5821363"/>
              <a:gd name="connsiteY1232" fmla="*/ 186404 h 5186362"/>
              <a:gd name="connsiteX1233" fmla="*/ 3565470 w 5821363"/>
              <a:gd name="connsiteY1233" fmla="*/ 157947 h 5186362"/>
              <a:gd name="connsiteX1234" fmla="*/ 3525873 w 5821363"/>
              <a:gd name="connsiteY1234" fmla="*/ 70284 h 5186362"/>
              <a:gd name="connsiteX1235" fmla="*/ 3504448 w 5821363"/>
              <a:gd name="connsiteY1235" fmla="*/ 33614 h 5186362"/>
              <a:gd name="connsiteX1236" fmla="*/ 3531994 w 5821363"/>
              <a:gd name="connsiteY1236" fmla="*/ 43163 h 5186362"/>
              <a:gd name="connsiteX1237" fmla="*/ 3559540 w 5821363"/>
              <a:gd name="connsiteY1237" fmla="*/ 55004 h 5186362"/>
              <a:gd name="connsiteX1238" fmla="*/ 3547680 w 5821363"/>
              <a:gd name="connsiteY1238" fmla="*/ 26739 h 5186362"/>
              <a:gd name="connsiteX1239" fmla="*/ 3538115 w 5821363"/>
              <a:gd name="connsiteY1239" fmla="*/ 3056 h 5186362"/>
              <a:gd name="connsiteX1240" fmla="*/ 3538115 w 5821363"/>
              <a:gd name="connsiteY1240" fmla="*/ 3055 h 5186362"/>
              <a:gd name="connsiteX1241" fmla="*/ 3547297 w 5821363"/>
              <a:gd name="connsiteY1241" fmla="*/ 0 h 5186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Lst>
            <a:rect l="l" t="t" r="r" b="b"/>
            <a:pathLst>
              <a:path w="5821363" h="5186362">
                <a:moveTo>
                  <a:pt x="3400609" y="4452797"/>
                </a:moveTo>
                <a:lnTo>
                  <a:pt x="3442456" y="4482677"/>
                </a:lnTo>
                <a:lnTo>
                  <a:pt x="3440635" y="4480437"/>
                </a:lnTo>
                <a:lnTo>
                  <a:pt x="3427445" y="4465195"/>
                </a:lnTo>
                <a:lnTo>
                  <a:pt x="3421956" y="4460667"/>
                </a:lnTo>
                <a:lnTo>
                  <a:pt x="3407888" y="4454524"/>
                </a:lnTo>
                <a:lnTo>
                  <a:pt x="3405021" y="4453547"/>
                </a:lnTo>
                <a:close/>
                <a:moveTo>
                  <a:pt x="1985963" y="4410074"/>
                </a:moveTo>
                <a:cubicBezTo>
                  <a:pt x="2062587" y="4410074"/>
                  <a:pt x="2136147" y="4410074"/>
                  <a:pt x="2212771" y="4410074"/>
                </a:cubicBezTo>
                <a:cubicBezTo>
                  <a:pt x="2218901" y="4419236"/>
                  <a:pt x="2225031" y="4434507"/>
                  <a:pt x="2234226" y="4452831"/>
                </a:cubicBezTo>
                <a:cubicBezTo>
                  <a:pt x="2221966" y="4449777"/>
                  <a:pt x="2215836" y="4446723"/>
                  <a:pt x="2206641" y="4443669"/>
                </a:cubicBezTo>
                <a:cubicBezTo>
                  <a:pt x="2206641" y="4449777"/>
                  <a:pt x="2206641" y="4455885"/>
                  <a:pt x="2209706" y="4458939"/>
                </a:cubicBezTo>
                <a:cubicBezTo>
                  <a:pt x="2246486" y="4495588"/>
                  <a:pt x="2234226" y="4562777"/>
                  <a:pt x="2286331" y="4590263"/>
                </a:cubicBezTo>
                <a:cubicBezTo>
                  <a:pt x="2286331" y="4590263"/>
                  <a:pt x="2286331" y="4596371"/>
                  <a:pt x="2283266" y="4599425"/>
                </a:cubicBezTo>
                <a:cubicBezTo>
                  <a:pt x="2280201" y="4620804"/>
                  <a:pt x="2274071" y="4645236"/>
                  <a:pt x="2277136" y="4666614"/>
                </a:cubicBezTo>
                <a:cubicBezTo>
                  <a:pt x="2277136" y="4687993"/>
                  <a:pt x="2289396" y="4709371"/>
                  <a:pt x="2295526" y="4727695"/>
                </a:cubicBezTo>
                <a:cubicBezTo>
                  <a:pt x="2280201" y="4727695"/>
                  <a:pt x="2264876" y="4727695"/>
                  <a:pt x="2243421" y="4730749"/>
                </a:cubicBezTo>
                <a:cubicBezTo>
                  <a:pt x="2240356" y="4718533"/>
                  <a:pt x="2237291" y="4678830"/>
                  <a:pt x="2221966" y="4669668"/>
                </a:cubicBezTo>
                <a:cubicBezTo>
                  <a:pt x="2194381" y="4657452"/>
                  <a:pt x="2182121" y="4633020"/>
                  <a:pt x="2163732" y="4614695"/>
                </a:cubicBezTo>
                <a:cubicBezTo>
                  <a:pt x="2154537" y="4605533"/>
                  <a:pt x="2145342" y="4593317"/>
                  <a:pt x="2133082" y="4587209"/>
                </a:cubicBezTo>
                <a:cubicBezTo>
                  <a:pt x="2117757" y="4578047"/>
                  <a:pt x="2093237" y="4571939"/>
                  <a:pt x="2080977" y="4559723"/>
                </a:cubicBezTo>
                <a:cubicBezTo>
                  <a:pt x="2053392" y="4535290"/>
                  <a:pt x="2028872" y="4504750"/>
                  <a:pt x="2001288" y="4474209"/>
                </a:cubicBezTo>
                <a:cubicBezTo>
                  <a:pt x="2028872" y="4458939"/>
                  <a:pt x="2028872" y="4458939"/>
                  <a:pt x="1985963" y="4410074"/>
                </a:cubicBezTo>
                <a:close/>
                <a:moveTo>
                  <a:pt x="2353021" y="4404245"/>
                </a:moveTo>
                <a:lnTo>
                  <a:pt x="2377291" y="4404892"/>
                </a:lnTo>
                <a:lnTo>
                  <a:pt x="2380947" y="4406637"/>
                </a:lnTo>
                <a:lnTo>
                  <a:pt x="2384116" y="4406909"/>
                </a:lnTo>
                <a:lnTo>
                  <a:pt x="2387413" y="4409724"/>
                </a:lnTo>
                <a:lnTo>
                  <a:pt x="2395680" y="4413670"/>
                </a:lnTo>
                <a:lnTo>
                  <a:pt x="2400804" y="4421157"/>
                </a:lnTo>
                <a:lnTo>
                  <a:pt x="2404252" y="4424101"/>
                </a:lnTo>
                <a:lnTo>
                  <a:pt x="2404948" y="4427211"/>
                </a:lnTo>
                <a:lnTo>
                  <a:pt x="2407338" y="4430703"/>
                </a:lnTo>
                <a:cubicBezTo>
                  <a:pt x="2410007" y="4437770"/>
                  <a:pt x="2411413" y="4446233"/>
                  <a:pt x="2411413" y="4456112"/>
                </a:cubicBezTo>
                <a:cubicBezTo>
                  <a:pt x="2374504" y="4440615"/>
                  <a:pt x="2343746" y="4428217"/>
                  <a:pt x="2312988" y="4415820"/>
                </a:cubicBezTo>
                <a:cubicBezTo>
                  <a:pt x="2327598" y="4409621"/>
                  <a:pt x="2341055" y="4405747"/>
                  <a:pt x="2353021" y="4404245"/>
                </a:cubicBezTo>
                <a:close/>
                <a:moveTo>
                  <a:pt x="3261872" y="4397374"/>
                </a:moveTo>
                <a:cubicBezTo>
                  <a:pt x="3292740" y="4421867"/>
                  <a:pt x="3323608" y="4449422"/>
                  <a:pt x="3357563" y="4473914"/>
                </a:cubicBezTo>
                <a:cubicBezTo>
                  <a:pt x="3354476" y="4476976"/>
                  <a:pt x="3351389" y="4480038"/>
                  <a:pt x="3348303" y="4483099"/>
                </a:cubicBezTo>
                <a:cubicBezTo>
                  <a:pt x="3314348" y="4461668"/>
                  <a:pt x="3280393" y="4437175"/>
                  <a:pt x="3246438" y="4415744"/>
                </a:cubicBezTo>
                <a:cubicBezTo>
                  <a:pt x="3252612" y="4409621"/>
                  <a:pt x="3255698" y="4403497"/>
                  <a:pt x="3261872" y="4397374"/>
                </a:cubicBezTo>
                <a:close/>
                <a:moveTo>
                  <a:pt x="4222644" y="4394199"/>
                </a:moveTo>
                <a:lnTo>
                  <a:pt x="4223362" y="4394802"/>
                </a:lnTo>
                <a:lnTo>
                  <a:pt x="4222990" y="4394199"/>
                </a:lnTo>
                <a:cubicBezTo>
                  <a:pt x="4250527" y="4427843"/>
                  <a:pt x="4311721" y="4433960"/>
                  <a:pt x="4311721" y="4498190"/>
                </a:cubicBezTo>
                <a:cubicBezTo>
                  <a:pt x="4311721" y="4507366"/>
                  <a:pt x="4321665" y="4516541"/>
                  <a:pt x="4335434" y="4524952"/>
                </a:cubicBezTo>
                <a:lnTo>
                  <a:pt x="4381829" y="4547000"/>
                </a:lnTo>
                <a:lnTo>
                  <a:pt x="4335955" y="4495094"/>
                </a:lnTo>
                <a:lnTo>
                  <a:pt x="4336212" y="4495146"/>
                </a:lnTo>
                <a:lnTo>
                  <a:pt x="4336199" y="4495131"/>
                </a:lnTo>
                <a:lnTo>
                  <a:pt x="4383942" y="4504908"/>
                </a:lnTo>
                <a:lnTo>
                  <a:pt x="4395051" y="4507180"/>
                </a:lnTo>
                <a:lnTo>
                  <a:pt x="4395058" y="4507184"/>
                </a:lnTo>
                <a:lnTo>
                  <a:pt x="4395242" y="4507222"/>
                </a:lnTo>
                <a:cubicBezTo>
                  <a:pt x="4450747" y="4528584"/>
                  <a:pt x="4493775" y="4576183"/>
                  <a:pt x="4507543" y="4635824"/>
                </a:cubicBezTo>
                <a:lnTo>
                  <a:pt x="4525084" y="4661364"/>
                </a:lnTo>
                <a:lnTo>
                  <a:pt x="4547264" y="4684653"/>
                </a:lnTo>
                <a:cubicBezTo>
                  <a:pt x="4559514" y="4696883"/>
                  <a:pt x="4571764" y="4709112"/>
                  <a:pt x="4590138" y="4727457"/>
                </a:cubicBezTo>
                <a:lnTo>
                  <a:pt x="4590031" y="4727457"/>
                </a:lnTo>
                <a:lnTo>
                  <a:pt x="4590155" y="4727581"/>
                </a:lnTo>
                <a:cubicBezTo>
                  <a:pt x="4579446" y="4727581"/>
                  <a:pt x="4570267" y="4727581"/>
                  <a:pt x="4560323" y="4727581"/>
                </a:cubicBezTo>
                <a:lnTo>
                  <a:pt x="4525957" y="4727581"/>
                </a:lnTo>
                <a:lnTo>
                  <a:pt x="4568318" y="4767967"/>
                </a:lnTo>
                <a:cubicBezTo>
                  <a:pt x="4581716" y="4780197"/>
                  <a:pt x="4594732" y="4791662"/>
                  <a:pt x="4608513" y="4803892"/>
                </a:cubicBezTo>
                <a:lnTo>
                  <a:pt x="4608367" y="4803914"/>
                </a:lnTo>
                <a:lnTo>
                  <a:pt x="4608513" y="4804044"/>
                </a:lnTo>
                <a:cubicBezTo>
                  <a:pt x="4565677" y="4816278"/>
                  <a:pt x="4550379" y="4800986"/>
                  <a:pt x="4528961" y="4770400"/>
                </a:cubicBezTo>
                <a:cubicBezTo>
                  <a:pt x="4513662" y="4742873"/>
                  <a:pt x="4476946" y="4727581"/>
                  <a:pt x="4443289" y="4715346"/>
                </a:cubicBezTo>
                <a:lnTo>
                  <a:pt x="4463261" y="4734598"/>
                </a:lnTo>
                <a:lnTo>
                  <a:pt x="4528889" y="4797777"/>
                </a:lnTo>
                <a:lnTo>
                  <a:pt x="4528862" y="4797832"/>
                </a:lnTo>
                <a:lnTo>
                  <a:pt x="4528961" y="4797927"/>
                </a:lnTo>
                <a:cubicBezTo>
                  <a:pt x="4528961" y="4797927"/>
                  <a:pt x="4525901" y="4800986"/>
                  <a:pt x="4525901" y="4804044"/>
                </a:cubicBezTo>
                <a:cubicBezTo>
                  <a:pt x="4516722" y="4800986"/>
                  <a:pt x="4507543" y="4794869"/>
                  <a:pt x="4498363" y="4791810"/>
                </a:cubicBezTo>
                <a:lnTo>
                  <a:pt x="4495329" y="4800910"/>
                </a:lnTo>
                <a:lnTo>
                  <a:pt x="4577888" y="4849753"/>
                </a:lnTo>
                <a:lnTo>
                  <a:pt x="4577763" y="4849832"/>
                </a:lnTo>
                <a:lnTo>
                  <a:pt x="4577916" y="4849922"/>
                </a:lnTo>
                <a:cubicBezTo>
                  <a:pt x="4548084" y="4875155"/>
                  <a:pt x="4535463" y="4848775"/>
                  <a:pt x="4515527" y="4835299"/>
                </a:cubicBezTo>
                <a:lnTo>
                  <a:pt x="4492285" y="4828525"/>
                </a:lnTo>
                <a:lnTo>
                  <a:pt x="4522764" y="4865040"/>
                </a:lnTo>
                <a:lnTo>
                  <a:pt x="4522713" y="4865061"/>
                </a:lnTo>
                <a:lnTo>
                  <a:pt x="4522841" y="4865215"/>
                </a:lnTo>
                <a:cubicBezTo>
                  <a:pt x="4504483" y="4872097"/>
                  <a:pt x="4489566" y="4882419"/>
                  <a:pt x="4478093" y="4870376"/>
                </a:cubicBezTo>
                <a:lnTo>
                  <a:pt x="4478012" y="4870215"/>
                </a:lnTo>
                <a:lnTo>
                  <a:pt x="4477976" y="4870199"/>
                </a:lnTo>
                <a:lnTo>
                  <a:pt x="4467689" y="4849849"/>
                </a:lnTo>
                <a:lnTo>
                  <a:pt x="4449791" y="4833101"/>
                </a:lnTo>
                <a:cubicBezTo>
                  <a:pt x="4441759" y="4828513"/>
                  <a:pt x="4432580" y="4825454"/>
                  <a:pt x="4424931" y="4825454"/>
                </a:cubicBezTo>
                <a:cubicBezTo>
                  <a:pt x="4365266" y="4823160"/>
                  <a:pt x="4350350" y="4822586"/>
                  <a:pt x="4323386" y="4809540"/>
                </a:cubicBezTo>
                <a:lnTo>
                  <a:pt x="4297060" y="4795432"/>
                </a:lnTo>
                <a:lnTo>
                  <a:pt x="4290302" y="4791814"/>
                </a:lnTo>
                <a:lnTo>
                  <a:pt x="4287244" y="4806338"/>
                </a:lnTo>
                <a:cubicBezTo>
                  <a:pt x="4286479" y="4811691"/>
                  <a:pt x="4285714" y="4817808"/>
                  <a:pt x="4284184" y="4825454"/>
                </a:cubicBezTo>
                <a:lnTo>
                  <a:pt x="4283912" y="4825173"/>
                </a:lnTo>
                <a:lnTo>
                  <a:pt x="4283893" y="4825294"/>
                </a:lnTo>
                <a:cubicBezTo>
                  <a:pt x="4203504" y="4742744"/>
                  <a:pt x="4130005" y="4656754"/>
                  <a:pt x="4041433" y="4589252"/>
                </a:cubicBezTo>
                <a:lnTo>
                  <a:pt x="3947967" y="4529330"/>
                </a:lnTo>
                <a:lnTo>
                  <a:pt x="4009005" y="4626898"/>
                </a:lnTo>
                <a:cubicBezTo>
                  <a:pt x="4045726" y="4675813"/>
                  <a:pt x="4082447" y="4721671"/>
                  <a:pt x="4119168" y="4770586"/>
                </a:cubicBezTo>
                <a:cubicBezTo>
                  <a:pt x="4113048" y="4773643"/>
                  <a:pt x="4109988" y="4776700"/>
                  <a:pt x="4106928" y="4782815"/>
                </a:cubicBezTo>
                <a:lnTo>
                  <a:pt x="4106734" y="4782621"/>
                </a:lnTo>
                <a:lnTo>
                  <a:pt x="4106721" y="4782634"/>
                </a:lnTo>
                <a:lnTo>
                  <a:pt x="4060492" y="4736423"/>
                </a:lnTo>
                <a:lnTo>
                  <a:pt x="4057584" y="4733518"/>
                </a:lnTo>
                <a:cubicBezTo>
                  <a:pt x="4041136" y="4717085"/>
                  <a:pt x="4024306" y="4700271"/>
                  <a:pt x="4005945" y="4681928"/>
                </a:cubicBezTo>
                <a:cubicBezTo>
                  <a:pt x="4009005" y="4691099"/>
                  <a:pt x="4010535" y="4699506"/>
                  <a:pt x="4012065" y="4707149"/>
                </a:cubicBezTo>
                <a:lnTo>
                  <a:pt x="4018182" y="4727776"/>
                </a:lnTo>
                <a:lnTo>
                  <a:pt x="4028814" y="4738589"/>
                </a:lnTo>
                <a:lnTo>
                  <a:pt x="4062174" y="4772497"/>
                </a:lnTo>
                <a:cubicBezTo>
                  <a:pt x="4077092" y="4787400"/>
                  <a:pt x="4091627" y="4802686"/>
                  <a:pt x="4103867" y="4819501"/>
                </a:cubicBezTo>
                <a:cubicBezTo>
                  <a:pt x="4137528" y="4871473"/>
                  <a:pt x="4165069" y="4926502"/>
                  <a:pt x="4195670" y="4981531"/>
                </a:cubicBezTo>
                <a:cubicBezTo>
                  <a:pt x="4207910" y="5002931"/>
                  <a:pt x="4223211" y="5021275"/>
                  <a:pt x="4235451" y="5039618"/>
                </a:cubicBezTo>
                <a:cubicBezTo>
                  <a:pt x="4232391" y="5042675"/>
                  <a:pt x="4229331" y="5045732"/>
                  <a:pt x="4226271" y="5048789"/>
                </a:cubicBezTo>
                <a:lnTo>
                  <a:pt x="4226112" y="5048666"/>
                </a:lnTo>
                <a:lnTo>
                  <a:pt x="4226050" y="5048728"/>
                </a:lnTo>
                <a:cubicBezTo>
                  <a:pt x="4207691" y="5033435"/>
                  <a:pt x="4189333" y="5021201"/>
                  <a:pt x="4170975" y="5005908"/>
                </a:cubicBezTo>
                <a:cubicBezTo>
                  <a:pt x="4154146" y="4992145"/>
                  <a:pt x="4138083" y="4978381"/>
                  <a:pt x="4121637" y="4965000"/>
                </a:cubicBezTo>
                <a:lnTo>
                  <a:pt x="4070114" y="4926467"/>
                </a:lnTo>
                <a:lnTo>
                  <a:pt x="4051464" y="4919623"/>
                </a:lnTo>
                <a:cubicBezTo>
                  <a:pt x="4044196" y="4918859"/>
                  <a:pt x="4036546" y="4918859"/>
                  <a:pt x="4030426" y="4917330"/>
                </a:cubicBezTo>
                <a:lnTo>
                  <a:pt x="4030282" y="4917216"/>
                </a:lnTo>
                <a:lnTo>
                  <a:pt x="4030228" y="4917210"/>
                </a:lnTo>
                <a:cubicBezTo>
                  <a:pt x="4021049" y="4909564"/>
                  <a:pt x="4011105" y="4901918"/>
                  <a:pt x="4000396" y="4893507"/>
                </a:cubicBezTo>
                <a:lnTo>
                  <a:pt x="3966174" y="4865379"/>
                </a:lnTo>
                <a:lnTo>
                  <a:pt x="4004798" y="4945227"/>
                </a:lnTo>
                <a:cubicBezTo>
                  <a:pt x="4017420" y="4971595"/>
                  <a:pt x="4030425" y="4998346"/>
                  <a:pt x="4045726" y="5027389"/>
                </a:cubicBezTo>
                <a:lnTo>
                  <a:pt x="4045511" y="5027286"/>
                </a:lnTo>
                <a:lnTo>
                  <a:pt x="4045527" y="5027318"/>
                </a:lnTo>
                <a:cubicBezTo>
                  <a:pt x="4028699" y="5019671"/>
                  <a:pt x="4014930" y="5012790"/>
                  <a:pt x="4002308" y="5006673"/>
                </a:cubicBezTo>
                <a:lnTo>
                  <a:pt x="3981246" y="4997364"/>
                </a:lnTo>
                <a:lnTo>
                  <a:pt x="3966164" y="4990703"/>
                </a:lnTo>
                <a:cubicBezTo>
                  <a:pt x="3963104" y="4993760"/>
                  <a:pt x="3960044" y="4999874"/>
                  <a:pt x="3956984" y="5002931"/>
                </a:cubicBezTo>
                <a:cubicBezTo>
                  <a:pt x="3993705" y="5045732"/>
                  <a:pt x="4033486" y="5085475"/>
                  <a:pt x="4070207" y="5125219"/>
                </a:cubicBezTo>
                <a:cubicBezTo>
                  <a:pt x="4060262" y="5133626"/>
                  <a:pt x="4052611" y="5137830"/>
                  <a:pt x="4046587" y="5139024"/>
                </a:cubicBezTo>
                <a:lnTo>
                  <a:pt x="4046432" y="5138976"/>
                </a:lnTo>
                <a:lnTo>
                  <a:pt x="4046388" y="5139002"/>
                </a:lnTo>
                <a:cubicBezTo>
                  <a:pt x="4034340" y="5141392"/>
                  <a:pt x="4028794" y="5131738"/>
                  <a:pt x="4024396" y="5119600"/>
                </a:cubicBezTo>
                <a:lnTo>
                  <a:pt x="4018060" y="5100928"/>
                </a:lnTo>
                <a:lnTo>
                  <a:pt x="4009005" y="5112990"/>
                </a:lnTo>
                <a:lnTo>
                  <a:pt x="4008864" y="5112887"/>
                </a:lnTo>
                <a:lnTo>
                  <a:pt x="4008811" y="5112957"/>
                </a:lnTo>
                <a:cubicBezTo>
                  <a:pt x="3991982" y="5100723"/>
                  <a:pt x="3975919" y="5089254"/>
                  <a:pt x="3958708" y="5076637"/>
                </a:cubicBezTo>
                <a:lnTo>
                  <a:pt x="3902024" y="5033665"/>
                </a:lnTo>
                <a:lnTo>
                  <a:pt x="3960809" y="5111461"/>
                </a:lnTo>
                <a:cubicBezTo>
                  <a:pt x="3979169" y="5135155"/>
                  <a:pt x="3996764" y="5157319"/>
                  <a:pt x="4015125" y="5180248"/>
                </a:cubicBezTo>
                <a:cubicBezTo>
                  <a:pt x="4012065" y="5183305"/>
                  <a:pt x="4012065" y="5183305"/>
                  <a:pt x="4009005" y="5186362"/>
                </a:cubicBezTo>
                <a:lnTo>
                  <a:pt x="4008889" y="5186284"/>
                </a:lnTo>
                <a:lnTo>
                  <a:pt x="4008811" y="5186362"/>
                </a:lnTo>
                <a:cubicBezTo>
                  <a:pt x="3978213" y="5164952"/>
                  <a:pt x="3947616" y="5146601"/>
                  <a:pt x="3917019" y="5122133"/>
                </a:cubicBezTo>
                <a:cubicBezTo>
                  <a:pt x="3883363" y="5094606"/>
                  <a:pt x="3846646" y="5067079"/>
                  <a:pt x="3816049" y="5039552"/>
                </a:cubicBezTo>
                <a:cubicBezTo>
                  <a:pt x="3797691" y="5021201"/>
                  <a:pt x="3785452" y="4999791"/>
                  <a:pt x="3770153" y="4984498"/>
                </a:cubicBezTo>
                <a:cubicBezTo>
                  <a:pt x="3760974" y="4975323"/>
                  <a:pt x="3755619" y="4964618"/>
                  <a:pt x="3748353" y="4955442"/>
                </a:cubicBezTo>
                <a:lnTo>
                  <a:pt x="3735386" y="4943287"/>
                </a:lnTo>
                <a:lnTo>
                  <a:pt x="3715237" y="4935673"/>
                </a:lnTo>
                <a:cubicBezTo>
                  <a:pt x="3707587" y="4933380"/>
                  <a:pt x="3700319" y="4929750"/>
                  <a:pt x="3693339" y="4925212"/>
                </a:cubicBezTo>
                <a:lnTo>
                  <a:pt x="3693204" y="4925106"/>
                </a:lnTo>
                <a:lnTo>
                  <a:pt x="3693183" y="4925096"/>
                </a:lnTo>
                <a:lnTo>
                  <a:pt x="3678186" y="4913266"/>
                </a:lnTo>
                <a:lnTo>
                  <a:pt x="3673161" y="4909305"/>
                </a:lnTo>
                <a:lnTo>
                  <a:pt x="3673151" y="4909295"/>
                </a:lnTo>
                <a:lnTo>
                  <a:pt x="3673008" y="4909182"/>
                </a:lnTo>
                <a:cubicBezTo>
                  <a:pt x="3660004" y="4897330"/>
                  <a:pt x="3647765" y="4883566"/>
                  <a:pt x="3635526" y="4871332"/>
                </a:cubicBezTo>
                <a:lnTo>
                  <a:pt x="3614279" y="4849486"/>
                </a:lnTo>
                <a:lnTo>
                  <a:pt x="3582124" y="4816444"/>
                </a:lnTo>
                <a:cubicBezTo>
                  <a:pt x="3564528" y="4797336"/>
                  <a:pt x="3546932" y="4778229"/>
                  <a:pt x="3528572" y="4761414"/>
                </a:cubicBezTo>
                <a:cubicBezTo>
                  <a:pt x="3473491" y="4706385"/>
                  <a:pt x="3412289" y="4657470"/>
                  <a:pt x="3348028" y="4596327"/>
                </a:cubicBezTo>
                <a:cubicBezTo>
                  <a:pt x="3348028" y="4620784"/>
                  <a:pt x="3348028" y="4629956"/>
                  <a:pt x="3351088" y="4639127"/>
                </a:cubicBezTo>
                <a:cubicBezTo>
                  <a:pt x="3305186" y="4633013"/>
                  <a:pt x="3262345" y="4623841"/>
                  <a:pt x="3219504" y="4617727"/>
                </a:cubicBezTo>
                <a:lnTo>
                  <a:pt x="3210392" y="4632899"/>
                </a:lnTo>
                <a:lnTo>
                  <a:pt x="3338735" y="4736756"/>
                </a:lnTo>
                <a:lnTo>
                  <a:pt x="3338664" y="4736809"/>
                </a:lnTo>
                <a:lnTo>
                  <a:pt x="3338847" y="4736957"/>
                </a:lnTo>
                <a:cubicBezTo>
                  <a:pt x="3329667" y="4743071"/>
                  <a:pt x="3320487" y="4752243"/>
                  <a:pt x="3311307" y="4755300"/>
                </a:cubicBezTo>
                <a:cubicBezTo>
                  <a:pt x="3262345" y="4718614"/>
                  <a:pt x="3210324" y="4678870"/>
                  <a:pt x="3158303" y="4642184"/>
                </a:cubicBezTo>
                <a:cubicBezTo>
                  <a:pt x="3155243" y="4639127"/>
                  <a:pt x="3149122" y="4633013"/>
                  <a:pt x="3146062" y="4633013"/>
                </a:cubicBezTo>
                <a:cubicBezTo>
                  <a:pt x="3121582" y="4663585"/>
                  <a:pt x="3112401" y="4623841"/>
                  <a:pt x="3094041" y="4620784"/>
                </a:cubicBezTo>
                <a:cubicBezTo>
                  <a:pt x="3094041" y="4633013"/>
                  <a:pt x="3094041" y="4645241"/>
                  <a:pt x="3097101" y="4669699"/>
                </a:cubicBezTo>
                <a:cubicBezTo>
                  <a:pt x="3045080" y="4636070"/>
                  <a:pt x="2999178" y="4605498"/>
                  <a:pt x="2953277" y="4574926"/>
                </a:cubicBezTo>
                <a:lnTo>
                  <a:pt x="2944171" y="4580992"/>
                </a:lnTo>
                <a:lnTo>
                  <a:pt x="3014406" y="4693937"/>
                </a:lnTo>
                <a:lnTo>
                  <a:pt x="3014351" y="4693951"/>
                </a:lnTo>
                <a:lnTo>
                  <a:pt x="3014479" y="4694156"/>
                </a:lnTo>
                <a:cubicBezTo>
                  <a:pt x="2996118" y="4697213"/>
                  <a:pt x="2971638" y="4709442"/>
                  <a:pt x="2950217" y="4703328"/>
                </a:cubicBezTo>
                <a:cubicBezTo>
                  <a:pt x="2922676" y="4700271"/>
                  <a:pt x="2895136" y="4684985"/>
                  <a:pt x="2867595" y="4669699"/>
                </a:cubicBezTo>
                <a:cubicBezTo>
                  <a:pt x="2843114" y="4654413"/>
                  <a:pt x="2818634" y="4636070"/>
                  <a:pt x="2794153" y="4617727"/>
                </a:cubicBezTo>
                <a:cubicBezTo>
                  <a:pt x="2788033" y="4611612"/>
                  <a:pt x="2781913" y="4602441"/>
                  <a:pt x="2772732" y="4596327"/>
                </a:cubicBezTo>
                <a:cubicBezTo>
                  <a:pt x="2754372" y="4581041"/>
                  <a:pt x="2745192" y="4550469"/>
                  <a:pt x="2705411" y="4562698"/>
                </a:cubicBezTo>
                <a:cubicBezTo>
                  <a:pt x="2687050" y="4568812"/>
                  <a:pt x="2659509" y="4544355"/>
                  <a:pt x="2638089" y="4541297"/>
                </a:cubicBezTo>
                <a:cubicBezTo>
                  <a:pt x="2592188" y="4535183"/>
                  <a:pt x="2564647" y="4492382"/>
                  <a:pt x="2509565" y="4492382"/>
                </a:cubicBezTo>
                <a:cubicBezTo>
                  <a:pt x="2478965" y="4492382"/>
                  <a:pt x="2448364" y="4446525"/>
                  <a:pt x="2417763" y="4422067"/>
                </a:cubicBezTo>
                <a:lnTo>
                  <a:pt x="2417863" y="4421819"/>
                </a:lnTo>
                <a:lnTo>
                  <a:pt x="2417763" y="4421726"/>
                </a:lnTo>
                <a:cubicBezTo>
                  <a:pt x="2417763" y="4415609"/>
                  <a:pt x="2420823" y="4412551"/>
                  <a:pt x="2423882" y="4406433"/>
                </a:cubicBezTo>
                <a:cubicBezTo>
                  <a:pt x="2439181" y="4406433"/>
                  <a:pt x="2454479" y="4406433"/>
                  <a:pt x="2466718" y="4406433"/>
                </a:cubicBezTo>
                <a:cubicBezTo>
                  <a:pt x="2662540" y="4403375"/>
                  <a:pt x="2855301" y="4406433"/>
                  <a:pt x="3048063" y="4403375"/>
                </a:cubicBezTo>
                <a:cubicBezTo>
                  <a:pt x="3090899" y="4403375"/>
                  <a:pt x="3121496" y="4421726"/>
                  <a:pt x="3152093" y="4452312"/>
                </a:cubicBezTo>
                <a:cubicBezTo>
                  <a:pt x="3191869" y="4492073"/>
                  <a:pt x="3234705" y="4528775"/>
                  <a:pt x="3277541" y="4565478"/>
                </a:cubicBezTo>
                <a:cubicBezTo>
                  <a:pt x="3289779" y="4574653"/>
                  <a:pt x="3308138" y="4574653"/>
                  <a:pt x="3323436" y="4577712"/>
                </a:cubicBezTo>
                <a:cubicBezTo>
                  <a:pt x="3323436" y="4559361"/>
                  <a:pt x="3320377" y="4541009"/>
                  <a:pt x="3320377" y="4519600"/>
                </a:cubicBezTo>
                <a:cubicBezTo>
                  <a:pt x="3372391" y="4559361"/>
                  <a:pt x="3427466" y="4605239"/>
                  <a:pt x="3482541" y="4645000"/>
                </a:cubicBezTo>
                <a:cubicBezTo>
                  <a:pt x="3484071" y="4643471"/>
                  <a:pt x="3485601" y="4640412"/>
                  <a:pt x="3487130" y="4636589"/>
                </a:cubicBezTo>
                <a:lnTo>
                  <a:pt x="3491689" y="4623679"/>
                </a:lnTo>
                <a:lnTo>
                  <a:pt x="3456421" y="4588492"/>
                </a:lnTo>
                <a:lnTo>
                  <a:pt x="3452967" y="4585833"/>
                </a:lnTo>
                <a:lnTo>
                  <a:pt x="3424596" y="4564650"/>
                </a:lnTo>
                <a:lnTo>
                  <a:pt x="3422628" y="4562480"/>
                </a:lnTo>
                <a:lnTo>
                  <a:pt x="3414967" y="4556583"/>
                </a:lnTo>
                <a:cubicBezTo>
                  <a:pt x="3408751" y="4550851"/>
                  <a:pt x="3403181" y="4544737"/>
                  <a:pt x="3398704" y="4537977"/>
                </a:cubicBezTo>
                <a:lnTo>
                  <a:pt x="3397152" y="4534380"/>
                </a:lnTo>
                <a:lnTo>
                  <a:pt x="3395439" y="4532491"/>
                </a:lnTo>
                <a:lnTo>
                  <a:pt x="3391552" y="4521405"/>
                </a:lnTo>
                <a:lnTo>
                  <a:pt x="3389004" y="4515502"/>
                </a:lnTo>
                <a:lnTo>
                  <a:pt x="3388981" y="4514075"/>
                </a:lnTo>
                <a:lnTo>
                  <a:pt x="3388268" y="4512042"/>
                </a:lnTo>
                <a:cubicBezTo>
                  <a:pt x="3387001" y="4504563"/>
                  <a:pt x="3386957" y="4496365"/>
                  <a:pt x="3388437" y="4487270"/>
                </a:cubicBezTo>
                <a:lnTo>
                  <a:pt x="3399814" y="4452662"/>
                </a:lnTo>
                <a:lnTo>
                  <a:pt x="3381688" y="4449582"/>
                </a:lnTo>
                <a:cubicBezTo>
                  <a:pt x="3375568" y="4449582"/>
                  <a:pt x="3372508" y="4443468"/>
                  <a:pt x="3372508" y="4440410"/>
                </a:cubicBezTo>
                <a:lnTo>
                  <a:pt x="3372502" y="4440355"/>
                </a:lnTo>
                <a:lnTo>
                  <a:pt x="3372391" y="4440077"/>
                </a:lnTo>
                <a:cubicBezTo>
                  <a:pt x="3369332" y="4437019"/>
                  <a:pt x="3372391" y="4427843"/>
                  <a:pt x="3375451" y="4427843"/>
                </a:cubicBezTo>
                <a:cubicBezTo>
                  <a:pt x="3390750" y="4418668"/>
                  <a:pt x="3409108" y="4406433"/>
                  <a:pt x="3427466" y="4406433"/>
                </a:cubicBezTo>
                <a:cubicBezTo>
                  <a:pt x="3503959" y="4403375"/>
                  <a:pt x="3583511" y="4406433"/>
                  <a:pt x="3663064" y="4406433"/>
                </a:cubicBezTo>
                <a:cubicBezTo>
                  <a:pt x="3666123" y="4406433"/>
                  <a:pt x="3672243" y="4418668"/>
                  <a:pt x="3678362" y="4421726"/>
                </a:cubicBezTo>
                <a:cubicBezTo>
                  <a:pt x="3687541" y="4430902"/>
                  <a:pt x="3696720" y="4443136"/>
                  <a:pt x="3705899" y="4452312"/>
                </a:cubicBezTo>
                <a:cubicBezTo>
                  <a:pt x="3724258" y="4461487"/>
                  <a:pt x="3742616" y="4473721"/>
                  <a:pt x="3760974" y="4485956"/>
                </a:cubicBezTo>
                <a:cubicBezTo>
                  <a:pt x="3764034" y="4479838"/>
                  <a:pt x="3770153" y="4470663"/>
                  <a:pt x="3776273" y="4461487"/>
                </a:cubicBezTo>
                <a:lnTo>
                  <a:pt x="3806853" y="4482886"/>
                </a:lnTo>
                <a:lnTo>
                  <a:pt x="3810619" y="4474652"/>
                </a:lnTo>
                <a:lnTo>
                  <a:pt x="3821948" y="4449737"/>
                </a:lnTo>
                <a:lnTo>
                  <a:pt x="3821462" y="4449233"/>
                </a:lnTo>
                <a:cubicBezTo>
                  <a:pt x="3812275" y="4437003"/>
                  <a:pt x="3803087" y="4421716"/>
                  <a:pt x="3787775" y="4406429"/>
                </a:cubicBezTo>
                <a:cubicBezTo>
                  <a:pt x="3913336" y="4406429"/>
                  <a:pt x="4029709" y="4403371"/>
                  <a:pt x="4149145" y="4406429"/>
                </a:cubicBezTo>
                <a:lnTo>
                  <a:pt x="4149153" y="4406431"/>
                </a:lnTo>
                <a:lnTo>
                  <a:pt x="4149557" y="4406433"/>
                </a:lnTo>
                <a:cubicBezTo>
                  <a:pt x="4167915" y="4406433"/>
                  <a:pt x="4189333" y="4427843"/>
                  <a:pt x="4207691" y="4440077"/>
                </a:cubicBezTo>
                <a:lnTo>
                  <a:pt x="4247340" y="4473613"/>
                </a:lnTo>
                <a:lnTo>
                  <a:pt x="4262456" y="4467577"/>
                </a:lnTo>
                <a:cubicBezTo>
                  <a:pt x="4256331" y="4455347"/>
                  <a:pt x="4256331" y="4440060"/>
                  <a:pt x="4247143" y="4427831"/>
                </a:cubicBezTo>
                <a:cubicBezTo>
                  <a:pt x="4241018" y="4415601"/>
                  <a:pt x="4225706" y="4409486"/>
                  <a:pt x="4222644" y="4394199"/>
                </a:cubicBezTo>
                <a:close/>
                <a:moveTo>
                  <a:pt x="4245096" y="4356338"/>
                </a:moveTo>
                <a:lnTo>
                  <a:pt x="4245098" y="4356339"/>
                </a:lnTo>
                <a:lnTo>
                  <a:pt x="4269074" y="4364405"/>
                </a:lnTo>
                <a:lnTo>
                  <a:pt x="4278910" y="4370840"/>
                </a:lnTo>
                <a:lnTo>
                  <a:pt x="4288962" y="4375151"/>
                </a:lnTo>
                <a:lnTo>
                  <a:pt x="4309909" y="4391121"/>
                </a:lnTo>
                <a:lnTo>
                  <a:pt x="4323131" y="4399771"/>
                </a:lnTo>
                <a:lnTo>
                  <a:pt x="4328767" y="4405498"/>
                </a:lnTo>
                <a:lnTo>
                  <a:pt x="4336399" y="4411316"/>
                </a:lnTo>
                <a:lnTo>
                  <a:pt x="4358819" y="4436034"/>
                </a:lnTo>
                <a:lnTo>
                  <a:pt x="4371447" y="4448865"/>
                </a:lnTo>
                <a:lnTo>
                  <a:pt x="4374181" y="4452970"/>
                </a:lnTo>
                <a:lnTo>
                  <a:pt x="4376254" y="4455255"/>
                </a:lnTo>
                <a:lnTo>
                  <a:pt x="4377929" y="4458597"/>
                </a:lnTo>
                <a:lnTo>
                  <a:pt x="4388250" y="4474091"/>
                </a:lnTo>
                <a:cubicBezTo>
                  <a:pt x="4392687" y="4482278"/>
                  <a:pt x="4395844" y="4490142"/>
                  <a:pt x="4397375" y="4497387"/>
                </a:cubicBezTo>
                <a:cubicBezTo>
                  <a:pt x="4342266" y="4451630"/>
                  <a:pt x="4284096" y="4405873"/>
                  <a:pt x="4225925" y="4357065"/>
                </a:cubicBezTo>
                <a:cubicBezTo>
                  <a:pt x="4231283" y="4355158"/>
                  <a:pt x="4237789" y="4355015"/>
                  <a:pt x="4245096" y="4356338"/>
                </a:cubicBezTo>
                <a:close/>
                <a:moveTo>
                  <a:pt x="5036785" y="4024312"/>
                </a:moveTo>
                <a:cubicBezTo>
                  <a:pt x="5064302" y="4058111"/>
                  <a:pt x="5088761" y="4091909"/>
                  <a:pt x="5110163" y="4119562"/>
                </a:cubicBezTo>
                <a:cubicBezTo>
                  <a:pt x="5104048" y="4113417"/>
                  <a:pt x="5088761" y="4101127"/>
                  <a:pt x="5073474" y="4091909"/>
                </a:cubicBezTo>
                <a:cubicBezTo>
                  <a:pt x="5070417" y="4098054"/>
                  <a:pt x="5067359" y="4104199"/>
                  <a:pt x="5064302" y="4113417"/>
                </a:cubicBezTo>
                <a:cubicBezTo>
                  <a:pt x="5052072" y="4085764"/>
                  <a:pt x="5039843" y="4058111"/>
                  <a:pt x="5027613" y="4033530"/>
                </a:cubicBezTo>
                <a:cubicBezTo>
                  <a:pt x="5030670" y="4030457"/>
                  <a:pt x="5033728" y="4027385"/>
                  <a:pt x="5036785" y="4024312"/>
                </a:cubicBezTo>
                <a:close/>
                <a:moveTo>
                  <a:pt x="3053420" y="3960812"/>
                </a:moveTo>
                <a:lnTo>
                  <a:pt x="3053423" y="3960820"/>
                </a:lnTo>
                <a:lnTo>
                  <a:pt x="3053504" y="3960812"/>
                </a:lnTo>
                <a:lnTo>
                  <a:pt x="3060194" y="3977377"/>
                </a:lnTo>
                <a:lnTo>
                  <a:pt x="3071813" y="4005791"/>
                </a:lnTo>
                <a:lnTo>
                  <a:pt x="3071684" y="4005829"/>
                </a:lnTo>
                <a:lnTo>
                  <a:pt x="3071919" y="4006411"/>
                </a:lnTo>
                <a:cubicBezTo>
                  <a:pt x="3062711" y="4009451"/>
                  <a:pt x="3050435" y="4012490"/>
                  <a:pt x="3041227" y="4015530"/>
                </a:cubicBezTo>
                <a:cubicBezTo>
                  <a:pt x="3050435" y="4021610"/>
                  <a:pt x="3062711" y="4027690"/>
                  <a:pt x="3068850" y="4030730"/>
                </a:cubicBezTo>
                <a:lnTo>
                  <a:pt x="3068869" y="4031052"/>
                </a:lnTo>
                <a:lnTo>
                  <a:pt x="3068882" y="4031059"/>
                </a:lnTo>
                <a:cubicBezTo>
                  <a:pt x="3068882" y="4052242"/>
                  <a:pt x="3071935" y="4073425"/>
                  <a:pt x="3074988" y="4103687"/>
                </a:cubicBezTo>
                <a:cubicBezTo>
                  <a:pt x="3047365" y="4088488"/>
                  <a:pt x="3025881" y="4073288"/>
                  <a:pt x="2995190" y="4052009"/>
                </a:cubicBezTo>
                <a:cubicBezTo>
                  <a:pt x="3001328" y="4036810"/>
                  <a:pt x="3010535" y="4021610"/>
                  <a:pt x="3016674" y="4006411"/>
                </a:cubicBezTo>
                <a:cubicBezTo>
                  <a:pt x="3004397" y="3994251"/>
                  <a:pt x="2995190" y="3982092"/>
                  <a:pt x="2982913" y="3966892"/>
                </a:cubicBezTo>
                <a:lnTo>
                  <a:pt x="2982980" y="3966887"/>
                </a:lnTo>
                <a:lnTo>
                  <a:pt x="2982913" y="3966809"/>
                </a:lnTo>
                <a:cubicBezTo>
                  <a:pt x="3010503" y="3963811"/>
                  <a:pt x="3031961" y="3963811"/>
                  <a:pt x="3053420" y="3960812"/>
                </a:cubicBezTo>
                <a:close/>
                <a:moveTo>
                  <a:pt x="3074988" y="3905249"/>
                </a:moveTo>
                <a:cubicBezTo>
                  <a:pt x="3102578" y="3929855"/>
                  <a:pt x="3133233" y="3954462"/>
                  <a:pt x="3163888" y="3979068"/>
                </a:cubicBezTo>
                <a:cubicBezTo>
                  <a:pt x="3163888" y="3982144"/>
                  <a:pt x="3163888" y="3985220"/>
                  <a:pt x="3163888" y="3988295"/>
                </a:cubicBezTo>
                <a:cubicBezTo>
                  <a:pt x="3148560" y="3985220"/>
                  <a:pt x="3133233" y="3985220"/>
                  <a:pt x="3114840" y="3982144"/>
                </a:cubicBezTo>
                <a:cubicBezTo>
                  <a:pt x="3114840" y="3988295"/>
                  <a:pt x="3114840" y="3994447"/>
                  <a:pt x="3111774" y="4003674"/>
                </a:cubicBezTo>
                <a:cubicBezTo>
                  <a:pt x="3099512" y="3969841"/>
                  <a:pt x="3087250" y="3939083"/>
                  <a:pt x="3074988" y="3905249"/>
                </a:cubicBezTo>
                <a:close/>
                <a:moveTo>
                  <a:pt x="5530374" y="3709987"/>
                </a:moveTo>
                <a:cubicBezTo>
                  <a:pt x="5567045" y="3755628"/>
                  <a:pt x="5603717" y="3801268"/>
                  <a:pt x="5640388" y="3846909"/>
                </a:cubicBezTo>
                <a:cubicBezTo>
                  <a:pt x="5634276" y="3849952"/>
                  <a:pt x="5631220" y="3852995"/>
                  <a:pt x="5628164" y="3856037"/>
                </a:cubicBezTo>
                <a:cubicBezTo>
                  <a:pt x="5582325" y="3816482"/>
                  <a:pt x="5527318" y="3789098"/>
                  <a:pt x="5518150" y="3719115"/>
                </a:cubicBezTo>
                <a:cubicBezTo>
                  <a:pt x="5524262" y="3716073"/>
                  <a:pt x="5527318" y="3713030"/>
                  <a:pt x="5530374" y="3709987"/>
                </a:cubicBezTo>
                <a:close/>
                <a:moveTo>
                  <a:pt x="486644" y="3245257"/>
                </a:moveTo>
                <a:cubicBezTo>
                  <a:pt x="505008" y="3245257"/>
                  <a:pt x="523372" y="3245257"/>
                  <a:pt x="541735" y="3245257"/>
                </a:cubicBezTo>
                <a:lnTo>
                  <a:pt x="486644" y="3247597"/>
                </a:lnTo>
                <a:close/>
                <a:moveTo>
                  <a:pt x="5293890" y="1824037"/>
                </a:moveTo>
                <a:cubicBezTo>
                  <a:pt x="5352204" y="1863905"/>
                  <a:pt x="5407449" y="1903773"/>
                  <a:pt x="5465763" y="1946708"/>
                </a:cubicBezTo>
                <a:cubicBezTo>
                  <a:pt x="5462694" y="1949775"/>
                  <a:pt x="5459625" y="1955908"/>
                  <a:pt x="5453486" y="1958975"/>
                </a:cubicBezTo>
                <a:cubicBezTo>
                  <a:pt x="5398241" y="1919107"/>
                  <a:pt x="5339927" y="1876172"/>
                  <a:pt x="5281613" y="1836304"/>
                </a:cubicBezTo>
                <a:cubicBezTo>
                  <a:pt x="5287751" y="1833237"/>
                  <a:pt x="5290821" y="1827104"/>
                  <a:pt x="5293890" y="1824037"/>
                </a:cubicBezTo>
                <a:close/>
                <a:moveTo>
                  <a:pt x="744578" y="1637690"/>
                </a:moveTo>
                <a:cubicBezTo>
                  <a:pt x="770116" y="1638838"/>
                  <a:pt x="795655" y="1644196"/>
                  <a:pt x="804942" y="1653380"/>
                </a:cubicBezTo>
                <a:cubicBezTo>
                  <a:pt x="808038" y="1656442"/>
                  <a:pt x="808038" y="1662565"/>
                  <a:pt x="808038" y="1665627"/>
                </a:cubicBezTo>
                <a:cubicBezTo>
                  <a:pt x="804942" y="1668689"/>
                  <a:pt x="798751" y="1668689"/>
                  <a:pt x="795655" y="1668689"/>
                </a:cubicBezTo>
                <a:cubicBezTo>
                  <a:pt x="780177" y="1671750"/>
                  <a:pt x="767795" y="1674812"/>
                  <a:pt x="749221" y="1674812"/>
                </a:cubicBezTo>
                <a:cubicBezTo>
                  <a:pt x="727552" y="1665627"/>
                  <a:pt x="702787" y="1656442"/>
                  <a:pt x="684213" y="1647257"/>
                </a:cubicBezTo>
                <a:cubicBezTo>
                  <a:pt x="693500" y="1639603"/>
                  <a:pt x="719039" y="1636541"/>
                  <a:pt x="744578" y="1637690"/>
                </a:cubicBezTo>
                <a:close/>
                <a:moveTo>
                  <a:pt x="999938" y="1631949"/>
                </a:moveTo>
                <a:cubicBezTo>
                  <a:pt x="1046162" y="1638064"/>
                  <a:pt x="1098550" y="1638064"/>
                  <a:pt x="1095468" y="1714499"/>
                </a:cubicBezTo>
                <a:cubicBezTo>
                  <a:pt x="1058489" y="1690040"/>
                  <a:pt x="1024591" y="1665580"/>
                  <a:pt x="993775" y="1644179"/>
                </a:cubicBezTo>
                <a:cubicBezTo>
                  <a:pt x="996856" y="1641121"/>
                  <a:pt x="999938" y="1638064"/>
                  <a:pt x="999938" y="1631949"/>
                </a:cubicBezTo>
                <a:close/>
                <a:moveTo>
                  <a:pt x="1133836" y="1608204"/>
                </a:moveTo>
                <a:cubicBezTo>
                  <a:pt x="1140358" y="1608349"/>
                  <a:pt x="1146524" y="1609038"/>
                  <a:pt x="1152068" y="1610677"/>
                </a:cubicBezTo>
                <a:lnTo>
                  <a:pt x="1154643" y="1612129"/>
                </a:lnTo>
                <a:lnTo>
                  <a:pt x="1157396" y="1612648"/>
                </a:lnTo>
                <a:lnTo>
                  <a:pt x="1159746" y="1615007"/>
                </a:lnTo>
                <a:lnTo>
                  <a:pt x="1166571" y="1618856"/>
                </a:lnTo>
                <a:lnTo>
                  <a:pt x="1170433" y="1625731"/>
                </a:lnTo>
                <a:lnTo>
                  <a:pt x="1173377" y="1628685"/>
                </a:lnTo>
                <a:lnTo>
                  <a:pt x="1173796" y="1631716"/>
                </a:lnTo>
                <a:lnTo>
                  <a:pt x="1175745" y="1635185"/>
                </a:lnTo>
                <a:cubicBezTo>
                  <a:pt x="1177737" y="1642259"/>
                  <a:pt x="1178575" y="1651099"/>
                  <a:pt x="1177992" y="1662112"/>
                </a:cubicBezTo>
                <a:cubicBezTo>
                  <a:pt x="1153121" y="1643563"/>
                  <a:pt x="1131359" y="1628106"/>
                  <a:pt x="1106488" y="1609557"/>
                </a:cubicBezTo>
                <a:cubicBezTo>
                  <a:pt x="1115814" y="1608784"/>
                  <a:pt x="1125141" y="1608011"/>
                  <a:pt x="1133836" y="1608204"/>
                </a:cubicBezTo>
                <a:close/>
                <a:moveTo>
                  <a:pt x="712280" y="1533524"/>
                </a:moveTo>
                <a:cubicBezTo>
                  <a:pt x="758000" y="1564340"/>
                  <a:pt x="806768" y="1592075"/>
                  <a:pt x="852488" y="1622891"/>
                </a:cubicBezTo>
                <a:cubicBezTo>
                  <a:pt x="849440" y="1625972"/>
                  <a:pt x="846392" y="1632136"/>
                  <a:pt x="843344" y="1638299"/>
                </a:cubicBezTo>
                <a:cubicBezTo>
                  <a:pt x="797624" y="1607483"/>
                  <a:pt x="748856" y="1579748"/>
                  <a:pt x="700088" y="1552014"/>
                </a:cubicBezTo>
                <a:cubicBezTo>
                  <a:pt x="706184" y="1545850"/>
                  <a:pt x="709232" y="1539687"/>
                  <a:pt x="712280" y="1533524"/>
                </a:cubicBezTo>
                <a:close/>
                <a:moveTo>
                  <a:pt x="1009894" y="1460600"/>
                </a:moveTo>
                <a:lnTo>
                  <a:pt x="1009953" y="1460671"/>
                </a:lnTo>
                <a:lnTo>
                  <a:pt x="1010015" y="1460671"/>
                </a:lnTo>
                <a:close/>
                <a:moveTo>
                  <a:pt x="1413371" y="684153"/>
                </a:moveTo>
                <a:lnTo>
                  <a:pt x="1413792" y="684470"/>
                </a:lnTo>
                <a:lnTo>
                  <a:pt x="1414022" y="684500"/>
                </a:lnTo>
                <a:close/>
                <a:moveTo>
                  <a:pt x="1716088" y="231774"/>
                </a:moveTo>
                <a:cubicBezTo>
                  <a:pt x="1729892" y="237894"/>
                  <a:pt x="1740628" y="243249"/>
                  <a:pt x="1751365" y="248987"/>
                </a:cubicBezTo>
                <a:lnTo>
                  <a:pt x="1786642" y="268493"/>
                </a:lnTo>
                <a:lnTo>
                  <a:pt x="1776672" y="251283"/>
                </a:lnTo>
                <a:cubicBezTo>
                  <a:pt x="1774372" y="247075"/>
                  <a:pt x="1772838" y="244015"/>
                  <a:pt x="1771304" y="240955"/>
                </a:cubicBezTo>
                <a:lnTo>
                  <a:pt x="1771305" y="240955"/>
                </a:lnTo>
                <a:lnTo>
                  <a:pt x="1771304" y="240954"/>
                </a:lnTo>
                <a:cubicBezTo>
                  <a:pt x="1789710" y="244014"/>
                  <a:pt x="1808115" y="247074"/>
                  <a:pt x="1827288" y="250517"/>
                </a:cubicBezTo>
                <a:lnTo>
                  <a:pt x="1887872" y="262374"/>
                </a:lnTo>
                <a:lnTo>
                  <a:pt x="1884805" y="231775"/>
                </a:lnTo>
                <a:lnTo>
                  <a:pt x="1884805" y="231774"/>
                </a:lnTo>
                <a:cubicBezTo>
                  <a:pt x="1915480" y="262374"/>
                  <a:pt x="1927751" y="302153"/>
                  <a:pt x="1976832" y="308273"/>
                </a:cubicBezTo>
                <a:cubicBezTo>
                  <a:pt x="2001373" y="311333"/>
                  <a:pt x="2022846" y="341933"/>
                  <a:pt x="2047386" y="360293"/>
                </a:cubicBezTo>
                <a:cubicBezTo>
                  <a:pt x="2071927" y="384773"/>
                  <a:pt x="2096468" y="406193"/>
                  <a:pt x="2124076" y="433732"/>
                </a:cubicBezTo>
                <a:lnTo>
                  <a:pt x="2124075" y="433732"/>
                </a:lnTo>
                <a:lnTo>
                  <a:pt x="2124076" y="433733"/>
                </a:lnTo>
                <a:cubicBezTo>
                  <a:pt x="2022846" y="430674"/>
                  <a:pt x="1918548" y="442913"/>
                  <a:pt x="1820385" y="415373"/>
                </a:cubicBezTo>
                <a:lnTo>
                  <a:pt x="1820385" y="415372"/>
                </a:lnTo>
                <a:lnTo>
                  <a:pt x="1820385" y="400074"/>
                </a:lnTo>
                <a:lnTo>
                  <a:pt x="1820385" y="400072"/>
                </a:lnTo>
                <a:lnTo>
                  <a:pt x="1884803" y="415372"/>
                </a:lnTo>
                <a:lnTo>
                  <a:pt x="1798146" y="330459"/>
                </a:lnTo>
                <a:cubicBezTo>
                  <a:pt x="1771304" y="299094"/>
                  <a:pt x="1745230" y="265435"/>
                  <a:pt x="1716088" y="231775"/>
                </a:cubicBezTo>
                <a:lnTo>
                  <a:pt x="1716089" y="231776"/>
                </a:lnTo>
                <a:close/>
                <a:moveTo>
                  <a:pt x="1906588" y="204787"/>
                </a:moveTo>
                <a:cubicBezTo>
                  <a:pt x="2025359" y="262905"/>
                  <a:pt x="2025359" y="262905"/>
                  <a:pt x="2055813" y="330200"/>
                </a:cubicBezTo>
                <a:lnTo>
                  <a:pt x="2055812" y="330200"/>
                </a:lnTo>
                <a:lnTo>
                  <a:pt x="2055813" y="330201"/>
                </a:lnTo>
                <a:cubicBezTo>
                  <a:pt x="2019268" y="327142"/>
                  <a:pt x="1988814" y="305730"/>
                  <a:pt x="1906588" y="204788"/>
                </a:cubicBezTo>
                <a:lnTo>
                  <a:pt x="1906589" y="204789"/>
                </a:lnTo>
                <a:close/>
                <a:moveTo>
                  <a:pt x="2196963" y="121411"/>
                </a:moveTo>
                <a:cubicBezTo>
                  <a:pt x="2204045" y="122603"/>
                  <a:pt x="2209978" y="125750"/>
                  <a:pt x="2215337" y="129756"/>
                </a:cubicBezTo>
                <a:lnTo>
                  <a:pt x="2221739" y="135543"/>
                </a:lnTo>
                <a:lnTo>
                  <a:pt x="2223016" y="136272"/>
                </a:lnTo>
                <a:lnTo>
                  <a:pt x="2245169" y="155295"/>
                </a:lnTo>
                <a:lnTo>
                  <a:pt x="2245193" y="155315"/>
                </a:lnTo>
                <a:cubicBezTo>
                  <a:pt x="2269691" y="167522"/>
                  <a:pt x="2297251" y="176677"/>
                  <a:pt x="2321749" y="188885"/>
                </a:cubicBezTo>
                <a:cubicBezTo>
                  <a:pt x="2346247" y="201092"/>
                  <a:pt x="2367683" y="213299"/>
                  <a:pt x="2389118" y="228559"/>
                </a:cubicBezTo>
                <a:cubicBezTo>
                  <a:pt x="2410554" y="243818"/>
                  <a:pt x="2425865" y="262129"/>
                  <a:pt x="2441176" y="277388"/>
                </a:cubicBezTo>
                <a:lnTo>
                  <a:pt x="2441176" y="277389"/>
                </a:lnTo>
                <a:cubicBezTo>
                  <a:pt x="2441176" y="283493"/>
                  <a:pt x="2438114" y="286545"/>
                  <a:pt x="2435052" y="289597"/>
                </a:cubicBezTo>
                <a:cubicBezTo>
                  <a:pt x="2422803" y="280441"/>
                  <a:pt x="2410554" y="271285"/>
                  <a:pt x="2401367" y="265182"/>
                </a:cubicBezTo>
                <a:lnTo>
                  <a:pt x="2392182" y="268234"/>
                </a:lnTo>
                <a:lnTo>
                  <a:pt x="2401750" y="284636"/>
                </a:lnTo>
                <a:cubicBezTo>
                  <a:pt x="2405195" y="290359"/>
                  <a:pt x="2409023" y="295699"/>
                  <a:pt x="2413616" y="298751"/>
                </a:cubicBezTo>
                <a:cubicBezTo>
                  <a:pt x="2453425" y="326218"/>
                  <a:pt x="2493234" y="356736"/>
                  <a:pt x="2536105" y="384202"/>
                </a:cubicBezTo>
                <a:cubicBezTo>
                  <a:pt x="2542230" y="387254"/>
                  <a:pt x="2549885" y="388017"/>
                  <a:pt x="2557924" y="388017"/>
                </a:cubicBezTo>
                <a:lnTo>
                  <a:pt x="2581611" y="387268"/>
                </a:lnTo>
                <a:lnTo>
                  <a:pt x="2547386" y="366235"/>
                </a:lnTo>
                <a:lnTo>
                  <a:pt x="2511607" y="344530"/>
                </a:lnTo>
                <a:lnTo>
                  <a:pt x="2511669" y="344284"/>
                </a:lnTo>
                <a:lnTo>
                  <a:pt x="2511425" y="344134"/>
                </a:lnTo>
                <a:cubicBezTo>
                  <a:pt x="2511425" y="341048"/>
                  <a:pt x="2514482" y="337961"/>
                  <a:pt x="2514482" y="331787"/>
                </a:cubicBezTo>
                <a:cubicBezTo>
                  <a:pt x="2538942" y="337961"/>
                  <a:pt x="2563401" y="344134"/>
                  <a:pt x="2593975" y="350308"/>
                </a:cubicBezTo>
                <a:lnTo>
                  <a:pt x="2593937" y="350557"/>
                </a:lnTo>
                <a:lnTo>
                  <a:pt x="2594288" y="350633"/>
                </a:lnTo>
                <a:cubicBezTo>
                  <a:pt x="2594288" y="353685"/>
                  <a:pt x="2593522" y="359026"/>
                  <a:pt x="2591991" y="365511"/>
                </a:cubicBezTo>
                <a:lnTo>
                  <a:pt x="2585101" y="387255"/>
                </a:lnTo>
                <a:lnTo>
                  <a:pt x="2598402" y="396219"/>
                </a:lnTo>
                <a:cubicBezTo>
                  <a:pt x="2611321" y="407663"/>
                  <a:pt x="2623379" y="420825"/>
                  <a:pt x="2637159" y="384202"/>
                </a:cubicBezTo>
                <a:cubicBezTo>
                  <a:pt x="2643283" y="378099"/>
                  <a:pt x="2676968" y="378099"/>
                  <a:pt x="2695341" y="381151"/>
                </a:cubicBezTo>
                <a:cubicBezTo>
                  <a:pt x="2707590" y="381151"/>
                  <a:pt x="2719839" y="387254"/>
                  <a:pt x="2732088" y="393358"/>
                </a:cubicBezTo>
                <a:lnTo>
                  <a:pt x="2732087" y="393358"/>
                </a:lnTo>
                <a:lnTo>
                  <a:pt x="2732088" y="393359"/>
                </a:lnTo>
                <a:cubicBezTo>
                  <a:pt x="2600412" y="463551"/>
                  <a:pt x="2465674" y="433033"/>
                  <a:pt x="2333998" y="408618"/>
                </a:cubicBezTo>
                <a:lnTo>
                  <a:pt x="2333998" y="408617"/>
                </a:lnTo>
                <a:lnTo>
                  <a:pt x="2333998" y="393359"/>
                </a:lnTo>
                <a:lnTo>
                  <a:pt x="2333998" y="393358"/>
                </a:lnTo>
                <a:lnTo>
                  <a:pt x="2358496" y="387255"/>
                </a:lnTo>
                <a:lnTo>
                  <a:pt x="2343950" y="348726"/>
                </a:lnTo>
                <a:cubicBezTo>
                  <a:pt x="2338592" y="334611"/>
                  <a:pt x="2332467" y="318590"/>
                  <a:pt x="2324811" y="298752"/>
                </a:cubicBezTo>
                <a:lnTo>
                  <a:pt x="2324811" y="328888"/>
                </a:lnTo>
                <a:lnTo>
                  <a:pt x="2324811" y="328889"/>
                </a:lnTo>
                <a:lnTo>
                  <a:pt x="2324811" y="356736"/>
                </a:lnTo>
                <a:lnTo>
                  <a:pt x="2324811" y="356737"/>
                </a:lnTo>
                <a:cubicBezTo>
                  <a:pt x="2300313" y="341478"/>
                  <a:pt x="2285002" y="329270"/>
                  <a:pt x="2266629" y="317063"/>
                </a:cubicBezTo>
                <a:lnTo>
                  <a:pt x="2266629" y="317062"/>
                </a:lnTo>
                <a:cubicBezTo>
                  <a:pt x="2266629" y="310958"/>
                  <a:pt x="2269691" y="307906"/>
                  <a:pt x="2272753" y="304855"/>
                </a:cubicBezTo>
                <a:cubicBezTo>
                  <a:pt x="2277347" y="306381"/>
                  <a:pt x="2281940" y="307143"/>
                  <a:pt x="2288065" y="307906"/>
                </a:cubicBezTo>
                <a:lnTo>
                  <a:pt x="2312562" y="310958"/>
                </a:lnTo>
                <a:lnTo>
                  <a:pt x="2249021" y="252593"/>
                </a:lnTo>
                <a:cubicBezTo>
                  <a:pt x="2229117" y="234664"/>
                  <a:pt x="2209978" y="217879"/>
                  <a:pt x="2190073" y="201093"/>
                </a:cubicBezTo>
                <a:lnTo>
                  <a:pt x="2190074" y="201093"/>
                </a:lnTo>
                <a:lnTo>
                  <a:pt x="2190073" y="201092"/>
                </a:lnTo>
                <a:cubicBezTo>
                  <a:pt x="2193135" y="198040"/>
                  <a:pt x="2196198" y="194988"/>
                  <a:pt x="2199260" y="188885"/>
                </a:cubicBezTo>
                <a:cubicBezTo>
                  <a:pt x="2208447" y="194988"/>
                  <a:pt x="2220695" y="201092"/>
                  <a:pt x="2229882" y="207196"/>
                </a:cubicBezTo>
                <a:lnTo>
                  <a:pt x="2236006" y="201093"/>
                </a:lnTo>
                <a:lnTo>
                  <a:pt x="2205002" y="164090"/>
                </a:lnTo>
                <a:cubicBezTo>
                  <a:pt x="2194667" y="151501"/>
                  <a:pt x="2183949" y="138531"/>
                  <a:pt x="2171700" y="124798"/>
                </a:cubicBezTo>
                <a:lnTo>
                  <a:pt x="2171701" y="124798"/>
                </a:lnTo>
                <a:lnTo>
                  <a:pt x="2171700" y="124796"/>
                </a:lnTo>
                <a:cubicBezTo>
                  <a:pt x="2181652" y="120982"/>
                  <a:pt x="2189882" y="120219"/>
                  <a:pt x="2196963" y="121411"/>
                </a:cubicBezTo>
                <a:close/>
                <a:moveTo>
                  <a:pt x="2603500" y="96837"/>
                </a:moveTo>
                <a:cubicBezTo>
                  <a:pt x="2655527" y="106022"/>
                  <a:pt x="2735099" y="176439"/>
                  <a:pt x="2753461" y="219301"/>
                </a:cubicBezTo>
                <a:cubicBezTo>
                  <a:pt x="2756522" y="228486"/>
                  <a:pt x="2777945" y="237671"/>
                  <a:pt x="2781005" y="234610"/>
                </a:cubicBezTo>
                <a:cubicBezTo>
                  <a:pt x="2805489" y="222363"/>
                  <a:pt x="2820791" y="237671"/>
                  <a:pt x="2839154" y="243794"/>
                </a:cubicBezTo>
                <a:cubicBezTo>
                  <a:pt x="2934027" y="289718"/>
                  <a:pt x="3031961" y="332581"/>
                  <a:pt x="3126835" y="378505"/>
                </a:cubicBezTo>
                <a:cubicBezTo>
                  <a:pt x="3151318" y="390751"/>
                  <a:pt x="3175802" y="406059"/>
                  <a:pt x="3197225" y="430552"/>
                </a:cubicBezTo>
                <a:lnTo>
                  <a:pt x="3197224" y="430552"/>
                </a:lnTo>
                <a:lnTo>
                  <a:pt x="3197225" y="430553"/>
                </a:lnTo>
                <a:cubicBezTo>
                  <a:pt x="3184983" y="430553"/>
                  <a:pt x="3172741" y="433615"/>
                  <a:pt x="3160500" y="433615"/>
                </a:cubicBezTo>
                <a:cubicBezTo>
                  <a:pt x="3120714" y="433615"/>
                  <a:pt x="3077868" y="430553"/>
                  <a:pt x="3038082" y="433615"/>
                </a:cubicBezTo>
                <a:cubicBezTo>
                  <a:pt x="3007478" y="436677"/>
                  <a:pt x="2978403" y="434381"/>
                  <a:pt x="2950095" y="428257"/>
                </a:cubicBezTo>
                <a:lnTo>
                  <a:pt x="2868073" y="400404"/>
                </a:lnTo>
                <a:lnTo>
                  <a:pt x="2868074" y="400403"/>
                </a:lnTo>
                <a:lnTo>
                  <a:pt x="2867519" y="400215"/>
                </a:lnTo>
                <a:lnTo>
                  <a:pt x="2867519" y="400216"/>
                </a:lnTo>
                <a:lnTo>
                  <a:pt x="2868073" y="400404"/>
                </a:lnTo>
                <a:lnTo>
                  <a:pt x="2867692" y="401124"/>
                </a:lnTo>
                <a:lnTo>
                  <a:pt x="2870889" y="417909"/>
                </a:lnTo>
                <a:cubicBezTo>
                  <a:pt x="2870313" y="422495"/>
                  <a:pt x="2868200" y="425744"/>
                  <a:pt x="2865126" y="428037"/>
                </a:cubicBezTo>
                <a:lnTo>
                  <a:pt x="2860966" y="428915"/>
                </a:lnTo>
                <a:lnTo>
                  <a:pt x="2859166" y="431032"/>
                </a:lnTo>
                <a:cubicBezTo>
                  <a:pt x="2853356" y="433185"/>
                  <a:pt x="2846040" y="433615"/>
                  <a:pt x="2839154" y="433615"/>
                </a:cubicBezTo>
                <a:cubicBezTo>
                  <a:pt x="2817731" y="433615"/>
                  <a:pt x="2793247" y="430553"/>
                  <a:pt x="2784066" y="427492"/>
                </a:cubicBezTo>
                <a:cubicBezTo>
                  <a:pt x="2765703" y="399937"/>
                  <a:pt x="2753461" y="381568"/>
                  <a:pt x="2735099" y="350951"/>
                </a:cubicBezTo>
                <a:lnTo>
                  <a:pt x="2735483" y="351189"/>
                </a:lnTo>
                <a:lnTo>
                  <a:pt x="2735263" y="350837"/>
                </a:lnTo>
                <a:cubicBezTo>
                  <a:pt x="2769073" y="372239"/>
                  <a:pt x="2793663" y="387526"/>
                  <a:pt x="2821326" y="399756"/>
                </a:cubicBezTo>
                <a:cubicBezTo>
                  <a:pt x="2827474" y="402813"/>
                  <a:pt x="2835158" y="403578"/>
                  <a:pt x="2843226" y="403195"/>
                </a:cubicBezTo>
                <a:lnTo>
                  <a:pt x="2866748" y="399853"/>
                </a:lnTo>
                <a:lnTo>
                  <a:pt x="2875300" y="385438"/>
                </a:lnTo>
                <a:lnTo>
                  <a:pt x="2872478" y="371702"/>
                </a:lnTo>
                <a:lnTo>
                  <a:pt x="2851407" y="360142"/>
                </a:lnTo>
                <a:lnTo>
                  <a:pt x="2851395" y="360137"/>
                </a:lnTo>
                <a:cubicBezTo>
                  <a:pt x="2790187" y="354013"/>
                  <a:pt x="2793247" y="283596"/>
                  <a:pt x="2744280" y="265227"/>
                </a:cubicBezTo>
                <a:cubicBezTo>
                  <a:pt x="2750401" y="188687"/>
                  <a:pt x="2680011" y="176441"/>
                  <a:pt x="2637165" y="139701"/>
                </a:cubicBezTo>
                <a:cubicBezTo>
                  <a:pt x="2621863" y="127454"/>
                  <a:pt x="2612681" y="112146"/>
                  <a:pt x="2603500" y="96839"/>
                </a:cubicBezTo>
                <a:lnTo>
                  <a:pt x="2603501" y="96839"/>
                </a:lnTo>
                <a:close/>
                <a:moveTo>
                  <a:pt x="3547297" y="0"/>
                </a:moveTo>
                <a:cubicBezTo>
                  <a:pt x="3571783" y="48893"/>
                  <a:pt x="3596268" y="97785"/>
                  <a:pt x="3620753" y="149734"/>
                </a:cubicBezTo>
                <a:cubicBezTo>
                  <a:pt x="3629935" y="140567"/>
                  <a:pt x="3636057" y="134455"/>
                  <a:pt x="3642178" y="125287"/>
                </a:cubicBezTo>
                <a:cubicBezTo>
                  <a:pt x="3645238" y="131399"/>
                  <a:pt x="3648299" y="134455"/>
                  <a:pt x="3651360" y="137511"/>
                </a:cubicBezTo>
                <a:cubicBezTo>
                  <a:pt x="3688087" y="192515"/>
                  <a:pt x="3712573" y="268910"/>
                  <a:pt x="3764604" y="296413"/>
                </a:cubicBezTo>
                <a:cubicBezTo>
                  <a:pt x="3828877" y="333082"/>
                  <a:pt x="3841120" y="394198"/>
                  <a:pt x="3883969" y="440035"/>
                </a:cubicBezTo>
                <a:cubicBezTo>
                  <a:pt x="3890091" y="449202"/>
                  <a:pt x="3880909" y="470593"/>
                  <a:pt x="3887030" y="482816"/>
                </a:cubicBezTo>
                <a:cubicBezTo>
                  <a:pt x="3899273" y="510318"/>
                  <a:pt x="3911515" y="537820"/>
                  <a:pt x="3929879" y="559211"/>
                </a:cubicBezTo>
                <a:cubicBezTo>
                  <a:pt x="3981910" y="620327"/>
                  <a:pt x="4037002" y="681443"/>
                  <a:pt x="4085973" y="742559"/>
                </a:cubicBezTo>
                <a:cubicBezTo>
                  <a:pt x="4113518" y="776172"/>
                  <a:pt x="4134943" y="815898"/>
                  <a:pt x="4190035" y="797563"/>
                </a:cubicBezTo>
                <a:cubicBezTo>
                  <a:pt x="4194626" y="796035"/>
                  <a:pt x="4199982" y="797563"/>
                  <a:pt x="4205338" y="799855"/>
                </a:cubicBezTo>
                <a:lnTo>
                  <a:pt x="4220640" y="806730"/>
                </a:lnTo>
                <a:lnTo>
                  <a:pt x="4167207" y="761286"/>
                </a:lnTo>
                <a:lnTo>
                  <a:pt x="4137025" y="736022"/>
                </a:lnTo>
                <a:cubicBezTo>
                  <a:pt x="4140109" y="732991"/>
                  <a:pt x="4143194" y="729960"/>
                  <a:pt x="4146278" y="723899"/>
                </a:cubicBezTo>
                <a:lnTo>
                  <a:pt x="4146987" y="724487"/>
                </a:lnTo>
                <a:lnTo>
                  <a:pt x="4147185" y="724224"/>
                </a:lnTo>
                <a:lnTo>
                  <a:pt x="4179250" y="751236"/>
                </a:lnTo>
                <a:lnTo>
                  <a:pt x="4244975" y="805728"/>
                </a:lnTo>
                <a:lnTo>
                  <a:pt x="4244578" y="806268"/>
                </a:lnTo>
                <a:lnTo>
                  <a:pt x="4245127" y="806731"/>
                </a:lnTo>
                <a:cubicBezTo>
                  <a:pt x="4245127" y="806731"/>
                  <a:pt x="4235945" y="818954"/>
                  <a:pt x="4232884" y="825066"/>
                </a:cubicBezTo>
                <a:lnTo>
                  <a:pt x="4225280" y="857915"/>
                </a:lnTo>
                <a:lnTo>
                  <a:pt x="4231736" y="881597"/>
                </a:lnTo>
                <a:cubicBezTo>
                  <a:pt x="4241301" y="895349"/>
                  <a:pt x="4261960" y="906044"/>
                  <a:pt x="4297157" y="919795"/>
                </a:cubicBezTo>
                <a:cubicBezTo>
                  <a:pt x="4304809" y="922851"/>
                  <a:pt x="4310931" y="928962"/>
                  <a:pt x="4317052" y="935456"/>
                </a:cubicBezTo>
                <a:lnTo>
                  <a:pt x="4336946" y="953408"/>
                </a:lnTo>
                <a:lnTo>
                  <a:pt x="4331972" y="938512"/>
                </a:lnTo>
                <a:cubicBezTo>
                  <a:pt x="4330059" y="932783"/>
                  <a:pt x="4327764" y="925907"/>
                  <a:pt x="4324703" y="916739"/>
                </a:cubicBezTo>
                <a:cubicBezTo>
                  <a:pt x="4340007" y="925907"/>
                  <a:pt x="4349189" y="928962"/>
                  <a:pt x="4349189" y="935074"/>
                </a:cubicBezTo>
                <a:cubicBezTo>
                  <a:pt x="4381326" y="1012997"/>
                  <a:pt x="4441008" y="1065136"/>
                  <a:pt x="4497248" y="1119854"/>
                </a:cubicBezTo>
                <a:cubicBezTo>
                  <a:pt x="4515994" y="1138093"/>
                  <a:pt x="4534358" y="1156619"/>
                  <a:pt x="4551192" y="1176481"/>
                </a:cubicBezTo>
                <a:cubicBezTo>
                  <a:pt x="4578737" y="1207039"/>
                  <a:pt x="4600162" y="1237597"/>
                  <a:pt x="4633829" y="1255932"/>
                </a:cubicBezTo>
                <a:cubicBezTo>
                  <a:pt x="4682800" y="1286490"/>
                  <a:pt x="4713407" y="1332327"/>
                  <a:pt x="4753195" y="1368997"/>
                </a:cubicBezTo>
                <a:cubicBezTo>
                  <a:pt x="4780741" y="1393443"/>
                  <a:pt x="4811347" y="1411778"/>
                  <a:pt x="4845015" y="1439280"/>
                </a:cubicBezTo>
                <a:cubicBezTo>
                  <a:pt x="4835833" y="1488173"/>
                  <a:pt x="4893985" y="1500396"/>
                  <a:pt x="4924591" y="1530954"/>
                </a:cubicBezTo>
                <a:cubicBezTo>
                  <a:pt x="4952137" y="1555400"/>
                  <a:pt x="4985805" y="1567623"/>
                  <a:pt x="5013351" y="1592070"/>
                </a:cubicBezTo>
                <a:cubicBezTo>
                  <a:pt x="5037835" y="1610405"/>
                  <a:pt x="5056199" y="1637907"/>
                  <a:pt x="5074563" y="1662353"/>
                </a:cubicBezTo>
                <a:cubicBezTo>
                  <a:pt x="5089867" y="1695967"/>
                  <a:pt x="5144959" y="1757083"/>
                  <a:pt x="5166383" y="1772362"/>
                </a:cubicBezTo>
                <a:cubicBezTo>
                  <a:pt x="5190869" y="1790697"/>
                  <a:pt x="5209233" y="1818199"/>
                  <a:pt x="5233717" y="1836534"/>
                </a:cubicBezTo>
                <a:cubicBezTo>
                  <a:pt x="5261263" y="1857924"/>
                  <a:pt x="5291870" y="1876259"/>
                  <a:pt x="5319416" y="1894594"/>
                </a:cubicBezTo>
                <a:cubicBezTo>
                  <a:pt x="5328598" y="1903761"/>
                  <a:pt x="5337779" y="1915985"/>
                  <a:pt x="5343901" y="1928208"/>
                </a:cubicBezTo>
                <a:cubicBezTo>
                  <a:pt x="5160262" y="1845701"/>
                  <a:pt x="5053139" y="1665409"/>
                  <a:pt x="4890925" y="1558456"/>
                </a:cubicBezTo>
                <a:cubicBezTo>
                  <a:pt x="4884803" y="1564568"/>
                  <a:pt x="4881743" y="1567623"/>
                  <a:pt x="4875621" y="1573735"/>
                </a:cubicBezTo>
                <a:cubicBezTo>
                  <a:pt x="4890925" y="1592070"/>
                  <a:pt x="4906227" y="1613460"/>
                  <a:pt x="4924591" y="1631795"/>
                </a:cubicBezTo>
                <a:cubicBezTo>
                  <a:pt x="4967441" y="1674576"/>
                  <a:pt x="5013351" y="1717358"/>
                  <a:pt x="5056199" y="1763195"/>
                </a:cubicBezTo>
                <a:cubicBezTo>
                  <a:pt x="5086806" y="1796808"/>
                  <a:pt x="5114352" y="1830422"/>
                  <a:pt x="5160262" y="1851813"/>
                </a:cubicBezTo>
                <a:cubicBezTo>
                  <a:pt x="5178626" y="1860980"/>
                  <a:pt x="5187807" y="1888482"/>
                  <a:pt x="5209233" y="1903761"/>
                </a:cubicBezTo>
                <a:cubicBezTo>
                  <a:pt x="5270445" y="1949598"/>
                  <a:pt x="5331659" y="1995435"/>
                  <a:pt x="5395932" y="2038216"/>
                </a:cubicBezTo>
                <a:cubicBezTo>
                  <a:pt x="5406645" y="2044328"/>
                  <a:pt x="5418887" y="2048912"/>
                  <a:pt x="5431513" y="2053496"/>
                </a:cubicBezTo>
                <a:lnTo>
                  <a:pt x="5468808" y="2068540"/>
                </a:lnTo>
                <a:lnTo>
                  <a:pt x="5468836" y="2068512"/>
                </a:lnTo>
                <a:lnTo>
                  <a:pt x="5547383" y="2093277"/>
                </a:lnTo>
                <a:lnTo>
                  <a:pt x="5558147" y="2096659"/>
                </a:lnTo>
                <a:cubicBezTo>
                  <a:pt x="5588754" y="2106208"/>
                  <a:pt x="5620890" y="2116139"/>
                  <a:pt x="5656087" y="2126835"/>
                </a:cubicBezTo>
                <a:lnTo>
                  <a:pt x="5655894" y="2126895"/>
                </a:lnTo>
                <a:lnTo>
                  <a:pt x="5656263" y="2127009"/>
                </a:lnTo>
                <a:cubicBezTo>
                  <a:pt x="5596348" y="2159336"/>
                  <a:pt x="5534704" y="2148368"/>
                  <a:pt x="5495961" y="2113587"/>
                </a:cubicBezTo>
                <a:lnTo>
                  <a:pt x="5465949" y="2071849"/>
                </a:lnTo>
                <a:lnTo>
                  <a:pt x="5405114" y="2074886"/>
                </a:lnTo>
                <a:cubicBezTo>
                  <a:pt x="5429599" y="2096277"/>
                  <a:pt x="5457145" y="2120723"/>
                  <a:pt x="5487752" y="2145169"/>
                </a:cubicBezTo>
                <a:cubicBezTo>
                  <a:pt x="5484691" y="2148225"/>
                  <a:pt x="5481631" y="2154337"/>
                  <a:pt x="5478570" y="2160448"/>
                </a:cubicBezTo>
                <a:cubicBezTo>
                  <a:pt x="5432660" y="2145169"/>
                  <a:pt x="5383689" y="2129890"/>
                  <a:pt x="5334719" y="2111556"/>
                </a:cubicBezTo>
                <a:cubicBezTo>
                  <a:pt x="5337779" y="2120723"/>
                  <a:pt x="5337779" y="2129890"/>
                  <a:pt x="5340841" y="2145169"/>
                </a:cubicBezTo>
                <a:cubicBezTo>
                  <a:pt x="5322477" y="2139058"/>
                  <a:pt x="5307173" y="2136002"/>
                  <a:pt x="5288809" y="2132946"/>
                </a:cubicBezTo>
                <a:cubicBezTo>
                  <a:pt x="5288809" y="2136002"/>
                  <a:pt x="5288809" y="2145169"/>
                  <a:pt x="5288809" y="2148225"/>
                </a:cubicBezTo>
                <a:cubicBezTo>
                  <a:pt x="5209233" y="2108500"/>
                  <a:pt x="5129655" y="2071830"/>
                  <a:pt x="5034775" y="2025993"/>
                </a:cubicBezTo>
                <a:cubicBezTo>
                  <a:pt x="5053139" y="2065719"/>
                  <a:pt x="5062321" y="2093221"/>
                  <a:pt x="5074563" y="2123779"/>
                </a:cubicBezTo>
                <a:cubicBezTo>
                  <a:pt x="5059261" y="2123779"/>
                  <a:pt x="5053139" y="2123779"/>
                  <a:pt x="5037835" y="2123779"/>
                </a:cubicBezTo>
                <a:cubicBezTo>
                  <a:pt x="5047017" y="2129890"/>
                  <a:pt x="5050079" y="2132946"/>
                  <a:pt x="5053139" y="2132946"/>
                </a:cubicBezTo>
                <a:cubicBezTo>
                  <a:pt x="5108231" y="2142114"/>
                  <a:pt x="5141898" y="2184895"/>
                  <a:pt x="5175565" y="2221564"/>
                </a:cubicBezTo>
                <a:cubicBezTo>
                  <a:pt x="5175565" y="2224620"/>
                  <a:pt x="5175565" y="2227676"/>
                  <a:pt x="5175565" y="2227676"/>
                </a:cubicBezTo>
                <a:cubicBezTo>
                  <a:pt x="5172505" y="2227676"/>
                  <a:pt x="5169444" y="2227676"/>
                  <a:pt x="5166383" y="2227676"/>
                </a:cubicBezTo>
                <a:cubicBezTo>
                  <a:pt x="5239839" y="2264346"/>
                  <a:pt x="5276567" y="2340741"/>
                  <a:pt x="5337779" y="2389633"/>
                </a:cubicBezTo>
                <a:cubicBezTo>
                  <a:pt x="5395932" y="2432415"/>
                  <a:pt x="5405114" y="2499642"/>
                  <a:pt x="5429599" y="2569925"/>
                </a:cubicBezTo>
                <a:cubicBezTo>
                  <a:pt x="5435721" y="2548535"/>
                  <a:pt x="5438781" y="2539368"/>
                  <a:pt x="5441842" y="2524089"/>
                </a:cubicBezTo>
                <a:cubicBezTo>
                  <a:pt x="5463267" y="2536312"/>
                  <a:pt x="5481631" y="2548535"/>
                  <a:pt x="5509177" y="2566870"/>
                </a:cubicBezTo>
                <a:cubicBezTo>
                  <a:pt x="5487752" y="2572981"/>
                  <a:pt x="5472449" y="2572981"/>
                  <a:pt x="5457145" y="2579093"/>
                </a:cubicBezTo>
                <a:cubicBezTo>
                  <a:pt x="5447963" y="2582149"/>
                  <a:pt x="5435721" y="2594372"/>
                  <a:pt x="5435721" y="2603539"/>
                </a:cubicBezTo>
                <a:cubicBezTo>
                  <a:pt x="5432660" y="2612707"/>
                  <a:pt x="5444903" y="2631041"/>
                  <a:pt x="5451024" y="2631041"/>
                </a:cubicBezTo>
                <a:cubicBezTo>
                  <a:pt x="5506115" y="2637153"/>
                  <a:pt x="5499995" y="2686046"/>
                  <a:pt x="5518359" y="2725771"/>
                </a:cubicBezTo>
                <a:cubicBezTo>
                  <a:pt x="5503055" y="2719660"/>
                  <a:pt x="5493873" y="2719660"/>
                  <a:pt x="5481631" y="2716604"/>
                </a:cubicBezTo>
                <a:cubicBezTo>
                  <a:pt x="5487752" y="2725771"/>
                  <a:pt x="5490813" y="2734939"/>
                  <a:pt x="5496933" y="2744106"/>
                </a:cubicBezTo>
                <a:cubicBezTo>
                  <a:pt x="5493873" y="2747162"/>
                  <a:pt x="5490813" y="2747162"/>
                  <a:pt x="5487752" y="2750218"/>
                </a:cubicBezTo>
                <a:cubicBezTo>
                  <a:pt x="5469388" y="2731883"/>
                  <a:pt x="5451024" y="2710492"/>
                  <a:pt x="5435721" y="2692157"/>
                </a:cubicBezTo>
                <a:cubicBezTo>
                  <a:pt x="5441842" y="2722715"/>
                  <a:pt x="5447963" y="2750218"/>
                  <a:pt x="5460206" y="2777720"/>
                </a:cubicBezTo>
                <a:cubicBezTo>
                  <a:pt x="5469388" y="2802166"/>
                  <a:pt x="5490813" y="2823557"/>
                  <a:pt x="5512237" y="2841892"/>
                </a:cubicBezTo>
                <a:cubicBezTo>
                  <a:pt x="5499995" y="2817445"/>
                  <a:pt x="5487752" y="2796055"/>
                  <a:pt x="5475509" y="2771608"/>
                </a:cubicBezTo>
                <a:cubicBezTo>
                  <a:pt x="5478570" y="2771608"/>
                  <a:pt x="5481631" y="2768552"/>
                  <a:pt x="5484691" y="2765497"/>
                </a:cubicBezTo>
                <a:cubicBezTo>
                  <a:pt x="5503055" y="2792999"/>
                  <a:pt x="5521419" y="2820501"/>
                  <a:pt x="5533661" y="2838836"/>
                </a:cubicBezTo>
                <a:cubicBezTo>
                  <a:pt x="5524479" y="2915231"/>
                  <a:pt x="5613239" y="2942733"/>
                  <a:pt x="5607117" y="2994681"/>
                </a:cubicBezTo>
                <a:cubicBezTo>
                  <a:pt x="5552025" y="3016072"/>
                  <a:pt x="5499995" y="3034407"/>
                  <a:pt x="5460206" y="3049686"/>
                </a:cubicBezTo>
                <a:cubicBezTo>
                  <a:pt x="5457145" y="3089411"/>
                  <a:pt x="5457145" y="3119969"/>
                  <a:pt x="5454085" y="3147471"/>
                </a:cubicBezTo>
                <a:cubicBezTo>
                  <a:pt x="5447963" y="3147471"/>
                  <a:pt x="5444903" y="3147471"/>
                  <a:pt x="5438781" y="3147471"/>
                </a:cubicBezTo>
                <a:cubicBezTo>
                  <a:pt x="5454085" y="3174974"/>
                  <a:pt x="5481631" y="3196364"/>
                  <a:pt x="5499995" y="3217755"/>
                </a:cubicBezTo>
                <a:cubicBezTo>
                  <a:pt x="5555086" y="3288038"/>
                  <a:pt x="5631603" y="3343043"/>
                  <a:pt x="5677513" y="3419438"/>
                </a:cubicBezTo>
                <a:cubicBezTo>
                  <a:pt x="5692815" y="3446940"/>
                  <a:pt x="5711179" y="3477498"/>
                  <a:pt x="5726483" y="3505000"/>
                </a:cubicBezTo>
                <a:cubicBezTo>
                  <a:pt x="5723422" y="3508056"/>
                  <a:pt x="5720361" y="3511112"/>
                  <a:pt x="5717301" y="3511112"/>
                </a:cubicBezTo>
                <a:cubicBezTo>
                  <a:pt x="5701997" y="3501944"/>
                  <a:pt x="5686694" y="3489721"/>
                  <a:pt x="5671391" y="3477498"/>
                </a:cubicBezTo>
                <a:cubicBezTo>
                  <a:pt x="5668331" y="3477498"/>
                  <a:pt x="5668331" y="3477498"/>
                  <a:pt x="5668331" y="3477498"/>
                </a:cubicBezTo>
                <a:cubicBezTo>
                  <a:pt x="5683633" y="3501944"/>
                  <a:pt x="5698937" y="3523335"/>
                  <a:pt x="5717301" y="3544725"/>
                </a:cubicBezTo>
                <a:cubicBezTo>
                  <a:pt x="5714240" y="3547781"/>
                  <a:pt x="5711179" y="3550837"/>
                  <a:pt x="5708119" y="3553893"/>
                </a:cubicBezTo>
                <a:cubicBezTo>
                  <a:pt x="5695876" y="3541670"/>
                  <a:pt x="5683633" y="3532502"/>
                  <a:pt x="5671391" y="3523335"/>
                </a:cubicBezTo>
                <a:cubicBezTo>
                  <a:pt x="5668331" y="3526391"/>
                  <a:pt x="5665269" y="3529447"/>
                  <a:pt x="5662209" y="3532502"/>
                </a:cubicBezTo>
                <a:cubicBezTo>
                  <a:pt x="5680573" y="3550837"/>
                  <a:pt x="5698937" y="3569172"/>
                  <a:pt x="5717301" y="3587507"/>
                </a:cubicBezTo>
                <a:cubicBezTo>
                  <a:pt x="5717301" y="3587507"/>
                  <a:pt x="5720361" y="3584451"/>
                  <a:pt x="5720361" y="3581395"/>
                </a:cubicBezTo>
                <a:cubicBezTo>
                  <a:pt x="5732604" y="3615009"/>
                  <a:pt x="5744847" y="3648623"/>
                  <a:pt x="5757089" y="3682236"/>
                </a:cubicBezTo>
                <a:cubicBezTo>
                  <a:pt x="5738725" y="3676125"/>
                  <a:pt x="5720361" y="3670013"/>
                  <a:pt x="5698937" y="3660846"/>
                </a:cubicBezTo>
                <a:cubicBezTo>
                  <a:pt x="5741786" y="3725018"/>
                  <a:pt x="5781575" y="3783078"/>
                  <a:pt x="5821363" y="3844194"/>
                </a:cubicBezTo>
                <a:cubicBezTo>
                  <a:pt x="5818303" y="3847250"/>
                  <a:pt x="5815241" y="3847250"/>
                  <a:pt x="5815241" y="3850305"/>
                </a:cubicBezTo>
                <a:cubicBezTo>
                  <a:pt x="5802999" y="3841138"/>
                  <a:pt x="5790757" y="3835026"/>
                  <a:pt x="5781575" y="3825859"/>
                </a:cubicBezTo>
                <a:cubicBezTo>
                  <a:pt x="5775453" y="3828915"/>
                  <a:pt x="5772393" y="3828915"/>
                  <a:pt x="5775453" y="3828915"/>
                </a:cubicBezTo>
                <a:cubicBezTo>
                  <a:pt x="5775453" y="3835026"/>
                  <a:pt x="5778514" y="3841138"/>
                  <a:pt x="5781575" y="3847250"/>
                </a:cubicBezTo>
                <a:cubicBezTo>
                  <a:pt x="5744847" y="3831971"/>
                  <a:pt x="5708119" y="3816692"/>
                  <a:pt x="5668331" y="3801413"/>
                </a:cubicBezTo>
                <a:cubicBezTo>
                  <a:pt x="5668331" y="3810580"/>
                  <a:pt x="5668331" y="3822803"/>
                  <a:pt x="5668331" y="3819747"/>
                </a:cubicBezTo>
                <a:cubicBezTo>
                  <a:pt x="5640785" y="3795301"/>
                  <a:pt x="5607117" y="3767799"/>
                  <a:pt x="5576511" y="3737241"/>
                </a:cubicBezTo>
                <a:cubicBezTo>
                  <a:pt x="5555086" y="3712794"/>
                  <a:pt x="5539783" y="3682236"/>
                  <a:pt x="5515297" y="3660846"/>
                </a:cubicBezTo>
                <a:cubicBezTo>
                  <a:pt x="5478570" y="3627232"/>
                  <a:pt x="5435721" y="3593618"/>
                  <a:pt x="5395932" y="3563060"/>
                </a:cubicBezTo>
                <a:cubicBezTo>
                  <a:pt x="5380629" y="3550837"/>
                  <a:pt x="5359205" y="3544725"/>
                  <a:pt x="5340841" y="3535558"/>
                </a:cubicBezTo>
                <a:cubicBezTo>
                  <a:pt x="5343901" y="3560004"/>
                  <a:pt x="5343901" y="3578339"/>
                  <a:pt x="5343901" y="3602786"/>
                </a:cubicBezTo>
                <a:cubicBezTo>
                  <a:pt x="5313295" y="3581395"/>
                  <a:pt x="5291870" y="3569172"/>
                  <a:pt x="5270445" y="3553893"/>
                </a:cubicBezTo>
                <a:cubicBezTo>
                  <a:pt x="5273506" y="3550837"/>
                  <a:pt x="5273506" y="3550837"/>
                  <a:pt x="5276567" y="3547781"/>
                </a:cubicBezTo>
                <a:cubicBezTo>
                  <a:pt x="5288809" y="3553893"/>
                  <a:pt x="5301052" y="3560004"/>
                  <a:pt x="5319416" y="3566116"/>
                </a:cubicBezTo>
                <a:cubicBezTo>
                  <a:pt x="5307173" y="3544725"/>
                  <a:pt x="5301052" y="3532502"/>
                  <a:pt x="5270445" y="3526391"/>
                </a:cubicBezTo>
                <a:cubicBezTo>
                  <a:pt x="5230657" y="3517223"/>
                  <a:pt x="5193929" y="3483610"/>
                  <a:pt x="5160262" y="3459163"/>
                </a:cubicBezTo>
                <a:cubicBezTo>
                  <a:pt x="5135777" y="3514168"/>
                  <a:pt x="5200051" y="3532502"/>
                  <a:pt x="5227596" y="3566116"/>
                </a:cubicBezTo>
                <a:cubicBezTo>
                  <a:pt x="5242899" y="3590562"/>
                  <a:pt x="5264324" y="3608897"/>
                  <a:pt x="5288809" y="3624176"/>
                </a:cubicBezTo>
                <a:cubicBezTo>
                  <a:pt x="5310234" y="3636399"/>
                  <a:pt x="5331659" y="3648623"/>
                  <a:pt x="5356143" y="3654734"/>
                </a:cubicBezTo>
                <a:cubicBezTo>
                  <a:pt x="5389811" y="3663902"/>
                  <a:pt x="5426539" y="3715850"/>
                  <a:pt x="5426539" y="3776966"/>
                </a:cubicBezTo>
                <a:cubicBezTo>
                  <a:pt x="5411235" y="3758631"/>
                  <a:pt x="5395932" y="3746408"/>
                  <a:pt x="5389811" y="3731129"/>
                </a:cubicBezTo>
                <a:cubicBezTo>
                  <a:pt x="5365325" y="3688348"/>
                  <a:pt x="5325537" y="3676125"/>
                  <a:pt x="5282688" y="3663902"/>
                </a:cubicBezTo>
                <a:cubicBezTo>
                  <a:pt x="5258203" y="3657790"/>
                  <a:pt x="5239839" y="3636399"/>
                  <a:pt x="5221475" y="3621120"/>
                </a:cubicBezTo>
                <a:cubicBezTo>
                  <a:pt x="5203111" y="3605841"/>
                  <a:pt x="5181687" y="3587507"/>
                  <a:pt x="5157201" y="3575283"/>
                </a:cubicBezTo>
                <a:cubicBezTo>
                  <a:pt x="5218415" y="3642511"/>
                  <a:pt x="5279627" y="3709739"/>
                  <a:pt x="5346961" y="3780022"/>
                </a:cubicBezTo>
                <a:cubicBezTo>
                  <a:pt x="5331659" y="3783078"/>
                  <a:pt x="5325537" y="3783078"/>
                  <a:pt x="5304113" y="3786134"/>
                </a:cubicBezTo>
                <a:cubicBezTo>
                  <a:pt x="5334719" y="3801413"/>
                  <a:pt x="5356143" y="3813636"/>
                  <a:pt x="5371447" y="3822803"/>
                </a:cubicBezTo>
                <a:cubicBezTo>
                  <a:pt x="5359205" y="3902254"/>
                  <a:pt x="5444903" y="3917533"/>
                  <a:pt x="5463267" y="3981705"/>
                </a:cubicBezTo>
                <a:cubicBezTo>
                  <a:pt x="5444903" y="3966426"/>
                  <a:pt x="5429599" y="3957258"/>
                  <a:pt x="5417357" y="3945035"/>
                </a:cubicBezTo>
                <a:cubicBezTo>
                  <a:pt x="5365325" y="3896142"/>
                  <a:pt x="5310234" y="3844194"/>
                  <a:pt x="5258203" y="3792245"/>
                </a:cubicBezTo>
                <a:cubicBezTo>
                  <a:pt x="5249021" y="3844194"/>
                  <a:pt x="5307173" y="3923645"/>
                  <a:pt x="5441842" y="4039765"/>
                </a:cubicBezTo>
                <a:cubicBezTo>
                  <a:pt x="5423478" y="4039765"/>
                  <a:pt x="5411235" y="4036709"/>
                  <a:pt x="5386750" y="4033653"/>
                </a:cubicBezTo>
                <a:cubicBezTo>
                  <a:pt x="5408175" y="4058100"/>
                  <a:pt x="5426539" y="4079490"/>
                  <a:pt x="5441842" y="4100881"/>
                </a:cubicBezTo>
                <a:cubicBezTo>
                  <a:pt x="5438781" y="4100881"/>
                  <a:pt x="5438781" y="4103937"/>
                  <a:pt x="5435721" y="4106992"/>
                </a:cubicBezTo>
                <a:cubicBezTo>
                  <a:pt x="5411235" y="4091713"/>
                  <a:pt x="5386750" y="4076434"/>
                  <a:pt x="5346961" y="4055044"/>
                </a:cubicBezTo>
                <a:cubicBezTo>
                  <a:pt x="5368387" y="4082546"/>
                  <a:pt x="5380629" y="4097825"/>
                  <a:pt x="5392871" y="4110048"/>
                </a:cubicBezTo>
                <a:cubicBezTo>
                  <a:pt x="5389811" y="4113104"/>
                  <a:pt x="5386750" y="4116160"/>
                  <a:pt x="5383689" y="4119216"/>
                </a:cubicBezTo>
                <a:cubicBezTo>
                  <a:pt x="5196989" y="3951147"/>
                  <a:pt x="5007229" y="3783078"/>
                  <a:pt x="4820529" y="3615009"/>
                </a:cubicBezTo>
                <a:cubicBezTo>
                  <a:pt x="4799105" y="3648623"/>
                  <a:pt x="4799105" y="3648623"/>
                  <a:pt x="4841954" y="3718906"/>
                </a:cubicBezTo>
                <a:cubicBezTo>
                  <a:pt x="4811347" y="3712794"/>
                  <a:pt x="4789923" y="3706683"/>
                  <a:pt x="4765437" y="3703627"/>
                </a:cubicBezTo>
                <a:cubicBezTo>
                  <a:pt x="4756255" y="3743352"/>
                  <a:pt x="4783801" y="3767799"/>
                  <a:pt x="4817469" y="3792245"/>
                </a:cubicBezTo>
                <a:cubicBezTo>
                  <a:pt x="4851136" y="3822803"/>
                  <a:pt x="4881743" y="3859473"/>
                  <a:pt x="4915409" y="3896142"/>
                </a:cubicBezTo>
                <a:cubicBezTo>
                  <a:pt x="4918470" y="3890031"/>
                  <a:pt x="4924591" y="3883919"/>
                  <a:pt x="4927652" y="3877808"/>
                </a:cubicBezTo>
                <a:cubicBezTo>
                  <a:pt x="4915409" y="3920589"/>
                  <a:pt x="4949077" y="3945035"/>
                  <a:pt x="4964380" y="3981705"/>
                </a:cubicBezTo>
                <a:cubicBezTo>
                  <a:pt x="4982744" y="4015318"/>
                  <a:pt x="4985805" y="4055044"/>
                  <a:pt x="5019472" y="4085602"/>
                </a:cubicBezTo>
                <a:cubicBezTo>
                  <a:pt x="5050079" y="4110048"/>
                  <a:pt x="5071503" y="4146718"/>
                  <a:pt x="5102109" y="4189499"/>
                </a:cubicBezTo>
                <a:cubicBezTo>
                  <a:pt x="5077624" y="4180332"/>
                  <a:pt x="5059261" y="4171164"/>
                  <a:pt x="5031715" y="4161997"/>
                </a:cubicBezTo>
                <a:cubicBezTo>
                  <a:pt x="5059261" y="4204778"/>
                  <a:pt x="5086806" y="4241448"/>
                  <a:pt x="5111291" y="4278117"/>
                </a:cubicBezTo>
                <a:cubicBezTo>
                  <a:pt x="5077624" y="4250615"/>
                  <a:pt x="5043957" y="4223113"/>
                  <a:pt x="5007229" y="4189499"/>
                </a:cubicBezTo>
                <a:cubicBezTo>
                  <a:pt x="5004169" y="4210890"/>
                  <a:pt x="5001108" y="4226169"/>
                  <a:pt x="4998047" y="4247559"/>
                </a:cubicBezTo>
                <a:cubicBezTo>
                  <a:pt x="4979683" y="4229225"/>
                  <a:pt x="4967441" y="4210890"/>
                  <a:pt x="4952137" y="4195611"/>
                </a:cubicBezTo>
                <a:cubicBezTo>
                  <a:pt x="4946016" y="4217001"/>
                  <a:pt x="4942955" y="4229225"/>
                  <a:pt x="4936834" y="4244504"/>
                </a:cubicBezTo>
                <a:cubicBezTo>
                  <a:pt x="4927652" y="4235336"/>
                  <a:pt x="4921531" y="4223113"/>
                  <a:pt x="4909289" y="4217001"/>
                </a:cubicBezTo>
                <a:cubicBezTo>
                  <a:pt x="4897045" y="4210890"/>
                  <a:pt x="4878681" y="4204778"/>
                  <a:pt x="4869500" y="4210890"/>
                </a:cubicBezTo>
                <a:cubicBezTo>
                  <a:pt x="4838893" y="4235336"/>
                  <a:pt x="4814408" y="4213946"/>
                  <a:pt x="4789923" y="4201722"/>
                </a:cubicBezTo>
                <a:cubicBezTo>
                  <a:pt x="4777680" y="4195611"/>
                  <a:pt x="4765437" y="4195611"/>
                  <a:pt x="4765437" y="4195611"/>
                </a:cubicBezTo>
                <a:cubicBezTo>
                  <a:pt x="4701164" y="4140606"/>
                  <a:pt x="4643011" y="4085602"/>
                  <a:pt x="4578737" y="4033653"/>
                </a:cubicBezTo>
                <a:cubicBezTo>
                  <a:pt x="4532828" y="3996984"/>
                  <a:pt x="4483857" y="3963370"/>
                  <a:pt x="4434887" y="3929756"/>
                </a:cubicBezTo>
                <a:cubicBezTo>
                  <a:pt x="4425705" y="3923645"/>
                  <a:pt x="4401220" y="3923645"/>
                  <a:pt x="4395099" y="3929756"/>
                </a:cubicBezTo>
                <a:cubicBezTo>
                  <a:pt x="4382856" y="3948091"/>
                  <a:pt x="4376735" y="3972537"/>
                  <a:pt x="4367553" y="3996984"/>
                </a:cubicBezTo>
                <a:cubicBezTo>
                  <a:pt x="4358371" y="3987816"/>
                  <a:pt x="4340007" y="3978649"/>
                  <a:pt x="4321643" y="3966426"/>
                </a:cubicBezTo>
                <a:cubicBezTo>
                  <a:pt x="4321643" y="3966426"/>
                  <a:pt x="4318582" y="3969482"/>
                  <a:pt x="4315521" y="3969482"/>
                </a:cubicBezTo>
                <a:cubicBezTo>
                  <a:pt x="4324703" y="3987816"/>
                  <a:pt x="4333885" y="4003095"/>
                  <a:pt x="4343067" y="4018374"/>
                </a:cubicBezTo>
                <a:cubicBezTo>
                  <a:pt x="4343067" y="4018374"/>
                  <a:pt x="4340007" y="4021430"/>
                  <a:pt x="4340007" y="4024486"/>
                </a:cubicBezTo>
                <a:cubicBezTo>
                  <a:pt x="4324703" y="4009207"/>
                  <a:pt x="4312461" y="3993928"/>
                  <a:pt x="4300218" y="3978649"/>
                </a:cubicBezTo>
                <a:cubicBezTo>
                  <a:pt x="4297157" y="3978649"/>
                  <a:pt x="4297157" y="3978649"/>
                  <a:pt x="4294097" y="3981705"/>
                </a:cubicBezTo>
                <a:cubicBezTo>
                  <a:pt x="4300218" y="3996984"/>
                  <a:pt x="4309400" y="4015318"/>
                  <a:pt x="4318582" y="4030597"/>
                </a:cubicBezTo>
                <a:cubicBezTo>
                  <a:pt x="4303279" y="4048932"/>
                  <a:pt x="4242066" y="4042821"/>
                  <a:pt x="4287975" y="4088658"/>
                </a:cubicBezTo>
                <a:cubicBezTo>
                  <a:pt x="4257369" y="4094769"/>
                  <a:pt x="4251247" y="4119216"/>
                  <a:pt x="4272673" y="4146718"/>
                </a:cubicBezTo>
                <a:cubicBezTo>
                  <a:pt x="4260429" y="4143662"/>
                  <a:pt x="4251247" y="4143662"/>
                  <a:pt x="4242066" y="4143662"/>
                </a:cubicBezTo>
                <a:cubicBezTo>
                  <a:pt x="4257369" y="4189499"/>
                  <a:pt x="4242066" y="4201722"/>
                  <a:pt x="4165549" y="4207834"/>
                </a:cubicBezTo>
                <a:cubicBezTo>
                  <a:pt x="4171671" y="4220057"/>
                  <a:pt x="4174731" y="4232280"/>
                  <a:pt x="4180853" y="4244504"/>
                </a:cubicBezTo>
                <a:cubicBezTo>
                  <a:pt x="4156367" y="4223113"/>
                  <a:pt x="4131882" y="4207834"/>
                  <a:pt x="4107397" y="4189499"/>
                </a:cubicBezTo>
                <a:cubicBezTo>
                  <a:pt x="4104336" y="4192555"/>
                  <a:pt x="4101276" y="4195611"/>
                  <a:pt x="4098215" y="4198667"/>
                </a:cubicBezTo>
                <a:cubicBezTo>
                  <a:pt x="4119640" y="4238392"/>
                  <a:pt x="4131882" y="4281173"/>
                  <a:pt x="4190035" y="4287285"/>
                </a:cubicBezTo>
                <a:cubicBezTo>
                  <a:pt x="4193095" y="4299508"/>
                  <a:pt x="4193095" y="4314787"/>
                  <a:pt x="4196156" y="4342289"/>
                </a:cubicBezTo>
                <a:cubicBezTo>
                  <a:pt x="4159428" y="4317843"/>
                  <a:pt x="4128821" y="4296452"/>
                  <a:pt x="4098215" y="4278117"/>
                </a:cubicBezTo>
                <a:cubicBezTo>
                  <a:pt x="4055366" y="4308675"/>
                  <a:pt x="4030881" y="4259782"/>
                  <a:pt x="4000274" y="4253671"/>
                </a:cubicBezTo>
                <a:cubicBezTo>
                  <a:pt x="4018638" y="4275061"/>
                  <a:pt x="4033941" y="4293396"/>
                  <a:pt x="4055366" y="4317843"/>
                </a:cubicBezTo>
                <a:lnTo>
                  <a:pt x="4054066" y="4317961"/>
                </a:lnTo>
                <a:lnTo>
                  <a:pt x="4054476" y="4318437"/>
                </a:lnTo>
                <a:cubicBezTo>
                  <a:pt x="4042247" y="4318437"/>
                  <a:pt x="4033076" y="4321503"/>
                  <a:pt x="4020848" y="4321503"/>
                </a:cubicBezTo>
                <a:cubicBezTo>
                  <a:pt x="3944420" y="4321503"/>
                  <a:pt x="3867992" y="4315372"/>
                  <a:pt x="3791564" y="4324568"/>
                </a:cubicBezTo>
                <a:cubicBezTo>
                  <a:pt x="3721250" y="4330699"/>
                  <a:pt x="3696793" y="4284716"/>
                  <a:pt x="3660108" y="4247930"/>
                </a:cubicBezTo>
                <a:lnTo>
                  <a:pt x="3597136" y="4190799"/>
                </a:lnTo>
                <a:lnTo>
                  <a:pt x="3623049" y="4229607"/>
                </a:lnTo>
                <a:cubicBezTo>
                  <a:pt x="3632230" y="4244504"/>
                  <a:pt x="3642177" y="4261310"/>
                  <a:pt x="3654420" y="4281173"/>
                </a:cubicBezTo>
                <a:lnTo>
                  <a:pt x="3654085" y="4280925"/>
                </a:lnTo>
                <a:lnTo>
                  <a:pt x="3654426" y="4281487"/>
                </a:lnTo>
                <a:cubicBezTo>
                  <a:pt x="3640661" y="4270762"/>
                  <a:pt x="3629190" y="4262336"/>
                  <a:pt x="3618867" y="4255058"/>
                </a:cubicBezTo>
                <a:lnTo>
                  <a:pt x="3590241" y="4235558"/>
                </a:lnTo>
                <a:lnTo>
                  <a:pt x="3623814" y="4314787"/>
                </a:lnTo>
                <a:cubicBezTo>
                  <a:pt x="3620753" y="4317843"/>
                  <a:pt x="3617693" y="4320898"/>
                  <a:pt x="3614632" y="4327010"/>
                </a:cubicBezTo>
                <a:lnTo>
                  <a:pt x="3614087" y="4326753"/>
                </a:lnTo>
                <a:lnTo>
                  <a:pt x="3613510" y="4327524"/>
                </a:lnTo>
                <a:lnTo>
                  <a:pt x="3556831" y="4300622"/>
                </a:lnTo>
                <a:lnTo>
                  <a:pt x="3558775" y="4306765"/>
                </a:lnTo>
                <a:cubicBezTo>
                  <a:pt x="3560305" y="4310203"/>
                  <a:pt x="3562600" y="4314787"/>
                  <a:pt x="3565661" y="4320898"/>
                </a:cubicBezTo>
                <a:lnTo>
                  <a:pt x="3564384" y="4320908"/>
                </a:lnTo>
                <a:lnTo>
                  <a:pt x="3564623" y="4321401"/>
                </a:lnTo>
                <a:cubicBezTo>
                  <a:pt x="3500460" y="4321401"/>
                  <a:pt x="3433241" y="4324463"/>
                  <a:pt x="3372133" y="4318339"/>
                </a:cubicBezTo>
                <a:cubicBezTo>
                  <a:pt x="3347690" y="4315278"/>
                  <a:pt x="3323247" y="4290785"/>
                  <a:pt x="3304915" y="4269354"/>
                </a:cubicBezTo>
                <a:cubicBezTo>
                  <a:pt x="3262139" y="4223430"/>
                  <a:pt x="3219364" y="4177505"/>
                  <a:pt x="3179643" y="4128520"/>
                </a:cubicBezTo>
                <a:cubicBezTo>
                  <a:pt x="3176588" y="4128520"/>
                  <a:pt x="3179643" y="4122397"/>
                  <a:pt x="3179643" y="4116273"/>
                </a:cubicBezTo>
                <a:lnTo>
                  <a:pt x="3179984" y="4116414"/>
                </a:lnTo>
                <a:lnTo>
                  <a:pt x="3180019" y="4116160"/>
                </a:lnTo>
                <a:lnTo>
                  <a:pt x="3299071" y="4164924"/>
                </a:lnTo>
                <a:lnTo>
                  <a:pt x="3311025" y="4149951"/>
                </a:lnTo>
                <a:cubicBezTo>
                  <a:pt x="3280472" y="4119335"/>
                  <a:pt x="3246862" y="4088719"/>
                  <a:pt x="3216308" y="4058103"/>
                </a:cubicBezTo>
                <a:cubicBezTo>
                  <a:pt x="3219364" y="4051980"/>
                  <a:pt x="3225474" y="4048918"/>
                  <a:pt x="3228530" y="4042795"/>
                </a:cubicBezTo>
                <a:lnTo>
                  <a:pt x="3228831" y="4043018"/>
                </a:lnTo>
                <a:lnTo>
                  <a:pt x="3228989" y="4042821"/>
                </a:lnTo>
                <a:lnTo>
                  <a:pt x="3380326" y="4154632"/>
                </a:lnTo>
                <a:lnTo>
                  <a:pt x="3354183" y="4115939"/>
                </a:lnTo>
                <a:cubicBezTo>
                  <a:pt x="3322101" y="4078195"/>
                  <a:pt x="3279708" y="4044326"/>
                  <a:pt x="3268250" y="3984624"/>
                </a:cubicBezTo>
                <a:lnTo>
                  <a:pt x="3268815" y="3984855"/>
                </a:lnTo>
                <a:lnTo>
                  <a:pt x="3268778" y="3984760"/>
                </a:lnTo>
                <a:cubicBezTo>
                  <a:pt x="3293263" y="3993928"/>
                  <a:pt x="3305506" y="4000039"/>
                  <a:pt x="3317749" y="4006151"/>
                </a:cubicBezTo>
                <a:cubicBezTo>
                  <a:pt x="3317749" y="3996984"/>
                  <a:pt x="3320809" y="3984760"/>
                  <a:pt x="3320809" y="3975593"/>
                </a:cubicBezTo>
                <a:lnTo>
                  <a:pt x="3320861" y="3975596"/>
                </a:lnTo>
                <a:lnTo>
                  <a:pt x="3320910" y="3975099"/>
                </a:lnTo>
                <a:cubicBezTo>
                  <a:pt x="3330015" y="3975099"/>
                  <a:pt x="3342155" y="3975099"/>
                  <a:pt x="3348224" y="3981230"/>
                </a:cubicBezTo>
                <a:lnTo>
                  <a:pt x="3373176" y="4009584"/>
                </a:lnTo>
                <a:lnTo>
                  <a:pt x="3421811" y="4064211"/>
                </a:lnTo>
                <a:cubicBezTo>
                  <a:pt x="3427932" y="4061155"/>
                  <a:pt x="3430993" y="4061155"/>
                  <a:pt x="3437114" y="4061155"/>
                </a:cubicBezTo>
                <a:lnTo>
                  <a:pt x="3437124" y="4061114"/>
                </a:lnTo>
                <a:lnTo>
                  <a:pt x="3436938" y="4060934"/>
                </a:lnTo>
                <a:cubicBezTo>
                  <a:pt x="3439995" y="4045606"/>
                  <a:pt x="3443052" y="4027213"/>
                  <a:pt x="3449166" y="4011885"/>
                </a:cubicBezTo>
                <a:cubicBezTo>
                  <a:pt x="3464452" y="4024148"/>
                  <a:pt x="3488909" y="4042541"/>
                  <a:pt x="3513366" y="4057868"/>
                </a:cubicBezTo>
                <a:cubicBezTo>
                  <a:pt x="3516423" y="4057868"/>
                  <a:pt x="3519480" y="4054803"/>
                  <a:pt x="3522537" y="4051737"/>
                </a:cubicBezTo>
                <a:lnTo>
                  <a:pt x="3511286" y="4039202"/>
                </a:lnTo>
                <a:lnTo>
                  <a:pt x="3467721" y="3990872"/>
                </a:lnTo>
                <a:lnTo>
                  <a:pt x="3467810" y="3990762"/>
                </a:lnTo>
                <a:lnTo>
                  <a:pt x="3467509" y="3990427"/>
                </a:lnTo>
                <a:cubicBezTo>
                  <a:pt x="3470566" y="3984296"/>
                  <a:pt x="3476681" y="3978165"/>
                  <a:pt x="3479738" y="3975099"/>
                </a:cubicBezTo>
                <a:lnTo>
                  <a:pt x="3576672" y="4049518"/>
                </a:lnTo>
                <a:lnTo>
                  <a:pt x="3675652" y="4125180"/>
                </a:lnTo>
                <a:lnTo>
                  <a:pt x="3681507" y="4122244"/>
                </a:lnTo>
                <a:cubicBezTo>
                  <a:pt x="3675393" y="4113048"/>
                  <a:pt x="3672336" y="4100785"/>
                  <a:pt x="3666222" y="4091589"/>
                </a:cubicBezTo>
                <a:cubicBezTo>
                  <a:pt x="3657051" y="4082392"/>
                  <a:pt x="3647879" y="4073196"/>
                  <a:pt x="3632594" y="4054803"/>
                </a:cubicBezTo>
                <a:lnTo>
                  <a:pt x="3641391" y="4059648"/>
                </a:lnTo>
                <a:lnTo>
                  <a:pt x="3687322" y="4084838"/>
                </a:lnTo>
                <a:cubicBezTo>
                  <a:pt x="3704156" y="4094005"/>
                  <a:pt x="3720225" y="4102409"/>
                  <a:pt x="3737058" y="4110048"/>
                </a:cubicBezTo>
                <a:cubicBezTo>
                  <a:pt x="3755422" y="4128383"/>
                  <a:pt x="3776847" y="4143662"/>
                  <a:pt x="3795210" y="4161997"/>
                </a:cubicBezTo>
                <a:lnTo>
                  <a:pt x="3861714" y="4186141"/>
                </a:lnTo>
                <a:lnTo>
                  <a:pt x="3856909" y="4172059"/>
                </a:lnTo>
                <a:cubicBezTo>
                  <a:pt x="3854999" y="4166694"/>
                  <a:pt x="3852706" y="4160563"/>
                  <a:pt x="3849649" y="4152899"/>
                </a:cubicBezTo>
                <a:lnTo>
                  <a:pt x="3850475" y="4153285"/>
                </a:lnTo>
                <a:lnTo>
                  <a:pt x="3850302" y="4152829"/>
                </a:lnTo>
                <a:cubicBezTo>
                  <a:pt x="3890091" y="4171164"/>
                  <a:pt x="3923758" y="4186443"/>
                  <a:pt x="3957425" y="4204778"/>
                </a:cubicBezTo>
                <a:cubicBezTo>
                  <a:pt x="3954364" y="4204778"/>
                  <a:pt x="3954364" y="4204778"/>
                  <a:pt x="3951304" y="4207834"/>
                </a:cubicBezTo>
                <a:cubicBezTo>
                  <a:pt x="3963546" y="4220057"/>
                  <a:pt x="3975789" y="4232280"/>
                  <a:pt x="3988031" y="4244504"/>
                </a:cubicBezTo>
                <a:cubicBezTo>
                  <a:pt x="3997213" y="4232280"/>
                  <a:pt x="4006395" y="4223113"/>
                  <a:pt x="4015577" y="4210890"/>
                </a:cubicBezTo>
                <a:cubicBezTo>
                  <a:pt x="4021699" y="4213946"/>
                  <a:pt x="4024759" y="4213946"/>
                  <a:pt x="4027820" y="4217001"/>
                </a:cubicBezTo>
                <a:cubicBezTo>
                  <a:pt x="4024759" y="4155885"/>
                  <a:pt x="3969667" y="4152829"/>
                  <a:pt x="3936001" y="4140606"/>
                </a:cubicBezTo>
                <a:cubicBezTo>
                  <a:pt x="3877848" y="4116160"/>
                  <a:pt x="3831938" y="4076434"/>
                  <a:pt x="3786029" y="4039765"/>
                </a:cubicBezTo>
                <a:cubicBezTo>
                  <a:pt x="3715633" y="3984760"/>
                  <a:pt x="3648299" y="3923645"/>
                  <a:pt x="3574843" y="3871696"/>
                </a:cubicBezTo>
                <a:cubicBezTo>
                  <a:pt x="3553419" y="3856417"/>
                  <a:pt x="3513630" y="3853361"/>
                  <a:pt x="3486084" y="3856417"/>
                </a:cubicBezTo>
                <a:cubicBezTo>
                  <a:pt x="3449357" y="3856417"/>
                  <a:pt x="3412629" y="3871696"/>
                  <a:pt x="3391204" y="3828915"/>
                </a:cubicBezTo>
                <a:cubicBezTo>
                  <a:pt x="3388143" y="3825859"/>
                  <a:pt x="3378961" y="3825859"/>
                  <a:pt x="3366719" y="3822803"/>
                </a:cubicBezTo>
                <a:cubicBezTo>
                  <a:pt x="3369779" y="3835026"/>
                  <a:pt x="3372840" y="3841138"/>
                  <a:pt x="3375901" y="3853361"/>
                </a:cubicBezTo>
                <a:cubicBezTo>
                  <a:pt x="3366719" y="3847250"/>
                  <a:pt x="3357537" y="3844194"/>
                  <a:pt x="3348355" y="3838082"/>
                </a:cubicBezTo>
                <a:cubicBezTo>
                  <a:pt x="3348355" y="3841138"/>
                  <a:pt x="3345294" y="3841138"/>
                  <a:pt x="3345294" y="3844194"/>
                </a:cubicBezTo>
                <a:cubicBezTo>
                  <a:pt x="3369779" y="3871696"/>
                  <a:pt x="3391204" y="3899198"/>
                  <a:pt x="3415689" y="3926700"/>
                </a:cubicBezTo>
                <a:cubicBezTo>
                  <a:pt x="3412629" y="3929756"/>
                  <a:pt x="3412629" y="3929756"/>
                  <a:pt x="3409568" y="3932812"/>
                </a:cubicBezTo>
                <a:cubicBezTo>
                  <a:pt x="3363658" y="3896142"/>
                  <a:pt x="3317749" y="3859473"/>
                  <a:pt x="3271839" y="3825859"/>
                </a:cubicBezTo>
                <a:cubicBezTo>
                  <a:pt x="3222868" y="3789189"/>
                  <a:pt x="3173898" y="3755576"/>
                  <a:pt x="3121867" y="3718906"/>
                </a:cubicBezTo>
                <a:cubicBezTo>
                  <a:pt x="3115745" y="3715850"/>
                  <a:pt x="3106563" y="3715850"/>
                  <a:pt x="3097381" y="3718906"/>
                </a:cubicBezTo>
                <a:cubicBezTo>
                  <a:pt x="3057593" y="3721962"/>
                  <a:pt x="3063714" y="3718906"/>
                  <a:pt x="3048411" y="3685292"/>
                </a:cubicBezTo>
                <a:cubicBezTo>
                  <a:pt x="3033108" y="3660846"/>
                  <a:pt x="3005562" y="3636399"/>
                  <a:pt x="2978016" y="3630288"/>
                </a:cubicBezTo>
                <a:cubicBezTo>
                  <a:pt x="2913742" y="3611953"/>
                  <a:pt x="2873954" y="3563060"/>
                  <a:pt x="2828044" y="3523335"/>
                </a:cubicBezTo>
                <a:cubicBezTo>
                  <a:pt x="2785195" y="3486665"/>
                  <a:pt x="2739285" y="3465275"/>
                  <a:pt x="2687254" y="3453052"/>
                </a:cubicBezTo>
                <a:cubicBezTo>
                  <a:pt x="2653587" y="3446940"/>
                  <a:pt x="2622980" y="3434717"/>
                  <a:pt x="2601555" y="3428605"/>
                </a:cubicBezTo>
                <a:cubicBezTo>
                  <a:pt x="2748467" y="3547781"/>
                  <a:pt x="2907621" y="3679181"/>
                  <a:pt x="3072896" y="3813636"/>
                </a:cubicBezTo>
                <a:cubicBezTo>
                  <a:pt x="3033108" y="3835026"/>
                  <a:pt x="3005562" y="3819747"/>
                  <a:pt x="3002501" y="3789189"/>
                </a:cubicBezTo>
                <a:cubicBezTo>
                  <a:pt x="3002501" y="3786134"/>
                  <a:pt x="2999441" y="3780022"/>
                  <a:pt x="2996380" y="3776966"/>
                </a:cubicBezTo>
                <a:cubicBezTo>
                  <a:pt x="2962713" y="3749464"/>
                  <a:pt x="2929045" y="3725018"/>
                  <a:pt x="2889257" y="3703627"/>
                </a:cubicBezTo>
                <a:cubicBezTo>
                  <a:pt x="2892317" y="3715850"/>
                  <a:pt x="2898439" y="3725018"/>
                  <a:pt x="2907621" y="3743352"/>
                </a:cubicBezTo>
                <a:cubicBezTo>
                  <a:pt x="2880075" y="3721962"/>
                  <a:pt x="2858651" y="3706683"/>
                  <a:pt x="2837226" y="3691404"/>
                </a:cubicBezTo>
                <a:cubicBezTo>
                  <a:pt x="2837226" y="3694460"/>
                  <a:pt x="2834165" y="3697515"/>
                  <a:pt x="2834165" y="3697515"/>
                </a:cubicBezTo>
                <a:cubicBezTo>
                  <a:pt x="2889257" y="3749464"/>
                  <a:pt x="2947409" y="3801413"/>
                  <a:pt x="3008623" y="3856417"/>
                </a:cubicBezTo>
                <a:cubicBezTo>
                  <a:pt x="2987198" y="3859473"/>
                  <a:pt x="2968834" y="3859473"/>
                  <a:pt x="2965773" y="3859473"/>
                </a:cubicBezTo>
                <a:cubicBezTo>
                  <a:pt x="2916803" y="3825859"/>
                  <a:pt x="2873954" y="3795301"/>
                  <a:pt x="2834165" y="3761687"/>
                </a:cubicBezTo>
                <a:cubicBezTo>
                  <a:pt x="2791316" y="3728073"/>
                  <a:pt x="2751527" y="3688348"/>
                  <a:pt x="2708678" y="3651678"/>
                </a:cubicBezTo>
                <a:cubicBezTo>
                  <a:pt x="2705618" y="3657790"/>
                  <a:pt x="2699497" y="3660846"/>
                  <a:pt x="2696436" y="3666957"/>
                </a:cubicBezTo>
                <a:cubicBezTo>
                  <a:pt x="2720921" y="3685292"/>
                  <a:pt x="2748467" y="3703627"/>
                  <a:pt x="2769891" y="3725018"/>
                </a:cubicBezTo>
                <a:cubicBezTo>
                  <a:pt x="2806619" y="3758631"/>
                  <a:pt x="2840287" y="3795301"/>
                  <a:pt x="2873954" y="3831971"/>
                </a:cubicBezTo>
                <a:cubicBezTo>
                  <a:pt x="2877014" y="3838082"/>
                  <a:pt x="2861711" y="3859473"/>
                  <a:pt x="2858651" y="3862529"/>
                </a:cubicBezTo>
                <a:cubicBezTo>
                  <a:pt x="2831105" y="3868640"/>
                  <a:pt x="2809680" y="3871696"/>
                  <a:pt x="2797437" y="3874752"/>
                </a:cubicBezTo>
                <a:cubicBezTo>
                  <a:pt x="2760709" y="3856417"/>
                  <a:pt x="2727042" y="3844194"/>
                  <a:pt x="2696436" y="3828915"/>
                </a:cubicBezTo>
                <a:cubicBezTo>
                  <a:pt x="2687254" y="3825859"/>
                  <a:pt x="2681133" y="3813636"/>
                  <a:pt x="2681133" y="3804468"/>
                </a:cubicBezTo>
                <a:cubicBezTo>
                  <a:pt x="2665829" y="3718906"/>
                  <a:pt x="2604616" y="3682236"/>
                  <a:pt x="2531161" y="3660846"/>
                </a:cubicBezTo>
                <a:cubicBezTo>
                  <a:pt x="2540343" y="3666957"/>
                  <a:pt x="2549525" y="3673069"/>
                  <a:pt x="2558706" y="3682236"/>
                </a:cubicBezTo>
                <a:cubicBezTo>
                  <a:pt x="2555646" y="3685292"/>
                  <a:pt x="2552585" y="3691404"/>
                  <a:pt x="2546464" y="3694460"/>
                </a:cubicBezTo>
                <a:lnTo>
                  <a:pt x="2545619" y="3693769"/>
                </a:lnTo>
                <a:lnTo>
                  <a:pt x="2545278" y="3694112"/>
                </a:lnTo>
                <a:lnTo>
                  <a:pt x="2461802" y="3625301"/>
                </a:lnTo>
                <a:lnTo>
                  <a:pt x="2445462" y="3611953"/>
                </a:lnTo>
                <a:lnTo>
                  <a:pt x="2445514" y="3611875"/>
                </a:lnTo>
                <a:lnTo>
                  <a:pt x="2444750" y="3611245"/>
                </a:lnTo>
                <a:cubicBezTo>
                  <a:pt x="2447796" y="3608176"/>
                  <a:pt x="2447796" y="3605106"/>
                  <a:pt x="2450843" y="3602037"/>
                </a:cubicBezTo>
                <a:cubicBezTo>
                  <a:pt x="2466074" y="3608176"/>
                  <a:pt x="2484352" y="3611245"/>
                  <a:pt x="2496537" y="3620452"/>
                </a:cubicBezTo>
                <a:lnTo>
                  <a:pt x="2496804" y="3620794"/>
                </a:lnTo>
                <a:lnTo>
                  <a:pt x="2497493" y="3621120"/>
                </a:lnTo>
                <a:lnTo>
                  <a:pt x="2530046" y="3662485"/>
                </a:lnTo>
                <a:lnTo>
                  <a:pt x="2530046" y="3660648"/>
                </a:lnTo>
                <a:lnTo>
                  <a:pt x="2521213" y="3634872"/>
                </a:lnTo>
                <a:cubicBezTo>
                  <a:pt x="2517388" y="3624940"/>
                  <a:pt x="2512797" y="3615009"/>
                  <a:pt x="2506675" y="3605841"/>
                </a:cubicBezTo>
                <a:cubicBezTo>
                  <a:pt x="2497493" y="3590562"/>
                  <a:pt x="2482190" y="3578339"/>
                  <a:pt x="2469947" y="3566116"/>
                </a:cubicBezTo>
                <a:cubicBezTo>
                  <a:pt x="2494433" y="3550837"/>
                  <a:pt x="2528100" y="3584451"/>
                  <a:pt x="2537282" y="3544725"/>
                </a:cubicBezTo>
                <a:lnTo>
                  <a:pt x="2537282" y="3544613"/>
                </a:lnTo>
                <a:lnTo>
                  <a:pt x="2536931" y="3544303"/>
                </a:lnTo>
                <a:lnTo>
                  <a:pt x="2536931" y="3529156"/>
                </a:lnTo>
                <a:lnTo>
                  <a:pt x="2440871" y="3449614"/>
                </a:lnTo>
                <a:cubicBezTo>
                  <a:pt x="2410265" y="3421730"/>
                  <a:pt x="2382719" y="3390408"/>
                  <a:pt x="2362825" y="3349154"/>
                </a:cubicBezTo>
                <a:cubicBezTo>
                  <a:pt x="2387310" y="3364433"/>
                  <a:pt x="2411795" y="3379712"/>
                  <a:pt x="2436280" y="3394991"/>
                </a:cubicBezTo>
                <a:cubicBezTo>
                  <a:pt x="2442401" y="3361378"/>
                  <a:pt x="2405674" y="3306373"/>
                  <a:pt x="2372007" y="3306373"/>
                </a:cubicBezTo>
                <a:cubicBezTo>
                  <a:pt x="2335279" y="3303317"/>
                  <a:pt x="2310793" y="3294150"/>
                  <a:pt x="2289369" y="3260536"/>
                </a:cubicBezTo>
                <a:cubicBezTo>
                  <a:pt x="2280187" y="3242201"/>
                  <a:pt x="2249580" y="3236090"/>
                  <a:pt x="2218974" y="3214699"/>
                </a:cubicBezTo>
                <a:cubicBezTo>
                  <a:pt x="2243459" y="3248313"/>
                  <a:pt x="2261823" y="3269703"/>
                  <a:pt x="2280187" y="3294150"/>
                </a:cubicBezTo>
                <a:cubicBezTo>
                  <a:pt x="2274065" y="3297206"/>
                  <a:pt x="2267944" y="3303317"/>
                  <a:pt x="2264883" y="3309429"/>
                </a:cubicBezTo>
                <a:cubicBezTo>
                  <a:pt x="2240398" y="3291094"/>
                  <a:pt x="2218974" y="3275815"/>
                  <a:pt x="2197549" y="3257480"/>
                </a:cubicBezTo>
                <a:cubicBezTo>
                  <a:pt x="2194488" y="3257480"/>
                  <a:pt x="2194488" y="3260536"/>
                  <a:pt x="2194488" y="3260536"/>
                </a:cubicBezTo>
                <a:cubicBezTo>
                  <a:pt x="2228156" y="3309429"/>
                  <a:pt x="2261823" y="3364433"/>
                  <a:pt x="2304672" y="3407215"/>
                </a:cubicBezTo>
                <a:cubicBezTo>
                  <a:pt x="2344461" y="3446940"/>
                  <a:pt x="2399552" y="3471386"/>
                  <a:pt x="2451583" y="3505000"/>
                </a:cubicBezTo>
                <a:cubicBezTo>
                  <a:pt x="2433219" y="3517223"/>
                  <a:pt x="2420977" y="3526391"/>
                  <a:pt x="2408734" y="3535558"/>
                </a:cubicBezTo>
                <a:cubicBezTo>
                  <a:pt x="2381189" y="3511112"/>
                  <a:pt x="2356703" y="3489721"/>
                  <a:pt x="2329157" y="3462219"/>
                </a:cubicBezTo>
                <a:cubicBezTo>
                  <a:pt x="2316915" y="3471386"/>
                  <a:pt x="2301611" y="3483610"/>
                  <a:pt x="2283247" y="3495833"/>
                </a:cubicBezTo>
                <a:cubicBezTo>
                  <a:pt x="2292429" y="3501944"/>
                  <a:pt x="2301611" y="3511112"/>
                  <a:pt x="2316915" y="3523335"/>
                </a:cubicBezTo>
                <a:cubicBezTo>
                  <a:pt x="2307733" y="3526391"/>
                  <a:pt x="2301611" y="3526391"/>
                  <a:pt x="2280187" y="3532502"/>
                </a:cubicBezTo>
                <a:cubicBezTo>
                  <a:pt x="2335279" y="3575283"/>
                  <a:pt x="2384249" y="3615009"/>
                  <a:pt x="2433219" y="3654734"/>
                </a:cubicBezTo>
                <a:cubicBezTo>
                  <a:pt x="2433219" y="3657790"/>
                  <a:pt x="2430159" y="3660846"/>
                  <a:pt x="2427098" y="3663902"/>
                </a:cubicBezTo>
                <a:cubicBezTo>
                  <a:pt x="2405674" y="3651678"/>
                  <a:pt x="2384249" y="3639455"/>
                  <a:pt x="2362825" y="3627232"/>
                </a:cubicBezTo>
                <a:cubicBezTo>
                  <a:pt x="2356703" y="3630288"/>
                  <a:pt x="2350582" y="3636399"/>
                  <a:pt x="2338339" y="3645567"/>
                </a:cubicBezTo>
                <a:cubicBezTo>
                  <a:pt x="2387310" y="3685292"/>
                  <a:pt x="2436280" y="3721962"/>
                  <a:pt x="2482190" y="3758631"/>
                </a:cubicBezTo>
                <a:cubicBezTo>
                  <a:pt x="2479129" y="3761687"/>
                  <a:pt x="2479129" y="3761687"/>
                  <a:pt x="2476069" y="3764743"/>
                </a:cubicBezTo>
                <a:cubicBezTo>
                  <a:pt x="2463826" y="3761687"/>
                  <a:pt x="2448523" y="3755576"/>
                  <a:pt x="2433219" y="3752520"/>
                </a:cubicBezTo>
                <a:cubicBezTo>
                  <a:pt x="2433219" y="3755576"/>
                  <a:pt x="2430159" y="3761687"/>
                  <a:pt x="2427098" y="3764743"/>
                </a:cubicBezTo>
                <a:cubicBezTo>
                  <a:pt x="2463826" y="3807524"/>
                  <a:pt x="2503615" y="3847250"/>
                  <a:pt x="2537282" y="3880863"/>
                </a:cubicBezTo>
                <a:cubicBezTo>
                  <a:pt x="2574009" y="3896142"/>
                  <a:pt x="2622980" y="3896142"/>
                  <a:pt x="2638283" y="3920589"/>
                </a:cubicBezTo>
                <a:cubicBezTo>
                  <a:pt x="2653587" y="3948091"/>
                  <a:pt x="2699497" y="3941979"/>
                  <a:pt x="2705618" y="3981705"/>
                </a:cubicBezTo>
                <a:cubicBezTo>
                  <a:pt x="2705618" y="3969482"/>
                  <a:pt x="2708678" y="3960314"/>
                  <a:pt x="2708678" y="3948091"/>
                </a:cubicBezTo>
                <a:lnTo>
                  <a:pt x="2708506" y="3947985"/>
                </a:lnTo>
                <a:lnTo>
                  <a:pt x="2707951" y="3948112"/>
                </a:lnTo>
                <a:cubicBezTo>
                  <a:pt x="2695640" y="3938961"/>
                  <a:pt x="2683329" y="3929809"/>
                  <a:pt x="2667940" y="3923708"/>
                </a:cubicBezTo>
                <a:cubicBezTo>
                  <a:pt x="2671018" y="3920658"/>
                  <a:pt x="2671018" y="3917607"/>
                  <a:pt x="2674095" y="3914557"/>
                </a:cubicBezTo>
                <a:lnTo>
                  <a:pt x="2674821" y="3914762"/>
                </a:lnTo>
                <a:lnTo>
                  <a:pt x="2675011" y="3914477"/>
                </a:lnTo>
                <a:cubicBezTo>
                  <a:pt x="2678072" y="3916005"/>
                  <a:pt x="2681133" y="3916769"/>
                  <a:pt x="2685724" y="3917533"/>
                </a:cubicBezTo>
                <a:lnTo>
                  <a:pt x="2704608" y="3920434"/>
                </a:lnTo>
                <a:lnTo>
                  <a:pt x="2671787" y="3892822"/>
                </a:lnTo>
                <a:cubicBezTo>
                  <a:pt x="2661784" y="3884814"/>
                  <a:pt x="2652551" y="3877951"/>
                  <a:pt x="2643317" y="3871850"/>
                </a:cubicBezTo>
                <a:cubicBezTo>
                  <a:pt x="2624850" y="3856598"/>
                  <a:pt x="2606383" y="3844396"/>
                  <a:pt x="2597150" y="3835244"/>
                </a:cubicBezTo>
                <a:cubicBezTo>
                  <a:pt x="2600228" y="3819992"/>
                  <a:pt x="2600228" y="3810840"/>
                  <a:pt x="2603306" y="3792537"/>
                </a:cubicBezTo>
                <a:lnTo>
                  <a:pt x="2604458" y="3793411"/>
                </a:lnTo>
                <a:lnTo>
                  <a:pt x="2604616" y="3792245"/>
                </a:lnTo>
                <a:cubicBezTo>
                  <a:pt x="2653587" y="3828915"/>
                  <a:pt x="2699497" y="3865584"/>
                  <a:pt x="2748467" y="3902254"/>
                </a:cubicBezTo>
                <a:cubicBezTo>
                  <a:pt x="2745406" y="3905310"/>
                  <a:pt x="2742345" y="3908366"/>
                  <a:pt x="2742345" y="3911421"/>
                </a:cubicBezTo>
                <a:lnTo>
                  <a:pt x="2742013" y="3911200"/>
                </a:lnTo>
                <a:lnTo>
                  <a:pt x="2741807" y="3911506"/>
                </a:lnTo>
                <a:lnTo>
                  <a:pt x="2696036" y="3881263"/>
                </a:lnTo>
                <a:lnTo>
                  <a:pt x="2690315" y="3886975"/>
                </a:lnTo>
                <a:cubicBezTo>
                  <a:pt x="2711739" y="3905310"/>
                  <a:pt x="2730103" y="3923645"/>
                  <a:pt x="2748467" y="3938924"/>
                </a:cubicBezTo>
                <a:cubicBezTo>
                  <a:pt x="2779073" y="3969482"/>
                  <a:pt x="2809680" y="3996984"/>
                  <a:pt x="2840287" y="4024486"/>
                </a:cubicBezTo>
                <a:cubicBezTo>
                  <a:pt x="2889257" y="4058100"/>
                  <a:pt x="2935167" y="4094769"/>
                  <a:pt x="2981077" y="4128383"/>
                </a:cubicBezTo>
                <a:cubicBezTo>
                  <a:pt x="2978016" y="4134495"/>
                  <a:pt x="2974955" y="4137550"/>
                  <a:pt x="2971895" y="4143662"/>
                </a:cubicBezTo>
                <a:cubicBezTo>
                  <a:pt x="2962713" y="4140606"/>
                  <a:pt x="2950470" y="4134495"/>
                  <a:pt x="2938227" y="4131439"/>
                </a:cubicBezTo>
                <a:cubicBezTo>
                  <a:pt x="2938227" y="4134495"/>
                  <a:pt x="2932106" y="4140606"/>
                  <a:pt x="2935167" y="4140606"/>
                </a:cubicBezTo>
                <a:cubicBezTo>
                  <a:pt x="2953531" y="4161997"/>
                  <a:pt x="2968834" y="4192555"/>
                  <a:pt x="3005562" y="4165053"/>
                </a:cubicBezTo>
                <a:cubicBezTo>
                  <a:pt x="3011683" y="4161997"/>
                  <a:pt x="3026986" y="4168108"/>
                  <a:pt x="3036168" y="4174220"/>
                </a:cubicBezTo>
                <a:lnTo>
                  <a:pt x="3108418" y="4222310"/>
                </a:lnTo>
                <a:lnTo>
                  <a:pt x="3124317" y="4215451"/>
                </a:lnTo>
                <a:cubicBezTo>
                  <a:pt x="3129684" y="4213136"/>
                  <a:pt x="3134284" y="4211593"/>
                  <a:pt x="3135818" y="4213136"/>
                </a:cubicBezTo>
                <a:lnTo>
                  <a:pt x="3136759" y="4214028"/>
                </a:lnTo>
                <a:lnTo>
                  <a:pt x="3137170" y="4213946"/>
                </a:lnTo>
                <a:cubicBezTo>
                  <a:pt x="3170837" y="4244504"/>
                  <a:pt x="3207565" y="4278117"/>
                  <a:pt x="3241232" y="4311731"/>
                </a:cubicBezTo>
                <a:cubicBezTo>
                  <a:pt x="3238171" y="4314787"/>
                  <a:pt x="3235111" y="4317843"/>
                  <a:pt x="3232050" y="4320898"/>
                </a:cubicBezTo>
                <a:lnTo>
                  <a:pt x="3231550" y="4320508"/>
                </a:lnTo>
                <a:lnTo>
                  <a:pt x="3230888" y="4321174"/>
                </a:lnTo>
                <a:lnTo>
                  <a:pt x="3107517" y="4224256"/>
                </a:lnTo>
                <a:lnTo>
                  <a:pt x="3152473" y="4278117"/>
                </a:lnTo>
                <a:cubicBezTo>
                  <a:pt x="3164716" y="4290340"/>
                  <a:pt x="3180019" y="4302564"/>
                  <a:pt x="3192261" y="4314787"/>
                </a:cubicBezTo>
                <a:cubicBezTo>
                  <a:pt x="3158594" y="4334650"/>
                  <a:pt x="3138700" y="4322426"/>
                  <a:pt x="3120719" y="4304856"/>
                </a:cubicBezTo>
                <a:lnTo>
                  <a:pt x="3120683" y="4304819"/>
                </a:lnTo>
                <a:lnTo>
                  <a:pt x="3119862" y="4303999"/>
                </a:lnTo>
                <a:lnTo>
                  <a:pt x="3140231" y="4278117"/>
                </a:lnTo>
                <a:cubicBezTo>
                  <a:pt x="3115745" y="4272006"/>
                  <a:pt x="3091260" y="4265894"/>
                  <a:pt x="3060653" y="4262838"/>
                </a:cubicBezTo>
                <a:cubicBezTo>
                  <a:pt x="3067157" y="4263220"/>
                  <a:pt x="3073039" y="4264939"/>
                  <a:pt x="3078485" y="4267577"/>
                </a:cubicBezTo>
                <a:lnTo>
                  <a:pt x="3083065" y="4270664"/>
                </a:lnTo>
                <a:lnTo>
                  <a:pt x="3093699" y="4277831"/>
                </a:lnTo>
                <a:lnTo>
                  <a:pt x="3099030" y="4283163"/>
                </a:lnTo>
                <a:lnTo>
                  <a:pt x="3119862" y="4303999"/>
                </a:lnTo>
                <a:lnTo>
                  <a:pt x="3106563" y="4320898"/>
                </a:lnTo>
                <a:cubicBezTo>
                  <a:pt x="2840287" y="4320898"/>
                  <a:pt x="2574009" y="4323954"/>
                  <a:pt x="2307733" y="4320898"/>
                </a:cubicBezTo>
                <a:cubicBezTo>
                  <a:pt x="2188367" y="4320898"/>
                  <a:pt x="2069002" y="4317843"/>
                  <a:pt x="1949636" y="4323954"/>
                </a:cubicBezTo>
                <a:cubicBezTo>
                  <a:pt x="1888423" y="4327010"/>
                  <a:pt x="1842513" y="4305619"/>
                  <a:pt x="1799664" y="4268950"/>
                </a:cubicBezTo>
                <a:cubicBezTo>
                  <a:pt x="1781300" y="4253671"/>
                  <a:pt x="1762936" y="4232280"/>
                  <a:pt x="1744572" y="4213946"/>
                </a:cubicBezTo>
                <a:cubicBezTo>
                  <a:pt x="1738451" y="4213946"/>
                  <a:pt x="1729269" y="4213946"/>
                  <a:pt x="1723148" y="4213946"/>
                </a:cubicBezTo>
                <a:cubicBezTo>
                  <a:pt x="1677238" y="4226169"/>
                  <a:pt x="1720087" y="4250615"/>
                  <a:pt x="1717026" y="4268950"/>
                </a:cubicBezTo>
                <a:cubicBezTo>
                  <a:pt x="1680299" y="4268950"/>
                  <a:pt x="1661935" y="4253671"/>
                  <a:pt x="1643571" y="4217001"/>
                </a:cubicBezTo>
                <a:cubicBezTo>
                  <a:pt x="1625207" y="4183387"/>
                  <a:pt x="1591540" y="4152829"/>
                  <a:pt x="1557872" y="4128383"/>
                </a:cubicBezTo>
                <a:cubicBezTo>
                  <a:pt x="1484417" y="4073379"/>
                  <a:pt x="1401779" y="4027542"/>
                  <a:pt x="1331384" y="3969482"/>
                </a:cubicBezTo>
                <a:cubicBezTo>
                  <a:pt x="1309960" y="3951147"/>
                  <a:pt x="1254868" y="3948091"/>
                  <a:pt x="1270171" y="3893087"/>
                </a:cubicBezTo>
                <a:cubicBezTo>
                  <a:pt x="1273232" y="3886975"/>
                  <a:pt x="1245686" y="3871696"/>
                  <a:pt x="1230383" y="3865584"/>
                </a:cubicBezTo>
                <a:cubicBezTo>
                  <a:pt x="1187533" y="3838082"/>
                  <a:pt x="1123260" y="3835026"/>
                  <a:pt x="1132442" y="3758631"/>
                </a:cubicBezTo>
                <a:cubicBezTo>
                  <a:pt x="1132442" y="3749464"/>
                  <a:pt x="1111017" y="3734185"/>
                  <a:pt x="1098774" y="3725018"/>
                </a:cubicBezTo>
                <a:cubicBezTo>
                  <a:pt x="1062047" y="3694460"/>
                  <a:pt x="1028379" y="3666957"/>
                  <a:pt x="994712" y="3639455"/>
                </a:cubicBezTo>
                <a:cubicBezTo>
                  <a:pt x="976348" y="3627232"/>
                  <a:pt x="954924" y="3615009"/>
                  <a:pt x="933499" y="3602786"/>
                </a:cubicBezTo>
                <a:cubicBezTo>
                  <a:pt x="942681" y="3593618"/>
                  <a:pt x="951863" y="3587507"/>
                  <a:pt x="957984" y="3578339"/>
                </a:cubicBezTo>
                <a:cubicBezTo>
                  <a:pt x="1013076" y="3624176"/>
                  <a:pt x="1068168" y="3666957"/>
                  <a:pt x="1120199" y="3715850"/>
                </a:cubicBezTo>
                <a:cubicBezTo>
                  <a:pt x="1172230" y="3767799"/>
                  <a:pt x="1224261" y="3819747"/>
                  <a:pt x="1294656" y="3847250"/>
                </a:cubicBezTo>
                <a:cubicBezTo>
                  <a:pt x="1297717" y="3844194"/>
                  <a:pt x="1300778" y="3841138"/>
                  <a:pt x="1303838" y="3838082"/>
                </a:cubicBezTo>
                <a:cubicBezTo>
                  <a:pt x="1267110" y="3804468"/>
                  <a:pt x="1230383" y="3773910"/>
                  <a:pt x="1196715" y="3737241"/>
                </a:cubicBezTo>
                <a:cubicBezTo>
                  <a:pt x="1166109" y="3706683"/>
                  <a:pt x="1138563" y="3673069"/>
                  <a:pt x="1107956" y="3642511"/>
                </a:cubicBezTo>
                <a:cubicBezTo>
                  <a:pt x="1065107" y="3605841"/>
                  <a:pt x="1022258" y="3563060"/>
                  <a:pt x="973288" y="3538614"/>
                </a:cubicBezTo>
                <a:cubicBezTo>
                  <a:pt x="954924" y="3526391"/>
                  <a:pt x="948802" y="3523335"/>
                  <a:pt x="939620" y="3505000"/>
                </a:cubicBezTo>
                <a:cubicBezTo>
                  <a:pt x="930438" y="3489721"/>
                  <a:pt x="899832" y="3486665"/>
                  <a:pt x="878407" y="3480554"/>
                </a:cubicBezTo>
                <a:cubicBezTo>
                  <a:pt x="829437" y="3468331"/>
                  <a:pt x="780466" y="3459163"/>
                  <a:pt x="731496" y="3446940"/>
                </a:cubicBezTo>
                <a:cubicBezTo>
                  <a:pt x="734557" y="3440828"/>
                  <a:pt x="734557" y="3434717"/>
                  <a:pt x="734557" y="3428605"/>
                </a:cubicBezTo>
                <a:cubicBezTo>
                  <a:pt x="752921" y="3425549"/>
                  <a:pt x="771284" y="3422494"/>
                  <a:pt x="789648" y="3419438"/>
                </a:cubicBezTo>
                <a:cubicBezTo>
                  <a:pt x="789648" y="3413326"/>
                  <a:pt x="792709" y="3410270"/>
                  <a:pt x="792709" y="3407215"/>
                </a:cubicBezTo>
                <a:cubicBezTo>
                  <a:pt x="737617" y="3391936"/>
                  <a:pt x="682526" y="3382768"/>
                  <a:pt x="630494" y="3361378"/>
                </a:cubicBezTo>
                <a:cubicBezTo>
                  <a:pt x="575403" y="3343043"/>
                  <a:pt x="526432" y="3312485"/>
                  <a:pt x="477462" y="3288038"/>
                </a:cubicBezTo>
                <a:cubicBezTo>
                  <a:pt x="477462" y="3291094"/>
                  <a:pt x="486644" y="3281927"/>
                  <a:pt x="492765" y="3272759"/>
                </a:cubicBezTo>
                <a:cubicBezTo>
                  <a:pt x="489704" y="3269703"/>
                  <a:pt x="486644" y="3263592"/>
                  <a:pt x="486644" y="3263592"/>
                </a:cubicBezTo>
                <a:cubicBezTo>
                  <a:pt x="459098" y="3272759"/>
                  <a:pt x="422370" y="3242201"/>
                  <a:pt x="404006" y="3281927"/>
                </a:cubicBezTo>
                <a:cubicBezTo>
                  <a:pt x="404006" y="3281927"/>
                  <a:pt x="394824" y="3278871"/>
                  <a:pt x="388703" y="3275815"/>
                </a:cubicBezTo>
                <a:cubicBezTo>
                  <a:pt x="391763" y="3269703"/>
                  <a:pt x="394824" y="3260536"/>
                  <a:pt x="397885" y="3260536"/>
                </a:cubicBezTo>
                <a:cubicBezTo>
                  <a:pt x="422370" y="3255952"/>
                  <a:pt x="446090" y="3251369"/>
                  <a:pt x="469810" y="3248313"/>
                </a:cubicBezTo>
                <a:lnTo>
                  <a:pt x="477370" y="3247991"/>
                </a:lnTo>
                <a:lnTo>
                  <a:pt x="486644" y="3247597"/>
                </a:lnTo>
                <a:lnTo>
                  <a:pt x="486644" y="3251369"/>
                </a:lnTo>
                <a:cubicBezTo>
                  <a:pt x="523372" y="3260536"/>
                  <a:pt x="557039" y="3266648"/>
                  <a:pt x="596827" y="3272759"/>
                </a:cubicBezTo>
                <a:cubicBezTo>
                  <a:pt x="596827" y="3263592"/>
                  <a:pt x="596827" y="3257480"/>
                  <a:pt x="599888" y="3248313"/>
                </a:cubicBezTo>
                <a:cubicBezTo>
                  <a:pt x="654980" y="3254424"/>
                  <a:pt x="716193" y="3272759"/>
                  <a:pt x="768224" y="3260536"/>
                </a:cubicBezTo>
                <a:cubicBezTo>
                  <a:pt x="847801" y="3239145"/>
                  <a:pt x="915135" y="3266648"/>
                  <a:pt x="985530" y="3284982"/>
                </a:cubicBezTo>
                <a:cubicBezTo>
                  <a:pt x="988591" y="3284982"/>
                  <a:pt x="991652" y="3288038"/>
                  <a:pt x="994712" y="3291094"/>
                </a:cubicBezTo>
                <a:cubicBezTo>
                  <a:pt x="985530" y="3294150"/>
                  <a:pt x="976348" y="3297206"/>
                  <a:pt x="970227" y="3297206"/>
                </a:cubicBezTo>
                <a:cubicBezTo>
                  <a:pt x="967166" y="3300261"/>
                  <a:pt x="967166" y="3306373"/>
                  <a:pt x="967166" y="3309429"/>
                </a:cubicBezTo>
                <a:cubicBezTo>
                  <a:pt x="1034501" y="3324708"/>
                  <a:pt x="1101835" y="3339987"/>
                  <a:pt x="1172230" y="3355266"/>
                </a:cubicBezTo>
                <a:cubicBezTo>
                  <a:pt x="1132442" y="3321652"/>
                  <a:pt x="1095714" y="3288038"/>
                  <a:pt x="1055925" y="3251369"/>
                </a:cubicBezTo>
                <a:cubicBezTo>
                  <a:pt x="1043683" y="3239145"/>
                  <a:pt x="1028379" y="3223866"/>
                  <a:pt x="1019197" y="3205532"/>
                </a:cubicBezTo>
                <a:cubicBezTo>
                  <a:pt x="1016137" y="3202476"/>
                  <a:pt x="1025319" y="3190253"/>
                  <a:pt x="1031440" y="3178029"/>
                </a:cubicBezTo>
                <a:cubicBezTo>
                  <a:pt x="1034501" y="3178029"/>
                  <a:pt x="1022258" y="3171918"/>
                  <a:pt x="1016137" y="3162750"/>
                </a:cubicBezTo>
                <a:cubicBezTo>
                  <a:pt x="976348" y="3126081"/>
                  <a:pt x="954924" y="3074132"/>
                  <a:pt x="905953" y="3046630"/>
                </a:cubicBezTo>
                <a:cubicBezTo>
                  <a:pt x="884529" y="3031351"/>
                  <a:pt x="869225" y="3006905"/>
                  <a:pt x="847801" y="2991626"/>
                </a:cubicBezTo>
                <a:cubicBezTo>
                  <a:pt x="835558" y="2982458"/>
                  <a:pt x="814134" y="2979403"/>
                  <a:pt x="804952" y="2970235"/>
                </a:cubicBezTo>
                <a:cubicBezTo>
                  <a:pt x="792709" y="2954956"/>
                  <a:pt x="780466" y="2939677"/>
                  <a:pt x="768224" y="2924398"/>
                </a:cubicBezTo>
                <a:cubicBezTo>
                  <a:pt x="743739" y="2893840"/>
                  <a:pt x="694768" y="2860226"/>
                  <a:pt x="700889" y="2832724"/>
                </a:cubicBezTo>
                <a:cubicBezTo>
                  <a:pt x="710071" y="2786887"/>
                  <a:pt x="658040" y="2765497"/>
                  <a:pt x="670283" y="2722715"/>
                </a:cubicBezTo>
                <a:cubicBezTo>
                  <a:pt x="673344" y="2710492"/>
                  <a:pt x="642737" y="2689102"/>
                  <a:pt x="636616" y="2661599"/>
                </a:cubicBezTo>
                <a:cubicBezTo>
                  <a:pt x="658040" y="2667711"/>
                  <a:pt x="679465" y="2673823"/>
                  <a:pt x="700889" y="2679934"/>
                </a:cubicBezTo>
                <a:cubicBezTo>
                  <a:pt x="645798" y="2621874"/>
                  <a:pt x="587645" y="2563814"/>
                  <a:pt x="529493" y="2502698"/>
                </a:cubicBezTo>
                <a:cubicBezTo>
                  <a:pt x="566221" y="2505754"/>
                  <a:pt x="596827" y="2508810"/>
                  <a:pt x="642737" y="2514921"/>
                </a:cubicBezTo>
                <a:cubicBezTo>
                  <a:pt x="624373" y="2475196"/>
                  <a:pt x="609070" y="2444638"/>
                  <a:pt x="593767" y="2414080"/>
                </a:cubicBezTo>
                <a:cubicBezTo>
                  <a:pt x="590706" y="2414080"/>
                  <a:pt x="587645" y="2414080"/>
                  <a:pt x="584585" y="2417136"/>
                </a:cubicBezTo>
                <a:cubicBezTo>
                  <a:pt x="584585" y="2426303"/>
                  <a:pt x="584585" y="2432415"/>
                  <a:pt x="581524" y="2447694"/>
                </a:cubicBezTo>
                <a:cubicBezTo>
                  <a:pt x="566221" y="2435470"/>
                  <a:pt x="553978" y="2426303"/>
                  <a:pt x="532553" y="2407968"/>
                </a:cubicBezTo>
                <a:cubicBezTo>
                  <a:pt x="550917" y="2411024"/>
                  <a:pt x="560099" y="2411024"/>
                  <a:pt x="578463" y="2411024"/>
                </a:cubicBezTo>
                <a:cubicBezTo>
                  <a:pt x="557039" y="2395745"/>
                  <a:pt x="541735" y="2386578"/>
                  <a:pt x="529493" y="2377410"/>
                </a:cubicBezTo>
                <a:cubicBezTo>
                  <a:pt x="569281" y="2337685"/>
                  <a:pt x="532553" y="2313238"/>
                  <a:pt x="498886" y="2285736"/>
                </a:cubicBezTo>
                <a:cubicBezTo>
                  <a:pt x="514190" y="2282680"/>
                  <a:pt x="520311" y="2282680"/>
                  <a:pt x="529493" y="2279625"/>
                </a:cubicBezTo>
                <a:cubicBezTo>
                  <a:pt x="517250" y="2264346"/>
                  <a:pt x="501947" y="2246011"/>
                  <a:pt x="486644" y="2227676"/>
                </a:cubicBezTo>
                <a:cubicBezTo>
                  <a:pt x="498886" y="2227676"/>
                  <a:pt x="511129" y="2224620"/>
                  <a:pt x="529493" y="2224620"/>
                </a:cubicBezTo>
                <a:cubicBezTo>
                  <a:pt x="508068" y="2212397"/>
                  <a:pt x="495826" y="2203230"/>
                  <a:pt x="483583" y="2194062"/>
                </a:cubicBezTo>
                <a:cubicBezTo>
                  <a:pt x="483583" y="2194062"/>
                  <a:pt x="483583" y="2191006"/>
                  <a:pt x="483583" y="2187951"/>
                </a:cubicBezTo>
                <a:cubicBezTo>
                  <a:pt x="501947" y="2187951"/>
                  <a:pt x="517250" y="2191006"/>
                  <a:pt x="541735" y="2194062"/>
                </a:cubicBezTo>
                <a:cubicBezTo>
                  <a:pt x="511129" y="2123779"/>
                  <a:pt x="443795" y="2090165"/>
                  <a:pt x="391763" y="2032105"/>
                </a:cubicBezTo>
                <a:cubicBezTo>
                  <a:pt x="477462" y="2068774"/>
                  <a:pt x="529493" y="2145169"/>
                  <a:pt x="615191" y="2151281"/>
                </a:cubicBezTo>
                <a:cubicBezTo>
                  <a:pt x="648858" y="2102388"/>
                  <a:pt x="624373" y="2056551"/>
                  <a:pt x="615191" y="2010714"/>
                </a:cubicBezTo>
                <a:cubicBezTo>
                  <a:pt x="612130" y="2007658"/>
                  <a:pt x="606009" y="2004603"/>
                  <a:pt x="599888" y="2004603"/>
                </a:cubicBezTo>
                <a:cubicBezTo>
                  <a:pt x="566221" y="1995435"/>
                  <a:pt x="532553" y="1986268"/>
                  <a:pt x="492765" y="1977101"/>
                </a:cubicBezTo>
                <a:cubicBezTo>
                  <a:pt x="532553" y="2007658"/>
                  <a:pt x="572342" y="2032105"/>
                  <a:pt x="609070" y="2059607"/>
                </a:cubicBezTo>
                <a:cubicBezTo>
                  <a:pt x="609070" y="2062663"/>
                  <a:pt x="606009" y="2065719"/>
                  <a:pt x="606009" y="2068774"/>
                </a:cubicBezTo>
                <a:cubicBezTo>
                  <a:pt x="593767" y="2062663"/>
                  <a:pt x="584585" y="2056551"/>
                  <a:pt x="572342" y="2053495"/>
                </a:cubicBezTo>
                <a:cubicBezTo>
                  <a:pt x="544796" y="2044328"/>
                  <a:pt x="517250" y="2035161"/>
                  <a:pt x="489704" y="2022937"/>
                </a:cubicBezTo>
                <a:cubicBezTo>
                  <a:pt x="465219" y="2010714"/>
                  <a:pt x="440734" y="1995435"/>
                  <a:pt x="413188" y="1983212"/>
                </a:cubicBezTo>
                <a:cubicBezTo>
                  <a:pt x="391763" y="1977101"/>
                  <a:pt x="370339" y="1974045"/>
                  <a:pt x="339732" y="1967933"/>
                </a:cubicBezTo>
                <a:cubicBezTo>
                  <a:pt x="361157" y="1998491"/>
                  <a:pt x="373399" y="2013770"/>
                  <a:pt x="385642" y="2032105"/>
                </a:cubicBezTo>
                <a:cubicBezTo>
                  <a:pt x="382581" y="2032105"/>
                  <a:pt x="379521" y="2035161"/>
                  <a:pt x="376460" y="2038216"/>
                </a:cubicBezTo>
                <a:cubicBezTo>
                  <a:pt x="330550" y="2001547"/>
                  <a:pt x="287701" y="1967933"/>
                  <a:pt x="244852" y="1934319"/>
                </a:cubicBezTo>
                <a:cubicBezTo>
                  <a:pt x="202003" y="1897650"/>
                  <a:pt x="159154" y="1857924"/>
                  <a:pt x="116305" y="1821255"/>
                </a:cubicBezTo>
                <a:cubicBezTo>
                  <a:pt x="128547" y="1812087"/>
                  <a:pt x="131608" y="1809032"/>
                  <a:pt x="131608" y="1809032"/>
                </a:cubicBezTo>
                <a:cubicBezTo>
                  <a:pt x="192821" y="1857924"/>
                  <a:pt x="254034" y="1906817"/>
                  <a:pt x="318308" y="1955710"/>
                </a:cubicBezTo>
                <a:cubicBezTo>
                  <a:pt x="299944" y="1903761"/>
                  <a:pt x="257095" y="1876259"/>
                  <a:pt x="217306" y="1842645"/>
                </a:cubicBezTo>
                <a:cubicBezTo>
                  <a:pt x="159154" y="1796808"/>
                  <a:pt x="104062" y="1747916"/>
                  <a:pt x="48970" y="1699023"/>
                </a:cubicBezTo>
                <a:cubicBezTo>
                  <a:pt x="30606" y="1683744"/>
                  <a:pt x="21424" y="1659297"/>
                  <a:pt x="0" y="1625684"/>
                </a:cubicBezTo>
                <a:cubicBezTo>
                  <a:pt x="39788" y="1640963"/>
                  <a:pt x="67334" y="1653186"/>
                  <a:pt x="94880" y="1665409"/>
                </a:cubicBezTo>
                <a:cubicBezTo>
                  <a:pt x="125487" y="1680688"/>
                  <a:pt x="159154" y="1711246"/>
                  <a:pt x="186700" y="1705134"/>
                </a:cubicBezTo>
                <a:cubicBezTo>
                  <a:pt x="226488" y="1692911"/>
                  <a:pt x="247913" y="1720413"/>
                  <a:pt x="281580" y="1726525"/>
                </a:cubicBezTo>
                <a:cubicBezTo>
                  <a:pt x="250973" y="1689855"/>
                  <a:pt x="223427" y="1650130"/>
                  <a:pt x="192821" y="1613460"/>
                </a:cubicBezTo>
                <a:cubicBezTo>
                  <a:pt x="195882" y="1610405"/>
                  <a:pt x="198942" y="1607349"/>
                  <a:pt x="202003" y="1604293"/>
                </a:cubicBezTo>
                <a:cubicBezTo>
                  <a:pt x="220367" y="1610405"/>
                  <a:pt x="241791" y="1613460"/>
                  <a:pt x="272398" y="1622628"/>
                </a:cubicBezTo>
                <a:cubicBezTo>
                  <a:pt x="238731" y="1561512"/>
                  <a:pt x="177518" y="1552344"/>
                  <a:pt x="131608" y="1503452"/>
                </a:cubicBezTo>
                <a:cubicBezTo>
                  <a:pt x="165275" y="1506508"/>
                  <a:pt x="192821" y="1506508"/>
                  <a:pt x="217306" y="1515675"/>
                </a:cubicBezTo>
                <a:cubicBezTo>
                  <a:pt x="244852" y="1524842"/>
                  <a:pt x="275459" y="1540121"/>
                  <a:pt x="306065" y="1549289"/>
                </a:cubicBezTo>
                <a:cubicBezTo>
                  <a:pt x="263216" y="1518731"/>
                  <a:pt x="220367" y="1488173"/>
                  <a:pt x="171396" y="1451503"/>
                </a:cubicBezTo>
                <a:cubicBezTo>
                  <a:pt x="250973" y="1424001"/>
                  <a:pt x="287701" y="1500396"/>
                  <a:pt x="351975" y="1506508"/>
                </a:cubicBezTo>
                <a:cubicBezTo>
                  <a:pt x="336672" y="1485117"/>
                  <a:pt x="321368" y="1466782"/>
                  <a:pt x="303004" y="1445392"/>
                </a:cubicBezTo>
                <a:cubicBezTo>
                  <a:pt x="312186" y="1442336"/>
                  <a:pt x="321368" y="1442336"/>
                  <a:pt x="327490" y="1442336"/>
                </a:cubicBezTo>
                <a:cubicBezTo>
                  <a:pt x="324429" y="1427057"/>
                  <a:pt x="321368" y="1414834"/>
                  <a:pt x="318308" y="1402610"/>
                </a:cubicBezTo>
                <a:cubicBezTo>
                  <a:pt x="330550" y="1402610"/>
                  <a:pt x="345854" y="1408722"/>
                  <a:pt x="355036" y="1402610"/>
                </a:cubicBezTo>
                <a:cubicBezTo>
                  <a:pt x="382581" y="1387331"/>
                  <a:pt x="404006" y="1368997"/>
                  <a:pt x="422370" y="1344550"/>
                </a:cubicBezTo>
                <a:cubicBezTo>
                  <a:pt x="446855" y="1341494"/>
                  <a:pt x="471340" y="1338439"/>
                  <a:pt x="495826" y="1335383"/>
                </a:cubicBezTo>
                <a:cubicBezTo>
                  <a:pt x="511129" y="1332327"/>
                  <a:pt x="532553" y="1326215"/>
                  <a:pt x="547857" y="1332327"/>
                </a:cubicBezTo>
                <a:cubicBezTo>
                  <a:pt x="578463" y="1347606"/>
                  <a:pt x="609070" y="1368997"/>
                  <a:pt x="639676" y="1387331"/>
                </a:cubicBezTo>
                <a:cubicBezTo>
                  <a:pt x="670283" y="1402610"/>
                  <a:pt x="700889" y="1414834"/>
                  <a:pt x="743739" y="1433168"/>
                </a:cubicBezTo>
                <a:cubicBezTo>
                  <a:pt x="725375" y="1439280"/>
                  <a:pt x="716193" y="1442336"/>
                  <a:pt x="707011" y="1448447"/>
                </a:cubicBezTo>
                <a:cubicBezTo>
                  <a:pt x="716193" y="1454559"/>
                  <a:pt x="722314" y="1457615"/>
                  <a:pt x="722314" y="1457615"/>
                </a:cubicBezTo>
                <a:cubicBezTo>
                  <a:pt x="749860" y="1436224"/>
                  <a:pt x="768224" y="1451503"/>
                  <a:pt x="786588" y="1472894"/>
                </a:cubicBezTo>
                <a:cubicBezTo>
                  <a:pt x="814134" y="1503452"/>
                  <a:pt x="844740" y="1534010"/>
                  <a:pt x="869225" y="1570679"/>
                </a:cubicBezTo>
                <a:cubicBezTo>
                  <a:pt x="844740" y="1552344"/>
                  <a:pt x="820255" y="1534010"/>
                  <a:pt x="792709" y="1518731"/>
                </a:cubicBezTo>
                <a:cubicBezTo>
                  <a:pt x="771284" y="1506508"/>
                  <a:pt x="746799" y="1497340"/>
                  <a:pt x="725375" y="1494284"/>
                </a:cubicBezTo>
                <a:cubicBezTo>
                  <a:pt x="713132" y="1491229"/>
                  <a:pt x="700889" y="1506508"/>
                  <a:pt x="694768" y="1521787"/>
                </a:cubicBezTo>
                <a:cubicBezTo>
                  <a:pt x="673344" y="1524842"/>
                  <a:pt x="648858" y="1530954"/>
                  <a:pt x="627434" y="1534010"/>
                </a:cubicBezTo>
                <a:cubicBezTo>
                  <a:pt x="645798" y="1549289"/>
                  <a:pt x="664162" y="1561512"/>
                  <a:pt x="682526" y="1576791"/>
                </a:cubicBezTo>
                <a:cubicBezTo>
                  <a:pt x="691707" y="1582902"/>
                  <a:pt x="697829" y="1595126"/>
                  <a:pt x="703950" y="1604293"/>
                </a:cubicBezTo>
                <a:cubicBezTo>
                  <a:pt x="707011" y="1607349"/>
                  <a:pt x="697829" y="1622628"/>
                  <a:pt x="694768" y="1622628"/>
                </a:cubicBezTo>
                <a:cubicBezTo>
                  <a:pt x="682526" y="1616516"/>
                  <a:pt x="667222" y="1613460"/>
                  <a:pt x="654980" y="1604293"/>
                </a:cubicBezTo>
                <a:cubicBezTo>
                  <a:pt x="648858" y="1598181"/>
                  <a:pt x="642737" y="1589014"/>
                  <a:pt x="630494" y="1573735"/>
                </a:cubicBezTo>
                <a:cubicBezTo>
                  <a:pt x="630494" y="1598181"/>
                  <a:pt x="630494" y="1616516"/>
                  <a:pt x="630494" y="1647074"/>
                </a:cubicBezTo>
                <a:cubicBezTo>
                  <a:pt x="667222" y="1677632"/>
                  <a:pt x="716193" y="1714302"/>
                  <a:pt x="765163" y="1750971"/>
                </a:cubicBezTo>
                <a:cubicBezTo>
                  <a:pt x="774345" y="1757083"/>
                  <a:pt x="792709" y="1750971"/>
                  <a:pt x="804952" y="1754027"/>
                </a:cubicBezTo>
                <a:cubicBezTo>
                  <a:pt x="826376" y="1757083"/>
                  <a:pt x="847801" y="1766250"/>
                  <a:pt x="875347" y="1775418"/>
                </a:cubicBezTo>
                <a:cubicBezTo>
                  <a:pt x="829437" y="1796808"/>
                  <a:pt x="847801" y="1809032"/>
                  <a:pt x="869225" y="1824311"/>
                </a:cubicBezTo>
                <a:cubicBezTo>
                  <a:pt x="890650" y="1839590"/>
                  <a:pt x="905953" y="1854869"/>
                  <a:pt x="924317" y="1870148"/>
                </a:cubicBezTo>
                <a:cubicBezTo>
                  <a:pt x="921256" y="1876259"/>
                  <a:pt x="918196" y="1882371"/>
                  <a:pt x="915135" y="1885427"/>
                </a:cubicBezTo>
                <a:cubicBezTo>
                  <a:pt x="863104" y="1864036"/>
                  <a:pt x="811073" y="1842645"/>
                  <a:pt x="762103" y="1821255"/>
                </a:cubicBezTo>
                <a:cubicBezTo>
                  <a:pt x="759042" y="1824311"/>
                  <a:pt x="755981" y="1827366"/>
                  <a:pt x="752921" y="1830422"/>
                </a:cubicBezTo>
                <a:cubicBezTo>
                  <a:pt x="762103" y="1839590"/>
                  <a:pt x="768224" y="1845701"/>
                  <a:pt x="777406" y="1851813"/>
                </a:cubicBezTo>
                <a:cubicBezTo>
                  <a:pt x="801891" y="1867092"/>
                  <a:pt x="826376" y="1882371"/>
                  <a:pt x="850861" y="1897650"/>
                </a:cubicBezTo>
                <a:cubicBezTo>
                  <a:pt x="893711" y="1925152"/>
                  <a:pt x="893711" y="1925152"/>
                  <a:pt x="866165" y="1970989"/>
                </a:cubicBezTo>
                <a:cubicBezTo>
                  <a:pt x="850861" y="1967933"/>
                  <a:pt x="835558" y="1961822"/>
                  <a:pt x="823316" y="1958766"/>
                </a:cubicBezTo>
                <a:cubicBezTo>
                  <a:pt x="869225" y="1980156"/>
                  <a:pt x="878407" y="2022937"/>
                  <a:pt x="893711" y="2065719"/>
                </a:cubicBezTo>
                <a:cubicBezTo>
                  <a:pt x="902893" y="2093221"/>
                  <a:pt x="939620" y="2111556"/>
                  <a:pt x="964106" y="2129890"/>
                </a:cubicBezTo>
                <a:cubicBezTo>
                  <a:pt x="1010015" y="2160448"/>
                  <a:pt x="1055925" y="2191006"/>
                  <a:pt x="1098774" y="2221564"/>
                </a:cubicBezTo>
                <a:cubicBezTo>
                  <a:pt x="1107956" y="2227676"/>
                  <a:pt x="1114078" y="2239899"/>
                  <a:pt x="1123260" y="2255178"/>
                </a:cubicBezTo>
                <a:cubicBezTo>
                  <a:pt x="1080411" y="2246011"/>
                  <a:pt x="1040622" y="2236843"/>
                  <a:pt x="1003894" y="2230732"/>
                </a:cubicBezTo>
                <a:cubicBezTo>
                  <a:pt x="1000833" y="2233788"/>
                  <a:pt x="1000833" y="2233788"/>
                  <a:pt x="1000833" y="2236843"/>
                </a:cubicBezTo>
                <a:cubicBezTo>
                  <a:pt x="1071229" y="2282680"/>
                  <a:pt x="1144684" y="2331573"/>
                  <a:pt x="1215079" y="2377410"/>
                </a:cubicBezTo>
                <a:cubicBezTo>
                  <a:pt x="1282414" y="2420191"/>
                  <a:pt x="1349748" y="2459917"/>
                  <a:pt x="1426264" y="2505754"/>
                </a:cubicBezTo>
                <a:cubicBezTo>
                  <a:pt x="1429325" y="2478252"/>
                  <a:pt x="1435446" y="2450749"/>
                  <a:pt x="1441568" y="2417136"/>
                </a:cubicBezTo>
                <a:cubicBezTo>
                  <a:pt x="1453810" y="2420191"/>
                  <a:pt x="1466053" y="2423247"/>
                  <a:pt x="1487477" y="2429359"/>
                </a:cubicBezTo>
                <a:cubicBezTo>
                  <a:pt x="1475235" y="2404912"/>
                  <a:pt x="1469114" y="2386578"/>
                  <a:pt x="1453810" y="2371299"/>
                </a:cubicBezTo>
                <a:lnTo>
                  <a:pt x="1377564" y="2301263"/>
                </a:lnTo>
                <a:lnTo>
                  <a:pt x="1377059" y="2301095"/>
                </a:lnTo>
                <a:lnTo>
                  <a:pt x="1376994" y="2301042"/>
                </a:lnTo>
                <a:lnTo>
                  <a:pt x="1347453" y="2303689"/>
                </a:lnTo>
                <a:cubicBezTo>
                  <a:pt x="1339801" y="2307891"/>
                  <a:pt x="1334445" y="2316294"/>
                  <a:pt x="1331384" y="2331573"/>
                </a:cubicBezTo>
                <a:cubicBezTo>
                  <a:pt x="1328323" y="2365187"/>
                  <a:pt x="1282414" y="2374354"/>
                  <a:pt x="1248746" y="2356020"/>
                </a:cubicBezTo>
                <a:cubicBezTo>
                  <a:pt x="1239564" y="2349908"/>
                  <a:pt x="1233443" y="2343796"/>
                  <a:pt x="1221201" y="2331573"/>
                </a:cubicBezTo>
                <a:cubicBezTo>
                  <a:pt x="1236504" y="2328517"/>
                  <a:pt x="1248746" y="2322406"/>
                  <a:pt x="1257928" y="2319350"/>
                </a:cubicBezTo>
                <a:cubicBezTo>
                  <a:pt x="1236504" y="2297959"/>
                  <a:pt x="1215079" y="2273513"/>
                  <a:pt x="1196715" y="2252122"/>
                </a:cubicBezTo>
                <a:cubicBezTo>
                  <a:pt x="1196715" y="2249067"/>
                  <a:pt x="1196715" y="2246011"/>
                  <a:pt x="1196715" y="2239899"/>
                </a:cubicBezTo>
                <a:cubicBezTo>
                  <a:pt x="1224261" y="2249067"/>
                  <a:pt x="1251807" y="2255178"/>
                  <a:pt x="1279353" y="2264346"/>
                </a:cubicBezTo>
                <a:cubicBezTo>
                  <a:pt x="1279353" y="2261290"/>
                  <a:pt x="1282414" y="2258234"/>
                  <a:pt x="1282414" y="2258234"/>
                </a:cubicBezTo>
                <a:cubicBezTo>
                  <a:pt x="1184473" y="2187951"/>
                  <a:pt x="1089592" y="2114612"/>
                  <a:pt x="991652" y="2044328"/>
                </a:cubicBezTo>
                <a:cubicBezTo>
                  <a:pt x="991652" y="2041272"/>
                  <a:pt x="994712" y="2038216"/>
                  <a:pt x="994712" y="2035161"/>
                </a:cubicBezTo>
                <a:cubicBezTo>
                  <a:pt x="1006955" y="2038216"/>
                  <a:pt x="1016137" y="2044328"/>
                  <a:pt x="1037561" y="2050440"/>
                </a:cubicBezTo>
                <a:cubicBezTo>
                  <a:pt x="1016137" y="2025993"/>
                  <a:pt x="1000833" y="2007658"/>
                  <a:pt x="979409" y="1986268"/>
                </a:cubicBezTo>
                <a:cubicBezTo>
                  <a:pt x="973288" y="2007658"/>
                  <a:pt x="970227" y="2016826"/>
                  <a:pt x="967166" y="2035161"/>
                </a:cubicBezTo>
                <a:cubicBezTo>
                  <a:pt x="948802" y="2022937"/>
                  <a:pt x="933499" y="2010714"/>
                  <a:pt x="915135" y="1998491"/>
                </a:cubicBezTo>
                <a:cubicBezTo>
                  <a:pt x="930438" y="1995435"/>
                  <a:pt x="939620" y="1992379"/>
                  <a:pt x="945742" y="1989324"/>
                </a:cubicBezTo>
                <a:cubicBezTo>
                  <a:pt x="933499" y="1970989"/>
                  <a:pt x="921256" y="1952654"/>
                  <a:pt x="902893" y="1928208"/>
                </a:cubicBezTo>
                <a:cubicBezTo>
                  <a:pt x="961045" y="1958766"/>
                  <a:pt x="1010015" y="1980156"/>
                  <a:pt x="1065107" y="2010714"/>
                </a:cubicBezTo>
                <a:cubicBezTo>
                  <a:pt x="1055925" y="1989324"/>
                  <a:pt x="1049804" y="1980156"/>
                  <a:pt x="1037561" y="1958766"/>
                </a:cubicBezTo>
                <a:cubicBezTo>
                  <a:pt x="1068168" y="1967933"/>
                  <a:pt x="1086532" y="1977101"/>
                  <a:pt x="1101835" y="1983212"/>
                </a:cubicBezTo>
                <a:cubicBezTo>
                  <a:pt x="1107956" y="1980156"/>
                  <a:pt x="1111017" y="1977101"/>
                  <a:pt x="1114078" y="1974045"/>
                </a:cubicBezTo>
                <a:cubicBezTo>
                  <a:pt x="1098774" y="1958766"/>
                  <a:pt x="1086532" y="1943487"/>
                  <a:pt x="1071229" y="1925152"/>
                </a:cubicBezTo>
                <a:cubicBezTo>
                  <a:pt x="1089592" y="1931264"/>
                  <a:pt x="1104896" y="1937375"/>
                  <a:pt x="1120199" y="1946543"/>
                </a:cubicBezTo>
                <a:cubicBezTo>
                  <a:pt x="1123260" y="1940431"/>
                  <a:pt x="1126320" y="1937375"/>
                  <a:pt x="1126320" y="1937375"/>
                </a:cubicBezTo>
                <a:cubicBezTo>
                  <a:pt x="1080411" y="1888482"/>
                  <a:pt x="1031440" y="1839590"/>
                  <a:pt x="985530" y="1790697"/>
                </a:cubicBezTo>
                <a:cubicBezTo>
                  <a:pt x="982470" y="1793753"/>
                  <a:pt x="979409" y="1796808"/>
                  <a:pt x="976348" y="1796808"/>
                </a:cubicBezTo>
                <a:cubicBezTo>
                  <a:pt x="982470" y="1812087"/>
                  <a:pt x="991652" y="1827366"/>
                  <a:pt x="1003894" y="1851813"/>
                </a:cubicBezTo>
                <a:cubicBezTo>
                  <a:pt x="957984" y="1821255"/>
                  <a:pt x="921256" y="1796808"/>
                  <a:pt x="878407" y="1772362"/>
                </a:cubicBezTo>
                <a:cubicBezTo>
                  <a:pt x="893711" y="1763195"/>
                  <a:pt x="899832" y="1757083"/>
                  <a:pt x="909014" y="1750971"/>
                </a:cubicBezTo>
                <a:cubicBezTo>
                  <a:pt x="890650" y="1735692"/>
                  <a:pt x="872286" y="1720413"/>
                  <a:pt x="853922" y="1708190"/>
                </a:cubicBezTo>
                <a:cubicBezTo>
                  <a:pt x="856983" y="1702079"/>
                  <a:pt x="860043" y="1699023"/>
                  <a:pt x="860043" y="1695967"/>
                </a:cubicBezTo>
                <a:cubicBezTo>
                  <a:pt x="899832" y="1714302"/>
                  <a:pt x="936560" y="1735692"/>
                  <a:pt x="982470" y="1757083"/>
                </a:cubicBezTo>
                <a:cubicBezTo>
                  <a:pt x="964106" y="1732637"/>
                  <a:pt x="948802" y="1714302"/>
                  <a:pt x="933499" y="1695967"/>
                </a:cubicBezTo>
                <a:cubicBezTo>
                  <a:pt x="936560" y="1692911"/>
                  <a:pt x="942681" y="1689855"/>
                  <a:pt x="945742" y="1686800"/>
                </a:cubicBezTo>
                <a:cubicBezTo>
                  <a:pt x="967166" y="1695967"/>
                  <a:pt x="988591" y="1708190"/>
                  <a:pt x="1022258" y="1723469"/>
                </a:cubicBezTo>
                <a:cubicBezTo>
                  <a:pt x="1006955" y="1702079"/>
                  <a:pt x="997773" y="1692911"/>
                  <a:pt x="991652" y="1683744"/>
                </a:cubicBezTo>
                <a:cubicBezTo>
                  <a:pt x="994712" y="1680688"/>
                  <a:pt x="997773" y="1677632"/>
                  <a:pt x="997773" y="1677632"/>
                </a:cubicBezTo>
                <a:cubicBezTo>
                  <a:pt x="1016137" y="1699023"/>
                  <a:pt x="1037561" y="1717358"/>
                  <a:pt x="1052865" y="1741804"/>
                </a:cubicBezTo>
                <a:cubicBezTo>
                  <a:pt x="1071229" y="1769306"/>
                  <a:pt x="1089592" y="1799864"/>
                  <a:pt x="1132442" y="1793753"/>
                </a:cubicBezTo>
                <a:cubicBezTo>
                  <a:pt x="1132442" y="1851813"/>
                  <a:pt x="1205897" y="1809032"/>
                  <a:pt x="1205897" y="1864036"/>
                </a:cubicBezTo>
                <a:cubicBezTo>
                  <a:pt x="1208958" y="1860980"/>
                  <a:pt x="1212019" y="1857924"/>
                  <a:pt x="1215079" y="1854869"/>
                </a:cubicBezTo>
                <a:cubicBezTo>
                  <a:pt x="1212019" y="1824311"/>
                  <a:pt x="1208958" y="1793753"/>
                  <a:pt x="1205897" y="1754027"/>
                </a:cubicBezTo>
                <a:cubicBezTo>
                  <a:pt x="1221201" y="1747916"/>
                  <a:pt x="1242625" y="1732637"/>
                  <a:pt x="1267110" y="1720413"/>
                </a:cubicBezTo>
                <a:cubicBezTo>
                  <a:pt x="1251807" y="1711246"/>
                  <a:pt x="1236504" y="1699023"/>
                  <a:pt x="1224261" y="1692911"/>
                </a:cubicBezTo>
                <a:cubicBezTo>
                  <a:pt x="1230383" y="1668465"/>
                  <a:pt x="1233443" y="1653186"/>
                  <a:pt x="1239564" y="1631795"/>
                </a:cubicBezTo>
                <a:cubicBezTo>
                  <a:pt x="1245686" y="1634851"/>
                  <a:pt x="1257928" y="1637907"/>
                  <a:pt x="1276292" y="1640963"/>
                </a:cubicBezTo>
                <a:cubicBezTo>
                  <a:pt x="1270171" y="1628739"/>
                  <a:pt x="1270171" y="1610405"/>
                  <a:pt x="1264050" y="1610405"/>
                </a:cubicBezTo>
                <a:cubicBezTo>
                  <a:pt x="1199776" y="1582903"/>
                  <a:pt x="1152719" y="1529617"/>
                  <a:pt x="1091888" y="1499537"/>
                </a:cubicBezTo>
                <a:lnTo>
                  <a:pt x="1025416" y="1479035"/>
                </a:lnTo>
                <a:lnTo>
                  <a:pt x="1045908" y="1495246"/>
                </a:lnTo>
                <a:cubicBezTo>
                  <a:pt x="1053166" y="1500482"/>
                  <a:pt x="1060232" y="1505813"/>
                  <a:pt x="1065580" y="1512286"/>
                </a:cubicBezTo>
                <a:lnTo>
                  <a:pt x="1065628" y="1512407"/>
                </a:lnTo>
                <a:lnTo>
                  <a:pt x="1065872" y="1512619"/>
                </a:lnTo>
                <a:cubicBezTo>
                  <a:pt x="1076585" y="1525606"/>
                  <a:pt x="1080411" y="1543177"/>
                  <a:pt x="1065107" y="1573735"/>
                </a:cubicBezTo>
                <a:cubicBezTo>
                  <a:pt x="1049804" y="1555400"/>
                  <a:pt x="1035266" y="1537830"/>
                  <a:pt x="1020345" y="1519495"/>
                </a:cubicBezTo>
                <a:lnTo>
                  <a:pt x="981126" y="1470469"/>
                </a:lnTo>
                <a:lnTo>
                  <a:pt x="973138" y="1460499"/>
                </a:lnTo>
                <a:cubicBezTo>
                  <a:pt x="982306" y="1460499"/>
                  <a:pt x="989181" y="1460499"/>
                  <a:pt x="994911" y="1460499"/>
                </a:cubicBezTo>
                <a:lnTo>
                  <a:pt x="1009720" y="1460499"/>
                </a:lnTo>
                <a:lnTo>
                  <a:pt x="973288" y="1439280"/>
                </a:lnTo>
                <a:cubicBezTo>
                  <a:pt x="967166" y="1417889"/>
                  <a:pt x="961045" y="1396499"/>
                  <a:pt x="954924" y="1372052"/>
                </a:cubicBezTo>
                <a:cubicBezTo>
                  <a:pt x="957984" y="1375108"/>
                  <a:pt x="961045" y="1375108"/>
                  <a:pt x="961045" y="1375108"/>
                </a:cubicBezTo>
                <a:cubicBezTo>
                  <a:pt x="970227" y="1341494"/>
                  <a:pt x="976348" y="1310936"/>
                  <a:pt x="982470" y="1277323"/>
                </a:cubicBezTo>
                <a:cubicBezTo>
                  <a:pt x="997773" y="1280378"/>
                  <a:pt x="1025319" y="1280378"/>
                  <a:pt x="1058986" y="1283434"/>
                </a:cubicBezTo>
                <a:cubicBezTo>
                  <a:pt x="1043683" y="1258988"/>
                  <a:pt x="1034501" y="1243709"/>
                  <a:pt x="1022258" y="1225374"/>
                </a:cubicBezTo>
                <a:cubicBezTo>
                  <a:pt x="1034501" y="1222318"/>
                  <a:pt x="1046743" y="1216207"/>
                  <a:pt x="1049804" y="1216207"/>
                </a:cubicBezTo>
                <a:cubicBezTo>
                  <a:pt x="1058986" y="1176481"/>
                  <a:pt x="1065107" y="1145923"/>
                  <a:pt x="1074289" y="1109254"/>
                </a:cubicBezTo>
                <a:cubicBezTo>
                  <a:pt x="1068168" y="1109254"/>
                  <a:pt x="1074289" y="1109254"/>
                  <a:pt x="1086532" y="1106198"/>
                </a:cubicBezTo>
                <a:cubicBezTo>
                  <a:pt x="1080411" y="1097031"/>
                  <a:pt x="1074289" y="1087863"/>
                  <a:pt x="1058986" y="1069528"/>
                </a:cubicBezTo>
                <a:cubicBezTo>
                  <a:pt x="1098774" y="1054249"/>
                  <a:pt x="1132442" y="1042026"/>
                  <a:pt x="1169169" y="1026747"/>
                </a:cubicBezTo>
                <a:cubicBezTo>
                  <a:pt x="1135502" y="996190"/>
                  <a:pt x="1089592" y="956465"/>
                  <a:pt x="1046743" y="916739"/>
                </a:cubicBezTo>
                <a:cubicBezTo>
                  <a:pt x="1049804" y="913683"/>
                  <a:pt x="1049804" y="910627"/>
                  <a:pt x="1052865" y="904516"/>
                </a:cubicBezTo>
                <a:cubicBezTo>
                  <a:pt x="1077350" y="916739"/>
                  <a:pt x="1101835" y="932018"/>
                  <a:pt x="1126320" y="944241"/>
                </a:cubicBezTo>
                <a:lnTo>
                  <a:pt x="1135502" y="938130"/>
                </a:lnTo>
                <a:lnTo>
                  <a:pt x="991652" y="818954"/>
                </a:lnTo>
                <a:cubicBezTo>
                  <a:pt x="994712" y="812842"/>
                  <a:pt x="997773" y="806730"/>
                  <a:pt x="1000833" y="800619"/>
                </a:cubicBezTo>
                <a:cubicBezTo>
                  <a:pt x="1025319" y="812842"/>
                  <a:pt x="1049804" y="818954"/>
                  <a:pt x="1068168" y="834232"/>
                </a:cubicBezTo>
                <a:cubicBezTo>
                  <a:pt x="1123260" y="880069"/>
                  <a:pt x="1172230" y="925907"/>
                  <a:pt x="1224261" y="971743"/>
                </a:cubicBezTo>
                <a:lnTo>
                  <a:pt x="1236504" y="956465"/>
                </a:lnTo>
                <a:lnTo>
                  <a:pt x="1184855" y="915212"/>
                </a:lnTo>
                <a:cubicBezTo>
                  <a:pt x="1167639" y="901461"/>
                  <a:pt x="1150806" y="887710"/>
                  <a:pt x="1135502" y="873958"/>
                </a:cubicBezTo>
                <a:cubicBezTo>
                  <a:pt x="1120199" y="858679"/>
                  <a:pt x="1111017" y="837288"/>
                  <a:pt x="1095714" y="825066"/>
                </a:cubicBezTo>
                <a:cubicBezTo>
                  <a:pt x="1083471" y="809787"/>
                  <a:pt x="1065107" y="797564"/>
                  <a:pt x="1046743" y="785340"/>
                </a:cubicBezTo>
                <a:cubicBezTo>
                  <a:pt x="1031440" y="779229"/>
                  <a:pt x="1016137" y="773118"/>
                  <a:pt x="1000833" y="767005"/>
                </a:cubicBezTo>
                <a:cubicBezTo>
                  <a:pt x="1003894" y="760893"/>
                  <a:pt x="1006955" y="754782"/>
                  <a:pt x="1010015" y="748670"/>
                </a:cubicBezTo>
                <a:cubicBezTo>
                  <a:pt x="1046743" y="767005"/>
                  <a:pt x="1083471" y="785340"/>
                  <a:pt x="1117138" y="803674"/>
                </a:cubicBezTo>
                <a:lnTo>
                  <a:pt x="1123260" y="797564"/>
                </a:lnTo>
                <a:lnTo>
                  <a:pt x="1074289" y="760894"/>
                </a:lnTo>
                <a:lnTo>
                  <a:pt x="1074290" y="760894"/>
                </a:lnTo>
                <a:lnTo>
                  <a:pt x="1074289" y="760893"/>
                </a:lnTo>
                <a:cubicBezTo>
                  <a:pt x="1107956" y="739503"/>
                  <a:pt x="1126320" y="754782"/>
                  <a:pt x="1147745" y="776172"/>
                </a:cubicBezTo>
                <a:cubicBezTo>
                  <a:pt x="1172230" y="803674"/>
                  <a:pt x="1193655" y="846456"/>
                  <a:pt x="1242625" y="806730"/>
                </a:cubicBezTo>
                <a:cubicBezTo>
                  <a:pt x="1251807" y="800619"/>
                  <a:pt x="1279353" y="815898"/>
                  <a:pt x="1294656" y="822009"/>
                </a:cubicBezTo>
                <a:cubicBezTo>
                  <a:pt x="1334445" y="843400"/>
                  <a:pt x="1371173" y="867846"/>
                  <a:pt x="1410961" y="892293"/>
                </a:cubicBezTo>
                <a:lnTo>
                  <a:pt x="1423204" y="880070"/>
                </a:lnTo>
                <a:lnTo>
                  <a:pt x="1352809" y="834233"/>
                </a:lnTo>
                <a:lnTo>
                  <a:pt x="1352809" y="834232"/>
                </a:lnTo>
                <a:cubicBezTo>
                  <a:pt x="1358930" y="831177"/>
                  <a:pt x="1361991" y="825065"/>
                  <a:pt x="1365051" y="822009"/>
                </a:cubicBezTo>
                <a:cubicBezTo>
                  <a:pt x="1429325" y="859443"/>
                  <a:pt x="1472509" y="936650"/>
                  <a:pt x="1554065" y="951272"/>
                </a:cubicBezTo>
                <a:lnTo>
                  <a:pt x="1591539" y="953409"/>
                </a:lnTo>
                <a:lnTo>
                  <a:pt x="1542569" y="922851"/>
                </a:lnTo>
                <a:lnTo>
                  <a:pt x="1567054" y="892293"/>
                </a:lnTo>
                <a:lnTo>
                  <a:pt x="1521145" y="840345"/>
                </a:lnTo>
                <a:lnTo>
                  <a:pt x="1521145" y="840344"/>
                </a:lnTo>
                <a:cubicBezTo>
                  <a:pt x="1524205" y="837288"/>
                  <a:pt x="1524205" y="834232"/>
                  <a:pt x="1527266" y="831177"/>
                </a:cubicBezTo>
                <a:cubicBezTo>
                  <a:pt x="1539509" y="838816"/>
                  <a:pt x="1551751" y="846456"/>
                  <a:pt x="1564759" y="854859"/>
                </a:cubicBezTo>
                <a:lnTo>
                  <a:pt x="1606842" y="883125"/>
                </a:lnTo>
                <a:lnTo>
                  <a:pt x="1537213" y="797564"/>
                </a:lnTo>
                <a:cubicBezTo>
                  <a:pt x="1515023" y="770825"/>
                  <a:pt x="1493599" y="745615"/>
                  <a:pt x="1472174" y="721169"/>
                </a:cubicBezTo>
                <a:cubicBezTo>
                  <a:pt x="1459932" y="708946"/>
                  <a:pt x="1441568" y="702834"/>
                  <a:pt x="1426264" y="693666"/>
                </a:cubicBezTo>
                <a:cubicBezTo>
                  <a:pt x="1447689" y="727280"/>
                  <a:pt x="1472174" y="760894"/>
                  <a:pt x="1496659" y="800619"/>
                </a:cubicBezTo>
                <a:cubicBezTo>
                  <a:pt x="1481356" y="803675"/>
                  <a:pt x="1469114" y="803675"/>
                  <a:pt x="1472174" y="803675"/>
                </a:cubicBezTo>
                <a:lnTo>
                  <a:pt x="1471846" y="803215"/>
                </a:lnTo>
                <a:lnTo>
                  <a:pt x="1471002" y="803275"/>
                </a:lnTo>
                <a:cubicBezTo>
                  <a:pt x="1461843" y="791029"/>
                  <a:pt x="1454211" y="780313"/>
                  <a:pt x="1447342" y="769980"/>
                </a:cubicBezTo>
                <a:lnTo>
                  <a:pt x="1428702" y="739697"/>
                </a:lnTo>
                <a:lnTo>
                  <a:pt x="1407805" y="746171"/>
                </a:lnTo>
                <a:cubicBezTo>
                  <a:pt x="1401779" y="746916"/>
                  <a:pt x="1396806" y="746308"/>
                  <a:pt x="1392597" y="744708"/>
                </a:cubicBezTo>
                <a:lnTo>
                  <a:pt x="1392139" y="744245"/>
                </a:lnTo>
                <a:lnTo>
                  <a:pt x="1391627" y="744196"/>
                </a:lnTo>
                <a:cubicBezTo>
                  <a:pt x="1383231" y="740990"/>
                  <a:pt x="1377889" y="733815"/>
                  <a:pt x="1373309" y="725587"/>
                </a:cubicBezTo>
                <a:lnTo>
                  <a:pt x="1359625" y="700760"/>
                </a:lnTo>
                <a:lnTo>
                  <a:pt x="1337505" y="687555"/>
                </a:lnTo>
                <a:lnTo>
                  <a:pt x="1337553" y="687460"/>
                </a:lnTo>
                <a:lnTo>
                  <a:pt x="1336675" y="686934"/>
                </a:lnTo>
                <a:cubicBezTo>
                  <a:pt x="1339728" y="683872"/>
                  <a:pt x="1339728" y="680810"/>
                  <a:pt x="1342781" y="674687"/>
                </a:cubicBezTo>
                <a:lnTo>
                  <a:pt x="1412792" y="683845"/>
                </a:lnTo>
                <a:lnTo>
                  <a:pt x="1370073" y="661104"/>
                </a:lnTo>
                <a:cubicBezTo>
                  <a:pt x="1332341" y="633315"/>
                  <a:pt x="1312255" y="594353"/>
                  <a:pt x="1300778" y="562268"/>
                </a:cubicBezTo>
                <a:lnTo>
                  <a:pt x="1300778" y="562267"/>
                </a:lnTo>
                <a:cubicBezTo>
                  <a:pt x="1306899" y="534765"/>
                  <a:pt x="1309960" y="519486"/>
                  <a:pt x="1313020" y="504206"/>
                </a:cubicBezTo>
                <a:cubicBezTo>
                  <a:pt x="1329854" y="510318"/>
                  <a:pt x="1348218" y="517193"/>
                  <a:pt x="1367729" y="524833"/>
                </a:cubicBezTo>
                <a:lnTo>
                  <a:pt x="1429325" y="550043"/>
                </a:lnTo>
                <a:lnTo>
                  <a:pt x="1424734" y="535147"/>
                </a:lnTo>
                <a:cubicBezTo>
                  <a:pt x="1423204" y="530945"/>
                  <a:pt x="1421673" y="527126"/>
                  <a:pt x="1420143" y="522542"/>
                </a:cubicBezTo>
                <a:cubicBezTo>
                  <a:pt x="1417082" y="507263"/>
                  <a:pt x="1420143" y="488928"/>
                  <a:pt x="1410961" y="479761"/>
                </a:cubicBezTo>
                <a:cubicBezTo>
                  <a:pt x="1395658" y="461426"/>
                  <a:pt x="1374233" y="449203"/>
                  <a:pt x="1352809" y="436980"/>
                </a:cubicBezTo>
                <a:lnTo>
                  <a:pt x="1352810" y="436979"/>
                </a:lnTo>
                <a:lnTo>
                  <a:pt x="1352809" y="436979"/>
                </a:lnTo>
                <a:cubicBezTo>
                  <a:pt x="1386476" y="427811"/>
                  <a:pt x="1410961" y="421700"/>
                  <a:pt x="1435446" y="418644"/>
                </a:cubicBezTo>
                <a:cubicBezTo>
                  <a:pt x="1447689" y="415588"/>
                  <a:pt x="1459932" y="418644"/>
                  <a:pt x="1472174" y="421700"/>
                </a:cubicBezTo>
                <a:cubicBezTo>
                  <a:pt x="1496659" y="430867"/>
                  <a:pt x="1515023" y="446147"/>
                  <a:pt x="1539509" y="449202"/>
                </a:cubicBezTo>
                <a:cubicBezTo>
                  <a:pt x="1619086" y="464481"/>
                  <a:pt x="1668056" y="528653"/>
                  <a:pt x="1726208" y="571434"/>
                </a:cubicBezTo>
                <a:cubicBezTo>
                  <a:pt x="1811907" y="632550"/>
                  <a:pt x="1894544" y="696722"/>
                  <a:pt x="1980243" y="760893"/>
                </a:cubicBezTo>
                <a:lnTo>
                  <a:pt x="1989425" y="754782"/>
                </a:lnTo>
                <a:lnTo>
                  <a:pt x="1961879" y="693666"/>
                </a:lnTo>
                <a:cubicBezTo>
                  <a:pt x="1937393" y="653941"/>
                  <a:pt x="1915969" y="614215"/>
                  <a:pt x="1888423" y="568379"/>
                </a:cubicBezTo>
                <a:lnTo>
                  <a:pt x="1888423" y="568378"/>
                </a:lnTo>
                <a:cubicBezTo>
                  <a:pt x="1896075" y="569906"/>
                  <a:pt x="1902196" y="571434"/>
                  <a:pt x="1908317" y="572962"/>
                </a:cubicBezTo>
                <a:lnTo>
                  <a:pt x="1928211" y="577545"/>
                </a:lnTo>
                <a:lnTo>
                  <a:pt x="1888423" y="528654"/>
                </a:lnTo>
                <a:lnTo>
                  <a:pt x="1888423" y="528653"/>
                </a:lnTo>
                <a:cubicBezTo>
                  <a:pt x="1891484" y="525597"/>
                  <a:pt x="1894544" y="522541"/>
                  <a:pt x="1897605" y="519486"/>
                </a:cubicBezTo>
                <a:cubicBezTo>
                  <a:pt x="1903726" y="524069"/>
                  <a:pt x="1909848" y="528653"/>
                  <a:pt x="1916352" y="534000"/>
                </a:cubicBezTo>
                <a:lnTo>
                  <a:pt x="1937393" y="553099"/>
                </a:lnTo>
                <a:lnTo>
                  <a:pt x="1928212" y="513374"/>
                </a:lnTo>
                <a:cubicBezTo>
                  <a:pt x="2023092" y="513374"/>
                  <a:pt x="2117972" y="513374"/>
                  <a:pt x="2212852" y="513374"/>
                </a:cubicBezTo>
                <a:cubicBezTo>
                  <a:pt x="2399552" y="513374"/>
                  <a:pt x="2586252" y="513374"/>
                  <a:pt x="2776013" y="513374"/>
                </a:cubicBezTo>
                <a:cubicBezTo>
                  <a:pt x="2812741" y="513374"/>
                  <a:pt x="2849469" y="507262"/>
                  <a:pt x="2883135" y="516430"/>
                </a:cubicBezTo>
                <a:cubicBezTo>
                  <a:pt x="2907621" y="519486"/>
                  <a:pt x="2929045" y="540876"/>
                  <a:pt x="2953531" y="556155"/>
                </a:cubicBezTo>
                <a:cubicBezTo>
                  <a:pt x="2959652" y="560738"/>
                  <a:pt x="2965773" y="565322"/>
                  <a:pt x="2972277" y="568760"/>
                </a:cubicBezTo>
                <a:lnTo>
                  <a:pt x="2993318" y="574489"/>
                </a:lnTo>
                <a:lnTo>
                  <a:pt x="2932106" y="519486"/>
                </a:lnTo>
                <a:cubicBezTo>
                  <a:pt x="2935167" y="516430"/>
                  <a:pt x="2935167" y="516430"/>
                  <a:pt x="2938227" y="513374"/>
                </a:cubicBezTo>
                <a:cubicBezTo>
                  <a:pt x="2950470" y="513374"/>
                  <a:pt x="2968834" y="513374"/>
                  <a:pt x="2971895" y="519486"/>
                </a:cubicBezTo>
                <a:cubicBezTo>
                  <a:pt x="3005562" y="568378"/>
                  <a:pt x="3091260" y="559211"/>
                  <a:pt x="3088199" y="638662"/>
                </a:cubicBezTo>
                <a:cubicBezTo>
                  <a:pt x="3069835" y="629495"/>
                  <a:pt x="3048411" y="617271"/>
                  <a:pt x="3030047" y="605048"/>
                </a:cubicBezTo>
                <a:lnTo>
                  <a:pt x="3023926" y="614215"/>
                </a:lnTo>
                <a:lnTo>
                  <a:pt x="3103503" y="684499"/>
                </a:lnTo>
                <a:lnTo>
                  <a:pt x="3112685" y="675331"/>
                </a:lnTo>
                <a:lnTo>
                  <a:pt x="3100442" y="653941"/>
                </a:lnTo>
                <a:lnTo>
                  <a:pt x="3100442" y="653940"/>
                </a:lnTo>
                <a:cubicBezTo>
                  <a:pt x="3106563" y="656996"/>
                  <a:pt x="3112685" y="656996"/>
                  <a:pt x="3115745" y="660052"/>
                </a:cubicBezTo>
                <a:cubicBezTo>
                  <a:pt x="3158595" y="690610"/>
                  <a:pt x="3201443" y="724224"/>
                  <a:pt x="3244293" y="754782"/>
                </a:cubicBezTo>
                <a:cubicBezTo>
                  <a:pt x="3271839" y="779228"/>
                  <a:pt x="3299385" y="800619"/>
                  <a:pt x="3342234" y="782284"/>
                </a:cubicBezTo>
                <a:cubicBezTo>
                  <a:pt x="3346825" y="779228"/>
                  <a:pt x="3353711" y="778464"/>
                  <a:pt x="3362510" y="778464"/>
                </a:cubicBezTo>
                <a:lnTo>
                  <a:pt x="3394264" y="779228"/>
                </a:lnTo>
                <a:lnTo>
                  <a:pt x="3370927" y="767005"/>
                </a:lnTo>
                <a:cubicBezTo>
                  <a:pt x="3364423" y="763186"/>
                  <a:pt x="3359067" y="759366"/>
                  <a:pt x="3354476" y="754782"/>
                </a:cubicBezTo>
                <a:cubicBezTo>
                  <a:pt x="3336112" y="736448"/>
                  <a:pt x="3320809" y="715057"/>
                  <a:pt x="3302445" y="696722"/>
                </a:cubicBezTo>
                <a:cubicBezTo>
                  <a:pt x="3299385" y="690610"/>
                  <a:pt x="3299385" y="681443"/>
                  <a:pt x="3296324" y="678387"/>
                </a:cubicBezTo>
                <a:cubicBezTo>
                  <a:pt x="3265717" y="660053"/>
                  <a:pt x="3238171" y="644774"/>
                  <a:pt x="3207565" y="626439"/>
                </a:cubicBezTo>
                <a:cubicBezTo>
                  <a:pt x="3195322" y="617271"/>
                  <a:pt x="3176958" y="608104"/>
                  <a:pt x="3170837" y="592825"/>
                </a:cubicBezTo>
                <a:cubicBezTo>
                  <a:pt x="3152473" y="559212"/>
                  <a:pt x="3127988" y="550044"/>
                  <a:pt x="3094321" y="550044"/>
                </a:cubicBezTo>
                <a:cubicBezTo>
                  <a:pt x="3079017" y="550044"/>
                  <a:pt x="3066775" y="537821"/>
                  <a:pt x="3054532" y="531709"/>
                </a:cubicBezTo>
                <a:cubicBezTo>
                  <a:pt x="3057593" y="525597"/>
                  <a:pt x="3057593" y="519486"/>
                  <a:pt x="3060653" y="513374"/>
                </a:cubicBezTo>
                <a:cubicBezTo>
                  <a:pt x="3100442" y="513374"/>
                  <a:pt x="3143291" y="513374"/>
                  <a:pt x="3183080" y="513374"/>
                </a:cubicBezTo>
                <a:cubicBezTo>
                  <a:pt x="3277960" y="510318"/>
                  <a:pt x="3372840" y="501150"/>
                  <a:pt x="3446296" y="574490"/>
                </a:cubicBezTo>
                <a:cubicBezTo>
                  <a:pt x="3449357" y="576018"/>
                  <a:pt x="3452417" y="576782"/>
                  <a:pt x="3456626" y="577545"/>
                </a:cubicBezTo>
                <a:lnTo>
                  <a:pt x="3473841" y="580601"/>
                </a:lnTo>
                <a:lnTo>
                  <a:pt x="3434053" y="516430"/>
                </a:lnTo>
                <a:cubicBezTo>
                  <a:pt x="3434053" y="513374"/>
                  <a:pt x="3434053" y="510318"/>
                  <a:pt x="3437114" y="510318"/>
                </a:cubicBezTo>
                <a:cubicBezTo>
                  <a:pt x="3457009" y="517957"/>
                  <a:pt x="3477668" y="526361"/>
                  <a:pt x="3499475" y="535528"/>
                </a:cubicBezTo>
                <a:lnTo>
                  <a:pt x="3568722" y="565322"/>
                </a:lnTo>
                <a:lnTo>
                  <a:pt x="3562601" y="522542"/>
                </a:lnTo>
                <a:lnTo>
                  <a:pt x="3562601" y="522541"/>
                </a:lnTo>
                <a:cubicBezTo>
                  <a:pt x="3579435" y="533237"/>
                  <a:pt x="3596268" y="543168"/>
                  <a:pt x="3615014" y="554245"/>
                </a:cubicBezTo>
                <a:lnTo>
                  <a:pt x="3678905" y="592825"/>
                </a:lnTo>
                <a:lnTo>
                  <a:pt x="3665132" y="540876"/>
                </a:lnTo>
                <a:cubicBezTo>
                  <a:pt x="3660541" y="525598"/>
                  <a:pt x="3655950" y="511847"/>
                  <a:pt x="3651360" y="498096"/>
                </a:cubicBezTo>
                <a:lnTo>
                  <a:pt x="3651360" y="498095"/>
                </a:lnTo>
                <a:cubicBezTo>
                  <a:pt x="3654420" y="498095"/>
                  <a:pt x="3654420" y="498095"/>
                  <a:pt x="3657481" y="498095"/>
                </a:cubicBezTo>
                <a:lnTo>
                  <a:pt x="3657481" y="430868"/>
                </a:lnTo>
                <a:lnTo>
                  <a:pt x="3657481" y="430867"/>
                </a:lnTo>
                <a:lnTo>
                  <a:pt x="3678905" y="443090"/>
                </a:lnTo>
                <a:lnTo>
                  <a:pt x="3675845" y="427812"/>
                </a:lnTo>
                <a:cubicBezTo>
                  <a:pt x="3657481" y="381975"/>
                  <a:pt x="3636057" y="333082"/>
                  <a:pt x="3614632" y="287246"/>
                </a:cubicBezTo>
                <a:cubicBezTo>
                  <a:pt x="3608511" y="271966"/>
                  <a:pt x="3599329" y="256688"/>
                  <a:pt x="3587086" y="244464"/>
                </a:cubicBezTo>
                <a:cubicBezTo>
                  <a:pt x="3573313" y="230713"/>
                  <a:pt x="3566427" y="222119"/>
                  <a:pt x="3566427" y="205790"/>
                </a:cubicBezTo>
                <a:lnTo>
                  <a:pt x="3566427" y="205789"/>
                </a:lnTo>
                <a:lnTo>
                  <a:pt x="3568722" y="186404"/>
                </a:lnTo>
                <a:lnTo>
                  <a:pt x="3565470" y="157947"/>
                </a:lnTo>
                <a:cubicBezTo>
                  <a:pt x="3557436" y="128726"/>
                  <a:pt x="3537350" y="97786"/>
                  <a:pt x="3525873" y="70284"/>
                </a:cubicBezTo>
                <a:cubicBezTo>
                  <a:pt x="3522812" y="58060"/>
                  <a:pt x="3516691" y="48893"/>
                  <a:pt x="3504448" y="33614"/>
                </a:cubicBezTo>
                <a:cubicBezTo>
                  <a:pt x="3515160" y="36669"/>
                  <a:pt x="3523577" y="39725"/>
                  <a:pt x="3531994" y="43163"/>
                </a:cubicBezTo>
                <a:lnTo>
                  <a:pt x="3559540" y="55004"/>
                </a:lnTo>
                <a:lnTo>
                  <a:pt x="3547680" y="26739"/>
                </a:lnTo>
                <a:cubicBezTo>
                  <a:pt x="3544237" y="18335"/>
                  <a:pt x="3541176" y="10696"/>
                  <a:pt x="3538115" y="3056"/>
                </a:cubicBezTo>
                <a:lnTo>
                  <a:pt x="3538115" y="3055"/>
                </a:lnTo>
                <a:cubicBezTo>
                  <a:pt x="3541176" y="3055"/>
                  <a:pt x="3544237" y="0"/>
                  <a:pt x="3547297" y="0"/>
                </a:cubicBezTo>
                <a:close/>
              </a:path>
            </a:pathLst>
          </a:custGeom>
          <a:solidFill>
            <a:schemeClr val="bg1">
              <a:lumMod val="95000"/>
            </a:schemeClr>
          </a:solidFill>
        </p:spPr>
        <p:txBody>
          <a:bodyPr wrap="square">
            <a:noAutofit/>
          </a:bodyPr>
          <a:lstStyle>
            <a:lvl1pPr>
              <a:defRPr sz="1575"/>
            </a:lvl1pPr>
          </a:lstStyle>
          <a:p>
            <a:endParaRPr lang="en-US"/>
          </a:p>
        </p:txBody>
      </p:sp>
    </p:spTree>
    <p:extLst>
      <p:ext uri="{BB962C8B-B14F-4D97-AF65-F5344CB8AC3E}">
        <p14:creationId xmlns:p14="http://schemas.microsoft.com/office/powerpoint/2010/main" val="13934625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80219" y="5784058"/>
            <a:ext cx="13772354" cy="1787723"/>
          </a:xfrm>
          <a:prstGeom prst="rect">
            <a:avLst/>
          </a:prstGeom>
        </p:spPr>
        <p:txBody>
          <a:bodyPr anchor="t"/>
          <a:lstStyle>
            <a:lvl1pPr algn="l">
              <a:defRPr sz="5249" b="1" cap="all"/>
            </a:lvl1pPr>
          </a:lstStyle>
          <a:p>
            <a:r>
              <a:rPr lang="en-US"/>
              <a:t>Click to edit Master title style</a:t>
            </a:r>
            <a:endParaRPr lang="es-CL"/>
          </a:p>
        </p:txBody>
      </p:sp>
      <p:sp>
        <p:nvSpPr>
          <p:cNvPr id="3" name="Text Placeholder 2"/>
          <p:cNvSpPr>
            <a:spLocks noGrp="1"/>
          </p:cNvSpPr>
          <p:nvPr>
            <p:ph type="body" idx="1"/>
          </p:nvPr>
        </p:nvSpPr>
        <p:spPr>
          <a:xfrm>
            <a:off x="1280219" y="3815062"/>
            <a:ext cx="13772354" cy="1968995"/>
          </a:xfrm>
          <a:prstGeom prst="rect">
            <a:avLst/>
          </a:prstGeom>
        </p:spPr>
        <p:txBody>
          <a:bodyPr anchor="b"/>
          <a:lstStyle>
            <a:lvl1pPr marL="0" indent="0">
              <a:buNone/>
              <a:defRPr sz="2624">
                <a:solidFill>
                  <a:schemeClr val="tx1">
                    <a:tint val="75000"/>
                  </a:schemeClr>
                </a:solidFill>
              </a:defRPr>
            </a:lvl1pPr>
            <a:lvl2pPr marL="599895" indent="0">
              <a:buNone/>
              <a:defRPr sz="2361">
                <a:solidFill>
                  <a:schemeClr val="tx1">
                    <a:tint val="75000"/>
                  </a:schemeClr>
                </a:solidFill>
              </a:defRPr>
            </a:lvl2pPr>
            <a:lvl3pPr marL="1199790" indent="0">
              <a:buNone/>
              <a:defRPr sz="2100">
                <a:solidFill>
                  <a:schemeClr val="tx1">
                    <a:tint val="75000"/>
                  </a:schemeClr>
                </a:solidFill>
              </a:defRPr>
            </a:lvl3pPr>
            <a:lvl4pPr marL="1799686" indent="0">
              <a:buNone/>
              <a:defRPr sz="1838">
                <a:solidFill>
                  <a:schemeClr val="tx1">
                    <a:tint val="75000"/>
                  </a:schemeClr>
                </a:solidFill>
              </a:defRPr>
            </a:lvl4pPr>
            <a:lvl5pPr marL="2399579" indent="0">
              <a:buNone/>
              <a:defRPr sz="1838">
                <a:solidFill>
                  <a:schemeClr val="tx1">
                    <a:tint val="75000"/>
                  </a:schemeClr>
                </a:solidFill>
              </a:defRPr>
            </a:lvl5pPr>
            <a:lvl6pPr marL="2999475" indent="0">
              <a:buNone/>
              <a:defRPr sz="1838">
                <a:solidFill>
                  <a:schemeClr val="tx1">
                    <a:tint val="75000"/>
                  </a:schemeClr>
                </a:solidFill>
              </a:defRPr>
            </a:lvl6pPr>
            <a:lvl7pPr marL="3599370" indent="0">
              <a:buNone/>
              <a:defRPr sz="1838">
                <a:solidFill>
                  <a:schemeClr val="tx1">
                    <a:tint val="75000"/>
                  </a:schemeClr>
                </a:solidFill>
              </a:defRPr>
            </a:lvl7pPr>
            <a:lvl8pPr marL="4199265" indent="0">
              <a:buNone/>
              <a:defRPr sz="1838">
                <a:solidFill>
                  <a:schemeClr val="tx1">
                    <a:tint val="75000"/>
                  </a:schemeClr>
                </a:solidFill>
              </a:defRPr>
            </a:lvl8pPr>
            <a:lvl9pPr marL="4799160" indent="0">
              <a:buNone/>
              <a:defRPr sz="1838">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5" name="Footer Placeholder 4"/>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6" name="Slide Number Placeholder 5"/>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6689951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9892" y="360462"/>
            <a:ext cx="14582244" cy="1500188"/>
          </a:xfrm>
          <a:prstGeom prst="rect">
            <a:avLst/>
          </a:prstGeom>
        </p:spPr>
        <p:txBody>
          <a:bodyPr/>
          <a:lstStyle/>
          <a:p>
            <a:r>
              <a:rPr lang="en-US"/>
              <a:t>Click to edit Master title style</a:t>
            </a:r>
            <a:endParaRPr lang="es-CL"/>
          </a:p>
        </p:txBody>
      </p:sp>
      <p:sp>
        <p:nvSpPr>
          <p:cNvPr id="3" name="Content Placeholder 2"/>
          <p:cNvSpPr>
            <a:spLocks noGrp="1"/>
          </p:cNvSpPr>
          <p:nvPr>
            <p:ph sz="half" idx="1"/>
          </p:nvPr>
        </p:nvSpPr>
        <p:spPr>
          <a:xfrm>
            <a:off x="809891" y="2100265"/>
            <a:ext cx="7189886" cy="5940326"/>
          </a:xfrm>
          <a:prstGeom prst="rect">
            <a:avLst/>
          </a:prstGeom>
        </p:spPr>
        <p:txBody>
          <a:bodyPr/>
          <a:lstStyle>
            <a:lvl1pPr>
              <a:defRPr sz="3674"/>
            </a:lvl1pPr>
            <a:lvl2pPr>
              <a:defRPr sz="3149"/>
            </a:lvl2pPr>
            <a:lvl3pPr>
              <a:defRPr sz="2624"/>
            </a:lvl3pPr>
            <a:lvl4pPr>
              <a:defRPr sz="2361"/>
            </a:lvl4pPr>
            <a:lvl5pPr>
              <a:defRPr sz="2361"/>
            </a:lvl5pPr>
            <a:lvl6pPr>
              <a:defRPr sz="2361"/>
            </a:lvl6pPr>
            <a:lvl7pPr>
              <a:defRPr sz="2361"/>
            </a:lvl7pPr>
            <a:lvl8pPr>
              <a:defRPr sz="2361"/>
            </a:lvl8pPr>
            <a:lvl9pPr>
              <a:defRPr sz="23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Content Placeholder 3"/>
          <p:cNvSpPr>
            <a:spLocks noGrp="1"/>
          </p:cNvSpPr>
          <p:nvPr>
            <p:ph sz="half" idx="2"/>
          </p:nvPr>
        </p:nvSpPr>
        <p:spPr>
          <a:xfrm>
            <a:off x="8202250" y="2100265"/>
            <a:ext cx="7189885" cy="5940326"/>
          </a:xfrm>
          <a:prstGeom prst="rect">
            <a:avLst/>
          </a:prstGeom>
        </p:spPr>
        <p:txBody>
          <a:bodyPr/>
          <a:lstStyle>
            <a:lvl1pPr>
              <a:defRPr sz="3674"/>
            </a:lvl1pPr>
            <a:lvl2pPr>
              <a:defRPr sz="3149"/>
            </a:lvl2pPr>
            <a:lvl3pPr>
              <a:defRPr sz="2624"/>
            </a:lvl3pPr>
            <a:lvl4pPr>
              <a:defRPr sz="2361"/>
            </a:lvl4pPr>
            <a:lvl5pPr>
              <a:defRPr sz="2361"/>
            </a:lvl5pPr>
            <a:lvl6pPr>
              <a:defRPr sz="2361"/>
            </a:lvl6pPr>
            <a:lvl7pPr>
              <a:defRPr sz="2361"/>
            </a:lvl7pPr>
            <a:lvl8pPr>
              <a:defRPr sz="2361"/>
            </a:lvl8pPr>
            <a:lvl9pPr>
              <a:defRPr sz="23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5" name="Date Placeholder 4"/>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6" name="Footer Placeholder 5"/>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7" name="Slide Number Placeholder 6"/>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35407546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09892" y="360462"/>
            <a:ext cx="14582244" cy="1500188"/>
          </a:xfrm>
          <a:prstGeom prst="rect">
            <a:avLst/>
          </a:prstGeom>
        </p:spPr>
        <p:txBody>
          <a:bodyPr/>
          <a:lstStyle>
            <a:lvl1pPr>
              <a:defRPr/>
            </a:lvl1pPr>
          </a:lstStyle>
          <a:p>
            <a:r>
              <a:rPr lang="en-US"/>
              <a:t>Click to edit Master title style</a:t>
            </a:r>
            <a:endParaRPr lang="es-CL"/>
          </a:p>
        </p:txBody>
      </p:sp>
      <p:sp>
        <p:nvSpPr>
          <p:cNvPr id="3" name="Text Placeholder 2"/>
          <p:cNvSpPr>
            <a:spLocks noGrp="1"/>
          </p:cNvSpPr>
          <p:nvPr>
            <p:ph type="body" idx="1"/>
          </p:nvPr>
        </p:nvSpPr>
        <p:spPr>
          <a:xfrm>
            <a:off x="809891" y="2014836"/>
            <a:ext cx="7158249" cy="839688"/>
          </a:xfrm>
          <a:prstGeom prst="rect">
            <a:avLst/>
          </a:prstGeom>
        </p:spPr>
        <p:txBody>
          <a:bodyPr anchor="b"/>
          <a:lstStyle>
            <a:lvl1pPr marL="0" indent="0">
              <a:buNone/>
              <a:defRPr sz="3149" b="1"/>
            </a:lvl1pPr>
            <a:lvl2pPr marL="599895" indent="0">
              <a:buNone/>
              <a:defRPr sz="2624" b="1"/>
            </a:lvl2pPr>
            <a:lvl3pPr marL="1199790" indent="0">
              <a:buNone/>
              <a:defRPr sz="2361" b="1"/>
            </a:lvl3pPr>
            <a:lvl4pPr marL="1799686" indent="0">
              <a:buNone/>
              <a:defRPr sz="2100" b="1"/>
            </a:lvl4pPr>
            <a:lvl5pPr marL="2399579" indent="0">
              <a:buNone/>
              <a:defRPr sz="2100" b="1"/>
            </a:lvl5pPr>
            <a:lvl6pPr marL="2999475" indent="0">
              <a:buNone/>
              <a:defRPr sz="2100" b="1"/>
            </a:lvl6pPr>
            <a:lvl7pPr marL="3599370" indent="0">
              <a:buNone/>
              <a:defRPr sz="2100" b="1"/>
            </a:lvl7pPr>
            <a:lvl8pPr marL="4199265" indent="0">
              <a:buNone/>
              <a:defRPr sz="2100" b="1"/>
            </a:lvl8pPr>
            <a:lvl9pPr marL="4799160" indent="0">
              <a:buNone/>
              <a:defRPr sz="2100" b="1"/>
            </a:lvl9pPr>
          </a:lstStyle>
          <a:p>
            <a:pPr lvl="0"/>
            <a:r>
              <a:rPr lang="en-US"/>
              <a:t>Click to edit Master text styles</a:t>
            </a:r>
          </a:p>
        </p:txBody>
      </p:sp>
      <p:sp>
        <p:nvSpPr>
          <p:cNvPr id="4" name="Content Placeholder 3"/>
          <p:cNvSpPr>
            <a:spLocks noGrp="1"/>
          </p:cNvSpPr>
          <p:nvPr>
            <p:ph sz="half" idx="2"/>
          </p:nvPr>
        </p:nvSpPr>
        <p:spPr>
          <a:xfrm>
            <a:off x="809891" y="2854523"/>
            <a:ext cx="7158249" cy="5186066"/>
          </a:xfrm>
          <a:prstGeom prst="rect">
            <a:avLst/>
          </a:prstGeom>
        </p:spPr>
        <p:txBody>
          <a:bodyPr/>
          <a:lstStyle>
            <a:lvl1pPr>
              <a:defRPr sz="3149"/>
            </a:lvl1pPr>
            <a:lvl2pPr>
              <a:defRPr sz="2624"/>
            </a:lvl2pPr>
            <a:lvl3pPr>
              <a:defRPr sz="2361"/>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5" name="Text Placeholder 4"/>
          <p:cNvSpPr>
            <a:spLocks noGrp="1"/>
          </p:cNvSpPr>
          <p:nvPr>
            <p:ph type="body" sz="quarter" idx="3"/>
          </p:nvPr>
        </p:nvSpPr>
        <p:spPr>
          <a:xfrm>
            <a:off x="8229667" y="2014836"/>
            <a:ext cx="7162467" cy="839688"/>
          </a:xfrm>
          <a:prstGeom prst="rect">
            <a:avLst/>
          </a:prstGeom>
        </p:spPr>
        <p:txBody>
          <a:bodyPr anchor="b"/>
          <a:lstStyle>
            <a:lvl1pPr marL="0" indent="0">
              <a:buNone/>
              <a:defRPr sz="3149" b="1"/>
            </a:lvl1pPr>
            <a:lvl2pPr marL="599895" indent="0">
              <a:buNone/>
              <a:defRPr sz="2624" b="1"/>
            </a:lvl2pPr>
            <a:lvl3pPr marL="1199790" indent="0">
              <a:buNone/>
              <a:defRPr sz="2361" b="1"/>
            </a:lvl3pPr>
            <a:lvl4pPr marL="1799686" indent="0">
              <a:buNone/>
              <a:defRPr sz="2100" b="1"/>
            </a:lvl4pPr>
            <a:lvl5pPr marL="2399579" indent="0">
              <a:buNone/>
              <a:defRPr sz="2100" b="1"/>
            </a:lvl5pPr>
            <a:lvl6pPr marL="2999475" indent="0">
              <a:buNone/>
              <a:defRPr sz="2100" b="1"/>
            </a:lvl6pPr>
            <a:lvl7pPr marL="3599370" indent="0">
              <a:buNone/>
              <a:defRPr sz="2100" b="1"/>
            </a:lvl7pPr>
            <a:lvl8pPr marL="4199265" indent="0">
              <a:buNone/>
              <a:defRPr sz="2100" b="1"/>
            </a:lvl8pPr>
            <a:lvl9pPr marL="4799160" indent="0">
              <a:buNone/>
              <a:defRPr sz="2100" b="1"/>
            </a:lvl9pPr>
          </a:lstStyle>
          <a:p>
            <a:pPr lvl="0"/>
            <a:r>
              <a:rPr lang="en-US"/>
              <a:t>Click to edit Master text styles</a:t>
            </a:r>
          </a:p>
        </p:txBody>
      </p:sp>
      <p:sp>
        <p:nvSpPr>
          <p:cNvPr id="6" name="Content Placeholder 5"/>
          <p:cNvSpPr>
            <a:spLocks noGrp="1"/>
          </p:cNvSpPr>
          <p:nvPr>
            <p:ph sz="quarter" idx="4"/>
          </p:nvPr>
        </p:nvSpPr>
        <p:spPr>
          <a:xfrm>
            <a:off x="8229667" y="2854523"/>
            <a:ext cx="7162467" cy="5186066"/>
          </a:xfrm>
          <a:prstGeom prst="rect">
            <a:avLst/>
          </a:prstGeom>
        </p:spPr>
        <p:txBody>
          <a:bodyPr/>
          <a:lstStyle>
            <a:lvl1pPr>
              <a:defRPr sz="3149"/>
            </a:lvl1pPr>
            <a:lvl2pPr>
              <a:defRPr sz="2624"/>
            </a:lvl2pPr>
            <a:lvl3pPr>
              <a:defRPr sz="2361"/>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7" name="Date Placeholder 6"/>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8" name="Footer Placeholder 7"/>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9" name="Slide Number Placeholder 8"/>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416633572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9892" y="360462"/>
            <a:ext cx="14582244" cy="1500188"/>
          </a:xfrm>
          <a:prstGeom prst="rect">
            <a:avLst/>
          </a:prstGeom>
        </p:spPr>
        <p:txBody>
          <a:bodyPr/>
          <a:lstStyle/>
          <a:p>
            <a:r>
              <a:rPr lang="en-US"/>
              <a:t>Click to edit Master title style</a:t>
            </a:r>
            <a:endParaRPr lang="es-CL"/>
          </a:p>
        </p:txBody>
      </p:sp>
      <p:sp>
        <p:nvSpPr>
          <p:cNvPr id="3" name="Date Placeholder 2"/>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4" name="Footer Placeholder 3"/>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5" name="Slide Number Placeholder 4"/>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69964785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3" name="Footer Placeholder 2"/>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4" name="Slide Number Placeholder 3"/>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42194327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09892" y="358378"/>
            <a:ext cx="5329670" cy="1525191"/>
          </a:xfrm>
          <a:prstGeom prst="rect">
            <a:avLst/>
          </a:prstGeom>
        </p:spPr>
        <p:txBody>
          <a:bodyPr anchor="b"/>
          <a:lstStyle>
            <a:lvl1pPr algn="l">
              <a:defRPr sz="2624" b="1"/>
            </a:lvl1pPr>
          </a:lstStyle>
          <a:p>
            <a:r>
              <a:rPr lang="en-US"/>
              <a:t>Click to edit Master title style</a:t>
            </a:r>
            <a:endParaRPr lang="es-CL"/>
          </a:p>
        </p:txBody>
      </p:sp>
      <p:sp>
        <p:nvSpPr>
          <p:cNvPr id="3" name="Content Placeholder 2"/>
          <p:cNvSpPr>
            <a:spLocks noGrp="1"/>
          </p:cNvSpPr>
          <p:nvPr>
            <p:ph idx="1"/>
          </p:nvPr>
        </p:nvSpPr>
        <p:spPr>
          <a:xfrm>
            <a:off x="6333597" y="358380"/>
            <a:ext cx="9058539" cy="7682211"/>
          </a:xfrm>
          <a:prstGeom prst="rect">
            <a:avLst/>
          </a:prstGeom>
        </p:spPr>
        <p:txBody>
          <a:bodyPr/>
          <a:lstStyle>
            <a:lvl1pPr>
              <a:defRPr sz="4199"/>
            </a:lvl1pPr>
            <a:lvl2pPr>
              <a:defRPr sz="3674"/>
            </a:lvl2pPr>
            <a:lvl3pPr>
              <a:defRPr sz="3149"/>
            </a:lvl3pPr>
            <a:lvl4pPr>
              <a:defRPr sz="2624"/>
            </a:lvl4pPr>
            <a:lvl5pPr>
              <a:defRPr sz="2624"/>
            </a:lvl5pPr>
            <a:lvl6pPr>
              <a:defRPr sz="2624"/>
            </a:lvl6pPr>
            <a:lvl7pPr>
              <a:defRPr sz="2624"/>
            </a:lvl7pPr>
            <a:lvl8pPr>
              <a:defRPr sz="2624"/>
            </a:lvl8pPr>
            <a:lvl9pPr>
              <a:defRPr sz="26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Text Placeholder 3"/>
          <p:cNvSpPr>
            <a:spLocks noGrp="1"/>
          </p:cNvSpPr>
          <p:nvPr>
            <p:ph type="body" sz="half" idx="2"/>
          </p:nvPr>
        </p:nvSpPr>
        <p:spPr>
          <a:xfrm>
            <a:off x="809892" y="1883571"/>
            <a:ext cx="5329670" cy="6157020"/>
          </a:xfrm>
          <a:prstGeom prst="rect">
            <a:avLst/>
          </a:prstGeom>
        </p:spPr>
        <p:txBody>
          <a:bodyPr/>
          <a:lstStyle>
            <a:lvl1pPr marL="0" indent="0">
              <a:buNone/>
              <a:defRPr sz="1838"/>
            </a:lvl1pPr>
            <a:lvl2pPr marL="599895" indent="0">
              <a:buNone/>
              <a:defRPr sz="1575"/>
            </a:lvl2pPr>
            <a:lvl3pPr marL="1199790" indent="0">
              <a:buNone/>
              <a:defRPr sz="1313"/>
            </a:lvl3pPr>
            <a:lvl4pPr marL="1799686" indent="0">
              <a:buNone/>
              <a:defRPr sz="1181"/>
            </a:lvl4pPr>
            <a:lvl5pPr marL="2399579" indent="0">
              <a:buNone/>
              <a:defRPr sz="1181"/>
            </a:lvl5pPr>
            <a:lvl6pPr marL="2999475" indent="0">
              <a:buNone/>
              <a:defRPr sz="1181"/>
            </a:lvl6pPr>
            <a:lvl7pPr marL="3599370" indent="0">
              <a:buNone/>
              <a:defRPr sz="1181"/>
            </a:lvl7pPr>
            <a:lvl8pPr marL="4199265" indent="0">
              <a:buNone/>
              <a:defRPr sz="1181"/>
            </a:lvl8pPr>
            <a:lvl9pPr marL="4799160" indent="0">
              <a:buNone/>
              <a:defRPr sz="1181"/>
            </a:lvl9pPr>
          </a:lstStyle>
          <a:p>
            <a:pPr lvl="0"/>
            <a:r>
              <a:rPr lang="en-US"/>
              <a:t>Click to edit Master text styles</a:t>
            </a:r>
          </a:p>
        </p:txBody>
      </p:sp>
      <p:sp>
        <p:nvSpPr>
          <p:cNvPr id="5" name="Date Placeholder 4"/>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6" name="Footer Placeholder 5"/>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7" name="Slide Number Placeholder 6"/>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18866526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0102" y="358378"/>
            <a:ext cx="5330355" cy="1525191"/>
          </a:xfrm>
        </p:spPr>
        <p:txBody>
          <a:bodyPr anchor="b"/>
          <a:lstStyle>
            <a:lvl1pPr algn="l">
              <a:defRPr sz="3200" b="1"/>
            </a:lvl1pPr>
          </a:lstStyle>
          <a:p>
            <a:r>
              <a:rPr lang="en-US"/>
              <a:t>Click to edit Master title style</a:t>
            </a:r>
            <a:endParaRPr lang="es-CL"/>
          </a:p>
        </p:txBody>
      </p:sp>
      <p:sp>
        <p:nvSpPr>
          <p:cNvPr id="3" name="Content Placeholder 2"/>
          <p:cNvSpPr>
            <a:spLocks noGrp="1"/>
          </p:cNvSpPr>
          <p:nvPr>
            <p:ph idx="1"/>
          </p:nvPr>
        </p:nvSpPr>
        <p:spPr>
          <a:xfrm>
            <a:off x="6334542" y="358379"/>
            <a:ext cx="9057382" cy="7682211"/>
          </a:xfrm>
        </p:spPr>
        <p:txBody>
          <a:bodyPr/>
          <a:lstStyle>
            <a:lvl1pPr>
              <a:defRPr sz="5000"/>
            </a:lvl1pPr>
            <a:lvl2pPr>
              <a:defRPr sz="4400"/>
            </a:lvl2pPr>
            <a:lvl3pPr>
              <a:defRPr sz="3800"/>
            </a:lvl3pPr>
            <a:lvl4pPr>
              <a:defRPr sz="3200"/>
            </a:lvl4pPr>
            <a:lvl5pPr>
              <a:defRPr sz="3200"/>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Text Placeholder 3"/>
          <p:cNvSpPr>
            <a:spLocks noGrp="1"/>
          </p:cNvSpPr>
          <p:nvPr>
            <p:ph type="body" sz="half" idx="2"/>
          </p:nvPr>
        </p:nvSpPr>
        <p:spPr>
          <a:xfrm>
            <a:off x="810102" y="1883570"/>
            <a:ext cx="5330355" cy="6157020"/>
          </a:xfrm>
        </p:spPr>
        <p:txBody>
          <a:bodyPr/>
          <a:lstStyle>
            <a:lvl1pPr marL="0" indent="0">
              <a:buNone/>
              <a:defRPr sz="2200"/>
            </a:lvl1pPr>
            <a:lvl2pPr marL="720090" indent="0">
              <a:buNone/>
              <a:defRPr sz="1900"/>
            </a:lvl2pPr>
            <a:lvl3pPr marL="1440180" indent="0">
              <a:buNone/>
              <a:defRPr sz="1600"/>
            </a:lvl3pPr>
            <a:lvl4pPr marL="2160270" indent="0">
              <a:buNone/>
              <a:defRPr sz="1400"/>
            </a:lvl4pPr>
            <a:lvl5pPr marL="2880360" indent="0">
              <a:buNone/>
              <a:defRPr sz="1400"/>
            </a:lvl5pPr>
            <a:lvl6pPr marL="3600450" indent="0">
              <a:buNone/>
              <a:defRPr sz="1400"/>
            </a:lvl6pPr>
            <a:lvl7pPr marL="4320540" indent="0">
              <a:buNone/>
              <a:defRPr sz="1400"/>
            </a:lvl7pPr>
            <a:lvl8pPr marL="5040630" indent="0">
              <a:buNone/>
              <a:defRPr sz="1400"/>
            </a:lvl8pPr>
            <a:lvl9pPr marL="5760720" indent="0">
              <a:buNone/>
              <a:defRPr sz="1400"/>
            </a:lvl9pPr>
          </a:lstStyle>
          <a:p>
            <a:pPr lvl="0"/>
            <a:r>
              <a:rPr lang="en-US"/>
              <a:t>Click to edit Master text styles</a:t>
            </a:r>
          </a:p>
        </p:txBody>
      </p:sp>
      <p:sp>
        <p:nvSpPr>
          <p:cNvPr id="5" name="Date Placeholder 4"/>
          <p:cNvSpPr>
            <a:spLocks noGrp="1"/>
          </p:cNvSpPr>
          <p:nvPr>
            <p:ph type="dt" sz="half" idx="10"/>
          </p:nvPr>
        </p:nvSpPr>
        <p:spPr/>
        <p:txBody>
          <a:bodyPr/>
          <a:lstStyle/>
          <a:p>
            <a:fld id="{BF1F7606-8703-4774-82E4-4A2AAF776758}" type="datetimeFigureOut">
              <a:rPr lang="es-CL" smtClean="0"/>
              <a:t>23-01-2025</a:t>
            </a:fld>
            <a:endParaRPr lang="es-CL"/>
          </a:p>
        </p:txBody>
      </p:sp>
      <p:sp>
        <p:nvSpPr>
          <p:cNvPr id="6" name="Footer Placeholder 5"/>
          <p:cNvSpPr>
            <a:spLocks noGrp="1"/>
          </p:cNvSpPr>
          <p:nvPr>
            <p:ph type="ftr" sz="quarter" idx="11"/>
          </p:nvPr>
        </p:nvSpPr>
        <p:spPr/>
        <p:txBody>
          <a:bodyPr/>
          <a:lstStyle/>
          <a:p>
            <a:endParaRPr lang="es-CL"/>
          </a:p>
        </p:txBody>
      </p:sp>
      <p:sp>
        <p:nvSpPr>
          <p:cNvPr id="7" name="Slide Number Placeholder 6"/>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6460410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176290" y="6300787"/>
            <a:ext cx="9720794" cy="743844"/>
          </a:xfrm>
          <a:prstGeom prst="rect">
            <a:avLst/>
          </a:prstGeom>
        </p:spPr>
        <p:txBody>
          <a:bodyPr anchor="b"/>
          <a:lstStyle>
            <a:lvl1pPr algn="l">
              <a:defRPr sz="2624" b="1"/>
            </a:lvl1pPr>
          </a:lstStyle>
          <a:p>
            <a:r>
              <a:rPr lang="en-US"/>
              <a:t>Click to edit Master title style</a:t>
            </a:r>
            <a:endParaRPr lang="es-CL"/>
          </a:p>
        </p:txBody>
      </p:sp>
      <p:sp>
        <p:nvSpPr>
          <p:cNvPr id="3" name="Picture Placeholder 2"/>
          <p:cNvSpPr>
            <a:spLocks noGrp="1"/>
          </p:cNvSpPr>
          <p:nvPr>
            <p:ph type="pic" idx="1"/>
          </p:nvPr>
        </p:nvSpPr>
        <p:spPr>
          <a:xfrm>
            <a:off x="3176290" y="804267"/>
            <a:ext cx="9720794" cy="5400675"/>
          </a:xfrm>
          <a:prstGeom prst="rect">
            <a:avLst/>
          </a:prstGeom>
        </p:spPr>
        <p:txBody>
          <a:bodyPr/>
          <a:lstStyle>
            <a:lvl1pPr marL="0" indent="0">
              <a:buNone/>
              <a:defRPr sz="4199"/>
            </a:lvl1pPr>
            <a:lvl2pPr marL="599895" indent="0">
              <a:buNone/>
              <a:defRPr sz="3674"/>
            </a:lvl2pPr>
            <a:lvl3pPr marL="1199790" indent="0">
              <a:buNone/>
              <a:defRPr sz="3149"/>
            </a:lvl3pPr>
            <a:lvl4pPr marL="1799686" indent="0">
              <a:buNone/>
              <a:defRPr sz="2624"/>
            </a:lvl4pPr>
            <a:lvl5pPr marL="2399579" indent="0">
              <a:buNone/>
              <a:defRPr sz="2624"/>
            </a:lvl5pPr>
            <a:lvl6pPr marL="2999475" indent="0">
              <a:buNone/>
              <a:defRPr sz="2624"/>
            </a:lvl6pPr>
            <a:lvl7pPr marL="3599370" indent="0">
              <a:buNone/>
              <a:defRPr sz="2624"/>
            </a:lvl7pPr>
            <a:lvl8pPr marL="4199265" indent="0">
              <a:buNone/>
              <a:defRPr sz="2624"/>
            </a:lvl8pPr>
            <a:lvl9pPr marL="4799160" indent="0">
              <a:buNone/>
              <a:defRPr sz="2624"/>
            </a:lvl9pPr>
          </a:lstStyle>
          <a:p>
            <a:endParaRPr lang="es-CL"/>
          </a:p>
        </p:txBody>
      </p:sp>
      <p:sp>
        <p:nvSpPr>
          <p:cNvPr id="4" name="Text Placeholder 3"/>
          <p:cNvSpPr>
            <a:spLocks noGrp="1"/>
          </p:cNvSpPr>
          <p:nvPr>
            <p:ph type="body" sz="half" idx="2"/>
          </p:nvPr>
        </p:nvSpPr>
        <p:spPr>
          <a:xfrm>
            <a:off x="3176290" y="7044631"/>
            <a:ext cx="9720794" cy="1056381"/>
          </a:xfrm>
          <a:prstGeom prst="rect">
            <a:avLst/>
          </a:prstGeom>
        </p:spPr>
        <p:txBody>
          <a:bodyPr/>
          <a:lstStyle>
            <a:lvl1pPr marL="0" indent="0">
              <a:buNone/>
              <a:defRPr sz="1838"/>
            </a:lvl1pPr>
            <a:lvl2pPr marL="599895" indent="0">
              <a:buNone/>
              <a:defRPr sz="1575"/>
            </a:lvl2pPr>
            <a:lvl3pPr marL="1199790" indent="0">
              <a:buNone/>
              <a:defRPr sz="1313"/>
            </a:lvl3pPr>
            <a:lvl4pPr marL="1799686" indent="0">
              <a:buNone/>
              <a:defRPr sz="1181"/>
            </a:lvl4pPr>
            <a:lvl5pPr marL="2399579" indent="0">
              <a:buNone/>
              <a:defRPr sz="1181"/>
            </a:lvl5pPr>
            <a:lvl6pPr marL="2999475" indent="0">
              <a:buNone/>
              <a:defRPr sz="1181"/>
            </a:lvl6pPr>
            <a:lvl7pPr marL="3599370" indent="0">
              <a:buNone/>
              <a:defRPr sz="1181"/>
            </a:lvl7pPr>
            <a:lvl8pPr marL="4199265" indent="0">
              <a:buNone/>
              <a:defRPr sz="1181"/>
            </a:lvl8pPr>
            <a:lvl9pPr marL="4799160" indent="0">
              <a:buNone/>
              <a:defRPr sz="1181"/>
            </a:lvl9pPr>
          </a:lstStyle>
          <a:p>
            <a:pPr lvl="0"/>
            <a:r>
              <a:rPr lang="en-US"/>
              <a:t>Click to edit Master text styles</a:t>
            </a:r>
          </a:p>
        </p:txBody>
      </p:sp>
      <p:sp>
        <p:nvSpPr>
          <p:cNvPr id="5" name="Date Placeholder 4"/>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6" name="Footer Placeholder 5"/>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7" name="Slide Number Placeholder 6"/>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307455540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09892" y="360462"/>
            <a:ext cx="14582244" cy="1500188"/>
          </a:xfrm>
          <a:prstGeom prst="rect">
            <a:avLst/>
          </a:prstGeom>
        </p:spPr>
        <p:txBody>
          <a:bodyPr/>
          <a:lstStyle/>
          <a:p>
            <a:r>
              <a:rPr lang="en-US"/>
              <a:t>Click to edit Master title style</a:t>
            </a:r>
            <a:endParaRPr lang="es-CL"/>
          </a:p>
        </p:txBody>
      </p:sp>
      <p:sp>
        <p:nvSpPr>
          <p:cNvPr id="3" name="Vertical Text Placeholder 2"/>
          <p:cNvSpPr>
            <a:spLocks noGrp="1"/>
          </p:cNvSpPr>
          <p:nvPr>
            <p:ph type="body" orient="vert" idx="1"/>
          </p:nvPr>
        </p:nvSpPr>
        <p:spPr>
          <a:xfrm>
            <a:off x="809892" y="2100265"/>
            <a:ext cx="14582244" cy="5940326"/>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5" name="Footer Placeholder 4"/>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6" name="Slide Number Placeholder 5"/>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34225766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747628" y="360464"/>
            <a:ext cx="3644507" cy="7680127"/>
          </a:xfrm>
          <a:prstGeom prst="rect">
            <a:avLst/>
          </a:prstGeom>
        </p:spPr>
        <p:txBody>
          <a:bodyPr vert="eaVert"/>
          <a:lstStyle/>
          <a:p>
            <a:r>
              <a:rPr lang="en-US"/>
              <a:t>Click to edit Master title style</a:t>
            </a:r>
            <a:endParaRPr lang="es-CL"/>
          </a:p>
        </p:txBody>
      </p:sp>
      <p:sp>
        <p:nvSpPr>
          <p:cNvPr id="3" name="Vertical Text Placeholder 2"/>
          <p:cNvSpPr>
            <a:spLocks noGrp="1"/>
          </p:cNvSpPr>
          <p:nvPr>
            <p:ph type="body" orient="vert" idx="1"/>
          </p:nvPr>
        </p:nvSpPr>
        <p:spPr>
          <a:xfrm>
            <a:off x="809892" y="360464"/>
            <a:ext cx="10735265" cy="7680127"/>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10"/>
          </p:nvPr>
        </p:nvSpPr>
        <p:spPr>
          <a:xfrm>
            <a:off x="809891" y="8342711"/>
            <a:ext cx="3781598" cy="479227"/>
          </a:xfrm>
          <a:prstGeom prst="rect">
            <a:avLst/>
          </a:prstGeom>
        </p:spPr>
        <p:txBody>
          <a:bodyPr/>
          <a:lstStyle/>
          <a:p>
            <a:pPr defTabSz="1200150"/>
            <a:fld id="{69CC003F-C6DF-4EE9-A723-7F56F3206A74}" type="datetimeFigureOut">
              <a:rPr lang="es-CL" sz="2363" smtClean="0">
                <a:solidFill>
                  <a:prstClr val="black"/>
                </a:solidFill>
              </a:rPr>
              <a:pPr defTabSz="1200150"/>
              <a:t>23-01-2025</a:t>
            </a:fld>
            <a:endParaRPr lang="es-CL" sz="2363">
              <a:solidFill>
                <a:prstClr val="black"/>
              </a:solidFill>
            </a:endParaRPr>
          </a:p>
        </p:txBody>
      </p:sp>
      <p:sp>
        <p:nvSpPr>
          <p:cNvPr id="5" name="Footer Placeholder 4"/>
          <p:cNvSpPr>
            <a:spLocks noGrp="1"/>
          </p:cNvSpPr>
          <p:nvPr>
            <p:ph type="ftr" sz="quarter" idx="11"/>
          </p:nvPr>
        </p:nvSpPr>
        <p:spPr>
          <a:xfrm>
            <a:off x="5536361" y="8342711"/>
            <a:ext cx="5129306" cy="479227"/>
          </a:xfrm>
          <a:prstGeom prst="rect">
            <a:avLst/>
          </a:prstGeom>
        </p:spPr>
        <p:txBody>
          <a:bodyPr/>
          <a:lstStyle/>
          <a:p>
            <a:pPr defTabSz="1200150"/>
            <a:endParaRPr lang="es-CL" sz="2363">
              <a:solidFill>
                <a:prstClr val="black"/>
              </a:solidFill>
            </a:endParaRPr>
          </a:p>
        </p:txBody>
      </p:sp>
      <p:sp>
        <p:nvSpPr>
          <p:cNvPr id="6" name="Slide Number Placeholder 5"/>
          <p:cNvSpPr>
            <a:spLocks noGrp="1"/>
          </p:cNvSpPr>
          <p:nvPr>
            <p:ph type="sldNum" sz="quarter" idx="12"/>
          </p:nvPr>
        </p:nvSpPr>
        <p:spPr>
          <a:xfrm>
            <a:off x="11610538" y="8342711"/>
            <a:ext cx="3781597" cy="479227"/>
          </a:xfrm>
          <a:prstGeom prst="rect">
            <a:avLst/>
          </a:prstGeom>
        </p:spPr>
        <p:txBody>
          <a:bodyPr/>
          <a:lstStyle/>
          <a:p>
            <a:pPr defTabSz="1200150"/>
            <a:fld id="{F00D83CD-DBBB-4CD6-A183-F5A4F0ADB733}" type="slidenum">
              <a:rPr lang="es-CL" sz="2363" smtClean="0">
                <a:solidFill>
                  <a:prstClr val="black"/>
                </a:solidFill>
              </a:rPr>
              <a:pPr defTabSz="1200150"/>
              <a:t>‹Nº›</a:t>
            </a:fld>
            <a:endParaRPr lang="es-CL" sz="2363">
              <a:solidFill>
                <a:prstClr val="black"/>
              </a:solidFill>
            </a:endParaRPr>
          </a:p>
        </p:txBody>
      </p:sp>
    </p:spTree>
    <p:extLst>
      <p:ext uri="{BB962C8B-B14F-4D97-AF65-F5344CB8AC3E}">
        <p14:creationId xmlns:p14="http://schemas.microsoft.com/office/powerpoint/2010/main" val="2568081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295752"/>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5903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4467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97029" y="8485692"/>
            <a:ext cx="9033335" cy="479227"/>
          </a:xfrm>
          <a:prstGeom prst="rect">
            <a:avLst/>
          </a:prstGeom>
        </p:spPr>
        <p:txBody>
          <a:bodyPr anchor="t"/>
          <a:lstStyle>
            <a:lvl1pPr>
              <a:defRPr sz="1167">
                <a:solidFill>
                  <a:schemeClr val="tx2"/>
                </a:solidFill>
                <a:latin typeface="Arial" panose="020B0604020202020204" pitchFamily="34" charset="0"/>
                <a:cs typeface="Arial" panose="020B0604020202020204" pitchFamily="34" charset="0"/>
              </a:defRPr>
            </a:lvl1pPr>
          </a:lstStyle>
          <a:p>
            <a:endParaRPr lang="es-CL">
              <a:solidFill>
                <a:srgbClr val="616161"/>
              </a:solidFill>
            </a:endParaRPr>
          </a:p>
        </p:txBody>
      </p:sp>
      <p:sp>
        <p:nvSpPr>
          <p:cNvPr id="4" name="Slide Number Placeholder 3"/>
          <p:cNvSpPr>
            <a:spLocks noGrp="1"/>
          </p:cNvSpPr>
          <p:nvPr>
            <p:ph type="sldNum" sz="quarter" idx="1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
        <p:nvSpPr>
          <p:cNvPr id="5" name="Marcador de texto 7">
            <a:extLst>
              <a:ext uri="{FF2B5EF4-FFF2-40B4-BE49-F238E27FC236}">
                <a16:creationId xmlns:a16="http://schemas.microsoft.com/office/drawing/2014/main" xmlns="" id="{12A9E4BC-2725-7D4A-800A-04015E2A9C22}"/>
              </a:ext>
            </a:extLst>
          </p:cNvPr>
          <p:cNvSpPr>
            <a:spLocks noGrp="1"/>
          </p:cNvSpPr>
          <p:nvPr>
            <p:ph type="body" sz="quarter" idx="13" hasCustomPrompt="1"/>
          </p:nvPr>
        </p:nvSpPr>
        <p:spPr>
          <a:xfrm>
            <a:off x="597028" y="591742"/>
            <a:ext cx="9529239" cy="541955"/>
          </a:xfrm>
          <a:prstGeom prst="rect">
            <a:avLst/>
          </a:prstGeom>
        </p:spPr>
        <p:txBody>
          <a:bodyPr/>
          <a:lstStyle>
            <a:lvl1pPr marL="0" indent="0">
              <a:buNone/>
              <a:defRPr sz="3111" b="1">
                <a:solidFill>
                  <a:schemeClr val="tx1"/>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6" name="Marcador de texto 7">
            <a:extLst>
              <a:ext uri="{FF2B5EF4-FFF2-40B4-BE49-F238E27FC236}">
                <a16:creationId xmlns:a16="http://schemas.microsoft.com/office/drawing/2014/main" xmlns="" id="{5A71D66A-548A-4E45-A797-319F6B855BAD}"/>
              </a:ext>
            </a:extLst>
          </p:cNvPr>
          <p:cNvSpPr>
            <a:spLocks noGrp="1"/>
          </p:cNvSpPr>
          <p:nvPr>
            <p:ph type="body" sz="quarter" idx="14" hasCustomPrompt="1"/>
          </p:nvPr>
        </p:nvSpPr>
        <p:spPr>
          <a:xfrm>
            <a:off x="597028" y="1131775"/>
            <a:ext cx="9529239" cy="467620"/>
          </a:xfrm>
          <a:prstGeom prst="rect">
            <a:avLst/>
          </a:prstGeom>
        </p:spPr>
        <p:txBody>
          <a:bodyPr/>
          <a:lstStyle>
            <a:lvl1pPr marL="0" indent="0">
              <a:buNone/>
              <a:defRPr sz="2334" b="0">
                <a:solidFill>
                  <a:schemeClr val="bg2"/>
                </a:solidFill>
                <a:latin typeface="Arial" panose="020B0604020202020204" pitchFamily="34" charset="0"/>
                <a:cs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7" name="Conector recto 6">
            <a:extLst>
              <a:ext uri="{FF2B5EF4-FFF2-40B4-BE49-F238E27FC236}">
                <a16:creationId xmlns:a16="http://schemas.microsoft.com/office/drawing/2014/main" xmlns="" id="{127168A3-0CDD-3842-A871-01C336DA32CE}"/>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pic>
        <p:nvPicPr>
          <p:cNvPr id="10" name="Imagen 9">
            <a:extLst>
              <a:ext uri="{FF2B5EF4-FFF2-40B4-BE49-F238E27FC236}">
                <a16:creationId xmlns:a16="http://schemas.microsoft.com/office/drawing/2014/main" xmlns="" id="{F012D428-C8D1-7949-B8BA-EDFE6ACDFE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Tree>
    <p:extLst>
      <p:ext uri="{BB962C8B-B14F-4D97-AF65-F5344CB8AC3E}">
        <p14:creationId xmlns:p14="http://schemas.microsoft.com/office/powerpoint/2010/main" val="160494038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portada con foto">
    <p:bg>
      <p:bgPr>
        <a:solidFill>
          <a:srgbClr val="FFFFFF"/>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1077"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10" name="Asociación Chilena de Seguridad…">
            <a:extLst>
              <a:ext uri="{FF2B5EF4-FFF2-40B4-BE49-F238E27FC236}">
                <a16:creationId xmlns:a16="http://schemas.microsoft.com/office/drawing/2014/main" xmlns="" id="{FF98E1B1-3B0B-3241-93AC-BE8D1054EBCA}"/>
              </a:ext>
            </a:extLst>
          </p:cNvPr>
          <p:cNvSpPr txBox="1"/>
          <p:nvPr/>
        </p:nvSpPr>
        <p:spPr>
          <a:xfrm>
            <a:off x="14478349" y="7287581"/>
            <a:ext cx="1254208" cy="784386"/>
          </a:xfrm>
          <a:prstGeom prst="rect">
            <a:avLst/>
          </a:prstGeom>
          <a:ln w="12700">
            <a:miter lim="400000"/>
          </a:ln>
          <a:extLst>
            <a:ext uri="{C572A759-6A51-4108-AA02-DFA0A04FC94B}">
              <ma14:wrappingTextBoxFlag xmlns:ma14="http://schemas.microsoft.com/office/mac/drawingml/2011/main" xmlns="" val="1"/>
            </a:ext>
          </a:extLst>
        </p:spPr>
        <p:txBody>
          <a:bodyPr wrap="square" lIns="32927" tIns="32927" rIns="32927" bIns="32927" anchor="ctr">
            <a:spAutoFit/>
          </a:bodyPr>
          <a:lstStyle/>
          <a:p>
            <a:pPr defTabSz="1200150">
              <a:spcBef>
                <a:spcPts val="778"/>
              </a:spcBef>
              <a:defRPr sz="3000" b="1">
                <a:solidFill>
                  <a:srgbClr val="79B025"/>
                </a:solidFill>
                <a:latin typeface="Arial"/>
                <a:ea typeface="Arial"/>
                <a:cs typeface="Arial"/>
                <a:sym typeface="Arial"/>
              </a:defRPr>
            </a:pPr>
            <a:r>
              <a:rPr sz="1555" b="1" dirty="0" err="1">
                <a:solidFill>
                  <a:srgbClr val="83B727"/>
                </a:solidFill>
                <a:ea typeface="Arial"/>
                <a:cs typeface="Arial"/>
                <a:sym typeface="Arial"/>
              </a:rPr>
              <a:t>Asociación</a:t>
            </a:r>
            <a:r>
              <a:rPr sz="1555" b="1" dirty="0">
                <a:solidFill>
                  <a:srgbClr val="83B727"/>
                </a:solidFill>
                <a:ea typeface="Arial"/>
                <a:cs typeface="Arial"/>
                <a:sym typeface="Arial"/>
              </a:rPr>
              <a:t> </a:t>
            </a:r>
            <a:r>
              <a:rPr sz="1555" b="1" dirty="0" err="1">
                <a:solidFill>
                  <a:srgbClr val="83B727"/>
                </a:solidFill>
                <a:ea typeface="Arial"/>
                <a:cs typeface="Arial"/>
                <a:sym typeface="Arial"/>
              </a:rPr>
              <a:t>Chilena</a:t>
            </a:r>
            <a:r>
              <a:rPr sz="1555" b="1" dirty="0">
                <a:solidFill>
                  <a:srgbClr val="83B727"/>
                </a:solidFill>
                <a:ea typeface="Arial"/>
                <a:cs typeface="Arial"/>
                <a:sym typeface="Arial"/>
              </a:rPr>
              <a:t> de </a:t>
            </a:r>
            <a:r>
              <a:rPr sz="1555" b="1" dirty="0" err="1">
                <a:solidFill>
                  <a:srgbClr val="83B727"/>
                </a:solidFill>
                <a:ea typeface="Arial"/>
                <a:cs typeface="Arial"/>
                <a:sym typeface="Arial"/>
              </a:rPr>
              <a:t>Seguridad</a:t>
            </a:r>
            <a:endParaRPr sz="1555" b="1" dirty="0">
              <a:solidFill>
                <a:srgbClr val="83B727"/>
              </a:solidFill>
              <a:ea typeface="Arial"/>
              <a:cs typeface="Arial"/>
              <a:sym typeface="Arial"/>
            </a:endParaRPr>
          </a:p>
        </p:txBody>
      </p:sp>
      <p:sp>
        <p:nvSpPr>
          <p:cNvPr id="11" name="Marcador de posición de imagen 10">
            <a:extLst>
              <a:ext uri="{FF2B5EF4-FFF2-40B4-BE49-F238E27FC236}">
                <a16:creationId xmlns:a16="http://schemas.microsoft.com/office/drawing/2014/main" xmlns="" id="{5DC77C06-620B-174D-91AC-64FD267E532A}"/>
              </a:ext>
            </a:extLst>
          </p:cNvPr>
          <p:cNvSpPr>
            <a:spLocks noGrp="1"/>
          </p:cNvSpPr>
          <p:nvPr>
            <p:ph type="pic" sz="quarter" idx="10" hasCustomPrompt="1"/>
          </p:nvPr>
        </p:nvSpPr>
        <p:spPr>
          <a:xfrm>
            <a:off x="-34701" y="-12500"/>
            <a:ext cx="13929945" cy="9013627"/>
          </a:xfrm>
          <a:prstGeom prst="rect">
            <a:avLst/>
          </a:prstGeom>
        </p:spPr>
        <p:txBody>
          <a:bodyPr/>
          <a:lstStyle>
            <a:lvl1pPr marL="0" indent="0">
              <a:buNone/>
              <a:defRPr>
                <a:latin typeface="Arial" panose="020B0604020202020204" pitchFamily="34" charset="0"/>
                <a:cs typeface="Arial" panose="020B0604020202020204" pitchFamily="34" charset="0"/>
              </a:defRPr>
            </a:lvl1pPr>
          </a:lstStyle>
          <a:p>
            <a:r>
              <a:rPr lang="es-CL" dirty="0"/>
              <a:t>Doble click para incorporar una imagen</a:t>
            </a:r>
          </a:p>
        </p:txBody>
      </p:sp>
      <p:pic>
        <p:nvPicPr>
          <p:cNvPr id="13" name="Imagen 12">
            <a:extLst>
              <a:ext uri="{FF2B5EF4-FFF2-40B4-BE49-F238E27FC236}">
                <a16:creationId xmlns:a16="http://schemas.microsoft.com/office/drawing/2014/main" xmlns="" id="{E516A13A-EE62-714D-B8F2-66374C530E6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536437" y="593827"/>
            <a:ext cx="1058111" cy="1045048"/>
          </a:xfrm>
          <a:prstGeom prst="rect">
            <a:avLst/>
          </a:prstGeom>
        </p:spPr>
      </p:pic>
      <p:sp>
        <p:nvSpPr>
          <p:cNvPr id="18" name="Título 1">
            <a:extLst>
              <a:ext uri="{FF2B5EF4-FFF2-40B4-BE49-F238E27FC236}">
                <a16:creationId xmlns:a16="http://schemas.microsoft.com/office/drawing/2014/main" xmlns="" id="{B8906DF6-FBF4-AC40-830F-E54C334DA6FD}"/>
              </a:ext>
            </a:extLst>
          </p:cNvPr>
          <p:cNvSpPr>
            <a:spLocks noGrp="1"/>
          </p:cNvSpPr>
          <p:nvPr>
            <p:ph type="title" hasCustomPrompt="1"/>
          </p:nvPr>
        </p:nvSpPr>
        <p:spPr>
          <a:xfrm>
            <a:off x="688481" y="932136"/>
            <a:ext cx="7864321" cy="1721531"/>
          </a:xfrm>
          <a:prstGeom prst="rect">
            <a:avLst/>
          </a:prstGeom>
        </p:spPr>
        <p:txBody>
          <a:bodyPr/>
          <a:lstStyle>
            <a:lvl1pPr>
              <a:lnSpc>
                <a:spcPts val="4213"/>
              </a:lnSpc>
              <a:defRPr sz="3889" b="1">
                <a:solidFill>
                  <a:schemeClr val="bg1"/>
                </a:solidFill>
              </a:defRPr>
            </a:lvl1pPr>
          </a:lstStyle>
          <a:p>
            <a:r>
              <a:rPr lang="es-ES" dirty="0"/>
              <a:t>Título presentación</a:t>
            </a:r>
            <a:br>
              <a:rPr lang="es-ES" dirty="0"/>
            </a:br>
            <a:r>
              <a:rPr lang="es-ES" dirty="0"/>
              <a:t>Máximo 3 líneas</a:t>
            </a:r>
            <a:br>
              <a:rPr lang="es-ES" dirty="0"/>
            </a:br>
            <a:r>
              <a:rPr lang="es-ES" dirty="0"/>
              <a:t>Arial Bold – 30 puntos</a:t>
            </a:r>
            <a:endParaRPr lang="es-CL" dirty="0"/>
          </a:p>
        </p:txBody>
      </p:sp>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4415849" y="8277971"/>
            <a:ext cx="1381613" cy="661979"/>
          </a:xfrm>
          <a:prstGeom prst="rect">
            <a:avLst/>
          </a:prstGeom>
        </p:spPr>
        <p:txBody>
          <a:bodyPr/>
          <a:lstStyle>
            <a:lvl1pPr marL="0" indent="0">
              <a:buNone/>
              <a:defRPr sz="1297"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Fecha</a:t>
            </a:r>
            <a:endParaRPr lang="es-CL" dirty="0"/>
          </a:p>
        </p:txBody>
      </p:sp>
    </p:spTree>
    <p:extLst>
      <p:ext uri="{BB962C8B-B14F-4D97-AF65-F5344CB8AC3E}">
        <p14:creationId xmlns:p14="http://schemas.microsoft.com/office/powerpoint/2010/main" val="3930866134"/>
      </p:ext>
    </p:extLst>
  </p:cSld>
  <p:clrMapOvr>
    <a:masterClrMapping/>
  </p:clrMapOvr>
  <p:extLst>
    <p:ext uri="{DCECCB84-F9BA-43D5-87BE-67443E8EF086}">
      <p15:sldGuideLst xmlns:p15="http://schemas.microsoft.com/office/powerpoint/2012/main">
        <p15:guide id="1" pos="658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portada con video">
    <p:bg>
      <p:bgPr>
        <a:solidFill>
          <a:srgbClr val="FFFFFF"/>
        </a:solidFill>
        <a:effectLst/>
      </p:bgPr>
    </p:bg>
    <p:spTree>
      <p:nvGrpSpPr>
        <p:cNvPr id="1" name=""/>
        <p:cNvGrpSpPr/>
        <p:nvPr/>
      </p:nvGrpSpPr>
      <p:grpSpPr>
        <a:xfrm>
          <a:off x="0" y="0"/>
          <a:ext cx="0" cy="0"/>
          <a:chOff x="0" y="0"/>
          <a:chExt cx="0" cy="0"/>
        </a:xfrm>
      </p:grpSpPr>
      <p:sp>
        <p:nvSpPr>
          <p:cNvPr id="5" name="Marcador de posición de imagen 4">
            <a:extLst>
              <a:ext uri="{FF2B5EF4-FFF2-40B4-BE49-F238E27FC236}">
                <a16:creationId xmlns:a16="http://schemas.microsoft.com/office/drawing/2014/main" xmlns="" id="{1DF01602-55BE-7145-87D0-D59AB1381CA4}"/>
              </a:ext>
            </a:extLst>
          </p:cNvPr>
          <p:cNvSpPr>
            <a:spLocks noGrp="1"/>
          </p:cNvSpPr>
          <p:nvPr>
            <p:ph type="pic" sz="quarter" idx="17"/>
          </p:nvPr>
        </p:nvSpPr>
        <p:spPr>
          <a:xfrm>
            <a:off x="1" y="0"/>
            <a:ext cx="13890625" cy="9001125"/>
          </a:xfrm>
        </p:spPr>
        <p:txBody>
          <a:bodyPr>
            <a:normAutofit/>
          </a:bodyPr>
          <a:lstStyle>
            <a:lvl1pPr>
              <a:defRPr sz="2765"/>
            </a:lvl1pPr>
          </a:lstStyle>
          <a:p>
            <a:r>
              <a:rPr lang="es-ES"/>
              <a:t>Haga clic en el icono para agregar una imagen</a:t>
            </a:r>
            <a:endParaRPr lang="es-ES_tradnl" dirty="0"/>
          </a:p>
        </p:txBody>
      </p:sp>
      <p:graphicFrame>
        <p:nvGraphicFramePr>
          <p:cNvPr id="2" name="Objeto 1" hidden="1">
            <a:extLst>
              <a:ext uri="{FF2B5EF4-FFF2-40B4-BE49-F238E27FC236}">
                <a16:creationId xmlns:a16="http://schemas.microsoft.com/office/drawing/2014/main" xmlns="" id="{B0334AC3-1221-0D47-8376-248BE6D996C0}"/>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2101"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10" name="Asociación Chilena de Seguridad…">
            <a:extLst>
              <a:ext uri="{FF2B5EF4-FFF2-40B4-BE49-F238E27FC236}">
                <a16:creationId xmlns:a16="http://schemas.microsoft.com/office/drawing/2014/main" xmlns="" id="{FF98E1B1-3B0B-3241-93AC-BE8D1054EBCA}"/>
              </a:ext>
            </a:extLst>
          </p:cNvPr>
          <p:cNvSpPr txBox="1"/>
          <p:nvPr/>
        </p:nvSpPr>
        <p:spPr>
          <a:xfrm>
            <a:off x="14478349" y="7287581"/>
            <a:ext cx="1254208" cy="784386"/>
          </a:xfrm>
          <a:prstGeom prst="rect">
            <a:avLst/>
          </a:prstGeom>
          <a:ln w="12700">
            <a:miter lim="400000"/>
          </a:ln>
          <a:extLst>
            <a:ext uri="{C572A759-6A51-4108-AA02-DFA0A04FC94B}">
              <ma14:wrappingTextBoxFlag xmlns:ma14="http://schemas.microsoft.com/office/mac/drawingml/2011/main" xmlns="" val="1"/>
            </a:ext>
          </a:extLst>
        </p:spPr>
        <p:txBody>
          <a:bodyPr wrap="square" lIns="32927" tIns="32927" rIns="32927" bIns="32927" anchor="ctr">
            <a:spAutoFit/>
          </a:bodyPr>
          <a:lstStyle/>
          <a:p>
            <a:pPr defTabSz="1200150">
              <a:spcBef>
                <a:spcPts val="778"/>
              </a:spcBef>
              <a:defRPr sz="3000" b="1">
                <a:solidFill>
                  <a:srgbClr val="79B025"/>
                </a:solidFill>
                <a:latin typeface="Arial"/>
                <a:ea typeface="Arial"/>
                <a:cs typeface="Arial"/>
                <a:sym typeface="Arial"/>
              </a:defRPr>
            </a:pPr>
            <a:r>
              <a:rPr sz="1555" b="1" dirty="0" err="1">
                <a:solidFill>
                  <a:srgbClr val="83B727"/>
                </a:solidFill>
                <a:ea typeface="Arial"/>
                <a:cs typeface="Arial"/>
                <a:sym typeface="Arial"/>
              </a:rPr>
              <a:t>Asociación</a:t>
            </a:r>
            <a:r>
              <a:rPr sz="1555" b="1" dirty="0">
                <a:solidFill>
                  <a:srgbClr val="83B727"/>
                </a:solidFill>
                <a:ea typeface="Arial"/>
                <a:cs typeface="Arial"/>
                <a:sym typeface="Arial"/>
              </a:rPr>
              <a:t> </a:t>
            </a:r>
            <a:r>
              <a:rPr sz="1555" b="1" dirty="0" err="1">
                <a:solidFill>
                  <a:srgbClr val="83B727"/>
                </a:solidFill>
                <a:ea typeface="Arial"/>
                <a:cs typeface="Arial"/>
                <a:sym typeface="Arial"/>
              </a:rPr>
              <a:t>Chilena</a:t>
            </a:r>
            <a:r>
              <a:rPr sz="1555" b="1" dirty="0">
                <a:solidFill>
                  <a:srgbClr val="83B727"/>
                </a:solidFill>
                <a:ea typeface="Arial"/>
                <a:cs typeface="Arial"/>
                <a:sym typeface="Arial"/>
              </a:rPr>
              <a:t> de </a:t>
            </a:r>
            <a:r>
              <a:rPr sz="1555" b="1" dirty="0" err="1">
                <a:solidFill>
                  <a:srgbClr val="83B727"/>
                </a:solidFill>
                <a:ea typeface="Arial"/>
                <a:cs typeface="Arial"/>
                <a:sym typeface="Arial"/>
              </a:rPr>
              <a:t>Seguridad</a:t>
            </a:r>
            <a:endParaRPr sz="1555" b="1" dirty="0">
              <a:solidFill>
                <a:srgbClr val="83B727"/>
              </a:solidFill>
              <a:ea typeface="Arial"/>
              <a:cs typeface="Arial"/>
              <a:sym typeface="Arial"/>
            </a:endParaRPr>
          </a:p>
        </p:txBody>
      </p:sp>
      <p:pic>
        <p:nvPicPr>
          <p:cNvPr id="13" name="Imagen 12">
            <a:extLst>
              <a:ext uri="{FF2B5EF4-FFF2-40B4-BE49-F238E27FC236}">
                <a16:creationId xmlns:a16="http://schemas.microsoft.com/office/drawing/2014/main" xmlns="" id="{E516A13A-EE62-714D-B8F2-66374C530E6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536437" y="593827"/>
            <a:ext cx="1058111" cy="1045048"/>
          </a:xfrm>
          <a:prstGeom prst="rect">
            <a:avLst/>
          </a:prstGeom>
        </p:spPr>
      </p:pic>
      <p:sp>
        <p:nvSpPr>
          <p:cNvPr id="16" name="Título 1">
            <a:extLst>
              <a:ext uri="{FF2B5EF4-FFF2-40B4-BE49-F238E27FC236}">
                <a16:creationId xmlns:a16="http://schemas.microsoft.com/office/drawing/2014/main" xmlns="" id="{D10FCCA8-322A-C443-B02C-264CC9F3E59B}"/>
              </a:ext>
            </a:extLst>
          </p:cNvPr>
          <p:cNvSpPr>
            <a:spLocks noGrp="1"/>
          </p:cNvSpPr>
          <p:nvPr>
            <p:ph type="title" hasCustomPrompt="1"/>
          </p:nvPr>
        </p:nvSpPr>
        <p:spPr>
          <a:xfrm>
            <a:off x="688481" y="932133"/>
            <a:ext cx="7864321" cy="1788206"/>
          </a:xfrm>
          <a:prstGeom prst="rect">
            <a:avLst/>
          </a:prstGeom>
        </p:spPr>
        <p:txBody>
          <a:bodyPr anchor="t"/>
          <a:lstStyle>
            <a:lvl1pPr algn="l">
              <a:lnSpc>
                <a:spcPts val="4213"/>
              </a:lnSpc>
              <a:defRPr sz="3938" b="1" baseline="0">
                <a:solidFill>
                  <a:schemeClr val="bg1"/>
                </a:solidFill>
                <a:highlight>
                  <a:srgbClr val="008000"/>
                </a:highlight>
                <a:latin typeface="Arial" panose="020B0604020202020204" pitchFamily="34" charset="0"/>
                <a:cs typeface="Arial" panose="020B0604020202020204" pitchFamily="34" charset="0"/>
              </a:defRPr>
            </a:lvl1pPr>
          </a:lstStyle>
          <a:p>
            <a:r>
              <a:rPr lang="es-ES" dirty="0"/>
              <a:t>Título presentación</a:t>
            </a:r>
            <a:br>
              <a:rPr lang="es-ES" dirty="0"/>
            </a:br>
            <a:r>
              <a:rPr lang="es-ES" dirty="0"/>
              <a:t>Máximo 3 líneas</a:t>
            </a:r>
            <a:br>
              <a:rPr lang="es-ES" dirty="0"/>
            </a:br>
            <a:r>
              <a:rPr lang="es-ES" dirty="0"/>
              <a:t>Arial Bold – 30 puntos</a:t>
            </a:r>
            <a:endParaRPr lang="es-CL" dirty="0"/>
          </a:p>
        </p:txBody>
      </p:sp>
      <p:sp>
        <p:nvSpPr>
          <p:cNvPr id="8" name="Marcador de texto 7">
            <a:extLst>
              <a:ext uri="{FF2B5EF4-FFF2-40B4-BE49-F238E27FC236}">
                <a16:creationId xmlns:a16="http://schemas.microsoft.com/office/drawing/2014/main" xmlns="" id="{E34CFCBD-6BB7-F648-9E9C-2744D15597B2}"/>
              </a:ext>
            </a:extLst>
          </p:cNvPr>
          <p:cNvSpPr>
            <a:spLocks noGrp="1"/>
          </p:cNvSpPr>
          <p:nvPr>
            <p:ph type="body" sz="quarter" idx="16" hasCustomPrompt="1"/>
          </p:nvPr>
        </p:nvSpPr>
        <p:spPr>
          <a:xfrm>
            <a:off x="14415849" y="8277971"/>
            <a:ext cx="1381613" cy="661979"/>
          </a:xfrm>
          <a:prstGeom prst="rect">
            <a:avLst/>
          </a:prstGeom>
        </p:spPr>
        <p:txBody>
          <a:bodyPr/>
          <a:lstStyle>
            <a:lvl1pPr marL="0" indent="0">
              <a:buNone/>
              <a:defRPr sz="1297"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Fecha</a:t>
            </a:r>
            <a:endParaRPr lang="es-CL" dirty="0"/>
          </a:p>
        </p:txBody>
      </p:sp>
    </p:spTree>
    <p:extLst>
      <p:ext uri="{BB962C8B-B14F-4D97-AF65-F5344CB8AC3E}">
        <p14:creationId xmlns:p14="http://schemas.microsoft.com/office/powerpoint/2010/main" val="1034901919"/>
      </p:ext>
    </p:extLst>
  </p:cSld>
  <p:clrMapOvr>
    <a:masterClrMapping/>
  </p:clrMapOvr>
  <p:extLst>
    <p:ext uri="{DCECCB84-F9BA-43D5-87BE-67443E8EF086}">
      <p15:sldGuideLst xmlns:p15="http://schemas.microsoft.com/office/powerpoint/2012/main">
        <p15:guide id="1" pos="6584">
          <p15:clr>
            <a:srgbClr val="FBAE40"/>
          </p15:clr>
        </p15:guide>
        <p15:guide id="2" pos="875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en blanco con log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3125"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xmlns="" id="{F0F13478-20D7-DB4D-8994-4442E9CD0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2" name="Marcador de número de diapositiva 1">
            <a:extLst>
              <a:ext uri="{FF2B5EF4-FFF2-40B4-BE49-F238E27FC236}">
                <a16:creationId xmlns:a16="http://schemas.microsoft.com/office/drawing/2014/main" xmlns="" id="{8EDD70E6-9719-384C-98E1-944F830A10CD}"/>
              </a:ext>
            </a:extLst>
          </p:cNvPr>
          <p:cNvSpPr>
            <a:spLocks noGrp="1"/>
          </p:cNvSpPr>
          <p:nvPr>
            <p:ph type="sldNum" sz="quarter" idx="1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2610335979"/>
      </p:ext>
    </p:extLst>
  </p:cSld>
  <p:clrMapOvr>
    <a:masterClrMapping/>
  </p:clrMapOvr>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175710" y="6300787"/>
            <a:ext cx="9721215" cy="743844"/>
          </a:xfrm>
        </p:spPr>
        <p:txBody>
          <a:bodyPr anchor="b"/>
          <a:lstStyle>
            <a:lvl1pPr algn="l">
              <a:defRPr sz="3200" b="1"/>
            </a:lvl1pPr>
          </a:lstStyle>
          <a:p>
            <a:r>
              <a:rPr lang="en-US"/>
              <a:t>Click to edit Master title style</a:t>
            </a:r>
            <a:endParaRPr lang="es-CL"/>
          </a:p>
        </p:txBody>
      </p:sp>
      <p:sp>
        <p:nvSpPr>
          <p:cNvPr id="3" name="Picture Placeholder 2"/>
          <p:cNvSpPr>
            <a:spLocks noGrp="1"/>
          </p:cNvSpPr>
          <p:nvPr>
            <p:ph type="pic" idx="1"/>
          </p:nvPr>
        </p:nvSpPr>
        <p:spPr>
          <a:xfrm>
            <a:off x="3175710" y="804267"/>
            <a:ext cx="9721215" cy="5400675"/>
          </a:xfrm>
        </p:spPr>
        <p:txBody>
          <a:bodyPr/>
          <a:lstStyle>
            <a:lvl1pPr marL="0" indent="0">
              <a:buNone/>
              <a:defRPr sz="5000"/>
            </a:lvl1pPr>
            <a:lvl2pPr marL="720090" indent="0">
              <a:buNone/>
              <a:defRPr sz="4400"/>
            </a:lvl2pPr>
            <a:lvl3pPr marL="1440180" indent="0">
              <a:buNone/>
              <a:defRPr sz="3800"/>
            </a:lvl3pPr>
            <a:lvl4pPr marL="2160270" indent="0">
              <a:buNone/>
              <a:defRPr sz="3200"/>
            </a:lvl4pPr>
            <a:lvl5pPr marL="2880360" indent="0">
              <a:buNone/>
              <a:defRPr sz="3200"/>
            </a:lvl5pPr>
            <a:lvl6pPr marL="3600450" indent="0">
              <a:buNone/>
              <a:defRPr sz="3200"/>
            </a:lvl6pPr>
            <a:lvl7pPr marL="4320540" indent="0">
              <a:buNone/>
              <a:defRPr sz="3200"/>
            </a:lvl7pPr>
            <a:lvl8pPr marL="5040630" indent="0">
              <a:buNone/>
              <a:defRPr sz="3200"/>
            </a:lvl8pPr>
            <a:lvl9pPr marL="5760720" indent="0">
              <a:buNone/>
              <a:defRPr sz="3200"/>
            </a:lvl9pPr>
          </a:lstStyle>
          <a:p>
            <a:endParaRPr lang="es-CL"/>
          </a:p>
        </p:txBody>
      </p:sp>
      <p:sp>
        <p:nvSpPr>
          <p:cNvPr id="4" name="Text Placeholder 3"/>
          <p:cNvSpPr>
            <a:spLocks noGrp="1"/>
          </p:cNvSpPr>
          <p:nvPr>
            <p:ph type="body" sz="half" idx="2"/>
          </p:nvPr>
        </p:nvSpPr>
        <p:spPr>
          <a:xfrm>
            <a:off x="3175710" y="7044631"/>
            <a:ext cx="9721215" cy="1056381"/>
          </a:xfrm>
        </p:spPr>
        <p:txBody>
          <a:bodyPr/>
          <a:lstStyle>
            <a:lvl1pPr marL="0" indent="0">
              <a:buNone/>
              <a:defRPr sz="2200"/>
            </a:lvl1pPr>
            <a:lvl2pPr marL="720090" indent="0">
              <a:buNone/>
              <a:defRPr sz="1900"/>
            </a:lvl2pPr>
            <a:lvl3pPr marL="1440180" indent="0">
              <a:buNone/>
              <a:defRPr sz="1600"/>
            </a:lvl3pPr>
            <a:lvl4pPr marL="2160270" indent="0">
              <a:buNone/>
              <a:defRPr sz="1400"/>
            </a:lvl4pPr>
            <a:lvl5pPr marL="2880360" indent="0">
              <a:buNone/>
              <a:defRPr sz="1400"/>
            </a:lvl5pPr>
            <a:lvl6pPr marL="3600450" indent="0">
              <a:buNone/>
              <a:defRPr sz="1400"/>
            </a:lvl6pPr>
            <a:lvl7pPr marL="4320540" indent="0">
              <a:buNone/>
              <a:defRPr sz="1400"/>
            </a:lvl7pPr>
            <a:lvl8pPr marL="5040630" indent="0">
              <a:buNone/>
              <a:defRPr sz="1400"/>
            </a:lvl8pPr>
            <a:lvl9pPr marL="5760720" indent="0">
              <a:buNone/>
              <a:defRPr sz="1400"/>
            </a:lvl9pPr>
          </a:lstStyle>
          <a:p>
            <a:pPr lvl="0"/>
            <a:r>
              <a:rPr lang="en-US"/>
              <a:t>Click to edit Master text styles</a:t>
            </a:r>
          </a:p>
        </p:txBody>
      </p:sp>
      <p:sp>
        <p:nvSpPr>
          <p:cNvPr id="5" name="Date Placeholder 4"/>
          <p:cNvSpPr>
            <a:spLocks noGrp="1"/>
          </p:cNvSpPr>
          <p:nvPr>
            <p:ph type="dt" sz="half" idx="10"/>
          </p:nvPr>
        </p:nvSpPr>
        <p:spPr/>
        <p:txBody>
          <a:bodyPr/>
          <a:lstStyle/>
          <a:p>
            <a:fld id="{BF1F7606-8703-4774-82E4-4A2AAF776758}" type="datetimeFigureOut">
              <a:rPr lang="es-CL" smtClean="0"/>
              <a:t>23-01-2025</a:t>
            </a:fld>
            <a:endParaRPr lang="es-CL"/>
          </a:p>
        </p:txBody>
      </p:sp>
      <p:sp>
        <p:nvSpPr>
          <p:cNvPr id="6" name="Footer Placeholder 5"/>
          <p:cNvSpPr>
            <a:spLocks noGrp="1"/>
          </p:cNvSpPr>
          <p:nvPr>
            <p:ph type="ftr" sz="quarter" idx="11"/>
          </p:nvPr>
        </p:nvSpPr>
        <p:spPr/>
        <p:txBody>
          <a:bodyPr/>
          <a:lstStyle/>
          <a:p>
            <a:endParaRPr lang="es-CL"/>
          </a:p>
        </p:txBody>
      </p:sp>
      <p:sp>
        <p:nvSpPr>
          <p:cNvPr id="7" name="Slide Number Placeholder 6"/>
          <p:cNvSpPr>
            <a:spLocks noGrp="1"/>
          </p:cNvSpPr>
          <p:nvPr>
            <p:ph type="sldNum" sz="quarter" idx="12"/>
          </p:nvPr>
        </p:nvSpPr>
        <p:spPr/>
        <p:txBody>
          <a:bodyPr/>
          <a:lstStyle/>
          <a:p>
            <a:fld id="{D1EAB5E8-47DE-45C7-8635-B8E0F633FCC5}" type="slidenum">
              <a:rPr lang="es-CL" smtClean="0"/>
              <a:t>‹Nº›</a:t>
            </a:fld>
            <a:endParaRPr lang="es-CL"/>
          </a:p>
        </p:txBody>
      </p:sp>
    </p:spTree>
    <p:extLst>
      <p:ext uri="{BB962C8B-B14F-4D97-AF65-F5344CB8AC3E}">
        <p14:creationId xmlns:p14="http://schemas.microsoft.com/office/powerpoint/2010/main" val="55949476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Objetivos 3 puntos">
    <p:bg>
      <p:bgPr>
        <a:solidFill>
          <a:srgbClr val="FFFFFF"/>
        </a:solidFill>
        <a:effectLst/>
      </p:bgPr>
    </p:bg>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xmlns="" id="{5A6D60D2-2296-5945-875B-EFE4B97EFFC5}"/>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4149"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10" name="Línea">
            <a:extLst>
              <a:ext uri="{FF2B5EF4-FFF2-40B4-BE49-F238E27FC236}">
                <a16:creationId xmlns:a16="http://schemas.microsoft.com/office/drawing/2014/main" xmlns="" id="{832578E3-BC08-FD4F-8D2A-99D9B2768843}"/>
              </a:ext>
            </a:extLst>
          </p:cNvPr>
          <p:cNvSpPr/>
          <p:nvPr/>
        </p:nvSpPr>
        <p:spPr>
          <a:xfrm flipH="1" flipV="1">
            <a:off x="6497690" y="2300979"/>
            <a:ext cx="13939" cy="6948002"/>
          </a:xfrm>
          <a:prstGeom prst="line">
            <a:avLst/>
          </a:prstGeom>
          <a:ln w="25400">
            <a:solidFill>
              <a:schemeClr val="tx1"/>
            </a:solidFill>
          </a:ln>
        </p:spPr>
        <p:txBody>
          <a:bodyPr lIns="29634" rIns="29634"/>
          <a:lstStyle/>
          <a:p>
            <a:pPr defTabSz="1579418">
              <a:defRPr>
                <a:latin typeface="Arial"/>
                <a:ea typeface="Arial"/>
                <a:cs typeface="Arial"/>
                <a:sym typeface="Arial"/>
              </a:defRPr>
            </a:pPr>
            <a:r>
              <a:rPr lang="es-ES" sz="1555" dirty="0">
                <a:solidFill>
                  <a:srgbClr val="0C662F"/>
                </a:solidFill>
                <a:ea typeface="Arial"/>
                <a:cs typeface="Arial"/>
                <a:sym typeface="Arial"/>
              </a:rPr>
              <a:t>z</a:t>
            </a:r>
            <a:endParaRPr sz="1555" dirty="0">
              <a:solidFill>
                <a:srgbClr val="0C662F"/>
              </a:solidFill>
              <a:ea typeface="Arial"/>
              <a:cs typeface="Arial"/>
              <a:sym typeface="Arial"/>
            </a:endParaRPr>
          </a:p>
        </p:txBody>
      </p:sp>
      <p:pic>
        <p:nvPicPr>
          <p:cNvPr id="3" name="Imagen 2">
            <a:extLst>
              <a:ext uri="{FF2B5EF4-FFF2-40B4-BE49-F238E27FC236}">
                <a16:creationId xmlns:a16="http://schemas.microsoft.com/office/drawing/2014/main" xmlns="" id="{F0F13478-20D7-DB4D-8994-4442E9CD0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2" name="Título 1">
            <a:extLst>
              <a:ext uri="{FF2B5EF4-FFF2-40B4-BE49-F238E27FC236}">
                <a16:creationId xmlns:a16="http://schemas.microsoft.com/office/drawing/2014/main" xmlns="" id="{480F94C3-E251-0A4D-B7E8-0D448B426FA2}"/>
              </a:ext>
            </a:extLst>
          </p:cNvPr>
          <p:cNvSpPr>
            <a:spLocks noGrp="1"/>
          </p:cNvSpPr>
          <p:nvPr>
            <p:ph type="title" hasCustomPrompt="1"/>
          </p:nvPr>
        </p:nvSpPr>
        <p:spPr>
          <a:xfrm>
            <a:off x="607480" y="602158"/>
            <a:ext cx="4689333" cy="945000"/>
          </a:xfrm>
          <a:prstGeom prst="rect">
            <a:avLst/>
          </a:prstGeom>
        </p:spPr>
        <p:txBody>
          <a:bodyPr/>
          <a:lstStyle>
            <a:lvl1pPr algn="l">
              <a:lnSpc>
                <a:spcPct val="90000"/>
              </a:lnSpc>
              <a:spcBef>
                <a:spcPts val="778"/>
              </a:spcBef>
              <a:spcAft>
                <a:spcPts val="778"/>
              </a:spcAft>
              <a:defRPr sz="3111" b="1">
                <a:solidFill>
                  <a:schemeClr val="tx1"/>
                </a:solidFill>
                <a:latin typeface="Arial" panose="020B0604020202020204" pitchFamily="34" charset="0"/>
                <a:cs typeface="Arial" panose="020B0604020202020204" pitchFamily="34" charset="0"/>
              </a:defRPr>
            </a:lvl1pPr>
          </a:lstStyle>
          <a:p>
            <a:r>
              <a:rPr lang="es-ES" dirty="0"/>
              <a:t>Título Arial</a:t>
            </a:r>
            <a:br>
              <a:rPr lang="es-ES" dirty="0"/>
            </a:br>
            <a:r>
              <a:rPr lang="es-ES" dirty="0"/>
              <a:t>Bold 24</a:t>
            </a:r>
            <a:endParaRPr lang="es-CL" dirty="0"/>
          </a:p>
        </p:txBody>
      </p:sp>
      <p:sp>
        <p:nvSpPr>
          <p:cNvPr id="4" name="Círculo">
            <a:extLst>
              <a:ext uri="{FF2B5EF4-FFF2-40B4-BE49-F238E27FC236}">
                <a16:creationId xmlns:a16="http://schemas.microsoft.com/office/drawing/2014/main" xmlns="" id="{BBD7799B-2501-484A-BE95-7AFA110DBA90}"/>
              </a:ext>
            </a:extLst>
          </p:cNvPr>
          <p:cNvSpPr/>
          <p:nvPr/>
        </p:nvSpPr>
        <p:spPr>
          <a:xfrm>
            <a:off x="6223436" y="2137769"/>
            <a:ext cx="547452" cy="540694"/>
          </a:xfrm>
          <a:prstGeom prst="ellipse">
            <a:avLst/>
          </a:prstGeom>
          <a:solidFill>
            <a:srgbClr val="FFFFFF"/>
          </a:solidFill>
          <a:ln w="25400">
            <a:solidFill>
              <a:schemeClr val="tx1"/>
            </a:solidFill>
            <a:miter lim="400000"/>
          </a:ln>
        </p:spPr>
        <p:txBody>
          <a:bodyPr lIns="32927" tIns="32927" rIns="32927" bIns="32927" anchor="ctr"/>
          <a:lstStyle/>
          <a:p>
            <a:pPr algn="ctr" defTabSz="535047">
              <a:defRPr sz="3200" b="1">
                <a:solidFill>
                  <a:srgbClr val="FFFFFF"/>
                </a:solidFill>
                <a:latin typeface="Arial"/>
                <a:ea typeface="Arial"/>
                <a:cs typeface="Arial"/>
                <a:sym typeface="Arial"/>
              </a:defRPr>
            </a:pPr>
            <a:endParaRPr sz="2074" b="1">
              <a:solidFill>
                <a:srgbClr val="0C662F"/>
              </a:solidFill>
              <a:ea typeface="Arial"/>
              <a:cs typeface="Arial"/>
              <a:sym typeface="Arial"/>
            </a:endParaRPr>
          </a:p>
        </p:txBody>
      </p:sp>
      <p:sp>
        <p:nvSpPr>
          <p:cNvPr id="5" name="1">
            <a:extLst>
              <a:ext uri="{FF2B5EF4-FFF2-40B4-BE49-F238E27FC236}">
                <a16:creationId xmlns:a16="http://schemas.microsoft.com/office/drawing/2014/main" xmlns="" id="{71FA3B16-AB97-0F4C-939B-3F0F7FD107FC}"/>
              </a:ext>
            </a:extLst>
          </p:cNvPr>
          <p:cNvSpPr txBox="1"/>
          <p:nvPr/>
        </p:nvSpPr>
        <p:spPr>
          <a:xfrm>
            <a:off x="6332772" y="2205946"/>
            <a:ext cx="341761" cy="465389"/>
          </a:xfrm>
          <a:prstGeom prst="rect">
            <a:avLst/>
          </a:prstGeom>
          <a:ln w="12700">
            <a:miter lim="400000"/>
          </a:ln>
          <a:extLst>
            <a:ext uri="{C572A759-6A51-4108-AA02-DFA0A04FC94B}">
              <ma14:wrappingTextBoxFlag xmlns:ma14="http://schemas.microsoft.com/office/mac/drawingml/2011/main" xmlns="" val="1"/>
            </a:ext>
          </a:extLst>
        </p:spPr>
        <p:txBody>
          <a:bodyPr lIns="32927" tIns="32927" rIns="32927" bIns="32927" anchor="ctr">
            <a:spAutoFit/>
          </a:bodyPr>
          <a:lstStyle>
            <a:lvl1pPr algn="ctr" defTabSz="1828800">
              <a:spcBef>
                <a:spcPts val="0"/>
              </a:spcBef>
              <a:defRPr sz="4000">
                <a:solidFill>
                  <a:srgbClr val="34773C"/>
                </a:solidFill>
                <a:latin typeface="Arial"/>
                <a:ea typeface="Arial"/>
                <a:cs typeface="Arial"/>
                <a:sym typeface="Arial"/>
              </a:defRPr>
            </a:lvl1pPr>
          </a:lstStyle>
          <a:p>
            <a:r>
              <a:rPr sz="2592" dirty="0">
                <a:solidFill>
                  <a:srgbClr val="0C662F"/>
                </a:solidFill>
              </a:rPr>
              <a:t>1</a:t>
            </a:r>
          </a:p>
        </p:txBody>
      </p:sp>
      <p:sp>
        <p:nvSpPr>
          <p:cNvPr id="6" name="Círculo">
            <a:extLst>
              <a:ext uri="{FF2B5EF4-FFF2-40B4-BE49-F238E27FC236}">
                <a16:creationId xmlns:a16="http://schemas.microsoft.com/office/drawing/2014/main" xmlns="" id="{940EDA27-F965-8A45-B802-8C71FC5E065A}"/>
              </a:ext>
            </a:extLst>
          </p:cNvPr>
          <p:cNvSpPr/>
          <p:nvPr/>
        </p:nvSpPr>
        <p:spPr>
          <a:xfrm>
            <a:off x="6223436" y="5098849"/>
            <a:ext cx="547452" cy="540694"/>
          </a:xfrm>
          <a:prstGeom prst="ellipse">
            <a:avLst/>
          </a:prstGeom>
          <a:solidFill>
            <a:srgbClr val="FFFFFF"/>
          </a:solidFill>
          <a:ln w="25400">
            <a:solidFill>
              <a:schemeClr val="tx1"/>
            </a:solidFill>
            <a:miter lim="400000"/>
          </a:ln>
        </p:spPr>
        <p:txBody>
          <a:bodyPr lIns="32927" tIns="32927" rIns="32927" bIns="32927" anchor="ctr"/>
          <a:lstStyle/>
          <a:p>
            <a:pPr algn="ctr" defTabSz="535047">
              <a:defRPr sz="3200" b="1">
                <a:solidFill>
                  <a:srgbClr val="FFFFFF"/>
                </a:solidFill>
                <a:latin typeface="Arial"/>
                <a:ea typeface="Arial"/>
                <a:cs typeface="Arial"/>
                <a:sym typeface="Arial"/>
              </a:defRPr>
            </a:pPr>
            <a:endParaRPr sz="2074" b="1">
              <a:solidFill>
                <a:srgbClr val="0C662F"/>
              </a:solidFill>
              <a:ea typeface="Arial"/>
              <a:cs typeface="Arial"/>
              <a:sym typeface="Arial"/>
            </a:endParaRPr>
          </a:p>
        </p:txBody>
      </p:sp>
      <p:sp>
        <p:nvSpPr>
          <p:cNvPr id="7" name="2">
            <a:extLst>
              <a:ext uri="{FF2B5EF4-FFF2-40B4-BE49-F238E27FC236}">
                <a16:creationId xmlns:a16="http://schemas.microsoft.com/office/drawing/2014/main" xmlns="" id="{2FB37367-B189-B244-9457-9FDFCDEC7CA5}"/>
              </a:ext>
            </a:extLst>
          </p:cNvPr>
          <p:cNvSpPr txBox="1"/>
          <p:nvPr/>
        </p:nvSpPr>
        <p:spPr>
          <a:xfrm>
            <a:off x="6380339" y="5166346"/>
            <a:ext cx="341761" cy="465389"/>
          </a:xfrm>
          <a:prstGeom prst="rect">
            <a:avLst/>
          </a:prstGeom>
          <a:ln w="12700">
            <a:miter lim="400000"/>
          </a:ln>
          <a:extLst>
            <a:ext uri="{C572A759-6A51-4108-AA02-DFA0A04FC94B}">
              <ma14:wrappingTextBoxFlag xmlns:ma14="http://schemas.microsoft.com/office/mac/drawingml/2011/main" xmlns="" val="1"/>
            </a:ext>
          </a:extLst>
        </p:spPr>
        <p:txBody>
          <a:bodyPr lIns="32927" tIns="32927" rIns="32927" bIns="32927" anchor="ctr">
            <a:spAutoFit/>
          </a:bodyPr>
          <a:lstStyle>
            <a:lvl1pPr algn="ctr" defTabSz="1828800">
              <a:spcBef>
                <a:spcPts val="0"/>
              </a:spcBef>
              <a:defRPr sz="4000">
                <a:solidFill>
                  <a:srgbClr val="34773C"/>
                </a:solidFill>
                <a:latin typeface="Arial"/>
                <a:ea typeface="Arial"/>
                <a:cs typeface="Arial"/>
                <a:sym typeface="Arial"/>
              </a:defRPr>
            </a:lvl1pPr>
          </a:lstStyle>
          <a:p>
            <a:pPr algn="l"/>
            <a:r>
              <a:rPr sz="2592" dirty="0">
                <a:solidFill>
                  <a:srgbClr val="0C662F"/>
                </a:solidFill>
              </a:rPr>
              <a:t>2</a:t>
            </a:r>
          </a:p>
        </p:txBody>
      </p:sp>
      <p:sp>
        <p:nvSpPr>
          <p:cNvPr id="13" name="Marcador de texto 7">
            <a:extLst>
              <a:ext uri="{FF2B5EF4-FFF2-40B4-BE49-F238E27FC236}">
                <a16:creationId xmlns:a16="http://schemas.microsoft.com/office/drawing/2014/main" xmlns="" id="{E2B3526A-E352-6B42-9A86-8AA9AFCEC941}"/>
              </a:ext>
            </a:extLst>
          </p:cNvPr>
          <p:cNvSpPr>
            <a:spLocks noGrp="1"/>
          </p:cNvSpPr>
          <p:nvPr>
            <p:ph type="body" sz="quarter" idx="16" hasCustomPrompt="1"/>
          </p:nvPr>
        </p:nvSpPr>
        <p:spPr>
          <a:xfrm>
            <a:off x="7055835" y="2300981"/>
            <a:ext cx="7125538" cy="2199581"/>
          </a:xfrm>
          <a:prstGeom prst="rect">
            <a:avLst/>
          </a:prstGeom>
        </p:spPr>
        <p:txBody>
          <a:bodyPr>
            <a:normAutofit/>
          </a:bodyPr>
          <a:lstStyle>
            <a:lvl1pPr marL="0" indent="0">
              <a:buNone/>
              <a:defRPr sz="1432"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4,5</a:t>
            </a:r>
            <a:endParaRPr lang="es-CL" dirty="0"/>
          </a:p>
        </p:txBody>
      </p:sp>
      <p:sp>
        <p:nvSpPr>
          <p:cNvPr id="14" name="Marcador de texto 7">
            <a:extLst>
              <a:ext uri="{FF2B5EF4-FFF2-40B4-BE49-F238E27FC236}">
                <a16:creationId xmlns:a16="http://schemas.microsoft.com/office/drawing/2014/main" xmlns="" id="{1B703A3D-4A7A-A34D-8B38-7D59E6C8C689}"/>
              </a:ext>
            </a:extLst>
          </p:cNvPr>
          <p:cNvSpPr>
            <a:spLocks noGrp="1"/>
          </p:cNvSpPr>
          <p:nvPr>
            <p:ph type="body" sz="quarter" idx="17" hasCustomPrompt="1"/>
          </p:nvPr>
        </p:nvSpPr>
        <p:spPr>
          <a:xfrm>
            <a:off x="7055835" y="5098849"/>
            <a:ext cx="7125538" cy="2426050"/>
          </a:xfrm>
          <a:prstGeom prst="rect">
            <a:avLst/>
          </a:prstGeom>
        </p:spPr>
        <p:txBody>
          <a:bodyPr>
            <a:normAutofit/>
          </a:bodyPr>
          <a:lstStyle>
            <a:lvl1pPr marL="0" indent="0">
              <a:buNone/>
              <a:defRPr sz="1432"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17" name="Marcador de número de diapositiva 16">
            <a:extLst>
              <a:ext uri="{FF2B5EF4-FFF2-40B4-BE49-F238E27FC236}">
                <a16:creationId xmlns:a16="http://schemas.microsoft.com/office/drawing/2014/main" xmlns="" id="{5CCDAD89-9825-BA44-ADFA-23F68B55EDD2}"/>
              </a:ext>
            </a:extLst>
          </p:cNvPr>
          <p:cNvSpPr>
            <a:spLocks noGrp="1"/>
          </p:cNvSpPr>
          <p:nvPr>
            <p:ph type="sldNum" sz="quarter" idx="19"/>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cxnSp>
        <p:nvCxnSpPr>
          <p:cNvPr id="18" name="Conector recto 17">
            <a:extLst>
              <a:ext uri="{FF2B5EF4-FFF2-40B4-BE49-F238E27FC236}">
                <a16:creationId xmlns:a16="http://schemas.microsoft.com/office/drawing/2014/main" xmlns="" id="{5D8EA583-926E-F64A-B00A-ACFB5CA6DE2B}"/>
              </a:ext>
            </a:extLst>
          </p:cNvPr>
          <p:cNvCxnSpPr>
            <a:cxnSpLocks/>
          </p:cNvCxnSpPr>
          <p:nvPr/>
        </p:nvCxnSpPr>
        <p:spPr>
          <a:xfrm>
            <a:off x="739560" y="1564693"/>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97250920"/>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Objetivos 4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xmlns="" id="{8C5653FB-0B55-DF49-89A0-7BB644B8BB00}"/>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5173"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10" name="Línea">
            <a:extLst>
              <a:ext uri="{FF2B5EF4-FFF2-40B4-BE49-F238E27FC236}">
                <a16:creationId xmlns:a16="http://schemas.microsoft.com/office/drawing/2014/main" xmlns="" id="{832578E3-BC08-FD4F-8D2A-99D9B2768843}"/>
              </a:ext>
            </a:extLst>
          </p:cNvPr>
          <p:cNvSpPr/>
          <p:nvPr/>
        </p:nvSpPr>
        <p:spPr>
          <a:xfrm flipV="1">
            <a:off x="6497690" y="2611389"/>
            <a:ext cx="0" cy="6389737"/>
          </a:xfrm>
          <a:prstGeom prst="line">
            <a:avLst/>
          </a:prstGeom>
          <a:ln w="25400">
            <a:solidFill>
              <a:schemeClr val="tx1"/>
            </a:solidFill>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pic>
        <p:nvPicPr>
          <p:cNvPr id="3" name="Imagen 2">
            <a:extLst>
              <a:ext uri="{FF2B5EF4-FFF2-40B4-BE49-F238E27FC236}">
                <a16:creationId xmlns:a16="http://schemas.microsoft.com/office/drawing/2014/main" xmlns="" id="{F0F13478-20D7-DB4D-8994-4442E9CD0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grpSp>
        <p:nvGrpSpPr>
          <p:cNvPr id="14" name="Grupo 13">
            <a:extLst>
              <a:ext uri="{FF2B5EF4-FFF2-40B4-BE49-F238E27FC236}">
                <a16:creationId xmlns:a16="http://schemas.microsoft.com/office/drawing/2014/main" xmlns="" id="{C592BB51-2F5B-334B-BBF2-932383E7DC3A}"/>
              </a:ext>
            </a:extLst>
          </p:cNvPr>
          <p:cNvGrpSpPr/>
          <p:nvPr/>
        </p:nvGrpSpPr>
        <p:grpSpPr>
          <a:xfrm>
            <a:off x="6223436" y="2543632"/>
            <a:ext cx="547452" cy="540693"/>
            <a:chOff x="4683126" y="1171576"/>
            <a:chExt cx="411957" cy="411957"/>
          </a:xfrm>
        </p:grpSpPr>
        <p:sp>
          <p:nvSpPr>
            <p:cNvPr id="4" name="Círculo">
              <a:extLst>
                <a:ext uri="{FF2B5EF4-FFF2-40B4-BE49-F238E27FC236}">
                  <a16:creationId xmlns:a16="http://schemas.microsoft.com/office/drawing/2014/main" xmlns="" id="{BBD7799B-2501-484A-BE95-7AFA110DBA90}"/>
                </a:ext>
              </a:extLst>
            </p:cNvPr>
            <p:cNvSpPr/>
            <p:nvPr/>
          </p:nvSpPr>
          <p:spPr>
            <a:xfrm>
              <a:off x="4683126" y="1171576"/>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5" name="1">
              <a:extLst>
                <a:ext uri="{FF2B5EF4-FFF2-40B4-BE49-F238E27FC236}">
                  <a16:creationId xmlns:a16="http://schemas.microsoft.com/office/drawing/2014/main" xmlns="" id="{71FA3B16-AB97-0F4C-939B-3F0F7FD107FC}"/>
                </a:ext>
              </a:extLst>
            </p:cNvPr>
            <p:cNvSpPr txBox="1"/>
            <p:nvPr/>
          </p:nvSpPr>
          <p:spPr>
            <a:xfrm>
              <a:off x="4765400" y="1229312"/>
              <a:ext cx="257175" cy="343001"/>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sz="2592" dirty="0">
                  <a:solidFill>
                    <a:srgbClr val="0C662F"/>
                  </a:solidFill>
                </a:rPr>
                <a:t>1</a:t>
              </a:r>
            </a:p>
          </p:txBody>
        </p:sp>
      </p:grpSp>
      <p:grpSp>
        <p:nvGrpSpPr>
          <p:cNvPr id="16" name="Grupo 15">
            <a:extLst>
              <a:ext uri="{FF2B5EF4-FFF2-40B4-BE49-F238E27FC236}">
                <a16:creationId xmlns:a16="http://schemas.microsoft.com/office/drawing/2014/main" xmlns="" id="{FAB304E8-1144-CE48-B0B0-2E7C02F312F2}"/>
              </a:ext>
            </a:extLst>
          </p:cNvPr>
          <p:cNvGrpSpPr/>
          <p:nvPr/>
        </p:nvGrpSpPr>
        <p:grpSpPr>
          <a:xfrm>
            <a:off x="6223436" y="4460788"/>
            <a:ext cx="547452" cy="540693"/>
            <a:chOff x="4683126" y="2517775"/>
            <a:chExt cx="411957" cy="411957"/>
          </a:xfrm>
        </p:grpSpPr>
        <p:sp>
          <p:nvSpPr>
            <p:cNvPr id="6" name="Círculo">
              <a:extLst>
                <a:ext uri="{FF2B5EF4-FFF2-40B4-BE49-F238E27FC236}">
                  <a16:creationId xmlns:a16="http://schemas.microsoft.com/office/drawing/2014/main" xmlns="" id="{940EDA27-F965-8A45-B802-8C71FC5E065A}"/>
                </a:ext>
              </a:extLst>
            </p:cNvPr>
            <p:cNvSpPr/>
            <p:nvPr/>
          </p:nvSpPr>
          <p:spPr>
            <a:xfrm>
              <a:off x="4683126" y="2517775"/>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7" name="2">
              <a:extLst>
                <a:ext uri="{FF2B5EF4-FFF2-40B4-BE49-F238E27FC236}">
                  <a16:creationId xmlns:a16="http://schemas.microsoft.com/office/drawing/2014/main" xmlns="" id="{2FB37367-B189-B244-9457-9FDFCDEC7CA5}"/>
                </a:ext>
              </a:extLst>
            </p:cNvPr>
            <p:cNvSpPr txBox="1"/>
            <p:nvPr/>
          </p:nvSpPr>
          <p:spPr>
            <a:xfrm>
              <a:off x="4801194" y="2574993"/>
              <a:ext cx="257175" cy="343001"/>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pPr algn="l"/>
              <a:r>
                <a:rPr sz="2592" dirty="0">
                  <a:solidFill>
                    <a:srgbClr val="0C662F"/>
                  </a:solidFill>
                </a:rPr>
                <a:t>2</a:t>
              </a:r>
            </a:p>
          </p:txBody>
        </p:sp>
      </p:grpSp>
      <p:grpSp>
        <p:nvGrpSpPr>
          <p:cNvPr id="18" name="Grupo 17">
            <a:extLst>
              <a:ext uri="{FF2B5EF4-FFF2-40B4-BE49-F238E27FC236}">
                <a16:creationId xmlns:a16="http://schemas.microsoft.com/office/drawing/2014/main" xmlns="" id="{D5CFF926-8B63-D34A-8E42-1AFC9B870E90}"/>
              </a:ext>
            </a:extLst>
          </p:cNvPr>
          <p:cNvGrpSpPr/>
          <p:nvPr/>
        </p:nvGrpSpPr>
        <p:grpSpPr>
          <a:xfrm>
            <a:off x="6223436" y="6377944"/>
            <a:ext cx="547452" cy="540693"/>
            <a:chOff x="4683126" y="3863974"/>
            <a:chExt cx="411957" cy="411957"/>
          </a:xfrm>
        </p:grpSpPr>
        <p:sp>
          <p:nvSpPr>
            <p:cNvPr id="11" name="Círculo">
              <a:extLst>
                <a:ext uri="{FF2B5EF4-FFF2-40B4-BE49-F238E27FC236}">
                  <a16:creationId xmlns:a16="http://schemas.microsoft.com/office/drawing/2014/main" xmlns="" id="{7C3D1EB8-A4AC-F046-91CA-6E661DAD119E}"/>
                </a:ext>
              </a:extLst>
            </p:cNvPr>
            <p:cNvSpPr/>
            <p:nvPr/>
          </p:nvSpPr>
          <p:spPr>
            <a:xfrm>
              <a:off x="4683126" y="3863974"/>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12" name="2">
              <a:extLst>
                <a:ext uri="{FF2B5EF4-FFF2-40B4-BE49-F238E27FC236}">
                  <a16:creationId xmlns:a16="http://schemas.microsoft.com/office/drawing/2014/main" xmlns="" id="{91E08B42-FE59-684C-87D9-D879B4CD58BE}"/>
                </a:ext>
              </a:extLst>
            </p:cNvPr>
            <p:cNvSpPr txBox="1"/>
            <p:nvPr/>
          </p:nvSpPr>
          <p:spPr>
            <a:xfrm>
              <a:off x="4766025" y="3921192"/>
              <a:ext cx="257175" cy="343001"/>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lang="es-ES" sz="2592" dirty="0">
                  <a:solidFill>
                    <a:srgbClr val="0C662F"/>
                  </a:solidFill>
                </a:rPr>
                <a:t>3</a:t>
              </a:r>
              <a:endParaRPr sz="2592" dirty="0">
                <a:solidFill>
                  <a:srgbClr val="0C662F"/>
                </a:solidFill>
              </a:endParaRPr>
            </a:p>
          </p:txBody>
        </p:sp>
      </p:grpSp>
      <p:sp>
        <p:nvSpPr>
          <p:cNvPr id="17" name="Título 1">
            <a:extLst>
              <a:ext uri="{FF2B5EF4-FFF2-40B4-BE49-F238E27FC236}">
                <a16:creationId xmlns:a16="http://schemas.microsoft.com/office/drawing/2014/main" xmlns="" id="{0EF5773A-AA43-4E44-9525-56A7A041C790}"/>
              </a:ext>
            </a:extLst>
          </p:cNvPr>
          <p:cNvSpPr>
            <a:spLocks noGrp="1"/>
          </p:cNvSpPr>
          <p:nvPr>
            <p:ph type="title" hasCustomPrompt="1"/>
          </p:nvPr>
        </p:nvSpPr>
        <p:spPr>
          <a:xfrm>
            <a:off x="607480" y="593825"/>
            <a:ext cx="4689333" cy="945000"/>
          </a:xfrm>
          <a:prstGeom prst="rect">
            <a:avLst/>
          </a:prstGeom>
        </p:spPr>
        <p:txBody>
          <a:bodyPr anchor="t"/>
          <a:lstStyle>
            <a:lvl1pPr algn="l">
              <a:lnSpc>
                <a:spcPct val="90000"/>
              </a:lnSpc>
              <a:spcBef>
                <a:spcPts val="0"/>
              </a:spcBef>
              <a:spcAft>
                <a:spcPts val="0"/>
              </a:spcAft>
              <a:defRPr sz="3111" b="1">
                <a:solidFill>
                  <a:schemeClr val="tx1"/>
                </a:solidFill>
              </a:defRPr>
            </a:lvl1pPr>
          </a:lstStyle>
          <a:p>
            <a:r>
              <a:rPr lang="es-ES" dirty="0"/>
              <a:t>Título Arial</a:t>
            </a:r>
            <a:br>
              <a:rPr lang="es-ES" dirty="0"/>
            </a:br>
            <a:r>
              <a:rPr lang="es-ES" dirty="0"/>
              <a:t>Bold 24</a:t>
            </a:r>
            <a:endParaRPr lang="es-CL" dirty="0"/>
          </a:p>
        </p:txBody>
      </p:sp>
      <p:sp>
        <p:nvSpPr>
          <p:cNvPr id="19" name="Marcador de texto 7">
            <a:extLst>
              <a:ext uri="{FF2B5EF4-FFF2-40B4-BE49-F238E27FC236}">
                <a16:creationId xmlns:a16="http://schemas.microsoft.com/office/drawing/2014/main" xmlns="" id="{3D05D424-30B2-7E47-9AB6-C83E1B90EA12}"/>
              </a:ext>
            </a:extLst>
          </p:cNvPr>
          <p:cNvSpPr>
            <a:spLocks noGrp="1"/>
          </p:cNvSpPr>
          <p:nvPr>
            <p:ph type="body" sz="quarter" idx="16" hasCustomPrompt="1"/>
          </p:nvPr>
        </p:nvSpPr>
        <p:spPr>
          <a:xfrm>
            <a:off x="7055835" y="2543632"/>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0" name="Marcador de texto 7">
            <a:extLst>
              <a:ext uri="{FF2B5EF4-FFF2-40B4-BE49-F238E27FC236}">
                <a16:creationId xmlns:a16="http://schemas.microsoft.com/office/drawing/2014/main" xmlns="" id="{8893FAC1-DC9D-9440-985E-77B4520EBDFC}"/>
              </a:ext>
            </a:extLst>
          </p:cNvPr>
          <p:cNvSpPr>
            <a:spLocks noGrp="1"/>
          </p:cNvSpPr>
          <p:nvPr>
            <p:ph type="body" sz="quarter" idx="17" hasCustomPrompt="1"/>
          </p:nvPr>
        </p:nvSpPr>
        <p:spPr>
          <a:xfrm>
            <a:off x="7055835" y="4472215"/>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1" name="Marcador de texto 7">
            <a:extLst>
              <a:ext uri="{FF2B5EF4-FFF2-40B4-BE49-F238E27FC236}">
                <a16:creationId xmlns:a16="http://schemas.microsoft.com/office/drawing/2014/main" xmlns="" id="{1CDC6F2A-CD43-DC44-B35F-7AD48BD85D36}"/>
              </a:ext>
            </a:extLst>
          </p:cNvPr>
          <p:cNvSpPr>
            <a:spLocks noGrp="1"/>
          </p:cNvSpPr>
          <p:nvPr>
            <p:ph type="body" sz="quarter" idx="18" hasCustomPrompt="1"/>
          </p:nvPr>
        </p:nvSpPr>
        <p:spPr>
          <a:xfrm>
            <a:off x="7055835" y="6367820"/>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 name="Marcador de número de diapositiva 1">
            <a:extLst>
              <a:ext uri="{FF2B5EF4-FFF2-40B4-BE49-F238E27FC236}">
                <a16:creationId xmlns:a16="http://schemas.microsoft.com/office/drawing/2014/main" xmlns="" id="{D89F4531-1800-9F4D-BB0B-4B3D73DFDA69}"/>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cxnSp>
        <p:nvCxnSpPr>
          <p:cNvPr id="23" name="Conector recto 22">
            <a:extLst>
              <a:ext uri="{FF2B5EF4-FFF2-40B4-BE49-F238E27FC236}">
                <a16:creationId xmlns:a16="http://schemas.microsoft.com/office/drawing/2014/main" xmlns="" id="{6C20F5E0-07F5-D544-AC03-AEC944D09569}"/>
              </a:ext>
            </a:extLst>
          </p:cNvPr>
          <p:cNvCxnSpPr>
            <a:cxnSpLocks/>
          </p:cNvCxnSpPr>
          <p:nvPr/>
        </p:nvCxnSpPr>
        <p:spPr>
          <a:xfrm>
            <a:off x="739560" y="1564693"/>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603338219"/>
      </p:ext>
    </p:extLst>
  </p:cSld>
  <p:clrMapOvr>
    <a:masterClrMapping/>
  </p:clrMapOvr>
  <p:extLst>
    <p:ext uri="{DCECCB84-F9BA-43D5-87BE-67443E8EF086}">
      <p15:sldGuideLst xmlns:p15="http://schemas.microsoft.com/office/powerpoint/2012/main">
        <p15:guide id="1" orient="horz" pos="2774">
          <p15:clr>
            <a:srgbClr val="FBAE40"/>
          </p15:clr>
        </p15:guide>
        <p15:guide id="2" pos="3840">
          <p15:clr>
            <a:srgbClr val="FBAE40"/>
          </p15:clr>
        </p15:guide>
        <p15:guide id="3" orient="horz" pos="1997">
          <p15:clr>
            <a:srgbClr val="FBAE40"/>
          </p15:clr>
        </p15:guide>
        <p15:guide id="4" orient="horz" pos="3550">
          <p15:clr>
            <a:srgbClr val="FBAE40"/>
          </p15:clr>
        </p15:guide>
        <p15:guide id="5" orient="horz" pos="1215">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Objetivos 4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xmlns="" id="{8C5653FB-0B55-DF49-89A0-7BB644B8BB00}"/>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6197"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10" name="Línea">
            <a:extLst>
              <a:ext uri="{FF2B5EF4-FFF2-40B4-BE49-F238E27FC236}">
                <a16:creationId xmlns:a16="http://schemas.microsoft.com/office/drawing/2014/main" xmlns="" id="{832578E3-BC08-FD4F-8D2A-99D9B2768843}"/>
              </a:ext>
            </a:extLst>
          </p:cNvPr>
          <p:cNvSpPr/>
          <p:nvPr/>
        </p:nvSpPr>
        <p:spPr>
          <a:xfrm flipV="1">
            <a:off x="6497690" y="2306198"/>
            <a:ext cx="0" cy="6825378"/>
          </a:xfrm>
          <a:prstGeom prst="line">
            <a:avLst/>
          </a:prstGeom>
          <a:ln w="25400">
            <a:solidFill>
              <a:schemeClr val="tx1"/>
            </a:solidFill>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pic>
        <p:nvPicPr>
          <p:cNvPr id="3" name="Imagen 2">
            <a:extLst>
              <a:ext uri="{FF2B5EF4-FFF2-40B4-BE49-F238E27FC236}">
                <a16:creationId xmlns:a16="http://schemas.microsoft.com/office/drawing/2014/main" xmlns="" id="{F0F13478-20D7-DB4D-8994-4442E9CD0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grpSp>
        <p:nvGrpSpPr>
          <p:cNvPr id="14" name="Grupo 13">
            <a:extLst>
              <a:ext uri="{FF2B5EF4-FFF2-40B4-BE49-F238E27FC236}">
                <a16:creationId xmlns:a16="http://schemas.microsoft.com/office/drawing/2014/main" xmlns="" id="{C592BB51-2F5B-334B-BBF2-932383E7DC3A}"/>
              </a:ext>
            </a:extLst>
          </p:cNvPr>
          <p:cNvGrpSpPr/>
          <p:nvPr/>
        </p:nvGrpSpPr>
        <p:grpSpPr>
          <a:xfrm>
            <a:off x="6223436" y="2136326"/>
            <a:ext cx="547452" cy="540693"/>
            <a:chOff x="4683126" y="1171576"/>
            <a:chExt cx="411957" cy="411957"/>
          </a:xfrm>
        </p:grpSpPr>
        <p:sp>
          <p:nvSpPr>
            <p:cNvPr id="4" name="Círculo">
              <a:extLst>
                <a:ext uri="{FF2B5EF4-FFF2-40B4-BE49-F238E27FC236}">
                  <a16:creationId xmlns:a16="http://schemas.microsoft.com/office/drawing/2014/main" xmlns="" id="{BBD7799B-2501-484A-BE95-7AFA110DBA90}"/>
                </a:ext>
              </a:extLst>
            </p:cNvPr>
            <p:cNvSpPr/>
            <p:nvPr/>
          </p:nvSpPr>
          <p:spPr>
            <a:xfrm>
              <a:off x="4683126" y="1171576"/>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5" name="1">
              <a:extLst>
                <a:ext uri="{FF2B5EF4-FFF2-40B4-BE49-F238E27FC236}">
                  <a16:creationId xmlns:a16="http://schemas.microsoft.com/office/drawing/2014/main" xmlns="" id="{71FA3B16-AB97-0F4C-939B-3F0F7FD107FC}"/>
                </a:ext>
              </a:extLst>
            </p:cNvPr>
            <p:cNvSpPr txBox="1"/>
            <p:nvPr/>
          </p:nvSpPr>
          <p:spPr>
            <a:xfrm>
              <a:off x="4765400" y="1229312"/>
              <a:ext cx="257175" cy="343001"/>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sz="2592" dirty="0">
                  <a:solidFill>
                    <a:srgbClr val="0C662F"/>
                  </a:solidFill>
                </a:rPr>
                <a:t>1</a:t>
              </a:r>
            </a:p>
          </p:txBody>
        </p:sp>
      </p:grpSp>
      <p:grpSp>
        <p:nvGrpSpPr>
          <p:cNvPr id="16" name="Grupo 15">
            <a:extLst>
              <a:ext uri="{FF2B5EF4-FFF2-40B4-BE49-F238E27FC236}">
                <a16:creationId xmlns:a16="http://schemas.microsoft.com/office/drawing/2014/main" xmlns="" id="{FAB304E8-1144-CE48-B0B0-2E7C02F312F2}"/>
              </a:ext>
            </a:extLst>
          </p:cNvPr>
          <p:cNvGrpSpPr/>
          <p:nvPr/>
        </p:nvGrpSpPr>
        <p:grpSpPr>
          <a:xfrm>
            <a:off x="6223436" y="3756626"/>
            <a:ext cx="547452" cy="540693"/>
            <a:chOff x="4683126" y="2517775"/>
            <a:chExt cx="411957" cy="411957"/>
          </a:xfrm>
        </p:grpSpPr>
        <p:sp>
          <p:nvSpPr>
            <p:cNvPr id="6" name="Círculo">
              <a:extLst>
                <a:ext uri="{FF2B5EF4-FFF2-40B4-BE49-F238E27FC236}">
                  <a16:creationId xmlns:a16="http://schemas.microsoft.com/office/drawing/2014/main" xmlns="" id="{940EDA27-F965-8A45-B802-8C71FC5E065A}"/>
                </a:ext>
              </a:extLst>
            </p:cNvPr>
            <p:cNvSpPr/>
            <p:nvPr/>
          </p:nvSpPr>
          <p:spPr>
            <a:xfrm>
              <a:off x="4683126" y="2517775"/>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7" name="2">
              <a:extLst>
                <a:ext uri="{FF2B5EF4-FFF2-40B4-BE49-F238E27FC236}">
                  <a16:creationId xmlns:a16="http://schemas.microsoft.com/office/drawing/2014/main" xmlns="" id="{2FB37367-B189-B244-9457-9FDFCDEC7CA5}"/>
                </a:ext>
              </a:extLst>
            </p:cNvPr>
            <p:cNvSpPr txBox="1"/>
            <p:nvPr/>
          </p:nvSpPr>
          <p:spPr>
            <a:xfrm>
              <a:off x="4801194" y="2574993"/>
              <a:ext cx="257175" cy="343001"/>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pPr algn="l"/>
              <a:r>
                <a:rPr sz="2592" dirty="0">
                  <a:solidFill>
                    <a:srgbClr val="0C662F"/>
                  </a:solidFill>
                </a:rPr>
                <a:t>2</a:t>
              </a:r>
            </a:p>
          </p:txBody>
        </p:sp>
      </p:grpSp>
      <p:grpSp>
        <p:nvGrpSpPr>
          <p:cNvPr id="24" name="Grupo 23">
            <a:extLst>
              <a:ext uri="{FF2B5EF4-FFF2-40B4-BE49-F238E27FC236}">
                <a16:creationId xmlns:a16="http://schemas.microsoft.com/office/drawing/2014/main" xmlns="" id="{9DF7C517-F070-6D45-9C82-44FD04509B7E}"/>
              </a:ext>
            </a:extLst>
          </p:cNvPr>
          <p:cNvGrpSpPr/>
          <p:nvPr/>
        </p:nvGrpSpPr>
        <p:grpSpPr>
          <a:xfrm>
            <a:off x="6223436" y="6997225"/>
            <a:ext cx="547452" cy="539651"/>
            <a:chOff x="4683126" y="5210174"/>
            <a:chExt cx="411957" cy="411163"/>
          </a:xfrm>
        </p:grpSpPr>
        <p:sp>
          <p:nvSpPr>
            <p:cNvPr id="8" name="Círculo">
              <a:extLst>
                <a:ext uri="{FF2B5EF4-FFF2-40B4-BE49-F238E27FC236}">
                  <a16:creationId xmlns:a16="http://schemas.microsoft.com/office/drawing/2014/main" xmlns="" id="{F52F2D8C-DC43-B34A-B2D8-D800CEB9718B}"/>
                </a:ext>
              </a:extLst>
            </p:cNvPr>
            <p:cNvSpPr/>
            <p:nvPr/>
          </p:nvSpPr>
          <p:spPr>
            <a:xfrm>
              <a:off x="4683126" y="5210174"/>
              <a:ext cx="411957" cy="411163"/>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9" name="3">
              <a:extLst>
                <a:ext uri="{FF2B5EF4-FFF2-40B4-BE49-F238E27FC236}">
                  <a16:creationId xmlns:a16="http://schemas.microsoft.com/office/drawing/2014/main" xmlns="" id="{1C30725E-7A0A-B048-8064-90A7F215239C}"/>
                </a:ext>
              </a:extLst>
            </p:cNvPr>
            <p:cNvSpPr txBox="1"/>
            <p:nvPr/>
          </p:nvSpPr>
          <p:spPr>
            <a:xfrm>
              <a:off x="4766025" y="5266873"/>
              <a:ext cx="257175" cy="343001"/>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lang="es-ES" sz="2592" dirty="0">
                  <a:solidFill>
                    <a:srgbClr val="0C662F"/>
                  </a:solidFill>
                </a:rPr>
                <a:t>4</a:t>
              </a:r>
              <a:endParaRPr sz="2592" dirty="0">
                <a:solidFill>
                  <a:srgbClr val="0C662F"/>
                </a:solidFill>
              </a:endParaRPr>
            </a:p>
          </p:txBody>
        </p:sp>
      </p:grpSp>
      <p:grpSp>
        <p:nvGrpSpPr>
          <p:cNvPr id="18" name="Grupo 17">
            <a:extLst>
              <a:ext uri="{FF2B5EF4-FFF2-40B4-BE49-F238E27FC236}">
                <a16:creationId xmlns:a16="http://schemas.microsoft.com/office/drawing/2014/main" xmlns="" id="{D5CFF926-8B63-D34A-8E42-1AFC9B870E90}"/>
              </a:ext>
            </a:extLst>
          </p:cNvPr>
          <p:cNvGrpSpPr/>
          <p:nvPr/>
        </p:nvGrpSpPr>
        <p:grpSpPr>
          <a:xfrm>
            <a:off x="6223436" y="5376928"/>
            <a:ext cx="547452" cy="540693"/>
            <a:chOff x="4683126" y="3863974"/>
            <a:chExt cx="411957" cy="411957"/>
          </a:xfrm>
        </p:grpSpPr>
        <p:sp>
          <p:nvSpPr>
            <p:cNvPr id="11" name="Círculo">
              <a:extLst>
                <a:ext uri="{FF2B5EF4-FFF2-40B4-BE49-F238E27FC236}">
                  <a16:creationId xmlns:a16="http://schemas.microsoft.com/office/drawing/2014/main" xmlns="" id="{7C3D1EB8-A4AC-F046-91CA-6E661DAD119E}"/>
                </a:ext>
              </a:extLst>
            </p:cNvPr>
            <p:cNvSpPr/>
            <p:nvPr/>
          </p:nvSpPr>
          <p:spPr>
            <a:xfrm>
              <a:off x="4683126" y="3863974"/>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12" name="2">
              <a:extLst>
                <a:ext uri="{FF2B5EF4-FFF2-40B4-BE49-F238E27FC236}">
                  <a16:creationId xmlns:a16="http://schemas.microsoft.com/office/drawing/2014/main" xmlns="" id="{91E08B42-FE59-684C-87D9-D879B4CD58BE}"/>
                </a:ext>
              </a:extLst>
            </p:cNvPr>
            <p:cNvSpPr txBox="1"/>
            <p:nvPr/>
          </p:nvSpPr>
          <p:spPr>
            <a:xfrm>
              <a:off x="4766025" y="3921192"/>
              <a:ext cx="257175" cy="343001"/>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lang="es-ES" sz="2592" dirty="0">
                  <a:solidFill>
                    <a:srgbClr val="0C662F"/>
                  </a:solidFill>
                </a:rPr>
                <a:t>3</a:t>
              </a:r>
              <a:endParaRPr sz="2592" dirty="0">
                <a:solidFill>
                  <a:srgbClr val="0C662F"/>
                </a:solidFill>
              </a:endParaRPr>
            </a:p>
          </p:txBody>
        </p:sp>
      </p:grpSp>
      <p:sp>
        <p:nvSpPr>
          <p:cNvPr id="17" name="Título 1">
            <a:extLst>
              <a:ext uri="{FF2B5EF4-FFF2-40B4-BE49-F238E27FC236}">
                <a16:creationId xmlns:a16="http://schemas.microsoft.com/office/drawing/2014/main" xmlns="" id="{0EF5773A-AA43-4E44-9525-56A7A041C790}"/>
              </a:ext>
            </a:extLst>
          </p:cNvPr>
          <p:cNvSpPr>
            <a:spLocks noGrp="1"/>
          </p:cNvSpPr>
          <p:nvPr>
            <p:ph type="title" hasCustomPrompt="1"/>
          </p:nvPr>
        </p:nvSpPr>
        <p:spPr>
          <a:xfrm>
            <a:off x="607480" y="593825"/>
            <a:ext cx="4689333" cy="945000"/>
          </a:xfrm>
          <a:prstGeom prst="rect">
            <a:avLst/>
          </a:prstGeom>
        </p:spPr>
        <p:txBody>
          <a:bodyPr anchor="t"/>
          <a:lstStyle>
            <a:lvl1pPr algn="l">
              <a:lnSpc>
                <a:spcPct val="90000"/>
              </a:lnSpc>
              <a:spcBef>
                <a:spcPts val="0"/>
              </a:spcBef>
              <a:spcAft>
                <a:spcPts val="0"/>
              </a:spcAft>
              <a:defRPr sz="3111" b="1">
                <a:solidFill>
                  <a:schemeClr val="tx1"/>
                </a:solidFill>
              </a:defRPr>
            </a:lvl1pPr>
          </a:lstStyle>
          <a:p>
            <a:r>
              <a:rPr lang="es-ES" dirty="0"/>
              <a:t>Título Arial</a:t>
            </a:r>
            <a:br>
              <a:rPr lang="es-ES" dirty="0"/>
            </a:br>
            <a:r>
              <a:rPr lang="es-ES" dirty="0"/>
              <a:t>Bold 24</a:t>
            </a:r>
            <a:endParaRPr lang="es-CL" dirty="0"/>
          </a:p>
        </p:txBody>
      </p:sp>
      <p:sp>
        <p:nvSpPr>
          <p:cNvPr id="19" name="Marcador de texto 7">
            <a:extLst>
              <a:ext uri="{FF2B5EF4-FFF2-40B4-BE49-F238E27FC236}">
                <a16:creationId xmlns:a16="http://schemas.microsoft.com/office/drawing/2014/main" xmlns="" id="{3D05D424-30B2-7E47-9AB6-C83E1B90EA12}"/>
              </a:ext>
            </a:extLst>
          </p:cNvPr>
          <p:cNvSpPr>
            <a:spLocks noGrp="1"/>
          </p:cNvSpPr>
          <p:nvPr>
            <p:ph type="body" sz="quarter" idx="16" hasCustomPrompt="1"/>
          </p:nvPr>
        </p:nvSpPr>
        <p:spPr>
          <a:xfrm>
            <a:off x="7055835" y="2306201"/>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0" name="Marcador de texto 7">
            <a:extLst>
              <a:ext uri="{FF2B5EF4-FFF2-40B4-BE49-F238E27FC236}">
                <a16:creationId xmlns:a16="http://schemas.microsoft.com/office/drawing/2014/main" xmlns="" id="{8893FAC1-DC9D-9440-985E-77B4520EBDFC}"/>
              </a:ext>
            </a:extLst>
          </p:cNvPr>
          <p:cNvSpPr>
            <a:spLocks noGrp="1"/>
          </p:cNvSpPr>
          <p:nvPr>
            <p:ph type="body" sz="quarter" idx="17" hasCustomPrompt="1"/>
          </p:nvPr>
        </p:nvSpPr>
        <p:spPr>
          <a:xfrm>
            <a:off x="7055835" y="3922501"/>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1" name="Marcador de texto 7">
            <a:extLst>
              <a:ext uri="{FF2B5EF4-FFF2-40B4-BE49-F238E27FC236}">
                <a16:creationId xmlns:a16="http://schemas.microsoft.com/office/drawing/2014/main" xmlns="" id="{1CDC6F2A-CD43-DC44-B35F-7AD48BD85D36}"/>
              </a:ext>
            </a:extLst>
          </p:cNvPr>
          <p:cNvSpPr>
            <a:spLocks noGrp="1"/>
          </p:cNvSpPr>
          <p:nvPr>
            <p:ph type="body" sz="quarter" idx="18" hasCustomPrompt="1"/>
          </p:nvPr>
        </p:nvSpPr>
        <p:spPr>
          <a:xfrm>
            <a:off x="7055835" y="5538802"/>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2" name="Marcador de texto 7">
            <a:extLst>
              <a:ext uri="{FF2B5EF4-FFF2-40B4-BE49-F238E27FC236}">
                <a16:creationId xmlns:a16="http://schemas.microsoft.com/office/drawing/2014/main" xmlns="" id="{2E8EE67D-954B-1E4C-87F1-A82DF7427D5B}"/>
              </a:ext>
            </a:extLst>
          </p:cNvPr>
          <p:cNvSpPr>
            <a:spLocks noGrp="1"/>
          </p:cNvSpPr>
          <p:nvPr>
            <p:ph type="body" sz="quarter" idx="19" hasCustomPrompt="1"/>
          </p:nvPr>
        </p:nvSpPr>
        <p:spPr>
          <a:xfrm>
            <a:off x="7055835" y="7155104"/>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 name="Marcador de número de diapositiva 1">
            <a:extLst>
              <a:ext uri="{FF2B5EF4-FFF2-40B4-BE49-F238E27FC236}">
                <a16:creationId xmlns:a16="http://schemas.microsoft.com/office/drawing/2014/main" xmlns="" id="{D89F4531-1800-9F4D-BB0B-4B3D73DFDA69}"/>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cxnSp>
        <p:nvCxnSpPr>
          <p:cNvPr id="23" name="Conector recto 22">
            <a:extLst>
              <a:ext uri="{FF2B5EF4-FFF2-40B4-BE49-F238E27FC236}">
                <a16:creationId xmlns:a16="http://schemas.microsoft.com/office/drawing/2014/main" xmlns="" id="{6C20F5E0-07F5-D544-AC03-AEC944D09569}"/>
              </a:ext>
            </a:extLst>
          </p:cNvPr>
          <p:cNvCxnSpPr>
            <a:cxnSpLocks/>
          </p:cNvCxnSpPr>
          <p:nvPr/>
        </p:nvCxnSpPr>
        <p:spPr>
          <a:xfrm>
            <a:off x="739560" y="1564693"/>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412565655"/>
      </p:ext>
    </p:extLst>
  </p:cSld>
  <p:clrMapOvr>
    <a:masterClrMapping/>
  </p:clrMapOvr>
  <p:extLst>
    <p:ext uri="{DCECCB84-F9BA-43D5-87BE-67443E8EF086}">
      <p15:sldGuideLst xmlns:p15="http://schemas.microsoft.com/office/powerpoint/2012/main">
        <p15:guide id="1" orient="horz" pos="2774">
          <p15:clr>
            <a:srgbClr val="FBAE40"/>
          </p15:clr>
        </p15:guide>
        <p15:guide id="2" pos="3840">
          <p15:clr>
            <a:srgbClr val="FBAE40"/>
          </p15:clr>
        </p15:guide>
        <p15:guide id="3" orient="horz" pos="1997">
          <p15:clr>
            <a:srgbClr val="FBAE40"/>
          </p15:clr>
        </p15:guide>
        <p15:guide id="4" orient="horz" pos="3550">
          <p15:clr>
            <a:srgbClr val="FBAE40"/>
          </p15:clr>
        </p15:guide>
        <p15:guide id="5" orient="horz" pos="1215">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Objetivos 5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xmlns="" id="{1B3CF53D-25D4-9646-AB92-B8AA4975E664}"/>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7221"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10" name="Línea">
            <a:extLst>
              <a:ext uri="{FF2B5EF4-FFF2-40B4-BE49-F238E27FC236}">
                <a16:creationId xmlns:a16="http://schemas.microsoft.com/office/drawing/2014/main" xmlns="" id="{832578E3-BC08-FD4F-8D2A-99D9B2768843}"/>
              </a:ext>
            </a:extLst>
          </p:cNvPr>
          <p:cNvSpPr/>
          <p:nvPr/>
        </p:nvSpPr>
        <p:spPr>
          <a:xfrm flipV="1">
            <a:off x="6497690" y="2413481"/>
            <a:ext cx="0" cy="6628100"/>
          </a:xfrm>
          <a:prstGeom prst="line">
            <a:avLst/>
          </a:prstGeom>
          <a:ln w="25400">
            <a:solidFill>
              <a:schemeClr val="tx1"/>
            </a:solidFill>
          </a:ln>
        </p:spPr>
        <p:txBody>
          <a:bodyPr lIns="29634" rIns="29634"/>
          <a:lstStyle/>
          <a:p>
            <a:pPr defTabSz="1579418">
              <a:defRPr>
                <a:latin typeface="Arial"/>
                <a:ea typeface="Arial"/>
                <a:cs typeface="Arial"/>
                <a:sym typeface="Arial"/>
              </a:defRPr>
            </a:pPr>
            <a:endParaRPr sz="1555" dirty="0">
              <a:solidFill>
                <a:srgbClr val="0C662F"/>
              </a:solidFill>
              <a:ea typeface="Arial"/>
              <a:cs typeface="Arial"/>
              <a:sym typeface="Arial"/>
            </a:endParaRPr>
          </a:p>
        </p:txBody>
      </p:sp>
      <p:pic>
        <p:nvPicPr>
          <p:cNvPr id="3" name="Imagen 2">
            <a:extLst>
              <a:ext uri="{FF2B5EF4-FFF2-40B4-BE49-F238E27FC236}">
                <a16:creationId xmlns:a16="http://schemas.microsoft.com/office/drawing/2014/main" xmlns="" id="{F0F13478-20D7-DB4D-8994-4442E9CD0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grpSp>
        <p:nvGrpSpPr>
          <p:cNvPr id="17" name="Grupo 16">
            <a:extLst>
              <a:ext uri="{FF2B5EF4-FFF2-40B4-BE49-F238E27FC236}">
                <a16:creationId xmlns:a16="http://schemas.microsoft.com/office/drawing/2014/main" xmlns="" id="{0E62E15C-BC86-AF43-AC57-64B37356E8A5}"/>
              </a:ext>
            </a:extLst>
          </p:cNvPr>
          <p:cNvGrpSpPr/>
          <p:nvPr/>
        </p:nvGrpSpPr>
        <p:grpSpPr>
          <a:xfrm>
            <a:off x="6223436" y="2144512"/>
            <a:ext cx="547452" cy="540693"/>
            <a:chOff x="4683126" y="1171576"/>
            <a:chExt cx="411957" cy="411957"/>
          </a:xfrm>
        </p:grpSpPr>
        <p:sp>
          <p:nvSpPr>
            <p:cNvPr id="4" name="Círculo">
              <a:extLst>
                <a:ext uri="{FF2B5EF4-FFF2-40B4-BE49-F238E27FC236}">
                  <a16:creationId xmlns:a16="http://schemas.microsoft.com/office/drawing/2014/main" xmlns="" id="{BBD7799B-2501-484A-BE95-7AFA110DBA90}"/>
                </a:ext>
              </a:extLst>
            </p:cNvPr>
            <p:cNvSpPr/>
            <p:nvPr/>
          </p:nvSpPr>
          <p:spPr>
            <a:xfrm>
              <a:off x="4683126" y="1171576"/>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5" name="1">
              <a:extLst>
                <a:ext uri="{FF2B5EF4-FFF2-40B4-BE49-F238E27FC236}">
                  <a16:creationId xmlns:a16="http://schemas.microsoft.com/office/drawing/2014/main" xmlns="" id="{71FA3B16-AB97-0F4C-939B-3F0F7FD107FC}"/>
                </a:ext>
              </a:extLst>
            </p:cNvPr>
            <p:cNvSpPr txBox="1"/>
            <p:nvPr/>
          </p:nvSpPr>
          <p:spPr>
            <a:xfrm>
              <a:off x="4765400" y="1229312"/>
              <a:ext cx="257175" cy="343001"/>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sz="2592" dirty="0">
                  <a:solidFill>
                    <a:srgbClr val="0C662F"/>
                  </a:solidFill>
                </a:rPr>
                <a:t>1</a:t>
              </a:r>
            </a:p>
          </p:txBody>
        </p:sp>
      </p:grpSp>
      <p:grpSp>
        <p:nvGrpSpPr>
          <p:cNvPr id="21" name="Grupo 20">
            <a:extLst>
              <a:ext uri="{FF2B5EF4-FFF2-40B4-BE49-F238E27FC236}">
                <a16:creationId xmlns:a16="http://schemas.microsoft.com/office/drawing/2014/main" xmlns="" id="{57A1DD69-AF11-C341-A068-C6BCFB304A12}"/>
              </a:ext>
            </a:extLst>
          </p:cNvPr>
          <p:cNvGrpSpPr/>
          <p:nvPr/>
        </p:nvGrpSpPr>
        <p:grpSpPr>
          <a:xfrm>
            <a:off x="6223436" y="3403017"/>
            <a:ext cx="547452" cy="540693"/>
            <a:chOff x="4683126" y="2253730"/>
            <a:chExt cx="411957" cy="411957"/>
          </a:xfrm>
        </p:grpSpPr>
        <p:sp>
          <p:nvSpPr>
            <p:cNvPr id="6" name="Círculo">
              <a:extLst>
                <a:ext uri="{FF2B5EF4-FFF2-40B4-BE49-F238E27FC236}">
                  <a16:creationId xmlns:a16="http://schemas.microsoft.com/office/drawing/2014/main" xmlns="" id="{940EDA27-F965-8A45-B802-8C71FC5E065A}"/>
                </a:ext>
              </a:extLst>
            </p:cNvPr>
            <p:cNvSpPr/>
            <p:nvPr/>
          </p:nvSpPr>
          <p:spPr>
            <a:xfrm>
              <a:off x="4683126" y="2253730"/>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7" name="2">
              <a:extLst>
                <a:ext uri="{FF2B5EF4-FFF2-40B4-BE49-F238E27FC236}">
                  <a16:creationId xmlns:a16="http://schemas.microsoft.com/office/drawing/2014/main" xmlns="" id="{2FB37367-B189-B244-9457-9FDFCDEC7CA5}"/>
                </a:ext>
              </a:extLst>
            </p:cNvPr>
            <p:cNvSpPr txBox="1"/>
            <p:nvPr/>
          </p:nvSpPr>
          <p:spPr>
            <a:xfrm>
              <a:off x="4801194" y="2310948"/>
              <a:ext cx="257175" cy="343001"/>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pPr algn="l"/>
              <a:r>
                <a:rPr sz="2592" dirty="0">
                  <a:solidFill>
                    <a:srgbClr val="0C662F"/>
                  </a:solidFill>
                </a:rPr>
                <a:t>2</a:t>
              </a:r>
            </a:p>
          </p:txBody>
        </p:sp>
      </p:grpSp>
      <p:grpSp>
        <p:nvGrpSpPr>
          <p:cNvPr id="40" name="Grupo 39">
            <a:extLst>
              <a:ext uri="{FF2B5EF4-FFF2-40B4-BE49-F238E27FC236}">
                <a16:creationId xmlns:a16="http://schemas.microsoft.com/office/drawing/2014/main" xmlns="" id="{CB29BF30-9415-6446-91F8-D23C812D624E}"/>
              </a:ext>
            </a:extLst>
          </p:cNvPr>
          <p:cNvGrpSpPr/>
          <p:nvPr/>
        </p:nvGrpSpPr>
        <p:grpSpPr>
          <a:xfrm>
            <a:off x="6223436" y="7231441"/>
            <a:ext cx="547452" cy="539651"/>
            <a:chOff x="4683126" y="5499397"/>
            <a:chExt cx="411957" cy="411163"/>
          </a:xfrm>
        </p:grpSpPr>
        <p:sp>
          <p:nvSpPr>
            <p:cNvPr id="8" name="Círculo">
              <a:extLst>
                <a:ext uri="{FF2B5EF4-FFF2-40B4-BE49-F238E27FC236}">
                  <a16:creationId xmlns:a16="http://schemas.microsoft.com/office/drawing/2014/main" xmlns="" id="{F52F2D8C-DC43-B34A-B2D8-D800CEB9718B}"/>
                </a:ext>
              </a:extLst>
            </p:cNvPr>
            <p:cNvSpPr/>
            <p:nvPr/>
          </p:nvSpPr>
          <p:spPr>
            <a:xfrm>
              <a:off x="4683126" y="5499397"/>
              <a:ext cx="411957" cy="411163"/>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9" name="3">
              <a:extLst>
                <a:ext uri="{FF2B5EF4-FFF2-40B4-BE49-F238E27FC236}">
                  <a16:creationId xmlns:a16="http://schemas.microsoft.com/office/drawing/2014/main" xmlns="" id="{1C30725E-7A0A-B048-8064-90A7F215239C}"/>
                </a:ext>
              </a:extLst>
            </p:cNvPr>
            <p:cNvSpPr txBox="1"/>
            <p:nvPr/>
          </p:nvSpPr>
          <p:spPr>
            <a:xfrm>
              <a:off x="4766025" y="5556096"/>
              <a:ext cx="257175" cy="343001"/>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lang="es-ES" sz="2592" dirty="0">
                  <a:solidFill>
                    <a:srgbClr val="0C662F"/>
                  </a:solidFill>
                </a:rPr>
                <a:t>5</a:t>
              </a:r>
              <a:endParaRPr sz="2592" dirty="0">
                <a:solidFill>
                  <a:srgbClr val="0C662F"/>
                </a:solidFill>
              </a:endParaRPr>
            </a:p>
          </p:txBody>
        </p:sp>
      </p:grpSp>
      <p:grpSp>
        <p:nvGrpSpPr>
          <p:cNvPr id="38" name="Grupo 37">
            <a:extLst>
              <a:ext uri="{FF2B5EF4-FFF2-40B4-BE49-F238E27FC236}">
                <a16:creationId xmlns:a16="http://schemas.microsoft.com/office/drawing/2014/main" xmlns="" id="{DAD26C6C-4EB9-124D-ABBA-815C91738182}"/>
              </a:ext>
            </a:extLst>
          </p:cNvPr>
          <p:cNvGrpSpPr/>
          <p:nvPr/>
        </p:nvGrpSpPr>
        <p:grpSpPr>
          <a:xfrm>
            <a:off x="6223436" y="4661525"/>
            <a:ext cx="547452" cy="540693"/>
            <a:chOff x="4683126" y="3335883"/>
            <a:chExt cx="411957" cy="411957"/>
          </a:xfrm>
        </p:grpSpPr>
        <p:sp>
          <p:nvSpPr>
            <p:cNvPr id="11" name="Círculo">
              <a:extLst>
                <a:ext uri="{FF2B5EF4-FFF2-40B4-BE49-F238E27FC236}">
                  <a16:creationId xmlns:a16="http://schemas.microsoft.com/office/drawing/2014/main" xmlns="" id="{7C3D1EB8-A4AC-F046-91CA-6E661DAD119E}"/>
                </a:ext>
              </a:extLst>
            </p:cNvPr>
            <p:cNvSpPr/>
            <p:nvPr/>
          </p:nvSpPr>
          <p:spPr>
            <a:xfrm>
              <a:off x="4683126" y="3335883"/>
              <a:ext cx="411957" cy="411957"/>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12" name="2">
              <a:extLst>
                <a:ext uri="{FF2B5EF4-FFF2-40B4-BE49-F238E27FC236}">
                  <a16:creationId xmlns:a16="http://schemas.microsoft.com/office/drawing/2014/main" xmlns="" id="{91E08B42-FE59-684C-87D9-D879B4CD58BE}"/>
                </a:ext>
              </a:extLst>
            </p:cNvPr>
            <p:cNvSpPr txBox="1"/>
            <p:nvPr/>
          </p:nvSpPr>
          <p:spPr>
            <a:xfrm>
              <a:off x="4766025" y="3393101"/>
              <a:ext cx="257175" cy="343001"/>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lang="es-ES" sz="2592" dirty="0">
                  <a:solidFill>
                    <a:srgbClr val="0C662F"/>
                  </a:solidFill>
                </a:rPr>
                <a:t>3</a:t>
              </a:r>
              <a:endParaRPr sz="2592" dirty="0">
                <a:solidFill>
                  <a:srgbClr val="0C662F"/>
                </a:solidFill>
              </a:endParaRPr>
            </a:p>
          </p:txBody>
        </p:sp>
      </p:grpSp>
      <p:grpSp>
        <p:nvGrpSpPr>
          <p:cNvPr id="39" name="Grupo 38">
            <a:extLst>
              <a:ext uri="{FF2B5EF4-FFF2-40B4-BE49-F238E27FC236}">
                <a16:creationId xmlns:a16="http://schemas.microsoft.com/office/drawing/2014/main" xmlns="" id="{627AF89F-51F2-974C-8C65-DC95A56471EF}"/>
              </a:ext>
            </a:extLst>
          </p:cNvPr>
          <p:cNvGrpSpPr/>
          <p:nvPr/>
        </p:nvGrpSpPr>
        <p:grpSpPr>
          <a:xfrm>
            <a:off x="6223436" y="5947003"/>
            <a:ext cx="547452" cy="539651"/>
            <a:chOff x="4683126" y="4418038"/>
            <a:chExt cx="411957" cy="411163"/>
          </a:xfrm>
        </p:grpSpPr>
        <p:sp>
          <p:nvSpPr>
            <p:cNvPr id="18" name="Círculo">
              <a:extLst>
                <a:ext uri="{FF2B5EF4-FFF2-40B4-BE49-F238E27FC236}">
                  <a16:creationId xmlns:a16="http://schemas.microsoft.com/office/drawing/2014/main" xmlns="" id="{884743E4-9B03-EC4B-A260-19A415777DF6}"/>
                </a:ext>
              </a:extLst>
            </p:cNvPr>
            <p:cNvSpPr/>
            <p:nvPr/>
          </p:nvSpPr>
          <p:spPr>
            <a:xfrm>
              <a:off x="4683126" y="4418038"/>
              <a:ext cx="411957" cy="411163"/>
            </a:xfrm>
            <a:prstGeom prst="ellipse">
              <a:avLst/>
            </a:prstGeom>
            <a:solidFill>
              <a:srgbClr val="FFFFFF"/>
            </a:solidFill>
            <a:ln w="25400">
              <a:solidFill>
                <a:schemeClr val="tx1"/>
              </a:solidFill>
              <a:miter lim="400000"/>
            </a:ln>
          </p:spPr>
          <p:txBody>
            <a:bodyPr lIns="25400" tIns="25400" rIns="25400" bIns="25400" anchor="ctr"/>
            <a:lstStyle/>
            <a:p>
              <a:pPr algn="ctr" defTabSz="535047">
                <a:defRPr sz="3200" b="1">
                  <a:solidFill>
                    <a:srgbClr val="FFFFFF"/>
                  </a:solidFill>
                  <a:latin typeface="Arial"/>
                  <a:ea typeface="Arial"/>
                  <a:cs typeface="Arial"/>
                  <a:sym typeface="Arial"/>
                </a:defRPr>
              </a:pPr>
              <a:endParaRPr sz="2074" b="1">
                <a:solidFill>
                  <a:srgbClr val="FFFFFF"/>
                </a:solidFill>
                <a:ea typeface="Arial"/>
                <a:cs typeface="Arial"/>
                <a:sym typeface="Arial"/>
              </a:endParaRPr>
            </a:p>
          </p:txBody>
        </p:sp>
        <p:sp>
          <p:nvSpPr>
            <p:cNvPr id="19" name="3">
              <a:extLst>
                <a:ext uri="{FF2B5EF4-FFF2-40B4-BE49-F238E27FC236}">
                  <a16:creationId xmlns:a16="http://schemas.microsoft.com/office/drawing/2014/main" xmlns="" id="{AE867737-15FD-604D-8F54-6525D645A5BB}"/>
                </a:ext>
              </a:extLst>
            </p:cNvPr>
            <p:cNvSpPr txBox="1"/>
            <p:nvPr/>
          </p:nvSpPr>
          <p:spPr>
            <a:xfrm>
              <a:off x="4766025" y="4474734"/>
              <a:ext cx="257175" cy="343001"/>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ctr" defTabSz="1828800">
                <a:spcBef>
                  <a:spcPts val="0"/>
                </a:spcBef>
                <a:defRPr sz="4000">
                  <a:solidFill>
                    <a:srgbClr val="34773C"/>
                  </a:solidFill>
                  <a:latin typeface="Arial"/>
                  <a:ea typeface="Arial"/>
                  <a:cs typeface="Arial"/>
                  <a:sym typeface="Arial"/>
                </a:defRPr>
              </a:lvl1pPr>
            </a:lstStyle>
            <a:p>
              <a:r>
                <a:rPr lang="es-ES" sz="2592" dirty="0">
                  <a:solidFill>
                    <a:srgbClr val="0C662F"/>
                  </a:solidFill>
                </a:rPr>
                <a:t>4</a:t>
              </a:r>
              <a:endParaRPr sz="2592" dirty="0">
                <a:solidFill>
                  <a:srgbClr val="0C662F"/>
                </a:solidFill>
              </a:endParaRPr>
            </a:p>
          </p:txBody>
        </p:sp>
      </p:grpSp>
      <p:sp>
        <p:nvSpPr>
          <p:cNvPr id="20" name="Título 1">
            <a:extLst>
              <a:ext uri="{FF2B5EF4-FFF2-40B4-BE49-F238E27FC236}">
                <a16:creationId xmlns:a16="http://schemas.microsoft.com/office/drawing/2014/main" xmlns="" id="{85F7771C-C889-3F4D-9422-EADBF00AF25A}"/>
              </a:ext>
            </a:extLst>
          </p:cNvPr>
          <p:cNvSpPr>
            <a:spLocks noGrp="1"/>
          </p:cNvSpPr>
          <p:nvPr>
            <p:ph type="title" hasCustomPrompt="1"/>
          </p:nvPr>
        </p:nvSpPr>
        <p:spPr>
          <a:xfrm>
            <a:off x="607480" y="602158"/>
            <a:ext cx="4689333" cy="945000"/>
          </a:xfrm>
          <a:prstGeom prst="rect">
            <a:avLst/>
          </a:prstGeom>
        </p:spPr>
        <p:txBody>
          <a:bodyPr/>
          <a:lstStyle>
            <a:lvl1pPr algn="l">
              <a:lnSpc>
                <a:spcPct val="90000"/>
              </a:lnSpc>
              <a:spcBef>
                <a:spcPts val="778"/>
              </a:spcBef>
              <a:spcAft>
                <a:spcPts val="778"/>
              </a:spcAft>
              <a:defRPr sz="3111" b="1">
                <a:solidFill>
                  <a:schemeClr val="tx1"/>
                </a:solidFill>
              </a:defRPr>
            </a:lvl1pPr>
          </a:lstStyle>
          <a:p>
            <a:r>
              <a:rPr lang="es-ES" dirty="0"/>
              <a:t>Título Arial</a:t>
            </a:r>
            <a:br>
              <a:rPr lang="es-ES" dirty="0"/>
            </a:br>
            <a:r>
              <a:rPr lang="es-ES" dirty="0"/>
              <a:t>Bold 24</a:t>
            </a:r>
            <a:endParaRPr lang="es-CL" dirty="0"/>
          </a:p>
        </p:txBody>
      </p:sp>
      <p:sp>
        <p:nvSpPr>
          <p:cNvPr id="22" name="Marcador de texto 7">
            <a:extLst>
              <a:ext uri="{FF2B5EF4-FFF2-40B4-BE49-F238E27FC236}">
                <a16:creationId xmlns:a16="http://schemas.microsoft.com/office/drawing/2014/main" xmlns="" id="{033F232C-1A9F-1C4B-B63A-72AD25EAD3C0}"/>
              </a:ext>
            </a:extLst>
          </p:cNvPr>
          <p:cNvSpPr>
            <a:spLocks noGrp="1"/>
          </p:cNvSpPr>
          <p:nvPr>
            <p:ph type="body" sz="quarter" idx="16" hasCustomPrompt="1"/>
          </p:nvPr>
        </p:nvSpPr>
        <p:spPr>
          <a:xfrm>
            <a:off x="7055835" y="2302870"/>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3" name="Marcador de texto 7">
            <a:extLst>
              <a:ext uri="{FF2B5EF4-FFF2-40B4-BE49-F238E27FC236}">
                <a16:creationId xmlns:a16="http://schemas.microsoft.com/office/drawing/2014/main" xmlns="" id="{F6EA4AA6-F211-574A-BE31-1CA2875DC6C4}"/>
              </a:ext>
            </a:extLst>
          </p:cNvPr>
          <p:cNvSpPr>
            <a:spLocks noGrp="1"/>
          </p:cNvSpPr>
          <p:nvPr>
            <p:ph type="body" sz="quarter" idx="17" hasCustomPrompt="1"/>
          </p:nvPr>
        </p:nvSpPr>
        <p:spPr>
          <a:xfrm>
            <a:off x="7055835" y="3568124"/>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4" name="Marcador de texto 7">
            <a:extLst>
              <a:ext uri="{FF2B5EF4-FFF2-40B4-BE49-F238E27FC236}">
                <a16:creationId xmlns:a16="http://schemas.microsoft.com/office/drawing/2014/main" xmlns="" id="{863D69D1-EFC7-7243-988E-9B4FE12219ED}"/>
              </a:ext>
            </a:extLst>
          </p:cNvPr>
          <p:cNvSpPr>
            <a:spLocks noGrp="1"/>
          </p:cNvSpPr>
          <p:nvPr>
            <p:ph type="body" sz="quarter" idx="18" hasCustomPrompt="1"/>
          </p:nvPr>
        </p:nvSpPr>
        <p:spPr>
          <a:xfrm>
            <a:off x="7055835" y="4833378"/>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5" name="Marcador de texto 7">
            <a:extLst>
              <a:ext uri="{FF2B5EF4-FFF2-40B4-BE49-F238E27FC236}">
                <a16:creationId xmlns:a16="http://schemas.microsoft.com/office/drawing/2014/main" xmlns="" id="{C34B0237-B084-C74D-8391-D82249AAD07D}"/>
              </a:ext>
            </a:extLst>
          </p:cNvPr>
          <p:cNvSpPr>
            <a:spLocks noGrp="1"/>
          </p:cNvSpPr>
          <p:nvPr>
            <p:ph type="body" sz="quarter" idx="19" hasCustomPrompt="1"/>
          </p:nvPr>
        </p:nvSpPr>
        <p:spPr>
          <a:xfrm>
            <a:off x="7055835" y="6098632"/>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26" name="Marcador de texto 7">
            <a:extLst>
              <a:ext uri="{FF2B5EF4-FFF2-40B4-BE49-F238E27FC236}">
                <a16:creationId xmlns:a16="http://schemas.microsoft.com/office/drawing/2014/main" xmlns="" id="{826E294F-5837-2245-BE2D-D36BCA4C5ACB}"/>
              </a:ext>
            </a:extLst>
          </p:cNvPr>
          <p:cNvSpPr>
            <a:spLocks noGrp="1"/>
          </p:cNvSpPr>
          <p:nvPr>
            <p:ph type="body" sz="quarter" idx="20" hasCustomPrompt="1"/>
          </p:nvPr>
        </p:nvSpPr>
        <p:spPr>
          <a:xfrm>
            <a:off x="7055835" y="7363884"/>
            <a:ext cx="7125538" cy="661979"/>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cxnSp>
        <p:nvCxnSpPr>
          <p:cNvPr id="28" name="Conector recto 27">
            <a:extLst>
              <a:ext uri="{FF2B5EF4-FFF2-40B4-BE49-F238E27FC236}">
                <a16:creationId xmlns:a16="http://schemas.microsoft.com/office/drawing/2014/main" xmlns="" id="{328CA6FF-8AB6-A846-8F9F-58E6916942EE}"/>
              </a:ext>
            </a:extLst>
          </p:cNvPr>
          <p:cNvCxnSpPr>
            <a:cxnSpLocks/>
          </p:cNvCxnSpPr>
          <p:nvPr/>
        </p:nvCxnSpPr>
        <p:spPr>
          <a:xfrm>
            <a:off x="739560" y="1564693"/>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9" name="Marcador de número de diapositiva 1">
            <a:extLst>
              <a:ext uri="{FF2B5EF4-FFF2-40B4-BE49-F238E27FC236}">
                <a16:creationId xmlns:a16="http://schemas.microsoft.com/office/drawing/2014/main" xmlns="" id="{03A48B33-A8CB-4B44-BB14-D481E6DABB37}"/>
              </a:ext>
            </a:extLst>
          </p:cNvPr>
          <p:cNvSpPr>
            <a:spLocks noGrp="1"/>
          </p:cNvSpPr>
          <p:nvPr>
            <p:ph type="sldNum" sz="quarter" idx="21"/>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3652648582"/>
      </p:ext>
    </p:extLst>
  </p:cSld>
  <p:clrMapOvr>
    <a:masterClrMapping/>
  </p:clrMapOvr>
  <p:extLst>
    <p:ext uri="{DCECCB84-F9BA-43D5-87BE-67443E8EF086}">
      <p15:sldGuideLst xmlns:p15="http://schemas.microsoft.com/office/powerpoint/2012/main">
        <p15:guide id="1" pos="3840">
          <p15:clr>
            <a:srgbClr val="FBAE40"/>
          </p15:clr>
        </p15:guide>
        <p15:guide id="2" orient="horz" pos="1624">
          <p15:clr>
            <a:srgbClr val="FBAE40"/>
          </p15:clr>
        </p15:guide>
        <p15:guide id="3" orient="horz" pos="2233">
          <p15:clr>
            <a:srgbClr val="FBAE40"/>
          </p15:clr>
        </p15:guide>
        <p15:guide id="4" orient="horz" pos="2848">
          <p15:clr>
            <a:srgbClr val="FBAE40"/>
          </p15:clr>
        </p15:guide>
        <p15:guide id="5" orient="horz" pos="346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4CC8A321-110D-F84C-BC3A-3F4DCCDAB071}"/>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8245"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50" name="Marcador de posición de imagen 48">
            <a:extLst>
              <a:ext uri="{FF2B5EF4-FFF2-40B4-BE49-F238E27FC236}">
                <a16:creationId xmlns:a16="http://schemas.microsoft.com/office/drawing/2014/main" xmlns="" id="{1B440493-E3F4-1342-A810-C3F9FAEC89AD}"/>
              </a:ext>
            </a:extLst>
          </p:cNvPr>
          <p:cNvSpPr>
            <a:spLocks noGrp="1"/>
          </p:cNvSpPr>
          <p:nvPr>
            <p:ph type="pic" sz="quarter" idx="10" hasCustomPrompt="1"/>
          </p:nvPr>
        </p:nvSpPr>
        <p:spPr>
          <a:xfrm>
            <a:off x="776590" y="3241896"/>
            <a:ext cx="2538950" cy="1843981"/>
          </a:xfrm>
          <a:prstGeom prst="rect">
            <a:avLst/>
          </a:prstGeom>
        </p:spPr>
        <p:txBody>
          <a:bodyPr/>
          <a:lstStyle>
            <a:lvl1pPr marL="0" indent="0">
              <a:buNone/>
              <a:defRPr sz="1167" b="0" i="0">
                <a:latin typeface="Arial" panose="020B0604020202020204" pitchFamily="34" charset="0"/>
              </a:defRPr>
            </a:lvl1pPr>
          </a:lstStyle>
          <a:p>
            <a:r>
              <a:rPr lang="es-CL" dirty="0"/>
              <a:t>Doble click para incorporar una imagen</a:t>
            </a:r>
          </a:p>
        </p:txBody>
      </p:sp>
      <p:pic>
        <p:nvPicPr>
          <p:cNvPr id="3" name="Imagen 2">
            <a:extLst>
              <a:ext uri="{FF2B5EF4-FFF2-40B4-BE49-F238E27FC236}">
                <a16:creationId xmlns:a16="http://schemas.microsoft.com/office/drawing/2014/main" xmlns="" id="{F0F13478-20D7-DB4D-8994-4442E9CD0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56" name="Marcador de posición de imagen 48">
            <a:extLst>
              <a:ext uri="{FF2B5EF4-FFF2-40B4-BE49-F238E27FC236}">
                <a16:creationId xmlns:a16="http://schemas.microsoft.com/office/drawing/2014/main" xmlns="" id="{E5FAA08C-8A49-324F-84B7-1DB2F697B299}"/>
              </a:ext>
            </a:extLst>
          </p:cNvPr>
          <p:cNvSpPr>
            <a:spLocks noGrp="1"/>
          </p:cNvSpPr>
          <p:nvPr>
            <p:ph type="pic" sz="quarter" idx="11" hasCustomPrompt="1"/>
          </p:nvPr>
        </p:nvSpPr>
        <p:spPr>
          <a:xfrm>
            <a:off x="4873091" y="3241896"/>
            <a:ext cx="2538950" cy="1843981"/>
          </a:xfrm>
          <a:prstGeom prst="rect">
            <a:avLst/>
          </a:prstGeom>
        </p:spPr>
        <p:txBody>
          <a:bodyPr/>
          <a:lstStyle>
            <a:lvl1pPr marL="0" indent="0">
              <a:buNone/>
              <a:defRPr sz="1167" b="0" i="0">
                <a:latin typeface="Arial" panose="020B0604020202020204" pitchFamily="34" charset="0"/>
              </a:defRPr>
            </a:lvl1pPr>
          </a:lstStyle>
          <a:p>
            <a:r>
              <a:rPr lang="es-CL" dirty="0"/>
              <a:t>Doble click para incorporar una imagen</a:t>
            </a:r>
          </a:p>
        </p:txBody>
      </p:sp>
      <p:sp>
        <p:nvSpPr>
          <p:cNvPr id="58" name="Marcador de posición de imagen 48">
            <a:extLst>
              <a:ext uri="{FF2B5EF4-FFF2-40B4-BE49-F238E27FC236}">
                <a16:creationId xmlns:a16="http://schemas.microsoft.com/office/drawing/2014/main" xmlns="" id="{34FF0757-2DED-4B4A-B2FA-00557BE89637}"/>
              </a:ext>
            </a:extLst>
          </p:cNvPr>
          <p:cNvSpPr>
            <a:spLocks noGrp="1"/>
          </p:cNvSpPr>
          <p:nvPr>
            <p:ph type="pic" sz="quarter" idx="12" hasCustomPrompt="1"/>
          </p:nvPr>
        </p:nvSpPr>
        <p:spPr>
          <a:xfrm>
            <a:off x="8969592" y="3241896"/>
            <a:ext cx="2538950" cy="1843981"/>
          </a:xfrm>
          <a:prstGeom prst="rect">
            <a:avLst/>
          </a:prstGeom>
        </p:spPr>
        <p:txBody>
          <a:bodyPr/>
          <a:lstStyle>
            <a:lvl1pPr marL="0" indent="0">
              <a:buNone/>
              <a:defRPr sz="1167" b="0" i="0">
                <a:latin typeface="Arial" panose="020B0604020202020204" pitchFamily="34" charset="0"/>
              </a:defRPr>
            </a:lvl1pPr>
          </a:lstStyle>
          <a:p>
            <a:r>
              <a:rPr lang="es-CL" dirty="0"/>
              <a:t>Doble click para incorporar una imagen</a:t>
            </a:r>
          </a:p>
        </p:txBody>
      </p:sp>
      <p:sp>
        <p:nvSpPr>
          <p:cNvPr id="61" name="Título 1">
            <a:extLst>
              <a:ext uri="{FF2B5EF4-FFF2-40B4-BE49-F238E27FC236}">
                <a16:creationId xmlns:a16="http://schemas.microsoft.com/office/drawing/2014/main" xmlns="" id="{AF37E838-6566-A847-ABB9-7092F1C16060}"/>
              </a:ext>
            </a:extLst>
          </p:cNvPr>
          <p:cNvSpPr>
            <a:spLocks noGrp="1"/>
          </p:cNvSpPr>
          <p:nvPr>
            <p:ph type="title" hasCustomPrompt="1"/>
          </p:nvPr>
        </p:nvSpPr>
        <p:spPr>
          <a:xfrm>
            <a:off x="607480" y="602158"/>
            <a:ext cx="4689333" cy="945000"/>
          </a:xfrm>
          <a:prstGeom prst="rect">
            <a:avLst/>
          </a:prstGeom>
        </p:spPr>
        <p:txBody>
          <a:bodyPr/>
          <a:lstStyle>
            <a:lvl1pPr algn="l">
              <a:lnSpc>
                <a:spcPct val="90000"/>
              </a:lnSpc>
              <a:spcBef>
                <a:spcPts val="778"/>
              </a:spcBef>
              <a:spcAft>
                <a:spcPts val="778"/>
              </a:spcAft>
              <a:defRPr sz="3111" b="1">
                <a:solidFill>
                  <a:schemeClr val="tx1"/>
                </a:solidFill>
              </a:defRPr>
            </a:lvl1pPr>
          </a:lstStyle>
          <a:p>
            <a:r>
              <a:rPr lang="es-ES" dirty="0"/>
              <a:t>Título Arial</a:t>
            </a:r>
            <a:br>
              <a:rPr lang="es-ES" dirty="0"/>
            </a:br>
            <a:r>
              <a:rPr lang="es-ES" dirty="0"/>
              <a:t>Bold 24</a:t>
            </a:r>
            <a:endParaRPr lang="es-CL" dirty="0"/>
          </a:p>
        </p:txBody>
      </p:sp>
      <p:sp>
        <p:nvSpPr>
          <p:cNvPr id="9" name="Marcador de posición de imagen 48">
            <a:extLst>
              <a:ext uri="{FF2B5EF4-FFF2-40B4-BE49-F238E27FC236}">
                <a16:creationId xmlns:a16="http://schemas.microsoft.com/office/drawing/2014/main" xmlns="" id="{2DFEDD8C-A34C-B34F-A4D7-68530375A69F}"/>
              </a:ext>
            </a:extLst>
          </p:cNvPr>
          <p:cNvSpPr>
            <a:spLocks noGrp="1"/>
          </p:cNvSpPr>
          <p:nvPr>
            <p:ph type="pic" sz="quarter" idx="13" hasCustomPrompt="1"/>
          </p:nvPr>
        </p:nvSpPr>
        <p:spPr>
          <a:xfrm>
            <a:off x="13066092" y="3241896"/>
            <a:ext cx="2538950" cy="1843981"/>
          </a:xfrm>
          <a:prstGeom prst="rect">
            <a:avLst/>
          </a:prstGeom>
        </p:spPr>
        <p:txBody>
          <a:bodyPr/>
          <a:lstStyle>
            <a:lvl1pPr marL="0" indent="0">
              <a:buNone/>
              <a:defRPr sz="1167" b="0" i="0">
                <a:latin typeface="Arial" panose="020B0604020202020204" pitchFamily="34" charset="0"/>
              </a:defRPr>
            </a:lvl1pPr>
          </a:lstStyle>
          <a:p>
            <a:r>
              <a:rPr lang="es-CL" dirty="0"/>
              <a:t>Doble click para incorporar una imagen</a:t>
            </a:r>
          </a:p>
        </p:txBody>
      </p:sp>
      <p:sp>
        <p:nvSpPr>
          <p:cNvPr id="15" name="Marcador de texto 7">
            <a:extLst>
              <a:ext uri="{FF2B5EF4-FFF2-40B4-BE49-F238E27FC236}">
                <a16:creationId xmlns:a16="http://schemas.microsoft.com/office/drawing/2014/main" xmlns="" id="{6A7883B1-3426-A549-92EA-BD1A4023ADED}"/>
              </a:ext>
            </a:extLst>
          </p:cNvPr>
          <p:cNvSpPr>
            <a:spLocks noGrp="1"/>
          </p:cNvSpPr>
          <p:nvPr>
            <p:ph type="body" sz="quarter" idx="14" hasCustomPrompt="1"/>
          </p:nvPr>
        </p:nvSpPr>
        <p:spPr>
          <a:xfrm>
            <a:off x="776590" y="5358054"/>
            <a:ext cx="2538870" cy="2052635"/>
          </a:xfrm>
          <a:prstGeom prst="rect">
            <a:avLst/>
          </a:prstGeom>
        </p:spPr>
        <p:txBody>
          <a:bodyPr/>
          <a:lstStyle>
            <a:lvl1pPr marL="0" indent="0">
              <a:spcBef>
                <a:spcPts val="1297"/>
              </a:spcBef>
              <a:spcAft>
                <a:spcPts val="1297"/>
              </a:spcAft>
              <a:buNone/>
              <a:defRPr sz="1685"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r>
              <a:rPr lang="es-ES" dirty="0">
                <a:solidFill>
                  <a:schemeClr val="bg2"/>
                </a:solidFill>
              </a:rPr>
              <a:t>Texto que indica el capítulo en el que estamos</a:t>
            </a:r>
          </a:p>
          <a:p>
            <a:r>
              <a:rPr lang="es-ES" dirty="0">
                <a:solidFill>
                  <a:schemeClr val="bg2"/>
                </a:solidFill>
              </a:rPr>
              <a:t>Arial Bold 13</a:t>
            </a:r>
          </a:p>
        </p:txBody>
      </p:sp>
      <p:sp>
        <p:nvSpPr>
          <p:cNvPr id="17" name="Marcador de texto 7">
            <a:extLst>
              <a:ext uri="{FF2B5EF4-FFF2-40B4-BE49-F238E27FC236}">
                <a16:creationId xmlns:a16="http://schemas.microsoft.com/office/drawing/2014/main" xmlns="" id="{57CED1DC-47B6-A343-BB28-616597DA9FBA}"/>
              </a:ext>
            </a:extLst>
          </p:cNvPr>
          <p:cNvSpPr>
            <a:spLocks noGrp="1"/>
          </p:cNvSpPr>
          <p:nvPr>
            <p:ph type="body" sz="quarter" idx="16" hasCustomPrompt="1"/>
          </p:nvPr>
        </p:nvSpPr>
        <p:spPr>
          <a:xfrm>
            <a:off x="4873118" y="5358641"/>
            <a:ext cx="2538870" cy="2052048"/>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ombre Capítulo 2</a:t>
            </a:r>
            <a:br>
              <a:rPr lang="es-ES" dirty="0"/>
            </a:br>
            <a:r>
              <a:rPr lang="es-ES" dirty="0"/>
              <a:t>Arial 11</a:t>
            </a:r>
            <a:endParaRPr lang="es-CL" dirty="0"/>
          </a:p>
        </p:txBody>
      </p:sp>
      <p:sp>
        <p:nvSpPr>
          <p:cNvPr id="18" name="Marcador de texto 7">
            <a:extLst>
              <a:ext uri="{FF2B5EF4-FFF2-40B4-BE49-F238E27FC236}">
                <a16:creationId xmlns:a16="http://schemas.microsoft.com/office/drawing/2014/main" xmlns="" id="{D2B3CAFC-D9A0-A34F-BD98-4510B81946EA}"/>
              </a:ext>
            </a:extLst>
          </p:cNvPr>
          <p:cNvSpPr>
            <a:spLocks noGrp="1"/>
          </p:cNvSpPr>
          <p:nvPr>
            <p:ph type="body" sz="quarter" idx="17" hasCustomPrompt="1"/>
          </p:nvPr>
        </p:nvSpPr>
        <p:spPr>
          <a:xfrm>
            <a:off x="8969645" y="5358641"/>
            <a:ext cx="2538870" cy="2052048"/>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ombre Capítulo 3</a:t>
            </a:r>
            <a:br>
              <a:rPr lang="es-ES" dirty="0"/>
            </a:br>
            <a:r>
              <a:rPr lang="es-ES" dirty="0"/>
              <a:t>Arial 11</a:t>
            </a:r>
            <a:endParaRPr lang="es-CL" dirty="0"/>
          </a:p>
        </p:txBody>
      </p:sp>
      <p:sp>
        <p:nvSpPr>
          <p:cNvPr id="19" name="Marcador de texto 7">
            <a:extLst>
              <a:ext uri="{FF2B5EF4-FFF2-40B4-BE49-F238E27FC236}">
                <a16:creationId xmlns:a16="http://schemas.microsoft.com/office/drawing/2014/main" xmlns="" id="{BB19E2D3-8F9F-1C41-92D8-77569D290229}"/>
              </a:ext>
            </a:extLst>
          </p:cNvPr>
          <p:cNvSpPr>
            <a:spLocks noGrp="1"/>
          </p:cNvSpPr>
          <p:nvPr>
            <p:ph type="body" sz="quarter" idx="18" hasCustomPrompt="1"/>
          </p:nvPr>
        </p:nvSpPr>
        <p:spPr>
          <a:xfrm>
            <a:off x="13066172" y="5358641"/>
            <a:ext cx="2538870" cy="2052048"/>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Nombre Capítulo 4</a:t>
            </a:r>
            <a:br>
              <a:rPr lang="es-ES" dirty="0"/>
            </a:br>
            <a:r>
              <a:rPr lang="es-ES" dirty="0"/>
              <a:t>Arial 11</a:t>
            </a:r>
            <a:endParaRPr lang="es-CL" dirty="0"/>
          </a:p>
        </p:txBody>
      </p:sp>
      <p:cxnSp>
        <p:nvCxnSpPr>
          <p:cNvPr id="20" name="Conector recto 19">
            <a:extLst>
              <a:ext uri="{FF2B5EF4-FFF2-40B4-BE49-F238E27FC236}">
                <a16:creationId xmlns:a16="http://schemas.microsoft.com/office/drawing/2014/main" xmlns="" id="{4EB9DD76-F7D8-3E43-BD31-B7C372E8921E}"/>
              </a:ext>
            </a:extLst>
          </p:cNvPr>
          <p:cNvCxnSpPr>
            <a:cxnSpLocks/>
          </p:cNvCxnSpPr>
          <p:nvPr/>
        </p:nvCxnSpPr>
        <p:spPr>
          <a:xfrm>
            <a:off x="739560" y="1564693"/>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1" name="Marcador de texto 4">
            <a:extLst>
              <a:ext uri="{FF2B5EF4-FFF2-40B4-BE49-F238E27FC236}">
                <a16:creationId xmlns:a16="http://schemas.microsoft.com/office/drawing/2014/main" xmlns="" id="{9440AD7B-097E-C24C-A4EE-30C53E3EC6E3}"/>
              </a:ext>
            </a:extLst>
          </p:cNvPr>
          <p:cNvSpPr>
            <a:spLocks noGrp="1"/>
          </p:cNvSpPr>
          <p:nvPr>
            <p:ph type="body" sz="quarter" idx="20" hasCustomPrompt="1"/>
          </p:nvPr>
        </p:nvSpPr>
        <p:spPr>
          <a:xfrm>
            <a:off x="566943" y="2528814"/>
            <a:ext cx="1594629" cy="1153991"/>
          </a:xfrm>
          <a:prstGeom prst="rect">
            <a:avLst/>
          </a:prstGeom>
        </p:spPr>
        <p:txBody>
          <a:bodyPr/>
          <a:lstStyle>
            <a:lvl1pPr marL="0" indent="0">
              <a:buNone/>
              <a:defRPr sz="9075" b="0" i="0">
                <a:solidFill>
                  <a:schemeClr val="bg2"/>
                </a:solidFill>
                <a:latin typeface="Arial" panose="020B0604020202020204" pitchFamily="34" charset="0"/>
              </a:defRPr>
            </a:lvl1pPr>
          </a:lstStyle>
          <a:p>
            <a:pPr lvl="0"/>
            <a:r>
              <a:rPr lang="es-ES" dirty="0"/>
              <a:t>Nº</a:t>
            </a:r>
            <a:endParaRPr lang="es-CL" dirty="0"/>
          </a:p>
        </p:txBody>
      </p:sp>
      <p:sp>
        <p:nvSpPr>
          <p:cNvPr id="22" name="Marcador de texto 4">
            <a:extLst>
              <a:ext uri="{FF2B5EF4-FFF2-40B4-BE49-F238E27FC236}">
                <a16:creationId xmlns:a16="http://schemas.microsoft.com/office/drawing/2014/main" xmlns="" id="{0BD763DB-BA4F-3A45-83C4-B7A958FB7455}"/>
              </a:ext>
            </a:extLst>
          </p:cNvPr>
          <p:cNvSpPr>
            <a:spLocks noGrp="1"/>
          </p:cNvSpPr>
          <p:nvPr>
            <p:ph type="body" sz="quarter" idx="21" hasCustomPrompt="1"/>
          </p:nvPr>
        </p:nvSpPr>
        <p:spPr>
          <a:xfrm>
            <a:off x="4667697" y="2528814"/>
            <a:ext cx="1594629" cy="1153991"/>
          </a:xfrm>
          <a:prstGeom prst="rect">
            <a:avLst/>
          </a:prstGeom>
        </p:spPr>
        <p:txBody>
          <a:bodyPr/>
          <a:lstStyle>
            <a:lvl1pPr marL="0" indent="0">
              <a:buNone/>
              <a:defRPr sz="9075" b="0" i="0">
                <a:solidFill>
                  <a:schemeClr val="bg2"/>
                </a:solidFill>
                <a:latin typeface="Arial" panose="020B0604020202020204" pitchFamily="34" charset="0"/>
              </a:defRPr>
            </a:lvl1pPr>
          </a:lstStyle>
          <a:p>
            <a:pPr lvl="0"/>
            <a:r>
              <a:rPr lang="es-ES" dirty="0"/>
              <a:t>Nº</a:t>
            </a:r>
            <a:endParaRPr lang="es-CL" dirty="0"/>
          </a:p>
        </p:txBody>
      </p:sp>
      <p:sp>
        <p:nvSpPr>
          <p:cNvPr id="23" name="Marcador de texto 4">
            <a:extLst>
              <a:ext uri="{FF2B5EF4-FFF2-40B4-BE49-F238E27FC236}">
                <a16:creationId xmlns:a16="http://schemas.microsoft.com/office/drawing/2014/main" xmlns="" id="{D9664D75-F6A1-C840-9C99-011D8555528E}"/>
              </a:ext>
            </a:extLst>
          </p:cNvPr>
          <p:cNvSpPr>
            <a:spLocks noGrp="1"/>
          </p:cNvSpPr>
          <p:nvPr>
            <p:ph type="body" sz="quarter" idx="22" hasCustomPrompt="1"/>
          </p:nvPr>
        </p:nvSpPr>
        <p:spPr>
          <a:xfrm>
            <a:off x="8768449" y="2528814"/>
            <a:ext cx="1594629" cy="1153991"/>
          </a:xfrm>
          <a:prstGeom prst="rect">
            <a:avLst/>
          </a:prstGeom>
        </p:spPr>
        <p:txBody>
          <a:bodyPr/>
          <a:lstStyle>
            <a:lvl1pPr marL="0" indent="0">
              <a:buNone/>
              <a:defRPr sz="9075" b="0" i="0">
                <a:solidFill>
                  <a:schemeClr val="bg2"/>
                </a:solidFill>
                <a:latin typeface="Arial" panose="020B0604020202020204" pitchFamily="34" charset="0"/>
              </a:defRPr>
            </a:lvl1pPr>
          </a:lstStyle>
          <a:p>
            <a:pPr lvl="0"/>
            <a:r>
              <a:rPr lang="es-ES" dirty="0"/>
              <a:t>Nº</a:t>
            </a:r>
            <a:endParaRPr lang="es-CL" dirty="0"/>
          </a:p>
        </p:txBody>
      </p:sp>
      <p:sp>
        <p:nvSpPr>
          <p:cNvPr id="24" name="Marcador de texto 4">
            <a:extLst>
              <a:ext uri="{FF2B5EF4-FFF2-40B4-BE49-F238E27FC236}">
                <a16:creationId xmlns:a16="http://schemas.microsoft.com/office/drawing/2014/main" xmlns="" id="{F564BB9F-E578-B04F-B48F-901C810196C7}"/>
              </a:ext>
            </a:extLst>
          </p:cNvPr>
          <p:cNvSpPr>
            <a:spLocks noGrp="1"/>
          </p:cNvSpPr>
          <p:nvPr>
            <p:ph type="body" sz="quarter" idx="23" hasCustomPrompt="1"/>
          </p:nvPr>
        </p:nvSpPr>
        <p:spPr>
          <a:xfrm>
            <a:off x="12869201" y="2528814"/>
            <a:ext cx="1594629" cy="1153991"/>
          </a:xfrm>
          <a:prstGeom prst="rect">
            <a:avLst/>
          </a:prstGeom>
        </p:spPr>
        <p:txBody>
          <a:bodyPr/>
          <a:lstStyle>
            <a:lvl1pPr marL="0" indent="0">
              <a:buNone/>
              <a:defRPr sz="9075" b="0" i="0">
                <a:solidFill>
                  <a:schemeClr val="bg2"/>
                </a:solidFill>
                <a:latin typeface="Arial" panose="020B0604020202020204" pitchFamily="34" charset="0"/>
              </a:defRPr>
            </a:lvl1pPr>
          </a:lstStyle>
          <a:p>
            <a:pPr lvl="0"/>
            <a:r>
              <a:rPr lang="es-ES" dirty="0"/>
              <a:t>Nº</a:t>
            </a:r>
            <a:endParaRPr lang="es-CL" dirty="0"/>
          </a:p>
        </p:txBody>
      </p:sp>
      <p:sp>
        <p:nvSpPr>
          <p:cNvPr id="25" name="Marcador de número de diapositiva 1">
            <a:extLst>
              <a:ext uri="{FF2B5EF4-FFF2-40B4-BE49-F238E27FC236}">
                <a16:creationId xmlns:a16="http://schemas.microsoft.com/office/drawing/2014/main" xmlns="" id="{49B71DB7-A654-844B-8689-DCE3BDF344BE}"/>
              </a:ext>
            </a:extLst>
          </p:cNvPr>
          <p:cNvSpPr>
            <a:spLocks noGrp="1"/>
          </p:cNvSpPr>
          <p:nvPr>
            <p:ph type="sldNum" sz="quarter" idx="24"/>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1634349311"/>
      </p:ext>
    </p:extLst>
  </p:cSld>
  <p:clrMapOvr>
    <a:masterClrMapping/>
  </p:clrMapOvr>
  <p:extLst>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Agenda si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99C22FEA-59FA-1540-A939-F039EF19BDCE}"/>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9269"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xmlns="" id="{F0F13478-20D7-DB4D-8994-4442E9CD0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29" name="Marcador de texto 4">
            <a:extLst>
              <a:ext uri="{FF2B5EF4-FFF2-40B4-BE49-F238E27FC236}">
                <a16:creationId xmlns:a16="http://schemas.microsoft.com/office/drawing/2014/main" xmlns="" id="{D4D8DB34-4EB6-A44E-A2E9-0DDD94FE7CC9}"/>
              </a:ext>
            </a:extLst>
          </p:cNvPr>
          <p:cNvSpPr>
            <a:spLocks noGrp="1"/>
          </p:cNvSpPr>
          <p:nvPr>
            <p:ph type="body" sz="quarter" idx="10" hasCustomPrompt="1"/>
          </p:nvPr>
        </p:nvSpPr>
        <p:spPr>
          <a:xfrm>
            <a:off x="601730" y="3247845"/>
            <a:ext cx="2048772" cy="1153991"/>
          </a:xfrm>
          <a:prstGeom prst="rect">
            <a:avLst/>
          </a:prstGeom>
        </p:spPr>
        <p:txBody>
          <a:bodyPr/>
          <a:lstStyle>
            <a:lvl1pPr marL="0" indent="0">
              <a:buNone/>
              <a:defRPr sz="9075" b="0" i="0">
                <a:solidFill>
                  <a:schemeClr val="bg2"/>
                </a:solidFill>
                <a:latin typeface="Arial" panose="020B0604020202020204" pitchFamily="34" charset="0"/>
              </a:defRPr>
            </a:lvl1pPr>
          </a:lstStyle>
          <a:p>
            <a:pPr lvl="0"/>
            <a:r>
              <a:rPr lang="es-ES" dirty="0"/>
              <a:t>Nº</a:t>
            </a:r>
            <a:endParaRPr lang="es-CL" dirty="0"/>
          </a:p>
        </p:txBody>
      </p:sp>
      <p:sp>
        <p:nvSpPr>
          <p:cNvPr id="30" name="Marcador de texto 6">
            <a:extLst>
              <a:ext uri="{FF2B5EF4-FFF2-40B4-BE49-F238E27FC236}">
                <a16:creationId xmlns:a16="http://schemas.microsoft.com/office/drawing/2014/main" xmlns="" id="{5F4649B2-5AD6-AD4B-9530-EB8FA0B7982E}"/>
              </a:ext>
            </a:extLst>
          </p:cNvPr>
          <p:cNvSpPr>
            <a:spLocks noGrp="1"/>
          </p:cNvSpPr>
          <p:nvPr>
            <p:ph type="body" sz="quarter" idx="11" hasCustomPrompt="1"/>
          </p:nvPr>
        </p:nvSpPr>
        <p:spPr>
          <a:xfrm>
            <a:off x="601741" y="4828507"/>
            <a:ext cx="2048772" cy="1637705"/>
          </a:xfrm>
          <a:prstGeom prst="rect">
            <a:avLst/>
          </a:prstGeom>
        </p:spPr>
        <p:txBody>
          <a:bodyPr/>
          <a:lstStyle>
            <a:lvl1pPr marL="0" indent="0">
              <a:spcBef>
                <a:spcPts val="778"/>
              </a:spcBef>
              <a:spcAft>
                <a:spcPts val="778"/>
              </a:spcAft>
              <a:buNone/>
              <a:defRPr sz="1685" b="0" i="0">
                <a:solidFill>
                  <a:schemeClr val="bg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Bold 13</a:t>
            </a:r>
            <a:endParaRPr lang="es-CL" dirty="0"/>
          </a:p>
        </p:txBody>
      </p:sp>
      <p:sp>
        <p:nvSpPr>
          <p:cNvPr id="33" name="Marcador de texto 4">
            <a:extLst>
              <a:ext uri="{FF2B5EF4-FFF2-40B4-BE49-F238E27FC236}">
                <a16:creationId xmlns:a16="http://schemas.microsoft.com/office/drawing/2014/main" xmlns="" id="{6FA40A4D-EF21-A64B-BF59-22654E0FC56F}"/>
              </a:ext>
            </a:extLst>
          </p:cNvPr>
          <p:cNvSpPr>
            <a:spLocks noGrp="1"/>
          </p:cNvSpPr>
          <p:nvPr>
            <p:ph type="body" sz="quarter" idx="12" hasCustomPrompt="1"/>
          </p:nvPr>
        </p:nvSpPr>
        <p:spPr>
          <a:xfrm>
            <a:off x="3820219" y="3247845"/>
            <a:ext cx="2044017"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34" name="Marcador de texto 6">
            <a:extLst>
              <a:ext uri="{FF2B5EF4-FFF2-40B4-BE49-F238E27FC236}">
                <a16:creationId xmlns:a16="http://schemas.microsoft.com/office/drawing/2014/main" xmlns="" id="{C2173465-02A7-5A42-9000-8BF6B7BE7134}"/>
              </a:ext>
            </a:extLst>
          </p:cNvPr>
          <p:cNvSpPr>
            <a:spLocks noGrp="1"/>
          </p:cNvSpPr>
          <p:nvPr>
            <p:ph type="body" sz="quarter" idx="13" hasCustomPrompt="1"/>
          </p:nvPr>
        </p:nvSpPr>
        <p:spPr>
          <a:xfrm>
            <a:off x="3816063"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sp>
        <p:nvSpPr>
          <p:cNvPr id="37" name="Marcador de texto 4">
            <a:extLst>
              <a:ext uri="{FF2B5EF4-FFF2-40B4-BE49-F238E27FC236}">
                <a16:creationId xmlns:a16="http://schemas.microsoft.com/office/drawing/2014/main" xmlns="" id="{74DCED2A-9C58-454A-8FD8-C41F48581574}"/>
              </a:ext>
            </a:extLst>
          </p:cNvPr>
          <p:cNvSpPr>
            <a:spLocks noGrp="1"/>
          </p:cNvSpPr>
          <p:nvPr>
            <p:ph type="body" sz="quarter" idx="14" hasCustomPrompt="1"/>
          </p:nvPr>
        </p:nvSpPr>
        <p:spPr>
          <a:xfrm>
            <a:off x="7023317" y="3247845"/>
            <a:ext cx="2036885"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38" name="Marcador de texto 6">
            <a:extLst>
              <a:ext uri="{FF2B5EF4-FFF2-40B4-BE49-F238E27FC236}">
                <a16:creationId xmlns:a16="http://schemas.microsoft.com/office/drawing/2014/main" xmlns="" id="{6538BA82-AE2C-E44B-A64C-98F8724D6BC9}"/>
              </a:ext>
            </a:extLst>
          </p:cNvPr>
          <p:cNvSpPr>
            <a:spLocks noGrp="1"/>
          </p:cNvSpPr>
          <p:nvPr>
            <p:ph type="body" sz="quarter" idx="15" hasCustomPrompt="1"/>
          </p:nvPr>
        </p:nvSpPr>
        <p:spPr>
          <a:xfrm>
            <a:off x="7019751"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sp>
        <p:nvSpPr>
          <p:cNvPr id="41" name="Marcador de texto 4">
            <a:extLst>
              <a:ext uri="{FF2B5EF4-FFF2-40B4-BE49-F238E27FC236}">
                <a16:creationId xmlns:a16="http://schemas.microsoft.com/office/drawing/2014/main" xmlns="" id="{5E38B824-3D4A-4C46-8594-092BE3AC50EC}"/>
              </a:ext>
            </a:extLst>
          </p:cNvPr>
          <p:cNvSpPr>
            <a:spLocks noGrp="1"/>
          </p:cNvSpPr>
          <p:nvPr>
            <p:ph type="body" sz="quarter" idx="16" hasCustomPrompt="1"/>
          </p:nvPr>
        </p:nvSpPr>
        <p:spPr>
          <a:xfrm>
            <a:off x="10266624" y="3247845"/>
            <a:ext cx="2048765"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42" name="Marcador de texto 6">
            <a:extLst>
              <a:ext uri="{FF2B5EF4-FFF2-40B4-BE49-F238E27FC236}">
                <a16:creationId xmlns:a16="http://schemas.microsoft.com/office/drawing/2014/main" xmlns="" id="{42923E17-3BCD-4148-B7F1-DC9E8DE35FD2}"/>
              </a:ext>
            </a:extLst>
          </p:cNvPr>
          <p:cNvSpPr>
            <a:spLocks noGrp="1"/>
          </p:cNvSpPr>
          <p:nvPr>
            <p:ph type="body" sz="quarter" idx="17" hasCustomPrompt="1"/>
          </p:nvPr>
        </p:nvSpPr>
        <p:spPr>
          <a:xfrm>
            <a:off x="10270780"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sp>
        <p:nvSpPr>
          <p:cNvPr id="45" name="Marcador de texto 4">
            <a:extLst>
              <a:ext uri="{FF2B5EF4-FFF2-40B4-BE49-F238E27FC236}">
                <a16:creationId xmlns:a16="http://schemas.microsoft.com/office/drawing/2014/main" xmlns="" id="{D0656489-C7FB-6E4C-BCFA-62074E56CF51}"/>
              </a:ext>
            </a:extLst>
          </p:cNvPr>
          <p:cNvSpPr>
            <a:spLocks noGrp="1"/>
          </p:cNvSpPr>
          <p:nvPr>
            <p:ph type="body" sz="quarter" idx="18" hasCustomPrompt="1"/>
          </p:nvPr>
        </p:nvSpPr>
        <p:spPr>
          <a:xfrm>
            <a:off x="13529529" y="3247845"/>
            <a:ext cx="2048767"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46" name="Marcador de texto 6">
            <a:extLst>
              <a:ext uri="{FF2B5EF4-FFF2-40B4-BE49-F238E27FC236}">
                <a16:creationId xmlns:a16="http://schemas.microsoft.com/office/drawing/2014/main" xmlns="" id="{F1B36306-245B-3644-B2F3-99F2E4A0EE84}"/>
              </a:ext>
            </a:extLst>
          </p:cNvPr>
          <p:cNvSpPr>
            <a:spLocks noGrp="1"/>
          </p:cNvSpPr>
          <p:nvPr>
            <p:ph type="body" sz="quarter" idx="19" hasCustomPrompt="1"/>
          </p:nvPr>
        </p:nvSpPr>
        <p:spPr>
          <a:xfrm>
            <a:off x="13529529"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sp>
        <p:nvSpPr>
          <p:cNvPr id="47" name="Título 1">
            <a:extLst>
              <a:ext uri="{FF2B5EF4-FFF2-40B4-BE49-F238E27FC236}">
                <a16:creationId xmlns:a16="http://schemas.microsoft.com/office/drawing/2014/main" xmlns="" id="{9E1903E5-0B43-B14C-92A3-493CF678A7A6}"/>
              </a:ext>
            </a:extLst>
          </p:cNvPr>
          <p:cNvSpPr>
            <a:spLocks noGrp="1"/>
          </p:cNvSpPr>
          <p:nvPr>
            <p:ph type="title" hasCustomPrompt="1"/>
          </p:nvPr>
        </p:nvSpPr>
        <p:spPr>
          <a:xfrm>
            <a:off x="607480" y="602161"/>
            <a:ext cx="4397027" cy="945000"/>
          </a:xfrm>
          <a:prstGeom prst="rect">
            <a:avLst/>
          </a:prstGeom>
        </p:spPr>
        <p:txBody>
          <a:bodyPr anchor="b"/>
          <a:lstStyle>
            <a:lvl1pPr algn="l">
              <a:lnSpc>
                <a:spcPct val="90000"/>
              </a:lnSpc>
              <a:spcBef>
                <a:spcPts val="0"/>
              </a:spcBef>
              <a:spcAft>
                <a:spcPts val="0"/>
              </a:spcAft>
              <a:defRPr sz="3111" b="1">
                <a:solidFill>
                  <a:schemeClr val="tx1"/>
                </a:solidFill>
              </a:defRPr>
            </a:lvl1pPr>
          </a:lstStyle>
          <a:p>
            <a:pPr lvl="0"/>
            <a:r>
              <a:rPr lang="es-ES" dirty="0"/>
              <a:t>Título Arial</a:t>
            </a:r>
            <a:br>
              <a:rPr lang="es-ES" dirty="0"/>
            </a:br>
            <a:r>
              <a:rPr lang="es-ES" dirty="0"/>
              <a:t>Bold 24</a:t>
            </a:r>
            <a:endParaRPr lang="es-CL" dirty="0"/>
          </a:p>
        </p:txBody>
      </p:sp>
      <p:cxnSp>
        <p:nvCxnSpPr>
          <p:cNvPr id="31" name="Conector recto 30">
            <a:extLst>
              <a:ext uri="{FF2B5EF4-FFF2-40B4-BE49-F238E27FC236}">
                <a16:creationId xmlns:a16="http://schemas.microsoft.com/office/drawing/2014/main" xmlns="" id="{2B5E496B-C752-824B-90AB-16C0445ADA3D}"/>
              </a:ext>
            </a:extLst>
          </p:cNvPr>
          <p:cNvCxnSpPr>
            <a:cxnSpLocks/>
          </p:cNvCxnSpPr>
          <p:nvPr/>
        </p:nvCxnSpPr>
        <p:spPr>
          <a:xfrm>
            <a:off x="9895586"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32" name="Conector recto 31">
            <a:extLst>
              <a:ext uri="{FF2B5EF4-FFF2-40B4-BE49-F238E27FC236}">
                <a16:creationId xmlns:a16="http://schemas.microsoft.com/office/drawing/2014/main" xmlns="" id="{C362018F-EA21-4C43-90C7-50DC98F19ABF}"/>
              </a:ext>
            </a:extLst>
          </p:cNvPr>
          <p:cNvCxnSpPr>
            <a:cxnSpLocks/>
          </p:cNvCxnSpPr>
          <p:nvPr/>
        </p:nvCxnSpPr>
        <p:spPr>
          <a:xfrm>
            <a:off x="6680856"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35" name="Conector recto 34">
            <a:extLst>
              <a:ext uri="{FF2B5EF4-FFF2-40B4-BE49-F238E27FC236}">
                <a16:creationId xmlns:a16="http://schemas.microsoft.com/office/drawing/2014/main" xmlns="" id="{494AAB60-24B4-E74A-BE1B-C423918FE76E}"/>
              </a:ext>
            </a:extLst>
          </p:cNvPr>
          <p:cNvCxnSpPr>
            <a:cxnSpLocks/>
          </p:cNvCxnSpPr>
          <p:nvPr/>
        </p:nvCxnSpPr>
        <p:spPr>
          <a:xfrm>
            <a:off x="3466125"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24" name="Conector recto 23">
            <a:extLst>
              <a:ext uri="{FF2B5EF4-FFF2-40B4-BE49-F238E27FC236}">
                <a16:creationId xmlns:a16="http://schemas.microsoft.com/office/drawing/2014/main" xmlns="" id="{638125DE-6B7C-2B44-9E77-2BB68C07C81A}"/>
              </a:ext>
            </a:extLst>
          </p:cNvPr>
          <p:cNvCxnSpPr>
            <a:cxnSpLocks/>
          </p:cNvCxnSpPr>
          <p:nvPr/>
        </p:nvCxnSpPr>
        <p:spPr>
          <a:xfrm>
            <a:off x="739560" y="1564693"/>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25" name="Conector recto 24">
            <a:extLst>
              <a:ext uri="{FF2B5EF4-FFF2-40B4-BE49-F238E27FC236}">
                <a16:creationId xmlns:a16="http://schemas.microsoft.com/office/drawing/2014/main" xmlns="" id="{8A978983-138F-0340-AD4E-DF2CA4EC1DAD}"/>
              </a:ext>
            </a:extLst>
          </p:cNvPr>
          <p:cNvCxnSpPr>
            <a:cxnSpLocks/>
          </p:cNvCxnSpPr>
          <p:nvPr/>
        </p:nvCxnSpPr>
        <p:spPr>
          <a:xfrm>
            <a:off x="13157662"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21" name="Marcador de número de diapositiva 1">
            <a:extLst>
              <a:ext uri="{FF2B5EF4-FFF2-40B4-BE49-F238E27FC236}">
                <a16:creationId xmlns:a16="http://schemas.microsoft.com/office/drawing/2014/main" xmlns="" id="{6164492C-0653-984B-93FE-EA97E94C9360}"/>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2884613033"/>
      </p:ext>
    </p:extLst>
  </p:cSld>
  <p:clrMapOvr>
    <a:masterClrMapping/>
  </p:clrMapOvr>
  <p:extLst>
    <p:ext uri="{DCECCB84-F9BA-43D5-87BE-67443E8EF086}">
      <p15:sldGuideLst xmlns:p15="http://schemas.microsoft.com/office/powerpoint/2012/main">
        <p15:guide id="1" orient="horz" pos="1553">
          <p15:clr>
            <a:srgbClr val="FBAE40"/>
          </p15:clr>
        </p15:guide>
        <p15:guide id="2" pos="3840">
          <p15:clr>
            <a:srgbClr val="FBAE40"/>
          </p15:clr>
        </p15:guide>
        <p15:guide id="3" orient="horz" pos="278">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Agenda si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99C22FEA-59FA-1540-A939-F039EF19BDCE}"/>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10293"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xmlns="" id="{F0F13478-20D7-DB4D-8994-4442E9CD0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29" name="Marcador de texto 4">
            <a:extLst>
              <a:ext uri="{FF2B5EF4-FFF2-40B4-BE49-F238E27FC236}">
                <a16:creationId xmlns:a16="http://schemas.microsoft.com/office/drawing/2014/main" xmlns="" id="{D4D8DB34-4EB6-A44E-A2E9-0DDD94FE7CC9}"/>
              </a:ext>
            </a:extLst>
          </p:cNvPr>
          <p:cNvSpPr>
            <a:spLocks noGrp="1"/>
          </p:cNvSpPr>
          <p:nvPr>
            <p:ph type="body" sz="quarter" idx="10" hasCustomPrompt="1"/>
          </p:nvPr>
        </p:nvSpPr>
        <p:spPr>
          <a:xfrm>
            <a:off x="601730" y="3247845"/>
            <a:ext cx="2048772" cy="1153991"/>
          </a:xfrm>
          <a:prstGeom prst="rect">
            <a:avLst/>
          </a:prstGeom>
        </p:spPr>
        <p:txBody>
          <a:bodyPr/>
          <a:lstStyle>
            <a:lvl1pPr marL="0" indent="0">
              <a:buNone/>
              <a:defRPr sz="9075" b="0" i="0">
                <a:solidFill>
                  <a:schemeClr val="bg2"/>
                </a:solidFill>
                <a:latin typeface="Arial" panose="020B0604020202020204" pitchFamily="34" charset="0"/>
              </a:defRPr>
            </a:lvl1pPr>
          </a:lstStyle>
          <a:p>
            <a:pPr lvl="0"/>
            <a:r>
              <a:rPr lang="es-ES" dirty="0"/>
              <a:t>Nº</a:t>
            </a:r>
            <a:endParaRPr lang="es-CL" dirty="0"/>
          </a:p>
        </p:txBody>
      </p:sp>
      <p:sp>
        <p:nvSpPr>
          <p:cNvPr id="30" name="Marcador de texto 6">
            <a:extLst>
              <a:ext uri="{FF2B5EF4-FFF2-40B4-BE49-F238E27FC236}">
                <a16:creationId xmlns:a16="http://schemas.microsoft.com/office/drawing/2014/main" xmlns="" id="{5F4649B2-5AD6-AD4B-9530-EB8FA0B7982E}"/>
              </a:ext>
            </a:extLst>
          </p:cNvPr>
          <p:cNvSpPr>
            <a:spLocks noGrp="1"/>
          </p:cNvSpPr>
          <p:nvPr>
            <p:ph type="body" sz="quarter" idx="11" hasCustomPrompt="1"/>
          </p:nvPr>
        </p:nvSpPr>
        <p:spPr>
          <a:xfrm>
            <a:off x="601741" y="4828507"/>
            <a:ext cx="2048772" cy="1637705"/>
          </a:xfrm>
          <a:prstGeom prst="rect">
            <a:avLst/>
          </a:prstGeom>
        </p:spPr>
        <p:txBody>
          <a:bodyPr/>
          <a:lstStyle>
            <a:lvl1pPr marL="0" indent="0">
              <a:spcBef>
                <a:spcPts val="778"/>
              </a:spcBef>
              <a:spcAft>
                <a:spcPts val="778"/>
              </a:spcAft>
              <a:buNone/>
              <a:defRPr sz="1685" b="0" i="0">
                <a:solidFill>
                  <a:schemeClr val="bg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Bold 13</a:t>
            </a:r>
            <a:endParaRPr lang="es-CL" dirty="0"/>
          </a:p>
        </p:txBody>
      </p:sp>
      <p:sp>
        <p:nvSpPr>
          <p:cNvPr id="33" name="Marcador de texto 4">
            <a:extLst>
              <a:ext uri="{FF2B5EF4-FFF2-40B4-BE49-F238E27FC236}">
                <a16:creationId xmlns:a16="http://schemas.microsoft.com/office/drawing/2014/main" xmlns="" id="{6FA40A4D-EF21-A64B-BF59-22654E0FC56F}"/>
              </a:ext>
            </a:extLst>
          </p:cNvPr>
          <p:cNvSpPr>
            <a:spLocks noGrp="1"/>
          </p:cNvSpPr>
          <p:nvPr>
            <p:ph type="body" sz="quarter" idx="12" hasCustomPrompt="1"/>
          </p:nvPr>
        </p:nvSpPr>
        <p:spPr>
          <a:xfrm>
            <a:off x="3190622" y="3247845"/>
            <a:ext cx="2044017"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34" name="Marcador de texto 6">
            <a:extLst>
              <a:ext uri="{FF2B5EF4-FFF2-40B4-BE49-F238E27FC236}">
                <a16:creationId xmlns:a16="http://schemas.microsoft.com/office/drawing/2014/main" xmlns="" id="{C2173465-02A7-5A42-9000-8BF6B7BE7134}"/>
              </a:ext>
            </a:extLst>
          </p:cNvPr>
          <p:cNvSpPr>
            <a:spLocks noGrp="1"/>
          </p:cNvSpPr>
          <p:nvPr>
            <p:ph type="body" sz="quarter" idx="13" hasCustomPrompt="1"/>
          </p:nvPr>
        </p:nvSpPr>
        <p:spPr>
          <a:xfrm>
            <a:off x="3190622"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sp>
        <p:nvSpPr>
          <p:cNvPr id="37" name="Marcador de texto 4">
            <a:extLst>
              <a:ext uri="{FF2B5EF4-FFF2-40B4-BE49-F238E27FC236}">
                <a16:creationId xmlns:a16="http://schemas.microsoft.com/office/drawing/2014/main" xmlns="" id="{74DCED2A-9C58-454A-8FD8-C41F48581574}"/>
              </a:ext>
            </a:extLst>
          </p:cNvPr>
          <p:cNvSpPr>
            <a:spLocks noGrp="1"/>
          </p:cNvSpPr>
          <p:nvPr>
            <p:ph type="body" sz="quarter" idx="14" hasCustomPrompt="1"/>
          </p:nvPr>
        </p:nvSpPr>
        <p:spPr>
          <a:xfrm>
            <a:off x="5774759" y="3247845"/>
            <a:ext cx="2036885"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38" name="Marcador de texto 6">
            <a:extLst>
              <a:ext uri="{FF2B5EF4-FFF2-40B4-BE49-F238E27FC236}">
                <a16:creationId xmlns:a16="http://schemas.microsoft.com/office/drawing/2014/main" xmlns="" id="{6538BA82-AE2C-E44B-A64C-98F8724D6BC9}"/>
              </a:ext>
            </a:extLst>
          </p:cNvPr>
          <p:cNvSpPr>
            <a:spLocks noGrp="1"/>
          </p:cNvSpPr>
          <p:nvPr>
            <p:ph type="body" sz="quarter" idx="15" hasCustomPrompt="1"/>
          </p:nvPr>
        </p:nvSpPr>
        <p:spPr>
          <a:xfrm>
            <a:off x="5774757"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sp>
        <p:nvSpPr>
          <p:cNvPr id="41" name="Marcador de texto 4">
            <a:extLst>
              <a:ext uri="{FF2B5EF4-FFF2-40B4-BE49-F238E27FC236}">
                <a16:creationId xmlns:a16="http://schemas.microsoft.com/office/drawing/2014/main" xmlns="" id="{5E38B824-3D4A-4C46-8594-092BE3AC50EC}"/>
              </a:ext>
            </a:extLst>
          </p:cNvPr>
          <p:cNvSpPr>
            <a:spLocks noGrp="1"/>
          </p:cNvSpPr>
          <p:nvPr>
            <p:ph type="body" sz="quarter" idx="16" hasCustomPrompt="1"/>
          </p:nvPr>
        </p:nvSpPr>
        <p:spPr>
          <a:xfrm>
            <a:off x="8351762" y="3247845"/>
            <a:ext cx="2048765"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42" name="Marcador de texto 6">
            <a:extLst>
              <a:ext uri="{FF2B5EF4-FFF2-40B4-BE49-F238E27FC236}">
                <a16:creationId xmlns:a16="http://schemas.microsoft.com/office/drawing/2014/main" xmlns="" id="{42923E17-3BCD-4148-B7F1-DC9E8DE35FD2}"/>
              </a:ext>
            </a:extLst>
          </p:cNvPr>
          <p:cNvSpPr>
            <a:spLocks noGrp="1"/>
          </p:cNvSpPr>
          <p:nvPr>
            <p:ph type="body" sz="quarter" idx="17" hasCustomPrompt="1"/>
          </p:nvPr>
        </p:nvSpPr>
        <p:spPr>
          <a:xfrm>
            <a:off x="8351761"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sp>
        <p:nvSpPr>
          <p:cNvPr id="45" name="Marcador de texto 4">
            <a:extLst>
              <a:ext uri="{FF2B5EF4-FFF2-40B4-BE49-F238E27FC236}">
                <a16:creationId xmlns:a16="http://schemas.microsoft.com/office/drawing/2014/main" xmlns="" id="{D0656489-C7FB-6E4C-BCFA-62074E56CF51}"/>
              </a:ext>
            </a:extLst>
          </p:cNvPr>
          <p:cNvSpPr>
            <a:spLocks noGrp="1"/>
          </p:cNvSpPr>
          <p:nvPr>
            <p:ph type="body" sz="quarter" idx="18" hasCustomPrompt="1"/>
          </p:nvPr>
        </p:nvSpPr>
        <p:spPr>
          <a:xfrm>
            <a:off x="13529529" y="3247845"/>
            <a:ext cx="2048767"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46" name="Marcador de texto 6">
            <a:extLst>
              <a:ext uri="{FF2B5EF4-FFF2-40B4-BE49-F238E27FC236}">
                <a16:creationId xmlns:a16="http://schemas.microsoft.com/office/drawing/2014/main" xmlns="" id="{F1B36306-245B-3644-B2F3-99F2E4A0EE84}"/>
              </a:ext>
            </a:extLst>
          </p:cNvPr>
          <p:cNvSpPr>
            <a:spLocks noGrp="1"/>
          </p:cNvSpPr>
          <p:nvPr>
            <p:ph type="body" sz="quarter" idx="19" hasCustomPrompt="1"/>
          </p:nvPr>
        </p:nvSpPr>
        <p:spPr>
          <a:xfrm>
            <a:off x="13529529"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sp>
        <p:nvSpPr>
          <p:cNvPr id="47" name="Título 1">
            <a:extLst>
              <a:ext uri="{FF2B5EF4-FFF2-40B4-BE49-F238E27FC236}">
                <a16:creationId xmlns:a16="http://schemas.microsoft.com/office/drawing/2014/main" xmlns="" id="{9E1903E5-0B43-B14C-92A3-493CF678A7A6}"/>
              </a:ext>
            </a:extLst>
          </p:cNvPr>
          <p:cNvSpPr>
            <a:spLocks noGrp="1"/>
          </p:cNvSpPr>
          <p:nvPr>
            <p:ph type="title" hasCustomPrompt="1"/>
          </p:nvPr>
        </p:nvSpPr>
        <p:spPr>
          <a:xfrm>
            <a:off x="607480" y="602161"/>
            <a:ext cx="4397027" cy="945000"/>
          </a:xfrm>
          <a:prstGeom prst="rect">
            <a:avLst/>
          </a:prstGeom>
        </p:spPr>
        <p:txBody>
          <a:bodyPr anchor="b"/>
          <a:lstStyle>
            <a:lvl1pPr algn="l">
              <a:lnSpc>
                <a:spcPct val="90000"/>
              </a:lnSpc>
              <a:spcBef>
                <a:spcPts val="0"/>
              </a:spcBef>
              <a:spcAft>
                <a:spcPts val="0"/>
              </a:spcAft>
              <a:defRPr sz="3111" b="1">
                <a:solidFill>
                  <a:schemeClr val="tx1"/>
                </a:solidFill>
              </a:defRPr>
            </a:lvl1pPr>
          </a:lstStyle>
          <a:p>
            <a:pPr lvl="0"/>
            <a:r>
              <a:rPr lang="es-ES" dirty="0"/>
              <a:t>Título Arial</a:t>
            </a:r>
            <a:br>
              <a:rPr lang="es-ES" dirty="0"/>
            </a:br>
            <a:r>
              <a:rPr lang="es-ES" dirty="0"/>
              <a:t>Bold 24</a:t>
            </a:r>
            <a:endParaRPr lang="es-CL" dirty="0"/>
          </a:p>
        </p:txBody>
      </p:sp>
      <p:cxnSp>
        <p:nvCxnSpPr>
          <p:cNvPr id="31" name="Conector recto 30">
            <a:extLst>
              <a:ext uri="{FF2B5EF4-FFF2-40B4-BE49-F238E27FC236}">
                <a16:creationId xmlns:a16="http://schemas.microsoft.com/office/drawing/2014/main" xmlns="" id="{2B5E496B-C752-824B-90AB-16C0445ADA3D}"/>
              </a:ext>
            </a:extLst>
          </p:cNvPr>
          <p:cNvCxnSpPr>
            <a:cxnSpLocks/>
          </p:cNvCxnSpPr>
          <p:nvPr/>
        </p:nvCxnSpPr>
        <p:spPr>
          <a:xfrm>
            <a:off x="8089460"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32" name="Conector recto 31">
            <a:extLst>
              <a:ext uri="{FF2B5EF4-FFF2-40B4-BE49-F238E27FC236}">
                <a16:creationId xmlns:a16="http://schemas.microsoft.com/office/drawing/2014/main" xmlns="" id="{C362018F-EA21-4C43-90C7-50DC98F19ABF}"/>
              </a:ext>
            </a:extLst>
          </p:cNvPr>
          <p:cNvCxnSpPr>
            <a:cxnSpLocks/>
          </p:cNvCxnSpPr>
          <p:nvPr/>
        </p:nvCxnSpPr>
        <p:spPr>
          <a:xfrm>
            <a:off x="6096000"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35" name="Conector recto 34">
            <a:extLst>
              <a:ext uri="{FF2B5EF4-FFF2-40B4-BE49-F238E27FC236}">
                <a16:creationId xmlns:a16="http://schemas.microsoft.com/office/drawing/2014/main" xmlns="" id="{494AAB60-24B4-E74A-BE1B-C423918FE76E}"/>
              </a:ext>
            </a:extLst>
          </p:cNvPr>
          <p:cNvCxnSpPr>
            <a:cxnSpLocks/>
          </p:cNvCxnSpPr>
          <p:nvPr/>
        </p:nvCxnSpPr>
        <p:spPr>
          <a:xfrm>
            <a:off x="2916436"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24" name="Conector recto 23">
            <a:extLst>
              <a:ext uri="{FF2B5EF4-FFF2-40B4-BE49-F238E27FC236}">
                <a16:creationId xmlns:a16="http://schemas.microsoft.com/office/drawing/2014/main" xmlns="" id="{638125DE-6B7C-2B44-9E77-2BB68C07C81A}"/>
              </a:ext>
            </a:extLst>
          </p:cNvPr>
          <p:cNvCxnSpPr>
            <a:cxnSpLocks/>
          </p:cNvCxnSpPr>
          <p:nvPr/>
        </p:nvCxnSpPr>
        <p:spPr>
          <a:xfrm>
            <a:off x="739560" y="1564693"/>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25" name="Conector recto 24">
            <a:extLst>
              <a:ext uri="{FF2B5EF4-FFF2-40B4-BE49-F238E27FC236}">
                <a16:creationId xmlns:a16="http://schemas.microsoft.com/office/drawing/2014/main" xmlns="" id="{8A978983-138F-0340-AD4E-DF2CA4EC1DAD}"/>
              </a:ext>
            </a:extLst>
          </p:cNvPr>
          <p:cNvCxnSpPr>
            <a:cxnSpLocks/>
          </p:cNvCxnSpPr>
          <p:nvPr/>
        </p:nvCxnSpPr>
        <p:spPr>
          <a:xfrm>
            <a:off x="13262483"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21" name="Marcador de número de diapositiva 1">
            <a:extLst>
              <a:ext uri="{FF2B5EF4-FFF2-40B4-BE49-F238E27FC236}">
                <a16:creationId xmlns:a16="http://schemas.microsoft.com/office/drawing/2014/main" xmlns="" id="{6164492C-0653-984B-93FE-EA97E94C9360}"/>
              </a:ext>
            </a:extLst>
          </p:cNvPr>
          <p:cNvSpPr>
            <a:spLocks noGrp="1"/>
          </p:cNvSpPr>
          <p:nvPr>
            <p:ph type="sldNum" sz="quarter" idx="20"/>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
        <p:nvSpPr>
          <p:cNvPr id="22" name="Marcador de texto 4">
            <a:extLst>
              <a:ext uri="{FF2B5EF4-FFF2-40B4-BE49-F238E27FC236}">
                <a16:creationId xmlns:a16="http://schemas.microsoft.com/office/drawing/2014/main" xmlns="" id="{43F33C67-45CD-7047-9BCC-2401C278A23F}"/>
              </a:ext>
            </a:extLst>
          </p:cNvPr>
          <p:cNvSpPr>
            <a:spLocks noGrp="1"/>
          </p:cNvSpPr>
          <p:nvPr>
            <p:ph type="body" sz="quarter" idx="21" hasCustomPrompt="1"/>
          </p:nvPr>
        </p:nvSpPr>
        <p:spPr>
          <a:xfrm>
            <a:off x="10940646" y="3247845"/>
            <a:ext cx="2048767" cy="1153991"/>
          </a:xfrm>
          <a:prstGeom prst="rect">
            <a:avLst/>
          </a:prstGeom>
        </p:spPr>
        <p:txBody>
          <a:bodyPr/>
          <a:lstStyle>
            <a:lvl1pPr marL="0" indent="0">
              <a:buNone/>
              <a:defRPr sz="9075" b="0" i="0">
                <a:solidFill>
                  <a:schemeClr val="tx2"/>
                </a:solidFill>
                <a:latin typeface="Arial" panose="020B0604020202020204" pitchFamily="34" charset="0"/>
              </a:defRPr>
            </a:lvl1pPr>
          </a:lstStyle>
          <a:p>
            <a:pPr lvl="0"/>
            <a:r>
              <a:rPr lang="es-ES" dirty="0"/>
              <a:t>Nº</a:t>
            </a:r>
            <a:endParaRPr lang="es-CL" dirty="0"/>
          </a:p>
        </p:txBody>
      </p:sp>
      <p:sp>
        <p:nvSpPr>
          <p:cNvPr id="23" name="Marcador de texto 6">
            <a:extLst>
              <a:ext uri="{FF2B5EF4-FFF2-40B4-BE49-F238E27FC236}">
                <a16:creationId xmlns:a16="http://schemas.microsoft.com/office/drawing/2014/main" xmlns="" id="{9777251C-0852-C94D-8962-FCAE03B2FC80}"/>
              </a:ext>
            </a:extLst>
          </p:cNvPr>
          <p:cNvSpPr>
            <a:spLocks noGrp="1"/>
          </p:cNvSpPr>
          <p:nvPr>
            <p:ph type="body" sz="quarter" idx="22" hasCustomPrompt="1"/>
          </p:nvPr>
        </p:nvSpPr>
        <p:spPr>
          <a:xfrm>
            <a:off x="10940645" y="4828507"/>
            <a:ext cx="2048772" cy="1637705"/>
          </a:xfrm>
          <a:prstGeom prst="rect">
            <a:avLst/>
          </a:prstGeom>
        </p:spPr>
        <p:txBody>
          <a:bodyPr/>
          <a:lstStyle>
            <a:lvl1pPr marL="0" indent="0">
              <a:spcBef>
                <a:spcPts val="778"/>
              </a:spcBef>
              <a:spcAft>
                <a:spcPts val="778"/>
              </a:spcAft>
              <a:buNone/>
              <a:defRPr sz="1427" b="0" i="0">
                <a:solidFill>
                  <a:schemeClr val="tx2"/>
                </a:solidFill>
                <a:latin typeface="Arial" panose="020B0604020202020204" pitchFamily="34" charset="0"/>
              </a:defRPr>
            </a:lvl1pPr>
            <a:lvl2pPr marL="395112" indent="0">
              <a:buNone/>
              <a:defRPr sz="1945">
                <a:solidFill>
                  <a:schemeClr val="tx2"/>
                </a:solidFill>
              </a:defRPr>
            </a:lvl2pPr>
            <a:lvl3pPr marL="790223" indent="0">
              <a:buNone/>
              <a:defRPr sz="1945">
                <a:solidFill>
                  <a:schemeClr val="tx2"/>
                </a:solidFill>
              </a:defRPr>
            </a:lvl3pPr>
            <a:lvl4pPr marL="1185336" indent="0">
              <a:buNone/>
              <a:defRPr sz="1945">
                <a:solidFill>
                  <a:schemeClr val="tx2"/>
                </a:solidFill>
              </a:defRPr>
            </a:lvl4pPr>
            <a:lvl5pPr marL="1580448" indent="0">
              <a:buNone/>
              <a:defRPr sz="1945">
                <a:solidFill>
                  <a:schemeClr val="tx2"/>
                </a:solidFill>
              </a:defRPr>
            </a:lvl5pPr>
          </a:lstStyle>
          <a:p>
            <a:pPr lvl="0"/>
            <a:r>
              <a:rPr lang="es-ES" dirty="0"/>
              <a:t>Hacer clic para modificar los textos</a:t>
            </a:r>
          </a:p>
          <a:p>
            <a:pPr lvl="0"/>
            <a:r>
              <a:rPr lang="es-ES" dirty="0"/>
              <a:t>Arial 11</a:t>
            </a:r>
          </a:p>
        </p:txBody>
      </p:sp>
      <p:cxnSp>
        <p:nvCxnSpPr>
          <p:cNvPr id="26" name="Conector recto 25">
            <a:extLst>
              <a:ext uri="{FF2B5EF4-FFF2-40B4-BE49-F238E27FC236}">
                <a16:creationId xmlns:a16="http://schemas.microsoft.com/office/drawing/2014/main" xmlns="" id="{D567F2BB-843F-8041-BD2D-879481734705}"/>
              </a:ext>
            </a:extLst>
          </p:cNvPr>
          <p:cNvCxnSpPr>
            <a:cxnSpLocks/>
          </p:cNvCxnSpPr>
          <p:nvPr/>
        </p:nvCxnSpPr>
        <p:spPr>
          <a:xfrm>
            <a:off x="10675972"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27" name="Conector recto 26">
            <a:extLst>
              <a:ext uri="{FF2B5EF4-FFF2-40B4-BE49-F238E27FC236}">
                <a16:creationId xmlns:a16="http://schemas.microsoft.com/office/drawing/2014/main" xmlns="" id="{00F34FB2-688E-F342-8B96-459104349340}"/>
              </a:ext>
            </a:extLst>
          </p:cNvPr>
          <p:cNvCxnSpPr>
            <a:cxnSpLocks/>
          </p:cNvCxnSpPr>
          <p:nvPr/>
        </p:nvCxnSpPr>
        <p:spPr>
          <a:xfrm>
            <a:off x="5502948" y="3247845"/>
            <a:ext cx="0" cy="3218367"/>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212795994"/>
      </p:ext>
    </p:extLst>
  </p:cSld>
  <p:clrMapOvr>
    <a:masterClrMapping/>
  </p:clrMapOvr>
  <p:extLst>
    <p:ext uri="{DCECCB84-F9BA-43D5-87BE-67443E8EF086}">
      <p15:sldGuideLst xmlns:p15="http://schemas.microsoft.com/office/powerpoint/2012/main">
        <p15:guide id="1" orient="horz" pos="1553">
          <p15:clr>
            <a:srgbClr val="FBAE40"/>
          </p15:clr>
        </p15:guide>
        <p15:guide id="2" pos="3840">
          <p15:clr>
            <a:srgbClr val="FBAE40"/>
          </p15:clr>
        </p15:guide>
        <p15:guide id="3" orient="horz" pos="278">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lámina comparativa 2 con fot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5531200A-67B4-814A-95C6-ABA059808CF2}"/>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11317"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4" name="Rectángulo 3">
            <a:extLst>
              <a:ext uri="{FF2B5EF4-FFF2-40B4-BE49-F238E27FC236}">
                <a16:creationId xmlns:a16="http://schemas.microsoft.com/office/drawing/2014/main" xmlns="" id="{27BAF180-D9D1-0C4D-852E-CDC458C6A5AD}"/>
              </a:ext>
            </a:extLst>
          </p:cNvPr>
          <p:cNvSpPr/>
          <p:nvPr/>
        </p:nvSpPr>
        <p:spPr>
          <a:xfrm>
            <a:off x="12245702" y="4824955"/>
            <a:ext cx="3348844" cy="771498"/>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852" tIns="65852" rIns="65852" bIns="65852" numCol="1" spcCol="38100" rtlCol="0" anchor="ctr">
            <a:spAutoFit/>
          </a:bodyPr>
          <a:lstStyle/>
          <a:p>
            <a:pPr algn="ctr" defTabSz="1070094" hangingPunct="0"/>
            <a:endParaRPr lang="es-CL" sz="4149">
              <a:solidFill>
                <a:srgbClr val="FFFFFF"/>
              </a:solidFill>
              <a:latin typeface="Helvetica Neue Medium"/>
              <a:ea typeface="Helvetica Neue Medium"/>
              <a:cs typeface="Helvetica Neue Medium"/>
              <a:sym typeface="Helvetica Neue Medium"/>
            </a:endParaRPr>
          </a:p>
        </p:txBody>
      </p:sp>
      <p:pic>
        <p:nvPicPr>
          <p:cNvPr id="6" name="Imagen 5">
            <a:extLst>
              <a:ext uri="{FF2B5EF4-FFF2-40B4-BE49-F238E27FC236}">
                <a16:creationId xmlns:a16="http://schemas.microsoft.com/office/drawing/2014/main" xmlns="" id="{BB9DBB79-AEF3-7142-B494-A8145235B41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22" name="Línea">
            <a:extLst>
              <a:ext uri="{FF2B5EF4-FFF2-40B4-BE49-F238E27FC236}">
                <a16:creationId xmlns:a16="http://schemas.microsoft.com/office/drawing/2014/main" xmlns="" id="{92245F91-D7B9-BE4A-83D9-E37F606258CA}"/>
              </a:ext>
            </a:extLst>
          </p:cNvPr>
          <p:cNvSpPr/>
          <p:nvPr/>
        </p:nvSpPr>
        <p:spPr>
          <a:xfrm>
            <a:off x="11449760" y="2801702"/>
            <a:ext cx="372201" cy="4819500"/>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2700">
            <a:solidFill>
              <a:srgbClr val="5E5E5E"/>
            </a:solidFill>
            <a:prstDash val="sysDot"/>
            <a:miter lim="400000"/>
          </a:ln>
        </p:spPr>
        <p:txBody>
          <a:bodyPr lIns="32927" tIns="32927" rIns="32927" bIns="32927" anchor="ctr"/>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36" name="Marcador de texto 7">
            <a:extLst>
              <a:ext uri="{FF2B5EF4-FFF2-40B4-BE49-F238E27FC236}">
                <a16:creationId xmlns:a16="http://schemas.microsoft.com/office/drawing/2014/main" xmlns="" id="{F98F0A76-E459-7040-92DF-0796E35D78F1}"/>
              </a:ext>
            </a:extLst>
          </p:cNvPr>
          <p:cNvSpPr>
            <a:spLocks noGrp="1"/>
          </p:cNvSpPr>
          <p:nvPr>
            <p:ph type="body" sz="quarter" idx="14" hasCustomPrompt="1"/>
          </p:nvPr>
        </p:nvSpPr>
        <p:spPr>
          <a:xfrm>
            <a:off x="5455421" y="2801702"/>
            <a:ext cx="5359924" cy="1417500"/>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54" name="Marcador de texto 7">
            <a:extLst>
              <a:ext uri="{FF2B5EF4-FFF2-40B4-BE49-F238E27FC236}">
                <a16:creationId xmlns:a16="http://schemas.microsoft.com/office/drawing/2014/main" xmlns="" id="{42F8710E-2DE8-074A-B6FC-EE460A7B8A9B}"/>
              </a:ext>
            </a:extLst>
          </p:cNvPr>
          <p:cNvSpPr>
            <a:spLocks noGrp="1"/>
          </p:cNvSpPr>
          <p:nvPr>
            <p:ph type="body" sz="quarter" idx="13" hasCustomPrompt="1"/>
          </p:nvPr>
        </p:nvSpPr>
        <p:spPr>
          <a:xfrm>
            <a:off x="2946586" y="3225358"/>
            <a:ext cx="1501869" cy="541955"/>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34" name="Marcador de posición de imagen 2">
            <a:extLst>
              <a:ext uri="{FF2B5EF4-FFF2-40B4-BE49-F238E27FC236}">
                <a16:creationId xmlns:a16="http://schemas.microsoft.com/office/drawing/2014/main" xmlns="" id="{01391A15-7249-EE4F-A688-E4680B66FA1F}"/>
              </a:ext>
            </a:extLst>
          </p:cNvPr>
          <p:cNvSpPr>
            <a:spLocks noGrp="1"/>
          </p:cNvSpPr>
          <p:nvPr>
            <p:ph type="pic" sz="quarter" idx="21" hasCustomPrompt="1"/>
          </p:nvPr>
        </p:nvSpPr>
        <p:spPr>
          <a:xfrm>
            <a:off x="607182" y="2801702"/>
            <a:ext cx="1960598" cy="1417500"/>
          </a:xfrm>
          <a:prstGeom prst="rect">
            <a:avLst/>
          </a:prstGeom>
        </p:spPr>
        <p:txBody>
          <a:bodyPr/>
          <a:lstStyle>
            <a:lvl1pPr marL="0" indent="0">
              <a:buNone/>
              <a:defRPr sz="1297" b="0" i="0">
                <a:latin typeface="Arial" panose="020B0604020202020204" pitchFamily="34" charset="0"/>
              </a:defRPr>
            </a:lvl1pPr>
          </a:lstStyle>
          <a:p>
            <a:r>
              <a:rPr lang="es-CL" dirty="0"/>
              <a:t>Doble click para incorporar una imagen</a:t>
            </a:r>
          </a:p>
        </p:txBody>
      </p:sp>
      <p:cxnSp>
        <p:nvCxnSpPr>
          <p:cNvPr id="35" name="Conector recto 34">
            <a:extLst>
              <a:ext uri="{FF2B5EF4-FFF2-40B4-BE49-F238E27FC236}">
                <a16:creationId xmlns:a16="http://schemas.microsoft.com/office/drawing/2014/main" xmlns="" id="{CBC1B177-B50F-5E40-B15D-0EC5384F83A6}"/>
              </a:ext>
            </a:extLst>
          </p:cNvPr>
          <p:cNvCxnSpPr>
            <a:cxnSpLocks/>
          </p:cNvCxnSpPr>
          <p:nvPr/>
        </p:nvCxnSpPr>
        <p:spPr>
          <a:xfrm>
            <a:off x="4905026" y="2801702"/>
            <a:ext cx="0" cy="14175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7" name="Marcador de texto 7">
            <a:extLst>
              <a:ext uri="{FF2B5EF4-FFF2-40B4-BE49-F238E27FC236}">
                <a16:creationId xmlns:a16="http://schemas.microsoft.com/office/drawing/2014/main" xmlns="" id="{5D64D211-8E0C-C94B-88E7-E1C991DD3E4A}"/>
              </a:ext>
            </a:extLst>
          </p:cNvPr>
          <p:cNvSpPr>
            <a:spLocks noGrp="1"/>
          </p:cNvSpPr>
          <p:nvPr>
            <p:ph type="body" sz="quarter" idx="22" hasCustomPrompt="1"/>
          </p:nvPr>
        </p:nvSpPr>
        <p:spPr>
          <a:xfrm>
            <a:off x="5455421" y="4500614"/>
            <a:ext cx="5359924" cy="1417500"/>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38" name="Marcador de texto 7">
            <a:extLst>
              <a:ext uri="{FF2B5EF4-FFF2-40B4-BE49-F238E27FC236}">
                <a16:creationId xmlns:a16="http://schemas.microsoft.com/office/drawing/2014/main" xmlns="" id="{17CE4B52-3BE3-2F44-84B5-ACEA2C0D7227}"/>
              </a:ext>
            </a:extLst>
          </p:cNvPr>
          <p:cNvSpPr>
            <a:spLocks noGrp="1"/>
          </p:cNvSpPr>
          <p:nvPr>
            <p:ph type="body" sz="quarter" idx="23" hasCustomPrompt="1"/>
          </p:nvPr>
        </p:nvSpPr>
        <p:spPr>
          <a:xfrm>
            <a:off x="2946586" y="4861928"/>
            <a:ext cx="1501869" cy="541955"/>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39" name="Marcador de posición de imagen 2">
            <a:extLst>
              <a:ext uri="{FF2B5EF4-FFF2-40B4-BE49-F238E27FC236}">
                <a16:creationId xmlns:a16="http://schemas.microsoft.com/office/drawing/2014/main" xmlns="" id="{0ECC6833-D921-F248-810B-5EEE0E76CE14}"/>
              </a:ext>
            </a:extLst>
          </p:cNvPr>
          <p:cNvSpPr>
            <a:spLocks noGrp="1"/>
          </p:cNvSpPr>
          <p:nvPr>
            <p:ph type="pic" sz="quarter" idx="24" hasCustomPrompt="1"/>
          </p:nvPr>
        </p:nvSpPr>
        <p:spPr>
          <a:xfrm>
            <a:off x="607182" y="4500614"/>
            <a:ext cx="1960598" cy="1417500"/>
          </a:xfrm>
          <a:prstGeom prst="rect">
            <a:avLst/>
          </a:prstGeom>
        </p:spPr>
        <p:txBody>
          <a:bodyPr/>
          <a:lstStyle>
            <a:lvl1pPr marL="0" indent="0">
              <a:buNone/>
              <a:defRPr sz="1297" b="0" i="0">
                <a:latin typeface="Arial" panose="020B0604020202020204" pitchFamily="34" charset="0"/>
              </a:defRPr>
            </a:lvl1pPr>
          </a:lstStyle>
          <a:p>
            <a:r>
              <a:rPr lang="es-CL" dirty="0"/>
              <a:t>Doble click para incorporar una imagen</a:t>
            </a:r>
          </a:p>
        </p:txBody>
      </p:sp>
      <p:cxnSp>
        <p:nvCxnSpPr>
          <p:cNvPr id="40" name="Conector recto 39">
            <a:extLst>
              <a:ext uri="{FF2B5EF4-FFF2-40B4-BE49-F238E27FC236}">
                <a16:creationId xmlns:a16="http://schemas.microsoft.com/office/drawing/2014/main" xmlns="" id="{94711B5F-DD02-6648-B446-B9333D6370A5}"/>
              </a:ext>
            </a:extLst>
          </p:cNvPr>
          <p:cNvCxnSpPr>
            <a:cxnSpLocks/>
          </p:cNvCxnSpPr>
          <p:nvPr/>
        </p:nvCxnSpPr>
        <p:spPr>
          <a:xfrm>
            <a:off x="4905026" y="4500614"/>
            <a:ext cx="0" cy="14175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1" name="Marcador de texto 7">
            <a:extLst>
              <a:ext uri="{FF2B5EF4-FFF2-40B4-BE49-F238E27FC236}">
                <a16:creationId xmlns:a16="http://schemas.microsoft.com/office/drawing/2014/main" xmlns="" id="{4B4FD424-FA2D-1B46-A149-58EF233359FF}"/>
              </a:ext>
            </a:extLst>
          </p:cNvPr>
          <p:cNvSpPr>
            <a:spLocks noGrp="1"/>
          </p:cNvSpPr>
          <p:nvPr>
            <p:ph type="body" sz="quarter" idx="25" hasCustomPrompt="1"/>
          </p:nvPr>
        </p:nvSpPr>
        <p:spPr>
          <a:xfrm>
            <a:off x="5455421" y="6198132"/>
            <a:ext cx="5359924" cy="1417500"/>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42" name="Marcador de texto 7">
            <a:extLst>
              <a:ext uri="{FF2B5EF4-FFF2-40B4-BE49-F238E27FC236}">
                <a16:creationId xmlns:a16="http://schemas.microsoft.com/office/drawing/2014/main" xmlns="" id="{2A601485-B11B-7B46-9F04-9A94F7E41A46}"/>
              </a:ext>
            </a:extLst>
          </p:cNvPr>
          <p:cNvSpPr>
            <a:spLocks noGrp="1"/>
          </p:cNvSpPr>
          <p:nvPr>
            <p:ph type="body" sz="quarter" idx="26" hasCustomPrompt="1"/>
          </p:nvPr>
        </p:nvSpPr>
        <p:spPr>
          <a:xfrm>
            <a:off x="2946586" y="6621788"/>
            <a:ext cx="1501869" cy="541955"/>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43" name="Marcador de posición de imagen 2">
            <a:extLst>
              <a:ext uri="{FF2B5EF4-FFF2-40B4-BE49-F238E27FC236}">
                <a16:creationId xmlns:a16="http://schemas.microsoft.com/office/drawing/2014/main" xmlns="" id="{AEA8A8BB-FA5E-874E-AAB9-F559CF5B08D6}"/>
              </a:ext>
            </a:extLst>
          </p:cNvPr>
          <p:cNvSpPr>
            <a:spLocks noGrp="1"/>
          </p:cNvSpPr>
          <p:nvPr>
            <p:ph type="pic" sz="quarter" idx="27" hasCustomPrompt="1"/>
          </p:nvPr>
        </p:nvSpPr>
        <p:spPr>
          <a:xfrm>
            <a:off x="607182" y="6198132"/>
            <a:ext cx="1960598" cy="1417500"/>
          </a:xfrm>
          <a:prstGeom prst="rect">
            <a:avLst/>
          </a:prstGeom>
        </p:spPr>
        <p:txBody>
          <a:bodyPr/>
          <a:lstStyle>
            <a:lvl1pPr marL="0" indent="0">
              <a:buNone/>
              <a:defRPr sz="1297" b="0" i="0">
                <a:latin typeface="Arial" panose="020B0604020202020204" pitchFamily="34" charset="0"/>
              </a:defRPr>
            </a:lvl1pPr>
          </a:lstStyle>
          <a:p>
            <a:r>
              <a:rPr lang="es-CL" dirty="0"/>
              <a:t>Doble click para incorporar una imagen</a:t>
            </a:r>
          </a:p>
        </p:txBody>
      </p:sp>
      <p:cxnSp>
        <p:nvCxnSpPr>
          <p:cNvPr id="44" name="Conector recto 43">
            <a:extLst>
              <a:ext uri="{FF2B5EF4-FFF2-40B4-BE49-F238E27FC236}">
                <a16:creationId xmlns:a16="http://schemas.microsoft.com/office/drawing/2014/main" xmlns="" id="{E4F06A31-FE62-FA43-82D4-43BC324386A3}"/>
              </a:ext>
            </a:extLst>
          </p:cNvPr>
          <p:cNvCxnSpPr>
            <a:cxnSpLocks/>
          </p:cNvCxnSpPr>
          <p:nvPr/>
        </p:nvCxnSpPr>
        <p:spPr>
          <a:xfrm>
            <a:off x="4905026" y="6198132"/>
            <a:ext cx="0" cy="14175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5" name="Marcador de texto 7">
            <a:extLst>
              <a:ext uri="{FF2B5EF4-FFF2-40B4-BE49-F238E27FC236}">
                <a16:creationId xmlns:a16="http://schemas.microsoft.com/office/drawing/2014/main" xmlns="" id="{86474526-7DF2-164F-B33E-6141E63E9BE8}"/>
              </a:ext>
            </a:extLst>
          </p:cNvPr>
          <p:cNvSpPr>
            <a:spLocks noGrp="1"/>
          </p:cNvSpPr>
          <p:nvPr>
            <p:ph type="body" sz="quarter" idx="19" hasCustomPrompt="1"/>
          </p:nvPr>
        </p:nvSpPr>
        <p:spPr>
          <a:xfrm>
            <a:off x="12356536" y="2895064"/>
            <a:ext cx="3166389" cy="541955"/>
          </a:xfrm>
          <a:prstGeom prst="rect">
            <a:avLst/>
          </a:prstGeom>
        </p:spPr>
        <p:txBody>
          <a:bodyPr/>
          <a:lstStyle>
            <a:lvl1pPr marL="0" indent="0">
              <a:buNone/>
              <a:defRPr sz="1555"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46" name="Marcador de texto 7">
            <a:extLst>
              <a:ext uri="{FF2B5EF4-FFF2-40B4-BE49-F238E27FC236}">
                <a16:creationId xmlns:a16="http://schemas.microsoft.com/office/drawing/2014/main" xmlns="" id="{D3D12324-E365-794E-9EF0-965E7CA66F2D}"/>
              </a:ext>
            </a:extLst>
          </p:cNvPr>
          <p:cNvSpPr>
            <a:spLocks noGrp="1"/>
          </p:cNvSpPr>
          <p:nvPr>
            <p:ph type="body" sz="quarter" idx="20" hasCustomPrompt="1"/>
          </p:nvPr>
        </p:nvSpPr>
        <p:spPr>
          <a:xfrm>
            <a:off x="12356536" y="3587456"/>
            <a:ext cx="3166389" cy="3893999"/>
          </a:xfrm>
          <a:prstGeom prst="rect">
            <a:avLst/>
          </a:prstGeom>
        </p:spPr>
        <p:txBody>
          <a:bodyPr/>
          <a:lstStyle>
            <a:lvl1pPr marL="0" indent="0">
              <a:buNone/>
              <a:defRPr sz="1427"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1</a:t>
            </a:r>
            <a:endParaRPr lang="es-CL" dirty="0"/>
          </a:p>
        </p:txBody>
      </p:sp>
      <p:sp>
        <p:nvSpPr>
          <p:cNvPr id="29" name="Marcador de texto 7">
            <a:extLst>
              <a:ext uri="{FF2B5EF4-FFF2-40B4-BE49-F238E27FC236}">
                <a16:creationId xmlns:a16="http://schemas.microsoft.com/office/drawing/2014/main" xmlns="" id="{C8D3ADC8-2646-824F-9B26-D0300FFE6FE8}"/>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30" name="Marcador de texto 7">
            <a:extLst>
              <a:ext uri="{FF2B5EF4-FFF2-40B4-BE49-F238E27FC236}">
                <a16:creationId xmlns:a16="http://schemas.microsoft.com/office/drawing/2014/main" xmlns="" id="{AAFEA284-D854-764B-8679-FF97559BAFB2}"/>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31" name="Conector recto 30">
            <a:extLst>
              <a:ext uri="{FF2B5EF4-FFF2-40B4-BE49-F238E27FC236}">
                <a16:creationId xmlns:a16="http://schemas.microsoft.com/office/drawing/2014/main" xmlns="" id="{54892AB7-8969-3149-A8C8-A55B4DF9A946}"/>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32" name="Marcador de texto 4">
            <a:extLst>
              <a:ext uri="{FF2B5EF4-FFF2-40B4-BE49-F238E27FC236}">
                <a16:creationId xmlns:a16="http://schemas.microsoft.com/office/drawing/2014/main" xmlns="" id="{3A8DF9D6-5EAA-1441-80FE-873F0F2A7A11}"/>
              </a:ext>
            </a:extLst>
          </p:cNvPr>
          <p:cNvSpPr>
            <a:spLocks noGrp="1"/>
          </p:cNvSpPr>
          <p:nvPr>
            <p:ph type="body" sz="quarter" idx="48" hasCustomPrompt="1"/>
          </p:nvPr>
        </p:nvSpPr>
        <p:spPr>
          <a:xfrm>
            <a:off x="580153" y="8480226"/>
            <a:ext cx="11131590" cy="488022"/>
          </a:xfrm>
          <a:prstGeom prst="rect">
            <a:avLst/>
          </a:prstGeom>
        </p:spPr>
        <p:txBody>
          <a:bodyPr/>
          <a:lstStyle>
            <a:lvl1pPr marL="296335" indent="-296335">
              <a:lnSpc>
                <a:spcPct val="100000"/>
              </a:lnSpc>
              <a:spcBef>
                <a:spcPts val="130"/>
              </a:spcBef>
              <a:buClr>
                <a:schemeClr val="accent1"/>
              </a:buClr>
              <a:buSzPct val="90000"/>
              <a:buFont typeface="+mj-lt"/>
              <a:buAutoNum type="arabicPeriod"/>
              <a:tabLst/>
              <a:defRPr sz="1167" b="0" i="0">
                <a:solidFill>
                  <a:schemeClr val="tx2"/>
                </a:solidFill>
                <a:latin typeface="Arial" panose="020B0604020202020204" pitchFamily="34" charset="0"/>
              </a:defRPr>
            </a:lvl1pPr>
          </a:lstStyle>
          <a:p>
            <a:pPr lvl="0"/>
            <a:r>
              <a:rPr lang="es-ES" dirty="0"/>
              <a:t>Texto primera fuente Arial 9</a:t>
            </a:r>
          </a:p>
          <a:p>
            <a:pPr lvl="0"/>
            <a:r>
              <a:rPr lang="es-CL" dirty="0"/>
              <a:t>Texto sfuente Arial 9</a:t>
            </a:r>
          </a:p>
        </p:txBody>
      </p:sp>
      <p:sp>
        <p:nvSpPr>
          <p:cNvPr id="25" name="Marcador de número de diapositiva 1">
            <a:extLst>
              <a:ext uri="{FF2B5EF4-FFF2-40B4-BE49-F238E27FC236}">
                <a16:creationId xmlns:a16="http://schemas.microsoft.com/office/drawing/2014/main" xmlns="" id="{8C8420A3-7D72-C143-952C-9A42F71F4C2F}"/>
              </a:ext>
            </a:extLst>
          </p:cNvPr>
          <p:cNvSpPr>
            <a:spLocks noGrp="1"/>
          </p:cNvSpPr>
          <p:nvPr>
            <p:ph type="sldNum" sz="quarter" idx="49"/>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4265372898"/>
      </p:ext>
    </p:extLst>
  </p:cSld>
  <p:clrMapOvr>
    <a:masterClrMapping/>
  </p:clrMapOvr>
  <p:extLst>
    <p:ext uri="{DCECCB84-F9BA-43D5-87BE-67443E8EF086}">
      <p15:sldGuideLst xmlns:p15="http://schemas.microsoft.com/office/powerpoint/2012/main">
        <p15:guide id="1" orient="horz" pos="1344">
          <p15:clr>
            <a:srgbClr val="FBAE40"/>
          </p15:clr>
        </p15:guide>
        <p15:guide id="2" pos="28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lámina comparativa 1">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F257A930-1B12-7B4A-B402-734BCB48BA01}"/>
              </a:ext>
            </a:extLst>
          </p:cNvPr>
          <p:cNvGraphicFramePr>
            <a:graphicFrameLocks noChangeAspect="1"/>
          </p:cNvGraphicFramePr>
          <p:nvPr>
            <p:custDataLst>
              <p:tags r:id="rId2"/>
            </p:custDataLst>
          </p:nvPr>
        </p:nvGraphicFramePr>
        <p:xfrm>
          <a:off x="2112" y="2086"/>
          <a:ext cx="2109" cy="2083"/>
        </p:xfrm>
        <a:graphic>
          <a:graphicData uri="http://schemas.openxmlformats.org/presentationml/2006/ole">
            <mc:AlternateContent xmlns:mc="http://schemas.openxmlformats.org/markup-compatibility/2006">
              <mc:Choice xmlns:v="urn:schemas-microsoft-com:vml" Requires="v">
                <p:oleObj spid="_x0000_s12341"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2112" y="2086"/>
                        <a:ext cx="2109" cy="2083"/>
                      </a:xfrm>
                      <a:prstGeom prst="rect">
                        <a:avLst/>
                      </a:prstGeom>
                    </p:spPr>
                  </p:pic>
                </p:oleObj>
              </mc:Fallback>
            </mc:AlternateContent>
          </a:graphicData>
        </a:graphic>
      </p:graphicFrame>
      <p:sp>
        <p:nvSpPr>
          <p:cNvPr id="7" name="Rectángulo 6">
            <a:extLst>
              <a:ext uri="{FF2B5EF4-FFF2-40B4-BE49-F238E27FC236}">
                <a16:creationId xmlns:a16="http://schemas.microsoft.com/office/drawing/2014/main" xmlns="" id="{43C07928-B23C-C049-8D57-638AEAE25D0A}"/>
              </a:ext>
            </a:extLst>
          </p:cNvPr>
          <p:cNvSpPr/>
          <p:nvPr/>
        </p:nvSpPr>
        <p:spPr>
          <a:xfrm>
            <a:off x="12246206" y="4913554"/>
            <a:ext cx="3348844" cy="771498"/>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852" tIns="65852" rIns="65852" bIns="65852" numCol="1" spcCol="38100" rtlCol="0" anchor="ctr">
            <a:spAutoFit/>
          </a:bodyPr>
          <a:lstStyle/>
          <a:p>
            <a:pPr algn="ctr" defTabSz="1070094" hangingPunct="0"/>
            <a:endParaRPr lang="es-CL" sz="4149">
              <a:solidFill>
                <a:srgbClr val="FFFFFF"/>
              </a:solidFill>
              <a:latin typeface="Helvetica Neue Medium"/>
              <a:ea typeface="Helvetica Neue Medium"/>
              <a:cs typeface="Helvetica Neue Medium"/>
              <a:sym typeface="Helvetica Neue Medium"/>
            </a:endParaRPr>
          </a:p>
        </p:txBody>
      </p:sp>
      <p:pic>
        <p:nvPicPr>
          <p:cNvPr id="6" name="Imagen 5">
            <a:extLst>
              <a:ext uri="{FF2B5EF4-FFF2-40B4-BE49-F238E27FC236}">
                <a16:creationId xmlns:a16="http://schemas.microsoft.com/office/drawing/2014/main" xmlns="" id="{BB9DBB79-AEF3-7142-B494-A8145235B41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11" name="Marcador de texto 7">
            <a:extLst>
              <a:ext uri="{FF2B5EF4-FFF2-40B4-BE49-F238E27FC236}">
                <a16:creationId xmlns:a16="http://schemas.microsoft.com/office/drawing/2014/main" xmlns="" id="{7924116B-8941-2A40-A860-3DF871878D9F}"/>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12" name="Marcador de texto 7">
            <a:extLst>
              <a:ext uri="{FF2B5EF4-FFF2-40B4-BE49-F238E27FC236}">
                <a16:creationId xmlns:a16="http://schemas.microsoft.com/office/drawing/2014/main" xmlns="" id="{D20FBF2A-FC74-574B-9A6F-BCDA3D6935B8}"/>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sp>
        <p:nvSpPr>
          <p:cNvPr id="20" name="Conector recto 74">
            <a:extLst>
              <a:ext uri="{FF2B5EF4-FFF2-40B4-BE49-F238E27FC236}">
                <a16:creationId xmlns:a16="http://schemas.microsoft.com/office/drawing/2014/main" xmlns="" id="{D53F8420-F737-A142-8C02-3370D732A139}"/>
              </a:ext>
            </a:extLst>
          </p:cNvPr>
          <p:cNvSpPr/>
          <p:nvPr/>
        </p:nvSpPr>
        <p:spPr>
          <a:xfrm flipH="1">
            <a:off x="3856487" y="3080252"/>
            <a:ext cx="1" cy="4463424"/>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21" name="Conector recto 74">
            <a:extLst>
              <a:ext uri="{FF2B5EF4-FFF2-40B4-BE49-F238E27FC236}">
                <a16:creationId xmlns:a16="http://schemas.microsoft.com/office/drawing/2014/main" xmlns="" id="{D6D37DC4-4EA6-9544-8D43-FDA98A0A4224}"/>
              </a:ext>
            </a:extLst>
          </p:cNvPr>
          <p:cNvSpPr/>
          <p:nvPr/>
        </p:nvSpPr>
        <p:spPr>
          <a:xfrm flipH="1">
            <a:off x="7484877" y="3080252"/>
            <a:ext cx="1" cy="4463424"/>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22" name="Línea">
            <a:extLst>
              <a:ext uri="{FF2B5EF4-FFF2-40B4-BE49-F238E27FC236}">
                <a16:creationId xmlns:a16="http://schemas.microsoft.com/office/drawing/2014/main" xmlns="" id="{92245F91-D7B9-BE4A-83D9-E37F606258CA}"/>
              </a:ext>
            </a:extLst>
          </p:cNvPr>
          <p:cNvSpPr/>
          <p:nvPr/>
        </p:nvSpPr>
        <p:spPr>
          <a:xfrm>
            <a:off x="11366240" y="3120273"/>
            <a:ext cx="372237" cy="4433389"/>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2700">
            <a:solidFill>
              <a:srgbClr val="5E5E5E"/>
            </a:solidFill>
            <a:prstDash val="sysDot"/>
            <a:miter lim="400000"/>
          </a:ln>
        </p:spPr>
        <p:txBody>
          <a:bodyPr lIns="32927" tIns="32927" rIns="32927" bIns="32927" anchor="ctr"/>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34" name="Marcador de texto 7">
            <a:extLst>
              <a:ext uri="{FF2B5EF4-FFF2-40B4-BE49-F238E27FC236}">
                <a16:creationId xmlns:a16="http://schemas.microsoft.com/office/drawing/2014/main" xmlns="" id="{7B419ADE-2D25-974C-863D-0EC0DFC0A5CE}"/>
              </a:ext>
            </a:extLst>
          </p:cNvPr>
          <p:cNvSpPr>
            <a:spLocks noGrp="1"/>
          </p:cNvSpPr>
          <p:nvPr>
            <p:ph type="body" sz="quarter" idx="13" hasCustomPrompt="1"/>
          </p:nvPr>
        </p:nvSpPr>
        <p:spPr>
          <a:xfrm>
            <a:off x="599629" y="4091501"/>
            <a:ext cx="2648505"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36" name="Marcador de texto 7">
            <a:extLst>
              <a:ext uri="{FF2B5EF4-FFF2-40B4-BE49-F238E27FC236}">
                <a16:creationId xmlns:a16="http://schemas.microsoft.com/office/drawing/2014/main" xmlns="" id="{F98F0A76-E459-7040-92DF-0796E35D78F1}"/>
              </a:ext>
            </a:extLst>
          </p:cNvPr>
          <p:cNvSpPr>
            <a:spLocks noGrp="1"/>
          </p:cNvSpPr>
          <p:nvPr>
            <p:ph type="body" sz="quarter" idx="14" hasCustomPrompt="1"/>
          </p:nvPr>
        </p:nvSpPr>
        <p:spPr>
          <a:xfrm>
            <a:off x="599629" y="4811621"/>
            <a:ext cx="2648505" cy="2732055"/>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40" name="Marcador de texto 7">
            <a:extLst>
              <a:ext uri="{FF2B5EF4-FFF2-40B4-BE49-F238E27FC236}">
                <a16:creationId xmlns:a16="http://schemas.microsoft.com/office/drawing/2014/main" xmlns="" id="{AA696213-3CE3-8141-BE88-BE027163D6E8}"/>
              </a:ext>
            </a:extLst>
          </p:cNvPr>
          <p:cNvSpPr>
            <a:spLocks noGrp="1"/>
          </p:cNvSpPr>
          <p:nvPr>
            <p:ph type="body" sz="quarter" idx="15" hasCustomPrompt="1"/>
          </p:nvPr>
        </p:nvSpPr>
        <p:spPr>
          <a:xfrm>
            <a:off x="4230315" y="4091501"/>
            <a:ext cx="2648505"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41" name="Marcador de texto 7">
            <a:extLst>
              <a:ext uri="{FF2B5EF4-FFF2-40B4-BE49-F238E27FC236}">
                <a16:creationId xmlns:a16="http://schemas.microsoft.com/office/drawing/2014/main" xmlns="" id="{0DFE9962-D69F-9F46-8D1F-D4F2B672D851}"/>
              </a:ext>
            </a:extLst>
          </p:cNvPr>
          <p:cNvSpPr>
            <a:spLocks noGrp="1"/>
          </p:cNvSpPr>
          <p:nvPr>
            <p:ph type="body" sz="quarter" idx="16" hasCustomPrompt="1"/>
          </p:nvPr>
        </p:nvSpPr>
        <p:spPr>
          <a:xfrm>
            <a:off x="4230315" y="4796585"/>
            <a:ext cx="2648505" cy="2747091"/>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45" name="Marcador de texto 7">
            <a:extLst>
              <a:ext uri="{FF2B5EF4-FFF2-40B4-BE49-F238E27FC236}">
                <a16:creationId xmlns:a16="http://schemas.microsoft.com/office/drawing/2014/main" xmlns="" id="{C95A676F-0AE0-C944-BE25-BD527CB9FE85}"/>
              </a:ext>
            </a:extLst>
          </p:cNvPr>
          <p:cNvSpPr>
            <a:spLocks noGrp="1"/>
          </p:cNvSpPr>
          <p:nvPr>
            <p:ph type="body" sz="quarter" idx="17" hasCustomPrompt="1"/>
          </p:nvPr>
        </p:nvSpPr>
        <p:spPr>
          <a:xfrm>
            <a:off x="7890555" y="4091501"/>
            <a:ext cx="2648505"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46" name="Marcador de texto 7">
            <a:extLst>
              <a:ext uri="{FF2B5EF4-FFF2-40B4-BE49-F238E27FC236}">
                <a16:creationId xmlns:a16="http://schemas.microsoft.com/office/drawing/2014/main" xmlns="" id="{40F028AC-5B4A-9844-94D7-770F95E501E4}"/>
              </a:ext>
            </a:extLst>
          </p:cNvPr>
          <p:cNvSpPr>
            <a:spLocks noGrp="1"/>
          </p:cNvSpPr>
          <p:nvPr>
            <p:ph type="body" sz="quarter" idx="18" hasCustomPrompt="1"/>
          </p:nvPr>
        </p:nvSpPr>
        <p:spPr>
          <a:xfrm>
            <a:off x="7890555" y="4811621"/>
            <a:ext cx="2648505" cy="2732055"/>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50" name="Marcador de texto 7">
            <a:extLst>
              <a:ext uri="{FF2B5EF4-FFF2-40B4-BE49-F238E27FC236}">
                <a16:creationId xmlns:a16="http://schemas.microsoft.com/office/drawing/2014/main" xmlns="" id="{CBFD6792-9E13-7E48-9CEA-7FCD45D83A33}"/>
              </a:ext>
            </a:extLst>
          </p:cNvPr>
          <p:cNvSpPr>
            <a:spLocks noGrp="1"/>
          </p:cNvSpPr>
          <p:nvPr>
            <p:ph type="body" sz="quarter" idx="19" hasCustomPrompt="1"/>
          </p:nvPr>
        </p:nvSpPr>
        <p:spPr>
          <a:xfrm>
            <a:off x="12336798" y="3272209"/>
            <a:ext cx="3169746"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51" name="Marcador de texto 7">
            <a:extLst>
              <a:ext uri="{FF2B5EF4-FFF2-40B4-BE49-F238E27FC236}">
                <a16:creationId xmlns:a16="http://schemas.microsoft.com/office/drawing/2014/main" xmlns="" id="{108DB484-1780-D345-A1D5-E256BC38977F}"/>
              </a:ext>
            </a:extLst>
          </p:cNvPr>
          <p:cNvSpPr>
            <a:spLocks noGrp="1"/>
          </p:cNvSpPr>
          <p:nvPr>
            <p:ph type="body" sz="quarter" idx="20" hasCustomPrompt="1"/>
          </p:nvPr>
        </p:nvSpPr>
        <p:spPr>
          <a:xfrm>
            <a:off x="12336798" y="3964604"/>
            <a:ext cx="3169746" cy="3438569"/>
          </a:xfrm>
          <a:prstGeom prst="rect">
            <a:avLst/>
          </a:prstGeom>
        </p:spPr>
        <p:txBody>
          <a:bodyPr/>
          <a:lstStyle>
            <a:lvl1pPr marL="0" indent="0">
              <a:buNone/>
              <a:defRPr sz="1427" b="0"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4" name="Marcador de posición de imagen 3">
            <a:extLst>
              <a:ext uri="{FF2B5EF4-FFF2-40B4-BE49-F238E27FC236}">
                <a16:creationId xmlns:a16="http://schemas.microsoft.com/office/drawing/2014/main" xmlns="" id="{DC8111CA-F1A2-044A-A61E-5D535C8840BE}"/>
              </a:ext>
            </a:extLst>
          </p:cNvPr>
          <p:cNvSpPr>
            <a:spLocks noGrp="1"/>
          </p:cNvSpPr>
          <p:nvPr>
            <p:ph type="pic" sz="quarter" idx="49" hasCustomPrompt="1"/>
          </p:nvPr>
        </p:nvSpPr>
        <p:spPr>
          <a:xfrm>
            <a:off x="4230315" y="3032827"/>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0" name="Marcador de posición de imagen 3">
            <a:extLst>
              <a:ext uri="{FF2B5EF4-FFF2-40B4-BE49-F238E27FC236}">
                <a16:creationId xmlns:a16="http://schemas.microsoft.com/office/drawing/2014/main" xmlns="" id="{6F2BA060-6F09-A74D-BBF5-6F8F93A5EEF2}"/>
              </a:ext>
            </a:extLst>
          </p:cNvPr>
          <p:cNvSpPr>
            <a:spLocks noGrp="1"/>
          </p:cNvSpPr>
          <p:nvPr>
            <p:ph type="pic" sz="quarter" idx="50" hasCustomPrompt="1"/>
          </p:nvPr>
        </p:nvSpPr>
        <p:spPr>
          <a:xfrm>
            <a:off x="7890556" y="3032827"/>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1" name="Marcador de posición de imagen 3">
            <a:extLst>
              <a:ext uri="{FF2B5EF4-FFF2-40B4-BE49-F238E27FC236}">
                <a16:creationId xmlns:a16="http://schemas.microsoft.com/office/drawing/2014/main" xmlns="" id="{F49B1752-2690-5047-BF37-65DC322FED38}"/>
              </a:ext>
            </a:extLst>
          </p:cNvPr>
          <p:cNvSpPr>
            <a:spLocks noGrp="1"/>
          </p:cNvSpPr>
          <p:nvPr>
            <p:ph type="pic" sz="quarter" idx="51" hasCustomPrompt="1"/>
          </p:nvPr>
        </p:nvSpPr>
        <p:spPr>
          <a:xfrm>
            <a:off x="603549" y="3032827"/>
            <a:ext cx="1026227" cy="868484"/>
          </a:xfrm>
          <a:prstGeom prst="rect">
            <a:avLst/>
          </a:prstGeom>
        </p:spPr>
        <p:txBody>
          <a:bodyPr anchor="ctr"/>
          <a:lstStyle>
            <a:lvl1pPr marL="400050" marR="0" indent="-400050" algn="l" defTabSz="1599158" rtl="0" eaLnBrk="1" latinLnBrk="0" hangingPunct="1">
              <a:lnSpc>
                <a:spcPct val="90000"/>
              </a:lnSpc>
              <a:spcBef>
                <a:spcPts val="2953"/>
              </a:spcBef>
              <a:spcAft>
                <a:spcPts val="0"/>
              </a:spcAft>
              <a:buClrTx/>
              <a:buSzPct val="123000"/>
              <a:buFontTx/>
              <a:buChar char="•"/>
              <a:tabLst/>
              <a:defRPr sz="1167" b="0" i="0">
                <a:latin typeface="Arial" panose="020B0604020202020204" pitchFamily="34" charset="0"/>
              </a:defRPr>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cxnSp>
        <p:nvCxnSpPr>
          <p:cNvPr id="32" name="Conector recto 31">
            <a:extLst>
              <a:ext uri="{FF2B5EF4-FFF2-40B4-BE49-F238E27FC236}">
                <a16:creationId xmlns:a16="http://schemas.microsoft.com/office/drawing/2014/main" xmlns="" id="{B2C42A6C-EAEB-EA4C-ADC8-0D1BC723F663}"/>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35" name="Marcador de texto 4">
            <a:extLst>
              <a:ext uri="{FF2B5EF4-FFF2-40B4-BE49-F238E27FC236}">
                <a16:creationId xmlns:a16="http://schemas.microsoft.com/office/drawing/2014/main" xmlns="" id="{535EAA60-8045-0240-8A28-73BA9C14F5AC}"/>
              </a:ext>
            </a:extLst>
          </p:cNvPr>
          <p:cNvSpPr>
            <a:spLocks noGrp="1"/>
          </p:cNvSpPr>
          <p:nvPr>
            <p:ph type="body" sz="quarter" idx="48" hasCustomPrompt="1"/>
          </p:nvPr>
        </p:nvSpPr>
        <p:spPr>
          <a:xfrm>
            <a:off x="607578" y="8483676"/>
            <a:ext cx="11131590" cy="504025"/>
          </a:xfrm>
          <a:prstGeom prst="rect">
            <a:avLst/>
          </a:prstGeom>
        </p:spPr>
        <p:txBody>
          <a:bodyPr/>
          <a:lstStyle>
            <a:lvl1pPr marL="296335" indent="-296335">
              <a:lnSpc>
                <a:spcPct val="100000"/>
              </a:lnSpc>
              <a:spcBef>
                <a:spcPts val="130"/>
              </a:spcBef>
              <a:buClr>
                <a:schemeClr val="accent1"/>
              </a:buClr>
              <a:buSzPct val="90000"/>
              <a:buFont typeface="+mj-lt"/>
              <a:buAutoNum type="arabicPeriod"/>
              <a:tabLst/>
              <a:defRPr sz="1167" b="0" i="0">
                <a:solidFill>
                  <a:schemeClr val="tx2"/>
                </a:solidFill>
                <a:latin typeface="Arial" panose="020B0604020202020204" pitchFamily="34" charset="0"/>
              </a:defRPr>
            </a:lvl1pPr>
          </a:lstStyle>
          <a:p>
            <a:pPr lvl="0"/>
            <a:r>
              <a:rPr lang="es-ES" dirty="0"/>
              <a:t>Texto primera fuente Arial 9</a:t>
            </a:r>
          </a:p>
          <a:p>
            <a:pPr lvl="0"/>
            <a:r>
              <a:rPr lang="es-CL" dirty="0"/>
              <a:t>Texto sfuente Arial 9</a:t>
            </a:r>
          </a:p>
        </p:txBody>
      </p:sp>
      <p:sp>
        <p:nvSpPr>
          <p:cNvPr id="24" name="Marcador de número de diapositiva 1">
            <a:extLst>
              <a:ext uri="{FF2B5EF4-FFF2-40B4-BE49-F238E27FC236}">
                <a16:creationId xmlns:a16="http://schemas.microsoft.com/office/drawing/2014/main" xmlns="" id="{56ABEE02-19A8-CB4B-AAEE-AD0D006CF50C}"/>
              </a:ext>
            </a:extLst>
          </p:cNvPr>
          <p:cNvSpPr>
            <a:spLocks noGrp="1"/>
          </p:cNvSpPr>
          <p:nvPr>
            <p:ph type="sldNum" sz="quarter" idx="52"/>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1804329139"/>
      </p:ext>
    </p:extLst>
  </p:cSld>
  <p:clrMapOvr>
    <a:masterClrMapping/>
  </p:clrMapOvr>
  <p:extLst>
    <p:ext uri="{DCECCB84-F9BA-43D5-87BE-67443E8EF086}">
      <p15:sldGuideLst xmlns:p15="http://schemas.microsoft.com/office/powerpoint/2012/main">
        <p15:guide id="1" orient="horz" pos="361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lámina comparativa con foto/lámina comparativa foto/icon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98367" y="593828"/>
            <a:ext cx="696181" cy="687586"/>
          </a:xfrm>
          <a:prstGeom prst="rect">
            <a:avLst/>
          </a:prstGeom>
        </p:spPr>
      </p:pic>
      <p:sp>
        <p:nvSpPr>
          <p:cNvPr id="21" name="Conector recto 74">
            <a:extLst>
              <a:ext uri="{FF2B5EF4-FFF2-40B4-BE49-F238E27FC236}">
                <a16:creationId xmlns:a16="http://schemas.microsoft.com/office/drawing/2014/main" xmlns="" id="{D6D37DC4-4EA6-9544-8D43-FDA98A0A4224}"/>
              </a:ext>
            </a:extLst>
          </p:cNvPr>
          <p:cNvSpPr/>
          <p:nvPr/>
        </p:nvSpPr>
        <p:spPr>
          <a:xfrm>
            <a:off x="7655653" y="2479238"/>
            <a:ext cx="0" cy="5720748"/>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36" name="Marcador de texto 7">
            <a:extLst>
              <a:ext uri="{FF2B5EF4-FFF2-40B4-BE49-F238E27FC236}">
                <a16:creationId xmlns:a16="http://schemas.microsoft.com/office/drawing/2014/main" xmlns="" id="{F98F0A76-E459-7040-92DF-0796E35D78F1}"/>
              </a:ext>
            </a:extLst>
          </p:cNvPr>
          <p:cNvSpPr>
            <a:spLocks noGrp="1"/>
          </p:cNvSpPr>
          <p:nvPr>
            <p:ph type="body" sz="quarter" idx="14" hasCustomPrompt="1"/>
          </p:nvPr>
        </p:nvSpPr>
        <p:spPr>
          <a:xfrm>
            <a:off x="608947" y="5229647"/>
            <a:ext cx="2648505" cy="2907773"/>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41" name="Marcador de texto 7">
            <a:extLst>
              <a:ext uri="{FF2B5EF4-FFF2-40B4-BE49-F238E27FC236}">
                <a16:creationId xmlns:a16="http://schemas.microsoft.com/office/drawing/2014/main" xmlns="" id="{0DFE9962-D69F-9F46-8D1F-D4F2B672D851}"/>
              </a:ext>
            </a:extLst>
          </p:cNvPr>
          <p:cNvSpPr>
            <a:spLocks noGrp="1"/>
          </p:cNvSpPr>
          <p:nvPr>
            <p:ph type="body" sz="quarter" idx="16" hasCustomPrompt="1"/>
          </p:nvPr>
        </p:nvSpPr>
        <p:spPr>
          <a:xfrm>
            <a:off x="4317227" y="5229647"/>
            <a:ext cx="2648505" cy="2907773"/>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46" name="Marcador de texto 7">
            <a:extLst>
              <a:ext uri="{FF2B5EF4-FFF2-40B4-BE49-F238E27FC236}">
                <a16:creationId xmlns:a16="http://schemas.microsoft.com/office/drawing/2014/main" xmlns="" id="{40F028AC-5B4A-9844-94D7-770F95E501E4}"/>
              </a:ext>
            </a:extLst>
          </p:cNvPr>
          <p:cNvSpPr>
            <a:spLocks noGrp="1"/>
          </p:cNvSpPr>
          <p:nvPr>
            <p:ph type="body" sz="quarter" idx="18" hasCustomPrompt="1"/>
          </p:nvPr>
        </p:nvSpPr>
        <p:spPr>
          <a:xfrm>
            <a:off x="8009205" y="5229648"/>
            <a:ext cx="2648505" cy="2907774"/>
          </a:xfrm>
          <a:prstGeom prst="rect">
            <a:avLst/>
          </a:prstGeom>
        </p:spPr>
        <p:txBody>
          <a:bodyPr/>
          <a:lstStyle>
            <a:lvl1pPr marL="0" indent="0">
              <a:buNone/>
              <a:defRPr sz="1427" b="0" i="0">
                <a:solidFill>
                  <a:schemeClr val="tx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11</a:t>
            </a:r>
            <a:endParaRPr lang="es-CL" dirty="0"/>
          </a:p>
        </p:txBody>
      </p:sp>
      <p:sp>
        <p:nvSpPr>
          <p:cNvPr id="53" name="Conector recto 74">
            <a:extLst>
              <a:ext uri="{FF2B5EF4-FFF2-40B4-BE49-F238E27FC236}">
                <a16:creationId xmlns:a16="http://schemas.microsoft.com/office/drawing/2014/main" xmlns="" id="{5BEE3994-12D6-1249-9576-D8A33A059B6C}"/>
              </a:ext>
            </a:extLst>
          </p:cNvPr>
          <p:cNvSpPr/>
          <p:nvPr/>
        </p:nvSpPr>
        <p:spPr>
          <a:xfrm>
            <a:off x="3954192" y="2479238"/>
            <a:ext cx="0" cy="5720748"/>
          </a:xfrm>
          <a:prstGeom prst="line">
            <a:avLst/>
          </a:prstGeom>
          <a:ln w="12700">
            <a:solidFill>
              <a:srgbClr val="79B025"/>
            </a:solidFill>
            <a:prstDash val="sysDot"/>
            <a:miter lim="400000"/>
          </a:ln>
        </p:spPr>
        <p:txBody>
          <a:bodyPr lIns="29634" rIns="29634"/>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54" name="Marcador de texto 7">
            <a:extLst>
              <a:ext uri="{FF2B5EF4-FFF2-40B4-BE49-F238E27FC236}">
                <a16:creationId xmlns:a16="http://schemas.microsoft.com/office/drawing/2014/main" xmlns="" id="{42F8710E-2DE8-074A-B6FC-EE460A7B8A9B}"/>
              </a:ext>
            </a:extLst>
          </p:cNvPr>
          <p:cNvSpPr>
            <a:spLocks noGrp="1"/>
          </p:cNvSpPr>
          <p:nvPr>
            <p:ph type="body" sz="quarter" idx="13" hasCustomPrompt="1"/>
          </p:nvPr>
        </p:nvSpPr>
        <p:spPr>
          <a:xfrm>
            <a:off x="608947" y="4537252"/>
            <a:ext cx="2648505"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55" name="Marcador de texto 7">
            <a:extLst>
              <a:ext uri="{FF2B5EF4-FFF2-40B4-BE49-F238E27FC236}">
                <a16:creationId xmlns:a16="http://schemas.microsoft.com/office/drawing/2014/main" xmlns="" id="{02CB12F5-EDD8-E346-9DE9-3A19237D4213}"/>
              </a:ext>
            </a:extLst>
          </p:cNvPr>
          <p:cNvSpPr>
            <a:spLocks noGrp="1"/>
          </p:cNvSpPr>
          <p:nvPr>
            <p:ph type="body" sz="quarter" idx="15" hasCustomPrompt="1"/>
          </p:nvPr>
        </p:nvSpPr>
        <p:spPr>
          <a:xfrm>
            <a:off x="4317227" y="4537252"/>
            <a:ext cx="2648505"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56" name="Marcador de texto 7">
            <a:extLst>
              <a:ext uri="{FF2B5EF4-FFF2-40B4-BE49-F238E27FC236}">
                <a16:creationId xmlns:a16="http://schemas.microsoft.com/office/drawing/2014/main" xmlns="" id="{5D9451A5-0C90-6A4B-9663-51CDE3D8B0E7}"/>
              </a:ext>
            </a:extLst>
          </p:cNvPr>
          <p:cNvSpPr>
            <a:spLocks noGrp="1"/>
          </p:cNvSpPr>
          <p:nvPr>
            <p:ph type="body" sz="quarter" idx="17" hasCustomPrompt="1"/>
          </p:nvPr>
        </p:nvSpPr>
        <p:spPr>
          <a:xfrm>
            <a:off x="8009205" y="4537252"/>
            <a:ext cx="2648505"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57" name="Marcador de posición de imagen 2">
            <a:extLst>
              <a:ext uri="{FF2B5EF4-FFF2-40B4-BE49-F238E27FC236}">
                <a16:creationId xmlns:a16="http://schemas.microsoft.com/office/drawing/2014/main" xmlns="" id="{D3DF0AC5-CFA7-6341-8507-840E9C986E36}"/>
              </a:ext>
            </a:extLst>
          </p:cNvPr>
          <p:cNvSpPr>
            <a:spLocks noGrp="1"/>
          </p:cNvSpPr>
          <p:nvPr>
            <p:ph type="pic" sz="quarter" idx="21" hasCustomPrompt="1"/>
          </p:nvPr>
        </p:nvSpPr>
        <p:spPr>
          <a:xfrm>
            <a:off x="608949" y="2479423"/>
            <a:ext cx="2151831" cy="1592908"/>
          </a:xfrm>
          <a:prstGeom prst="rect">
            <a:avLst/>
          </a:prstGeom>
        </p:spPr>
        <p:txBody>
          <a:bodyPr/>
          <a:lstStyle>
            <a:lvl1pPr marL="0" indent="0">
              <a:buNone/>
              <a:defRPr sz="1297" b="0" i="0">
                <a:latin typeface="Arial" panose="020B0604020202020204" pitchFamily="34" charset="0"/>
              </a:defRPr>
            </a:lvl1pPr>
          </a:lstStyle>
          <a:p>
            <a:r>
              <a:rPr lang="es-CL" dirty="0"/>
              <a:t>Doble click para incorporar una imagen</a:t>
            </a:r>
          </a:p>
        </p:txBody>
      </p:sp>
      <p:sp>
        <p:nvSpPr>
          <p:cNvPr id="58" name="Marcador de posición de imagen 2">
            <a:extLst>
              <a:ext uri="{FF2B5EF4-FFF2-40B4-BE49-F238E27FC236}">
                <a16:creationId xmlns:a16="http://schemas.microsoft.com/office/drawing/2014/main" xmlns="" id="{17B499AE-C5B2-794D-8551-F1F602A885BE}"/>
              </a:ext>
            </a:extLst>
          </p:cNvPr>
          <p:cNvSpPr>
            <a:spLocks noGrp="1"/>
          </p:cNvSpPr>
          <p:nvPr>
            <p:ph type="pic" sz="quarter" idx="22" hasCustomPrompt="1"/>
          </p:nvPr>
        </p:nvSpPr>
        <p:spPr>
          <a:xfrm>
            <a:off x="4317226" y="2479423"/>
            <a:ext cx="2151831" cy="1592908"/>
          </a:xfrm>
          <a:prstGeom prst="rect">
            <a:avLst/>
          </a:prstGeom>
        </p:spPr>
        <p:txBody>
          <a:bodyPr/>
          <a:lstStyle>
            <a:lvl1pPr marL="0" indent="0">
              <a:buNone/>
              <a:defRPr sz="1297" b="0" i="0">
                <a:latin typeface="Arial" panose="020B0604020202020204" pitchFamily="34" charset="0"/>
              </a:defRPr>
            </a:lvl1pPr>
          </a:lstStyle>
          <a:p>
            <a:r>
              <a:rPr lang="es-CL" dirty="0"/>
              <a:t>Doble click para incorporar una imagen</a:t>
            </a:r>
          </a:p>
        </p:txBody>
      </p:sp>
      <p:sp>
        <p:nvSpPr>
          <p:cNvPr id="59" name="Marcador de posición de imagen 2">
            <a:extLst>
              <a:ext uri="{FF2B5EF4-FFF2-40B4-BE49-F238E27FC236}">
                <a16:creationId xmlns:a16="http://schemas.microsoft.com/office/drawing/2014/main" xmlns="" id="{DE550592-7ED0-A544-9D4F-0101680080EB}"/>
              </a:ext>
            </a:extLst>
          </p:cNvPr>
          <p:cNvSpPr>
            <a:spLocks noGrp="1"/>
          </p:cNvSpPr>
          <p:nvPr>
            <p:ph type="pic" sz="quarter" idx="23" hasCustomPrompt="1"/>
          </p:nvPr>
        </p:nvSpPr>
        <p:spPr>
          <a:xfrm>
            <a:off x="8009204" y="2479423"/>
            <a:ext cx="2151831" cy="1592908"/>
          </a:xfrm>
          <a:prstGeom prst="rect">
            <a:avLst/>
          </a:prstGeom>
        </p:spPr>
        <p:txBody>
          <a:bodyPr/>
          <a:lstStyle>
            <a:lvl1pPr marL="0" indent="0">
              <a:buNone/>
              <a:defRPr sz="1297" b="0" i="0">
                <a:latin typeface="Arial" panose="020B0604020202020204" pitchFamily="34" charset="0"/>
              </a:defRPr>
            </a:lvl1pPr>
          </a:lstStyle>
          <a:p>
            <a:r>
              <a:rPr lang="es-CL" dirty="0"/>
              <a:t>Doble click para incorporar una imagen</a:t>
            </a:r>
          </a:p>
        </p:txBody>
      </p:sp>
      <p:sp>
        <p:nvSpPr>
          <p:cNvPr id="25" name="Marcador de texto 7">
            <a:extLst>
              <a:ext uri="{FF2B5EF4-FFF2-40B4-BE49-F238E27FC236}">
                <a16:creationId xmlns:a16="http://schemas.microsoft.com/office/drawing/2014/main" xmlns="" id="{01B948B3-DB47-A043-9304-7B7517D26974}"/>
              </a:ext>
            </a:extLst>
          </p:cNvPr>
          <p:cNvSpPr>
            <a:spLocks noGrp="1"/>
          </p:cNvSpPr>
          <p:nvPr>
            <p:ph type="body" sz="quarter" idx="10" hasCustomPrompt="1"/>
          </p:nvPr>
        </p:nvSpPr>
        <p:spPr>
          <a:xfrm>
            <a:off x="597028" y="591742"/>
            <a:ext cx="9529239" cy="541955"/>
          </a:xfrm>
          <a:prstGeom prst="rect">
            <a:avLst/>
          </a:prstGeom>
        </p:spPr>
        <p:txBody>
          <a:bodyPr/>
          <a:lstStyle>
            <a:lvl1pPr marL="0" indent="0">
              <a:buNone/>
              <a:defRPr sz="3111"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24</a:t>
            </a:r>
          </a:p>
        </p:txBody>
      </p:sp>
      <p:sp>
        <p:nvSpPr>
          <p:cNvPr id="26" name="Marcador de texto 7">
            <a:extLst>
              <a:ext uri="{FF2B5EF4-FFF2-40B4-BE49-F238E27FC236}">
                <a16:creationId xmlns:a16="http://schemas.microsoft.com/office/drawing/2014/main" xmlns="" id="{A4E86421-B524-F343-BE2D-F76DC66259B9}"/>
              </a:ext>
            </a:extLst>
          </p:cNvPr>
          <p:cNvSpPr>
            <a:spLocks noGrp="1"/>
          </p:cNvSpPr>
          <p:nvPr>
            <p:ph type="body" sz="quarter" idx="11" hasCustomPrompt="1"/>
          </p:nvPr>
        </p:nvSpPr>
        <p:spPr>
          <a:xfrm>
            <a:off x="597028" y="1131775"/>
            <a:ext cx="9529239" cy="467620"/>
          </a:xfrm>
          <a:prstGeom prst="rect">
            <a:avLst/>
          </a:prstGeom>
        </p:spPr>
        <p:txBody>
          <a:bodyPr/>
          <a:lstStyle>
            <a:lvl1pPr marL="0" indent="0">
              <a:buNone/>
              <a:defRPr sz="2334" b="0" i="0">
                <a:solidFill>
                  <a:schemeClr val="bg2"/>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Subtítulo Arial 18</a:t>
            </a:r>
            <a:endParaRPr lang="es-CL" dirty="0"/>
          </a:p>
        </p:txBody>
      </p:sp>
      <p:cxnSp>
        <p:nvCxnSpPr>
          <p:cNvPr id="27" name="Conector recto 26">
            <a:extLst>
              <a:ext uri="{FF2B5EF4-FFF2-40B4-BE49-F238E27FC236}">
                <a16:creationId xmlns:a16="http://schemas.microsoft.com/office/drawing/2014/main" xmlns="" id="{865B8F1A-8A3E-9B4C-8102-F44E09646749}"/>
              </a:ext>
            </a:extLst>
          </p:cNvPr>
          <p:cNvCxnSpPr>
            <a:cxnSpLocks/>
          </p:cNvCxnSpPr>
          <p:nvPr/>
        </p:nvCxnSpPr>
        <p:spPr>
          <a:xfrm>
            <a:off x="739560" y="1632116"/>
            <a:ext cx="1435219"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8" name="Rectángulo 27">
            <a:extLst>
              <a:ext uri="{FF2B5EF4-FFF2-40B4-BE49-F238E27FC236}">
                <a16:creationId xmlns:a16="http://schemas.microsoft.com/office/drawing/2014/main" xmlns="" id="{2C43F09E-A773-E547-95D6-CF8477D8072A}"/>
              </a:ext>
            </a:extLst>
          </p:cNvPr>
          <p:cNvSpPr>
            <a:spLocks/>
          </p:cNvSpPr>
          <p:nvPr/>
        </p:nvSpPr>
        <p:spPr>
          <a:xfrm>
            <a:off x="12201984" y="4919082"/>
            <a:ext cx="3396684" cy="771498"/>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852" tIns="65852" rIns="65852" bIns="65852" numCol="1" spcCol="38100" rtlCol="0" anchor="ctr">
            <a:spAutoFit/>
          </a:bodyPr>
          <a:lstStyle/>
          <a:p>
            <a:pPr algn="ctr" defTabSz="1070094" hangingPunct="0"/>
            <a:endParaRPr lang="es-CL" sz="4149">
              <a:solidFill>
                <a:srgbClr val="FFFFFF"/>
              </a:solidFill>
              <a:latin typeface="Helvetica Neue Medium"/>
              <a:ea typeface="Helvetica Neue Medium"/>
              <a:cs typeface="Helvetica Neue Medium"/>
              <a:sym typeface="Helvetica Neue Medium"/>
            </a:endParaRPr>
          </a:p>
        </p:txBody>
      </p:sp>
      <p:sp>
        <p:nvSpPr>
          <p:cNvPr id="29" name="Línea">
            <a:extLst>
              <a:ext uri="{FF2B5EF4-FFF2-40B4-BE49-F238E27FC236}">
                <a16:creationId xmlns:a16="http://schemas.microsoft.com/office/drawing/2014/main" xmlns="" id="{9DE8E091-AF3D-B544-AF40-44C8999249F5}"/>
              </a:ext>
            </a:extLst>
          </p:cNvPr>
          <p:cNvSpPr/>
          <p:nvPr/>
        </p:nvSpPr>
        <p:spPr>
          <a:xfrm>
            <a:off x="11356217" y="2452454"/>
            <a:ext cx="372201" cy="5720748"/>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2700">
            <a:solidFill>
              <a:srgbClr val="5E5E5E"/>
            </a:solidFill>
            <a:prstDash val="sysDot"/>
            <a:miter lim="400000"/>
          </a:ln>
        </p:spPr>
        <p:txBody>
          <a:bodyPr lIns="32927" tIns="32927" rIns="32927" bIns="32927" anchor="ctr"/>
          <a:lstStyle/>
          <a:p>
            <a:pPr defTabSz="1579418">
              <a:defRPr>
                <a:latin typeface="Arial"/>
                <a:ea typeface="Arial"/>
                <a:cs typeface="Arial"/>
                <a:sym typeface="Arial"/>
              </a:defRPr>
            </a:pPr>
            <a:endParaRPr sz="1555">
              <a:solidFill>
                <a:srgbClr val="0C662F"/>
              </a:solidFill>
              <a:ea typeface="Arial"/>
              <a:cs typeface="Arial"/>
              <a:sym typeface="Arial"/>
            </a:endParaRPr>
          </a:p>
        </p:txBody>
      </p:sp>
      <p:sp>
        <p:nvSpPr>
          <p:cNvPr id="30" name="Marcador de texto 7">
            <a:extLst>
              <a:ext uri="{FF2B5EF4-FFF2-40B4-BE49-F238E27FC236}">
                <a16:creationId xmlns:a16="http://schemas.microsoft.com/office/drawing/2014/main" xmlns="" id="{ADDB372D-3C0A-9843-8A24-4C447B4FFFC0}"/>
              </a:ext>
            </a:extLst>
          </p:cNvPr>
          <p:cNvSpPr>
            <a:spLocks noGrp="1"/>
          </p:cNvSpPr>
          <p:nvPr>
            <p:ph type="body" sz="quarter" idx="19" hasCustomPrompt="1"/>
          </p:nvPr>
        </p:nvSpPr>
        <p:spPr>
          <a:xfrm>
            <a:off x="12323145" y="2668950"/>
            <a:ext cx="3166389" cy="541955"/>
          </a:xfrm>
          <a:prstGeom prst="rect">
            <a:avLst/>
          </a:prstGeom>
        </p:spPr>
        <p:txBody>
          <a:bodyPr/>
          <a:lstStyle>
            <a:lvl1pPr marL="0" indent="0">
              <a:buNone/>
              <a:defRPr sz="1555"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ítulo Arial Bold 12</a:t>
            </a:r>
            <a:endParaRPr lang="es-CL" dirty="0"/>
          </a:p>
        </p:txBody>
      </p:sp>
      <p:sp>
        <p:nvSpPr>
          <p:cNvPr id="31" name="Marcador de texto 7">
            <a:extLst>
              <a:ext uri="{FF2B5EF4-FFF2-40B4-BE49-F238E27FC236}">
                <a16:creationId xmlns:a16="http://schemas.microsoft.com/office/drawing/2014/main" xmlns="" id="{4F4164F6-0B99-AC40-82D2-06A1C9776C2F}"/>
              </a:ext>
            </a:extLst>
          </p:cNvPr>
          <p:cNvSpPr>
            <a:spLocks noGrp="1"/>
          </p:cNvSpPr>
          <p:nvPr>
            <p:ph type="body" sz="quarter" idx="20" hasCustomPrompt="1"/>
          </p:nvPr>
        </p:nvSpPr>
        <p:spPr>
          <a:xfrm>
            <a:off x="12323145" y="3443908"/>
            <a:ext cx="3166389" cy="4522305"/>
          </a:xfrm>
          <a:prstGeom prst="rect">
            <a:avLst/>
          </a:prstGeom>
        </p:spPr>
        <p:txBody>
          <a:bodyPr/>
          <a:lstStyle>
            <a:lvl1pPr marL="0" indent="0">
              <a:buNone/>
              <a:defRPr sz="1427" b="1" i="0">
                <a:solidFill>
                  <a:schemeClr val="tx1"/>
                </a:solidFill>
                <a:latin typeface="Arial" panose="020B0604020202020204" pitchFamily="34" charset="0"/>
              </a:defRPr>
            </a:lvl1pPr>
            <a:lvl2pPr marL="395112" indent="0">
              <a:buNone/>
              <a:defRPr/>
            </a:lvl2pPr>
            <a:lvl3pPr marL="790223" indent="0">
              <a:buNone/>
              <a:defRPr/>
            </a:lvl3pPr>
            <a:lvl4pPr marL="1185336" indent="0">
              <a:buNone/>
              <a:defRPr/>
            </a:lvl4pPr>
            <a:lvl5pPr marL="1580448" indent="0">
              <a:buNone/>
              <a:defRPr/>
            </a:lvl5pPr>
          </a:lstStyle>
          <a:p>
            <a:pPr lvl="0"/>
            <a:r>
              <a:rPr lang="es-ES" dirty="0"/>
              <a:t>Texto Arial Bold 11</a:t>
            </a:r>
            <a:endParaRPr lang="es-CL" dirty="0"/>
          </a:p>
        </p:txBody>
      </p:sp>
      <p:sp>
        <p:nvSpPr>
          <p:cNvPr id="32" name="Marcador de texto 4">
            <a:extLst>
              <a:ext uri="{FF2B5EF4-FFF2-40B4-BE49-F238E27FC236}">
                <a16:creationId xmlns:a16="http://schemas.microsoft.com/office/drawing/2014/main" xmlns="" id="{63743F2B-A5AE-3F4C-B767-B2E9EB7AA468}"/>
              </a:ext>
            </a:extLst>
          </p:cNvPr>
          <p:cNvSpPr>
            <a:spLocks noGrp="1"/>
          </p:cNvSpPr>
          <p:nvPr>
            <p:ph type="body" sz="quarter" idx="48" hasCustomPrompt="1"/>
          </p:nvPr>
        </p:nvSpPr>
        <p:spPr>
          <a:xfrm>
            <a:off x="596529" y="8488767"/>
            <a:ext cx="11131590" cy="488022"/>
          </a:xfrm>
          <a:prstGeom prst="rect">
            <a:avLst/>
          </a:prstGeom>
        </p:spPr>
        <p:txBody>
          <a:bodyPr anchor="t"/>
          <a:lstStyle>
            <a:lvl1pPr marL="296335" marR="0" indent="-296335" algn="l" defTabSz="1579418" eaLnBrk="1" fontAlgn="auto" latinLnBrk="0" hangingPunct="1">
              <a:lnSpc>
                <a:spcPct val="90000"/>
              </a:lnSpc>
              <a:spcBef>
                <a:spcPts val="130"/>
              </a:spcBef>
              <a:spcAft>
                <a:spcPts val="130"/>
              </a:spcAft>
              <a:buClr>
                <a:schemeClr val="accent1"/>
              </a:buClr>
              <a:buSzPct val="90000"/>
              <a:buFont typeface="+mj-lt"/>
              <a:buAutoNum type="arabicPeriod"/>
              <a:tabLst/>
              <a:defRPr sz="1167" b="0" i="0">
                <a:solidFill>
                  <a:schemeClr val="tx2"/>
                </a:solidFill>
                <a:latin typeface="Arial" panose="020B0604020202020204" pitchFamily="34" charset="0"/>
              </a:defRPr>
            </a:lvl1pPr>
          </a:lstStyle>
          <a:p>
            <a:pPr marL="296335" marR="0" lvl="0" indent="-296335" algn="l" defTabSz="1579418" eaLnBrk="1" fontAlgn="auto" latinLnBrk="0" hangingPunct="1">
              <a:lnSpc>
                <a:spcPct val="100000"/>
              </a:lnSpc>
              <a:spcBef>
                <a:spcPts val="130"/>
              </a:spcBef>
              <a:spcAft>
                <a:spcPts val="0"/>
              </a:spcAft>
              <a:buClr>
                <a:schemeClr val="accent1"/>
              </a:buClr>
              <a:buSzPct val="90000"/>
              <a:buFont typeface="+mj-lt"/>
              <a:buAutoNum type="arabicPeriod"/>
              <a:tabLst/>
              <a:defRPr/>
            </a:pPr>
            <a:r>
              <a:rPr lang="es-ES" dirty="0"/>
              <a:t>Texto primera fuente Arial 9</a:t>
            </a:r>
          </a:p>
          <a:p>
            <a:pPr lvl="0"/>
            <a:r>
              <a:rPr lang="es-CL" dirty="0"/>
              <a:t>Texto secundario fuente Arial 9</a:t>
            </a:r>
          </a:p>
        </p:txBody>
      </p:sp>
      <p:sp>
        <p:nvSpPr>
          <p:cNvPr id="23" name="Marcador de número de diapositiva 1">
            <a:extLst>
              <a:ext uri="{FF2B5EF4-FFF2-40B4-BE49-F238E27FC236}">
                <a16:creationId xmlns:a16="http://schemas.microsoft.com/office/drawing/2014/main" xmlns="" id="{7E8D1AE2-C96D-944A-9417-52B4E3C75A44}"/>
              </a:ext>
            </a:extLst>
          </p:cNvPr>
          <p:cNvSpPr>
            <a:spLocks noGrp="1"/>
          </p:cNvSpPr>
          <p:nvPr>
            <p:ph type="sldNum" sz="quarter" idx="49"/>
          </p:nvPr>
        </p:nvSpPr>
        <p:spPr>
          <a:xfrm>
            <a:off x="13262483" y="8483676"/>
            <a:ext cx="2450721" cy="479227"/>
          </a:xfrm>
          <a:prstGeom prst="rect">
            <a:avLst/>
          </a:prstGeom>
        </p:spPr>
        <p:txBody>
          <a:bodyPr vert="horz" lIns="91440" tIns="45720" rIns="91440" bIns="45720" rtlCol="0" anchor="t"/>
          <a:lstStyle>
            <a:defPPr>
              <a:defRPr lang="es-CL"/>
            </a:defPPr>
            <a:lvl1pPr marL="0" algn="r" defTabSz="1185336" rtl="0" eaLnBrk="1" latinLnBrk="0" hangingPunct="1">
              <a:defRPr sz="1167" kern="1200">
                <a:solidFill>
                  <a:schemeClr val="tx2"/>
                </a:solidFill>
                <a:latin typeface="Arial" panose="020B0604020202020204" pitchFamily="34" charset="0"/>
                <a:ea typeface="+mn-ea"/>
                <a:cs typeface="Arial" panose="020B0604020202020204" pitchFamily="34" charset="0"/>
              </a:defRPr>
            </a:lvl1pPr>
            <a:lvl2pPr marL="592667" algn="l" defTabSz="1185336" rtl="0" eaLnBrk="1" latinLnBrk="0" hangingPunct="1">
              <a:defRPr sz="2334" kern="1200">
                <a:solidFill>
                  <a:schemeClr val="tx1"/>
                </a:solidFill>
                <a:latin typeface="+mn-lt"/>
                <a:ea typeface="+mn-ea"/>
                <a:cs typeface="+mn-cs"/>
              </a:defRPr>
            </a:lvl2pPr>
            <a:lvl3pPr marL="1185336" algn="l" defTabSz="1185336" rtl="0" eaLnBrk="1" latinLnBrk="0" hangingPunct="1">
              <a:defRPr sz="2334" kern="1200">
                <a:solidFill>
                  <a:schemeClr val="tx1"/>
                </a:solidFill>
                <a:latin typeface="+mn-lt"/>
                <a:ea typeface="+mn-ea"/>
                <a:cs typeface="+mn-cs"/>
              </a:defRPr>
            </a:lvl3pPr>
            <a:lvl4pPr marL="1778003" algn="l" defTabSz="1185336" rtl="0" eaLnBrk="1" latinLnBrk="0" hangingPunct="1">
              <a:defRPr sz="2334" kern="1200">
                <a:solidFill>
                  <a:schemeClr val="tx1"/>
                </a:solidFill>
                <a:latin typeface="+mn-lt"/>
                <a:ea typeface="+mn-ea"/>
                <a:cs typeface="+mn-cs"/>
              </a:defRPr>
            </a:lvl4pPr>
            <a:lvl5pPr marL="2370672" algn="l" defTabSz="1185336" rtl="0" eaLnBrk="1" latinLnBrk="0" hangingPunct="1">
              <a:defRPr sz="2334" kern="1200">
                <a:solidFill>
                  <a:schemeClr val="tx1"/>
                </a:solidFill>
                <a:latin typeface="+mn-lt"/>
                <a:ea typeface="+mn-ea"/>
                <a:cs typeface="+mn-cs"/>
              </a:defRPr>
            </a:lvl5pPr>
            <a:lvl6pPr marL="2963339" algn="l" defTabSz="1185336" rtl="0" eaLnBrk="1" latinLnBrk="0" hangingPunct="1">
              <a:defRPr sz="2334" kern="1200">
                <a:solidFill>
                  <a:schemeClr val="tx1"/>
                </a:solidFill>
                <a:latin typeface="+mn-lt"/>
                <a:ea typeface="+mn-ea"/>
                <a:cs typeface="+mn-cs"/>
              </a:defRPr>
            </a:lvl6pPr>
            <a:lvl7pPr marL="3556007" algn="l" defTabSz="1185336" rtl="0" eaLnBrk="1" latinLnBrk="0" hangingPunct="1">
              <a:defRPr sz="2334" kern="1200">
                <a:solidFill>
                  <a:schemeClr val="tx1"/>
                </a:solidFill>
                <a:latin typeface="+mn-lt"/>
                <a:ea typeface="+mn-ea"/>
                <a:cs typeface="+mn-cs"/>
              </a:defRPr>
            </a:lvl7pPr>
            <a:lvl8pPr marL="4148675" algn="l" defTabSz="1185336" rtl="0" eaLnBrk="1" latinLnBrk="0" hangingPunct="1">
              <a:defRPr sz="2334" kern="1200">
                <a:solidFill>
                  <a:schemeClr val="tx1"/>
                </a:solidFill>
                <a:latin typeface="+mn-lt"/>
                <a:ea typeface="+mn-ea"/>
                <a:cs typeface="+mn-cs"/>
              </a:defRPr>
            </a:lvl8pPr>
            <a:lvl9pPr marL="4741343" algn="l" defTabSz="1185336" rtl="0" eaLnBrk="1" latinLnBrk="0" hangingPunct="1">
              <a:defRPr sz="2334" kern="1200">
                <a:solidFill>
                  <a:schemeClr val="tx1"/>
                </a:solidFill>
                <a:latin typeface="+mn-lt"/>
                <a:ea typeface="+mn-ea"/>
                <a:cs typeface="+mn-cs"/>
              </a:defRPr>
            </a:lvl9pPr>
          </a:lstStyle>
          <a:p>
            <a:fld id="{D53CCA99-CF64-451F-A9BB-06365FA9480C}" type="slidenum">
              <a:rPr lang="es-CL" smtClean="0">
                <a:solidFill>
                  <a:srgbClr val="616161"/>
                </a:solidFill>
              </a:rPr>
              <a:pPr/>
              <a:t>‹Nº›</a:t>
            </a:fld>
            <a:endParaRPr lang="es-CL">
              <a:solidFill>
                <a:srgbClr val="616161"/>
              </a:solidFill>
            </a:endParaRPr>
          </a:p>
        </p:txBody>
      </p:sp>
    </p:spTree>
    <p:extLst>
      <p:ext uri="{BB962C8B-B14F-4D97-AF65-F5344CB8AC3E}">
        <p14:creationId xmlns:p14="http://schemas.microsoft.com/office/powerpoint/2010/main" val="3015476031"/>
      </p:ext>
    </p:extLst>
  </p:cSld>
  <p:clrMapOvr>
    <a:masterClrMapping/>
  </p:clrMapOvr>
  <p:extLst>
    <p:ext uri="{DCECCB84-F9BA-43D5-87BE-67443E8EF086}">
      <p15:sldGuideLst xmlns:p15="http://schemas.microsoft.com/office/powerpoint/2012/main">
        <p15:guide id="1" orient="horz" pos="3906">
          <p15:clr>
            <a:srgbClr val="FBAE40"/>
          </p15:clr>
        </p15:guide>
        <p15:guide id="2" pos="280">
          <p15:clr>
            <a:srgbClr val="FBAE40"/>
          </p15:clr>
        </p15:guide>
        <p15:guide id="3" orient="horz" pos="118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76" Type="http://schemas.openxmlformats.org/officeDocument/2006/relationships/image" Target="../media/image1.png"/><Relationship Id="rId7" Type="http://schemas.openxmlformats.org/officeDocument/2006/relationships/slideLayout" Target="../slideLayouts/slideLayout18.xml"/><Relationship Id="rId71" Type="http://schemas.openxmlformats.org/officeDocument/2006/relationships/slideLayout" Target="../slideLayouts/slideLayout8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74" Type="http://schemas.openxmlformats.org/officeDocument/2006/relationships/slideLayout" Target="../slideLayouts/slideLayout8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61" Type="http://schemas.openxmlformats.org/officeDocument/2006/relationships/slideLayout" Target="../slideLayouts/slideLayout7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slideLayout" Target="../slideLayouts/slideLayout124.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42" Type="http://schemas.openxmlformats.org/officeDocument/2006/relationships/slideLayout" Target="../slideLayouts/slideLayout127.xml"/><Relationship Id="rId47" Type="http://schemas.openxmlformats.org/officeDocument/2006/relationships/slideLayout" Target="../slideLayouts/slideLayout132.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46" Type="http://schemas.openxmlformats.org/officeDocument/2006/relationships/slideLayout" Target="../slideLayouts/slideLayout131.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41" Type="http://schemas.openxmlformats.org/officeDocument/2006/relationships/slideLayout" Target="../slideLayouts/slideLayout126.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slideLayout" Target="../slideLayouts/slideLayout125.xml"/><Relationship Id="rId45" Type="http://schemas.openxmlformats.org/officeDocument/2006/relationships/slideLayout" Target="../slideLayouts/slideLayout130.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49" Type="http://schemas.openxmlformats.org/officeDocument/2006/relationships/theme" Target="../theme/theme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4" Type="http://schemas.openxmlformats.org/officeDocument/2006/relationships/slideLayout" Target="../slideLayouts/slideLayout129.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43" Type="http://schemas.openxmlformats.org/officeDocument/2006/relationships/slideLayout" Target="../slideLayouts/slideLayout128.xml"/><Relationship Id="rId48" Type="http://schemas.openxmlformats.org/officeDocument/2006/relationships/slideLayout" Target="../slideLayouts/slideLayout133.xml"/><Relationship Id="rId8" Type="http://schemas.openxmlformats.org/officeDocument/2006/relationships/slideLayout" Target="../slideLayouts/slideLayout9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theme" Target="../theme/theme4.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10101" y="360462"/>
            <a:ext cx="14581823" cy="1500188"/>
          </a:xfrm>
          <a:prstGeom prst="rect">
            <a:avLst/>
          </a:prstGeom>
        </p:spPr>
        <p:txBody>
          <a:bodyPr vert="horz" lIns="144018" tIns="72009" rIns="144018" bIns="72009" rtlCol="0" anchor="ctr">
            <a:normAutofit/>
          </a:bodyPr>
          <a:lstStyle/>
          <a:p>
            <a:r>
              <a:rPr lang="en-US"/>
              <a:t>Click to edit Master title style</a:t>
            </a:r>
            <a:endParaRPr lang="es-CL"/>
          </a:p>
        </p:txBody>
      </p:sp>
      <p:sp>
        <p:nvSpPr>
          <p:cNvPr id="3" name="Text Placeholder 2"/>
          <p:cNvSpPr>
            <a:spLocks noGrp="1"/>
          </p:cNvSpPr>
          <p:nvPr>
            <p:ph type="body" idx="1"/>
          </p:nvPr>
        </p:nvSpPr>
        <p:spPr>
          <a:xfrm>
            <a:off x="810101" y="2100263"/>
            <a:ext cx="14581823" cy="5940326"/>
          </a:xfrm>
          <a:prstGeom prst="rect">
            <a:avLst/>
          </a:prstGeom>
        </p:spPr>
        <p:txBody>
          <a:bodyPr vert="horz" lIns="144018" tIns="72009" rIns="144018" bIns="7200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4" name="Date Placeholder 3"/>
          <p:cNvSpPr>
            <a:spLocks noGrp="1"/>
          </p:cNvSpPr>
          <p:nvPr>
            <p:ph type="dt" sz="half" idx="2"/>
          </p:nvPr>
        </p:nvSpPr>
        <p:spPr>
          <a:xfrm>
            <a:off x="810101" y="8342710"/>
            <a:ext cx="3780473" cy="479227"/>
          </a:xfrm>
          <a:prstGeom prst="rect">
            <a:avLst/>
          </a:prstGeom>
        </p:spPr>
        <p:txBody>
          <a:bodyPr vert="horz" lIns="144018" tIns="72009" rIns="144018" bIns="72009" rtlCol="0" anchor="ctr"/>
          <a:lstStyle>
            <a:lvl1pPr algn="l">
              <a:defRPr sz="1900">
                <a:solidFill>
                  <a:schemeClr val="tx1">
                    <a:tint val="75000"/>
                  </a:schemeClr>
                </a:solidFill>
              </a:defRPr>
            </a:lvl1pPr>
          </a:lstStyle>
          <a:p>
            <a:fld id="{BF1F7606-8703-4774-82E4-4A2AAF776758}" type="datetimeFigureOut">
              <a:rPr lang="es-CL" smtClean="0"/>
              <a:t>23-01-2025</a:t>
            </a:fld>
            <a:endParaRPr lang="es-CL"/>
          </a:p>
        </p:txBody>
      </p:sp>
      <p:sp>
        <p:nvSpPr>
          <p:cNvPr id="5" name="Footer Placeholder 4"/>
          <p:cNvSpPr>
            <a:spLocks noGrp="1"/>
          </p:cNvSpPr>
          <p:nvPr>
            <p:ph type="ftr" sz="quarter" idx="3"/>
          </p:nvPr>
        </p:nvSpPr>
        <p:spPr>
          <a:xfrm>
            <a:off x="5535692" y="8342710"/>
            <a:ext cx="5130641" cy="479227"/>
          </a:xfrm>
          <a:prstGeom prst="rect">
            <a:avLst/>
          </a:prstGeom>
        </p:spPr>
        <p:txBody>
          <a:bodyPr vert="horz" lIns="144018" tIns="72009" rIns="144018" bIns="72009" rtlCol="0" anchor="ctr"/>
          <a:lstStyle>
            <a:lvl1pPr algn="ctr">
              <a:defRPr sz="1900">
                <a:solidFill>
                  <a:schemeClr val="tx1">
                    <a:tint val="75000"/>
                  </a:schemeClr>
                </a:solidFill>
              </a:defRPr>
            </a:lvl1pPr>
          </a:lstStyle>
          <a:p>
            <a:endParaRPr lang="es-CL"/>
          </a:p>
        </p:txBody>
      </p:sp>
      <p:sp>
        <p:nvSpPr>
          <p:cNvPr id="6" name="Slide Number Placeholder 5"/>
          <p:cNvSpPr>
            <a:spLocks noGrp="1"/>
          </p:cNvSpPr>
          <p:nvPr>
            <p:ph type="sldNum" sz="quarter" idx="4"/>
          </p:nvPr>
        </p:nvSpPr>
        <p:spPr>
          <a:xfrm>
            <a:off x="11611451" y="8342710"/>
            <a:ext cx="3780473" cy="479227"/>
          </a:xfrm>
          <a:prstGeom prst="rect">
            <a:avLst/>
          </a:prstGeom>
        </p:spPr>
        <p:txBody>
          <a:bodyPr vert="horz" lIns="144018" tIns="72009" rIns="144018" bIns="72009" rtlCol="0" anchor="ctr"/>
          <a:lstStyle>
            <a:lvl1pPr algn="r">
              <a:defRPr sz="1900">
                <a:solidFill>
                  <a:schemeClr val="tx1">
                    <a:tint val="75000"/>
                  </a:schemeClr>
                </a:solidFill>
              </a:defRPr>
            </a:lvl1pPr>
          </a:lstStyle>
          <a:p>
            <a:fld id="{D1EAB5E8-47DE-45C7-8635-B8E0F633FCC5}" type="slidenum">
              <a:rPr lang="es-CL" smtClean="0"/>
              <a:t>‹Nº›</a:t>
            </a:fld>
            <a:endParaRPr lang="es-CL"/>
          </a:p>
        </p:txBody>
      </p:sp>
    </p:spTree>
    <p:extLst>
      <p:ext uri="{BB962C8B-B14F-4D97-AF65-F5344CB8AC3E}">
        <p14:creationId xmlns:p14="http://schemas.microsoft.com/office/powerpoint/2010/main" val="36471256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1440180" rtl="0" eaLnBrk="1" latinLnBrk="0" hangingPunct="1">
        <a:spcBef>
          <a:spcPct val="0"/>
        </a:spcBef>
        <a:buNone/>
        <a:defRPr sz="6900" kern="1200">
          <a:solidFill>
            <a:schemeClr val="tx1"/>
          </a:solidFill>
          <a:latin typeface="+mj-lt"/>
          <a:ea typeface="+mj-ea"/>
          <a:cs typeface="+mj-cs"/>
        </a:defRPr>
      </a:lvl1pPr>
    </p:titleStyle>
    <p:bodyStyle>
      <a:lvl1pPr marL="540068" indent="-540068" algn="l" defTabSz="1440180" rtl="0" eaLnBrk="1" latinLnBrk="0" hangingPunct="1">
        <a:spcBef>
          <a:spcPct val="20000"/>
        </a:spcBef>
        <a:buFont typeface="Arial" pitchFamily="34" charset="0"/>
        <a:buChar char="•"/>
        <a:defRPr sz="5000" kern="1200">
          <a:solidFill>
            <a:schemeClr val="tx1"/>
          </a:solidFill>
          <a:latin typeface="+mn-lt"/>
          <a:ea typeface="+mn-ea"/>
          <a:cs typeface="+mn-cs"/>
        </a:defRPr>
      </a:lvl1pPr>
      <a:lvl2pPr marL="1170146" indent="-450056" algn="l" defTabSz="1440180" rtl="0" eaLnBrk="1" latinLnBrk="0" hangingPunct="1">
        <a:spcBef>
          <a:spcPct val="20000"/>
        </a:spcBef>
        <a:buFont typeface="Arial" pitchFamily="34" charset="0"/>
        <a:buChar char="–"/>
        <a:defRPr sz="4400" kern="1200">
          <a:solidFill>
            <a:schemeClr val="tx1"/>
          </a:solidFill>
          <a:latin typeface="+mn-lt"/>
          <a:ea typeface="+mn-ea"/>
          <a:cs typeface="+mn-cs"/>
        </a:defRPr>
      </a:lvl2pPr>
      <a:lvl3pPr marL="1800225" indent="-360045" algn="l" defTabSz="1440180" rtl="0" eaLnBrk="1" latinLnBrk="0" hangingPunct="1">
        <a:spcBef>
          <a:spcPct val="20000"/>
        </a:spcBef>
        <a:buFont typeface="Arial" pitchFamily="34" charset="0"/>
        <a:buChar char="•"/>
        <a:defRPr sz="3800" kern="1200">
          <a:solidFill>
            <a:schemeClr val="tx1"/>
          </a:solidFill>
          <a:latin typeface="+mn-lt"/>
          <a:ea typeface="+mn-ea"/>
          <a:cs typeface="+mn-cs"/>
        </a:defRPr>
      </a:lvl3pPr>
      <a:lvl4pPr marL="252031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4pPr>
      <a:lvl5pPr marL="324040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5pPr>
      <a:lvl6pPr marL="396049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6pPr>
      <a:lvl7pPr marL="468058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7pPr>
      <a:lvl8pPr marL="540067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8pPr>
      <a:lvl9pPr marL="6120765" indent="-360045" algn="l" defTabSz="1440180" rtl="0" eaLnBrk="1" latinLnBrk="0" hangingPunct="1">
        <a:spcBef>
          <a:spcPct val="20000"/>
        </a:spcBef>
        <a:buFont typeface="Arial" pitchFamily="34" charset="0"/>
        <a:buChar char="•"/>
        <a:defRPr sz="3200" kern="1200">
          <a:solidFill>
            <a:schemeClr val="tx1"/>
          </a:solidFill>
          <a:latin typeface="+mn-lt"/>
          <a:ea typeface="+mn-ea"/>
          <a:cs typeface="+mn-cs"/>
        </a:defRPr>
      </a:lvl9pPr>
    </p:bodyStyle>
    <p:otherStyle>
      <a:defPPr>
        <a:defRPr lang="es-CL"/>
      </a:defPPr>
      <a:lvl1pPr marL="0" algn="l" defTabSz="1440180" rtl="0" eaLnBrk="1" latinLnBrk="0" hangingPunct="1">
        <a:defRPr sz="2800" kern="1200">
          <a:solidFill>
            <a:schemeClr val="tx1"/>
          </a:solidFill>
          <a:latin typeface="+mn-lt"/>
          <a:ea typeface="+mn-ea"/>
          <a:cs typeface="+mn-cs"/>
        </a:defRPr>
      </a:lvl1pPr>
      <a:lvl2pPr marL="720090" algn="l" defTabSz="1440180" rtl="0" eaLnBrk="1" latinLnBrk="0" hangingPunct="1">
        <a:defRPr sz="2800" kern="1200">
          <a:solidFill>
            <a:schemeClr val="tx1"/>
          </a:solidFill>
          <a:latin typeface="+mn-lt"/>
          <a:ea typeface="+mn-ea"/>
          <a:cs typeface="+mn-cs"/>
        </a:defRPr>
      </a:lvl2pPr>
      <a:lvl3pPr marL="1440180" algn="l" defTabSz="1440180" rtl="0" eaLnBrk="1" latinLnBrk="0" hangingPunct="1">
        <a:defRPr sz="2800" kern="1200">
          <a:solidFill>
            <a:schemeClr val="tx1"/>
          </a:solidFill>
          <a:latin typeface="+mn-lt"/>
          <a:ea typeface="+mn-ea"/>
          <a:cs typeface="+mn-cs"/>
        </a:defRPr>
      </a:lvl3pPr>
      <a:lvl4pPr marL="2160270" algn="l" defTabSz="1440180" rtl="0" eaLnBrk="1" latinLnBrk="0" hangingPunct="1">
        <a:defRPr sz="2800" kern="1200">
          <a:solidFill>
            <a:schemeClr val="tx1"/>
          </a:solidFill>
          <a:latin typeface="+mn-lt"/>
          <a:ea typeface="+mn-ea"/>
          <a:cs typeface="+mn-cs"/>
        </a:defRPr>
      </a:lvl4pPr>
      <a:lvl5pPr marL="2880360" algn="l" defTabSz="1440180" rtl="0" eaLnBrk="1" latinLnBrk="0" hangingPunct="1">
        <a:defRPr sz="2800" kern="1200">
          <a:solidFill>
            <a:schemeClr val="tx1"/>
          </a:solidFill>
          <a:latin typeface="+mn-lt"/>
          <a:ea typeface="+mn-ea"/>
          <a:cs typeface="+mn-cs"/>
        </a:defRPr>
      </a:lvl5pPr>
      <a:lvl6pPr marL="3600450" algn="l" defTabSz="1440180" rtl="0" eaLnBrk="1" latinLnBrk="0" hangingPunct="1">
        <a:defRPr sz="2800" kern="1200">
          <a:solidFill>
            <a:schemeClr val="tx1"/>
          </a:solidFill>
          <a:latin typeface="+mn-lt"/>
          <a:ea typeface="+mn-ea"/>
          <a:cs typeface="+mn-cs"/>
        </a:defRPr>
      </a:lvl6pPr>
      <a:lvl7pPr marL="4320540" algn="l" defTabSz="1440180" rtl="0" eaLnBrk="1" latinLnBrk="0" hangingPunct="1">
        <a:defRPr sz="2800" kern="1200">
          <a:solidFill>
            <a:schemeClr val="tx1"/>
          </a:solidFill>
          <a:latin typeface="+mn-lt"/>
          <a:ea typeface="+mn-ea"/>
          <a:cs typeface="+mn-cs"/>
        </a:defRPr>
      </a:lvl7pPr>
      <a:lvl8pPr marL="5040630" algn="l" defTabSz="1440180" rtl="0" eaLnBrk="1" latinLnBrk="0" hangingPunct="1">
        <a:defRPr sz="2800" kern="1200">
          <a:solidFill>
            <a:schemeClr val="tx1"/>
          </a:solidFill>
          <a:latin typeface="+mn-lt"/>
          <a:ea typeface="+mn-ea"/>
          <a:cs typeface="+mn-cs"/>
        </a:defRPr>
      </a:lvl8pPr>
      <a:lvl9pPr marL="5760720" algn="l" defTabSz="1440180" rtl="0" eaLnBrk="1" latinLnBrk="0" hangingPunct="1">
        <a:defRPr sz="2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2" descr="C:\Users\Leslie\AppData\Local\Temp\x10sctmp.png"/>
          <p:cNvPicPr>
            <a:picLocks noChangeAspect="1" noChangeArrowheads="1"/>
          </p:cNvPicPr>
          <p:nvPr userDrawn="1"/>
        </p:nvPicPr>
        <p:blipFill>
          <a:blip r:embed="rId76" cstate="screen">
            <a:extLst>
              <a:ext uri="{28A0092B-C50C-407E-A947-70E740481C1C}">
                <a14:useLocalDpi xmlns:a14="http://schemas.microsoft.com/office/drawing/2010/main"/>
              </a:ext>
            </a:extLst>
          </a:blip>
          <a:srcRect/>
          <a:stretch>
            <a:fillRect/>
          </a:stretch>
        </p:blipFill>
        <p:spPr bwMode="auto">
          <a:xfrm>
            <a:off x="14713426" y="396198"/>
            <a:ext cx="1008564" cy="9821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29325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Lst>
  <p:txStyles>
    <p:titleStyle>
      <a:lvl1pPr algn="ctr" defTabSz="1199790" rtl="0" eaLnBrk="1" latinLnBrk="0" hangingPunct="1">
        <a:spcBef>
          <a:spcPct val="0"/>
        </a:spcBef>
        <a:buNone/>
        <a:defRPr sz="5774" kern="1200">
          <a:solidFill>
            <a:schemeClr val="tx1"/>
          </a:solidFill>
          <a:latin typeface="+mj-lt"/>
          <a:ea typeface="+mj-ea"/>
          <a:cs typeface="+mj-cs"/>
        </a:defRPr>
      </a:lvl1pPr>
    </p:titleStyle>
    <p:bodyStyle>
      <a:lvl1pPr marL="449921" indent="-449921" algn="l" defTabSz="1199790" rtl="0" eaLnBrk="1" latinLnBrk="0" hangingPunct="1">
        <a:spcBef>
          <a:spcPct val="20000"/>
        </a:spcBef>
        <a:buFont typeface="Arial" pitchFamily="34" charset="0"/>
        <a:buChar char="•"/>
        <a:defRPr sz="4199" kern="1200">
          <a:solidFill>
            <a:schemeClr val="tx1"/>
          </a:solidFill>
          <a:latin typeface="+mn-lt"/>
          <a:ea typeface="+mn-ea"/>
          <a:cs typeface="+mn-cs"/>
        </a:defRPr>
      </a:lvl1pPr>
      <a:lvl2pPr marL="974829" indent="-374934" algn="l" defTabSz="1199790" rtl="0" eaLnBrk="1" latinLnBrk="0" hangingPunct="1">
        <a:spcBef>
          <a:spcPct val="20000"/>
        </a:spcBef>
        <a:buFont typeface="Arial" pitchFamily="34" charset="0"/>
        <a:buChar char="–"/>
        <a:defRPr sz="3674" kern="1200">
          <a:solidFill>
            <a:schemeClr val="tx1"/>
          </a:solidFill>
          <a:latin typeface="+mn-lt"/>
          <a:ea typeface="+mn-ea"/>
          <a:cs typeface="+mn-cs"/>
        </a:defRPr>
      </a:lvl2pPr>
      <a:lvl3pPr marL="1499737" indent="-299947" algn="l" defTabSz="1199790" rtl="0" eaLnBrk="1" latinLnBrk="0" hangingPunct="1">
        <a:spcBef>
          <a:spcPct val="20000"/>
        </a:spcBef>
        <a:buFont typeface="Arial" pitchFamily="34" charset="0"/>
        <a:buChar char="•"/>
        <a:defRPr sz="3149" kern="1200">
          <a:solidFill>
            <a:schemeClr val="tx1"/>
          </a:solidFill>
          <a:latin typeface="+mn-lt"/>
          <a:ea typeface="+mn-ea"/>
          <a:cs typeface="+mn-cs"/>
        </a:defRPr>
      </a:lvl3pPr>
      <a:lvl4pPr marL="2099633" indent="-299947" algn="l" defTabSz="1199790" rtl="0" eaLnBrk="1" latinLnBrk="0" hangingPunct="1">
        <a:spcBef>
          <a:spcPct val="20000"/>
        </a:spcBef>
        <a:buFont typeface="Arial" pitchFamily="34" charset="0"/>
        <a:buChar char="–"/>
        <a:defRPr sz="2624" kern="1200">
          <a:solidFill>
            <a:schemeClr val="tx1"/>
          </a:solidFill>
          <a:latin typeface="+mn-lt"/>
          <a:ea typeface="+mn-ea"/>
          <a:cs typeface="+mn-cs"/>
        </a:defRPr>
      </a:lvl4pPr>
      <a:lvl5pPr marL="2699528" indent="-299947" algn="l" defTabSz="1199790" rtl="0" eaLnBrk="1" latinLnBrk="0" hangingPunct="1">
        <a:spcBef>
          <a:spcPct val="20000"/>
        </a:spcBef>
        <a:buFont typeface="Arial" pitchFamily="34" charset="0"/>
        <a:buChar char="»"/>
        <a:defRPr sz="2624" kern="1200">
          <a:solidFill>
            <a:schemeClr val="tx1"/>
          </a:solidFill>
          <a:latin typeface="+mn-lt"/>
          <a:ea typeface="+mn-ea"/>
          <a:cs typeface="+mn-cs"/>
        </a:defRPr>
      </a:lvl5pPr>
      <a:lvl6pPr marL="3299423" indent="-299947" algn="l" defTabSz="1199790" rtl="0" eaLnBrk="1" latinLnBrk="0" hangingPunct="1">
        <a:spcBef>
          <a:spcPct val="20000"/>
        </a:spcBef>
        <a:buFont typeface="Arial" pitchFamily="34" charset="0"/>
        <a:buChar char="•"/>
        <a:defRPr sz="2624" kern="1200">
          <a:solidFill>
            <a:schemeClr val="tx1"/>
          </a:solidFill>
          <a:latin typeface="+mn-lt"/>
          <a:ea typeface="+mn-ea"/>
          <a:cs typeface="+mn-cs"/>
        </a:defRPr>
      </a:lvl6pPr>
      <a:lvl7pPr marL="3899317" indent="-299947" algn="l" defTabSz="1199790" rtl="0" eaLnBrk="1" latinLnBrk="0" hangingPunct="1">
        <a:spcBef>
          <a:spcPct val="20000"/>
        </a:spcBef>
        <a:buFont typeface="Arial" pitchFamily="34" charset="0"/>
        <a:buChar char="•"/>
        <a:defRPr sz="2624" kern="1200">
          <a:solidFill>
            <a:schemeClr val="tx1"/>
          </a:solidFill>
          <a:latin typeface="+mn-lt"/>
          <a:ea typeface="+mn-ea"/>
          <a:cs typeface="+mn-cs"/>
        </a:defRPr>
      </a:lvl7pPr>
      <a:lvl8pPr marL="4499212" indent="-299947" algn="l" defTabSz="1199790" rtl="0" eaLnBrk="1" latinLnBrk="0" hangingPunct="1">
        <a:spcBef>
          <a:spcPct val="20000"/>
        </a:spcBef>
        <a:buFont typeface="Arial" pitchFamily="34" charset="0"/>
        <a:buChar char="•"/>
        <a:defRPr sz="2624" kern="1200">
          <a:solidFill>
            <a:schemeClr val="tx1"/>
          </a:solidFill>
          <a:latin typeface="+mn-lt"/>
          <a:ea typeface="+mn-ea"/>
          <a:cs typeface="+mn-cs"/>
        </a:defRPr>
      </a:lvl8pPr>
      <a:lvl9pPr marL="5099107" indent="-299947" algn="l" defTabSz="1199790" rtl="0" eaLnBrk="1" latinLnBrk="0" hangingPunct="1">
        <a:spcBef>
          <a:spcPct val="20000"/>
        </a:spcBef>
        <a:buFont typeface="Arial" pitchFamily="34" charset="0"/>
        <a:buChar char="•"/>
        <a:defRPr sz="2624" kern="1200">
          <a:solidFill>
            <a:schemeClr val="tx1"/>
          </a:solidFill>
          <a:latin typeface="+mn-lt"/>
          <a:ea typeface="+mn-ea"/>
          <a:cs typeface="+mn-cs"/>
        </a:defRPr>
      </a:lvl9pPr>
    </p:bodyStyle>
    <p:otherStyle>
      <a:defPPr>
        <a:defRPr lang="es-CL"/>
      </a:defPPr>
      <a:lvl1pPr marL="0" algn="l" defTabSz="1199790" rtl="0" eaLnBrk="1" latinLnBrk="0" hangingPunct="1">
        <a:defRPr sz="2361" kern="1200">
          <a:solidFill>
            <a:schemeClr val="tx1"/>
          </a:solidFill>
          <a:latin typeface="+mn-lt"/>
          <a:ea typeface="+mn-ea"/>
          <a:cs typeface="+mn-cs"/>
        </a:defRPr>
      </a:lvl1pPr>
      <a:lvl2pPr marL="599895" algn="l" defTabSz="1199790" rtl="0" eaLnBrk="1" latinLnBrk="0" hangingPunct="1">
        <a:defRPr sz="2361" kern="1200">
          <a:solidFill>
            <a:schemeClr val="tx1"/>
          </a:solidFill>
          <a:latin typeface="+mn-lt"/>
          <a:ea typeface="+mn-ea"/>
          <a:cs typeface="+mn-cs"/>
        </a:defRPr>
      </a:lvl2pPr>
      <a:lvl3pPr marL="1199790" algn="l" defTabSz="1199790" rtl="0" eaLnBrk="1" latinLnBrk="0" hangingPunct="1">
        <a:defRPr sz="2361" kern="1200">
          <a:solidFill>
            <a:schemeClr val="tx1"/>
          </a:solidFill>
          <a:latin typeface="+mn-lt"/>
          <a:ea typeface="+mn-ea"/>
          <a:cs typeface="+mn-cs"/>
        </a:defRPr>
      </a:lvl3pPr>
      <a:lvl4pPr marL="1799686" algn="l" defTabSz="1199790" rtl="0" eaLnBrk="1" latinLnBrk="0" hangingPunct="1">
        <a:defRPr sz="2361" kern="1200">
          <a:solidFill>
            <a:schemeClr val="tx1"/>
          </a:solidFill>
          <a:latin typeface="+mn-lt"/>
          <a:ea typeface="+mn-ea"/>
          <a:cs typeface="+mn-cs"/>
        </a:defRPr>
      </a:lvl4pPr>
      <a:lvl5pPr marL="2399579" algn="l" defTabSz="1199790" rtl="0" eaLnBrk="1" latinLnBrk="0" hangingPunct="1">
        <a:defRPr sz="2361" kern="1200">
          <a:solidFill>
            <a:schemeClr val="tx1"/>
          </a:solidFill>
          <a:latin typeface="+mn-lt"/>
          <a:ea typeface="+mn-ea"/>
          <a:cs typeface="+mn-cs"/>
        </a:defRPr>
      </a:lvl5pPr>
      <a:lvl6pPr marL="2999475" algn="l" defTabSz="1199790" rtl="0" eaLnBrk="1" latinLnBrk="0" hangingPunct="1">
        <a:defRPr sz="2361" kern="1200">
          <a:solidFill>
            <a:schemeClr val="tx1"/>
          </a:solidFill>
          <a:latin typeface="+mn-lt"/>
          <a:ea typeface="+mn-ea"/>
          <a:cs typeface="+mn-cs"/>
        </a:defRPr>
      </a:lvl6pPr>
      <a:lvl7pPr marL="3599370" algn="l" defTabSz="1199790" rtl="0" eaLnBrk="1" latinLnBrk="0" hangingPunct="1">
        <a:defRPr sz="2361" kern="1200">
          <a:solidFill>
            <a:schemeClr val="tx1"/>
          </a:solidFill>
          <a:latin typeface="+mn-lt"/>
          <a:ea typeface="+mn-ea"/>
          <a:cs typeface="+mn-cs"/>
        </a:defRPr>
      </a:lvl7pPr>
      <a:lvl8pPr marL="4199265" algn="l" defTabSz="1199790" rtl="0" eaLnBrk="1" latinLnBrk="0" hangingPunct="1">
        <a:defRPr sz="2361" kern="1200">
          <a:solidFill>
            <a:schemeClr val="tx1"/>
          </a:solidFill>
          <a:latin typeface="+mn-lt"/>
          <a:ea typeface="+mn-ea"/>
          <a:cs typeface="+mn-cs"/>
        </a:defRPr>
      </a:lvl8pPr>
      <a:lvl9pPr marL="4799160" algn="l" defTabSz="1199790" rtl="0" eaLnBrk="1" latinLnBrk="0" hangingPunct="1">
        <a:defRPr sz="236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10101" y="360462"/>
            <a:ext cx="14581823" cy="1500188"/>
          </a:xfrm>
          <a:prstGeom prst="rect">
            <a:avLst/>
          </a:prstGeom>
        </p:spPr>
        <p:txBody>
          <a:bodyPr vert="horz" lIns="144018" tIns="72009" rIns="144018" bIns="72009" rtlCol="0" anchor="ctr">
            <a:normAutofit/>
          </a:bodyPr>
          <a:lstStyle/>
          <a:p>
            <a:r>
              <a:rPr lang="es-ES"/>
              <a:t>Haga clic para modificar el estilo de título del patrón</a:t>
            </a:r>
            <a:endParaRPr lang="es-CL" dirty="0"/>
          </a:p>
        </p:txBody>
      </p:sp>
      <p:sp>
        <p:nvSpPr>
          <p:cNvPr id="3" name="Text Placeholder 2"/>
          <p:cNvSpPr>
            <a:spLocks noGrp="1"/>
          </p:cNvSpPr>
          <p:nvPr>
            <p:ph type="body" idx="1"/>
          </p:nvPr>
        </p:nvSpPr>
        <p:spPr>
          <a:xfrm>
            <a:off x="810101" y="2100263"/>
            <a:ext cx="14581823" cy="5940326"/>
          </a:xfrm>
          <a:prstGeom prst="rect">
            <a:avLst/>
          </a:prstGeom>
        </p:spPr>
        <p:txBody>
          <a:bodyPr vert="horz" lIns="144018" tIns="72009" rIns="144018" bIns="72009"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Date Placeholder 3"/>
          <p:cNvSpPr>
            <a:spLocks noGrp="1"/>
          </p:cNvSpPr>
          <p:nvPr>
            <p:ph type="dt" sz="half" idx="2"/>
          </p:nvPr>
        </p:nvSpPr>
        <p:spPr>
          <a:xfrm>
            <a:off x="810101" y="8342711"/>
            <a:ext cx="3780473" cy="479227"/>
          </a:xfrm>
          <a:prstGeom prst="rect">
            <a:avLst/>
          </a:prstGeom>
        </p:spPr>
        <p:txBody>
          <a:bodyPr vert="horz" lIns="144018" tIns="72009" rIns="144018" bIns="72009" rtlCol="0" anchor="ctr"/>
          <a:lstStyle>
            <a:lvl1pPr algn="l">
              <a:defRPr sz="1877">
                <a:solidFill>
                  <a:schemeClr val="tx1">
                    <a:tint val="75000"/>
                  </a:schemeClr>
                </a:solidFill>
              </a:defRPr>
            </a:lvl1pPr>
          </a:lstStyle>
          <a:p>
            <a:pPr defTabSz="1200150"/>
            <a:fld id="{E51760D5-0A4F-46CB-966E-D7A789D304D4}" type="datetimeFigureOut">
              <a:rPr lang="es-CL" smtClean="0">
                <a:solidFill>
                  <a:srgbClr val="0C662F">
                    <a:tint val="75000"/>
                  </a:srgbClr>
                </a:solidFill>
              </a:rPr>
              <a:pPr defTabSz="1200150"/>
              <a:t>23-01-2025</a:t>
            </a:fld>
            <a:endParaRPr lang="es-CL">
              <a:solidFill>
                <a:srgbClr val="0C662F">
                  <a:tint val="75000"/>
                </a:srgbClr>
              </a:solidFill>
            </a:endParaRPr>
          </a:p>
        </p:txBody>
      </p:sp>
      <p:sp>
        <p:nvSpPr>
          <p:cNvPr id="5" name="Footer Placeholder 4"/>
          <p:cNvSpPr>
            <a:spLocks noGrp="1"/>
          </p:cNvSpPr>
          <p:nvPr>
            <p:ph type="ftr" sz="quarter" idx="3"/>
          </p:nvPr>
        </p:nvSpPr>
        <p:spPr>
          <a:xfrm>
            <a:off x="5535692" y="8342711"/>
            <a:ext cx="5130641" cy="479227"/>
          </a:xfrm>
          <a:prstGeom prst="rect">
            <a:avLst/>
          </a:prstGeom>
        </p:spPr>
        <p:txBody>
          <a:bodyPr vert="horz" lIns="144018" tIns="72009" rIns="144018" bIns="72009" rtlCol="0" anchor="ctr"/>
          <a:lstStyle>
            <a:lvl1pPr algn="ctr">
              <a:defRPr sz="1877">
                <a:solidFill>
                  <a:schemeClr val="tx1">
                    <a:tint val="75000"/>
                  </a:schemeClr>
                </a:solidFill>
              </a:defRPr>
            </a:lvl1pPr>
          </a:lstStyle>
          <a:p>
            <a:pPr defTabSz="1200150"/>
            <a:endParaRPr lang="es-CL">
              <a:solidFill>
                <a:srgbClr val="0C662F">
                  <a:tint val="75000"/>
                </a:srgbClr>
              </a:solidFill>
            </a:endParaRPr>
          </a:p>
        </p:txBody>
      </p:sp>
      <p:sp>
        <p:nvSpPr>
          <p:cNvPr id="6" name="Slide Number Placeholder 5"/>
          <p:cNvSpPr>
            <a:spLocks noGrp="1"/>
          </p:cNvSpPr>
          <p:nvPr>
            <p:ph type="sldNum" sz="quarter" idx="4"/>
          </p:nvPr>
        </p:nvSpPr>
        <p:spPr>
          <a:xfrm>
            <a:off x="11611451" y="8342711"/>
            <a:ext cx="3780473" cy="479227"/>
          </a:xfrm>
          <a:prstGeom prst="rect">
            <a:avLst/>
          </a:prstGeom>
        </p:spPr>
        <p:txBody>
          <a:bodyPr vert="horz" lIns="144018" tIns="72009" rIns="144018" bIns="72009" rtlCol="0" anchor="ctr"/>
          <a:lstStyle>
            <a:lvl1pPr algn="r">
              <a:defRPr sz="1877">
                <a:solidFill>
                  <a:schemeClr val="tx1">
                    <a:tint val="75000"/>
                  </a:schemeClr>
                </a:solidFill>
              </a:defRPr>
            </a:lvl1pPr>
          </a:lstStyle>
          <a:p>
            <a:pPr defTabSz="1200150"/>
            <a:fld id="{D53CCA99-CF64-451F-A9BB-06365FA9480C}" type="slidenum">
              <a:rPr lang="es-CL" smtClean="0">
                <a:solidFill>
                  <a:srgbClr val="0C662F">
                    <a:tint val="75000"/>
                  </a:srgbClr>
                </a:solidFill>
              </a:rPr>
              <a:pPr defTabSz="1200150"/>
              <a:t>‹Nº›</a:t>
            </a:fld>
            <a:endParaRPr lang="es-CL">
              <a:solidFill>
                <a:srgbClr val="0C662F">
                  <a:tint val="75000"/>
                </a:srgbClr>
              </a:solidFill>
            </a:endParaRPr>
          </a:p>
        </p:txBody>
      </p:sp>
    </p:spTree>
    <p:extLst>
      <p:ext uri="{BB962C8B-B14F-4D97-AF65-F5344CB8AC3E}">
        <p14:creationId xmlns:p14="http://schemas.microsoft.com/office/powerpoint/2010/main" val="1778182066"/>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768" r:id="rId32"/>
    <p:sldLayoutId id="2147483769" r:id="rId33"/>
    <p:sldLayoutId id="2147483770" r:id="rId34"/>
    <p:sldLayoutId id="2147483771" r:id="rId35"/>
    <p:sldLayoutId id="2147483772" r:id="rId36"/>
    <p:sldLayoutId id="2147483773" r:id="rId37"/>
    <p:sldLayoutId id="2147483774" r:id="rId38"/>
    <p:sldLayoutId id="2147483775" r:id="rId39"/>
    <p:sldLayoutId id="2147483776" r:id="rId40"/>
    <p:sldLayoutId id="2147483777" r:id="rId41"/>
    <p:sldLayoutId id="2147483778" r:id="rId42"/>
    <p:sldLayoutId id="2147483779" r:id="rId43"/>
    <p:sldLayoutId id="2147483780" r:id="rId44"/>
    <p:sldLayoutId id="2147483781" r:id="rId45"/>
    <p:sldLayoutId id="2147483782" r:id="rId46"/>
    <p:sldLayoutId id="2147483783" r:id="rId47"/>
    <p:sldLayoutId id="2147483784" r:id="rId48"/>
  </p:sldLayoutIdLst>
  <p:txStyles>
    <p:titleStyle>
      <a:lvl1pPr algn="ctr" defTabSz="1422402" rtl="0" eaLnBrk="1" latinLnBrk="0" hangingPunct="1">
        <a:spcBef>
          <a:spcPct val="0"/>
        </a:spcBef>
        <a:buNone/>
        <a:defRPr sz="6815" kern="1200">
          <a:solidFill>
            <a:schemeClr val="tx1"/>
          </a:solidFill>
          <a:latin typeface="+mj-lt"/>
          <a:ea typeface="+mj-ea"/>
          <a:cs typeface="+mj-cs"/>
        </a:defRPr>
      </a:lvl1pPr>
    </p:titleStyle>
    <p:bodyStyle>
      <a:lvl1pPr marL="533401" indent="-533401" algn="l" defTabSz="1422402" rtl="0" eaLnBrk="1" latinLnBrk="0" hangingPunct="1">
        <a:spcBef>
          <a:spcPct val="20000"/>
        </a:spcBef>
        <a:buFont typeface="Arial" pitchFamily="34" charset="0"/>
        <a:buChar char="•"/>
        <a:defRPr sz="4939" kern="1200">
          <a:solidFill>
            <a:schemeClr val="tx1"/>
          </a:solidFill>
          <a:latin typeface="+mn-lt"/>
          <a:ea typeface="+mn-ea"/>
          <a:cs typeface="+mn-cs"/>
        </a:defRPr>
      </a:lvl1pPr>
      <a:lvl2pPr marL="1155702" indent="-444500" algn="l" defTabSz="1422402" rtl="0" eaLnBrk="1" latinLnBrk="0" hangingPunct="1">
        <a:spcBef>
          <a:spcPct val="20000"/>
        </a:spcBef>
        <a:buFont typeface="Arial" pitchFamily="34" charset="0"/>
        <a:buChar char="–"/>
        <a:defRPr sz="4346" kern="1200">
          <a:solidFill>
            <a:schemeClr val="tx1"/>
          </a:solidFill>
          <a:latin typeface="+mn-lt"/>
          <a:ea typeface="+mn-ea"/>
          <a:cs typeface="+mn-cs"/>
        </a:defRPr>
      </a:lvl2pPr>
      <a:lvl3pPr marL="1778003" indent="-355601" algn="l" defTabSz="1422402" rtl="0" eaLnBrk="1" latinLnBrk="0" hangingPunct="1">
        <a:spcBef>
          <a:spcPct val="20000"/>
        </a:spcBef>
        <a:buFont typeface="Arial" pitchFamily="34" charset="0"/>
        <a:buChar char="•"/>
        <a:defRPr sz="3754" kern="1200">
          <a:solidFill>
            <a:schemeClr val="tx1"/>
          </a:solidFill>
          <a:latin typeface="+mn-lt"/>
          <a:ea typeface="+mn-ea"/>
          <a:cs typeface="+mn-cs"/>
        </a:defRPr>
      </a:lvl3pPr>
      <a:lvl4pPr marL="2489205" indent="-355601" algn="l" defTabSz="1422402" rtl="0" eaLnBrk="1" latinLnBrk="0" hangingPunct="1">
        <a:spcBef>
          <a:spcPct val="20000"/>
        </a:spcBef>
        <a:buFont typeface="Arial" pitchFamily="34" charset="0"/>
        <a:buChar char="–"/>
        <a:defRPr sz="3161" kern="1200">
          <a:solidFill>
            <a:schemeClr val="tx1"/>
          </a:solidFill>
          <a:latin typeface="+mn-lt"/>
          <a:ea typeface="+mn-ea"/>
          <a:cs typeface="+mn-cs"/>
        </a:defRPr>
      </a:lvl4pPr>
      <a:lvl5pPr marL="3200407" indent="-355601" algn="l" defTabSz="1422402" rtl="0" eaLnBrk="1" latinLnBrk="0" hangingPunct="1">
        <a:spcBef>
          <a:spcPct val="20000"/>
        </a:spcBef>
        <a:buFont typeface="Arial" pitchFamily="34" charset="0"/>
        <a:buChar char="»"/>
        <a:defRPr sz="3161" kern="1200">
          <a:solidFill>
            <a:schemeClr val="tx1"/>
          </a:solidFill>
          <a:latin typeface="+mn-lt"/>
          <a:ea typeface="+mn-ea"/>
          <a:cs typeface="+mn-cs"/>
        </a:defRPr>
      </a:lvl5pPr>
      <a:lvl6pPr marL="3911607" indent="-355601" algn="l" defTabSz="1422402" rtl="0" eaLnBrk="1" latinLnBrk="0" hangingPunct="1">
        <a:spcBef>
          <a:spcPct val="20000"/>
        </a:spcBef>
        <a:buFont typeface="Arial" pitchFamily="34" charset="0"/>
        <a:buChar char="•"/>
        <a:defRPr sz="3161" kern="1200">
          <a:solidFill>
            <a:schemeClr val="tx1"/>
          </a:solidFill>
          <a:latin typeface="+mn-lt"/>
          <a:ea typeface="+mn-ea"/>
          <a:cs typeface="+mn-cs"/>
        </a:defRPr>
      </a:lvl6pPr>
      <a:lvl7pPr marL="4622809" indent="-355601" algn="l" defTabSz="1422402" rtl="0" eaLnBrk="1" latinLnBrk="0" hangingPunct="1">
        <a:spcBef>
          <a:spcPct val="20000"/>
        </a:spcBef>
        <a:buFont typeface="Arial" pitchFamily="34" charset="0"/>
        <a:buChar char="•"/>
        <a:defRPr sz="3161" kern="1200">
          <a:solidFill>
            <a:schemeClr val="tx1"/>
          </a:solidFill>
          <a:latin typeface="+mn-lt"/>
          <a:ea typeface="+mn-ea"/>
          <a:cs typeface="+mn-cs"/>
        </a:defRPr>
      </a:lvl7pPr>
      <a:lvl8pPr marL="5334011" indent="-355601" algn="l" defTabSz="1422402" rtl="0" eaLnBrk="1" latinLnBrk="0" hangingPunct="1">
        <a:spcBef>
          <a:spcPct val="20000"/>
        </a:spcBef>
        <a:buFont typeface="Arial" pitchFamily="34" charset="0"/>
        <a:buChar char="•"/>
        <a:defRPr sz="3161" kern="1200">
          <a:solidFill>
            <a:schemeClr val="tx1"/>
          </a:solidFill>
          <a:latin typeface="+mn-lt"/>
          <a:ea typeface="+mn-ea"/>
          <a:cs typeface="+mn-cs"/>
        </a:defRPr>
      </a:lvl8pPr>
      <a:lvl9pPr marL="6045212" indent="-355601" algn="l" defTabSz="1422402" rtl="0" eaLnBrk="1" latinLnBrk="0" hangingPunct="1">
        <a:spcBef>
          <a:spcPct val="20000"/>
        </a:spcBef>
        <a:buFont typeface="Arial" pitchFamily="34" charset="0"/>
        <a:buChar char="•"/>
        <a:defRPr sz="3161" kern="1200">
          <a:solidFill>
            <a:schemeClr val="tx1"/>
          </a:solidFill>
          <a:latin typeface="+mn-lt"/>
          <a:ea typeface="+mn-ea"/>
          <a:cs typeface="+mn-cs"/>
        </a:defRPr>
      </a:lvl9pPr>
    </p:bodyStyle>
    <p:otherStyle>
      <a:defPPr>
        <a:defRPr lang="es-CL"/>
      </a:defPPr>
      <a:lvl1pPr marL="0" algn="l" defTabSz="1422402" rtl="0" eaLnBrk="1" latinLnBrk="0" hangingPunct="1">
        <a:defRPr sz="2765" kern="1200">
          <a:solidFill>
            <a:schemeClr val="tx1"/>
          </a:solidFill>
          <a:latin typeface="+mn-lt"/>
          <a:ea typeface="+mn-ea"/>
          <a:cs typeface="+mn-cs"/>
        </a:defRPr>
      </a:lvl1pPr>
      <a:lvl2pPr marL="711202" algn="l" defTabSz="1422402" rtl="0" eaLnBrk="1" latinLnBrk="0" hangingPunct="1">
        <a:defRPr sz="2765" kern="1200">
          <a:solidFill>
            <a:schemeClr val="tx1"/>
          </a:solidFill>
          <a:latin typeface="+mn-lt"/>
          <a:ea typeface="+mn-ea"/>
          <a:cs typeface="+mn-cs"/>
        </a:defRPr>
      </a:lvl2pPr>
      <a:lvl3pPr marL="1422402" algn="l" defTabSz="1422402" rtl="0" eaLnBrk="1" latinLnBrk="0" hangingPunct="1">
        <a:defRPr sz="2765" kern="1200">
          <a:solidFill>
            <a:schemeClr val="tx1"/>
          </a:solidFill>
          <a:latin typeface="+mn-lt"/>
          <a:ea typeface="+mn-ea"/>
          <a:cs typeface="+mn-cs"/>
        </a:defRPr>
      </a:lvl3pPr>
      <a:lvl4pPr marL="2133604" algn="l" defTabSz="1422402" rtl="0" eaLnBrk="1" latinLnBrk="0" hangingPunct="1">
        <a:defRPr sz="2765" kern="1200">
          <a:solidFill>
            <a:schemeClr val="tx1"/>
          </a:solidFill>
          <a:latin typeface="+mn-lt"/>
          <a:ea typeface="+mn-ea"/>
          <a:cs typeface="+mn-cs"/>
        </a:defRPr>
      </a:lvl4pPr>
      <a:lvl5pPr marL="2844806" algn="l" defTabSz="1422402" rtl="0" eaLnBrk="1" latinLnBrk="0" hangingPunct="1">
        <a:defRPr sz="2765" kern="1200">
          <a:solidFill>
            <a:schemeClr val="tx1"/>
          </a:solidFill>
          <a:latin typeface="+mn-lt"/>
          <a:ea typeface="+mn-ea"/>
          <a:cs typeface="+mn-cs"/>
        </a:defRPr>
      </a:lvl5pPr>
      <a:lvl6pPr marL="3556007" algn="l" defTabSz="1422402" rtl="0" eaLnBrk="1" latinLnBrk="0" hangingPunct="1">
        <a:defRPr sz="2765" kern="1200">
          <a:solidFill>
            <a:schemeClr val="tx1"/>
          </a:solidFill>
          <a:latin typeface="+mn-lt"/>
          <a:ea typeface="+mn-ea"/>
          <a:cs typeface="+mn-cs"/>
        </a:defRPr>
      </a:lvl6pPr>
      <a:lvl7pPr marL="4267208" algn="l" defTabSz="1422402" rtl="0" eaLnBrk="1" latinLnBrk="0" hangingPunct="1">
        <a:defRPr sz="2765" kern="1200">
          <a:solidFill>
            <a:schemeClr val="tx1"/>
          </a:solidFill>
          <a:latin typeface="+mn-lt"/>
          <a:ea typeface="+mn-ea"/>
          <a:cs typeface="+mn-cs"/>
        </a:defRPr>
      </a:lvl7pPr>
      <a:lvl8pPr marL="4978410" algn="l" defTabSz="1422402" rtl="0" eaLnBrk="1" latinLnBrk="0" hangingPunct="1">
        <a:defRPr sz="2765" kern="1200">
          <a:solidFill>
            <a:schemeClr val="tx1"/>
          </a:solidFill>
          <a:latin typeface="+mn-lt"/>
          <a:ea typeface="+mn-ea"/>
          <a:cs typeface="+mn-cs"/>
        </a:defRPr>
      </a:lvl8pPr>
      <a:lvl9pPr marL="5689611" algn="l" defTabSz="1422402" rtl="0" eaLnBrk="1" latinLnBrk="0" hangingPunct="1">
        <a:defRPr sz="2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7EAE2FC3-E8D4-FE4D-98F5-925B84F586BE}"/>
              </a:ext>
            </a:extLst>
          </p:cNvPr>
          <p:cNvSpPr>
            <a:spLocks noGrp="1"/>
          </p:cNvSpPr>
          <p:nvPr>
            <p:ph type="title"/>
          </p:nvPr>
        </p:nvSpPr>
        <p:spPr>
          <a:xfrm>
            <a:off x="1113889" y="479227"/>
            <a:ext cx="13974247" cy="1739801"/>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348AB11D-457D-7D41-8335-147C4E4C246D}"/>
              </a:ext>
            </a:extLst>
          </p:cNvPr>
          <p:cNvSpPr>
            <a:spLocks noGrp="1"/>
          </p:cNvSpPr>
          <p:nvPr>
            <p:ph type="body" idx="1"/>
          </p:nvPr>
        </p:nvSpPr>
        <p:spPr>
          <a:xfrm>
            <a:off x="1113889" y="2396133"/>
            <a:ext cx="13974247" cy="5711131"/>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1D5EA07A-1424-0F4F-BD85-682D60C45CA1}"/>
              </a:ext>
            </a:extLst>
          </p:cNvPr>
          <p:cNvSpPr>
            <a:spLocks noGrp="1"/>
          </p:cNvSpPr>
          <p:nvPr>
            <p:ph type="dt" sz="half" idx="2"/>
          </p:nvPr>
        </p:nvSpPr>
        <p:spPr>
          <a:xfrm>
            <a:off x="1113889" y="8342710"/>
            <a:ext cx="3645456" cy="479227"/>
          </a:xfrm>
          <a:prstGeom prst="rect">
            <a:avLst/>
          </a:prstGeom>
        </p:spPr>
        <p:txBody>
          <a:bodyPr vert="horz" lIns="91440" tIns="45720" rIns="91440" bIns="45720" rtlCol="0" anchor="ctr"/>
          <a:lstStyle>
            <a:lvl1pPr algn="l">
              <a:defRPr sz="1575">
                <a:solidFill>
                  <a:schemeClr val="tx1">
                    <a:tint val="75000"/>
                  </a:schemeClr>
                </a:solidFill>
              </a:defRPr>
            </a:lvl1pPr>
          </a:lstStyle>
          <a:p>
            <a:pPr defTabSz="1200150"/>
            <a:fld id="{CDACA158-DF4D-074D-AE31-E9964B8F1811}" type="datetimeFigureOut">
              <a:rPr lang="es-CL" smtClean="0">
                <a:solidFill>
                  <a:prstClr val="black">
                    <a:tint val="75000"/>
                  </a:prstClr>
                </a:solidFill>
              </a:rPr>
              <a:pPr defTabSz="1200150"/>
              <a:t>23-01-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F5D46D7D-5D94-DD44-BA69-DBCCFDB9C75E}"/>
              </a:ext>
            </a:extLst>
          </p:cNvPr>
          <p:cNvSpPr>
            <a:spLocks noGrp="1"/>
          </p:cNvSpPr>
          <p:nvPr>
            <p:ph type="ftr" sz="quarter" idx="3"/>
          </p:nvPr>
        </p:nvSpPr>
        <p:spPr>
          <a:xfrm>
            <a:off x="5366921" y="8342710"/>
            <a:ext cx="5468183" cy="479227"/>
          </a:xfrm>
          <a:prstGeom prst="rect">
            <a:avLst/>
          </a:prstGeom>
        </p:spPr>
        <p:txBody>
          <a:bodyPr vert="horz" lIns="91440" tIns="45720" rIns="91440" bIns="45720" rtlCol="0" anchor="ctr"/>
          <a:lstStyle>
            <a:lvl1pPr algn="ctr">
              <a:defRPr sz="1575">
                <a:solidFill>
                  <a:schemeClr val="tx1">
                    <a:tint val="75000"/>
                  </a:schemeClr>
                </a:solidFill>
              </a:defRPr>
            </a:lvl1pPr>
          </a:lstStyle>
          <a:p>
            <a:pPr defTabSz="1200150"/>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1C3A2914-F0B2-F043-8D6A-7832AE91E28B}"/>
              </a:ext>
            </a:extLst>
          </p:cNvPr>
          <p:cNvSpPr>
            <a:spLocks noGrp="1"/>
          </p:cNvSpPr>
          <p:nvPr>
            <p:ph type="sldNum" sz="quarter" idx="4"/>
          </p:nvPr>
        </p:nvSpPr>
        <p:spPr>
          <a:xfrm>
            <a:off x="11442680" y="8342710"/>
            <a:ext cx="3645456" cy="479227"/>
          </a:xfrm>
          <a:prstGeom prst="rect">
            <a:avLst/>
          </a:prstGeom>
        </p:spPr>
        <p:txBody>
          <a:bodyPr vert="horz" lIns="91440" tIns="45720" rIns="91440" bIns="45720" rtlCol="0" anchor="ctr"/>
          <a:lstStyle>
            <a:lvl1pPr algn="r">
              <a:defRPr sz="1575">
                <a:solidFill>
                  <a:schemeClr val="tx1">
                    <a:tint val="75000"/>
                  </a:schemeClr>
                </a:solidFill>
              </a:defRPr>
            </a:lvl1pPr>
          </a:lstStyle>
          <a:p>
            <a:pPr defTabSz="1200150"/>
            <a:fld id="{0E6E91D1-4FE0-7F41-A762-E8DCE95C4189}" type="slidenum">
              <a:rPr lang="es-CL" smtClean="0">
                <a:solidFill>
                  <a:prstClr val="black">
                    <a:tint val="75000"/>
                  </a:prstClr>
                </a:solidFill>
              </a:rPr>
              <a:pPr defTabSz="1200150"/>
              <a:t>‹Nº›</a:t>
            </a:fld>
            <a:endParaRPr lang="es-CL">
              <a:solidFill>
                <a:prstClr val="black">
                  <a:tint val="75000"/>
                </a:prstClr>
              </a:solidFill>
            </a:endParaRPr>
          </a:p>
        </p:txBody>
      </p:sp>
    </p:spTree>
    <p:extLst>
      <p:ext uri="{BB962C8B-B14F-4D97-AF65-F5344CB8AC3E}">
        <p14:creationId xmlns:p14="http://schemas.microsoft.com/office/powerpoint/2010/main" val="1767029569"/>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Lst>
  <p:txStyles>
    <p:titleStyle>
      <a:lvl1pPr algn="l" defTabSz="1200150" rtl="0" eaLnBrk="1" latinLnBrk="0" hangingPunct="1">
        <a:lnSpc>
          <a:spcPct val="90000"/>
        </a:lnSpc>
        <a:spcBef>
          <a:spcPct val="0"/>
        </a:spcBef>
        <a:buNone/>
        <a:defRPr sz="5775" kern="1200">
          <a:solidFill>
            <a:schemeClr val="tx1"/>
          </a:solidFill>
          <a:latin typeface="+mj-lt"/>
          <a:ea typeface="+mj-ea"/>
          <a:cs typeface="+mj-cs"/>
        </a:defRPr>
      </a:lvl1pPr>
    </p:titleStyle>
    <p:bodyStyle>
      <a:lvl1pPr marL="300038" indent="-300038" algn="l" defTabSz="1200150" rtl="0" eaLnBrk="1" latinLnBrk="0" hangingPunct="1">
        <a:lnSpc>
          <a:spcPct val="90000"/>
        </a:lnSpc>
        <a:spcBef>
          <a:spcPts val="1313"/>
        </a:spcBef>
        <a:buFont typeface="Arial" panose="020B0604020202020204" pitchFamily="34" charset="0"/>
        <a:buChar char="•"/>
        <a:defRPr sz="3675" kern="1200">
          <a:solidFill>
            <a:schemeClr val="tx1"/>
          </a:solidFill>
          <a:latin typeface="+mn-lt"/>
          <a:ea typeface="+mn-ea"/>
          <a:cs typeface="+mn-cs"/>
        </a:defRPr>
      </a:lvl1pPr>
      <a:lvl2pPr marL="900113" indent="-300038" algn="l" defTabSz="1200150" rtl="0" eaLnBrk="1" latinLnBrk="0" hangingPunct="1">
        <a:lnSpc>
          <a:spcPct val="90000"/>
        </a:lnSpc>
        <a:spcBef>
          <a:spcPts val="656"/>
        </a:spcBef>
        <a:buFont typeface="Arial" panose="020B0604020202020204" pitchFamily="34" charset="0"/>
        <a:buChar char="•"/>
        <a:defRPr sz="3150" kern="1200">
          <a:solidFill>
            <a:schemeClr val="tx1"/>
          </a:solidFill>
          <a:latin typeface="+mn-lt"/>
          <a:ea typeface="+mn-ea"/>
          <a:cs typeface="+mn-cs"/>
        </a:defRPr>
      </a:lvl2pPr>
      <a:lvl3pPr marL="1500188" indent="-300038" algn="l" defTabSz="1200150" rtl="0" eaLnBrk="1" latinLnBrk="0" hangingPunct="1">
        <a:lnSpc>
          <a:spcPct val="90000"/>
        </a:lnSpc>
        <a:spcBef>
          <a:spcPts val="656"/>
        </a:spcBef>
        <a:buFont typeface="Arial" panose="020B0604020202020204" pitchFamily="34" charset="0"/>
        <a:buChar char="•"/>
        <a:defRPr sz="2625" kern="1200">
          <a:solidFill>
            <a:schemeClr val="tx1"/>
          </a:solidFill>
          <a:latin typeface="+mn-lt"/>
          <a:ea typeface="+mn-ea"/>
          <a:cs typeface="+mn-cs"/>
        </a:defRPr>
      </a:lvl3pPr>
      <a:lvl4pPr marL="2100263"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4pPr>
      <a:lvl5pPr marL="2700338"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5pPr>
      <a:lvl6pPr marL="3300413"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6pPr>
      <a:lvl7pPr marL="3900488"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7pPr>
      <a:lvl8pPr marL="4500563"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8pPr>
      <a:lvl9pPr marL="5100638" indent="-300038" algn="l" defTabSz="1200150" rtl="0" eaLnBrk="1" latinLnBrk="0" hangingPunct="1">
        <a:lnSpc>
          <a:spcPct val="90000"/>
        </a:lnSpc>
        <a:spcBef>
          <a:spcPts val="656"/>
        </a:spcBef>
        <a:buFont typeface="Arial" panose="020B0604020202020204" pitchFamily="34" charset="0"/>
        <a:buChar char="•"/>
        <a:defRPr sz="2363" kern="1200">
          <a:solidFill>
            <a:schemeClr val="tx1"/>
          </a:solidFill>
          <a:latin typeface="+mn-lt"/>
          <a:ea typeface="+mn-ea"/>
          <a:cs typeface="+mn-cs"/>
        </a:defRPr>
      </a:lvl9pPr>
    </p:bodyStyle>
    <p:otherStyle>
      <a:defPPr>
        <a:defRPr lang="es-CL"/>
      </a:defPPr>
      <a:lvl1pPr marL="0" algn="l" defTabSz="1200150" rtl="0" eaLnBrk="1" latinLnBrk="0" hangingPunct="1">
        <a:defRPr sz="2363" kern="1200">
          <a:solidFill>
            <a:schemeClr val="tx1"/>
          </a:solidFill>
          <a:latin typeface="+mn-lt"/>
          <a:ea typeface="+mn-ea"/>
          <a:cs typeface="+mn-cs"/>
        </a:defRPr>
      </a:lvl1pPr>
      <a:lvl2pPr marL="600075" algn="l" defTabSz="1200150" rtl="0" eaLnBrk="1" latinLnBrk="0" hangingPunct="1">
        <a:defRPr sz="2363" kern="1200">
          <a:solidFill>
            <a:schemeClr val="tx1"/>
          </a:solidFill>
          <a:latin typeface="+mn-lt"/>
          <a:ea typeface="+mn-ea"/>
          <a:cs typeface="+mn-cs"/>
        </a:defRPr>
      </a:lvl2pPr>
      <a:lvl3pPr marL="1200150" algn="l" defTabSz="1200150" rtl="0" eaLnBrk="1" latinLnBrk="0" hangingPunct="1">
        <a:defRPr sz="2363" kern="1200">
          <a:solidFill>
            <a:schemeClr val="tx1"/>
          </a:solidFill>
          <a:latin typeface="+mn-lt"/>
          <a:ea typeface="+mn-ea"/>
          <a:cs typeface="+mn-cs"/>
        </a:defRPr>
      </a:lvl3pPr>
      <a:lvl4pPr marL="1800225" algn="l" defTabSz="1200150" rtl="0" eaLnBrk="1" latinLnBrk="0" hangingPunct="1">
        <a:defRPr sz="2363" kern="1200">
          <a:solidFill>
            <a:schemeClr val="tx1"/>
          </a:solidFill>
          <a:latin typeface="+mn-lt"/>
          <a:ea typeface="+mn-ea"/>
          <a:cs typeface="+mn-cs"/>
        </a:defRPr>
      </a:lvl4pPr>
      <a:lvl5pPr marL="2400300" algn="l" defTabSz="1200150" rtl="0" eaLnBrk="1" latinLnBrk="0" hangingPunct="1">
        <a:defRPr sz="2363" kern="1200">
          <a:solidFill>
            <a:schemeClr val="tx1"/>
          </a:solidFill>
          <a:latin typeface="+mn-lt"/>
          <a:ea typeface="+mn-ea"/>
          <a:cs typeface="+mn-cs"/>
        </a:defRPr>
      </a:lvl5pPr>
      <a:lvl6pPr marL="3000375" algn="l" defTabSz="1200150" rtl="0" eaLnBrk="1" latinLnBrk="0" hangingPunct="1">
        <a:defRPr sz="2363" kern="1200">
          <a:solidFill>
            <a:schemeClr val="tx1"/>
          </a:solidFill>
          <a:latin typeface="+mn-lt"/>
          <a:ea typeface="+mn-ea"/>
          <a:cs typeface="+mn-cs"/>
        </a:defRPr>
      </a:lvl6pPr>
      <a:lvl7pPr marL="3600450" algn="l" defTabSz="1200150" rtl="0" eaLnBrk="1" latinLnBrk="0" hangingPunct="1">
        <a:defRPr sz="2363" kern="1200">
          <a:solidFill>
            <a:schemeClr val="tx1"/>
          </a:solidFill>
          <a:latin typeface="+mn-lt"/>
          <a:ea typeface="+mn-ea"/>
          <a:cs typeface="+mn-cs"/>
        </a:defRPr>
      </a:lvl7pPr>
      <a:lvl8pPr marL="4200525" algn="l" defTabSz="1200150" rtl="0" eaLnBrk="1" latinLnBrk="0" hangingPunct="1">
        <a:defRPr sz="2363" kern="1200">
          <a:solidFill>
            <a:schemeClr val="tx1"/>
          </a:solidFill>
          <a:latin typeface="+mn-lt"/>
          <a:ea typeface="+mn-ea"/>
          <a:cs typeface="+mn-cs"/>
        </a:defRPr>
      </a:lvl8pPr>
      <a:lvl9pPr marL="4800600" algn="l" defTabSz="1200150" rtl="0" eaLnBrk="1" latinLnBrk="0" hangingPunct="1">
        <a:defRPr sz="23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7.xml"/><Relationship Id="rId5" Type="http://schemas.openxmlformats.org/officeDocument/2006/relationships/image" Target="../media/image19.jpeg"/><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jp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46.jpg"/><Relationship Id="rId5" Type="http://schemas.openxmlformats.org/officeDocument/2006/relationships/image" Target="../media/image45.jpeg"/><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29.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0.xml"/><Relationship Id="rId4" Type="http://schemas.openxmlformats.org/officeDocument/2006/relationships/image" Target="../media/image46.jp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image" Target="../media/image49.jpeg"/><Relationship Id="rId4" Type="http://schemas.openxmlformats.org/officeDocument/2006/relationships/image" Target="../media/image48.jpe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2.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3.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4.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5.xml"/></Relationships>
</file>

<file path=ppt/slides/_rels/slide2.xml.rels><?xml version="1.0" encoding="UTF-8" standalone="yes"?>
<Relationships xmlns="http://schemas.openxmlformats.org/package/2006/relationships"><Relationship Id="rId3" Type="http://schemas.openxmlformats.org/officeDocument/2006/relationships/image" Target="../media/image20.tiff"/><Relationship Id="rId7" Type="http://schemas.openxmlformats.org/officeDocument/2006/relationships/image" Target="../media/image24.emf"/><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50.png"/></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7.xml"/><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3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image" Target="../media/image21.png"/><Relationship Id="rId4" Type="http://schemas.openxmlformats.org/officeDocument/2006/relationships/image" Target="../media/image52.emf"/></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image" Target="../media/image54.jpeg"/><Relationship Id="rId4" Type="http://schemas.openxmlformats.org/officeDocument/2006/relationships/image" Target="../media/image53.jpg"/></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1.xml"/><Relationship Id="rId4" Type="http://schemas.openxmlformats.org/officeDocument/2006/relationships/image" Target="../media/image55.jpg"/></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2.xml"/><Relationship Id="rId4" Type="http://schemas.openxmlformats.org/officeDocument/2006/relationships/image" Target="../media/image56.jpeg"/></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3.xml"/></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4.xml"/><Relationship Id="rId4" Type="http://schemas.openxmlformats.org/officeDocument/2006/relationships/image" Target="../media/image55.jpg"/></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5.xm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1.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59.emf"/><Relationship Id="rId5" Type="http://schemas.openxmlformats.org/officeDocument/2006/relationships/image" Target="../media/image58.emf"/><Relationship Id="rId4" Type="http://schemas.openxmlformats.org/officeDocument/2006/relationships/image" Target="../media/image57.emf"/></Relationships>
</file>

<file path=ppt/slides/_rels/slide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hyperlink" Target="http://silicosis.ispch.cl/hinicio.aspx" TargetMode="External"/><Relationship Id="rId4" Type="http://schemas.openxmlformats.org/officeDocument/2006/relationships/image" Target="../media/image60.jpg"/></Relationships>
</file>

<file path=ppt/slides/_rels/slide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8.xml"/></Relationships>
</file>

<file path=ppt/slides/_rels/slide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49.xml"/></Relationships>
</file>

<file path=ppt/slides/_rels/slide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50.xml"/></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51.xml"/></Relationships>
</file>

<file path=ppt/slides/_rels/slide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52.xm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53.xml"/></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54.xml"/></Relationships>
</file>

<file path=ppt/slides/_rels/slide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55.xml"/></Relationships>
</file>

<file path=ppt/slides/_rels/slide4.xml.rels><?xml version="1.0" encoding="UTF-8" standalone="yes"?>
<Relationships xmlns="http://schemas.openxmlformats.org/package/2006/relationships"><Relationship Id="rId8" Type="http://schemas.openxmlformats.org/officeDocument/2006/relationships/image" Target="../media/image32.tiff"/><Relationship Id="rId3" Type="http://schemas.openxmlformats.org/officeDocument/2006/relationships/image" Target="../media/image21.png"/><Relationship Id="rId7" Type="http://schemas.openxmlformats.org/officeDocument/2006/relationships/image" Target="../media/image31.tiff"/><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30.tiff"/><Relationship Id="rId5" Type="http://schemas.openxmlformats.org/officeDocument/2006/relationships/image" Target="../media/image29.tiff"/><Relationship Id="rId4" Type="http://schemas.openxmlformats.org/officeDocument/2006/relationships/image" Target="../media/image28.tiff"/><Relationship Id="rId9" Type="http://schemas.openxmlformats.org/officeDocument/2006/relationships/image" Target="../media/image33.png"/></Relationships>
</file>

<file path=ppt/slides/_rels/slide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56.xml"/></Relationships>
</file>

<file path=ppt/slides/_rels/slide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57.xml"/></Relationships>
</file>

<file path=ppt/slides/_rels/slide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Layout" Target="../slideLayouts/slideLayout135.xml"/><Relationship Id="rId1" Type="http://schemas.openxmlformats.org/officeDocument/2006/relationships/tags" Target="../tags/tag58.xml"/><Relationship Id="rId6" Type="http://schemas.openxmlformats.org/officeDocument/2006/relationships/image" Target="../media/image63.png"/><Relationship Id="rId5" Type="http://schemas.openxmlformats.org/officeDocument/2006/relationships/image" Target="../media/image59.svg"/><Relationship Id="rId4" Type="http://schemas.openxmlformats.org/officeDocument/2006/relationships/image" Target="../media/image62.png"/></Relationships>
</file>

<file path=ppt/slides/_rels/slide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Layout" Target="../slideLayouts/slideLayout135.xml"/><Relationship Id="rId1" Type="http://schemas.openxmlformats.org/officeDocument/2006/relationships/tags" Target="../tags/tag59.xml"/><Relationship Id="rId6" Type="http://schemas.openxmlformats.org/officeDocument/2006/relationships/image" Target="../media/image64.png"/><Relationship Id="rId5" Type="http://schemas.openxmlformats.org/officeDocument/2006/relationships/image" Target="../media/image59.svg"/><Relationship Id="rId4" Type="http://schemas.openxmlformats.org/officeDocument/2006/relationships/image" Target="../media/image62.png"/></Relationships>
</file>

<file path=ppt/slides/_rels/slide4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slideLayout" Target="../slideLayouts/slideLayout7.xml"/><Relationship Id="rId1" Type="http://schemas.openxmlformats.org/officeDocument/2006/relationships/tags" Target="../tags/tag60.xml"/><Relationship Id="rId4" Type="http://schemas.openxmlformats.org/officeDocument/2006/relationships/image" Target="../media/image66.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21.xml"/><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7.xml"/><Relationship Id="rId1" Type="http://schemas.openxmlformats.org/officeDocument/2006/relationships/tags" Target="../tags/tag22.xml"/><Relationship Id="rId5" Type="http://schemas.openxmlformats.org/officeDocument/2006/relationships/image" Target="../media/image21.png"/><Relationship Id="rId4" Type="http://schemas.openxmlformats.org/officeDocument/2006/relationships/image" Target="../media/image36.jp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23.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24.xml"/><Relationship Id="rId5" Type="http://schemas.openxmlformats.org/officeDocument/2006/relationships/image" Target="../media/image38.png"/><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7.xml"/><Relationship Id="rId1" Type="http://schemas.openxmlformats.org/officeDocument/2006/relationships/tags" Target="../tags/tag25.xml"/><Relationship Id="rId5" Type="http://schemas.openxmlformats.org/officeDocument/2006/relationships/image" Target="../media/image21.png"/><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9">
            <a:extLst>
              <a:ext uri="{FF2B5EF4-FFF2-40B4-BE49-F238E27FC236}">
                <a16:creationId xmlns:a16="http://schemas.microsoft.com/office/drawing/2014/main" xmlns="" id="{3C61F3E9-A23A-C642-AA0C-98C2C2EFD710}"/>
              </a:ext>
            </a:extLst>
          </p:cNvPr>
          <p:cNvSpPr/>
          <p:nvPr/>
        </p:nvSpPr>
        <p:spPr>
          <a:xfrm>
            <a:off x="62829" y="0"/>
            <a:ext cx="16381932" cy="9054587"/>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s-CL" sz="3675" dirty="0"/>
          </a:p>
        </p:txBody>
      </p:sp>
      <p:sp>
        <p:nvSpPr>
          <p:cNvPr id="12" name="Marcador de texto 1">
            <a:extLst>
              <a:ext uri="{FF2B5EF4-FFF2-40B4-BE49-F238E27FC236}">
                <a16:creationId xmlns:a16="http://schemas.microsoft.com/office/drawing/2014/main" xmlns="" id="{584B8F00-4B44-E64B-806A-31F8BE681DBC}"/>
              </a:ext>
            </a:extLst>
          </p:cNvPr>
          <p:cNvSpPr txBox="1">
            <a:spLocks/>
          </p:cNvSpPr>
          <p:nvPr/>
        </p:nvSpPr>
        <p:spPr>
          <a:xfrm>
            <a:off x="7092899" y="5580682"/>
            <a:ext cx="8064897" cy="1582173"/>
          </a:xfrm>
          <a:prstGeom prst="rect">
            <a:avLst/>
          </a:prstGeom>
        </p:spPr>
        <p:txBody>
          <a:bodyPr vert="horz" lIns="120015" tIns="60008" rIns="120015" bIns="60008"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4400" dirty="0" err="1">
                <a:solidFill>
                  <a:srgbClr val="0C662F"/>
                </a:solidFill>
                <a:latin typeface="ACHS Nueva Serif" pitchFamily="2" charset="77"/>
              </a:rPr>
              <a:t>Protocolo</a:t>
            </a:r>
            <a:r>
              <a:rPr lang="en-US" sz="4400" dirty="0">
                <a:solidFill>
                  <a:srgbClr val="0C662F"/>
                </a:solidFill>
                <a:latin typeface="ACHS Nueva Serif" pitchFamily="2" charset="77"/>
              </a:rPr>
              <a:t> </a:t>
            </a:r>
            <a:r>
              <a:rPr lang="es-CL" sz="4400" dirty="0">
                <a:solidFill>
                  <a:srgbClr val="0C662F"/>
                </a:solidFill>
                <a:latin typeface="ACHS Nueva Serif" pitchFamily="2" charset="77"/>
                <a:cs typeface="Calibri" panose="020F0502020204030204" pitchFamily="34" charset="0"/>
              </a:rPr>
              <a:t>PLANESI</a:t>
            </a:r>
            <a:endParaRPr lang="es-CL" sz="4400" dirty="0">
              <a:solidFill>
                <a:srgbClr val="0C662F"/>
              </a:solidFill>
              <a:latin typeface="ACHS Nueva Serif" pitchFamily="2" charset="77"/>
            </a:endParaRPr>
          </a:p>
        </p:txBody>
      </p:sp>
      <p:pic>
        <p:nvPicPr>
          <p:cNvPr id="13" name="Imagen 14">
            <a:extLst>
              <a:ext uri="{FF2B5EF4-FFF2-40B4-BE49-F238E27FC236}">
                <a16:creationId xmlns:a16="http://schemas.microsoft.com/office/drawing/2014/main" xmlns="" id="{92E81576-2AC9-004D-9452-B679A5A4106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423962" y="526896"/>
            <a:ext cx="1093874" cy="1710564"/>
          </a:xfrm>
          <a:prstGeom prst="rect">
            <a:avLst/>
          </a:prstGeom>
        </p:spPr>
      </p:pic>
      <p:sp>
        <p:nvSpPr>
          <p:cNvPr id="14" name="Rectangle 13">
            <a:extLst>
              <a:ext uri="{FF2B5EF4-FFF2-40B4-BE49-F238E27FC236}">
                <a16:creationId xmlns:a16="http://schemas.microsoft.com/office/drawing/2014/main" xmlns="" id="{875D5608-290B-3447-8BCE-822B771A7CDD}"/>
              </a:ext>
            </a:extLst>
          </p:cNvPr>
          <p:cNvSpPr/>
          <p:nvPr/>
        </p:nvSpPr>
        <p:spPr>
          <a:xfrm>
            <a:off x="7092900" y="5328135"/>
            <a:ext cx="1039067" cy="584775"/>
          </a:xfrm>
          <a:prstGeom prst="rect">
            <a:avLst/>
          </a:prstGeom>
        </p:spPr>
        <p:txBody>
          <a:bodyPr wrap="none">
            <a:spAutoFit/>
          </a:bodyPr>
          <a:lstStyle/>
          <a:p>
            <a:r>
              <a:rPr lang="es-CL" sz="3200" b="1" dirty="0">
                <a:solidFill>
                  <a:srgbClr val="0C662F"/>
                </a:solidFill>
                <a:latin typeface="Calibri" panose="020F0502020204030204" pitchFamily="34" charset="0"/>
                <a:cs typeface="Calibri" panose="020F0502020204030204" pitchFamily="34" charset="0"/>
              </a:rPr>
              <a:t>Chla:</a:t>
            </a:r>
          </a:p>
        </p:txBody>
      </p:sp>
      <p:pic>
        <p:nvPicPr>
          <p:cNvPr id="15" name="Picture 2" descr="F:\ACHS\111_Maestro\wetransfer-93e533\003-Construcción-Baja\800_5395.jpg">
            <a:extLst>
              <a:ext uri="{FF2B5EF4-FFF2-40B4-BE49-F238E27FC236}">
                <a16:creationId xmlns:a16="http://schemas.microsoft.com/office/drawing/2014/main" xmlns="" id="{BEF38270-EFFC-A84D-AF94-8105ED18FBCF}"/>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 y="8760"/>
            <a:ext cx="6372821" cy="9034377"/>
          </a:xfrm>
          <a:prstGeom prst="rect">
            <a:avLst/>
          </a:prstGeom>
          <a:noFill/>
          <a:extLst>
            <a:ext uri="{909E8E84-426E-40DD-AFC4-6F175D3DCCD1}">
              <a14:hiddenFill xmlns:a14="http://schemas.microsoft.com/office/drawing/2010/main">
                <a:solidFill>
                  <a:srgbClr val="FFFFFF"/>
                </a:solidFill>
              </a14:hiddenFill>
            </a:ext>
          </a:extLst>
        </p:spPr>
      </p:pic>
      <p:sp>
        <p:nvSpPr>
          <p:cNvPr id="16" name="Rectángulo redondeado 12">
            <a:extLst>
              <a:ext uri="{FF2B5EF4-FFF2-40B4-BE49-F238E27FC236}">
                <a16:creationId xmlns:a16="http://schemas.microsoft.com/office/drawing/2014/main" xmlns="" id="{D826CC06-6858-684E-9A0C-0B9541748FBD}"/>
              </a:ext>
            </a:extLst>
          </p:cNvPr>
          <p:cNvSpPr/>
          <p:nvPr/>
        </p:nvSpPr>
        <p:spPr>
          <a:xfrm>
            <a:off x="7092901" y="5457401"/>
            <a:ext cx="2914892" cy="484328"/>
          </a:xfrm>
          <a:prstGeom prst="roundRect">
            <a:avLst/>
          </a:prstGeom>
          <a:solidFill>
            <a:srgbClr val="74E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a:p>
        </p:txBody>
      </p:sp>
      <p:sp>
        <p:nvSpPr>
          <p:cNvPr id="17" name="Rectángulo 13">
            <a:extLst>
              <a:ext uri="{FF2B5EF4-FFF2-40B4-BE49-F238E27FC236}">
                <a16:creationId xmlns:a16="http://schemas.microsoft.com/office/drawing/2014/main" xmlns="" id="{81F4FCE2-A243-4B49-9DA0-E2AF4CADE428}"/>
              </a:ext>
            </a:extLst>
          </p:cNvPr>
          <p:cNvSpPr/>
          <p:nvPr/>
        </p:nvSpPr>
        <p:spPr>
          <a:xfrm>
            <a:off x="7092900" y="5457401"/>
            <a:ext cx="2852063" cy="455509"/>
          </a:xfrm>
          <a:prstGeom prst="rect">
            <a:avLst/>
          </a:prstGeom>
        </p:spPr>
        <p:txBody>
          <a:bodyPr wrap="none">
            <a:spAutoFit/>
          </a:bodyPr>
          <a:lstStyle/>
          <a:p>
            <a:pPr defTabSz="1199431">
              <a:defRPr/>
            </a:pPr>
            <a:r>
              <a:rPr lang="es-ES" sz="2360" dirty="0" smtClean="0">
                <a:solidFill>
                  <a:srgbClr val="004C14"/>
                </a:solidFill>
                <a:latin typeface="ACHS Nueva Serif" pitchFamily="2" charset="77"/>
                <a:cs typeface="Arial" panose="020B0604020202020204" pitchFamily="34" charset="0"/>
              </a:rPr>
              <a:t>Charla / Presencial</a:t>
            </a:r>
            <a:endParaRPr lang="es-ES" sz="2360" dirty="0">
              <a:solidFill>
                <a:srgbClr val="004C14"/>
              </a:solidFill>
              <a:latin typeface="ACHS Nueva Serif" pitchFamily="2" charset="77"/>
              <a:cs typeface="Arial" panose="020B0604020202020204" pitchFamily="34" charset="0"/>
            </a:endParaRPr>
          </a:p>
        </p:txBody>
      </p:sp>
    </p:spTree>
    <p:custDataLst>
      <p:tags r:id="rId1"/>
    </p:custDataLst>
    <p:extLst>
      <p:ext uri="{BB962C8B-B14F-4D97-AF65-F5344CB8AC3E}">
        <p14:creationId xmlns:p14="http://schemas.microsoft.com/office/powerpoint/2010/main" val="3770931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3" name="Rectangle 2"/>
          <p:cNvSpPr/>
          <p:nvPr/>
        </p:nvSpPr>
        <p:spPr>
          <a:xfrm>
            <a:off x="737117" y="714542"/>
            <a:ext cx="3252623" cy="861774"/>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Control de la exposición</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30" name="Rectangle 4">
            <a:extLst>
              <a:ext uri="{FF2B5EF4-FFF2-40B4-BE49-F238E27FC236}">
                <a16:creationId xmlns:a16="http://schemas.microsoft.com/office/drawing/2014/main" xmlns="" id="{6158240F-4C60-EB47-8007-DDB0FDBB0679}"/>
              </a:ext>
            </a:extLst>
          </p:cNvPr>
          <p:cNvSpPr/>
          <p:nvPr/>
        </p:nvSpPr>
        <p:spPr>
          <a:xfrm>
            <a:off x="396156" y="2268314"/>
            <a:ext cx="3410291" cy="1107996"/>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Controles técnicos o ingenieriles:</a:t>
            </a:r>
          </a:p>
          <a:p>
            <a:endParaRPr lang="es-CL" sz="2200" b="1" dirty="0">
              <a:solidFill>
                <a:schemeClr val="bg1"/>
              </a:solidFill>
              <a:latin typeface="ACHS Nueva Serif" pitchFamily="2" charset="77"/>
              <a:cs typeface="Calibri" panose="020F0502020204030204" pitchFamily="34" charset="0"/>
            </a:endParaRPr>
          </a:p>
        </p:txBody>
      </p:sp>
      <p:sp>
        <p:nvSpPr>
          <p:cNvPr id="9" name="Rectangle 3">
            <a:extLst>
              <a:ext uri="{FF2B5EF4-FFF2-40B4-BE49-F238E27FC236}">
                <a16:creationId xmlns:a16="http://schemas.microsoft.com/office/drawing/2014/main" xmlns="" id="{A9A51401-5ED5-A94B-8AAA-8884842DD2A2}"/>
              </a:ext>
            </a:extLst>
          </p:cNvPr>
          <p:cNvSpPr/>
          <p:nvPr/>
        </p:nvSpPr>
        <p:spPr>
          <a:xfrm>
            <a:off x="4572620" y="1916724"/>
            <a:ext cx="5904656" cy="1631216"/>
          </a:xfrm>
          <a:prstGeom prst="rect">
            <a:avLst/>
          </a:prstGeom>
        </p:spPr>
        <p:txBody>
          <a:bodyPr wrap="square">
            <a:spAutoFit/>
          </a:bodyPr>
          <a:lstStyle/>
          <a:p>
            <a:r>
              <a:rPr lang="es-ES" sz="2000" b="1" dirty="0">
                <a:solidFill>
                  <a:srgbClr val="15C047"/>
                </a:solidFill>
                <a:latin typeface="ACHS Nueva Sans SemiBold" pitchFamily="2" charset="77"/>
                <a:cs typeface="Catamaran Light" panose="00000400000000000000" pitchFamily="2" charset="0"/>
              </a:rPr>
              <a:t>Controles administrativos:  </a:t>
            </a:r>
          </a:p>
          <a:p>
            <a:endParaRPr lang="es-ES" sz="2000" dirty="0">
              <a:latin typeface="ACHS Nueva Sans Medium" pitchFamily="2" charset="77"/>
              <a:cs typeface="Catamaran Light" panose="00000400000000000000" pitchFamily="2" charset="0"/>
            </a:endParaRPr>
          </a:p>
          <a:p>
            <a:r>
              <a:rPr lang="es-CL" sz="2000" dirty="0">
                <a:latin typeface="ACHS Nueva Sans Medium" pitchFamily="2" charset="77"/>
                <a:cs typeface="Catamaran Light" panose="00000400000000000000" pitchFamily="2" charset="0"/>
              </a:rPr>
              <a:t>Buenas prácticas de trabajo e higiene personal. Educación, entrenamiento y comunicación de peligro.  Señalizaciones.</a:t>
            </a:r>
            <a:endParaRPr lang="es-ES" sz="2000" dirty="0">
              <a:latin typeface="ACHS Nueva Sans Medium" pitchFamily="2" charset="77"/>
              <a:cs typeface="Catamaran Light" panose="00000400000000000000" pitchFamily="2" charset="0"/>
            </a:endParaRPr>
          </a:p>
        </p:txBody>
      </p:sp>
      <p:sp>
        <p:nvSpPr>
          <p:cNvPr id="10" name="Rectangle 3">
            <a:extLst>
              <a:ext uri="{FF2B5EF4-FFF2-40B4-BE49-F238E27FC236}">
                <a16:creationId xmlns:a16="http://schemas.microsoft.com/office/drawing/2014/main" xmlns="" id="{F166E4AB-18BE-5242-9A12-177D43407DB0}"/>
              </a:ext>
            </a:extLst>
          </p:cNvPr>
          <p:cNvSpPr/>
          <p:nvPr/>
        </p:nvSpPr>
        <p:spPr>
          <a:xfrm>
            <a:off x="9973220" y="5157084"/>
            <a:ext cx="4788016" cy="1323439"/>
          </a:xfrm>
          <a:prstGeom prst="rect">
            <a:avLst/>
          </a:prstGeom>
        </p:spPr>
        <p:txBody>
          <a:bodyPr wrap="square">
            <a:spAutoFit/>
          </a:bodyPr>
          <a:lstStyle/>
          <a:p>
            <a:r>
              <a:rPr lang="es-ES" sz="2000" b="1" dirty="0">
                <a:solidFill>
                  <a:srgbClr val="15C047"/>
                </a:solidFill>
                <a:latin typeface="ACHS Nueva Sans SemiBold" pitchFamily="2" charset="77"/>
                <a:cs typeface="Catamaran Light" panose="00000400000000000000" pitchFamily="2" charset="0"/>
              </a:rPr>
              <a:t>Protección respiratoria:</a:t>
            </a:r>
          </a:p>
          <a:p>
            <a:endParaRPr lang="es-ES" sz="2000" dirty="0">
              <a:latin typeface="ACHS Nueva Sans Medium" pitchFamily="2" charset="77"/>
              <a:cs typeface="Catamaran Light" panose="00000400000000000000" pitchFamily="2" charset="0"/>
            </a:endParaRPr>
          </a:p>
          <a:p>
            <a:pPr marL="12700" marR="5080"/>
            <a:r>
              <a:rPr lang="es-CL" sz="2000" dirty="0">
                <a:latin typeface="ACHS Nueva Sans Medium" pitchFamily="2" charset="77"/>
                <a:cs typeface="Catamaran Light" panose="00000400000000000000" pitchFamily="2" charset="0"/>
              </a:rPr>
              <a:t>Debe estar enmarcada en un programa de protección respiratoria.</a:t>
            </a:r>
          </a:p>
        </p:txBody>
      </p:sp>
      <p:sp>
        <p:nvSpPr>
          <p:cNvPr id="11" name="object 7">
            <a:extLst>
              <a:ext uri="{FF2B5EF4-FFF2-40B4-BE49-F238E27FC236}">
                <a16:creationId xmlns:a16="http://schemas.microsoft.com/office/drawing/2014/main" xmlns="" id="{C61B4D37-78DB-2F4B-A2E6-E86E9896D3EA}"/>
              </a:ext>
            </a:extLst>
          </p:cNvPr>
          <p:cNvSpPr/>
          <p:nvPr/>
        </p:nvSpPr>
        <p:spPr>
          <a:xfrm>
            <a:off x="10944699" y="1908274"/>
            <a:ext cx="3204985" cy="2384714"/>
          </a:xfrm>
          <a:prstGeom prst="rect">
            <a:avLst/>
          </a:prstGeom>
          <a:blipFill>
            <a:blip r:embed="rId4" cstate="print"/>
            <a:stretch>
              <a:fillRect/>
            </a:stretch>
          </a:blipFill>
        </p:spPr>
        <p:txBody>
          <a:bodyPr wrap="square" lIns="0" tIns="0" rIns="0" bIns="0" rtlCol="0"/>
          <a:lstStyle/>
          <a:p>
            <a:endParaRPr/>
          </a:p>
        </p:txBody>
      </p:sp>
      <p:grpSp>
        <p:nvGrpSpPr>
          <p:cNvPr id="12" name="Grupo 3">
            <a:extLst>
              <a:ext uri="{FF2B5EF4-FFF2-40B4-BE49-F238E27FC236}">
                <a16:creationId xmlns:a16="http://schemas.microsoft.com/office/drawing/2014/main" xmlns="" id="{CE4072EB-3E62-F840-8E18-B8BD86E4D8C9}"/>
              </a:ext>
            </a:extLst>
          </p:cNvPr>
          <p:cNvGrpSpPr/>
          <p:nvPr/>
        </p:nvGrpSpPr>
        <p:grpSpPr>
          <a:xfrm>
            <a:off x="4572620" y="5085076"/>
            <a:ext cx="5256584" cy="3077018"/>
            <a:chOff x="4716636" y="5436666"/>
            <a:chExt cx="5256584" cy="3077018"/>
          </a:xfrm>
        </p:grpSpPr>
        <p:sp>
          <p:nvSpPr>
            <p:cNvPr id="13" name="object 8">
              <a:extLst>
                <a:ext uri="{FF2B5EF4-FFF2-40B4-BE49-F238E27FC236}">
                  <a16:creationId xmlns:a16="http://schemas.microsoft.com/office/drawing/2014/main" xmlns="" id="{8FC3BF4D-6D76-F940-91C7-7322C84B2326}"/>
                </a:ext>
              </a:extLst>
            </p:cNvPr>
            <p:cNvSpPr/>
            <p:nvPr/>
          </p:nvSpPr>
          <p:spPr>
            <a:xfrm>
              <a:off x="4892903" y="5436666"/>
              <a:ext cx="2055981" cy="2304256"/>
            </a:xfrm>
            <a:prstGeom prst="rect">
              <a:avLst/>
            </a:prstGeom>
            <a:blipFill>
              <a:blip r:embed="rId5" cstate="screen">
                <a:extLst>
                  <a:ext uri="{28A0092B-C50C-407E-A947-70E740481C1C}">
                    <a14:useLocalDpi xmlns:a14="http://schemas.microsoft.com/office/drawing/2010/main"/>
                  </a:ext>
                </a:extLst>
              </a:blip>
              <a:srcRect/>
              <a:stretch>
                <a:fillRect r="1"/>
              </a:stretch>
            </a:blipFill>
            <a:ln>
              <a:solidFill>
                <a:schemeClr val="bg1">
                  <a:lumMod val="65000"/>
                </a:schemeClr>
              </a:solidFill>
            </a:ln>
          </p:spPr>
          <p:txBody>
            <a:bodyPr wrap="square" lIns="0" tIns="0" rIns="0" bIns="0" rtlCol="0"/>
            <a:lstStyle/>
            <a:p>
              <a:endParaRPr sz="2000"/>
            </a:p>
          </p:txBody>
        </p:sp>
        <p:sp>
          <p:nvSpPr>
            <p:cNvPr id="14" name="object 10">
              <a:extLst>
                <a:ext uri="{FF2B5EF4-FFF2-40B4-BE49-F238E27FC236}">
                  <a16:creationId xmlns:a16="http://schemas.microsoft.com/office/drawing/2014/main" xmlns="" id="{DC0169B7-BC5D-6E4D-BF9A-2EF85E22ABC8}"/>
                </a:ext>
              </a:extLst>
            </p:cNvPr>
            <p:cNvSpPr/>
            <p:nvPr/>
          </p:nvSpPr>
          <p:spPr>
            <a:xfrm>
              <a:off x="7644105" y="5440466"/>
              <a:ext cx="2160647" cy="2304256"/>
            </a:xfrm>
            <a:prstGeom prst="rect">
              <a:avLst/>
            </a:prstGeom>
            <a:blipFill>
              <a:blip r:embed="rId6" cstate="screen">
                <a:extLst>
                  <a:ext uri="{28A0092B-C50C-407E-A947-70E740481C1C}">
                    <a14:useLocalDpi xmlns:a14="http://schemas.microsoft.com/office/drawing/2010/main"/>
                  </a:ext>
                </a:extLst>
              </a:blip>
              <a:stretch>
                <a:fillRect b="165"/>
              </a:stretch>
            </a:blipFill>
            <a:ln>
              <a:solidFill>
                <a:schemeClr val="bg1">
                  <a:lumMod val="65000"/>
                </a:schemeClr>
              </a:solidFill>
            </a:ln>
          </p:spPr>
          <p:txBody>
            <a:bodyPr wrap="square" lIns="0" tIns="0" rIns="0" bIns="0" rtlCol="0"/>
            <a:lstStyle/>
            <a:p>
              <a:endParaRPr sz="2000"/>
            </a:p>
          </p:txBody>
        </p:sp>
        <p:sp>
          <p:nvSpPr>
            <p:cNvPr id="15" name="CuadroTexto 1">
              <a:extLst>
                <a:ext uri="{FF2B5EF4-FFF2-40B4-BE49-F238E27FC236}">
                  <a16:creationId xmlns:a16="http://schemas.microsoft.com/office/drawing/2014/main" xmlns="" id="{B027331E-2DB3-7945-AF09-170CB4E7DA05}"/>
                </a:ext>
              </a:extLst>
            </p:cNvPr>
            <p:cNvSpPr txBox="1"/>
            <p:nvPr/>
          </p:nvSpPr>
          <p:spPr>
            <a:xfrm>
              <a:off x="4716636" y="7867353"/>
              <a:ext cx="2484000" cy="646331"/>
            </a:xfrm>
            <a:prstGeom prst="rect">
              <a:avLst/>
            </a:prstGeom>
            <a:noFill/>
          </p:spPr>
          <p:txBody>
            <a:bodyPr wrap="square" rtlCol="0">
              <a:spAutoFit/>
            </a:bodyPr>
            <a:lstStyle/>
            <a:p>
              <a:pPr algn="ctr"/>
              <a:r>
                <a:rPr lang="es-CL" sz="1800" b="1" dirty="0">
                  <a:latin typeface="ACHS Nueva Sans SemiBold" pitchFamily="2" charset="77"/>
                  <a:cs typeface="Calibri" panose="020F0502020204030204" pitchFamily="34" charset="0"/>
                </a:rPr>
                <a:t>Factor Protección = 10 LPP*</a:t>
              </a:r>
            </a:p>
          </p:txBody>
        </p:sp>
        <p:sp>
          <p:nvSpPr>
            <p:cNvPr id="16" name="CuadroTexto 20">
              <a:extLst>
                <a:ext uri="{FF2B5EF4-FFF2-40B4-BE49-F238E27FC236}">
                  <a16:creationId xmlns:a16="http://schemas.microsoft.com/office/drawing/2014/main" xmlns="" id="{7EFDED62-8489-704D-96C4-B366971B553D}"/>
                </a:ext>
              </a:extLst>
            </p:cNvPr>
            <p:cNvSpPr txBox="1"/>
            <p:nvPr/>
          </p:nvSpPr>
          <p:spPr>
            <a:xfrm>
              <a:off x="7489220" y="7867353"/>
              <a:ext cx="2484000" cy="646331"/>
            </a:xfrm>
            <a:prstGeom prst="rect">
              <a:avLst/>
            </a:prstGeom>
            <a:noFill/>
          </p:spPr>
          <p:txBody>
            <a:bodyPr wrap="square" rtlCol="0">
              <a:spAutoFit/>
            </a:bodyPr>
            <a:lstStyle/>
            <a:p>
              <a:pPr algn="ctr"/>
              <a:r>
                <a:rPr lang="es-CL" sz="1800" b="1" dirty="0">
                  <a:latin typeface="ACHS Nueva Sans SemiBold" pitchFamily="2" charset="77"/>
                  <a:cs typeface="Calibri" panose="020F0502020204030204" pitchFamily="34" charset="0"/>
                </a:rPr>
                <a:t>Factor Protección = 50 LPP*</a:t>
              </a:r>
            </a:p>
          </p:txBody>
        </p:sp>
      </p:grpSp>
      <p:sp>
        <p:nvSpPr>
          <p:cNvPr id="17" name="object 14">
            <a:extLst>
              <a:ext uri="{FF2B5EF4-FFF2-40B4-BE49-F238E27FC236}">
                <a16:creationId xmlns:a16="http://schemas.microsoft.com/office/drawing/2014/main" xmlns="" id="{9305BB14-1039-AF4D-AF21-D32B93A8EB92}"/>
              </a:ext>
            </a:extLst>
          </p:cNvPr>
          <p:cNvSpPr txBox="1"/>
          <p:nvPr/>
        </p:nvSpPr>
        <p:spPr>
          <a:xfrm>
            <a:off x="13891399" y="8120445"/>
            <a:ext cx="1986477" cy="246221"/>
          </a:xfrm>
          <a:prstGeom prst="rect">
            <a:avLst/>
          </a:prstGeom>
        </p:spPr>
        <p:txBody>
          <a:bodyPr vert="horz" wrap="square" lIns="0" tIns="0" rIns="0" bIns="0" rtlCol="0">
            <a:spAutoFit/>
          </a:bodyPr>
          <a:lstStyle/>
          <a:p>
            <a:pPr marL="12700">
              <a:lnSpc>
                <a:spcPct val="100000"/>
              </a:lnSpc>
            </a:pPr>
            <a:r>
              <a:rPr sz="1600" b="1" dirty="0">
                <a:latin typeface="ACHS Nueva Sans SemiBold" pitchFamily="2" charset="77"/>
                <a:cs typeface="Calibri" panose="020F0502020204030204" pitchFamily="34" charset="0"/>
              </a:rPr>
              <a:t>*: Según guía del</a:t>
            </a:r>
            <a:r>
              <a:rPr sz="1600" b="1" spc="-145" dirty="0">
                <a:latin typeface="ACHS Nueva Sans SemiBold" pitchFamily="2" charset="77"/>
                <a:cs typeface="Calibri" panose="020F0502020204030204" pitchFamily="34" charset="0"/>
              </a:rPr>
              <a:t> </a:t>
            </a:r>
            <a:r>
              <a:rPr sz="1600" b="1" dirty="0">
                <a:latin typeface="ACHS Nueva Sans SemiBold" pitchFamily="2" charset="77"/>
                <a:cs typeface="Calibri" panose="020F0502020204030204" pitchFamily="34" charset="0"/>
              </a:rPr>
              <a:t>ISP</a:t>
            </a:r>
          </a:p>
        </p:txBody>
      </p:sp>
    </p:spTree>
    <p:custDataLst>
      <p:tags r:id="rId1"/>
    </p:custDataLst>
    <p:extLst>
      <p:ext uri="{BB962C8B-B14F-4D97-AF65-F5344CB8AC3E}">
        <p14:creationId xmlns:p14="http://schemas.microsoft.com/office/powerpoint/2010/main" val="20394687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2" name="Rectangle 1">
            <a:extLst>
              <a:ext uri="{FF2B5EF4-FFF2-40B4-BE49-F238E27FC236}">
                <a16:creationId xmlns:a16="http://schemas.microsoft.com/office/drawing/2014/main" xmlns="" id="{67802542-E22E-6D45-8112-259EB9F59D00}"/>
              </a:ext>
            </a:extLst>
          </p:cNvPr>
          <p:cNvSpPr/>
          <p:nvPr/>
        </p:nvSpPr>
        <p:spPr>
          <a:xfrm>
            <a:off x="736534" y="707138"/>
            <a:ext cx="3410291" cy="1631216"/>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lan Nacional de erradicación de </a:t>
            </a:r>
          </a:p>
          <a:p>
            <a:r>
              <a:rPr lang="es-CL" sz="2400" dirty="0">
                <a:solidFill>
                  <a:schemeClr val="bg1"/>
                </a:solidFill>
                <a:latin typeface="ACHS Nueva Sans Medium" pitchFamily="2" charset="77"/>
                <a:cs typeface="Calibri" panose="020F0502020204030204" pitchFamily="34" charset="0"/>
              </a:rPr>
              <a:t>la Silicosis 2009 - 2030</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30" name="Rectangle 4">
            <a:extLst>
              <a:ext uri="{FF2B5EF4-FFF2-40B4-BE49-F238E27FC236}">
                <a16:creationId xmlns:a16="http://schemas.microsoft.com/office/drawing/2014/main" xmlns="" id="{6158240F-4C60-EB47-8007-DDB0FDBB0679}"/>
              </a:ext>
            </a:extLst>
          </p:cNvPr>
          <p:cNvSpPr/>
          <p:nvPr/>
        </p:nvSpPr>
        <p:spPr>
          <a:xfrm>
            <a:off x="514257" y="2744494"/>
            <a:ext cx="3410291" cy="1107996"/>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Promocionado por la OMS y la OIT.:</a:t>
            </a:r>
          </a:p>
          <a:p>
            <a:endParaRPr lang="es-CL" sz="2200" b="1" dirty="0">
              <a:solidFill>
                <a:schemeClr val="bg1"/>
              </a:solidFill>
              <a:latin typeface="ACHS Nueva Serif" pitchFamily="2" charset="77"/>
              <a:cs typeface="Calibri" panose="020F0502020204030204" pitchFamily="34" charset="0"/>
            </a:endParaRPr>
          </a:p>
        </p:txBody>
      </p:sp>
      <p:sp>
        <p:nvSpPr>
          <p:cNvPr id="8" name="Rectangle 3">
            <a:extLst>
              <a:ext uri="{FF2B5EF4-FFF2-40B4-BE49-F238E27FC236}">
                <a16:creationId xmlns:a16="http://schemas.microsoft.com/office/drawing/2014/main" xmlns="" id="{8847E5CD-0C0E-9844-84E4-3E24EE0BB974}"/>
              </a:ext>
            </a:extLst>
          </p:cNvPr>
          <p:cNvSpPr/>
          <p:nvPr/>
        </p:nvSpPr>
        <p:spPr>
          <a:xfrm>
            <a:off x="4716636" y="2052290"/>
            <a:ext cx="9793459" cy="707886"/>
          </a:xfrm>
          <a:prstGeom prst="rect">
            <a:avLst/>
          </a:prstGeom>
        </p:spPr>
        <p:txBody>
          <a:bodyPr wrap="square">
            <a:spAutoFit/>
          </a:bodyPr>
          <a:lstStyle/>
          <a:p>
            <a:pPr marL="12700" marR="5080">
              <a:lnSpc>
                <a:spcPct val="100000"/>
              </a:lnSpc>
            </a:pPr>
            <a:r>
              <a:rPr lang="es-CL" sz="2000" dirty="0">
                <a:latin typeface="ACHS Nueva Sans Medium" pitchFamily="2" charset="77"/>
                <a:cs typeface="Calibri" panose="020F0502020204030204" pitchFamily="34" charset="0"/>
              </a:rPr>
              <a:t>El 06 de agosto de 2009 se realiza el lanzamiento oficial del Plan Nacional de Erradicación  de la Silicosis, PLANESI, en la ciudad de Antofagasta.</a:t>
            </a:r>
          </a:p>
        </p:txBody>
      </p:sp>
      <p:sp>
        <p:nvSpPr>
          <p:cNvPr id="9" name="object 6">
            <a:extLst>
              <a:ext uri="{FF2B5EF4-FFF2-40B4-BE49-F238E27FC236}">
                <a16:creationId xmlns:a16="http://schemas.microsoft.com/office/drawing/2014/main" xmlns="" id="{70423F8E-ACEB-E844-96AA-73202105AEAD}"/>
              </a:ext>
            </a:extLst>
          </p:cNvPr>
          <p:cNvSpPr txBox="1"/>
          <p:nvPr/>
        </p:nvSpPr>
        <p:spPr>
          <a:xfrm>
            <a:off x="4716636" y="3384202"/>
            <a:ext cx="6696744" cy="1846659"/>
          </a:xfrm>
          <a:prstGeom prst="rect">
            <a:avLst/>
          </a:prstGeom>
        </p:spPr>
        <p:txBody>
          <a:bodyPr vert="horz" wrap="square" lIns="0" tIns="0" rIns="0" bIns="0" rtlCol="0">
            <a:spAutoFit/>
          </a:bodyPr>
          <a:lstStyle/>
          <a:p>
            <a:pPr marL="87313" algn="just">
              <a:lnSpc>
                <a:spcPct val="100000"/>
              </a:lnSpc>
            </a:pPr>
            <a:r>
              <a:rPr sz="2000" b="1" dirty="0">
                <a:solidFill>
                  <a:srgbClr val="15C047"/>
                </a:solidFill>
                <a:latin typeface="ACHS Nueva Sans SemiBold" pitchFamily="2" charset="77"/>
                <a:cs typeface="Calibri" panose="020F0502020204030204" pitchFamily="34" charset="0"/>
              </a:rPr>
              <a:t>Vision País</a:t>
            </a:r>
            <a:r>
              <a:rPr lang="es-CL" sz="2000" b="1" dirty="0">
                <a:solidFill>
                  <a:srgbClr val="15C047"/>
                </a:solidFill>
                <a:latin typeface="ACHS Nueva Sans SemiBold" pitchFamily="2" charset="77"/>
                <a:cs typeface="Calibri" panose="020F0502020204030204" pitchFamily="34" charset="0"/>
              </a:rPr>
              <a:t>:</a:t>
            </a:r>
            <a:endParaRPr sz="2000" b="1" dirty="0">
              <a:solidFill>
                <a:srgbClr val="15C047"/>
              </a:solidFill>
              <a:latin typeface="ACHS Nueva Sans SemiBold" pitchFamily="2" charset="77"/>
              <a:cs typeface="Calibri" panose="020F0502020204030204" pitchFamily="34" charset="0"/>
            </a:endParaRPr>
          </a:p>
          <a:p>
            <a:pPr marL="87313" algn="just">
              <a:lnSpc>
                <a:spcPct val="100000"/>
              </a:lnSpc>
              <a:spcBef>
                <a:spcPts val="40"/>
              </a:spcBef>
            </a:pPr>
            <a:endParaRPr sz="2000" dirty="0">
              <a:latin typeface="ACHS Nueva Sans Medium" pitchFamily="2" charset="77"/>
              <a:cs typeface="Calibri" panose="020F0502020204030204" pitchFamily="34" charset="0"/>
            </a:endParaRPr>
          </a:p>
          <a:p>
            <a:pPr marL="87313" marR="5080">
              <a:lnSpc>
                <a:spcPct val="100000"/>
              </a:lnSpc>
            </a:pPr>
            <a:r>
              <a:rPr sz="2000" dirty="0">
                <a:latin typeface="ACHS Nueva Sans Medium" pitchFamily="2" charset="77"/>
                <a:cs typeface="Calibri" panose="020F0502020204030204" pitchFamily="34" charset="0"/>
              </a:rPr>
              <a:t>Vemos a Chile como un país, donde la  exposición a sílice será controlada, al más  breve plazo posible, en todos los </a:t>
            </a:r>
            <a:r>
              <a:rPr sz="2000" dirty="0" err="1">
                <a:latin typeface="ACHS Nueva Sans Medium" pitchFamily="2" charset="77"/>
                <a:cs typeface="Calibri" panose="020F0502020204030204" pitchFamily="34" charset="0"/>
              </a:rPr>
              <a:t>lugares</a:t>
            </a:r>
            <a:r>
              <a:rPr sz="2000" dirty="0">
                <a:latin typeface="ACHS Nueva Sans Medium" pitchFamily="2" charset="77"/>
                <a:cs typeface="Calibri" panose="020F0502020204030204" pitchFamily="34" charset="0"/>
              </a:rPr>
              <a:t> d</a:t>
            </a:r>
            <a:r>
              <a:rPr lang="en-US" sz="2000" dirty="0">
                <a:latin typeface="ACHS Nueva Sans Medium" pitchFamily="2" charset="77"/>
                <a:cs typeface="Calibri" panose="020F0502020204030204" pitchFamily="34" charset="0"/>
              </a:rPr>
              <a:t>e </a:t>
            </a:r>
            <a:r>
              <a:rPr sz="2000" dirty="0" err="1">
                <a:latin typeface="ACHS Nueva Sans Medium" pitchFamily="2" charset="77"/>
                <a:cs typeface="Calibri" panose="020F0502020204030204" pitchFamily="34" charset="0"/>
              </a:rPr>
              <a:t>trabajo</a:t>
            </a:r>
            <a:r>
              <a:rPr sz="2000" dirty="0">
                <a:latin typeface="ACHS Nueva Sans Medium" pitchFamily="2" charset="77"/>
                <a:cs typeface="Calibri" panose="020F0502020204030204" pitchFamily="34" charset="0"/>
              </a:rPr>
              <a:t>, convirtiéndose en el año 2030 en un  país sin nuevos casos de trabajadores con  silicosis.</a:t>
            </a:r>
          </a:p>
        </p:txBody>
      </p:sp>
      <p:sp>
        <p:nvSpPr>
          <p:cNvPr id="11" name="object 3">
            <a:extLst>
              <a:ext uri="{FF2B5EF4-FFF2-40B4-BE49-F238E27FC236}">
                <a16:creationId xmlns:a16="http://schemas.microsoft.com/office/drawing/2014/main" xmlns="" id="{79C69808-E774-C546-B2E9-1963C9E2CAAD}"/>
              </a:ext>
            </a:extLst>
          </p:cNvPr>
          <p:cNvSpPr/>
          <p:nvPr/>
        </p:nvSpPr>
        <p:spPr>
          <a:xfrm>
            <a:off x="6732940" y="6660970"/>
            <a:ext cx="1512000" cy="15120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2" name="object 4">
            <a:extLst>
              <a:ext uri="{FF2B5EF4-FFF2-40B4-BE49-F238E27FC236}">
                <a16:creationId xmlns:a16="http://schemas.microsoft.com/office/drawing/2014/main" xmlns="" id="{6350432B-CB52-4243-A844-3AB98E4B5A11}"/>
              </a:ext>
            </a:extLst>
          </p:cNvPr>
          <p:cNvSpPr/>
          <p:nvPr/>
        </p:nvSpPr>
        <p:spPr>
          <a:xfrm>
            <a:off x="8280358" y="6660970"/>
            <a:ext cx="1512000" cy="1512000"/>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3" name="Rectangle 3">
            <a:extLst>
              <a:ext uri="{FF2B5EF4-FFF2-40B4-BE49-F238E27FC236}">
                <a16:creationId xmlns:a16="http://schemas.microsoft.com/office/drawing/2014/main" xmlns="" id="{E389A1FB-759A-7245-8877-0C9A9044557F}"/>
              </a:ext>
            </a:extLst>
          </p:cNvPr>
          <p:cNvSpPr/>
          <p:nvPr/>
        </p:nvSpPr>
        <p:spPr>
          <a:xfrm>
            <a:off x="7020892" y="6188753"/>
            <a:ext cx="2476694" cy="369332"/>
          </a:xfrm>
          <a:prstGeom prst="rect">
            <a:avLst/>
          </a:prstGeom>
        </p:spPr>
        <p:txBody>
          <a:bodyPr wrap="square">
            <a:spAutoFit/>
          </a:bodyPr>
          <a:lstStyle/>
          <a:p>
            <a:pPr marL="12700" marR="5080" algn="ctr">
              <a:lnSpc>
                <a:spcPct val="100000"/>
              </a:lnSpc>
            </a:pPr>
            <a:r>
              <a:rPr lang="es-CL" sz="1800" b="1" dirty="0">
                <a:latin typeface="ACHS Nueva Sans ExtraBold" pitchFamily="2" charset="77"/>
                <a:cs typeface="Catamaran Light" panose="00000400000000000000" pitchFamily="2" charset="0"/>
              </a:rPr>
              <a:t>Promocionado por:</a:t>
            </a:r>
          </a:p>
        </p:txBody>
      </p:sp>
      <p:sp>
        <p:nvSpPr>
          <p:cNvPr id="18" name="object 4">
            <a:extLst>
              <a:ext uri="{FF2B5EF4-FFF2-40B4-BE49-F238E27FC236}">
                <a16:creationId xmlns:a16="http://schemas.microsoft.com/office/drawing/2014/main" xmlns="" id="{919E8F7F-4768-2140-961D-66786E4C2E90}"/>
              </a:ext>
            </a:extLst>
          </p:cNvPr>
          <p:cNvSpPr/>
          <p:nvPr/>
        </p:nvSpPr>
        <p:spPr>
          <a:xfrm>
            <a:off x="11885201" y="3696120"/>
            <a:ext cx="3319927" cy="4387875"/>
          </a:xfrm>
          <a:prstGeom prst="rect">
            <a:avLst/>
          </a:prstGeom>
          <a:blipFill>
            <a:blip r:embed="rId6" cstate="print"/>
            <a:stretch>
              <a:fillRect/>
            </a:stretch>
          </a:blipFill>
        </p:spPr>
        <p:txBody>
          <a:bodyPr wrap="square" lIns="0" tIns="0" rIns="0" bIns="0" rtlCol="0"/>
          <a:lstStyle/>
          <a:p>
            <a:endParaRPr/>
          </a:p>
        </p:txBody>
      </p:sp>
    </p:spTree>
    <p:custDataLst>
      <p:tags r:id="rId1"/>
    </p:custDataLst>
    <p:extLst>
      <p:ext uri="{BB962C8B-B14F-4D97-AF65-F5344CB8AC3E}">
        <p14:creationId xmlns:p14="http://schemas.microsoft.com/office/powerpoint/2010/main" val="15718180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a 3"/>
          <p:cNvGraphicFramePr/>
          <p:nvPr>
            <p:extLst>
              <p:ext uri="{D42A27DB-BD31-4B8C-83A1-F6EECF244321}">
                <p14:modId xmlns:p14="http://schemas.microsoft.com/office/powerpoint/2010/main" val="1691096208"/>
              </p:ext>
            </p:extLst>
          </p:nvPr>
        </p:nvGraphicFramePr>
        <p:xfrm>
          <a:off x="5004668" y="612080"/>
          <a:ext cx="9793088" cy="77769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5" name="object 5"/>
          <p:cNvSpPr/>
          <p:nvPr/>
        </p:nvSpPr>
        <p:spPr>
          <a:xfrm>
            <a:off x="8821092" y="3096640"/>
            <a:ext cx="2196244" cy="2807844"/>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1" name="Rectángulo 3">
            <a:extLst>
              <a:ext uri="{FF2B5EF4-FFF2-40B4-BE49-F238E27FC236}">
                <a16:creationId xmlns:a16="http://schemas.microsoft.com/office/drawing/2014/main" xmlns="" id="{6AD0D778-D1A2-A541-AB45-1517A639F201}"/>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CDEEC9F4-2684-7846-AF5B-639C1FCC3C03}"/>
              </a:ext>
            </a:extLst>
          </p:cNvPr>
          <p:cNvSpPr/>
          <p:nvPr/>
        </p:nvSpPr>
        <p:spPr>
          <a:xfrm>
            <a:off x="736534" y="707138"/>
            <a:ext cx="3410291" cy="1631216"/>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lan Nacional de erradicación de </a:t>
            </a:r>
          </a:p>
          <a:p>
            <a:r>
              <a:rPr lang="es-CL" sz="2400" dirty="0">
                <a:solidFill>
                  <a:schemeClr val="bg1"/>
                </a:solidFill>
                <a:latin typeface="ACHS Nueva Sans Medium" pitchFamily="2" charset="77"/>
                <a:cs typeface="Calibri" panose="020F0502020204030204" pitchFamily="34" charset="0"/>
              </a:rPr>
              <a:t>la Silicosis 2009 - 2030</a:t>
            </a:r>
          </a:p>
        </p:txBody>
      </p:sp>
      <p:cxnSp>
        <p:nvCxnSpPr>
          <p:cNvPr id="14" name="Conector recto 6">
            <a:extLst>
              <a:ext uri="{FF2B5EF4-FFF2-40B4-BE49-F238E27FC236}">
                <a16:creationId xmlns:a16="http://schemas.microsoft.com/office/drawing/2014/main" xmlns="" id="{E53D0DE5-EF98-1D4D-A438-C15773F978A2}"/>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16" name="Rectangle 15">
            <a:extLst>
              <a:ext uri="{FF2B5EF4-FFF2-40B4-BE49-F238E27FC236}">
                <a16:creationId xmlns:a16="http://schemas.microsoft.com/office/drawing/2014/main" xmlns="" id="{BE5DCC6D-AF9D-1549-8770-FAC3C0FAD72E}"/>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8" name="Rectangle 4">
            <a:extLst>
              <a:ext uri="{FF2B5EF4-FFF2-40B4-BE49-F238E27FC236}">
                <a16:creationId xmlns:a16="http://schemas.microsoft.com/office/drawing/2014/main" xmlns="" id="{03F362E1-FB87-2D40-87D5-475A65EEA760}"/>
              </a:ext>
            </a:extLst>
          </p:cNvPr>
          <p:cNvSpPr/>
          <p:nvPr/>
        </p:nvSpPr>
        <p:spPr>
          <a:xfrm>
            <a:off x="514257" y="2744494"/>
            <a:ext cx="3410291" cy="769441"/>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Actores relevantes:</a:t>
            </a:r>
          </a:p>
          <a:p>
            <a:endParaRPr lang="es-CL" sz="2200" b="1" dirty="0">
              <a:solidFill>
                <a:schemeClr val="bg1"/>
              </a:solidFill>
              <a:latin typeface="ACHS Nueva Serif" pitchFamily="2" charset="77"/>
              <a:cs typeface="Calibri" panose="020F0502020204030204" pitchFamily="34" charset="0"/>
            </a:endParaRPr>
          </a:p>
        </p:txBody>
      </p:sp>
      <p:pic>
        <p:nvPicPr>
          <p:cNvPr id="19" name="Imagen 5">
            <a:extLst>
              <a:ext uri="{FF2B5EF4-FFF2-40B4-BE49-F238E27FC236}">
                <a16:creationId xmlns:a16="http://schemas.microsoft.com/office/drawing/2014/main" xmlns="" id="{ADF72962-465C-374D-8649-21637B42F5C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spTree>
    <p:custDataLst>
      <p:tags r:id="rId1"/>
    </p:custDataLst>
    <p:extLst>
      <p:ext uri="{BB962C8B-B14F-4D97-AF65-F5344CB8AC3E}">
        <p14:creationId xmlns:p14="http://schemas.microsoft.com/office/powerpoint/2010/main" val="3716772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2" name="Rectangle 1">
            <a:extLst>
              <a:ext uri="{FF2B5EF4-FFF2-40B4-BE49-F238E27FC236}">
                <a16:creationId xmlns:a16="http://schemas.microsoft.com/office/drawing/2014/main" xmlns="" id="{67802542-E22E-6D45-8112-259EB9F59D00}"/>
              </a:ext>
            </a:extLst>
          </p:cNvPr>
          <p:cNvSpPr/>
          <p:nvPr/>
        </p:nvSpPr>
        <p:spPr>
          <a:xfrm>
            <a:off x="736534" y="707138"/>
            <a:ext cx="3410291" cy="1631216"/>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lan Nacional de erradicación de </a:t>
            </a:r>
          </a:p>
          <a:p>
            <a:r>
              <a:rPr lang="es-CL" sz="2400" dirty="0">
                <a:solidFill>
                  <a:schemeClr val="bg1"/>
                </a:solidFill>
                <a:latin typeface="ACHS Nueva Sans Medium" pitchFamily="2" charset="77"/>
                <a:cs typeface="Calibri" panose="020F0502020204030204" pitchFamily="34" charset="0"/>
              </a:rPr>
              <a:t>la Silicosis 2009 - 2030</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30" name="Rectangle 4">
            <a:extLst>
              <a:ext uri="{FF2B5EF4-FFF2-40B4-BE49-F238E27FC236}">
                <a16:creationId xmlns:a16="http://schemas.microsoft.com/office/drawing/2014/main" xmlns="" id="{6158240F-4C60-EB47-8007-DDB0FDBB0679}"/>
              </a:ext>
            </a:extLst>
          </p:cNvPr>
          <p:cNvSpPr/>
          <p:nvPr/>
        </p:nvSpPr>
        <p:spPr>
          <a:xfrm>
            <a:off x="514257" y="2744494"/>
            <a:ext cx="3410291" cy="461665"/>
          </a:xfrm>
          <a:prstGeom prst="rect">
            <a:avLst/>
          </a:prstGeom>
        </p:spPr>
        <p:txBody>
          <a:bodyPr wrap="square">
            <a:spAutoFit/>
          </a:bodyPr>
          <a:lstStyle/>
          <a:p>
            <a:r>
              <a:rPr lang="es-CL" sz="2400" b="1" dirty="0">
                <a:solidFill>
                  <a:schemeClr val="bg1"/>
                </a:solidFill>
                <a:latin typeface="ACHS Nueva Serif" pitchFamily="2" charset="77"/>
                <a:cs typeface="Calibri" panose="020F0502020204030204" pitchFamily="34" charset="0"/>
              </a:rPr>
              <a:t>Metas estratégicas:</a:t>
            </a:r>
            <a:endParaRPr lang="es-CL" sz="2200" b="1" dirty="0">
              <a:solidFill>
                <a:schemeClr val="bg1"/>
              </a:solidFill>
              <a:latin typeface="ACHS Nueva Serif" pitchFamily="2" charset="77"/>
              <a:cs typeface="Calibri" panose="020F0502020204030204" pitchFamily="34" charset="0"/>
            </a:endParaRPr>
          </a:p>
        </p:txBody>
      </p:sp>
      <p:sp>
        <p:nvSpPr>
          <p:cNvPr id="14" name="Rectangle 3">
            <a:extLst>
              <a:ext uri="{FF2B5EF4-FFF2-40B4-BE49-F238E27FC236}">
                <a16:creationId xmlns:a16="http://schemas.microsoft.com/office/drawing/2014/main" xmlns="" id="{196D37C6-1C93-634F-9736-D8122BAAD8BB}"/>
              </a:ext>
            </a:extLst>
          </p:cNvPr>
          <p:cNvSpPr/>
          <p:nvPr/>
        </p:nvSpPr>
        <p:spPr>
          <a:xfrm>
            <a:off x="4716637" y="2052290"/>
            <a:ext cx="10657183" cy="3170099"/>
          </a:xfrm>
          <a:prstGeom prst="rect">
            <a:avLst/>
          </a:prstGeom>
        </p:spPr>
        <p:txBody>
          <a:bodyPr wrap="square">
            <a:spAutoFit/>
          </a:bodyPr>
          <a:lstStyle/>
          <a:p>
            <a:pPr marL="409575" marR="288925" indent="-342900">
              <a:lnSpc>
                <a:spcPct val="100000"/>
              </a:lnSpc>
              <a:spcBef>
                <a:spcPts val="5"/>
              </a:spcBef>
              <a:buClr>
                <a:srgbClr val="15C047"/>
              </a:buClr>
              <a:buFont typeface="Arial"/>
              <a:buChar char="•"/>
              <a:tabLst>
                <a:tab pos="410209" algn="l"/>
              </a:tabLst>
            </a:pPr>
            <a:r>
              <a:rPr lang="es-CL" sz="2000" dirty="0">
                <a:latin typeface="ACHS Nueva Sans Medium" pitchFamily="2" charset="77"/>
                <a:cs typeface="Calibri" panose="020F0502020204030204" pitchFamily="34" charset="0"/>
              </a:rPr>
              <a:t>Disminuir la exposición.</a:t>
            </a:r>
          </a:p>
          <a:p>
            <a:pPr marL="409575" marR="288925" indent="-342900">
              <a:lnSpc>
                <a:spcPct val="100000"/>
              </a:lnSpc>
              <a:spcBef>
                <a:spcPts val="5"/>
              </a:spcBef>
              <a:buClr>
                <a:srgbClr val="15C047"/>
              </a:buClr>
              <a:buFont typeface="Arial"/>
              <a:buChar char="•"/>
              <a:tabLst>
                <a:tab pos="410209" algn="l"/>
              </a:tabLst>
            </a:pPr>
            <a:endParaRPr lang="es-CL" sz="2000" dirty="0">
              <a:latin typeface="ACHS Nueva Sans Medium" pitchFamily="2" charset="77"/>
              <a:cs typeface="Calibri" panose="020F0502020204030204" pitchFamily="34" charset="0"/>
            </a:endParaRPr>
          </a:p>
          <a:p>
            <a:pPr marL="409575" marR="5080" indent="-342900">
              <a:lnSpc>
                <a:spcPct val="100000"/>
              </a:lnSpc>
              <a:buClr>
                <a:srgbClr val="15C047"/>
              </a:buClr>
              <a:buFont typeface="Arial"/>
              <a:buChar char="•"/>
              <a:tabLst>
                <a:tab pos="409575" algn="l"/>
                <a:tab pos="410209" algn="l"/>
              </a:tabLst>
            </a:pPr>
            <a:r>
              <a:rPr lang="es-CL" sz="2000" dirty="0">
                <a:latin typeface="ACHS Nueva Sans Medium" pitchFamily="2" charset="77"/>
                <a:cs typeface="Calibri" panose="020F0502020204030204" pitchFamily="34" charset="0"/>
              </a:rPr>
              <a:t>Disminuir la incidencia.</a:t>
            </a:r>
          </a:p>
          <a:p>
            <a:pPr marL="409575" marR="5080" indent="-342900">
              <a:lnSpc>
                <a:spcPct val="100000"/>
              </a:lnSpc>
              <a:buClr>
                <a:srgbClr val="15C047"/>
              </a:buClr>
              <a:buFont typeface="Arial"/>
              <a:buChar char="•"/>
              <a:tabLst>
                <a:tab pos="409575" algn="l"/>
                <a:tab pos="410209" algn="l"/>
              </a:tabLst>
            </a:pPr>
            <a:endParaRPr lang="es-CL" sz="2000" dirty="0">
              <a:latin typeface="ACHS Nueva Sans Medium" pitchFamily="2" charset="77"/>
              <a:cs typeface="Calibri" panose="020F0502020204030204" pitchFamily="34" charset="0"/>
            </a:endParaRPr>
          </a:p>
          <a:p>
            <a:pPr marL="409575" indent="-342900">
              <a:lnSpc>
                <a:spcPct val="100000"/>
              </a:lnSpc>
              <a:buClr>
                <a:srgbClr val="15C047"/>
              </a:buClr>
              <a:buFont typeface="Arial"/>
              <a:buChar char="•"/>
              <a:tabLst>
                <a:tab pos="409575" algn="l"/>
                <a:tab pos="410209" algn="l"/>
              </a:tabLst>
            </a:pPr>
            <a:r>
              <a:rPr lang="es-CL" sz="2000" dirty="0">
                <a:latin typeface="ACHS Nueva Sans Medium" pitchFamily="2" charset="77"/>
                <a:cs typeface="Calibri" panose="020F0502020204030204" pitchFamily="34" charset="0"/>
              </a:rPr>
              <a:t>Disminuir en forma sostenida la incidencia anual de Silicosis a partir del 2020.</a:t>
            </a:r>
          </a:p>
          <a:p>
            <a:pPr>
              <a:lnSpc>
                <a:spcPct val="100000"/>
              </a:lnSpc>
              <a:spcBef>
                <a:spcPts val="40"/>
              </a:spcBef>
              <a:buClr>
                <a:srgbClr val="15C047"/>
              </a:buClr>
              <a:buFont typeface="Arial"/>
              <a:buChar char="•"/>
              <a:tabLst>
                <a:tab pos="8616950" algn="l"/>
              </a:tabLst>
            </a:pPr>
            <a:endParaRPr lang="es-CL" sz="2000" dirty="0">
              <a:latin typeface="ACHS Nueva Sans Medium" pitchFamily="2" charset="77"/>
              <a:cs typeface="Calibri" panose="020F0502020204030204" pitchFamily="34" charset="0"/>
            </a:endParaRPr>
          </a:p>
          <a:p>
            <a:pPr marL="409575" marR="709295" indent="-342900">
              <a:buClr>
                <a:srgbClr val="15C047"/>
              </a:buClr>
              <a:buFont typeface="Arial"/>
              <a:buChar char="•"/>
              <a:tabLst>
                <a:tab pos="409575" algn="l"/>
                <a:tab pos="410209" algn="l"/>
              </a:tabLst>
            </a:pPr>
            <a:r>
              <a:rPr lang="es-CL" sz="2000" dirty="0">
                <a:latin typeface="ACHS Nueva Sans Medium" pitchFamily="2" charset="77"/>
                <a:cs typeface="Calibri" panose="020F0502020204030204" pitchFamily="34" charset="0"/>
              </a:rPr>
              <a:t>Implementar programas de Vigilancia de la Salud y Ambiente en 100% de las empresas identificadas con trabajadores expuestos al año 2018.</a:t>
            </a:r>
          </a:p>
          <a:p>
            <a:pPr>
              <a:lnSpc>
                <a:spcPct val="100000"/>
              </a:lnSpc>
              <a:spcBef>
                <a:spcPts val="45"/>
              </a:spcBef>
              <a:buClr>
                <a:srgbClr val="15C047"/>
              </a:buClr>
              <a:buFont typeface="Arial"/>
              <a:buChar char="•"/>
            </a:pPr>
            <a:endParaRPr lang="es-CL" sz="2000" dirty="0">
              <a:latin typeface="ACHS Nueva Sans Medium" pitchFamily="2" charset="77"/>
              <a:cs typeface="Calibri" panose="020F0502020204030204" pitchFamily="34" charset="0"/>
            </a:endParaRPr>
          </a:p>
          <a:p>
            <a:pPr marL="409575" indent="-342900">
              <a:lnSpc>
                <a:spcPct val="100000"/>
              </a:lnSpc>
              <a:buClr>
                <a:srgbClr val="15C047"/>
              </a:buClr>
              <a:buFont typeface="Arial"/>
              <a:buChar char="•"/>
              <a:tabLst>
                <a:tab pos="409575" algn="l"/>
                <a:tab pos="410209" algn="l"/>
              </a:tabLst>
            </a:pPr>
            <a:r>
              <a:rPr lang="es-CL" sz="2000" dirty="0">
                <a:latin typeface="ACHS Nueva Sans Medium" pitchFamily="2" charset="77"/>
                <a:cs typeface="Calibri" panose="020F0502020204030204" pitchFamily="34" charset="0"/>
              </a:rPr>
              <a:t>Constituir una Mesa Nacional Tripartita al 2009 y 15 mesas regionales al 2010</a:t>
            </a:r>
          </a:p>
        </p:txBody>
      </p:sp>
    </p:spTree>
    <p:custDataLst>
      <p:tags r:id="rId1"/>
    </p:custDataLst>
    <p:extLst>
      <p:ext uri="{BB962C8B-B14F-4D97-AF65-F5344CB8AC3E}">
        <p14:creationId xmlns:p14="http://schemas.microsoft.com/office/powerpoint/2010/main" val="14892223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2" name="Rectangle 1">
            <a:extLst>
              <a:ext uri="{FF2B5EF4-FFF2-40B4-BE49-F238E27FC236}">
                <a16:creationId xmlns:a16="http://schemas.microsoft.com/office/drawing/2014/main" xmlns="" id="{67802542-E22E-6D45-8112-259EB9F59D00}"/>
              </a:ext>
            </a:extLst>
          </p:cNvPr>
          <p:cNvSpPr/>
          <p:nvPr/>
        </p:nvSpPr>
        <p:spPr>
          <a:xfrm>
            <a:off x="736534" y="707138"/>
            <a:ext cx="3410291" cy="1631216"/>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lan Nacional de erradicación de </a:t>
            </a:r>
          </a:p>
          <a:p>
            <a:r>
              <a:rPr lang="es-CL" sz="2400" dirty="0">
                <a:solidFill>
                  <a:schemeClr val="bg1"/>
                </a:solidFill>
                <a:latin typeface="ACHS Nueva Sans Medium" pitchFamily="2" charset="77"/>
                <a:cs typeface="Calibri" panose="020F0502020204030204" pitchFamily="34" charset="0"/>
              </a:rPr>
              <a:t>la Silicosis 2009 - 2030</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30" name="Rectangle 4">
            <a:extLst>
              <a:ext uri="{FF2B5EF4-FFF2-40B4-BE49-F238E27FC236}">
                <a16:creationId xmlns:a16="http://schemas.microsoft.com/office/drawing/2014/main" xmlns="" id="{6158240F-4C60-EB47-8007-DDB0FDBB0679}"/>
              </a:ext>
            </a:extLst>
          </p:cNvPr>
          <p:cNvSpPr/>
          <p:nvPr/>
        </p:nvSpPr>
        <p:spPr>
          <a:xfrm>
            <a:off x="514257" y="2744494"/>
            <a:ext cx="3410291" cy="430887"/>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Prioridades:</a:t>
            </a:r>
          </a:p>
        </p:txBody>
      </p:sp>
      <p:sp>
        <p:nvSpPr>
          <p:cNvPr id="9" name="Rectangle 3">
            <a:extLst>
              <a:ext uri="{FF2B5EF4-FFF2-40B4-BE49-F238E27FC236}">
                <a16:creationId xmlns:a16="http://schemas.microsoft.com/office/drawing/2014/main" xmlns="" id="{49460B75-3ACF-EF48-92D3-B0B399C17FCB}"/>
              </a:ext>
            </a:extLst>
          </p:cNvPr>
          <p:cNvSpPr/>
          <p:nvPr/>
        </p:nvSpPr>
        <p:spPr>
          <a:xfrm>
            <a:off x="4572620" y="3378503"/>
            <a:ext cx="7488832" cy="3170099"/>
          </a:xfrm>
          <a:prstGeom prst="rect">
            <a:avLst/>
          </a:prstGeom>
        </p:spPr>
        <p:txBody>
          <a:bodyPr wrap="square">
            <a:spAutoFit/>
          </a:bodyPr>
          <a:lstStyle/>
          <a:p>
            <a:pPr marL="355600" indent="-342900">
              <a:lnSpc>
                <a:spcPct val="100000"/>
              </a:lnSpc>
              <a:buClr>
                <a:srgbClr val="15C047"/>
              </a:buClr>
              <a:buAutoNum type="arabicPeriod"/>
              <a:tabLst>
                <a:tab pos="469265" algn="l"/>
              </a:tabLst>
            </a:pPr>
            <a:r>
              <a:rPr lang="es-CL" sz="2000" dirty="0">
                <a:latin typeface="ACHS Nueva Sans Medium" pitchFamily="2" charset="77"/>
                <a:cs typeface="Calibri" panose="020F0502020204030204" pitchFamily="34" charset="0"/>
              </a:rPr>
              <a:t>  Ocupaciones con alta exposición a Sílice: </a:t>
            </a:r>
          </a:p>
          <a:p>
            <a:pPr marL="12700">
              <a:lnSpc>
                <a:spcPct val="100000"/>
              </a:lnSpc>
              <a:buClr>
                <a:srgbClr val="15C047"/>
              </a:buClr>
              <a:tabLst>
                <a:tab pos="469265" algn="l"/>
              </a:tabLst>
            </a:pPr>
            <a:r>
              <a:rPr lang="es-CL" sz="2000" dirty="0">
                <a:latin typeface="ACHS Nueva Sans Medium" pitchFamily="2" charset="77"/>
                <a:cs typeface="Calibri" panose="020F0502020204030204" pitchFamily="34" charset="0"/>
              </a:rPr>
              <a:t>	Arenadores - Operadores de Chancadoras de Cuarzo.</a:t>
            </a:r>
          </a:p>
          <a:p>
            <a:pPr marL="355600" indent="-342900">
              <a:lnSpc>
                <a:spcPct val="100000"/>
              </a:lnSpc>
              <a:buClr>
                <a:srgbClr val="15C047"/>
              </a:buClr>
              <a:buAutoNum type="arabicPeriod"/>
              <a:tabLst>
                <a:tab pos="469265" algn="l"/>
              </a:tabLst>
            </a:pPr>
            <a:endParaRPr lang="es-CL" sz="2000" dirty="0">
              <a:latin typeface="ACHS Nueva Sans Medium" pitchFamily="2" charset="77"/>
              <a:cs typeface="Calibri" panose="020F0502020204030204" pitchFamily="34" charset="0"/>
            </a:endParaRPr>
          </a:p>
          <a:p>
            <a:pPr marL="355600" indent="-342900">
              <a:lnSpc>
                <a:spcPct val="100000"/>
              </a:lnSpc>
              <a:buClr>
                <a:srgbClr val="15C047"/>
              </a:buClr>
              <a:buFont typeface="+mj-lt"/>
              <a:buAutoNum type="arabicPeriod" startAt="2"/>
              <a:tabLst>
                <a:tab pos="469265" algn="l"/>
              </a:tabLst>
            </a:pPr>
            <a:r>
              <a:rPr lang="es-CL" sz="2000" dirty="0">
                <a:latin typeface="ACHS Nueva Sans Medium" pitchFamily="2" charset="77"/>
                <a:cs typeface="Calibri" panose="020F0502020204030204" pitchFamily="34" charset="0"/>
              </a:rPr>
              <a:t>  Grupos de Trabajadores Vulnerables: </a:t>
            </a:r>
          </a:p>
          <a:p>
            <a:pPr marL="12700">
              <a:lnSpc>
                <a:spcPct val="100000"/>
              </a:lnSpc>
              <a:buClr>
                <a:srgbClr val="15C047"/>
              </a:buClr>
              <a:tabLst>
                <a:tab pos="469265" algn="l"/>
              </a:tabLst>
            </a:pPr>
            <a:r>
              <a:rPr lang="es-CL" sz="2000" dirty="0">
                <a:latin typeface="ACHS Nueva Sans Medium" pitchFamily="2" charset="77"/>
                <a:cs typeface="Calibri" panose="020F0502020204030204" pitchFamily="34" charset="0"/>
              </a:rPr>
              <a:t>	Pirquineros – PYMES.</a:t>
            </a:r>
          </a:p>
          <a:p>
            <a:pPr marL="355600" indent="-342900">
              <a:lnSpc>
                <a:spcPct val="100000"/>
              </a:lnSpc>
              <a:buClr>
                <a:srgbClr val="15C047"/>
              </a:buClr>
              <a:buAutoNum type="arabicPeriod" startAt="2"/>
              <a:tabLst>
                <a:tab pos="469265" algn="l"/>
              </a:tabLst>
            </a:pPr>
            <a:endParaRPr lang="es-CL" sz="2000" dirty="0">
              <a:latin typeface="ACHS Nueva Sans Medium" pitchFamily="2" charset="77"/>
              <a:cs typeface="Calibri" panose="020F0502020204030204" pitchFamily="34" charset="0"/>
            </a:endParaRPr>
          </a:p>
          <a:p>
            <a:pPr marL="355600" indent="-342900">
              <a:lnSpc>
                <a:spcPct val="100000"/>
              </a:lnSpc>
              <a:buClr>
                <a:srgbClr val="15C047"/>
              </a:buClr>
              <a:buFont typeface="+mj-lt"/>
              <a:buAutoNum type="arabicPeriod" startAt="3"/>
              <a:tabLst>
                <a:tab pos="469265" algn="l"/>
              </a:tabLst>
            </a:pPr>
            <a:r>
              <a:rPr lang="es-CL" sz="2000" dirty="0">
                <a:latin typeface="ACHS Nueva Sans Medium" pitchFamily="2" charset="77"/>
                <a:cs typeface="Calibri" panose="020F0502020204030204" pitchFamily="34" charset="0"/>
              </a:rPr>
              <a:t>  Sectores Económicos con Mayor Número de  Expuestos: </a:t>
            </a:r>
          </a:p>
          <a:p>
            <a:pPr marL="12700">
              <a:lnSpc>
                <a:spcPct val="100000"/>
              </a:lnSpc>
              <a:buClr>
                <a:srgbClr val="15C047"/>
              </a:buClr>
              <a:tabLst>
                <a:tab pos="469265" algn="l"/>
              </a:tabLst>
            </a:pPr>
            <a:r>
              <a:rPr lang="es-CL" sz="2000" dirty="0">
                <a:latin typeface="ACHS Nueva Sans Medium" pitchFamily="2" charset="77"/>
                <a:cs typeface="Calibri" panose="020F0502020204030204" pitchFamily="34" charset="0"/>
              </a:rPr>
              <a:t>	Construcción y Minería</a:t>
            </a:r>
          </a:p>
          <a:p>
            <a:pPr marL="355600" indent="-342900">
              <a:lnSpc>
                <a:spcPct val="100000"/>
              </a:lnSpc>
              <a:buClr>
                <a:srgbClr val="15C047"/>
              </a:buClr>
              <a:buAutoNum type="arabicPeriod" startAt="3"/>
              <a:tabLst>
                <a:tab pos="469265" algn="l"/>
              </a:tabLst>
            </a:pPr>
            <a:endParaRPr lang="es-CL" sz="2000" dirty="0">
              <a:latin typeface="ACHS Nueva Sans Medium" pitchFamily="2" charset="77"/>
              <a:cs typeface="Calibri" panose="020F0502020204030204" pitchFamily="34" charset="0"/>
            </a:endParaRPr>
          </a:p>
          <a:p>
            <a:pPr marL="355600" indent="-342900">
              <a:lnSpc>
                <a:spcPct val="100000"/>
              </a:lnSpc>
              <a:buClr>
                <a:srgbClr val="15C047"/>
              </a:buClr>
              <a:buAutoNum type="arabicPeriod" startAt="3"/>
              <a:tabLst>
                <a:tab pos="469265" algn="l"/>
              </a:tabLst>
            </a:pPr>
            <a:endParaRPr lang="es-CL" sz="2000" dirty="0">
              <a:latin typeface="ACHS Nueva Sans Medium" pitchFamily="2" charset="77"/>
              <a:cs typeface="Calibri" panose="020F0502020204030204" pitchFamily="34" charset="0"/>
            </a:endParaRPr>
          </a:p>
        </p:txBody>
      </p:sp>
      <p:sp>
        <p:nvSpPr>
          <p:cNvPr id="12" name="object 4">
            <a:extLst>
              <a:ext uri="{FF2B5EF4-FFF2-40B4-BE49-F238E27FC236}">
                <a16:creationId xmlns:a16="http://schemas.microsoft.com/office/drawing/2014/main" xmlns="" id="{98C041B4-E136-3F47-AB6C-0C700F74275B}"/>
              </a:ext>
            </a:extLst>
          </p:cNvPr>
          <p:cNvSpPr/>
          <p:nvPr/>
        </p:nvSpPr>
        <p:spPr>
          <a:xfrm>
            <a:off x="12304263" y="2452522"/>
            <a:ext cx="3099151" cy="4096080"/>
          </a:xfrm>
          <a:prstGeom prst="rect">
            <a:avLst/>
          </a:prstGeom>
          <a:blipFill>
            <a:blip r:embed="rId4" cstate="print"/>
            <a:stretch>
              <a:fillRect/>
            </a:stretch>
          </a:blipFill>
        </p:spPr>
        <p:txBody>
          <a:bodyPr wrap="square" lIns="0" tIns="0" rIns="0" bIns="0" rtlCol="0"/>
          <a:lstStyle/>
          <a:p>
            <a:endParaRPr/>
          </a:p>
        </p:txBody>
      </p:sp>
    </p:spTree>
    <p:custDataLst>
      <p:tags r:id="rId1"/>
    </p:custDataLst>
    <p:extLst>
      <p:ext uri="{BB962C8B-B14F-4D97-AF65-F5344CB8AC3E}">
        <p14:creationId xmlns:p14="http://schemas.microsoft.com/office/powerpoint/2010/main" val="7778710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2823691"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agente SILICE</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0" name="object 4">
            <a:extLst>
              <a:ext uri="{FF2B5EF4-FFF2-40B4-BE49-F238E27FC236}">
                <a16:creationId xmlns:a16="http://schemas.microsoft.com/office/drawing/2014/main" xmlns="" id="{0F70299F-22AA-A342-9326-9FFCAE267C71}"/>
              </a:ext>
            </a:extLst>
          </p:cNvPr>
          <p:cNvSpPr/>
          <p:nvPr/>
        </p:nvSpPr>
        <p:spPr>
          <a:xfrm>
            <a:off x="4984567" y="1692250"/>
            <a:ext cx="4925632" cy="6552383"/>
          </a:xfrm>
          <a:prstGeom prst="rect">
            <a:avLst/>
          </a:prstGeom>
          <a:blipFill>
            <a:blip r:embed="rId4" cstate="screen">
              <a:extLst>
                <a:ext uri="{28A0092B-C50C-407E-A947-70E740481C1C}">
                  <a14:useLocalDpi xmlns:a14="http://schemas.microsoft.com/office/drawing/2010/main"/>
                </a:ext>
              </a:extLst>
            </a:blip>
            <a:srcRect/>
            <a:stretch>
              <a:fillRect/>
            </a:stretch>
          </a:blipFill>
          <a:ln>
            <a:solidFill>
              <a:schemeClr val="bg1">
                <a:lumMod val="65000"/>
              </a:schemeClr>
            </a:solidFill>
          </a:ln>
        </p:spPr>
        <p:txBody>
          <a:bodyPr wrap="square" lIns="0" tIns="0" rIns="0" bIns="0" rtlCol="0"/>
          <a:lstStyle/>
          <a:p>
            <a:endParaRPr/>
          </a:p>
        </p:txBody>
      </p:sp>
      <p:sp>
        <p:nvSpPr>
          <p:cNvPr id="11" name="object 6">
            <a:extLst>
              <a:ext uri="{FF2B5EF4-FFF2-40B4-BE49-F238E27FC236}">
                <a16:creationId xmlns:a16="http://schemas.microsoft.com/office/drawing/2014/main" xmlns="" id="{6FB10AA4-11EF-4941-B032-51833552E02F}"/>
              </a:ext>
            </a:extLst>
          </p:cNvPr>
          <p:cNvSpPr/>
          <p:nvPr/>
        </p:nvSpPr>
        <p:spPr>
          <a:xfrm>
            <a:off x="10160156" y="1672677"/>
            <a:ext cx="4925632" cy="6552383"/>
          </a:xfrm>
          <a:prstGeom prst="rect">
            <a:avLst/>
          </a:prstGeom>
          <a:blipFill>
            <a:blip r:embed="rId5" cstate="screen">
              <a:extLst>
                <a:ext uri="{28A0092B-C50C-407E-A947-70E740481C1C}">
                  <a14:useLocalDpi xmlns:a14="http://schemas.microsoft.com/office/drawing/2010/main"/>
                </a:ext>
              </a:extLst>
            </a:blip>
            <a:srcRect/>
            <a:stretch>
              <a:fillRect/>
            </a:stretch>
          </a:blipFill>
          <a:ln>
            <a:solidFill>
              <a:schemeClr val="bg1">
                <a:lumMod val="65000"/>
              </a:schemeClr>
            </a:solidFill>
          </a:ln>
        </p:spPr>
        <p:txBody>
          <a:bodyPr wrap="square" lIns="0" tIns="0" rIns="0" bIns="0" rtlCol="0"/>
          <a:lstStyle/>
          <a:p>
            <a:endParaRPr/>
          </a:p>
        </p:txBody>
      </p:sp>
      <p:sp>
        <p:nvSpPr>
          <p:cNvPr id="14" name="Rectangle 4">
            <a:extLst>
              <a:ext uri="{FF2B5EF4-FFF2-40B4-BE49-F238E27FC236}">
                <a16:creationId xmlns:a16="http://schemas.microsoft.com/office/drawing/2014/main" xmlns="" id="{44C650DB-034D-8946-92AA-334546EAE0EA}"/>
              </a:ext>
            </a:extLst>
          </p:cNvPr>
          <p:cNvSpPr/>
          <p:nvPr/>
        </p:nvSpPr>
        <p:spPr>
          <a:xfrm>
            <a:off x="396156" y="2268314"/>
            <a:ext cx="3410291" cy="430887"/>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Sílice:</a:t>
            </a:r>
          </a:p>
        </p:txBody>
      </p:sp>
    </p:spTree>
    <p:custDataLst>
      <p:tags r:id="rId1"/>
    </p:custDataLst>
    <p:extLst>
      <p:ext uri="{BB962C8B-B14F-4D97-AF65-F5344CB8AC3E}">
        <p14:creationId xmlns:p14="http://schemas.microsoft.com/office/powerpoint/2010/main" val="224490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2823691"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agente SILICE</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396156" y="2268314"/>
            <a:ext cx="3410291" cy="1107996"/>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Qué establece el protocolo?:</a:t>
            </a:r>
          </a:p>
          <a:p>
            <a:endParaRPr lang="es-CL" sz="2200" b="1" dirty="0">
              <a:solidFill>
                <a:schemeClr val="bg1"/>
              </a:solidFill>
              <a:latin typeface="ACHS Nueva Serif" pitchFamily="2" charset="77"/>
              <a:cs typeface="Calibri" panose="020F0502020204030204" pitchFamily="34" charset="0"/>
            </a:endParaRPr>
          </a:p>
        </p:txBody>
      </p:sp>
      <p:sp>
        <p:nvSpPr>
          <p:cNvPr id="12" name="Rectangle 3">
            <a:extLst>
              <a:ext uri="{FF2B5EF4-FFF2-40B4-BE49-F238E27FC236}">
                <a16:creationId xmlns:a16="http://schemas.microsoft.com/office/drawing/2014/main" xmlns="" id="{FE302EC4-7E60-914F-B786-46B5BB57CEEE}"/>
              </a:ext>
            </a:extLst>
          </p:cNvPr>
          <p:cNvSpPr/>
          <p:nvPr/>
        </p:nvSpPr>
        <p:spPr>
          <a:xfrm>
            <a:off x="4716637" y="2052290"/>
            <a:ext cx="9937103" cy="5324535"/>
          </a:xfrm>
          <a:prstGeom prst="rect">
            <a:avLst/>
          </a:prstGeom>
        </p:spPr>
        <p:txBody>
          <a:bodyPr wrap="square">
            <a:spAutoFit/>
          </a:bodyPr>
          <a:lstStyle/>
          <a:p>
            <a:pPr marL="298450" marR="1319530" indent="-285750" defTabSz="1435100">
              <a:lnSpc>
                <a:spcPct val="100000"/>
              </a:lnSpc>
              <a:buClr>
                <a:srgbClr val="15C047"/>
              </a:buClr>
              <a:buFont typeface="Arial" panose="020B0604020202020204" pitchFamily="34" charset="0"/>
              <a:buChar char="•"/>
              <a:tabLst>
                <a:tab pos="355600" algn="l"/>
              </a:tabLst>
            </a:pPr>
            <a:r>
              <a:rPr lang="es-ES" sz="2000" dirty="0">
                <a:latin typeface="ACHS Nueva Sans Medium" pitchFamily="2" charset="77"/>
                <a:cs typeface="Calibri" panose="020F0502020204030204" pitchFamily="34" charset="0"/>
              </a:rPr>
              <a:t>Vigilancia epidemiológica a los Organismos Administradores.</a:t>
            </a:r>
          </a:p>
          <a:p>
            <a:pPr marL="285750" indent="-285750">
              <a:lnSpc>
                <a:spcPct val="100000"/>
              </a:lnSpc>
              <a:buClr>
                <a:srgbClr val="15C047"/>
              </a:buClr>
              <a:buFont typeface="Arial" panose="020B0604020202020204" pitchFamily="34" charset="0"/>
              <a:buChar char="•"/>
            </a:pPr>
            <a:endParaRPr lang="es-ES" sz="2000" dirty="0">
              <a:latin typeface="ACHS Nueva Sans Medium" pitchFamily="2" charset="77"/>
              <a:cs typeface="Calibri" panose="020F0502020204030204" pitchFamily="34" charset="0"/>
            </a:endParaRPr>
          </a:p>
          <a:p>
            <a:pPr marL="298450" indent="-285750">
              <a:lnSpc>
                <a:spcPct val="100000"/>
              </a:lnSpc>
              <a:buClr>
                <a:srgbClr val="15C047"/>
              </a:buClr>
              <a:buFont typeface="Arial" panose="020B0604020202020204" pitchFamily="34" charset="0"/>
              <a:buChar char="•"/>
              <a:tabLst>
                <a:tab pos="354965" algn="l"/>
                <a:tab pos="355600" algn="l"/>
              </a:tabLst>
            </a:pPr>
            <a:r>
              <a:rPr lang="es-ES" sz="2000" dirty="0">
                <a:latin typeface="ACHS Nueva Sans Medium" pitchFamily="2" charset="77"/>
                <a:cs typeface="Calibri" panose="020F0502020204030204" pitchFamily="34" charset="0"/>
              </a:rPr>
              <a:t>Empleador debe dar facilidades para ejecución de evaluaciones ambientales y de salud.</a:t>
            </a:r>
          </a:p>
          <a:p>
            <a:pPr marL="285750" indent="-285750">
              <a:lnSpc>
                <a:spcPct val="100000"/>
              </a:lnSpc>
              <a:buClr>
                <a:srgbClr val="15C047"/>
              </a:buClr>
              <a:buFont typeface="Arial" panose="020B0604020202020204" pitchFamily="34" charset="0"/>
              <a:buChar char="•"/>
            </a:pPr>
            <a:endParaRPr lang="es-ES" sz="2000" dirty="0">
              <a:latin typeface="ACHS Nueva Sans Medium" pitchFamily="2" charset="77"/>
              <a:cs typeface="Calibri" panose="020F0502020204030204" pitchFamily="34" charset="0"/>
            </a:endParaRPr>
          </a:p>
          <a:p>
            <a:pPr marL="298450" marR="517525" indent="-285750">
              <a:lnSpc>
                <a:spcPct val="100000"/>
              </a:lnSpc>
              <a:buClr>
                <a:srgbClr val="15C047"/>
              </a:buClr>
              <a:buFont typeface="Arial" panose="020B0604020202020204" pitchFamily="34" charset="0"/>
              <a:buChar char="•"/>
              <a:tabLst>
                <a:tab pos="354965" algn="l"/>
                <a:tab pos="355600" algn="l"/>
              </a:tabLst>
            </a:pPr>
            <a:r>
              <a:rPr lang="es-ES" sz="2000" dirty="0">
                <a:latin typeface="ACHS Nueva Sans Medium" pitchFamily="2" charset="77"/>
                <a:cs typeface="Calibri" panose="020F0502020204030204" pitchFamily="34" charset="0"/>
              </a:rPr>
              <a:t>El Protocolo tiene carácter obligatorio para los Organismos Administradores y los Empleadores.</a:t>
            </a:r>
          </a:p>
          <a:p>
            <a:pPr marL="285750" indent="-285750">
              <a:lnSpc>
                <a:spcPct val="100000"/>
              </a:lnSpc>
              <a:buClr>
                <a:srgbClr val="15C047"/>
              </a:buClr>
              <a:buFont typeface="Arial" panose="020B0604020202020204" pitchFamily="34" charset="0"/>
              <a:buChar char="•"/>
            </a:pPr>
            <a:endParaRPr lang="es-ES" sz="2000" dirty="0">
              <a:latin typeface="ACHS Nueva Sans Medium" pitchFamily="2" charset="77"/>
              <a:cs typeface="Calibri" panose="020F0502020204030204" pitchFamily="34" charset="0"/>
            </a:endParaRPr>
          </a:p>
          <a:p>
            <a:pPr marL="298450" indent="-285750">
              <a:lnSpc>
                <a:spcPct val="100000"/>
              </a:lnSpc>
              <a:buClr>
                <a:srgbClr val="15C047"/>
              </a:buClr>
              <a:buFont typeface="Arial" panose="020B0604020202020204" pitchFamily="34" charset="0"/>
              <a:buChar char="•"/>
              <a:tabLst>
                <a:tab pos="354965" algn="l"/>
                <a:tab pos="355600" algn="l"/>
              </a:tabLst>
            </a:pPr>
            <a:r>
              <a:rPr lang="es-ES" sz="2000" dirty="0">
                <a:latin typeface="ACHS Nueva Sans Medium" pitchFamily="2" charset="77"/>
                <a:cs typeface="Calibri" panose="020F0502020204030204" pitchFamily="34" charset="0"/>
              </a:rPr>
              <a:t>Fiscalización:  Autoridad Sanitaria Regional e Inspecciones del Trabajo.</a:t>
            </a:r>
          </a:p>
          <a:p>
            <a:pPr marL="285750" indent="-285750">
              <a:lnSpc>
                <a:spcPct val="100000"/>
              </a:lnSpc>
              <a:buClr>
                <a:srgbClr val="15C047"/>
              </a:buClr>
              <a:buFont typeface="Arial" panose="020B0604020202020204" pitchFamily="34" charset="0"/>
              <a:buChar char="•"/>
            </a:pPr>
            <a:endParaRPr lang="es-ES" sz="2000" dirty="0">
              <a:latin typeface="ACHS Nueva Sans Medium" pitchFamily="2" charset="77"/>
              <a:cs typeface="Calibri" panose="020F0502020204030204" pitchFamily="34" charset="0"/>
            </a:endParaRPr>
          </a:p>
          <a:p>
            <a:pPr marL="298450" indent="-285750">
              <a:lnSpc>
                <a:spcPct val="100000"/>
              </a:lnSpc>
              <a:buClr>
                <a:srgbClr val="15C047"/>
              </a:buClr>
              <a:buFont typeface="Arial" panose="020B0604020202020204" pitchFamily="34" charset="0"/>
              <a:buChar char="•"/>
              <a:tabLst>
                <a:tab pos="354965" algn="l"/>
                <a:tab pos="355600" algn="l"/>
              </a:tabLst>
            </a:pPr>
            <a:r>
              <a:rPr lang="es-ES" sz="2000" dirty="0">
                <a:latin typeface="ACHS Nueva Sans Medium" pitchFamily="2" charset="77"/>
                <a:cs typeface="Calibri" panose="020F0502020204030204" pitchFamily="34" charset="0"/>
              </a:rPr>
              <a:t>Propósito: contribuir a disminuir la silicosis.</a:t>
            </a:r>
          </a:p>
          <a:p>
            <a:pPr marL="285750" indent="-285750">
              <a:lnSpc>
                <a:spcPct val="100000"/>
              </a:lnSpc>
              <a:buClr>
                <a:srgbClr val="15C047"/>
              </a:buClr>
              <a:buFont typeface="Arial" panose="020B0604020202020204" pitchFamily="34" charset="0"/>
              <a:buChar char="•"/>
            </a:pPr>
            <a:endParaRPr lang="es-ES" sz="2000" dirty="0">
              <a:latin typeface="ACHS Nueva Sans Medium" pitchFamily="2" charset="77"/>
              <a:cs typeface="Calibri" panose="020F0502020204030204" pitchFamily="34" charset="0"/>
            </a:endParaRPr>
          </a:p>
          <a:p>
            <a:pPr marL="298450" indent="-285750">
              <a:lnSpc>
                <a:spcPct val="100000"/>
              </a:lnSpc>
              <a:buClr>
                <a:srgbClr val="15C047"/>
              </a:buClr>
              <a:buFont typeface="Arial" panose="020B0604020202020204" pitchFamily="34" charset="0"/>
              <a:buChar char="•"/>
              <a:tabLst>
                <a:tab pos="354965" algn="l"/>
                <a:tab pos="355600" algn="l"/>
              </a:tabLst>
            </a:pPr>
            <a:r>
              <a:rPr lang="es-ES" sz="2000" dirty="0">
                <a:latin typeface="ACHS Nueva Sans Medium" pitchFamily="2" charset="77"/>
                <a:cs typeface="Calibri" panose="020F0502020204030204" pitchFamily="34" charset="0"/>
              </a:rPr>
              <a:t>Aumentar población bajo control.</a:t>
            </a:r>
          </a:p>
          <a:p>
            <a:pPr marL="285750" indent="-285750">
              <a:lnSpc>
                <a:spcPct val="100000"/>
              </a:lnSpc>
              <a:buClr>
                <a:srgbClr val="15C047"/>
              </a:buClr>
              <a:buFont typeface="Arial" panose="020B0604020202020204" pitchFamily="34" charset="0"/>
              <a:buChar char="•"/>
            </a:pPr>
            <a:endParaRPr lang="es-ES" sz="2000" dirty="0">
              <a:latin typeface="ACHS Nueva Sans Medium" pitchFamily="2" charset="77"/>
              <a:cs typeface="Calibri" panose="020F0502020204030204" pitchFamily="34" charset="0"/>
            </a:endParaRPr>
          </a:p>
          <a:p>
            <a:pPr marL="298450" indent="-285750">
              <a:lnSpc>
                <a:spcPct val="100000"/>
              </a:lnSpc>
              <a:buClr>
                <a:srgbClr val="15C047"/>
              </a:buClr>
              <a:buFont typeface="Arial" panose="020B0604020202020204" pitchFamily="34" charset="0"/>
              <a:buChar char="•"/>
              <a:tabLst>
                <a:tab pos="354965" algn="l"/>
                <a:tab pos="355600" algn="l"/>
              </a:tabLst>
            </a:pPr>
            <a:r>
              <a:rPr lang="es-ES" sz="2000" dirty="0">
                <a:latin typeface="ACHS Nueva Sans Medium" pitchFamily="2" charset="77"/>
                <a:cs typeface="Calibri" panose="020F0502020204030204" pitchFamily="34" charset="0"/>
              </a:rPr>
              <a:t>Mejorar medidas de control (eficiencia y oportunidad).</a:t>
            </a:r>
          </a:p>
          <a:p>
            <a:pPr marL="285750" indent="-285750">
              <a:lnSpc>
                <a:spcPct val="100000"/>
              </a:lnSpc>
              <a:buClr>
                <a:srgbClr val="15C047"/>
              </a:buClr>
              <a:buFont typeface="Arial" panose="020B0604020202020204" pitchFamily="34" charset="0"/>
              <a:buChar char="•"/>
            </a:pPr>
            <a:endParaRPr lang="es-ES" sz="2000" dirty="0">
              <a:latin typeface="ACHS Nueva Sans Medium" pitchFamily="2" charset="77"/>
              <a:cs typeface="Calibri" panose="020F0502020204030204" pitchFamily="34" charset="0"/>
            </a:endParaRPr>
          </a:p>
          <a:p>
            <a:pPr marL="298450" indent="-285750">
              <a:lnSpc>
                <a:spcPct val="100000"/>
              </a:lnSpc>
              <a:buClr>
                <a:srgbClr val="15C047"/>
              </a:buClr>
              <a:buFont typeface="Arial" panose="020B0604020202020204" pitchFamily="34" charset="0"/>
              <a:buChar char="•"/>
              <a:tabLst>
                <a:tab pos="354965" algn="l"/>
                <a:tab pos="355600" algn="l"/>
              </a:tabLst>
            </a:pPr>
            <a:r>
              <a:rPr lang="es-ES" sz="2000" dirty="0">
                <a:latin typeface="ACHS Nueva Sans Medium" pitchFamily="2" charset="77"/>
                <a:cs typeface="Calibri" panose="020F0502020204030204" pitchFamily="34" charset="0"/>
              </a:rPr>
              <a:t>Se debe difundir cada 2 años.</a:t>
            </a:r>
          </a:p>
        </p:txBody>
      </p:sp>
    </p:spTree>
    <p:custDataLst>
      <p:tags r:id="rId1"/>
    </p:custDataLst>
    <p:extLst>
      <p:ext uri="{BB962C8B-B14F-4D97-AF65-F5344CB8AC3E}">
        <p14:creationId xmlns:p14="http://schemas.microsoft.com/office/powerpoint/2010/main" val="564366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2823691"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agente SILICE</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396157" y="2268314"/>
            <a:ext cx="3312368" cy="1785104"/>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Responsabilidades de los Organismos Administradores de la Ley N° 16.744:</a:t>
            </a:r>
          </a:p>
          <a:p>
            <a:endParaRPr lang="es-CL" sz="2200" b="1" dirty="0">
              <a:solidFill>
                <a:schemeClr val="bg1"/>
              </a:solidFill>
              <a:latin typeface="ACHS Nueva Serif" pitchFamily="2" charset="77"/>
              <a:cs typeface="Calibri" panose="020F0502020204030204" pitchFamily="34" charset="0"/>
            </a:endParaRPr>
          </a:p>
        </p:txBody>
      </p:sp>
      <p:sp>
        <p:nvSpPr>
          <p:cNvPr id="9" name="Rectangle 3">
            <a:extLst>
              <a:ext uri="{FF2B5EF4-FFF2-40B4-BE49-F238E27FC236}">
                <a16:creationId xmlns:a16="http://schemas.microsoft.com/office/drawing/2014/main" xmlns="" id="{CCD3113C-C624-8841-A3FB-C943EB53A399}"/>
              </a:ext>
            </a:extLst>
          </p:cNvPr>
          <p:cNvSpPr/>
          <p:nvPr/>
        </p:nvSpPr>
        <p:spPr>
          <a:xfrm>
            <a:off x="4731142" y="1476226"/>
            <a:ext cx="10231473" cy="6555641"/>
          </a:xfrm>
          <a:prstGeom prst="rect">
            <a:avLst/>
          </a:prstGeom>
        </p:spPr>
        <p:txBody>
          <a:bodyPr wrap="square">
            <a:spAutoFit/>
          </a:bodyPr>
          <a:lstStyle/>
          <a:p>
            <a:pPr marL="352425" indent="-352425">
              <a:lnSpc>
                <a:spcPct val="100000"/>
              </a:lnSpc>
              <a:buClr>
                <a:srgbClr val="15C047"/>
              </a:buClr>
              <a:buFont typeface="+mj-lt"/>
              <a:buAutoNum type="alphaLcPeriod"/>
              <a:tabLst>
                <a:tab pos="354965" algn="l"/>
                <a:tab pos="355600" algn="l"/>
              </a:tabLst>
            </a:pPr>
            <a:r>
              <a:rPr lang="es-CL" sz="2000" dirty="0">
                <a:latin typeface="ACHS Nueva Sans Medium" pitchFamily="2" charset="77"/>
                <a:cs typeface="Catamaran Light" panose="00000400000000000000" pitchFamily="2" charset="0"/>
              </a:rPr>
              <a:t>Llevar registros de las empresas en que existe exposición a sílice.</a:t>
            </a:r>
          </a:p>
          <a:p>
            <a:pPr marL="352425" indent="-352425">
              <a:lnSpc>
                <a:spcPct val="100000"/>
              </a:lnSpc>
              <a:buClr>
                <a:srgbClr val="15C047"/>
              </a:buClr>
              <a:buFont typeface="+mj-lt"/>
              <a:buAutoNum type="alphaLcPeriod"/>
              <a:tabLst>
                <a:tab pos="354965" algn="l"/>
                <a:tab pos="355600" algn="l"/>
              </a:tabLst>
            </a:pPr>
            <a:endParaRPr lang="es-CL" sz="2000" dirty="0">
              <a:latin typeface="ACHS Nueva Sans Medium" pitchFamily="2" charset="77"/>
              <a:cs typeface="Catamaran Light" panose="00000400000000000000" pitchFamily="2" charset="0"/>
            </a:endParaRPr>
          </a:p>
          <a:p>
            <a:pPr marL="352425" marR="5080" indent="-352425">
              <a:lnSpc>
                <a:spcPct val="100000"/>
              </a:lnSpc>
              <a:buClr>
                <a:srgbClr val="15C047"/>
              </a:buClr>
              <a:buFont typeface="+mj-lt"/>
              <a:buAutoNum type="alphaLcPeriod"/>
              <a:tabLst>
                <a:tab pos="354965" algn="l"/>
                <a:tab pos="355600" algn="l"/>
              </a:tabLst>
            </a:pPr>
            <a:r>
              <a:rPr lang="es-CL" sz="2000" dirty="0">
                <a:latin typeface="ACHS Nueva Sans Medium" pitchFamily="2" charset="77"/>
                <a:cs typeface="Catamaran Light" panose="00000400000000000000" pitchFamily="2" charset="0"/>
              </a:rPr>
              <a:t>Difundir el Programa de Vigilancia en sus empresas afiliadas o adheridas donde exista  exposición a sílice.</a:t>
            </a:r>
          </a:p>
          <a:p>
            <a:pPr marL="352425" indent="-352425">
              <a:lnSpc>
                <a:spcPct val="100000"/>
              </a:lnSpc>
              <a:buClr>
                <a:srgbClr val="15C047"/>
              </a:buClr>
              <a:buFont typeface="+mj-lt"/>
              <a:buAutoNum type="alphaLcPeriod"/>
              <a:tabLst>
                <a:tab pos="354965" algn="l"/>
                <a:tab pos="355600" algn="l"/>
              </a:tabLst>
            </a:pPr>
            <a:endParaRPr lang="es-CL" sz="2000" dirty="0">
              <a:latin typeface="ACHS Nueva Sans Medium" pitchFamily="2" charset="77"/>
              <a:cs typeface="Catamaran Light" panose="00000400000000000000" pitchFamily="2" charset="0"/>
            </a:endParaRPr>
          </a:p>
          <a:p>
            <a:pPr marL="352425" indent="-352425">
              <a:lnSpc>
                <a:spcPct val="100000"/>
              </a:lnSpc>
              <a:buClr>
                <a:srgbClr val="15C047"/>
              </a:buClr>
              <a:buFont typeface="+mj-lt"/>
              <a:buAutoNum type="alphaLcPeriod"/>
              <a:tabLst>
                <a:tab pos="354965" algn="l"/>
                <a:tab pos="355600" algn="l"/>
              </a:tabLst>
            </a:pPr>
            <a:r>
              <a:rPr lang="es-CL" sz="2000" dirty="0">
                <a:latin typeface="ACHS Nueva Sans Medium" pitchFamily="2" charset="77"/>
                <a:cs typeface="Catamaran Light" panose="00000400000000000000" pitchFamily="2" charset="0"/>
              </a:rPr>
              <a:t>Realizar actividades permanentes y efectivas para prevenir la exposición a sílice.</a:t>
            </a:r>
          </a:p>
          <a:p>
            <a:pPr marL="352425" indent="-352425">
              <a:lnSpc>
                <a:spcPct val="100000"/>
              </a:lnSpc>
              <a:buClr>
                <a:srgbClr val="15C047"/>
              </a:buClr>
              <a:buFont typeface="+mj-lt"/>
              <a:buAutoNum type="alphaLcPeriod"/>
              <a:tabLst>
                <a:tab pos="354965" algn="l"/>
                <a:tab pos="355600" algn="l"/>
              </a:tabLst>
            </a:pPr>
            <a:endParaRPr lang="es-CL" sz="2000" dirty="0">
              <a:latin typeface="ACHS Nueva Sans Medium" pitchFamily="2" charset="77"/>
              <a:cs typeface="Catamaran Light" panose="00000400000000000000" pitchFamily="2" charset="0"/>
            </a:endParaRPr>
          </a:p>
          <a:p>
            <a:pPr marL="352425" indent="-352425">
              <a:lnSpc>
                <a:spcPct val="100000"/>
              </a:lnSpc>
              <a:buClr>
                <a:srgbClr val="15C047"/>
              </a:buClr>
              <a:buFont typeface="+mj-lt"/>
              <a:buAutoNum type="alphaLcPeriod"/>
              <a:tabLst>
                <a:tab pos="354965" algn="l"/>
                <a:tab pos="355600" algn="l"/>
              </a:tabLst>
            </a:pPr>
            <a:r>
              <a:rPr lang="es-CL" sz="2000" dirty="0">
                <a:latin typeface="ACHS Nueva Sans Medium" pitchFamily="2" charset="77"/>
                <a:cs typeface="Catamaran Light" panose="00000400000000000000" pitchFamily="2" charset="0"/>
              </a:rPr>
              <a:t>Capacitar a todos sus profesionales y funcionarios relacionados con el programa de vigilancia.</a:t>
            </a:r>
          </a:p>
          <a:p>
            <a:pPr marL="352425" marR="371475" indent="-352425">
              <a:lnSpc>
                <a:spcPct val="100000"/>
              </a:lnSpc>
              <a:buClr>
                <a:srgbClr val="15C047"/>
              </a:buClr>
              <a:buFont typeface="+mj-lt"/>
              <a:buAutoNum type="alphaLcPeriod"/>
              <a:tabLst>
                <a:tab pos="354965" algn="l"/>
                <a:tab pos="355600" algn="l"/>
              </a:tabLst>
            </a:pPr>
            <a:endParaRPr lang="es-CL" sz="2000" dirty="0">
              <a:latin typeface="ACHS Nueva Sans Medium" pitchFamily="2" charset="77"/>
              <a:cs typeface="Catamaran Light" panose="00000400000000000000" pitchFamily="2" charset="0"/>
            </a:endParaRPr>
          </a:p>
          <a:p>
            <a:pPr marL="352425" marR="371475" indent="-352425">
              <a:lnSpc>
                <a:spcPct val="100000"/>
              </a:lnSpc>
              <a:buClr>
                <a:srgbClr val="15C047"/>
              </a:buClr>
              <a:buFont typeface="+mj-lt"/>
              <a:buAutoNum type="alphaLcPeriod"/>
              <a:tabLst>
                <a:tab pos="354965" algn="l"/>
                <a:tab pos="355600" algn="l"/>
              </a:tabLst>
            </a:pPr>
            <a:r>
              <a:rPr lang="es-CL" sz="2000" dirty="0">
                <a:latin typeface="ACHS Nueva Sans Medium" pitchFamily="2" charset="77"/>
                <a:cs typeface="Catamaran Light" panose="00000400000000000000" pitchFamily="2" charset="0"/>
              </a:rPr>
              <a:t>Dar cumplimiento al protocolo tanto en el procedimiento de toma de muestras, el análisis de sus resultados, como en las propuestas de medidas de control en las  empresas.</a:t>
            </a:r>
          </a:p>
          <a:p>
            <a:pPr marL="352425" indent="-352425">
              <a:lnSpc>
                <a:spcPct val="100000"/>
              </a:lnSpc>
              <a:buClr>
                <a:srgbClr val="15C047"/>
              </a:buClr>
              <a:buFont typeface="+mj-lt"/>
              <a:buAutoNum type="alphaLcPeriod"/>
              <a:tabLst>
                <a:tab pos="354965" algn="l"/>
                <a:tab pos="355600" algn="l"/>
              </a:tabLst>
            </a:pPr>
            <a:endParaRPr lang="es-CL" sz="2000" dirty="0">
              <a:latin typeface="ACHS Nueva Sans Medium" pitchFamily="2" charset="77"/>
              <a:cs typeface="Catamaran Light" panose="00000400000000000000" pitchFamily="2" charset="0"/>
            </a:endParaRPr>
          </a:p>
          <a:p>
            <a:pPr marL="352425" indent="-352425">
              <a:lnSpc>
                <a:spcPct val="100000"/>
              </a:lnSpc>
              <a:buClr>
                <a:srgbClr val="15C047"/>
              </a:buClr>
              <a:buFont typeface="+mj-lt"/>
              <a:buAutoNum type="alphaLcPeriod"/>
              <a:tabLst>
                <a:tab pos="354965" algn="l"/>
                <a:tab pos="355600" algn="l"/>
              </a:tabLst>
            </a:pPr>
            <a:r>
              <a:rPr lang="es-CL" sz="2000" dirty="0">
                <a:latin typeface="ACHS Nueva Sans Medium" pitchFamily="2" charset="77"/>
                <a:cs typeface="Catamaran Light" panose="00000400000000000000" pitchFamily="2" charset="0"/>
              </a:rPr>
              <a:t>Otorgar asistencia técnica a las empresas para implementar los mapas de riesgos.</a:t>
            </a:r>
          </a:p>
          <a:p>
            <a:pPr marL="352425" indent="-352425">
              <a:lnSpc>
                <a:spcPct val="100000"/>
              </a:lnSpc>
              <a:buClr>
                <a:srgbClr val="15C047"/>
              </a:buClr>
              <a:buFont typeface="+mj-lt"/>
              <a:buAutoNum type="alphaLcPeriod"/>
              <a:tabLst>
                <a:tab pos="354965" algn="l"/>
                <a:tab pos="355600" algn="l"/>
              </a:tabLst>
            </a:pPr>
            <a:endParaRPr lang="es-CL" sz="2000" dirty="0">
              <a:latin typeface="ACHS Nueva Sans Medium" pitchFamily="2" charset="77"/>
              <a:cs typeface="Catamaran Light" panose="00000400000000000000" pitchFamily="2" charset="0"/>
            </a:endParaRPr>
          </a:p>
          <a:p>
            <a:pPr marL="352425" indent="-352425">
              <a:lnSpc>
                <a:spcPct val="100000"/>
              </a:lnSpc>
              <a:buClr>
                <a:srgbClr val="15C047"/>
              </a:buClr>
              <a:buFont typeface="+mj-lt"/>
              <a:buAutoNum type="alphaLcPeriod"/>
              <a:tabLst>
                <a:tab pos="354965" algn="l"/>
                <a:tab pos="355600" algn="l"/>
              </a:tabLst>
            </a:pPr>
            <a:r>
              <a:rPr lang="es-CL" sz="2000" dirty="0">
                <a:latin typeface="ACHS Nueva Sans Medium" pitchFamily="2" charset="77"/>
                <a:cs typeface="Catamaran Light" panose="00000400000000000000" pitchFamily="2" charset="0"/>
              </a:rPr>
              <a:t>Dar cumplimiento a los aspectos éticos que establece el protocolo, relativos a la privacidad y confidencialidad de la información.</a:t>
            </a:r>
          </a:p>
          <a:p>
            <a:pPr marL="352425" marR="638810" indent="-352425">
              <a:lnSpc>
                <a:spcPct val="100000"/>
              </a:lnSpc>
              <a:buClr>
                <a:srgbClr val="15C047"/>
              </a:buClr>
              <a:buFont typeface="+mj-lt"/>
              <a:buAutoNum type="alphaLcPeriod"/>
              <a:tabLst>
                <a:tab pos="354965" algn="l"/>
                <a:tab pos="355600" algn="l"/>
              </a:tabLst>
            </a:pPr>
            <a:endParaRPr lang="es-CL" sz="2000" dirty="0">
              <a:latin typeface="ACHS Nueva Sans Medium" pitchFamily="2" charset="77"/>
              <a:cs typeface="Catamaran Light" panose="00000400000000000000" pitchFamily="2" charset="0"/>
            </a:endParaRPr>
          </a:p>
          <a:p>
            <a:pPr marL="352425" marR="638810" indent="-352425">
              <a:lnSpc>
                <a:spcPct val="100000"/>
              </a:lnSpc>
              <a:buClr>
                <a:srgbClr val="15C047"/>
              </a:buClr>
              <a:buFont typeface="+mj-lt"/>
              <a:buAutoNum type="alphaLcPeriod"/>
              <a:tabLst>
                <a:tab pos="354965" algn="l"/>
                <a:tab pos="355600" algn="l"/>
              </a:tabLst>
            </a:pPr>
            <a:r>
              <a:rPr lang="es-CL" sz="2000" dirty="0">
                <a:latin typeface="ACHS Nueva Sans Medium" pitchFamily="2" charset="77"/>
                <a:cs typeface="Catamaran Light" panose="00000400000000000000" pitchFamily="2" charset="0"/>
              </a:rPr>
              <a:t>Entregar la información al organismo administrador correspondiente cuando el empleador o trabajador se cambie de organismo administrador.</a:t>
            </a:r>
          </a:p>
        </p:txBody>
      </p:sp>
    </p:spTree>
    <p:custDataLst>
      <p:tags r:id="rId1"/>
    </p:custDataLst>
    <p:extLst>
      <p:ext uri="{BB962C8B-B14F-4D97-AF65-F5344CB8AC3E}">
        <p14:creationId xmlns:p14="http://schemas.microsoft.com/office/powerpoint/2010/main" val="36550449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2823691"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agente SILICE</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396157" y="2268314"/>
            <a:ext cx="3312368" cy="1107996"/>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Responsabilidades de los empleadores:</a:t>
            </a:r>
          </a:p>
          <a:p>
            <a:endParaRPr lang="es-CL" sz="2200" b="1" dirty="0">
              <a:solidFill>
                <a:schemeClr val="bg1"/>
              </a:solidFill>
              <a:latin typeface="ACHS Nueva Serif" pitchFamily="2" charset="77"/>
              <a:cs typeface="Calibri" panose="020F0502020204030204" pitchFamily="34" charset="0"/>
            </a:endParaRPr>
          </a:p>
        </p:txBody>
      </p:sp>
      <p:sp>
        <p:nvSpPr>
          <p:cNvPr id="10" name="Rectangle 3">
            <a:extLst>
              <a:ext uri="{FF2B5EF4-FFF2-40B4-BE49-F238E27FC236}">
                <a16:creationId xmlns:a16="http://schemas.microsoft.com/office/drawing/2014/main" xmlns="" id="{845B399D-8290-9B4A-9B99-199824F3B8C0}"/>
              </a:ext>
            </a:extLst>
          </p:cNvPr>
          <p:cNvSpPr/>
          <p:nvPr/>
        </p:nvSpPr>
        <p:spPr>
          <a:xfrm>
            <a:off x="4716636" y="2628354"/>
            <a:ext cx="10153128" cy="4401205"/>
          </a:xfrm>
          <a:prstGeom prst="rect">
            <a:avLst/>
          </a:prstGeom>
        </p:spPr>
        <p:txBody>
          <a:bodyPr wrap="square">
            <a:spAutoFit/>
          </a:bodyPr>
          <a:lstStyle/>
          <a:p>
            <a:pPr marL="355600" marR="248285" indent="-355600">
              <a:lnSpc>
                <a:spcPct val="100000"/>
              </a:lnSpc>
              <a:buClr>
                <a:srgbClr val="15C047"/>
              </a:buClr>
              <a:buFont typeface="+mj-lt"/>
              <a:buAutoNum type="alphaLcPeriod"/>
              <a:tabLst>
                <a:tab pos="355600" algn="l"/>
              </a:tabLst>
            </a:pPr>
            <a:r>
              <a:rPr lang="es-CL" sz="2000" dirty="0">
                <a:latin typeface="ACHS Nueva Sans Medium" pitchFamily="2" charset="77"/>
                <a:cs typeface="Catamaran Light" panose="00000400000000000000" pitchFamily="2" charset="0"/>
              </a:rPr>
              <a:t>Tomar todas las medidas necesarias para proteger la vida y salud de los trabajadores, manteniendo las condiciones adecuadas de salud y seguridad en el  trabajo.</a:t>
            </a:r>
          </a:p>
          <a:p>
            <a:pPr marL="355600" marR="248285" indent="-355600">
              <a:lnSpc>
                <a:spcPct val="100000"/>
              </a:lnSpc>
              <a:buClr>
                <a:srgbClr val="15C047"/>
              </a:buClr>
              <a:buFont typeface="+mj-lt"/>
              <a:buAutoNum type="alphaLcPeriod"/>
              <a:tabLst>
                <a:tab pos="355600" algn="l"/>
              </a:tabLst>
            </a:pPr>
            <a:endParaRPr lang="es-CL" sz="2000" dirty="0">
              <a:latin typeface="ACHS Nueva Sans Medium" pitchFamily="2" charset="77"/>
              <a:cs typeface="Catamaran Light" panose="00000400000000000000" pitchFamily="2" charset="0"/>
            </a:endParaRPr>
          </a:p>
          <a:p>
            <a:pPr marL="355600" marR="88900" indent="-355600">
              <a:lnSpc>
                <a:spcPct val="100000"/>
              </a:lnSpc>
              <a:buClr>
                <a:srgbClr val="15C047"/>
              </a:buClr>
              <a:buFont typeface="+mj-lt"/>
              <a:buAutoNum type="alphaLcPeriod"/>
              <a:tabLst>
                <a:tab pos="355600" algn="l"/>
              </a:tabLst>
            </a:pPr>
            <a:r>
              <a:rPr lang="es-CL" sz="2000" dirty="0">
                <a:latin typeface="ACHS Nueva Sans Medium" pitchFamily="2" charset="77"/>
                <a:cs typeface="Catamaran Light" panose="00000400000000000000" pitchFamily="2" charset="0"/>
              </a:rPr>
              <a:t>Implementar todas las medidas relacionadas con la SST que les prescriban las instituciones fiscalizadoras y el organismo administrador.</a:t>
            </a:r>
          </a:p>
          <a:p>
            <a:pPr marL="355600" indent="-355600">
              <a:lnSpc>
                <a:spcPct val="100000"/>
              </a:lnSpc>
              <a:buClr>
                <a:srgbClr val="15C047"/>
              </a:buClr>
              <a:buFont typeface="+mj-lt"/>
              <a:buAutoNum type="alphaLcPeriod"/>
              <a:tabLst>
                <a:tab pos="355600" algn="l"/>
              </a:tabLst>
            </a:pPr>
            <a:endParaRPr lang="es-CL" sz="2000" dirty="0">
              <a:latin typeface="ACHS Nueva Sans Medium" pitchFamily="2" charset="77"/>
              <a:cs typeface="Catamaran Light" panose="00000400000000000000" pitchFamily="2" charset="0"/>
            </a:endParaRPr>
          </a:p>
          <a:p>
            <a:pPr marL="355600" indent="-355600">
              <a:lnSpc>
                <a:spcPct val="100000"/>
              </a:lnSpc>
              <a:buClr>
                <a:srgbClr val="15C047"/>
              </a:buClr>
              <a:buFont typeface="+mj-lt"/>
              <a:buAutoNum type="alphaLcPeriod"/>
              <a:tabLst>
                <a:tab pos="355600" algn="l"/>
              </a:tabLst>
            </a:pPr>
            <a:r>
              <a:rPr lang="es-CL" sz="2000" dirty="0">
                <a:latin typeface="ACHS Nueva Sans Medium" pitchFamily="2" charset="77"/>
                <a:cs typeface="Catamaran Light" panose="00000400000000000000" pitchFamily="2" charset="0"/>
              </a:rPr>
              <a:t>Informar oportuna y convenientemente a sus trabajadores acerca de los riesgos que contienen sus labores, de las medidas preventivas y los métodos de trabajo.</a:t>
            </a:r>
          </a:p>
          <a:p>
            <a:pPr marL="355600" marR="59055" indent="-355600">
              <a:lnSpc>
                <a:spcPct val="100000"/>
              </a:lnSpc>
              <a:buClr>
                <a:srgbClr val="15C047"/>
              </a:buClr>
              <a:buFont typeface="+mj-lt"/>
              <a:buAutoNum type="alphaLcPeriod"/>
              <a:tabLst>
                <a:tab pos="355600" algn="l"/>
              </a:tabLst>
            </a:pPr>
            <a:endParaRPr lang="es-CL" sz="2000" dirty="0">
              <a:latin typeface="ACHS Nueva Sans Medium" pitchFamily="2" charset="77"/>
              <a:cs typeface="Catamaran Light" panose="00000400000000000000" pitchFamily="2" charset="0"/>
            </a:endParaRPr>
          </a:p>
          <a:p>
            <a:pPr marL="355600" marR="59055" indent="-355600">
              <a:lnSpc>
                <a:spcPct val="100000"/>
              </a:lnSpc>
              <a:buClr>
                <a:srgbClr val="15C047"/>
              </a:buClr>
              <a:buFont typeface="+mj-lt"/>
              <a:buAutoNum type="alphaLcPeriod"/>
              <a:tabLst>
                <a:tab pos="355600" algn="l"/>
              </a:tabLst>
            </a:pPr>
            <a:r>
              <a:rPr lang="es-CL" sz="2000" dirty="0">
                <a:latin typeface="ACHS Nueva Sans Medium" pitchFamily="2" charset="77"/>
                <a:cs typeface="Catamaran Light" panose="00000400000000000000" pitchFamily="2" charset="0"/>
              </a:rPr>
              <a:t>Implementar SGSST, que incluya gestión del riesgo de exposición a sílice a trabajadores, cualquiera sea su dependencia, cuando en conjunto agrupen a más de 50 trabajadores.</a:t>
            </a:r>
          </a:p>
          <a:p>
            <a:pPr marL="355600" indent="-355600">
              <a:lnSpc>
                <a:spcPct val="100000"/>
              </a:lnSpc>
              <a:buClr>
                <a:srgbClr val="15C047"/>
              </a:buClr>
              <a:buFont typeface="+mj-lt"/>
              <a:buAutoNum type="alphaLcPeriod"/>
              <a:tabLst>
                <a:tab pos="355600" algn="l"/>
              </a:tabLst>
            </a:pPr>
            <a:endParaRPr lang="es-CL" sz="2000" dirty="0">
              <a:latin typeface="ACHS Nueva Sans Medium" pitchFamily="2" charset="77"/>
              <a:cs typeface="Catamaran Light" panose="00000400000000000000" pitchFamily="2" charset="0"/>
            </a:endParaRPr>
          </a:p>
        </p:txBody>
      </p:sp>
    </p:spTree>
    <p:custDataLst>
      <p:tags r:id="rId1"/>
    </p:custDataLst>
    <p:extLst>
      <p:ext uri="{BB962C8B-B14F-4D97-AF65-F5344CB8AC3E}">
        <p14:creationId xmlns:p14="http://schemas.microsoft.com/office/powerpoint/2010/main" val="1418162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2823691"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agente SILICE</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396157" y="2268314"/>
            <a:ext cx="3312368" cy="1107996"/>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Responsabilidades de los empleadores:</a:t>
            </a:r>
          </a:p>
          <a:p>
            <a:endParaRPr lang="es-CL" sz="2200" b="1" dirty="0">
              <a:solidFill>
                <a:schemeClr val="bg1"/>
              </a:solidFill>
              <a:latin typeface="ACHS Nueva Serif" pitchFamily="2" charset="77"/>
              <a:cs typeface="Calibri" panose="020F0502020204030204" pitchFamily="34" charset="0"/>
            </a:endParaRPr>
          </a:p>
        </p:txBody>
      </p:sp>
      <p:sp>
        <p:nvSpPr>
          <p:cNvPr id="11" name="Rectangle 3">
            <a:extLst>
              <a:ext uri="{FF2B5EF4-FFF2-40B4-BE49-F238E27FC236}">
                <a16:creationId xmlns:a16="http://schemas.microsoft.com/office/drawing/2014/main" xmlns="" id="{AA53169A-35B9-854A-A960-7BA0DA72E31B}"/>
              </a:ext>
            </a:extLst>
          </p:cNvPr>
          <p:cNvSpPr/>
          <p:nvPr/>
        </p:nvSpPr>
        <p:spPr>
          <a:xfrm>
            <a:off x="4716636" y="2628354"/>
            <a:ext cx="10153128" cy="3785652"/>
          </a:xfrm>
          <a:prstGeom prst="rect">
            <a:avLst/>
          </a:prstGeom>
        </p:spPr>
        <p:txBody>
          <a:bodyPr wrap="square">
            <a:spAutoFit/>
          </a:bodyPr>
          <a:lstStyle/>
          <a:p>
            <a:pPr marL="457200" indent="-457200">
              <a:lnSpc>
                <a:spcPct val="100000"/>
              </a:lnSpc>
              <a:buClr>
                <a:srgbClr val="15C047"/>
              </a:buClr>
              <a:buFont typeface="+mj-lt"/>
              <a:buAutoNum type="alphaLcPeriod" startAt="5"/>
              <a:tabLst>
                <a:tab pos="355600" algn="l"/>
              </a:tabLst>
            </a:pPr>
            <a:r>
              <a:rPr lang="es-CL" sz="2000" dirty="0">
                <a:latin typeface="ACHS Nueva Sans Medium" pitchFamily="2" charset="77"/>
                <a:cs typeface="Catamaran Light" panose="00000400000000000000" pitchFamily="2" charset="0"/>
              </a:rPr>
              <a:t>Proporcionar a sus trabajadores, equipos e implementos de protección necesarios sin costo.</a:t>
            </a:r>
          </a:p>
          <a:p>
            <a:pPr marL="457200" indent="-457200">
              <a:lnSpc>
                <a:spcPct val="100000"/>
              </a:lnSpc>
              <a:buClr>
                <a:srgbClr val="15C047"/>
              </a:buClr>
              <a:buFont typeface="+mj-lt"/>
              <a:buAutoNum type="alphaLcPeriod" startAt="5"/>
              <a:tabLst>
                <a:tab pos="355600" algn="l"/>
              </a:tabLst>
            </a:pPr>
            <a:endParaRPr lang="es-CL" sz="2000" dirty="0">
              <a:latin typeface="ACHS Nueva Sans Medium" pitchFamily="2" charset="77"/>
              <a:cs typeface="Catamaran Light" panose="00000400000000000000" pitchFamily="2" charset="0"/>
            </a:endParaRPr>
          </a:p>
          <a:p>
            <a:pPr marL="457200" indent="-457200">
              <a:lnSpc>
                <a:spcPct val="100000"/>
              </a:lnSpc>
              <a:buClr>
                <a:srgbClr val="15C047"/>
              </a:buClr>
              <a:buFont typeface="+mj-lt"/>
              <a:buAutoNum type="alphaLcPeriod" startAt="5"/>
              <a:tabLst>
                <a:tab pos="355600" algn="l"/>
              </a:tabLst>
            </a:pPr>
            <a:r>
              <a:rPr lang="es-CL" sz="2000" dirty="0">
                <a:latin typeface="ACHS Nueva Sans Medium" pitchFamily="2" charset="77"/>
                <a:cs typeface="Catamaran Light" panose="00000400000000000000" pitchFamily="2" charset="0"/>
              </a:rPr>
              <a:t>Participar en conjunto con el OAL en todo el proceso establecido en el protocolo.</a:t>
            </a:r>
          </a:p>
          <a:p>
            <a:pPr marL="457200" marR="273050" indent="-457200">
              <a:lnSpc>
                <a:spcPct val="100000"/>
              </a:lnSpc>
              <a:buClr>
                <a:srgbClr val="15C047"/>
              </a:buClr>
              <a:buFont typeface="+mj-lt"/>
              <a:buAutoNum type="alphaLcPeriod" startAt="5"/>
              <a:tabLst>
                <a:tab pos="355600" algn="l"/>
              </a:tabLst>
            </a:pPr>
            <a:endParaRPr lang="es-CL" sz="2000" dirty="0">
              <a:latin typeface="ACHS Nueva Sans Medium" pitchFamily="2" charset="77"/>
              <a:cs typeface="Catamaran Light" panose="00000400000000000000" pitchFamily="2" charset="0"/>
            </a:endParaRPr>
          </a:p>
          <a:p>
            <a:pPr marL="457200" marR="273050" indent="-457200">
              <a:lnSpc>
                <a:spcPct val="100000"/>
              </a:lnSpc>
              <a:buClr>
                <a:srgbClr val="15C047"/>
              </a:buClr>
              <a:buFont typeface="+mj-lt"/>
              <a:buAutoNum type="alphaLcPeriod" startAt="5"/>
              <a:tabLst>
                <a:tab pos="355600" algn="l"/>
              </a:tabLst>
            </a:pPr>
            <a:r>
              <a:rPr lang="es-CL" sz="2000" dirty="0">
                <a:latin typeface="ACHS Nueva Sans Medium" pitchFamily="2" charset="77"/>
                <a:cs typeface="Catamaran Light" panose="00000400000000000000" pitchFamily="2" charset="0"/>
              </a:rPr>
              <a:t>Entregar al OAL los antecedentes solicitados por éste, y dar las facilidades para que realicen las evaluaciones cualitativas y cuantitativas.</a:t>
            </a:r>
          </a:p>
          <a:p>
            <a:pPr marL="457200" marR="125095" indent="-457200">
              <a:lnSpc>
                <a:spcPct val="100000"/>
              </a:lnSpc>
              <a:buClr>
                <a:srgbClr val="15C047"/>
              </a:buClr>
              <a:buFont typeface="+mj-lt"/>
              <a:buAutoNum type="alphaLcPeriod" startAt="5"/>
              <a:tabLst>
                <a:tab pos="355600" algn="l"/>
              </a:tabLst>
            </a:pPr>
            <a:endParaRPr lang="es-CL" sz="2000" dirty="0">
              <a:latin typeface="ACHS Nueva Sans Medium" pitchFamily="2" charset="77"/>
              <a:cs typeface="Catamaran Light" panose="00000400000000000000" pitchFamily="2" charset="0"/>
            </a:endParaRPr>
          </a:p>
          <a:p>
            <a:pPr marL="457200" marR="125095" indent="-457200">
              <a:lnSpc>
                <a:spcPct val="100000"/>
              </a:lnSpc>
              <a:buClr>
                <a:srgbClr val="15C047"/>
              </a:buClr>
              <a:buFont typeface="+mj-lt"/>
              <a:buAutoNum type="alphaLcPeriod" startAt="5"/>
              <a:tabLst>
                <a:tab pos="355600" algn="l"/>
              </a:tabLst>
            </a:pPr>
            <a:r>
              <a:rPr lang="es-CL" sz="2000" dirty="0">
                <a:latin typeface="ACHS Nueva Sans Medium" pitchFamily="2" charset="77"/>
                <a:cs typeface="Catamaran Light" panose="00000400000000000000" pitchFamily="2" charset="0"/>
              </a:rPr>
              <a:t>Dar las facilidades para que los trabajadores asistan a realizarse los exámenes que sean citados.</a:t>
            </a:r>
          </a:p>
          <a:p>
            <a:pPr marL="355600" indent="-355600">
              <a:lnSpc>
                <a:spcPct val="100000"/>
              </a:lnSpc>
              <a:buClr>
                <a:srgbClr val="15C047"/>
              </a:buClr>
              <a:buFont typeface="+mj-lt"/>
              <a:buAutoNum type="alphaLcPeriod" startAt="5"/>
              <a:tabLst>
                <a:tab pos="355600" algn="l"/>
              </a:tabLst>
            </a:pPr>
            <a:endParaRPr lang="es-CL" sz="2000" dirty="0">
              <a:latin typeface="ACHS Nueva Sans Medium" pitchFamily="2" charset="77"/>
              <a:cs typeface="Catamaran Light" panose="00000400000000000000" pitchFamily="2" charset="0"/>
            </a:endParaRPr>
          </a:p>
          <a:p>
            <a:pPr marL="355600" indent="-355600">
              <a:lnSpc>
                <a:spcPct val="100000"/>
              </a:lnSpc>
              <a:buClr>
                <a:srgbClr val="15C047"/>
              </a:buClr>
              <a:buFont typeface="+mj-lt"/>
              <a:buAutoNum type="alphaLcPeriod" startAt="5"/>
              <a:tabLst>
                <a:tab pos="355600" algn="l"/>
              </a:tabLst>
            </a:pPr>
            <a:endParaRPr lang="es-CL" sz="2000" dirty="0">
              <a:latin typeface="ACHS Nueva Sans Medium" pitchFamily="2" charset="77"/>
              <a:cs typeface="Catamaran Light" panose="00000400000000000000" pitchFamily="2" charset="0"/>
            </a:endParaRPr>
          </a:p>
        </p:txBody>
      </p:sp>
    </p:spTree>
    <p:custDataLst>
      <p:tags r:id="rId1"/>
    </p:custDataLst>
    <p:extLst>
      <p:ext uri="{BB962C8B-B14F-4D97-AF65-F5344CB8AC3E}">
        <p14:creationId xmlns:p14="http://schemas.microsoft.com/office/powerpoint/2010/main" val="1392948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730686B6-6526-D34D-A488-32BFBCB9E130}"/>
              </a:ext>
            </a:extLst>
          </p:cNvPr>
          <p:cNvSpPr/>
          <p:nvPr/>
        </p:nvSpPr>
        <p:spPr>
          <a:xfrm>
            <a:off x="1" y="-1"/>
            <a:ext cx="16202024" cy="9001126"/>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a:p>
        </p:txBody>
      </p:sp>
      <p:pic>
        <p:nvPicPr>
          <p:cNvPr id="2" name="Picture 1">
            <a:extLst>
              <a:ext uri="{FF2B5EF4-FFF2-40B4-BE49-F238E27FC236}">
                <a16:creationId xmlns:a16="http://schemas.microsoft.com/office/drawing/2014/main" xmlns="" id="{4BF9E4AE-EBFA-CD4E-8031-B0074AE1B7D1}"/>
              </a:ext>
            </a:extLst>
          </p:cNvPr>
          <p:cNvPicPr>
            <a:picLocks noChangeAspect="1"/>
          </p:cNvPicPr>
          <p:nvPr/>
        </p:nvPicPr>
        <p:blipFill>
          <a:blip r:embed="rId3"/>
          <a:stretch>
            <a:fillRect/>
          </a:stretch>
        </p:blipFill>
        <p:spPr>
          <a:xfrm>
            <a:off x="5286259" y="3935390"/>
            <a:ext cx="2022665" cy="1237395"/>
          </a:xfrm>
          <a:prstGeom prst="rect">
            <a:avLst/>
          </a:prstGeom>
        </p:spPr>
      </p:pic>
      <p:sp>
        <p:nvSpPr>
          <p:cNvPr id="5" name="Título 30">
            <a:extLst>
              <a:ext uri="{FF2B5EF4-FFF2-40B4-BE49-F238E27FC236}">
                <a16:creationId xmlns:a16="http://schemas.microsoft.com/office/drawing/2014/main" xmlns="" id="{3A9A6F0A-CE87-7E43-975E-C3F9165A390D}"/>
              </a:ext>
            </a:extLst>
          </p:cNvPr>
          <p:cNvSpPr>
            <a:spLocks noGrp="1"/>
          </p:cNvSpPr>
          <p:nvPr>
            <p:ph type="title"/>
          </p:nvPr>
        </p:nvSpPr>
        <p:spPr>
          <a:xfrm>
            <a:off x="-827980" y="652049"/>
            <a:ext cx="6182408" cy="610116"/>
          </a:xfrm>
        </p:spPr>
        <p:txBody>
          <a:bodyPr>
            <a:normAutofit/>
          </a:bodyPr>
          <a:lstStyle/>
          <a:p>
            <a:r>
              <a:rPr lang="es-CL" sz="2400" dirty="0">
                <a:solidFill>
                  <a:srgbClr val="15C047"/>
                </a:solidFill>
                <a:latin typeface="Arial" panose="020B0604020202020204" pitchFamily="34" charset="0"/>
                <a:cs typeface="Arial" panose="020B0604020202020204" pitchFamily="34" charset="0"/>
              </a:rPr>
              <a:t>Antes de </a:t>
            </a:r>
            <a:r>
              <a:rPr lang="es-CL" sz="2400" dirty="0">
                <a:solidFill>
                  <a:srgbClr val="15C047"/>
                </a:solidFill>
                <a:latin typeface="ACHS Nueva Sans Medium" pitchFamily="2" charset="77"/>
                <a:cs typeface="Arial" panose="020B0604020202020204" pitchFamily="34" charset="0"/>
              </a:rPr>
              <a:t>comenzar</a:t>
            </a:r>
          </a:p>
        </p:txBody>
      </p:sp>
      <p:pic>
        <p:nvPicPr>
          <p:cNvPr id="6" name="Imagen 5">
            <a:extLst>
              <a:ext uri="{FF2B5EF4-FFF2-40B4-BE49-F238E27FC236}">
                <a16:creationId xmlns:a16="http://schemas.microsoft.com/office/drawing/2014/main" xmlns="" id="{3D2B8B4A-1B39-CB4D-A999-03BD4B3E6D4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7" name="Conector recto 6">
            <a:extLst>
              <a:ext uri="{FF2B5EF4-FFF2-40B4-BE49-F238E27FC236}">
                <a16:creationId xmlns:a16="http://schemas.microsoft.com/office/drawing/2014/main" xmlns="" id="{A3B8A021-59C7-5841-BE28-5D47A1293FF8}"/>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pic>
        <p:nvPicPr>
          <p:cNvPr id="8" name="Imagen 7">
            <a:extLst>
              <a:ext uri="{FF2B5EF4-FFF2-40B4-BE49-F238E27FC236}">
                <a16:creationId xmlns:a16="http://schemas.microsoft.com/office/drawing/2014/main" xmlns="" id="{1BA209D0-CE6A-FC4C-AE54-9254B3EA5884}"/>
              </a:ext>
            </a:extLst>
          </p:cNvPr>
          <p:cNvPicPr>
            <a:picLocks noChangeAspect="1"/>
          </p:cNvPicPr>
          <p:nvPr/>
        </p:nvPicPr>
        <p:blipFill>
          <a:blip r:embed="rId5"/>
          <a:stretch>
            <a:fillRect/>
          </a:stretch>
        </p:blipFill>
        <p:spPr>
          <a:xfrm>
            <a:off x="684188" y="2592770"/>
            <a:ext cx="3887592" cy="3887592"/>
          </a:xfrm>
          <a:prstGeom prst="rect">
            <a:avLst/>
          </a:prstGeom>
        </p:spPr>
      </p:pic>
      <p:pic>
        <p:nvPicPr>
          <p:cNvPr id="11" name="Imagen 10">
            <a:extLst>
              <a:ext uri="{FF2B5EF4-FFF2-40B4-BE49-F238E27FC236}">
                <a16:creationId xmlns:a16="http://schemas.microsoft.com/office/drawing/2014/main" xmlns="" id="{B3044ED9-1EFF-8F49-9DF4-EC32041C1F9B}"/>
              </a:ext>
            </a:extLst>
          </p:cNvPr>
          <p:cNvPicPr>
            <a:picLocks noChangeAspect="1"/>
          </p:cNvPicPr>
          <p:nvPr/>
        </p:nvPicPr>
        <p:blipFill>
          <a:blip r:embed="rId6"/>
          <a:stretch>
            <a:fillRect/>
          </a:stretch>
        </p:blipFill>
        <p:spPr>
          <a:xfrm>
            <a:off x="8100522" y="2592770"/>
            <a:ext cx="3780000" cy="3780000"/>
          </a:xfrm>
          <a:prstGeom prst="rect">
            <a:avLst/>
          </a:prstGeom>
        </p:spPr>
      </p:pic>
      <p:sp>
        <p:nvSpPr>
          <p:cNvPr id="12" name="Marcador de texto 23">
            <a:extLst>
              <a:ext uri="{FF2B5EF4-FFF2-40B4-BE49-F238E27FC236}">
                <a16:creationId xmlns:a16="http://schemas.microsoft.com/office/drawing/2014/main" xmlns="" id="{F995037F-8C82-8145-986B-A703EF42E786}"/>
              </a:ext>
            </a:extLst>
          </p:cNvPr>
          <p:cNvSpPr txBox="1">
            <a:spLocks/>
          </p:cNvSpPr>
          <p:nvPr/>
        </p:nvSpPr>
        <p:spPr>
          <a:xfrm>
            <a:off x="741003" y="2990405"/>
            <a:ext cx="1574533" cy="1153690"/>
          </a:xfrm>
          <a:prstGeom prst="rect">
            <a:avLst/>
          </a:prstGeom>
        </p:spPr>
        <p:txBody>
          <a:bodyPr/>
          <a:lst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defTabSz="1598678">
              <a:spcBef>
                <a:spcPts val="2952"/>
              </a:spcBef>
              <a:buNone/>
              <a:defRPr/>
            </a:pPr>
            <a:r>
              <a:rPr lang="es-CL" sz="5250" b="1" dirty="0">
                <a:solidFill>
                  <a:srgbClr val="004C14"/>
                </a:solidFill>
                <a:latin typeface="ACHS Nueva Serif" pitchFamily="2" charset="77"/>
              </a:rPr>
              <a:t>01</a:t>
            </a:r>
          </a:p>
        </p:txBody>
      </p:sp>
      <p:sp>
        <p:nvSpPr>
          <p:cNvPr id="13" name="Marcador de texto 23">
            <a:extLst>
              <a:ext uri="{FF2B5EF4-FFF2-40B4-BE49-F238E27FC236}">
                <a16:creationId xmlns:a16="http://schemas.microsoft.com/office/drawing/2014/main" xmlns="" id="{062B073A-45BE-1140-9550-7E2EA827FA30}"/>
              </a:ext>
            </a:extLst>
          </p:cNvPr>
          <p:cNvSpPr txBox="1">
            <a:spLocks/>
          </p:cNvSpPr>
          <p:nvPr/>
        </p:nvSpPr>
        <p:spPr>
          <a:xfrm>
            <a:off x="4720994" y="2990405"/>
            <a:ext cx="1574533" cy="1153690"/>
          </a:xfrm>
          <a:prstGeom prst="rect">
            <a:avLst/>
          </a:prstGeom>
        </p:spPr>
        <p:txBody>
          <a:bodyPr/>
          <a:lst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defTabSz="1598678">
              <a:spcBef>
                <a:spcPts val="2952"/>
              </a:spcBef>
              <a:buNone/>
              <a:defRPr/>
            </a:pPr>
            <a:r>
              <a:rPr lang="es-CL" sz="5250" b="1" dirty="0">
                <a:solidFill>
                  <a:srgbClr val="004C14"/>
                </a:solidFill>
                <a:latin typeface="ACHS Nueva Serif" pitchFamily="2" charset="77"/>
              </a:rPr>
              <a:t>02</a:t>
            </a:r>
          </a:p>
        </p:txBody>
      </p:sp>
      <p:sp>
        <p:nvSpPr>
          <p:cNvPr id="14" name="Marcador de texto 23">
            <a:extLst>
              <a:ext uri="{FF2B5EF4-FFF2-40B4-BE49-F238E27FC236}">
                <a16:creationId xmlns:a16="http://schemas.microsoft.com/office/drawing/2014/main" xmlns="" id="{CD1F91C4-5761-A442-8AEE-1721141ACAC5}"/>
              </a:ext>
            </a:extLst>
          </p:cNvPr>
          <p:cNvSpPr txBox="1">
            <a:spLocks/>
          </p:cNvSpPr>
          <p:nvPr/>
        </p:nvSpPr>
        <p:spPr>
          <a:xfrm>
            <a:off x="8297038" y="2990405"/>
            <a:ext cx="1574533" cy="1153690"/>
          </a:xfrm>
          <a:prstGeom prst="rect">
            <a:avLst/>
          </a:prstGeom>
        </p:spPr>
        <p:txBody>
          <a:bodyPr/>
          <a:lst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defTabSz="1598678">
              <a:spcBef>
                <a:spcPts val="2952"/>
              </a:spcBef>
              <a:buNone/>
              <a:defRPr/>
            </a:pPr>
            <a:r>
              <a:rPr lang="es-CL" sz="5250" b="1" dirty="0">
                <a:solidFill>
                  <a:srgbClr val="004C14"/>
                </a:solidFill>
                <a:latin typeface="ACHS Nueva Serif" pitchFamily="2" charset="77"/>
              </a:rPr>
              <a:t>03</a:t>
            </a:r>
          </a:p>
        </p:txBody>
      </p:sp>
      <p:sp>
        <p:nvSpPr>
          <p:cNvPr id="15" name="Marcador de texto 23">
            <a:extLst>
              <a:ext uri="{FF2B5EF4-FFF2-40B4-BE49-F238E27FC236}">
                <a16:creationId xmlns:a16="http://schemas.microsoft.com/office/drawing/2014/main" xmlns="" id="{65D5694B-BE79-094A-99E2-A439F80AD075}"/>
              </a:ext>
            </a:extLst>
          </p:cNvPr>
          <p:cNvSpPr txBox="1">
            <a:spLocks/>
          </p:cNvSpPr>
          <p:nvPr/>
        </p:nvSpPr>
        <p:spPr>
          <a:xfrm>
            <a:off x="11489762" y="2990405"/>
            <a:ext cx="1574533" cy="1153690"/>
          </a:xfrm>
          <a:prstGeom prst="rect">
            <a:avLst/>
          </a:prstGeom>
        </p:spPr>
        <p:txBody>
          <a:bodyPr/>
          <a:lst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defTabSz="1598678">
              <a:spcBef>
                <a:spcPts val="2952"/>
              </a:spcBef>
              <a:buNone/>
              <a:defRPr/>
            </a:pPr>
            <a:r>
              <a:rPr lang="es-CL" sz="5250" b="1" dirty="0">
                <a:solidFill>
                  <a:srgbClr val="004C14"/>
                </a:solidFill>
                <a:latin typeface="ACHS Nueva Serif" pitchFamily="2" charset="77"/>
              </a:rPr>
              <a:t>04</a:t>
            </a:r>
          </a:p>
        </p:txBody>
      </p:sp>
      <p:sp>
        <p:nvSpPr>
          <p:cNvPr id="16" name="Marcador de texto 35">
            <a:extLst>
              <a:ext uri="{FF2B5EF4-FFF2-40B4-BE49-F238E27FC236}">
                <a16:creationId xmlns:a16="http://schemas.microsoft.com/office/drawing/2014/main" xmlns="" id="{D3578775-F741-8A48-834E-62EEB39D5601}"/>
              </a:ext>
            </a:extLst>
          </p:cNvPr>
          <p:cNvSpPr txBox="1">
            <a:spLocks/>
          </p:cNvSpPr>
          <p:nvPr/>
        </p:nvSpPr>
        <p:spPr>
          <a:xfrm>
            <a:off x="5137550" y="5744381"/>
            <a:ext cx="2310209" cy="2052048"/>
          </a:xfrm>
          <a:prstGeom prst="rect">
            <a:avLst/>
          </a:prstGeom>
        </p:spPr>
        <p:txBody>
          <a:bodyPr/>
          <a:lstStyle>
            <a:lvl1pPr marL="304709" marR="0" indent="-304709"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1pPr>
            <a:lvl2pPr marL="111726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2pPr>
            <a:lvl3pPr marL="142197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3pPr>
            <a:lvl4pPr marL="172668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4pPr>
            <a:lvl5pPr marL="2031390"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5pPr>
            <a:lvl6pPr marL="225992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6pPr>
            <a:lvl7pPr marL="248845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7pPr>
            <a:lvl8pPr marL="271698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8pPr>
            <a:lvl9pPr marL="2945516"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9pPr>
          </a:lstStyle>
          <a:p>
            <a:pPr marL="0" indent="0" algn="ctr">
              <a:buNone/>
            </a:pPr>
            <a:r>
              <a:rPr lang="es-CL" sz="2100" b="1" dirty="0">
                <a:solidFill>
                  <a:srgbClr val="106737"/>
                </a:solidFill>
                <a:latin typeface="ACHS Nueva Sans SemiBold" pitchFamily="2" charset="77"/>
              </a:rPr>
              <a:t>Presentación del facilitador</a:t>
            </a:r>
          </a:p>
        </p:txBody>
      </p:sp>
      <p:sp>
        <p:nvSpPr>
          <p:cNvPr id="17" name="Marcador de texto 36">
            <a:extLst>
              <a:ext uri="{FF2B5EF4-FFF2-40B4-BE49-F238E27FC236}">
                <a16:creationId xmlns:a16="http://schemas.microsoft.com/office/drawing/2014/main" xmlns="" id="{161F0445-6E8D-C848-8725-22D4A995E04D}"/>
              </a:ext>
            </a:extLst>
          </p:cNvPr>
          <p:cNvSpPr txBox="1">
            <a:spLocks/>
          </p:cNvSpPr>
          <p:nvPr/>
        </p:nvSpPr>
        <p:spPr>
          <a:xfrm>
            <a:off x="8833554" y="5744381"/>
            <a:ext cx="2507526" cy="2052048"/>
          </a:xfrm>
          <a:prstGeom prst="rect">
            <a:avLst/>
          </a:prstGeom>
        </p:spPr>
        <p:txBody>
          <a:bodyPr/>
          <a:lstStyle>
            <a:lvl1pPr marL="304709" marR="0" indent="-304709"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1pPr>
            <a:lvl2pPr marL="111726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2pPr>
            <a:lvl3pPr marL="142197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3pPr>
            <a:lvl4pPr marL="172668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4pPr>
            <a:lvl5pPr marL="2031390"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5pPr>
            <a:lvl6pPr marL="225992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6pPr>
            <a:lvl7pPr marL="248845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7pPr>
            <a:lvl8pPr marL="271698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8pPr>
            <a:lvl9pPr marL="2945516"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9pPr>
          </a:lstStyle>
          <a:p>
            <a:pPr marL="0" indent="0" algn="ctr">
              <a:buNone/>
            </a:pPr>
            <a:r>
              <a:rPr lang="es-CL" sz="2100" b="1" dirty="0">
                <a:solidFill>
                  <a:srgbClr val="106737"/>
                </a:solidFill>
                <a:latin typeface="ACHS Nueva Sans SemiBold" pitchFamily="2" charset="77"/>
              </a:rPr>
              <a:t>Expectativas de los participantes</a:t>
            </a:r>
          </a:p>
        </p:txBody>
      </p:sp>
      <p:sp>
        <p:nvSpPr>
          <p:cNvPr id="18" name="Marcador de texto 37">
            <a:extLst>
              <a:ext uri="{FF2B5EF4-FFF2-40B4-BE49-F238E27FC236}">
                <a16:creationId xmlns:a16="http://schemas.microsoft.com/office/drawing/2014/main" xmlns="" id="{8AEAC636-A194-374B-88EB-645331097F64}"/>
              </a:ext>
            </a:extLst>
          </p:cNvPr>
          <p:cNvSpPr txBox="1">
            <a:spLocks/>
          </p:cNvSpPr>
          <p:nvPr/>
        </p:nvSpPr>
        <p:spPr>
          <a:xfrm>
            <a:off x="12246419" y="5744381"/>
            <a:ext cx="2169312" cy="2052048"/>
          </a:xfrm>
          <a:prstGeom prst="rect">
            <a:avLst/>
          </a:prstGeom>
        </p:spPr>
        <p:txBody>
          <a:bodyPr/>
          <a:lstStyle>
            <a:lvl1pPr marL="304709" marR="0" indent="-304709"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1pPr>
            <a:lvl2pPr marL="111726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2pPr>
            <a:lvl3pPr marL="142197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3pPr>
            <a:lvl4pPr marL="172668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4pPr>
            <a:lvl5pPr marL="2031390"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5pPr>
            <a:lvl6pPr marL="225992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6pPr>
            <a:lvl7pPr marL="248845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7pPr>
            <a:lvl8pPr marL="271698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8pPr>
            <a:lvl9pPr marL="2945516"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9pPr>
          </a:lstStyle>
          <a:p>
            <a:pPr marL="0" indent="0" algn="ctr">
              <a:buNone/>
            </a:pPr>
            <a:r>
              <a:rPr lang="es-CL" sz="2100" b="1" dirty="0">
                <a:solidFill>
                  <a:srgbClr val="106737"/>
                </a:solidFill>
                <a:latin typeface="ACHS Nueva Sans SemiBold" pitchFamily="2" charset="77"/>
              </a:rPr>
              <a:t>Presentación de la actividad</a:t>
            </a:r>
          </a:p>
        </p:txBody>
      </p:sp>
      <p:sp>
        <p:nvSpPr>
          <p:cNvPr id="19" name="Marcador de texto 13">
            <a:extLst>
              <a:ext uri="{FF2B5EF4-FFF2-40B4-BE49-F238E27FC236}">
                <a16:creationId xmlns:a16="http://schemas.microsoft.com/office/drawing/2014/main" xmlns="" id="{98BF1A31-4B29-2248-A299-723AA83920FE}"/>
              </a:ext>
            </a:extLst>
          </p:cNvPr>
          <p:cNvSpPr txBox="1">
            <a:spLocks/>
          </p:cNvSpPr>
          <p:nvPr/>
        </p:nvSpPr>
        <p:spPr>
          <a:xfrm>
            <a:off x="1377240" y="5744381"/>
            <a:ext cx="2507526" cy="2052048"/>
          </a:xfrm>
          <a:prstGeom prst="rect">
            <a:avLst/>
          </a:prstGeom>
        </p:spPr>
        <p:txBody>
          <a:bodyPr/>
          <a:lstStyle>
            <a:lvl1pPr marL="304709" marR="0" indent="-304709"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1pPr>
            <a:lvl2pPr marL="111726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2pPr>
            <a:lvl3pPr marL="142197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3pPr>
            <a:lvl4pPr marL="172668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4pPr>
            <a:lvl5pPr marL="2031390"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5pPr>
            <a:lvl6pPr marL="2259922"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6pPr>
            <a:lvl7pPr marL="2488453"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7pPr>
            <a:lvl8pPr marL="2716985"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8pPr>
            <a:lvl9pPr marL="2945516" marR="0" indent="-812556" algn="l" defTabSz="1218040" eaLnBrk="1" latinLnBrk="0" hangingPunct="1">
              <a:lnSpc>
                <a:spcPct val="90000"/>
              </a:lnSpc>
              <a:spcBef>
                <a:spcPts val="2249"/>
              </a:spcBef>
              <a:spcAft>
                <a:spcPts val="0"/>
              </a:spcAft>
              <a:buClrTx/>
              <a:buSzPct val="123000"/>
              <a:buFontTx/>
              <a:buChar char=""/>
              <a:tabLst/>
              <a:defRPr sz="2399" b="0" i="0" u="none" strike="noStrike" cap="none" spc="0" baseline="0">
                <a:solidFill>
                  <a:srgbClr val="000000"/>
                </a:solidFill>
                <a:uFillTx/>
                <a:latin typeface="Arial"/>
                <a:ea typeface="Arial"/>
                <a:cs typeface="Arial"/>
                <a:sym typeface="Arial"/>
              </a:defRPr>
            </a:lvl9pPr>
          </a:lstStyle>
          <a:p>
            <a:pPr marL="0" indent="0" algn="ctr">
              <a:buNone/>
            </a:pPr>
            <a:r>
              <a:rPr lang="es-CL" sz="2100" b="1" dirty="0">
                <a:solidFill>
                  <a:srgbClr val="106737"/>
                </a:solidFill>
                <a:latin typeface="ACHS Nueva Sans SemiBold" pitchFamily="2" charset="77"/>
              </a:rPr>
              <a:t>Bienvenida</a:t>
            </a:r>
          </a:p>
        </p:txBody>
      </p:sp>
      <p:pic>
        <p:nvPicPr>
          <p:cNvPr id="25" name="Picture 42">
            <a:extLst>
              <a:ext uri="{FF2B5EF4-FFF2-40B4-BE49-F238E27FC236}">
                <a16:creationId xmlns:a16="http://schemas.microsoft.com/office/drawing/2014/main" xmlns="" id="{95B8E1B9-65AF-0C4A-8387-01CD7FDA291A}"/>
              </a:ext>
            </a:extLst>
          </p:cNvPr>
          <p:cNvPicPr>
            <a:picLocks noChangeAspect="1"/>
          </p:cNvPicPr>
          <p:nvPr/>
        </p:nvPicPr>
        <p:blipFill>
          <a:blip r:embed="rId7"/>
          <a:stretch>
            <a:fillRect/>
          </a:stretch>
        </p:blipFill>
        <p:spPr>
          <a:xfrm>
            <a:off x="12785861" y="3821178"/>
            <a:ext cx="966166" cy="1363222"/>
          </a:xfrm>
          <a:prstGeom prst="rect">
            <a:avLst/>
          </a:prstGeom>
        </p:spPr>
      </p:pic>
    </p:spTree>
    <p:custDataLst>
      <p:tags r:id="rId1"/>
    </p:custDataLst>
    <p:extLst>
      <p:ext uri="{BB962C8B-B14F-4D97-AF65-F5344CB8AC3E}">
        <p14:creationId xmlns:p14="http://schemas.microsoft.com/office/powerpoint/2010/main" val="8982208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del ambiente y  de la salud</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396157" y="2268314"/>
            <a:ext cx="3312368" cy="1446550"/>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De los trabajadores con exposición a Sílice:</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9" name="Rectangle 3">
            <a:extLst>
              <a:ext uri="{FF2B5EF4-FFF2-40B4-BE49-F238E27FC236}">
                <a16:creationId xmlns:a16="http://schemas.microsoft.com/office/drawing/2014/main" xmlns="" id="{C82A6F5D-1380-C543-BA5A-E79C2E0CE96D}"/>
              </a:ext>
            </a:extLst>
          </p:cNvPr>
          <p:cNvSpPr/>
          <p:nvPr/>
        </p:nvSpPr>
        <p:spPr>
          <a:xfrm>
            <a:off x="4716637" y="2052290"/>
            <a:ext cx="9721079" cy="3785652"/>
          </a:xfrm>
          <a:prstGeom prst="rect">
            <a:avLst/>
          </a:prstGeom>
        </p:spPr>
        <p:txBody>
          <a:bodyPr wrap="square">
            <a:spAutoFit/>
          </a:bodyPr>
          <a:lstStyle/>
          <a:p>
            <a:r>
              <a:rPr lang="es-ES" sz="2000" b="1" dirty="0">
                <a:solidFill>
                  <a:srgbClr val="15C047"/>
                </a:solidFill>
                <a:latin typeface="ACHS Nueva Sans SemiBold" pitchFamily="2" charset="77"/>
                <a:cs typeface="Calibri" panose="020F0502020204030204" pitchFamily="34" charset="0"/>
              </a:rPr>
              <a:t>¿Cuándo se considera un trabajador expuesto a sílice para efecto de vigilancia de la salud?</a:t>
            </a:r>
          </a:p>
          <a:p>
            <a:endParaRPr lang="es-ES" sz="2000" dirty="0">
              <a:solidFill>
                <a:srgbClr val="195A28"/>
              </a:solidFill>
              <a:latin typeface="ACHS Nueva Sans Medium" pitchFamily="2" charset="77"/>
              <a:cs typeface="Calibri" panose="020F0502020204030204" pitchFamily="34" charset="0"/>
            </a:endParaRPr>
          </a:p>
          <a:p>
            <a:endParaRPr lang="es-ES" sz="2000" dirty="0">
              <a:solidFill>
                <a:srgbClr val="195A28"/>
              </a:solidFill>
              <a:latin typeface="ACHS Nueva Sans Medium" pitchFamily="2" charset="77"/>
              <a:cs typeface="Calibri" panose="020F0502020204030204" pitchFamily="34" charset="0"/>
            </a:endParaRPr>
          </a:p>
          <a:p>
            <a:r>
              <a:rPr lang="es-ES" sz="2000" dirty="0">
                <a:latin typeface="ACHS Nueva Sans Medium" pitchFamily="2" charset="77"/>
                <a:cs typeface="Calibri" panose="020F0502020204030204" pitchFamily="34" charset="0"/>
              </a:rPr>
              <a:t>Cuando no existe una evaluación cuantitativa de la exposición:</a:t>
            </a:r>
          </a:p>
          <a:p>
            <a:endParaRPr lang="es-ES" sz="2000" dirty="0">
              <a:latin typeface="ACHS Nueva Sans Medium" pitchFamily="2" charset="77"/>
              <a:cs typeface="Calibri" panose="020F0502020204030204" pitchFamily="34" charset="0"/>
            </a:endParaRPr>
          </a:p>
          <a:p>
            <a:endParaRPr lang="es-ES" sz="2000" dirty="0">
              <a:latin typeface="ACHS Nueva Sans Medium" pitchFamily="2" charset="77"/>
              <a:cs typeface="Calibri" panose="020F0502020204030204" pitchFamily="34" charset="0"/>
            </a:endParaRPr>
          </a:p>
          <a:p>
            <a:pPr marL="342900" indent="-342900">
              <a:buClr>
                <a:srgbClr val="15C047"/>
              </a:buClr>
              <a:buFont typeface="+mj-lt"/>
              <a:buAutoNum type="arabicPeriod"/>
            </a:pPr>
            <a:r>
              <a:rPr lang="es-ES" sz="2000" dirty="0">
                <a:latin typeface="ACHS Nueva Sans Medium" pitchFamily="2" charset="77"/>
                <a:cs typeface="Calibri" panose="020F0502020204030204" pitchFamily="34" charset="0"/>
              </a:rPr>
              <a:t>Puestos de trabajo con presencia de sílice, mayor al 30% de la jornada laboral semanal (45 horas).</a:t>
            </a:r>
          </a:p>
          <a:p>
            <a:pPr marL="342900" indent="-342900">
              <a:buClr>
                <a:srgbClr val="15C047"/>
              </a:buClr>
              <a:buFont typeface="+mj-lt"/>
              <a:buAutoNum type="arabicPeriod"/>
            </a:pPr>
            <a:endParaRPr lang="es-ES" sz="2000" dirty="0">
              <a:latin typeface="ACHS Nueva Sans Medium" pitchFamily="2" charset="77"/>
              <a:cs typeface="Calibri" panose="020F0502020204030204" pitchFamily="34" charset="0"/>
            </a:endParaRPr>
          </a:p>
          <a:p>
            <a:pPr marL="342900" indent="-342900">
              <a:buClr>
                <a:srgbClr val="15C047"/>
              </a:buClr>
              <a:buFont typeface="+mj-lt"/>
              <a:buAutoNum type="arabicPeriod"/>
            </a:pPr>
            <a:r>
              <a:rPr lang="es-ES" sz="2000" dirty="0">
                <a:latin typeface="ACHS Nueva Sans Medium" pitchFamily="2" charset="77"/>
                <a:cs typeface="Calibri" panose="020F0502020204030204" pitchFamily="34" charset="0"/>
              </a:rPr>
              <a:t>Para exposiciones agudas.</a:t>
            </a:r>
            <a:endParaRPr lang="es-CL" sz="2000" dirty="0">
              <a:latin typeface="ACHS Nueva Sans Medium" pitchFamily="2" charset="77"/>
              <a:cs typeface="Calibri" panose="020F0502020204030204" pitchFamily="34" charset="0"/>
            </a:endParaRPr>
          </a:p>
          <a:p>
            <a:endParaRPr lang="es-CL" sz="2000" dirty="0">
              <a:latin typeface="ACHS Nueva Sans Medium" pitchFamily="2" charset="77"/>
              <a:cs typeface="Calibri" panose="020F0502020204030204" pitchFamily="34" charset="0"/>
            </a:endParaRPr>
          </a:p>
        </p:txBody>
      </p:sp>
      <p:pic>
        <p:nvPicPr>
          <p:cNvPr id="11" name="Picture 2">
            <a:extLst>
              <a:ext uri="{FF2B5EF4-FFF2-40B4-BE49-F238E27FC236}">
                <a16:creationId xmlns:a16="http://schemas.microsoft.com/office/drawing/2014/main" xmlns="" id="{857D3EB6-BFBA-9E49-A749-C193447CA71D}"/>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9397156" y="4978903"/>
            <a:ext cx="4894099" cy="31892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31703729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396157" y="2268314"/>
            <a:ext cx="3312368" cy="1107996"/>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Evaluación cualitativa:</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0" name="Rectangle 3">
            <a:extLst>
              <a:ext uri="{FF2B5EF4-FFF2-40B4-BE49-F238E27FC236}">
                <a16:creationId xmlns:a16="http://schemas.microsoft.com/office/drawing/2014/main" xmlns="" id="{D1AA671B-D968-5E45-8040-F9B1635B6F60}"/>
              </a:ext>
            </a:extLst>
          </p:cNvPr>
          <p:cNvSpPr/>
          <p:nvPr/>
        </p:nvSpPr>
        <p:spPr>
          <a:xfrm>
            <a:off x="9555089" y="3347894"/>
            <a:ext cx="5925768" cy="2554545"/>
          </a:xfrm>
          <a:prstGeom prst="rect">
            <a:avLst/>
          </a:prstGeom>
        </p:spPr>
        <p:txBody>
          <a:bodyPr wrap="square">
            <a:spAutoFit/>
          </a:bodyPr>
          <a:lstStyle/>
          <a:p>
            <a:r>
              <a:rPr lang="es-ES" sz="2000" dirty="0">
                <a:latin typeface="ACHS Nueva Sans Medium" pitchFamily="2" charset="77"/>
                <a:cs typeface="Catamaran Light" panose="00000400000000000000" pitchFamily="2" charset="0"/>
              </a:rPr>
              <a:t>Actividad que permite determinar si un trabajador o un grupo de trabajadores de exposición similar que se desempeña en uno o más puestos de trabajo con presencia de SÍLICE, tiene un tiempo de permanencia en ellos mayor o no al 30% del total de horas de trabajo semanal o de las horas de un ciclo de turno según corresponda.</a:t>
            </a:r>
            <a:endParaRPr lang="es-CL" sz="2000" dirty="0" err="1">
              <a:latin typeface="ACHS Nueva Sans Medium" pitchFamily="2" charset="77"/>
              <a:cs typeface="Catamaran Light" panose="00000400000000000000" pitchFamily="2" charset="0"/>
            </a:endParaRPr>
          </a:p>
        </p:txBody>
      </p:sp>
      <p:sp>
        <p:nvSpPr>
          <p:cNvPr id="12" name="object 7">
            <a:extLst>
              <a:ext uri="{FF2B5EF4-FFF2-40B4-BE49-F238E27FC236}">
                <a16:creationId xmlns:a16="http://schemas.microsoft.com/office/drawing/2014/main" xmlns="" id="{C7A9ADEA-0024-5747-8F9C-A91658AA61C1}"/>
              </a:ext>
            </a:extLst>
          </p:cNvPr>
          <p:cNvSpPr/>
          <p:nvPr/>
        </p:nvSpPr>
        <p:spPr>
          <a:xfrm>
            <a:off x="4473219" y="1308160"/>
            <a:ext cx="4674691" cy="6634015"/>
          </a:xfrm>
          <a:prstGeom prst="rect">
            <a:avLst/>
          </a:prstGeom>
          <a:blipFill>
            <a:blip r:embed="rId4" cstate="print"/>
            <a:stretch>
              <a:fillRect/>
            </a:stretch>
          </a:blipFill>
        </p:spPr>
        <p:txBody>
          <a:bodyPr wrap="square" lIns="0" tIns="0" rIns="0" bIns="0" rtlCol="0"/>
          <a:lstStyle/>
          <a:p>
            <a:endParaRPr/>
          </a:p>
        </p:txBody>
      </p:sp>
      <p:sp>
        <p:nvSpPr>
          <p:cNvPr id="15" name="Rectangle 14">
            <a:extLst>
              <a:ext uri="{FF2B5EF4-FFF2-40B4-BE49-F238E27FC236}">
                <a16:creationId xmlns:a16="http://schemas.microsoft.com/office/drawing/2014/main" xmlns="" id="{06B89C83-39AD-3946-842C-9259D6923F56}"/>
              </a:ext>
            </a:extLst>
          </p:cNvPr>
          <p:cNvSpPr/>
          <p:nvPr/>
        </p:nvSpPr>
        <p:spPr>
          <a:xfrm>
            <a:off x="740817" y="684138"/>
            <a:ext cx="3528000" cy="861774"/>
          </a:xfrm>
          <a:prstGeom prst="rect">
            <a:avLst/>
          </a:prstGeom>
        </p:spPr>
        <p:txBody>
          <a:bodyPr wrap="square">
            <a:spAutoFit/>
          </a:bodyPr>
          <a:lstStyle/>
          <a:p>
            <a:r>
              <a:rPr lang="es-CL" sz="2400" dirty="0">
                <a:solidFill>
                  <a:schemeClr val="bg1"/>
                </a:solidFill>
                <a:latin typeface="ACHS Nueva Sans Medium" pitchFamily="2" charset="77"/>
                <a:cs typeface="Catamaran SemiBold" panose="00000700000000000000" pitchFamily="2" charset="0"/>
              </a:rPr>
              <a:t>Vigilancia </a:t>
            </a:r>
          </a:p>
          <a:p>
            <a:r>
              <a:rPr lang="es-CL" sz="2400" dirty="0">
                <a:solidFill>
                  <a:schemeClr val="bg1"/>
                </a:solidFill>
                <a:latin typeface="ACHS Nueva Sans Medium" pitchFamily="2" charset="77"/>
                <a:cs typeface="Catamaran SemiBold" panose="00000700000000000000" pitchFamily="2" charset="0"/>
              </a:rPr>
              <a:t>ambiental</a:t>
            </a:r>
          </a:p>
        </p:txBody>
      </p:sp>
    </p:spTree>
    <p:custDataLst>
      <p:tags r:id="rId1"/>
    </p:custDataLst>
    <p:extLst>
      <p:ext uri="{BB962C8B-B14F-4D97-AF65-F5344CB8AC3E}">
        <p14:creationId xmlns:p14="http://schemas.microsoft.com/office/powerpoint/2010/main" val="1414851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396157" y="2268314"/>
            <a:ext cx="3312368" cy="1107996"/>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Evaluación cualitativa:</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5" name="Rectangle 14">
            <a:extLst>
              <a:ext uri="{FF2B5EF4-FFF2-40B4-BE49-F238E27FC236}">
                <a16:creationId xmlns:a16="http://schemas.microsoft.com/office/drawing/2014/main" xmlns="" id="{06B89C83-39AD-3946-842C-9259D6923F56}"/>
              </a:ext>
            </a:extLst>
          </p:cNvPr>
          <p:cNvSpPr/>
          <p:nvPr/>
        </p:nvSpPr>
        <p:spPr>
          <a:xfrm>
            <a:off x="740817" y="684138"/>
            <a:ext cx="3528000" cy="861774"/>
          </a:xfrm>
          <a:prstGeom prst="rect">
            <a:avLst/>
          </a:prstGeom>
        </p:spPr>
        <p:txBody>
          <a:bodyPr wrap="square">
            <a:spAutoFit/>
          </a:bodyPr>
          <a:lstStyle/>
          <a:p>
            <a:r>
              <a:rPr lang="es-CL" sz="2500" dirty="0">
                <a:solidFill>
                  <a:schemeClr val="bg1"/>
                </a:solidFill>
                <a:latin typeface="ACHS Nueva Sans Medium" pitchFamily="2" charset="77"/>
                <a:cs typeface="Catamaran SemiBold" panose="00000700000000000000" pitchFamily="2" charset="0"/>
              </a:rPr>
              <a:t>Vigilancia </a:t>
            </a:r>
          </a:p>
          <a:p>
            <a:r>
              <a:rPr lang="es-CL" sz="2500" dirty="0">
                <a:solidFill>
                  <a:schemeClr val="bg1"/>
                </a:solidFill>
                <a:latin typeface="ACHS Nueva Sans Medium" pitchFamily="2" charset="77"/>
                <a:cs typeface="Catamaran SemiBold" panose="00000700000000000000" pitchFamily="2" charset="0"/>
              </a:rPr>
              <a:t>ambiental</a:t>
            </a:r>
          </a:p>
        </p:txBody>
      </p:sp>
      <p:sp>
        <p:nvSpPr>
          <p:cNvPr id="11" name="Rectangle 3">
            <a:extLst>
              <a:ext uri="{FF2B5EF4-FFF2-40B4-BE49-F238E27FC236}">
                <a16:creationId xmlns:a16="http://schemas.microsoft.com/office/drawing/2014/main" xmlns="" id="{993EB447-769B-0B48-99EB-BDEFBBD79E9F}"/>
              </a:ext>
            </a:extLst>
          </p:cNvPr>
          <p:cNvSpPr/>
          <p:nvPr/>
        </p:nvSpPr>
        <p:spPr>
          <a:xfrm>
            <a:off x="5068864" y="2345456"/>
            <a:ext cx="8784975" cy="4401205"/>
          </a:xfrm>
          <a:prstGeom prst="rect">
            <a:avLst/>
          </a:prstGeom>
        </p:spPr>
        <p:txBody>
          <a:bodyPr wrap="square">
            <a:spAutoFit/>
          </a:bodyPr>
          <a:lstStyle/>
          <a:p>
            <a:r>
              <a:rPr lang="es-MX" sz="2000" b="1" dirty="0">
                <a:solidFill>
                  <a:srgbClr val="15C047"/>
                </a:solidFill>
                <a:latin typeface="ACHS Nueva Sans SemiBold" pitchFamily="2" charset="77"/>
                <a:cs typeface="Catamaran Light" panose="00000400000000000000" pitchFamily="2" charset="0"/>
              </a:rPr>
              <a:t>Criterios para evaluación Cualitativa:</a:t>
            </a:r>
          </a:p>
          <a:p>
            <a:endParaRPr lang="es-MX" sz="2000" dirty="0">
              <a:solidFill>
                <a:srgbClr val="195A28"/>
              </a:solidFill>
              <a:latin typeface="ACHS Nueva Sans Medium" pitchFamily="2" charset="77"/>
              <a:cs typeface="Catamaran Light" panose="00000400000000000000" pitchFamily="2" charset="0"/>
            </a:endParaRPr>
          </a:p>
          <a:p>
            <a:pPr marL="342900" indent="-342900">
              <a:buClr>
                <a:srgbClr val="15C047"/>
              </a:buClr>
              <a:buFont typeface="+mj-lt"/>
              <a:buAutoNum type="arabicPeriod"/>
            </a:pPr>
            <a:r>
              <a:rPr lang="es-CL" sz="2000" dirty="0">
                <a:latin typeface="ACHS Nueva Sans Medium" pitchFamily="2" charset="77"/>
                <a:cs typeface="Catamaran Light" panose="00000400000000000000" pitchFamily="2" charset="0"/>
              </a:rPr>
              <a:t>Tiempo de permanencia mayor al 30% del total de horas semanal </a:t>
            </a:r>
            <a:r>
              <a:rPr lang="es-MX" sz="2000" dirty="0">
                <a:latin typeface="ACHS Nueva Sans Medium" pitchFamily="2" charset="77"/>
                <a:cs typeface="Catamaran Light" panose="00000400000000000000" pitchFamily="2" charset="0"/>
              </a:rPr>
              <a:t>se evaluará cuantitativamente dentro de 1 año</a:t>
            </a:r>
            <a:r>
              <a:rPr lang="es-CL" sz="2000" dirty="0">
                <a:latin typeface="ACHS Nueva Sans Medium" pitchFamily="2" charset="77"/>
                <a:cs typeface="Catamaran Light" panose="00000400000000000000" pitchFamily="2" charset="0"/>
              </a:rPr>
              <a:t>.</a:t>
            </a:r>
          </a:p>
          <a:p>
            <a:pPr marL="342900" indent="-342900">
              <a:buClr>
                <a:srgbClr val="15C047"/>
              </a:buClr>
              <a:buFont typeface="+mj-lt"/>
              <a:buAutoNum type="arabicPeriod"/>
            </a:pPr>
            <a:endParaRPr lang="es-CL" sz="2000" dirty="0">
              <a:latin typeface="ACHS Nueva Sans Medium" pitchFamily="2" charset="77"/>
              <a:cs typeface="Catamaran Light" panose="00000400000000000000" pitchFamily="2" charset="0"/>
            </a:endParaRPr>
          </a:p>
          <a:p>
            <a:pPr marL="342900" indent="-342900">
              <a:buClr>
                <a:srgbClr val="15C047"/>
              </a:buClr>
              <a:buFont typeface="+mj-lt"/>
              <a:buAutoNum type="arabicPeriod"/>
            </a:pPr>
            <a:r>
              <a:rPr lang="es-MX" sz="2000" dirty="0">
                <a:latin typeface="ACHS Nueva Sans Medium" pitchFamily="2" charset="77"/>
                <a:cs typeface="Catamaran Light" panose="00000400000000000000" pitchFamily="2" charset="0"/>
              </a:rPr>
              <a:t>Tiempo de permanencia menor al 30% del total de horas semanal, se evaluará cuantitativamente dentro de 2 años.</a:t>
            </a:r>
          </a:p>
          <a:p>
            <a:pPr marL="342900" indent="-342900">
              <a:buClr>
                <a:srgbClr val="15C047"/>
              </a:buClr>
              <a:buFont typeface="+mj-lt"/>
              <a:buAutoNum type="arabicPeriod"/>
            </a:pPr>
            <a:endParaRPr lang="es-MX" sz="2000" dirty="0">
              <a:latin typeface="ACHS Nueva Sans Medium" pitchFamily="2" charset="77"/>
              <a:cs typeface="Catamaran Light" panose="00000400000000000000" pitchFamily="2" charset="0"/>
            </a:endParaRPr>
          </a:p>
          <a:p>
            <a:pPr marL="342900" indent="-342900">
              <a:buClr>
                <a:srgbClr val="15C047"/>
              </a:buClr>
              <a:buFont typeface="+mj-lt"/>
              <a:buAutoNum type="arabicPeriod"/>
            </a:pPr>
            <a:r>
              <a:rPr lang="es-MX" sz="2000" dirty="0">
                <a:latin typeface="ACHS Nueva Sans Medium" pitchFamily="2" charset="77"/>
                <a:cs typeface="Catamaran Light" panose="00000400000000000000" pitchFamily="2" charset="0"/>
              </a:rPr>
              <a:t>Rubro de construcción.</a:t>
            </a:r>
          </a:p>
          <a:p>
            <a:pPr marL="342900" indent="-342900">
              <a:buClr>
                <a:srgbClr val="15C047"/>
              </a:buClr>
              <a:buFont typeface="+mj-lt"/>
              <a:buAutoNum type="arabicPeriod"/>
            </a:pPr>
            <a:endParaRPr lang="es-MX" sz="2000" dirty="0">
              <a:latin typeface="ACHS Nueva Sans Medium" pitchFamily="2" charset="77"/>
              <a:cs typeface="Catamaran Light" panose="00000400000000000000" pitchFamily="2" charset="0"/>
            </a:endParaRPr>
          </a:p>
          <a:p>
            <a:pPr marL="342900" indent="-342900">
              <a:buClr>
                <a:srgbClr val="15C047"/>
              </a:buClr>
              <a:buFont typeface="+mj-lt"/>
              <a:buAutoNum type="arabicPeriod"/>
            </a:pPr>
            <a:r>
              <a:rPr lang="es-ES" sz="2000" dirty="0">
                <a:latin typeface="ACHS Nueva Sans Medium" pitchFamily="2" charset="77"/>
                <a:cs typeface="Catamaran Light" panose="00000400000000000000" pitchFamily="2" charset="0"/>
              </a:rPr>
              <a:t>En obras civiles de larga duración como excavación de túneles, construcción de  carreteras, etc. la ASR podrá exigir una evaluación cuantitativa.</a:t>
            </a:r>
            <a:endParaRPr lang="es-CL" sz="2000" dirty="0">
              <a:latin typeface="ACHS Nueva Sans Medium" pitchFamily="2" charset="77"/>
              <a:cs typeface="Catamaran Light" panose="00000400000000000000" pitchFamily="2" charset="0"/>
            </a:endParaRPr>
          </a:p>
          <a:p>
            <a:endParaRPr lang="es-MX" sz="2000" dirty="0">
              <a:solidFill>
                <a:srgbClr val="195A28"/>
              </a:solidFill>
              <a:latin typeface="ACHS Nueva Sans Medium" pitchFamily="2" charset="77"/>
            </a:endParaRPr>
          </a:p>
        </p:txBody>
      </p:sp>
    </p:spTree>
    <p:custDataLst>
      <p:tags r:id="rId1"/>
    </p:custDataLst>
    <p:extLst>
      <p:ext uri="{BB962C8B-B14F-4D97-AF65-F5344CB8AC3E}">
        <p14:creationId xmlns:p14="http://schemas.microsoft.com/office/powerpoint/2010/main" val="14375148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DB2CFAAE-2F65-BE4B-97E1-01692E110A0A}"/>
              </a:ext>
            </a:extLst>
          </p:cNvPr>
          <p:cNvPicPr>
            <a:picLocks noChangeAspect="1"/>
          </p:cNvPicPr>
          <p:nvPr/>
        </p:nvPicPr>
        <p:blipFill>
          <a:blip r:embed="rId4"/>
          <a:stretch>
            <a:fillRect/>
          </a:stretch>
        </p:blipFill>
        <p:spPr>
          <a:xfrm>
            <a:off x="5970013" y="2469779"/>
            <a:ext cx="1841500" cy="3581400"/>
          </a:xfrm>
          <a:prstGeom prst="rect">
            <a:avLst/>
          </a:prstGeom>
        </p:spPr>
      </p:pic>
      <p:sp>
        <p:nvSpPr>
          <p:cNvPr id="17" name="Rectangle 16"/>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rial" pitchFamily="34" charset="0"/>
                <a:cs typeface="Arial" pitchFamily="34" charset="0"/>
              </a:rPr>
              <a:t>2</a:t>
            </a:r>
          </a:p>
        </p:txBody>
      </p:sp>
      <p:grpSp>
        <p:nvGrpSpPr>
          <p:cNvPr id="77" name="Grupo 76"/>
          <p:cNvGrpSpPr/>
          <p:nvPr/>
        </p:nvGrpSpPr>
        <p:grpSpPr>
          <a:xfrm>
            <a:off x="4212580" y="1571476"/>
            <a:ext cx="11307751" cy="7144222"/>
            <a:chOff x="1185840" y="141043"/>
            <a:chExt cx="9650401" cy="6537017"/>
          </a:xfrm>
        </p:grpSpPr>
        <p:sp>
          <p:nvSpPr>
            <p:cNvPr id="78" name="CuadroTexto 77"/>
            <p:cNvSpPr txBox="1"/>
            <p:nvPr/>
          </p:nvSpPr>
          <p:spPr>
            <a:xfrm>
              <a:off x="1185840" y="201207"/>
              <a:ext cx="7488000" cy="366104"/>
            </a:xfrm>
            <a:prstGeom prst="rect">
              <a:avLst/>
            </a:prstGeom>
            <a:solidFill>
              <a:srgbClr val="EAEADE"/>
            </a:solidFill>
            <a:ln>
              <a:solidFill>
                <a:schemeClr val="accent1">
                  <a:alpha val="0"/>
                </a:schemeClr>
              </a:solidFill>
            </a:ln>
          </p:spPr>
          <p:txBody>
            <a:bodyPr wrap="square" rtlCol="0" anchor="ctr">
              <a:spAutoFit/>
            </a:bodyPr>
            <a:lstStyle/>
            <a:p>
              <a:pPr algn="ctr"/>
              <a:r>
                <a:rPr lang="es-CL" sz="2000" b="1" dirty="0">
                  <a:solidFill>
                    <a:srgbClr val="15C047"/>
                  </a:solidFill>
                  <a:latin typeface="ACHS Nueva Sans SemiBold" pitchFamily="2" charset="77"/>
                  <a:cs typeface="Calibri" panose="020F0502020204030204" pitchFamily="34" charset="0"/>
                </a:rPr>
                <a:t>ORGANISMO ADMINISTRADOR DE LA LEY (ACHS)</a:t>
              </a:r>
            </a:p>
          </p:txBody>
        </p:sp>
        <p:sp>
          <p:nvSpPr>
            <p:cNvPr id="79" name="CuadroTexto 78"/>
            <p:cNvSpPr txBox="1"/>
            <p:nvPr/>
          </p:nvSpPr>
          <p:spPr>
            <a:xfrm>
              <a:off x="1209021" y="650807"/>
              <a:ext cx="1872000" cy="911378"/>
            </a:xfrm>
            <a:prstGeom prst="rect">
              <a:avLst/>
            </a:prstGeom>
            <a:solidFill>
              <a:srgbClr val="EAEADE"/>
            </a:solidFill>
            <a:ln>
              <a:solidFill>
                <a:schemeClr val="accent1">
                  <a:alpha val="0"/>
                </a:schemeClr>
              </a:solidFill>
            </a:ln>
          </p:spPr>
          <p:txBody>
            <a:bodyPr wrap="square" lIns="36000" tIns="36000" rIns="36000" bIns="36000" rtlCol="0" anchor="ctr">
              <a:spAutoFit/>
            </a:bodyPr>
            <a:lstStyle/>
            <a:p>
              <a:pPr algn="ctr"/>
              <a:r>
                <a:rPr lang="es-CL" sz="1500" spc="-20" dirty="0">
                  <a:latin typeface="ACHS Nueva Sans Medium" pitchFamily="2" charset="77"/>
                  <a:cs typeface="Calibri" panose="020F0502020204030204" pitchFamily="34" charset="0"/>
                </a:rPr>
                <a:t>Contar </a:t>
              </a:r>
              <a:r>
                <a:rPr lang="es-CL" sz="1500" spc="-5" dirty="0">
                  <a:latin typeface="ACHS Nueva Sans Medium" pitchFamily="2" charset="77"/>
                  <a:cs typeface="Calibri" panose="020F0502020204030204" pitchFamily="34" charset="0"/>
                </a:rPr>
                <a:t>con </a:t>
              </a:r>
              <a:r>
                <a:rPr lang="es-CL" sz="1500" spc="-30" dirty="0">
                  <a:latin typeface="ACHS Nueva Sans Medium" pitchFamily="2" charset="77"/>
                  <a:cs typeface="Calibri" panose="020F0502020204030204" pitchFamily="34" charset="0"/>
                </a:rPr>
                <a:t>catastro </a:t>
              </a:r>
              <a:r>
                <a:rPr lang="es-CL" sz="1500" spc="-5" dirty="0">
                  <a:latin typeface="ACHS Nueva Sans Medium" pitchFamily="2" charset="77"/>
                  <a:cs typeface="Calibri" panose="020F0502020204030204" pitchFamily="34" charset="0"/>
                </a:rPr>
                <a:t>de </a:t>
              </a:r>
              <a:r>
                <a:rPr lang="es-CL" sz="1500" spc="-10" dirty="0">
                  <a:latin typeface="ACHS Nueva Sans Medium" pitchFamily="2" charset="77"/>
                  <a:cs typeface="Calibri" panose="020F0502020204030204" pitchFamily="34" charset="0"/>
                </a:rPr>
                <a:t>empresas </a:t>
              </a:r>
              <a:r>
                <a:rPr lang="es-CL" sz="1500" spc="-5" dirty="0">
                  <a:latin typeface="ACHS Nueva Sans Medium" pitchFamily="2" charset="77"/>
                  <a:cs typeface="Calibri" panose="020F0502020204030204" pitchFamily="34" charset="0"/>
                </a:rPr>
                <a:t>con  potencial  </a:t>
              </a:r>
              <a:r>
                <a:rPr lang="es-CL" sz="1500" dirty="0">
                  <a:latin typeface="ACHS Nueva Sans Medium" pitchFamily="2" charset="77"/>
                  <a:cs typeface="Calibri" panose="020F0502020204030204" pitchFamily="34" charset="0"/>
                </a:rPr>
                <a:t>exposición a </a:t>
              </a:r>
              <a:r>
                <a:rPr lang="es-CL" sz="1500" spc="-5" dirty="0">
                  <a:latin typeface="ACHS Nueva Sans Medium" pitchFamily="2" charset="77"/>
                  <a:cs typeface="Calibri" panose="020F0502020204030204" pitchFamily="34" charset="0"/>
                </a:rPr>
                <a:t>SÍLICE.</a:t>
              </a:r>
              <a:endParaRPr lang="es-CL" sz="1500" dirty="0">
                <a:latin typeface="ACHS Nueva Sans Medium" pitchFamily="2" charset="77"/>
                <a:cs typeface="Calibri" panose="020F0502020204030204" pitchFamily="34" charset="0"/>
              </a:endParaRPr>
            </a:p>
          </p:txBody>
        </p:sp>
        <p:sp>
          <p:nvSpPr>
            <p:cNvPr id="80" name="CuadroTexto 79"/>
            <p:cNvSpPr txBox="1"/>
            <p:nvPr/>
          </p:nvSpPr>
          <p:spPr>
            <a:xfrm>
              <a:off x="1204408" y="2093368"/>
              <a:ext cx="1872000" cy="1122591"/>
            </a:xfrm>
            <a:prstGeom prst="rect">
              <a:avLst/>
            </a:prstGeom>
            <a:solidFill>
              <a:srgbClr val="EAEADE"/>
            </a:solidFill>
            <a:ln>
              <a:solidFill>
                <a:schemeClr val="accent1">
                  <a:alpha val="0"/>
                </a:schemeClr>
              </a:solidFill>
            </a:ln>
          </p:spPr>
          <p:txBody>
            <a:bodyPr wrap="square" lIns="36000" tIns="36000" rIns="36000" bIns="36000" rtlCol="0" anchor="ctr">
              <a:spAutoFit/>
            </a:bodyPr>
            <a:lstStyle/>
            <a:p>
              <a:pPr algn="ctr"/>
              <a:r>
                <a:rPr lang="es-CL" sz="1500" spc="-25" dirty="0">
                  <a:latin typeface="ACHS Nueva Sans Medium" pitchFamily="2" charset="77"/>
                  <a:cs typeface="Calibri" panose="020F0502020204030204" pitchFamily="34" charset="0"/>
                </a:rPr>
                <a:t>Meta</a:t>
              </a:r>
              <a:r>
                <a:rPr lang="es-CL" sz="1500" spc="-80" dirty="0">
                  <a:latin typeface="ACHS Nueva Sans Medium" pitchFamily="2" charset="77"/>
                  <a:cs typeface="Calibri" panose="020F0502020204030204" pitchFamily="34" charset="0"/>
                </a:rPr>
                <a:t> </a:t>
              </a:r>
              <a:r>
                <a:rPr lang="es-CL" sz="1500" spc="-5" dirty="0">
                  <a:latin typeface="ACHS Nueva Sans Medium" pitchFamily="2" charset="77"/>
                  <a:cs typeface="Calibri" panose="020F0502020204030204" pitchFamily="34" charset="0"/>
                </a:rPr>
                <a:t>PLANESI</a:t>
              </a:r>
              <a:endParaRPr lang="es-CL" sz="1500" dirty="0">
                <a:latin typeface="ACHS Nueva Sans Medium" pitchFamily="2" charset="77"/>
                <a:cs typeface="Calibri" panose="020F0502020204030204" pitchFamily="34" charset="0"/>
              </a:endParaRPr>
            </a:p>
            <a:p>
              <a:pPr algn="ctr"/>
              <a:r>
                <a:rPr lang="es-CL" sz="1500" spc="-5" dirty="0">
                  <a:latin typeface="ACHS Nueva Sans Medium" pitchFamily="2" charset="77"/>
                  <a:cs typeface="Calibri" panose="020F0502020204030204" pitchFamily="34" charset="0"/>
                </a:rPr>
                <a:t>Vigilancia</a:t>
              </a:r>
              <a:r>
                <a:rPr lang="es-CL" sz="1500" spc="-95" dirty="0">
                  <a:latin typeface="ACHS Nueva Sans Medium" pitchFamily="2" charset="77"/>
                  <a:cs typeface="Calibri" panose="020F0502020204030204" pitchFamily="34" charset="0"/>
                </a:rPr>
                <a:t> </a:t>
              </a:r>
              <a:r>
                <a:rPr lang="es-CL" sz="1500" dirty="0">
                  <a:latin typeface="ACHS Nueva Sans Medium" pitchFamily="2" charset="77"/>
                  <a:cs typeface="Calibri" panose="020F0502020204030204" pitchFamily="34" charset="0"/>
                </a:rPr>
                <a:t>ambiental</a:t>
              </a:r>
            </a:p>
            <a:p>
              <a:pPr marL="635" algn="ctr"/>
              <a:r>
                <a:rPr lang="es-CL" sz="1500" dirty="0">
                  <a:latin typeface="ACHS Nueva Sans Medium" pitchFamily="2" charset="77"/>
                  <a:cs typeface="Calibri" panose="020F0502020204030204" pitchFamily="34" charset="0"/>
                </a:rPr>
                <a:t>2012: 50%</a:t>
              </a:r>
              <a:r>
                <a:rPr lang="es-CL" sz="1500" spc="225" dirty="0">
                  <a:latin typeface="ACHS Nueva Sans Medium" pitchFamily="2" charset="77"/>
                  <a:cs typeface="Calibri" panose="020F0502020204030204" pitchFamily="34" charset="0"/>
                </a:rPr>
                <a:t> </a:t>
              </a:r>
              <a:r>
                <a:rPr lang="es-CL" sz="1500" spc="-5" dirty="0">
                  <a:latin typeface="ACHS Nueva Sans Medium" pitchFamily="2" charset="77"/>
                  <a:cs typeface="Calibri" panose="020F0502020204030204" pitchFamily="34" charset="0"/>
                </a:rPr>
                <a:t>empresas</a:t>
              </a:r>
              <a:endParaRPr lang="es-CL" sz="1500" dirty="0">
                <a:latin typeface="ACHS Nueva Sans Medium" pitchFamily="2" charset="77"/>
                <a:cs typeface="Calibri" panose="020F0502020204030204" pitchFamily="34" charset="0"/>
              </a:endParaRPr>
            </a:p>
            <a:p>
              <a:pPr marL="635" algn="ctr"/>
              <a:r>
                <a:rPr lang="es-CL" sz="1500" dirty="0">
                  <a:latin typeface="ACHS Nueva Sans Medium" pitchFamily="2" charset="77"/>
                  <a:cs typeface="Calibri" panose="020F0502020204030204" pitchFamily="34" charset="0"/>
                </a:rPr>
                <a:t>2015: 75%</a:t>
              </a:r>
              <a:r>
                <a:rPr lang="es-CL" sz="1500" spc="-50" dirty="0">
                  <a:latin typeface="ACHS Nueva Sans Medium" pitchFamily="2" charset="77"/>
                  <a:cs typeface="Calibri" panose="020F0502020204030204" pitchFamily="34" charset="0"/>
                </a:rPr>
                <a:t> </a:t>
              </a:r>
              <a:r>
                <a:rPr lang="es-CL" sz="1500" spc="-5" dirty="0">
                  <a:latin typeface="ACHS Nueva Sans Medium" pitchFamily="2" charset="77"/>
                  <a:cs typeface="Calibri" panose="020F0502020204030204" pitchFamily="34" charset="0"/>
                </a:rPr>
                <a:t>empresas</a:t>
              </a:r>
              <a:endParaRPr lang="es-CL" sz="1500" dirty="0">
                <a:latin typeface="ACHS Nueva Sans Medium" pitchFamily="2" charset="77"/>
                <a:cs typeface="Calibri" panose="020F0502020204030204" pitchFamily="34" charset="0"/>
              </a:endParaRPr>
            </a:p>
            <a:p>
              <a:pPr algn="ctr"/>
              <a:r>
                <a:rPr lang="es-CL" sz="1500" dirty="0">
                  <a:latin typeface="ACHS Nueva Sans Medium" pitchFamily="2" charset="77"/>
                  <a:cs typeface="Calibri" panose="020F0502020204030204" pitchFamily="34" charset="0"/>
                </a:rPr>
                <a:t>2018: 100% </a:t>
              </a:r>
              <a:r>
                <a:rPr lang="es-CL" sz="1500" spc="-5" dirty="0">
                  <a:latin typeface="ACHS Nueva Sans Medium" pitchFamily="2" charset="77"/>
                  <a:cs typeface="Calibri" panose="020F0502020204030204" pitchFamily="34" charset="0"/>
                </a:rPr>
                <a:t>empresas</a:t>
              </a:r>
              <a:endParaRPr lang="es-CL" sz="1500" dirty="0">
                <a:latin typeface="ACHS Nueva Sans Medium" pitchFamily="2" charset="77"/>
                <a:cs typeface="Calibri" panose="020F0502020204030204" pitchFamily="34" charset="0"/>
              </a:endParaRPr>
            </a:p>
          </p:txBody>
        </p:sp>
        <p:cxnSp>
          <p:nvCxnSpPr>
            <p:cNvPr id="82" name="Conector recto de flecha 81"/>
            <p:cNvCxnSpPr>
              <a:stCxn id="79" idx="2"/>
              <a:endCxn id="80" idx="0"/>
            </p:cNvCxnSpPr>
            <p:nvPr/>
          </p:nvCxnSpPr>
          <p:spPr>
            <a:xfrm flipH="1">
              <a:off x="2140408" y="1562185"/>
              <a:ext cx="4613" cy="531183"/>
            </a:xfrm>
            <a:prstGeom prst="straightConnector1">
              <a:avLst/>
            </a:prstGeom>
            <a:ln w="12700">
              <a:solidFill>
                <a:srgbClr val="15C047"/>
              </a:solidFill>
              <a:headEnd type="none"/>
              <a:tailEnd type="none"/>
            </a:ln>
          </p:spPr>
          <p:style>
            <a:lnRef idx="1">
              <a:schemeClr val="dk1"/>
            </a:lnRef>
            <a:fillRef idx="0">
              <a:schemeClr val="dk1"/>
            </a:fillRef>
            <a:effectRef idx="0">
              <a:schemeClr val="dk1"/>
            </a:effectRef>
            <a:fontRef idx="minor">
              <a:schemeClr val="tx1"/>
            </a:fontRef>
          </p:style>
        </p:cxnSp>
        <p:cxnSp>
          <p:nvCxnSpPr>
            <p:cNvPr id="83" name="Conector recto de flecha 82"/>
            <p:cNvCxnSpPr>
              <a:stCxn id="80" idx="2"/>
            </p:cNvCxnSpPr>
            <p:nvPr/>
          </p:nvCxnSpPr>
          <p:spPr>
            <a:xfrm>
              <a:off x="2140408" y="3215959"/>
              <a:ext cx="4613" cy="421390"/>
            </a:xfrm>
            <a:prstGeom prst="straightConnector1">
              <a:avLst/>
            </a:prstGeom>
            <a:ln w="12700">
              <a:solidFill>
                <a:srgbClr val="15C047"/>
              </a:solidFill>
              <a:tailEnd type="none"/>
            </a:ln>
          </p:spPr>
          <p:style>
            <a:lnRef idx="1">
              <a:schemeClr val="dk1"/>
            </a:lnRef>
            <a:fillRef idx="0">
              <a:schemeClr val="dk1"/>
            </a:fillRef>
            <a:effectRef idx="0">
              <a:schemeClr val="dk1"/>
            </a:effectRef>
            <a:fontRef idx="minor">
              <a:schemeClr val="tx1"/>
            </a:fontRef>
          </p:style>
        </p:cxnSp>
        <p:sp>
          <p:nvSpPr>
            <p:cNvPr id="84" name="Elipse 83"/>
            <p:cNvSpPr/>
            <p:nvPr/>
          </p:nvSpPr>
          <p:spPr>
            <a:xfrm>
              <a:off x="1726055" y="5199170"/>
              <a:ext cx="846161" cy="886414"/>
            </a:xfrm>
            <a:prstGeom prst="ellipse">
              <a:avLst/>
            </a:prstGeom>
            <a:solidFill>
              <a:srgbClr val="EAEADE"/>
            </a:solidFill>
            <a:ln>
              <a:solidFill>
                <a:schemeClr val="accent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600" b="1" dirty="0">
                  <a:solidFill>
                    <a:schemeClr val="tx1"/>
                  </a:solidFill>
                  <a:latin typeface="ACHS Nueva Sans Medium" pitchFamily="2" charset="77"/>
                  <a:cs typeface="Calibri" panose="020F0502020204030204" pitchFamily="34" charset="0"/>
                </a:rPr>
                <a:t>FIN</a:t>
              </a:r>
            </a:p>
          </p:txBody>
        </p:sp>
        <p:cxnSp>
          <p:nvCxnSpPr>
            <p:cNvPr id="85" name="Conector recto de flecha 84"/>
            <p:cNvCxnSpPr/>
            <p:nvPr/>
          </p:nvCxnSpPr>
          <p:spPr>
            <a:xfrm>
              <a:off x="2145021" y="4861466"/>
              <a:ext cx="4115" cy="337704"/>
            </a:xfrm>
            <a:prstGeom prst="straightConnector1">
              <a:avLst/>
            </a:prstGeom>
            <a:ln w="12700">
              <a:solidFill>
                <a:srgbClr val="15C047"/>
              </a:solidFill>
              <a:tailEnd type="none"/>
            </a:ln>
          </p:spPr>
          <p:style>
            <a:lnRef idx="1">
              <a:schemeClr val="dk1"/>
            </a:lnRef>
            <a:fillRef idx="0">
              <a:schemeClr val="dk1"/>
            </a:fillRef>
            <a:effectRef idx="0">
              <a:schemeClr val="dk1"/>
            </a:effectRef>
            <a:fontRef idx="minor">
              <a:schemeClr val="tx1"/>
            </a:fontRef>
          </p:style>
        </p:cxnSp>
        <p:sp>
          <p:nvSpPr>
            <p:cNvPr id="87" name="Documento 86"/>
            <p:cNvSpPr/>
            <p:nvPr/>
          </p:nvSpPr>
          <p:spPr>
            <a:xfrm>
              <a:off x="3931326" y="1643295"/>
              <a:ext cx="1872000" cy="1440000"/>
            </a:xfrm>
            <a:prstGeom prst="rect">
              <a:avLst/>
            </a:prstGeom>
            <a:solidFill>
              <a:srgbClr val="EAEADE"/>
            </a:solidFill>
            <a:ln>
              <a:solidFill>
                <a:schemeClr val="accent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CL" sz="1500" dirty="0">
                  <a:solidFill>
                    <a:schemeClr val="tx1"/>
                  </a:solidFill>
                  <a:latin typeface="ACHS Nueva Sans Medium" pitchFamily="2" charset="77"/>
                  <a:cs typeface="Calibri" panose="020F0502020204030204" pitchFamily="34" charset="0"/>
                </a:rPr>
                <a:t>Enviar informe técnico a empresa dentro de 30 días contados desde la fecha de realización de la visita.</a:t>
              </a:r>
            </a:p>
          </p:txBody>
        </p:sp>
        <p:sp>
          <p:nvSpPr>
            <p:cNvPr id="88" name="Decisión 87"/>
            <p:cNvSpPr/>
            <p:nvPr/>
          </p:nvSpPr>
          <p:spPr>
            <a:xfrm>
              <a:off x="3650209" y="3391304"/>
              <a:ext cx="2457885" cy="1404000"/>
            </a:xfrm>
            <a:prstGeom prst="rect">
              <a:avLst/>
            </a:prstGeom>
            <a:solidFill>
              <a:srgbClr val="EAEADE"/>
            </a:solidFill>
            <a:ln>
              <a:solidFill>
                <a:schemeClr val="accent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2700" marR="5080" indent="-12700" algn="ctr"/>
              <a:r>
                <a:rPr lang="es-CL" sz="1500" dirty="0">
                  <a:solidFill>
                    <a:schemeClr val="tx1"/>
                  </a:solidFill>
                  <a:latin typeface="ACHS Nueva Sans Medium" pitchFamily="2" charset="77"/>
                  <a:cs typeface="Calibri" panose="020F0502020204030204" pitchFamily="34" charset="0"/>
                </a:rPr>
                <a:t>¿El informe  técnico evidencia  condición nivel </a:t>
              </a:r>
              <a:r>
                <a:rPr lang="es-CL" sz="1500" spc="-5" dirty="0">
                  <a:solidFill>
                    <a:schemeClr val="tx1"/>
                  </a:solidFill>
                  <a:latin typeface="ACHS Nueva Sans Medium" pitchFamily="2" charset="77"/>
                  <a:cs typeface="Calibri" panose="020F0502020204030204" pitchFamily="34" charset="0"/>
                </a:rPr>
                <a:t>de</a:t>
              </a:r>
              <a:r>
                <a:rPr lang="es-CL" sz="1500" spc="-105" dirty="0">
                  <a:solidFill>
                    <a:schemeClr val="tx1"/>
                  </a:solidFill>
                  <a:latin typeface="ACHS Nueva Sans Medium" pitchFamily="2" charset="77"/>
                  <a:cs typeface="Calibri" panose="020F0502020204030204" pitchFamily="34" charset="0"/>
                </a:rPr>
                <a:t> </a:t>
              </a:r>
              <a:r>
                <a:rPr lang="es-CL" sz="1500" dirty="0">
                  <a:solidFill>
                    <a:schemeClr val="tx1"/>
                  </a:solidFill>
                  <a:latin typeface="ACHS Nueva Sans Medium" pitchFamily="2" charset="77"/>
                  <a:cs typeface="Calibri" panose="020F0502020204030204" pitchFamily="34" charset="0"/>
                </a:rPr>
                <a:t>riesgo 4?</a:t>
              </a:r>
            </a:p>
          </p:txBody>
        </p:sp>
        <p:sp>
          <p:nvSpPr>
            <p:cNvPr id="89" name="CuadroTexto 88"/>
            <p:cNvSpPr txBox="1"/>
            <p:nvPr/>
          </p:nvSpPr>
          <p:spPr>
            <a:xfrm>
              <a:off x="3928716" y="5318016"/>
              <a:ext cx="1872000" cy="911378"/>
            </a:xfrm>
            <a:prstGeom prst="rect">
              <a:avLst/>
            </a:prstGeom>
            <a:solidFill>
              <a:srgbClr val="EAEADE"/>
            </a:solidFill>
            <a:ln>
              <a:solidFill>
                <a:schemeClr val="accent1">
                  <a:alpha val="0"/>
                </a:schemeClr>
              </a:solidFill>
            </a:ln>
          </p:spPr>
          <p:txBody>
            <a:bodyPr wrap="square" lIns="36000" tIns="36000" rIns="36000" bIns="36000" rtlCol="0" anchor="ctr">
              <a:spAutoFit/>
            </a:bodyPr>
            <a:lstStyle/>
            <a:p>
              <a:pPr marL="94615" marR="90170" indent="1270" algn="ctr"/>
              <a:r>
                <a:rPr lang="es-CL" sz="1500" dirty="0">
                  <a:latin typeface="ACHS Nueva Sans Medium" pitchFamily="2" charset="77"/>
                  <a:cs typeface="Calibri" panose="020F0502020204030204" pitchFamily="34" charset="0"/>
                </a:rPr>
                <a:t>No </a:t>
              </a:r>
              <a:r>
                <a:rPr lang="es-CL" sz="1500" spc="-5" dirty="0">
                  <a:latin typeface="ACHS Nueva Sans Medium" pitchFamily="2" charset="77"/>
                  <a:cs typeface="Calibri" panose="020F0502020204030204" pitchFamily="34" charset="0"/>
                </a:rPr>
                <a:t>notificar </a:t>
              </a:r>
              <a:r>
                <a:rPr lang="es-CL" sz="1500" dirty="0">
                  <a:latin typeface="ACHS Nueva Sans Medium" pitchFamily="2" charset="77"/>
                  <a:cs typeface="Calibri" panose="020F0502020204030204" pitchFamily="34" charset="0"/>
                </a:rPr>
                <a:t>y </a:t>
              </a:r>
              <a:r>
                <a:rPr lang="es-CL" sz="1500" spc="-20" dirty="0">
                  <a:latin typeface="ACHS Nueva Sans Medium" pitchFamily="2" charset="77"/>
                  <a:cs typeface="Calibri" panose="020F0502020204030204" pitchFamily="34" charset="0"/>
                </a:rPr>
                <a:t>reevaluar </a:t>
              </a:r>
              <a:r>
                <a:rPr lang="es-CL" sz="1500" spc="-10" dirty="0">
                  <a:latin typeface="ACHS Nueva Sans Medium" pitchFamily="2" charset="77"/>
                  <a:cs typeface="Calibri" panose="020F0502020204030204" pitchFamily="34" charset="0"/>
                </a:rPr>
                <a:t>cuando  </a:t>
              </a:r>
              <a:r>
                <a:rPr lang="es-CL" sz="1500" spc="-20" dirty="0">
                  <a:latin typeface="ACHS Nueva Sans Medium" pitchFamily="2" charset="77"/>
                  <a:cs typeface="Calibri" panose="020F0502020204030204" pitchFamily="34" charset="0"/>
                </a:rPr>
                <a:t>existan </a:t>
              </a:r>
              <a:r>
                <a:rPr lang="es-CL" sz="1500" spc="-5" dirty="0">
                  <a:latin typeface="ACHS Nueva Sans Medium" pitchFamily="2" charset="77"/>
                  <a:cs typeface="Calibri" panose="020F0502020204030204" pitchFamily="34" charset="0"/>
                </a:rPr>
                <a:t>nuevos </a:t>
              </a:r>
              <a:r>
                <a:rPr lang="es-CL" sz="1500" spc="-15" dirty="0">
                  <a:latin typeface="ACHS Nueva Sans Medium" pitchFamily="2" charset="77"/>
                  <a:cs typeface="Calibri" panose="020F0502020204030204" pitchFamily="34" charset="0"/>
                </a:rPr>
                <a:t>puesto </a:t>
              </a:r>
              <a:r>
                <a:rPr lang="es-CL" sz="1500" spc="-5" dirty="0">
                  <a:latin typeface="ACHS Nueva Sans Medium" pitchFamily="2" charset="77"/>
                  <a:cs typeface="Calibri" panose="020F0502020204030204" pitchFamily="34" charset="0"/>
                </a:rPr>
                <a:t>de</a:t>
              </a:r>
              <a:r>
                <a:rPr lang="es-CL" sz="1500" spc="25" dirty="0">
                  <a:latin typeface="ACHS Nueva Sans Medium" pitchFamily="2" charset="77"/>
                  <a:cs typeface="Calibri" panose="020F0502020204030204" pitchFamily="34" charset="0"/>
                </a:rPr>
                <a:t> </a:t>
              </a:r>
              <a:r>
                <a:rPr lang="es-CL" sz="1500" spc="-5" dirty="0">
                  <a:latin typeface="ACHS Nueva Sans Medium" pitchFamily="2" charset="77"/>
                  <a:cs typeface="Calibri" panose="020F0502020204030204" pitchFamily="34" charset="0"/>
                </a:rPr>
                <a:t>trabajo.</a:t>
              </a:r>
              <a:endParaRPr lang="es-CL" sz="1500" dirty="0">
                <a:latin typeface="ACHS Nueva Sans Medium" pitchFamily="2" charset="77"/>
                <a:cs typeface="Calibri" panose="020F0502020204030204" pitchFamily="34" charset="0"/>
              </a:endParaRPr>
            </a:p>
          </p:txBody>
        </p:sp>
        <p:cxnSp>
          <p:nvCxnSpPr>
            <p:cNvPr id="91" name="Conector recto de flecha 90"/>
            <p:cNvCxnSpPr>
              <a:stCxn id="86" idx="2"/>
            </p:cNvCxnSpPr>
            <p:nvPr/>
          </p:nvCxnSpPr>
          <p:spPr>
            <a:xfrm>
              <a:off x="4867326" y="1232803"/>
              <a:ext cx="0" cy="410492"/>
            </a:xfrm>
            <a:prstGeom prst="straightConnector1">
              <a:avLst/>
            </a:prstGeom>
            <a:ln w="12700">
              <a:solidFill>
                <a:srgbClr val="15C047"/>
              </a:solidFill>
              <a:tailEnd type="none"/>
            </a:ln>
          </p:spPr>
          <p:style>
            <a:lnRef idx="1">
              <a:schemeClr val="dk1"/>
            </a:lnRef>
            <a:fillRef idx="0">
              <a:schemeClr val="dk1"/>
            </a:fillRef>
            <a:effectRef idx="0">
              <a:schemeClr val="dk1"/>
            </a:effectRef>
            <a:fontRef idx="minor">
              <a:schemeClr val="tx1"/>
            </a:fontRef>
          </p:style>
        </p:cxnSp>
        <p:cxnSp>
          <p:nvCxnSpPr>
            <p:cNvPr id="92" name="Conector recto de flecha 91"/>
            <p:cNvCxnSpPr/>
            <p:nvPr/>
          </p:nvCxnSpPr>
          <p:spPr>
            <a:xfrm>
              <a:off x="4867326" y="2988094"/>
              <a:ext cx="11825" cy="403210"/>
            </a:xfrm>
            <a:prstGeom prst="straightConnector1">
              <a:avLst/>
            </a:prstGeom>
            <a:ln w="12700">
              <a:solidFill>
                <a:srgbClr val="15C047"/>
              </a:solidFill>
              <a:tailEnd type="none"/>
            </a:ln>
          </p:spPr>
          <p:style>
            <a:lnRef idx="1">
              <a:schemeClr val="dk1"/>
            </a:lnRef>
            <a:fillRef idx="0">
              <a:schemeClr val="dk1"/>
            </a:fillRef>
            <a:effectRef idx="0">
              <a:schemeClr val="dk1"/>
            </a:effectRef>
            <a:fontRef idx="minor">
              <a:schemeClr val="tx1"/>
            </a:fontRef>
          </p:style>
        </p:cxnSp>
        <p:cxnSp>
          <p:nvCxnSpPr>
            <p:cNvPr id="93" name="Conector recto de flecha 92"/>
            <p:cNvCxnSpPr/>
            <p:nvPr/>
          </p:nvCxnSpPr>
          <p:spPr>
            <a:xfrm flipH="1">
              <a:off x="4864717" y="4795305"/>
              <a:ext cx="14435" cy="494549"/>
            </a:xfrm>
            <a:prstGeom prst="straightConnector1">
              <a:avLst/>
            </a:prstGeom>
            <a:ln w="12700">
              <a:solidFill>
                <a:srgbClr val="15C047"/>
              </a:solidFill>
              <a:tailEnd type="none"/>
            </a:ln>
          </p:spPr>
          <p:style>
            <a:lnRef idx="1">
              <a:schemeClr val="dk1"/>
            </a:lnRef>
            <a:fillRef idx="0">
              <a:schemeClr val="dk1"/>
            </a:fillRef>
            <a:effectRef idx="0">
              <a:schemeClr val="dk1"/>
            </a:effectRef>
            <a:fontRef idx="minor">
              <a:schemeClr val="tx1"/>
            </a:fontRef>
          </p:style>
        </p:cxnSp>
        <p:sp>
          <p:nvSpPr>
            <p:cNvPr id="94" name="Documento 93"/>
            <p:cNvSpPr/>
            <p:nvPr/>
          </p:nvSpPr>
          <p:spPr>
            <a:xfrm>
              <a:off x="6739326" y="766297"/>
              <a:ext cx="1872000" cy="1044000"/>
            </a:xfrm>
            <a:prstGeom prst="rect">
              <a:avLst/>
            </a:prstGeom>
            <a:solidFill>
              <a:srgbClr val="EAEADE"/>
            </a:solidFill>
            <a:ln>
              <a:solidFill>
                <a:schemeClr val="accent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635" algn="ctr">
                <a:lnSpc>
                  <a:spcPct val="100000"/>
                </a:lnSpc>
              </a:pPr>
              <a:r>
                <a:rPr lang="es-CL" sz="1500" spc="-5" dirty="0">
                  <a:solidFill>
                    <a:schemeClr val="tx1"/>
                  </a:solidFill>
                  <a:latin typeface="ACHS Nueva Sans Medium" pitchFamily="2" charset="77"/>
                  <a:cs typeface="Calibri" panose="020F0502020204030204" pitchFamily="34" charset="0"/>
                </a:rPr>
                <a:t>Registrar </a:t>
              </a:r>
              <a:r>
                <a:rPr lang="es-CL" sz="1500" spc="-10" dirty="0">
                  <a:solidFill>
                    <a:schemeClr val="tx1"/>
                  </a:solidFill>
                  <a:latin typeface="ACHS Nueva Sans Medium" pitchFamily="2" charset="77"/>
                  <a:cs typeface="Calibri" panose="020F0502020204030204" pitchFamily="34" charset="0"/>
                </a:rPr>
                <a:t>empresa</a:t>
              </a:r>
              <a:r>
                <a:rPr lang="es-CL" sz="1500" spc="-70" dirty="0">
                  <a:solidFill>
                    <a:schemeClr val="tx1"/>
                  </a:solidFill>
                  <a:latin typeface="ACHS Nueva Sans Medium" pitchFamily="2" charset="77"/>
                  <a:cs typeface="Calibri" panose="020F0502020204030204" pitchFamily="34" charset="0"/>
                </a:rPr>
                <a:t> </a:t>
              </a:r>
              <a:r>
                <a:rPr lang="es-CL" sz="1500" dirty="0">
                  <a:solidFill>
                    <a:schemeClr val="tx1"/>
                  </a:solidFill>
                  <a:latin typeface="ACHS Nueva Sans Medium" pitchFamily="2" charset="77"/>
                  <a:cs typeface="Calibri" panose="020F0502020204030204" pitchFamily="34" charset="0"/>
                </a:rPr>
                <a:t>en </a:t>
              </a:r>
              <a:r>
                <a:rPr lang="es-CL" sz="1500" spc="-25" dirty="0">
                  <a:solidFill>
                    <a:schemeClr val="tx1"/>
                  </a:solidFill>
                  <a:latin typeface="ACHS Nueva Sans Medium" pitchFamily="2" charset="77"/>
                  <a:cs typeface="Calibri" panose="020F0502020204030204" pitchFamily="34" charset="0"/>
                </a:rPr>
                <a:t>plataforma </a:t>
              </a:r>
              <a:r>
                <a:rPr lang="es-CL" sz="1500" dirty="0">
                  <a:solidFill>
                    <a:schemeClr val="tx1"/>
                  </a:solidFill>
                  <a:latin typeface="ACHS Nueva Sans Medium" pitchFamily="2" charset="77"/>
                  <a:cs typeface="Calibri" panose="020F0502020204030204" pitchFamily="34" charset="0"/>
                </a:rPr>
                <a:t>ISP.       </a:t>
              </a:r>
              <a:r>
                <a:rPr lang="es-CL" sz="1500" spc="-10" dirty="0">
                  <a:solidFill>
                    <a:schemeClr val="tx1"/>
                  </a:solidFill>
                  <a:latin typeface="ACHS Nueva Sans Medium" pitchFamily="2" charset="77"/>
                  <a:cs typeface="Calibri" panose="020F0502020204030204" pitchFamily="34" charset="0"/>
                </a:rPr>
                <a:t>(Anexo N° </a:t>
              </a:r>
              <a:r>
                <a:rPr lang="es-CL" sz="1500" dirty="0">
                  <a:solidFill>
                    <a:schemeClr val="tx1"/>
                  </a:solidFill>
                  <a:latin typeface="ACHS Nueva Sans Medium" pitchFamily="2" charset="77"/>
                  <a:cs typeface="Calibri" panose="020F0502020204030204" pitchFamily="34" charset="0"/>
                </a:rPr>
                <a:t>3)</a:t>
              </a:r>
            </a:p>
          </p:txBody>
        </p:sp>
        <p:cxnSp>
          <p:nvCxnSpPr>
            <p:cNvPr id="95" name="Conector angular 94"/>
            <p:cNvCxnSpPr/>
            <p:nvPr/>
          </p:nvCxnSpPr>
          <p:spPr>
            <a:xfrm flipV="1">
              <a:off x="5803326" y="1288297"/>
              <a:ext cx="936000" cy="1074998"/>
            </a:xfrm>
            <a:prstGeom prst="bentConnector3">
              <a:avLst/>
            </a:prstGeom>
            <a:ln w="12700">
              <a:solidFill>
                <a:srgbClr val="15C047"/>
              </a:solidFill>
              <a:tailEnd type="none"/>
            </a:ln>
          </p:spPr>
          <p:style>
            <a:lnRef idx="1">
              <a:schemeClr val="dk1"/>
            </a:lnRef>
            <a:fillRef idx="0">
              <a:schemeClr val="dk1"/>
            </a:fillRef>
            <a:effectRef idx="0">
              <a:schemeClr val="dk1"/>
            </a:effectRef>
            <a:fontRef idx="minor">
              <a:schemeClr val="tx1"/>
            </a:fontRef>
          </p:style>
        </p:cxnSp>
        <p:sp>
          <p:nvSpPr>
            <p:cNvPr id="96" name="CuadroTexto 95"/>
            <p:cNvSpPr txBox="1"/>
            <p:nvPr/>
          </p:nvSpPr>
          <p:spPr>
            <a:xfrm>
              <a:off x="6755612" y="3320203"/>
              <a:ext cx="1872000" cy="1545018"/>
            </a:xfrm>
            <a:prstGeom prst="rect">
              <a:avLst/>
            </a:prstGeom>
            <a:solidFill>
              <a:srgbClr val="0C662F"/>
            </a:solidFill>
            <a:ln>
              <a:solidFill>
                <a:schemeClr val="tx1">
                  <a:alpha val="0"/>
                </a:schemeClr>
              </a:solidFill>
            </a:ln>
          </p:spPr>
          <p:txBody>
            <a:bodyPr wrap="square" lIns="0" tIns="36000" rIns="0" bIns="36000" rtlCol="0" anchor="ctr">
              <a:spAutoFit/>
            </a:bodyPr>
            <a:lstStyle/>
            <a:p>
              <a:pPr marL="90170" marR="83820" indent="635" algn="ctr">
                <a:lnSpc>
                  <a:spcPct val="100000"/>
                </a:lnSpc>
                <a:spcBef>
                  <a:spcPts val="180"/>
                </a:spcBef>
              </a:pPr>
              <a:r>
                <a:rPr lang="es-CL" sz="1500" b="1" spc="-5" dirty="0">
                  <a:solidFill>
                    <a:schemeClr val="bg1"/>
                  </a:solidFill>
                  <a:latin typeface="ACHS Nueva Sans SemiBold" pitchFamily="2" charset="77"/>
                  <a:cs typeface="Calibri" panose="020F0502020204030204" pitchFamily="34" charset="0"/>
                </a:rPr>
                <a:t>OAL debe notificar </a:t>
              </a:r>
              <a:r>
                <a:rPr lang="es-CL" sz="1500" b="1" dirty="0">
                  <a:solidFill>
                    <a:schemeClr val="bg1"/>
                  </a:solidFill>
                  <a:latin typeface="ACHS Nueva Sans SemiBold" pitchFamily="2" charset="77"/>
                  <a:cs typeface="Calibri" panose="020F0502020204030204" pitchFamily="34" charset="0"/>
                </a:rPr>
                <a:t>a </a:t>
              </a:r>
              <a:r>
                <a:rPr lang="es-CL" sz="1500" b="1" spc="-5" dirty="0">
                  <a:solidFill>
                    <a:schemeClr val="bg1"/>
                  </a:solidFill>
                  <a:latin typeface="ACHS Nueva Sans SemiBold" pitchFamily="2" charset="77"/>
                  <a:cs typeface="Calibri" panose="020F0502020204030204" pitchFamily="34" charset="0"/>
                </a:rPr>
                <a:t>la ASR</a:t>
              </a:r>
              <a:r>
                <a:rPr lang="es-CL" sz="1500" b="1" dirty="0">
                  <a:solidFill>
                    <a:schemeClr val="bg1"/>
                  </a:solidFill>
                  <a:latin typeface="ACHS Nueva Sans SemiBold" pitchFamily="2" charset="77"/>
                  <a:cs typeface="Calibri" panose="020F0502020204030204" pitchFamily="34" charset="0"/>
                </a:rPr>
                <a:t> </a:t>
              </a:r>
              <a:r>
                <a:rPr lang="es-CL" sz="1500" b="1" spc="-5" dirty="0">
                  <a:solidFill>
                    <a:schemeClr val="bg1"/>
                  </a:solidFill>
                  <a:latin typeface="ACHS Nueva Sans SemiBold" pitchFamily="2" charset="77"/>
                  <a:cs typeface="Calibri" panose="020F0502020204030204" pitchFamily="34" charset="0"/>
                </a:rPr>
                <a:t>dentro de </a:t>
              </a:r>
              <a:r>
                <a:rPr lang="es-CL" sz="1500" b="1" spc="-10" dirty="0">
                  <a:solidFill>
                    <a:schemeClr val="bg1"/>
                  </a:solidFill>
                  <a:latin typeface="ACHS Nueva Sans SemiBold" pitchFamily="2" charset="77"/>
                  <a:cs typeface="Calibri" panose="020F0502020204030204" pitchFamily="34" charset="0"/>
                </a:rPr>
                <a:t>los </a:t>
              </a:r>
              <a:r>
                <a:rPr lang="es-CL" sz="1500" b="1" dirty="0">
                  <a:solidFill>
                    <a:schemeClr val="bg1"/>
                  </a:solidFill>
                  <a:latin typeface="ACHS Nueva Sans SemiBold" pitchFamily="2" charset="77"/>
                  <a:cs typeface="Calibri" panose="020F0502020204030204" pitchFamily="34" charset="0"/>
                </a:rPr>
                <a:t>10 </a:t>
              </a:r>
              <a:r>
                <a:rPr lang="es-CL" sz="1500" b="1" spc="-5" dirty="0">
                  <a:solidFill>
                    <a:schemeClr val="bg1"/>
                  </a:solidFill>
                  <a:latin typeface="ACHS Nueva Sans SemiBold" pitchFamily="2" charset="77"/>
                  <a:cs typeface="Calibri" panose="020F0502020204030204" pitchFamily="34" charset="0"/>
                </a:rPr>
                <a:t>primeros días hábiles del mes </a:t>
              </a:r>
              <a:r>
                <a:rPr lang="es-CL" sz="1500" b="1" dirty="0">
                  <a:solidFill>
                    <a:schemeClr val="bg1"/>
                  </a:solidFill>
                  <a:latin typeface="ACHS Nueva Sans SemiBold" pitchFamily="2" charset="77"/>
                  <a:cs typeface="Calibri" panose="020F0502020204030204" pitchFamily="34" charset="0"/>
                </a:rPr>
                <a:t>siguiente </a:t>
              </a:r>
              <a:r>
                <a:rPr lang="es-CL" sz="1500" b="1" spc="-5" dirty="0">
                  <a:solidFill>
                    <a:schemeClr val="bg1"/>
                  </a:solidFill>
                  <a:latin typeface="ACHS Nueva Sans SemiBold" pitchFamily="2" charset="77"/>
                  <a:cs typeface="Calibri" panose="020F0502020204030204" pitchFamily="34" charset="0"/>
                </a:rPr>
                <a:t>de </a:t>
              </a:r>
              <a:r>
                <a:rPr lang="es-CL" sz="1500" b="1" spc="-10" dirty="0">
                  <a:solidFill>
                    <a:schemeClr val="bg1"/>
                  </a:solidFill>
                  <a:latin typeface="ACHS Nueva Sans SemiBold" pitchFamily="2" charset="77"/>
                  <a:cs typeface="Calibri" panose="020F0502020204030204" pitchFamily="34" charset="0"/>
                </a:rPr>
                <a:t>efectuada </a:t>
              </a:r>
              <a:r>
                <a:rPr lang="es-CL" sz="1500" b="1" spc="-5" dirty="0">
                  <a:solidFill>
                    <a:schemeClr val="bg1"/>
                  </a:solidFill>
                  <a:latin typeface="ACHS Nueva Sans SemiBold" pitchFamily="2" charset="77"/>
                  <a:cs typeface="Calibri" panose="020F0502020204030204" pitchFamily="34" charset="0"/>
                </a:rPr>
                <a:t>la </a:t>
              </a:r>
              <a:r>
                <a:rPr lang="es-CL" sz="1500" b="1" spc="-15" dirty="0">
                  <a:solidFill>
                    <a:schemeClr val="bg1"/>
                  </a:solidFill>
                  <a:latin typeface="ACHS Nueva Sans SemiBold" pitchFamily="2" charset="77"/>
                  <a:cs typeface="Calibri" panose="020F0502020204030204" pitchFamily="34" charset="0"/>
                </a:rPr>
                <a:t>evaluación  </a:t>
              </a:r>
              <a:r>
                <a:rPr lang="es-CL" sz="1500" b="1" spc="-30" dirty="0">
                  <a:solidFill>
                    <a:schemeClr val="bg1"/>
                  </a:solidFill>
                  <a:latin typeface="ACHS Nueva Sans SemiBold" pitchFamily="2" charset="77"/>
                  <a:cs typeface="Calibri" panose="020F0502020204030204" pitchFamily="34" charset="0"/>
                </a:rPr>
                <a:t>cualitativa.</a:t>
              </a:r>
              <a:endParaRPr lang="es-CL" sz="1500" b="1" dirty="0">
                <a:solidFill>
                  <a:schemeClr val="bg1"/>
                </a:solidFill>
                <a:latin typeface="ACHS Nueva Sans SemiBold" pitchFamily="2" charset="77"/>
                <a:cs typeface="Calibri" panose="020F0502020204030204" pitchFamily="34" charset="0"/>
              </a:endParaRPr>
            </a:p>
          </p:txBody>
        </p:sp>
        <p:cxnSp>
          <p:nvCxnSpPr>
            <p:cNvPr id="97" name="Conector recto de flecha 96"/>
            <p:cNvCxnSpPr>
              <a:endCxn id="96" idx="1"/>
            </p:cNvCxnSpPr>
            <p:nvPr/>
          </p:nvCxnSpPr>
          <p:spPr>
            <a:xfrm flipV="1">
              <a:off x="6108094" y="4092712"/>
              <a:ext cx="647518" cy="593"/>
            </a:xfrm>
            <a:prstGeom prst="straightConnector1">
              <a:avLst/>
            </a:prstGeom>
            <a:ln w="12700">
              <a:solidFill>
                <a:srgbClr val="15C047"/>
              </a:solidFill>
              <a:tailEnd type="none"/>
            </a:ln>
          </p:spPr>
          <p:style>
            <a:lnRef idx="1">
              <a:schemeClr val="dk1"/>
            </a:lnRef>
            <a:fillRef idx="0">
              <a:schemeClr val="dk1"/>
            </a:fillRef>
            <a:effectRef idx="0">
              <a:schemeClr val="dk1"/>
            </a:effectRef>
            <a:fontRef idx="minor">
              <a:schemeClr val="tx1"/>
            </a:fontRef>
          </p:style>
        </p:cxnSp>
        <p:sp>
          <p:nvSpPr>
            <p:cNvPr id="98" name="Rectángulo 97"/>
            <p:cNvSpPr/>
            <p:nvPr/>
          </p:nvSpPr>
          <p:spPr>
            <a:xfrm>
              <a:off x="8682203" y="141043"/>
              <a:ext cx="2089202" cy="494104"/>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2000" b="1" dirty="0">
                  <a:solidFill>
                    <a:schemeClr val="bg1"/>
                  </a:solidFill>
                  <a:latin typeface="ACHS Nueva Sans SemiBold" pitchFamily="2" charset="77"/>
                  <a:cs typeface="Calibri" panose="020F0502020204030204" pitchFamily="34" charset="0"/>
                </a:rPr>
                <a:t>EMPRESA</a:t>
              </a:r>
            </a:p>
          </p:txBody>
        </p:sp>
        <p:sp>
          <p:nvSpPr>
            <p:cNvPr id="99" name="Documento 98"/>
            <p:cNvSpPr/>
            <p:nvPr/>
          </p:nvSpPr>
          <p:spPr>
            <a:xfrm>
              <a:off x="8708383" y="742695"/>
              <a:ext cx="2089202" cy="889387"/>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CL" sz="1500" dirty="0">
                  <a:solidFill>
                    <a:schemeClr val="bg1"/>
                  </a:solidFill>
                  <a:latin typeface="ACHS Nueva Sans Medium" pitchFamily="2" charset="77"/>
                  <a:cs typeface="Calibri" panose="020F0502020204030204" pitchFamily="34" charset="0"/>
                </a:rPr>
                <a:t>Implementar </a:t>
              </a:r>
              <a:r>
                <a:rPr lang="es-CL" sz="1500" spc="-5" dirty="0">
                  <a:solidFill>
                    <a:schemeClr val="bg1"/>
                  </a:solidFill>
                  <a:latin typeface="ACHS Nueva Sans Medium" pitchFamily="2" charset="77"/>
                  <a:cs typeface="Calibri" panose="020F0502020204030204" pitchFamily="34" charset="0"/>
                </a:rPr>
                <a:t>medidas </a:t>
              </a:r>
              <a:r>
                <a:rPr lang="es-CL" sz="1500" dirty="0">
                  <a:solidFill>
                    <a:schemeClr val="bg1"/>
                  </a:solidFill>
                  <a:latin typeface="ACHS Nueva Sans Medium" pitchFamily="2" charset="77"/>
                  <a:cs typeface="Calibri" panose="020F0502020204030204" pitchFamily="34" charset="0"/>
                </a:rPr>
                <a:t>de</a:t>
              </a:r>
              <a:r>
                <a:rPr lang="es-CL" sz="1500" spc="-60" dirty="0">
                  <a:solidFill>
                    <a:schemeClr val="bg1"/>
                  </a:solidFill>
                  <a:latin typeface="ACHS Nueva Sans Medium" pitchFamily="2" charset="77"/>
                  <a:cs typeface="Calibri" panose="020F0502020204030204" pitchFamily="34" charset="0"/>
                </a:rPr>
                <a:t> </a:t>
              </a:r>
              <a:r>
                <a:rPr lang="es-CL" sz="1500" spc="-5" dirty="0">
                  <a:solidFill>
                    <a:schemeClr val="bg1"/>
                  </a:solidFill>
                  <a:latin typeface="ACHS Nueva Sans Medium" pitchFamily="2" charset="77"/>
                  <a:cs typeface="Calibri" panose="020F0502020204030204" pitchFamily="34" charset="0"/>
                </a:rPr>
                <a:t>control </a:t>
              </a:r>
              <a:r>
                <a:rPr lang="es-CL" sz="1500" spc="-10" dirty="0">
                  <a:solidFill>
                    <a:schemeClr val="bg1"/>
                  </a:solidFill>
                  <a:latin typeface="ACHS Nueva Sans Medium" pitchFamily="2" charset="77"/>
                  <a:cs typeface="Calibri" panose="020F0502020204030204" pitchFamily="34" charset="0"/>
                </a:rPr>
                <a:t>entregadas </a:t>
              </a:r>
              <a:r>
                <a:rPr lang="es-CL" sz="1500" dirty="0">
                  <a:solidFill>
                    <a:schemeClr val="bg1"/>
                  </a:solidFill>
                  <a:latin typeface="ACHS Nueva Sans Medium" pitchFamily="2" charset="77"/>
                  <a:cs typeface="Calibri" panose="020F0502020204030204" pitchFamily="34" charset="0"/>
                </a:rPr>
                <a:t>por  </a:t>
              </a:r>
              <a:r>
                <a:rPr lang="es-CL" sz="1500" spc="-5" dirty="0">
                  <a:solidFill>
                    <a:schemeClr val="bg1"/>
                  </a:solidFill>
                  <a:latin typeface="ACHS Nueva Sans Medium" pitchFamily="2" charset="77"/>
                  <a:cs typeface="Calibri" panose="020F0502020204030204" pitchFamily="34" charset="0"/>
                </a:rPr>
                <a:t>OAL/SEREMI.</a:t>
              </a:r>
              <a:endParaRPr lang="es-CL" sz="1500" dirty="0">
                <a:solidFill>
                  <a:schemeClr val="bg1"/>
                </a:solidFill>
                <a:latin typeface="ACHS Nueva Sans Medium" pitchFamily="2" charset="77"/>
                <a:cs typeface="Calibri" panose="020F0502020204030204" pitchFamily="34" charset="0"/>
              </a:endParaRPr>
            </a:p>
          </p:txBody>
        </p:sp>
        <p:sp>
          <p:nvSpPr>
            <p:cNvPr id="100" name="Documento 99"/>
            <p:cNvSpPr/>
            <p:nvPr/>
          </p:nvSpPr>
          <p:spPr>
            <a:xfrm>
              <a:off x="8710655" y="1754900"/>
              <a:ext cx="2089202" cy="856447"/>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47625" marR="5080" indent="-35560" algn="ctr">
                <a:lnSpc>
                  <a:spcPct val="100000"/>
                </a:lnSpc>
              </a:pPr>
              <a:r>
                <a:rPr lang="es-CL" sz="1500" spc="-5" dirty="0">
                  <a:solidFill>
                    <a:schemeClr val="bg1"/>
                  </a:solidFill>
                  <a:latin typeface="ACHS Nueva Sans Medium" pitchFamily="2" charset="77"/>
                  <a:cs typeface="Calibri" panose="020F0502020204030204" pitchFamily="34" charset="0"/>
                </a:rPr>
                <a:t>Informar los riesgos laborales </a:t>
              </a:r>
              <a:r>
                <a:rPr lang="es-CL" sz="1500" dirty="0">
                  <a:solidFill>
                    <a:schemeClr val="bg1"/>
                  </a:solidFill>
                  <a:latin typeface="ACHS Nueva Sans Medium" pitchFamily="2" charset="77"/>
                  <a:cs typeface="Calibri" panose="020F0502020204030204" pitchFamily="34" charset="0"/>
                </a:rPr>
                <a:t>a</a:t>
              </a:r>
              <a:r>
                <a:rPr lang="es-CL" sz="1500" spc="-70" dirty="0">
                  <a:solidFill>
                    <a:schemeClr val="bg1"/>
                  </a:solidFill>
                  <a:latin typeface="ACHS Nueva Sans Medium" pitchFamily="2" charset="77"/>
                  <a:cs typeface="Calibri" panose="020F0502020204030204" pitchFamily="34" charset="0"/>
                </a:rPr>
                <a:t> </a:t>
              </a:r>
              <a:r>
                <a:rPr lang="es-CL" sz="1500" spc="-5" dirty="0">
                  <a:solidFill>
                    <a:schemeClr val="bg1"/>
                  </a:solidFill>
                  <a:latin typeface="ACHS Nueva Sans Medium" pitchFamily="2" charset="77"/>
                  <a:cs typeface="Calibri" panose="020F0502020204030204" pitchFamily="34" charset="0"/>
                </a:rPr>
                <a:t>trabajadores. D.S: N° 40, Art. 21.</a:t>
              </a:r>
              <a:endParaRPr lang="es-CL" sz="1500" dirty="0">
                <a:solidFill>
                  <a:schemeClr val="bg1"/>
                </a:solidFill>
                <a:latin typeface="ACHS Nueva Sans Medium" pitchFamily="2" charset="77"/>
                <a:cs typeface="Calibri" panose="020F0502020204030204" pitchFamily="34" charset="0"/>
              </a:endParaRPr>
            </a:p>
          </p:txBody>
        </p:sp>
        <p:sp>
          <p:nvSpPr>
            <p:cNvPr id="101" name="Documento 100"/>
            <p:cNvSpPr/>
            <p:nvPr/>
          </p:nvSpPr>
          <p:spPr>
            <a:xfrm>
              <a:off x="8726575" y="2767114"/>
              <a:ext cx="2089202" cy="756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500" spc="-5" dirty="0">
                  <a:solidFill>
                    <a:schemeClr val="bg1"/>
                  </a:solidFill>
                  <a:latin typeface="ACHS Nueva Sans Medium" pitchFamily="2" charset="77"/>
                  <a:cs typeface="Calibri" panose="020F0502020204030204" pitchFamily="34" charset="0"/>
                </a:rPr>
                <a:t>Implementar</a:t>
              </a:r>
              <a:r>
                <a:rPr lang="es-CL" sz="1500" spc="-60" dirty="0">
                  <a:solidFill>
                    <a:schemeClr val="bg1"/>
                  </a:solidFill>
                  <a:latin typeface="ACHS Nueva Sans Medium" pitchFamily="2" charset="77"/>
                  <a:cs typeface="Calibri" panose="020F0502020204030204" pitchFamily="34" charset="0"/>
                </a:rPr>
                <a:t> </a:t>
              </a:r>
              <a:r>
                <a:rPr lang="es-CL" sz="1500" spc="-5" dirty="0">
                  <a:solidFill>
                    <a:schemeClr val="bg1"/>
                  </a:solidFill>
                  <a:latin typeface="ACHS Nueva Sans Medium" pitchFamily="2" charset="77"/>
                  <a:cs typeface="Calibri" panose="020F0502020204030204" pitchFamily="34" charset="0"/>
                </a:rPr>
                <a:t>SGSST -  SILICE.</a:t>
              </a:r>
              <a:endParaRPr lang="es-CL" sz="1500" dirty="0">
                <a:solidFill>
                  <a:schemeClr val="bg1"/>
                </a:solidFill>
                <a:latin typeface="ACHS Nueva Sans Medium" pitchFamily="2" charset="77"/>
                <a:cs typeface="Calibri" panose="020F0502020204030204" pitchFamily="34" charset="0"/>
              </a:endParaRPr>
            </a:p>
          </p:txBody>
        </p:sp>
        <p:sp>
          <p:nvSpPr>
            <p:cNvPr id="102" name="Documento 101"/>
            <p:cNvSpPr/>
            <p:nvPr/>
          </p:nvSpPr>
          <p:spPr>
            <a:xfrm>
              <a:off x="8728846" y="3697440"/>
              <a:ext cx="2089202" cy="756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500" spc="-5" dirty="0">
                  <a:solidFill>
                    <a:schemeClr val="bg1"/>
                  </a:solidFill>
                  <a:latin typeface="ACHS Nueva Sans Medium" pitchFamily="2" charset="77"/>
                  <a:cs typeface="Calibri" panose="020F0502020204030204" pitchFamily="34" charset="0"/>
                </a:rPr>
                <a:t>Difundir Protocolo  cada 2</a:t>
              </a:r>
              <a:r>
                <a:rPr lang="es-CL" sz="1500" spc="-85" dirty="0">
                  <a:solidFill>
                    <a:schemeClr val="bg1"/>
                  </a:solidFill>
                  <a:latin typeface="ACHS Nueva Sans Medium" pitchFamily="2" charset="77"/>
                  <a:cs typeface="Calibri" panose="020F0502020204030204" pitchFamily="34" charset="0"/>
                </a:rPr>
                <a:t> </a:t>
              </a:r>
              <a:r>
                <a:rPr lang="es-CL" sz="1500" spc="-5" dirty="0">
                  <a:solidFill>
                    <a:schemeClr val="bg1"/>
                  </a:solidFill>
                  <a:latin typeface="ACHS Nueva Sans Medium" pitchFamily="2" charset="77"/>
                  <a:cs typeface="Calibri" panose="020F0502020204030204" pitchFamily="34" charset="0"/>
                </a:rPr>
                <a:t>años.</a:t>
              </a:r>
              <a:endParaRPr lang="es-CL" sz="1500" dirty="0">
                <a:solidFill>
                  <a:schemeClr val="bg1"/>
                </a:solidFill>
                <a:latin typeface="ACHS Nueva Sans Medium" pitchFamily="2" charset="77"/>
                <a:cs typeface="Calibri" panose="020F0502020204030204" pitchFamily="34" charset="0"/>
              </a:endParaRPr>
            </a:p>
          </p:txBody>
        </p:sp>
        <p:sp>
          <p:nvSpPr>
            <p:cNvPr id="103" name="Documento 102"/>
            <p:cNvSpPr/>
            <p:nvPr/>
          </p:nvSpPr>
          <p:spPr>
            <a:xfrm>
              <a:off x="8744766" y="4573176"/>
              <a:ext cx="2089202" cy="756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500" spc="-5" dirty="0">
                  <a:solidFill>
                    <a:schemeClr val="bg1"/>
                  </a:solidFill>
                  <a:latin typeface="ACHS Nueva Sans Medium" pitchFamily="2" charset="77"/>
                  <a:cs typeface="Calibri" panose="020F0502020204030204" pitchFamily="34" charset="0"/>
                </a:rPr>
                <a:t>Entregar EPR y contar con </a:t>
              </a:r>
              <a:r>
                <a:rPr lang="es-CL" sz="1500" spc="-25" dirty="0" err="1">
                  <a:solidFill>
                    <a:schemeClr val="bg1"/>
                  </a:solidFill>
                  <a:latin typeface="ACHS Nueva Sans Medium" pitchFamily="2" charset="77"/>
                  <a:cs typeface="Calibri" panose="020F0502020204030204" pitchFamily="34" charset="0"/>
                </a:rPr>
                <a:t>Progr</a:t>
              </a:r>
              <a:r>
                <a:rPr lang="es-CL" sz="1500" spc="-25" dirty="0">
                  <a:solidFill>
                    <a:schemeClr val="bg1"/>
                  </a:solidFill>
                  <a:latin typeface="ACHS Nueva Sans Medium" pitchFamily="2" charset="77"/>
                  <a:cs typeface="Calibri" panose="020F0502020204030204" pitchFamily="34" charset="0"/>
                </a:rPr>
                <a:t>. </a:t>
              </a:r>
              <a:r>
                <a:rPr lang="es-CL" sz="1500" spc="-5" dirty="0">
                  <a:solidFill>
                    <a:schemeClr val="bg1"/>
                  </a:solidFill>
                  <a:latin typeface="ACHS Nueva Sans Medium" pitchFamily="2" charset="77"/>
                  <a:cs typeface="Calibri" panose="020F0502020204030204" pitchFamily="34" charset="0"/>
                </a:rPr>
                <a:t>PR  según </a:t>
              </a:r>
              <a:r>
                <a:rPr lang="es-CL" sz="1500" dirty="0">
                  <a:solidFill>
                    <a:schemeClr val="bg1"/>
                  </a:solidFill>
                  <a:latin typeface="ACHS Nueva Sans Medium" pitchFamily="2" charset="77"/>
                  <a:cs typeface="Calibri" panose="020F0502020204030204" pitchFamily="34" charset="0"/>
                </a:rPr>
                <a:t>Guía</a:t>
              </a:r>
              <a:r>
                <a:rPr lang="es-CL" sz="1500" spc="-80" dirty="0">
                  <a:solidFill>
                    <a:schemeClr val="bg1"/>
                  </a:solidFill>
                  <a:latin typeface="ACHS Nueva Sans Medium" pitchFamily="2" charset="77"/>
                  <a:cs typeface="Calibri" panose="020F0502020204030204" pitchFamily="34" charset="0"/>
                </a:rPr>
                <a:t> </a:t>
              </a:r>
              <a:r>
                <a:rPr lang="es-CL" sz="1500" dirty="0">
                  <a:solidFill>
                    <a:schemeClr val="bg1"/>
                  </a:solidFill>
                  <a:latin typeface="ACHS Nueva Sans Medium" pitchFamily="2" charset="77"/>
                  <a:cs typeface="Calibri" panose="020F0502020204030204" pitchFamily="34" charset="0"/>
                </a:rPr>
                <a:t>ISP</a:t>
              </a:r>
            </a:p>
          </p:txBody>
        </p:sp>
        <p:sp>
          <p:nvSpPr>
            <p:cNvPr id="105" name="Documento 104"/>
            <p:cNvSpPr/>
            <p:nvPr/>
          </p:nvSpPr>
          <p:spPr>
            <a:xfrm>
              <a:off x="8747039" y="5558091"/>
              <a:ext cx="2089202" cy="1119969"/>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500" spc="-5" dirty="0">
                  <a:solidFill>
                    <a:schemeClr val="bg1"/>
                  </a:solidFill>
                  <a:latin typeface="ACHS Nueva Sans Medium" pitchFamily="2" charset="77"/>
                  <a:cs typeface="Calibri" panose="020F0502020204030204" pitchFamily="34" charset="0"/>
                </a:rPr>
                <a:t>Informar resultado </a:t>
              </a:r>
              <a:r>
                <a:rPr lang="es-CL" sz="1500" dirty="0">
                  <a:solidFill>
                    <a:schemeClr val="bg1"/>
                  </a:solidFill>
                  <a:latin typeface="ACHS Nueva Sans Medium" pitchFamily="2" charset="77"/>
                  <a:cs typeface="Calibri" panose="020F0502020204030204" pitchFamily="34" charset="0"/>
                </a:rPr>
                <a:t>de evaluaciones ambientales a CPHS., trabajadores y d</a:t>
              </a:r>
              <a:r>
                <a:rPr lang="es-CL" sz="1500" spc="-10" dirty="0">
                  <a:solidFill>
                    <a:schemeClr val="bg1"/>
                  </a:solidFill>
                  <a:latin typeface="ACHS Nueva Sans Medium" pitchFamily="2" charset="77"/>
                  <a:cs typeface="Calibri" panose="020F0502020204030204" pitchFamily="34" charset="0"/>
                </a:rPr>
                <a:t>irigentes </a:t>
              </a:r>
              <a:r>
                <a:rPr lang="es-CL" sz="1500" spc="-5" dirty="0">
                  <a:solidFill>
                    <a:schemeClr val="bg1"/>
                  </a:solidFill>
                  <a:latin typeface="ACHS Nueva Sans Medium" pitchFamily="2" charset="77"/>
                  <a:cs typeface="Calibri" panose="020F0502020204030204" pitchFamily="34" charset="0"/>
                </a:rPr>
                <a:t>sindicales.</a:t>
              </a:r>
              <a:endParaRPr lang="es-CL" sz="1500" dirty="0">
                <a:solidFill>
                  <a:schemeClr val="bg1"/>
                </a:solidFill>
                <a:latin typeface="ACHS Nueva Sans Medium" pitchFamily="2" charset="77"/>
                <a:cs typeface="Calibri" panose="020F0502020204030204" pitchFamily="34" charset="0"/>
              </a:endParaRPr>
            </a:p>
          </p:txBody>
        </p:sp>
        <p:sp>
          <p:nvSpPr>
            <p:cNvPr id="106" name="CuadroTexto 105"/>
            <p:cNvSpPr txBox="1"/>
            <p:nvPr/>
          </p:nvSpPr>
          <p:spPr>
            <a:xfrm>
              <a:off x="2156343" y="4910232"/>
              <a:ext cx="432000" cy="253456"/>
            </a:xfrm>
            <a:prstGeom prst="rect">
              <a:avLst/>
            </a:prstGeom>
            <a:noFill/>
          </p:spPr>
          <p:txBody>
            <a:bodyPr wrap="square" rtlCol="0">
              <a:spAutoFit/>
            </a:bodyPr>
            <a:lstStyle/>
            <a:p>
              <a:pPr algn="ctr"/>
              <a:r>
                <a:rPr lang="es-CL" sz="1200" b="1" dirty="0">
                  <a:latin typeface="ACHS Nueva Sans SemiBold" pitchFamily="2" charset="77"/>
                  <a:cs typeface="Calibri" panose="020F0502020204030204" pitchFamily="34" charset="0"/>
                </a:rPr>
                <a:t>NO</a:t>
              </a:r>
            </a:p>
          </p:txBody>
        </p:sp>
        <p:sp>
          <p:nvSpPr>
            <p:cNvPr id="107" name="CuadroTexto 106"/>
            <p:cNvSpPr txBox="1"/>
            <p:nvPr/>
          </p:nvSpPr>
          <p:spPr>
            <a:xfrm>
              <a:off x="2971366" y="4260406"/>
              <a:ext cx="432000" cy="253456"/>
            </a:xfrm>
            <a:prstGeom prst="rect">
              <a:avLst/>
            </a:prstGeom>
            <a:noFill/>
          </p:spPr>
          <p:txBody>
            <a:bodyPr wrap="square" rtlCol="0">
              <a:spAutoFit/>
            </a:bodyPr>
            <a:lstStyle/>
            <a:p>
              <a:pPr algn="ctr"/>
              <a:r>
                <a:rPr lang="es-CL" sz="1200" b="1" dirty="0">
                  <a:latin typeface="ACHS Nueva Sans SemiBold" pitchFamily="2" charset="77"/>
                  <a:cs typeface="Calibri" panose="020F0502020204030204" pitchFamily="34" charset="0"/>
                </a:rPr>
                <a:t>SI</a:t>
              </a:r>
            </a:p>
          </p:txBody>
        </p:sp>
        <p:sp>
          <p:nvSpPr>
            <p:cNvPr id="108" name="CuadroTexto 107"/>
            <p:cNvSpPr txBox="1"/>
            <p:nvPr/>
          </p:nvSpPr>
          <p:spPr>
            <a:xfrm>
              <a:off x="4931987" y="4795304"/>
              <a:ext cx="432000" cy="253456"/>
            </a:xfrm>
            <a:prstGeom prst="rect">
              <a:avLst/>
            </a:prstGeom>
            <a:noFill/>
          </p:spPr>
          <p:txBody>
            <a:bodyPr wrap="square" rtlCol="0">
              <a:spAutoFit/>
            </a:bodyPr>
            <a:lstStyle/>
            <a:p>
              <a:pPr algn="ctr"/>
              <a:r>
                <a:rPr lang="es-CL" sz="1200" b="1" dirty="0">
                  <a:latin typeface="ACHS Nueva Sans SemiBold" pitchFamily="2" charset="77"/>
                  <a:cs typeface="Calibri" panose="020F0502020204030204" pitchFamily="34" charset="0"/>
                </a:rPr>
                <a:t>NO</a:t>
              </a:r>
            </a:p>
          </p:txBody>
        </p:sp>
        <p:sp>
          <p:nvSpPr>
            <p:cNvPr id="109" name="CuadroTexto 108"/>
            <p:cNvSpPr txBox="1"/>
            <p:nvPr/>
          </p:nvSpPr>
          <p:spPr>
            <a:xfrm>
              <a:off x="6058727" y="3815713"/>
              <a:ext cx="432000" cy="253456"/>
            </a:xfrm>
            <a:prstGeom prst="rect">
              <a:avLst/>
            </a:prstGeom>
            <a:noFill/>
          </p:spPr>
          <p:txBody>
            <a:bodyPr wrap="square" rtlCol="0">
              <a:spAutoFit/>
            </a:bodyPr>
            <a:lstStyle/>
            <a:p>
              <a:pPr algn="ctr"/>
              <a:r>
                <a:rPr lang="es-CL" sz="1200" b="1" dirty="0">
                  <a:latin typeface="ACHS Nueva Sans SemiBold" pitchFamily="2" charset="77"/>
                  <a:cs typeface="Calibri" panose="020F0502020204030204" pitchFamily="34" charset="0"/>
                </a:rPr>
                <a:t>SI</a:t>
              </a:r>
            </a:p>
          </p:txBody>
        </p:sp>
        <p:sp>
          <p:nvSpPr>
            <p:cNvPr id="110" name="CuadroTexto 109"/>
            <p:cNvSpPr txBox="1"/>
            <p:nvPr/>
          </p:nvSpPr>
          <p:spPr>
            <a:xfrm>
              <a:off x="5803326" y="2111597"/>
              <a:ext cx="432000" cy="253456"/>
            </a:xfrm>
            <a:prstGeom prst="rect">
              <a:avLst/>
            </a:prstGeom>
            <a:noFill/>
          </p:spPr>
          <p:txBody>
            <a:bodyPr wrap="square" rtlCol="0">
              <a:spAutoFit/>
            </a:bodyPr>
            <a:lstStyle/>
            <a:p>
              <a:pPr algn="ctr"/>
              <a:r>
                <a:rPr lang="es-CL" sz="1200" b="1" dirty="0">
                  <a:latin typeface="ACHS Nueva Sans SemiBold" pitchFamily="2" charset="77"/>
                  <a:cs typeface="Calibri" panose="020F0502020204030204" pitchFamily="34" charset="0"/>
                </a:rPr>
                <a:t>SI</a:t>
              </a:r>
            </a:p>
          </p:txBody>
        </p:sp>
        <p:sp>
          <p:nvSpPr>
            <p:cNvPr id="86" name="CuadroTexto 85"/>
            <p:cNvSpPr txBox="1"/>
            <p:nvPr/>
          </p:nvSpPr>
          <p:spPr>
            <a:xfrm>
              <a:off x="3931326" y="743853"/>
              <a:ext cx="1872000" cy="488951"/>
            </a:xfrm>
            <a:prstGeom prst="rect">
              <a:avLst/>
            </a:prstGeom>
            <a:solidFill>
              <a:srgbClr val="EAEADE"/>
            </a:solidFill>
            <a:ln>
              <a:solidFill>
                <a:schemeClr val="accent1">
                  <a:alpha val="0"/>
                </a:schemeClr>
              </a:solidFill>
            </a:ln>
          </p:spPr>
          <p:txBody>
            <a:bodyPr wrap="square" lIns="36000" tIns="36000" rIns="36000" bIns="36000" rtlCol="0" anchor="ctr">
              <a:spAutoFit/>
            </a:bodyPr>
            <a:lstStyle/>
            <a:p>
              <a:pPr algn="ctr"/>
              <a:r>
                <a:rPr lang="es-CL" sz="1500" spc="-20" dirty="0">
                  <a:latin typeface="ACHS Nueva Sans Medium" pitchFamily="2" charset="77"/>
                  <a:cs typeface="Calibri" panose="020F0502020204030204" pitchFamily="34" charset="0"/>
                </a:rPr>
                <a:t>Efectuar evaluación cualitativa.</a:t>
              </a:r>
              <a:endParaRPr lang="es-CL" sz="1500" dirty="0">
                <a:latin typeface="ACHS Nueva Sans Medium" pitchFamily="2" charset="77"/>
                <a:cs typeface="Calibri" panose="020F0502020204030204" pitchFamily="34" charset="0"/>
              </a:endParaRPr>
            </a:p>
          </p:txBody>
        </p:sp>
        <p:sp>
          <p:nvSpPr>
            <p:cNvPr id="81" name="Decisión 80"/>
            <p:cNvSpPr/>
            <p:nvPr/>
          </p:nvSpPr>
          <p:spPr>
            <a:xfrm>
              <a:off x="1287976" y="3637349"/>
              <a:ext cx="1714090" cy="1224117"/>
            </a:xfrm>
            <a:prstGeom prst="rect">
              <a:avLst/>
            </a:prstGeom>
            <a:solidFill>
              <a:srgbClr val="EAEADE"/>
            </a:solidFill>
            <a:ln>
              <a:solidFill>
                <a:schemeClr val="accent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CL" sz="1500" dirty="0">
                  <a:solidFill>
                    <a:schemeClr val="tx1"/>
                  </a:solidFill>
                  <a:latin typeface="ACHS Nueva Sans Medium" pitchFamily="2" charset="77"/>
                  <a:cs typeface="Calibri" panose="020F0502020204030204" pitchFamily="34" charset="0"/>
                </a:rPr>
                <a:t>Existe  </a:t>
              </a:r>
              <a:r>
                <a:rPr lang="es-CL" sz="1500" spc="-5" dirty="0">
                  <a:solidFill>
                    <a:schemeClr val="tx1"/>
                  </a:solidFill>
                  <a:latin typeface="ACHS Nueva Sans Medium" pitchFamily="2" charset="77"/>
                  <a:cs typeface="Calibri" panose="020F0502020204030204" pitchFamily="34" charset="0"/>
                </a:rPr>
                <a:t>pr</a:t>
              </a:r>
              <a:r>
                <a:rPr lang="es-CL" sz="1500" dirty="0">
                  <a:solidFill>
                    <a:schemeClr val="tx1"/>
                  </a:solidFill>
                  <a:latin typeface="ACHS Nueva Sans Medium" pitchFamily="2" charset="77"/>
                  <a:cs typeface="Calibri" panose="020F0502020204030204" pitchFamily="34" charset="0"/>
                </a:rPr>
                <a:t>e</a:t>
              </a:r>
              <a:r>
                <a:rPr lang="es-CL" sz="1500" spc="-10" dirty="0">
                  <a:solidFill>
                    <a:schemeClr val="tx1"/>
                  </a:solidFill>
                  <a:latin typeface="ACHS Nueva Sans Medium" pitchFamily="2" charset="77"/>
                  <a:cs typeface="Calibri" panose="020F0502020204030204" pitchFamily="34" charset="0"/>
                </a:rPr>
                <a:t>s</a:t>
              </a:r>
              <a:r>
                <a:rPr lang="es-CL" sz="1500" dirty="0">
                  <a:solidFill>
                    <a:schemeClr val="tx1"/>
                  </a:solidFill>
                  <a:latin typeface="ACHS Nueva Sans Medium" pitchFamily="2" charset="77"/>
                  <a:cs typeface="Calibri" panose="020F0502020204030204" pitchFamily="34" charset="0"/>
                </a:rPr>
                <a:t>encia  </a:t>
              </a:r>
              <a:r>
                <a:rPr lang="es-CL" sz="1500" spc="-5" dirty="0">
                  <a:solidFill>
                    <a:schemeClr val="tx1"/>
                  </a:solidFill>
                  <a:latin typeface="ACHS Nueva Sans Medium" pitchFamily="2" charset="77"/>
                  <a:cs typeface="Calibri" panose="020F0502020204030204" pitchFamily="34" charset="0"/>
                </a:rPr>
                <a:t>de</a:t>
              </a:r>
              <a:r>
                <a:rPr lang="es-CL" sz="1500" spc="-95" dirty="0">
                  <a:solidFill>
                    <a:schemeClr val="tx1"/>
                  </a:solidFill>
                  <a:latin typeface="ACHS Nueva Sans Medium" pitchFamily="2" charset="77"/>
                  <a:cs typeface="Calibri" panose="020F0502020204030204" pitchFamily="34" charset="0"/>
                </a:rPr>
                <a:t> </a:t>
              </a:r>
              <a:r>
                <a:rPr lang="es-CL" sz="1500" spc="-5" dirty="0">
                  <a:solidFill>
                    <a:schemeClr val="tx1"/>
                  </a:solidFill>
                  <a:latin typeface="ACHS Nueva Sans Medium" pitchFamily="2" charset="77"/>
                  <a:cs typeface="Calibri" panose="020F0502020204030204" pitchFamily="34" charset="0"/>
                </a:rPr>
                <a:t>SiO2</a:t>
              </a:r>
              <a:endParaRPr lang="es-CL" sz="1500" dirty="0">
                <a:solidFill>
                  <a:schemeClr val="tx1"/>
                </a:solidFill>
                <a:latin typeface="ACHS Nueva Sans Medium" pitchFamily="2" charset="77"/>
                <a:cs typeface="Calibri" panose="020F0502020204030204" pitchFamily="34" charset="0"/>
              </a:endParaRPr>
            </a:p>
          </p:txBody>
        </p:sp>
      </p:grpSp>
      <p:sp>
        <p:nvSpPr>
          <p:cNvPr id="112" name="object 2"/>
          <p:cNvSpPr txBox="1"/>
          <p:nvPr/>
        </p:nvSpPr>
        <p:spPr>
          <a:xfrm>
            <a:off x="4284442" y="757307"/>
            <a:ext cx="6840905" cy="430887"/>
          </a:xfrm>
          <a:prstGeom prst="rect">
            <a:avLst/>
          </a:prstGeom>
        </p:spPr>
        <p:txBody>
          <a:bodyPr vert="horz" wrap="square" lIns="0" tIns="0" rIns="0" bIns="0" rtlCol="0">
            <a:spAutoFit/>
          </a:bodyPr>
          <a:lstStyle/>
          <a:p>
            <a:pPr marL="12700">
              <a:lnSpc>
                <a:spcPct val="100000"/>
              </a:lnSpc>
              <a:tabLst>
                <a:tab pos="354965" algn="l"/>
                <a:tab pos="355600" algn="l"/>
              </a:tabLst>
            </a:pPr>
            <a:r>
              <a:rPr lang="es-CL" b="1" u="sng" dirty="0">
                <a:solidFill>
                  <a:srgbClr val="195A28"/>
                </a:solidFill>
                <a:latin typeface="ACHS Nueva Sans SemiBold" pitchFamily="2" charset="77"/>
                <a:cs typeface="Calibri" panose="020F0502020204030204" pitchFamily="34" charset="0"/>
              </a:rPr>
              <a:t>Flujo empresas rubro construcción:</a:t>
            </a:r>
          </a:p>
        </p:txBody>
      </p:sp>
      <p:sp>
        <p:nvSpPr>
          <p:cNvPr id="43" name="Rectángulo 3">
            <a:extLst>
              <a:ext uri="{FF2B5EF4-FFF2-40B4-BE49-F238E27FC236}">
                <a16:creationId xmlns:a16="http://schemas.microsoft.com/office/drawing/2014/main" xmlns="" id="{D509744C-64E7-8A49-9930-6EB11EC9561F}"/>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cxnSp>
        <p:nvCxnSpPr>
          <p:cNvPr id="44" name="Conector recto 6">
            <a:extLst>
              <a:ext uri="{FF2B5EF4-FFF2-40B4-BE49-F238E27FC236}">
                <a16:creationId xmlns:a16="http://schemas.microsoft.com/office/drawing/2014/main" xmlns="" id="{0DA47D3D-D513-4044-82AE-646BB4C68718}"/>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45" name="Rectangle 44">
            <a:extLst>
              <a:ext uri="{FF2B5EF4-FFF2-40B4-BE49-F238E27FC236}">
                <a16:creationId xmlns:a16="http://schemas.microsoft.com/office/drawing/2014/main" xmlns="" id="{75341184-68FA-9B4C-A382-00E95158CF0C}"/>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46" name="Rectangle 4">
            <a:extLst>
              <a:ext uri="{FF2B5EF4-FFF2-40B4-BE49-F238E27FC236}">
                <a16:creationId xmlns:a16="http://schemas.microsoft.com/office/drawing/2014/main" xmlns="" id="{31FD7DCE-C8EA-D642-B769-842B630ED0BC}"/>
              </a:ext>
            </a:extLst>
          </p:cNvPr>
          <p:cNvSpPr/>
          <p:nvPr/>
        </p:nvSpPr>
        <p:spPr>
          <a:xfrm>
            <a:off x="396157" y="2268314"/>
            <a:ext cx="3312368" cy="1107996"/>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Evaluación cualitativa:</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47" name="Rectangle 46">
            <a:extLst>
              <a:ext uri="{FF2B5EF4-FFF2-40B4-BE49-F238E27FC236}">
                <a16:creationId xmlns:a16="http://schemas.microsoft.com/office/drawing/2014/main" xmlns="" id="{B3AE1C5A-9645-4B4B-AC0B-5441A3105A14}"/>
              </a:ext>
            </a:extLst>
          </p:cNvPr>
          <p:cNvSpPr/>
          <p:nvPr/>
        </p:nvSpPr>
        <p:spPr>
          <a:xfrm>
            <a:off x="740817" y="684138"/>
            <a:ext cx="3528000" cy="861774"/>
          </a:xfrm>
          <a:prstGeom prst="rect">
            <a:avLst/>
          </a:prstGeom>
        </p:spPr>
        <p:txBody>
          <a:bodyPr wrap="square">
            <a:spAutoFit/>
          </a:bodyPr>
          <a:lstStyle/>
          <a:p>
            <a:r>
              <a:rPr lang="es-CL" sz="2500" dirty="0">
                <a:solidFill>
                  <a:schemeClr val="bg1"/>
                </a:solidFill>
                <a:latin typeface="ACHS Nueva Sans Medium" pitchFamily="2" charset="77"/>
                <a:cs typeface="Catamaran SemiBold" panose="00000700000000000000" pitchFamily="2" charset="0"/>
              </a:rPr>
              <a:t>Vigilancia </a:t>
            </a:r>
          </a:p>
          <a:p>
            <a:r>
              <a:rPr lang="es-CL" sz="2500" dirty="0">
                <a:solidFill>
                  <a:schemeClr val="bg1"/>
                </a:solidFill>
                <a:latin typeface="ACHS Nueva Sans Medium" pitchFamily="2" charset="77"/>
                <a:cs typeface="Catamaran SemiBold" panose="00000700000000000000" pitchFamily="2" charset="0"/>
              </a:rPr>
              <a:t>ambiental</a:t>
            </a:r>
          </a:p>
        </p:txBody>
      </p:sp>
      <p:pic>
        <p:nvPicPr>
          <p:cNvPr id="49" name="Imagen 5">
            <a:extLst>
              <a:ext uri="{FF2B5EF4-FFF2-40B4-BE49-F238E27FC236}">
                <a16:creationId xmlns:a16="http://schemas.microsoft.com/office/drawing/2014/main" xmlns="" id="{FF5B1ED8-68EE-2D46-96CF-10C9C0CDB0A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spTree>
    <p:custDataLst>
      <p:tags r:id="rId1"/>
    </p:custDataLst>
    <p:extLst>
      <p:ext uri="{BB962C8B-B14F-4D97-AF65-F5344CB8AC3E}">
        <p14:creationId xmlns:p14="http://schemas.microsoft.com/office/powerpoint/2010/main" val="32591786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396157" y="2268314"/>
            <a:ext cx="3312368" cy="1446550"/>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Evaluación cuantitativa:</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5" name="Rectangle 14">
            <a:extLst>
              <a:ext uri="{FF2B5EF4-FFF2-40B4-BE49-F238E27FC236}">
                <a16:creationId xmlns:a16="http://schemas.microsoft.com/office/drawing/2014/main" xmlns="" id="{06B89C83-39AD-3946-842C-9259D6923F56}"/>
              </a:ext>
            </a:extLst>
          </p:cNvPr>
          <p:cNvSpPr/>
          <p:nvPr/>
        </p:nvSpPr>
        <p:spPr>
          <a:xfrm>
            <a:off x="740817" y="684138"/>
            <a:ext cx="3975820" cy="461665"/>
          </a:xfrm>
          <a:prstGeom prst="rect">
            <a:avLst/>
          </a:prstGeom>
        </p:spPr>
        <p:txBody>
          <a:bodyPr wrap="square">
            <a:spAutoFit/>
          </a:bodyPr>
          <a:lstStyle/>
          <a:p>
            <a:r>
              <a:rPr lang="es-CL" sz="2400" dirty="0">
                <a:solidFill>
                  <a:schemeClr val="bg1"/>
                </a:solidFill>
                <a:latin typeface="ACHS Nueva Sans Medium" pitchFamily="2" charset="77"/>
                <a:cs typeface="Catamaran SemiBold" panose="00000700000000000000" pitchFamily="2" charset="0"/>
              </a:rPr>
              <a:t>Vigilancia ambiental</a:t>
            </a:r>
          </a:p>
        </p:txBody>
      </p:sp>
      <p:sp>
        <p:nvSpPr>
          <p:cNvPr id="9" name="Rectangle 3">
            <a:extLst>
              <a:ext uri="{FF2B5EF4-FFF2-40B4-BE49-F238E27FC236}">
                <a16:creationId xmlns:a16="http://schemas.microsoft.com/office/drawing/2014/main" xmlns="" id="{E4029A7A-B2A8-F04F-ADCB-1DBC5F05CCBD}"/>
              </a:ext>
            </a:extLst>
          </p:cNvPr>
          <p:cNvSpPr/>
          <p:nvPr/>
        </p:nvSpPr>
        <p:spPr>
          <a:xfrm>
            <a:off x="4716637" y="2052290"/>
            <a:ext cx="9793087" cy="1631216"/>
          </a:xfrm>
          <a:prstGeom prst="rect">
            <a:avLst/>
          </a:prstGeom>
        </p:spPr>
        <p:txBody>
          <a:bodyPr wrap="square">
            <a:spAutoFit/>
          </a:bodyPr>
          <a:lstStyle/>
          <a:p>
            <a:pPr marR="5080">
              <a:lnSpc>
                <a:spcPct val="100000"/>
              </a:lnSpc>
            </a:pPr>
            <a:r>
              <a:rPr lang="es-CL" sz="2000" dirty="0">
                <a:latin typeface="ACHS Nueva Sans Medium" pitchFamily="2" charset="77"/>
                <a:cs typeface="Catamaran Light" panose="00000400000000000000" pitchFamily="2" charset="0"/>
              </a:rPr>
              <a:t>Se realiza utilizando un tren de muestreo, constituido por bomba de aspiración portátil, un cabezal de muestreo (ciclón y portafiltro) y manguera que conecta ambos dispositivos. El aire aspirado por la bomba al pasar por el ciclón induce la separación de tamaño de las partículas transportadas, quedando retenidas en el filtro aquellas de  tamaño respirable.</a:t>
            </a:r>
          </a:p>
        </p:txBody>
      </p:sp>
      <p:sp>
        <p:nvSpPr>
          <p:cNvPr id="10" name="object 4">
            <a:extLst>
              <a:ext uri="{FF2B5EF4-FFF2-40B4-BE49-F238E27FC236}">
                <a16:creationId xmlns:a16="http://schemas.microsoft.com/office/drawing/2014/main" xmlns="" id="{D7F2AE85-FECC-CB4A-AA29-CC4758E72B7B}"/>
              </a:ext>
            </a:extLst>
          </p:cNvPr>
          <p:cNvSpPr/>
          <p:nvPr/>
        </p:nvSpPr>
        <p:spPr>
          <a:xfrm>
            <a:off x="5871745" y="4140522"/>
            <a:ext cx="3240000" cy="3240000"/>
          </a:xfrm>
          <a:prstGeom prst="rect">
            <a:avLst/>
          </a:prstGeom>
          <a:blipFill>
            <a:blip r:embed="rId4" cstate="print"/>
            <a:stretch>
              <a:fillRect/>
            </a:stretch>
          </a:blipFill>
        </p:spPr>
        <p:txBody>
          <a:bodyPr wrap="square" lIns="0" tIns="0" rIns="0" bIns="0" rtlCol="0"/>
          <a:lstStyle/>
          <a:p>
            <a:endParaRPr/>
          </a:p>
        </p:txBody>
      </p:sp>
      <p:sp>
        <p:nvSpPr>
          <p:cNvPr id="12" name="object 5">
            <a:extLst>
              <a:ext uri="{FF2B5EF4-FFF2-40B4-BE49-F238E27FC236}">
                <a16:creationId xmlns:a16="http://schemas.microsoft.com/office/drawing/2014/main" xmlns="" id="{BB878F41-9C60-6B4A-A05B-108F2F822C6D}"/>
              </a:ext>
            </a:extLst>
          </p:cNvPr>
          <p:cNvSpPr/>
          <p:nvPr/>
        </p:nvSpPr>
        <p:spPr>
          <a:xfrm>
            <a:off x="10117236" y="4140522"/>
            <a:ext cx="3315349" cy="3240000"/>
          </a:xfrm>
          <a:prstGeom prst="rect">
            <a:avLst/>
          </a:prstGeom>
          <a:blipFill>
            <a:blip r:embed="rId5" cstate="screen">
              <a:extLst>
                <a:ext uri="{28A0092B-C50C-407E-A947-70E740481C1C}">
                  <a14:useLocalDpi xmlns:a14="http://schemas.microsoft.com/office/drawing/2010/main"/>
                </a:ext>
              </a:extLst>
            </a:blip>
            <a:stretch>
              <a:fillRect l="1"/>
            </a:stretch>
          </a:blipFill>
        </p:spPr>
        <p:txBody>
          <a:bodyPr wrap="square" lIns="0" tIns="0" rIns="0" bIns="0" rtlCol="0"/>
          <a:lstStyle/>
          <a:p>
            <a:endParaRPr/>
          </a:p>
        </p:txBody>
      </p:sp>
    </p:spTree>
    <p:custDataLst>
      <p:tags r:id="rId1"/>
    </p:custDataLst>
    <p:extLst>
      <p:ext uri="{BB962C8B-B14F-4D97-AF65-F5344CB8AC3E}">
        <p14:creationId xmlns:p14="http://schemas.microsoft.com/office/powerpoint/2010/main" val="8909819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ambiental</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396156" y="2268314"/>
            <a:ext cx="3456383" cy="1446550"/>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Evaluación cuantitativa de exposición:</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0" name="Rectangle 3">
            <a:extLst>
              <a:ext uri="{FF2B5EF4-FFF2-40B4-BE49-F238E27FC236}">
                <a16:creationId xmlns:a16="http://schemas.microsoft.com/office/drawing/2014/main" xmlns="" id="{50988A7F-59A8-0F40-886C-624E965964E4}"/>
              </a:ext>
            </a:extLst>
          </p:cNvPr>
          <p:cNvSpPr/>
          <p:nvPr/>
        </p:nvSpPr>
        <p:spPr>
          <a:xfrm>
            <a:off x="4638349" y="2383865"/>
            <a:ext cx="5913731" cy="4708981"/>
          </a:xfrm>
          <a:prstGeom prst="rect">
            <a:avLst/>
          </a:prstGeom>
        </p:spPr>
        <p:txBody>
          <a:bodyPr wrap="square">
            <a:spAutoFit/>
          </a:bodyPr>
          <a:lstStyle/>
          <a:p>
            <a:pPr marL="12700" algn="just">
              <a:lnSpc>
                <a:spcPct val="100000"/>
              </a:lnSpc>
            </a:pPr>
            <a:r>
              <a:rPr lang="es-CL" sz="2000" b="1" dirty="0">
                <a:solidFill>
                  <a:srgbClr val="15C047"/>
                </a:solidFill>
                <a:latin typeface="ACHS Nueva Sans SemiBold" pitchFamily="2" charset="77"/>
                <a:cs typeface="Calibri" panose="020F0502020204030204" pitchFamily="34" charset="0"/>
              </a:rPr>
              <a:t>Sistema de Monitoreo de Sílice:</a:t>
            </a:r>
          </a:p>
          <a:p>
            <a:pPr algn="just">
              <a:lnSpc>
                <a:spcPct val="100000"/>
              </a:lnSpc>
              <a:spcBef>
                <a:spcPts val="20"/>
              </a:spcBef>
            </a:pPr>
            <a:endParaRPr lang="es-CL" sz="2000" dirty="0">
              <a:latin typeface="ACHS Nueva Sans Medium" pitchFamily="2" charset="77"/>
              <a:cs typeface="Calibri" panose="020F0502020204030204" pitchFamily="34" charset="0"/>
            </a:endParaRPr>
          </a:p>
          <a:p>
            <a:pPr marL="298450" marR="135890" indent="-285750">
              <a:lnSpc>
                <a:spcPct val="100000"/>
              </a:lnSpc>
              <a:buClr>
                <a:srgbClr val="15C047"/>
              </a:buClr>
              <a:buFont typeface="Arial" panose="020B0604020202020204" pitchFamily="34" charset="0"/>
              <a:buChar char="•"/>
              <a:tabLst>
                <a:tab pos="299720" algn="l"/>
              </a:tabLst>
            </a:pPr>
            <a:r>
              <a:rPr lang="es-CL" sz="2000" dirty="0">
                <a:latin typeface="ACHS Nueva Sans Medium" pitchFamily="2" charset="77"/>
                <a:cs typeface="Calibri" panose="020F0502020204030204" pitchFamily="34" charset="0"/>
              </a:rPr>
              <a:t>La toma de muestra se realiza utilizando la bomba  de aspiración calibrada y un filtro que retiene las  partículas que contienen sílice.</a:t>
            </a:r>
          </a:p>
          <a:p>
            <a:pPr>
              <a:lnSpc>
                <a:spcPct val="100000"/>
              </a:lnSpc>
              <a:spcBef>
                <a:spcPts val="25"/>
              </a:spcBef>
              <a:buClr>
                <a:srgbClr val="15C047"/>
              </a:buClr>
              <a:buFont typeface="Wingdings"/>
              <a:buChar char=""/>
            </a:pPr>
            <a:endParaRPr lang="es-CL" sz="2000" dirty="0">
              <a:latin typeface="ACHS Nueva Sans Medium" pitchFamily="2" charset="77"/>
              <a:cs typeface="Calibri" panose="020F0502020204030204" pitchFamily="34" charset="0"/>
            </a:endParaRPr>
          </a:p>
          <a:p>
            <a:pPr marL="298450" marR="593725" indent="-285750">
              <a:lnSpc>
                <a:spcPct val="100000"/>
              </a:lnSpc>
              <a:buClr>
                <a:srgbClr val="15C047"/>
              </a:buClr>
              <a:buFont typeface="Arial" panose="020B0604020202020204" pitchFamily="34" charset="0"/>
              <a:buChar char="•"/>
              <a:tabLst>
                <a:tab pos="299720" algn="l"/>
              </a:tabLst>
            </a:pPr>
            <a:r>
              <a:rPr lang="es-CL" sz="2000" dirty="0">
                <a:latin typeface="ACHS Nueva Sans Medium" pitchFamily="2" charset="77"/>
                <a:cs typeface="Calibri" panose="020F0502020204030204" pitchFamily="34" charset="0"/>
              </a:rPr>
              <a:t>El tren de muestreo se prepara y utiliza de  acuerdo a lo establecido en Protocolo del  ISP.</a:t>
            </a:r>
          </a:p>
          <a:p>
            <a:pPr>
              <a:lnSpc>
                <a:spcPct val="100000"/>
              </a:lnSpc>
              <a:spcBef>
                <a:spcPts val="20"/>
              </a:spcBef>
              <a:buClr>
                <a:srgbClr val="15C047"/>
              </a:buClr>
              <a:buFont typeface="Wingdings"/>
              <a:buChar char=""/>
            </a:pPr>
            <a:endParaRPr lang="es-CL" sz="2000" dirty="0">
              <a:latin typeface="ACHS Nueva Sans Medium" pitchFamily="2" charset="77"/>
              <a:cs typeface="Calibri" panose="020F0502020204030204" pitchFamily="34" charset="0"/>
            </a:endParaRPr>
          </a:p>
          <a:p>
            <a:pPr marL="298450" marR="5080" indent="-285750">
              <a:lnSpc>
                <a:spcPct val="100000"/>
              </a:lnSpc>
              <a:buClr>
                <a:srgbClr val="15C047"/>
              </a:buClr>
              <a:buFont typeface="Arial" panose="020B0604020202020204" pitchFamily="34" charset="0"/>
              <a:buChar char="•"/>
              <a:tabLst>
                <a:tab pos="299720" algn="l"/>
              </a:tabLst>
            </a:pPr>
            <a:r>
              <a:rPr lang="es-CL" sz="2000" dirty="0">
                <a:latin typeface="ACHS Nueva Sans Medium" pitchFamily="2" charset="77"/>
                <a:cs typeface="Calibri" panose="020F0502020204030204" pitchFamily="34" charset="0"/>
              </a:rPr>
              <a:t>Para efectos de verificar el cumplimiento del LPP, se  considerará como representativa la muestra si el  período de muestreo alcanza, al menos, el 70% de  la jornada de trabajo.</a:t>
            </a:r>
          </a:p>
        </p:txBody>
      </p:sp>
      <p:sp>
        <p:nvSpPr>
          <p:cNvPr id="12" name="object 6">
            <a:extLst>
              <a:ext uri="{FF2B5EF4-FFF2-40B4-BE49-F238E27FC236}">
                <a16:creationId xmlns:a16="http://schemas.microsoft.com/office/drawing/2014/main" xmlns="" id="{5A0E45A7-E7D0-FF4D-9909-0883F20726B3}"/>
              </a:ext>
            </a:extLst>
          </p:cNvPr>
          <p:cNvSpPr/>
          <p:nvPr/>
        </p:nvSpPr>
        <p:spPr>
          <a:xfrm>
            <a:off x="11232385" y="2268314"/>
            <a:ext cx="4248472" cy="4940084"/>
          </a:xfrm>
          <a:prstGeom prst="rect">
            <a:avLst/>
          </a:prstGeom>
          <a:blipFill>
            <a:blip r:embed="rId4" cstate="print"/>
            <a:stretch>
              <a:fillRect/>
            </a:stretch>
          </a:blipFill>
        </p:spPr>
        <p:txBody>
          <a:bodyPr wrap="square" lIns="0" tIns="0" rIns="0" bIns="0" rtlCol="0"/>
          <a:lstStyle/>
          <a:p>
            <a:endParaRPr/>
          </a:p>
        </p:txBody>
      </p:sp>
    </p:spTree>
    <p:custDataLst>
      <p:tags r:id="rId1"/>
    </p:custDataLst>
    <p:extLst>
      <p:ext uri="{BB962C8B-B14F-4D97-AF65-F5344CB8AC3E}">
        <p14:creationId xmlns:p14="http://schemas.microsoft.com/office/powerpoint/2010/main" val="15527219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3249506"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ambiental</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396156" y="2268314"/>
            <a:ext cx="3456383"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Trabajador expuesto a Sílice para efecto de vigilancia de la salud:</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1" name="Rectangle 3">
            <a:extLst>
              <a:ext uri="{FF2B5EF4-FFF2-40B4-BE49-F238E27FC236}">
                <a16:creationId xmlns:a16="http://schemas.microsoft.com/office/drawing/2014/main" xmlns="" id="{729332F5-4CEE-7B43-B77C-0377A4633ECB}"/>
              </a:ext>
            </a:extLst>
          </p:cNvPr>
          <p:cNvSpPr/>
          <p:nvPr/>
        </p:nvSpPr>
        <p:spPr>
          <a:xfrm>
            <a:off x="5162293" y="1951242"/>
            <a:ext cx="9505055" cy="1323439"/>
          </a:xfrm>
          <a:prstGeom prst="rect">
            <a:avLst/>
          </a:prstGeom>
        </p:spPr>
        <p:txBody>
          <a:bodyPr wrap="square">
            <a:spAutoFit/>
          </a:bodyPr>
          <a:lstStyle/>
          <a:p>
            <a:pPr marL="12700" marR="5080">
              <a:lnSpc>
                <a:spcPct val="100000"/>
              </a:lnSpc>
            </a:pPr>
            <a:r>
              <a:rPr lang="es-CL" sz="2000" dirty="0">
                <a:latin typeface="ACHS Nueva Sans Medium" pitchFamily="2" charset="77"/>
                <a:cs typeface="Calibri" panose="020F0502020204030204" pitchFamily="34" charset="0"/>
              </a:rPr>
              <a:t>Cuando Existe una Evaluación Cuantitativa de la Exposición: Expuesto es todo trabajador que se desempeñe en un ambiente de trabajo cuya concentración promedio ponderada, producto de muestreo personal representativo, sea igual o superior al  50% del LPP de la sílice.</a:t>
            </a:r>
          </a:p>
        </p:txBody>
      </p:sp>
      <p:sp>
        <p:nvSpPr>
          <p:cNvPr id="15" name="object 5">
            <a:extLst>
              <a:ext uri="{FF2B5EF4-FFF2-40B4-BE49-F238E27FC236}">
                <a16:creationId xmlns:a16="http://schemas.microsoft.com/office/drawing/2014/main" xmlns="" id="{B2905FD2-C5D4-0348-824F-DC0478A5CC73}"/>
              </a:ext>
            </a:extLst>
          </p:cNvPr>
          <p:cNvSpPr/>
          <p:nvPr/>
        </p:nvSpPr>
        <p:spPr>
          <a:xfrm>
            <a:off x="7343927" y="3909205"/>
            <a:ext cx="5141786" cy="3435197"/>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6" name="object 3">
            <a:extLst>
              <a:ext uri="{FF2B5EF4-FFF2-40B4-BE49-F238E27FC236}">
                <a16:creationId xmlns:a16="http://schemas.microsoft.com/office/drawing/2014/main" xmlns="" id="{5B97502E-CF26-F540-AEB1-503A16BE2896}"/>
              </a:ext>
            </a:extLst>
          </p:cNvPr>
          <p:cNvSpPr txBox="1"/>
          <p:nvPr/>
        </p:nvSpPr>
        <p:spPr>
          <a:xfrm>
            <a:off x="7536491" y="7596906"/>
            <a:ext cx="4756658" cy="246221"/>
          </a:xfrm>
          <a:prstGeom prst="rect">
            <a:avLst/>
          </a:prstGeom>
        </p:spPr>
        <p:txBody>
          <a:bodyPr vert="horz" wrap="square" lIns="0" tIns="0" rIns="0" bIns="0" rtlCol="0">
            <a:spAutoFit/>
          </a:bodyPr>
          <a:lstStyle/>
          <a:p>
            <a:pPr marL="12700" algn="ctr">
              <a:lnSpc>
                <a:spcPct val="100000"/>
              </a:lnSpc>
            </a:pPr>
            <a:r>
              <a:rPr sz="1600" b="1" dirty="0">
                <a:latin typeface="ACHS Nueva Sans SemiBold" pitchFamily="2" charset="77"/>
                <a:cs typeface="Calibri" panose="020F0502020204030204" pitchFamily="34" charset="0"/>
              </a:rPr>
              <a:t>Evaluación Cuantitativa de Exposición a Sílice.</a:t>
            </a:r>
          </a:p>
        </p:txBody>
      </p:sp>
    </p:spTree>
    <p:custDataLst>
      <p:tags r:id="rId1"/>
    </p:custDataLst>
    <p:extLst>
      <p:ext uri="{BB962C8B-B14F-4D97-AF65-F5344CB8AC3E}">
        <p14:creationId xmlns:p14="http://schemas.microsoft.com/office/powerpoint/2010/main" val="18065124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3249506"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ambiental</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396156" y="2268314"/>
            <a:ext cx="3456383" cy="1446550"/>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Vigilancia ambiental cuantitativa - Nivel de Riesgo:</a:t>
            </a:r>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graphicFrame>
        <p:nvGraphicFramePr>
          <p:cNvPr id="12" name="Tabla 1">
            <a:extLst>
              <a:ext uri="{FF2B5EF4-FFF2-40B4-BE49-F238E27FC236}">
                <a16:creationId xmlns:a16="http://schemas.microsoft.com/office/drawing/2014/main" xmlns="" id="{65139F6E-9D2F-2A4A-A137-FE118A98F4F8}"/>
              </a:ext>
            </a:extLst>
          </p:cNvPr>
          <p:cNvGraphicFramePr>
            <a:graphicFrameLocks noGrp="1"/>
          </p:cNvGraphicFramePr>
          <p:nvPr>
            <p:extLst>
              <p:ext uri="{D42A27DB-BD31-4B8C-83A1-F6EECF244321}">
                <p14:modId xmlns:p14="http://schemas.microsoft.com/office/powerpoint/2010/main" val="749861748"/>
              </p:ext>
            </p:extLst>
          </p:nvPr>
        </p:nvGraphicFramePr>
        <p:xfrm>
          <a:off x="4340083" y="1548234"/>
          <a:ext cx="11537793" cy="6508446"/>
        </p:xfrm>
        <a:graphic>
          <a:graphicData uri="http://schemas.openxmlformats.org/drawingml/2006/table">
            <a:tbl>
              <a:tblPr firstRow="1" bandRow="1">
                <a:tableStyleId>{F2DE63D5-997A-4646-A377-4702673A728D}</a:tableStyleId>
              </a:tblPr>
              <a:tblGrid>
                <a:gridCol w="935950">
                  <a:extLst>
                    <a:ext uri="{9D8B030D-6E8A-4147-A177-3AD203B41FA5}">
                      <a16:colId xmlns:a16="http://schemas.microsoft.com/office/drawing/2014/main" xmlns="" val="20000"/>
                    </a:ext>
                  </a:extLst>
                </a:gridCol>
                <a:gridCol w="3254416">
                  <a:extLst>
                    <a:ext uri="{9D8B030D-6E8A-4147-A177-3AD203B41FA5}">
                      <a16:colId xmlns:a16="http://schemas.microsoft.com/office/drawing/2014/main" xmlns="" val="20001"/>
                    </a:ext>
                  </a:extLst>
                </a:gridCol>
                <a:gridCol w="1697956">
                  <a:extLst>
                    <a:ext uri="{9D8B030D-6E8A-4147-A177-3AD203B41FA5}">
                      <a16:colId xmlns:a16="http://schemas.microsoft.com/office/drawing/2014/main" xmlns="" val="20002"/>
                    </a:ext>
                  </a:extLst>
                </a:gridCol>
                <a:gridCol w="5649471">
                  <a:extLst>
                    <a:ext uri="{9D8B030D-6E8A-4147-A177-3AD203B41FA5}">
                      <a16:colId xmlns:a16="http://schemas.microsoft.com/office/drawing/2014/main" xmlns="" val="20003"/>
                    </a:ext>
                  </a:extLst>
                </a:gridCol>
              </a:tblGrid>
              <a:tr h="777002">
                <a:tc>
                  <a:txBody>
                    <a:bodyPr/>
                    <a:lstStyle/>
                    <a:p>
                      <a:pPr marL="0" marR="164465" indent="0" algn="ctr">
                        <a:lnSpc>
                          <a:spcPct val="100000"/>
                        </a:lnSpc>
                        <a:spcBef>
                          <a:spcPts val="0"/>
                        </a:spcBef>
                      </a:pPr>
                      <a:r>
                        <a:rPr lang="es-CL" sz="1800" b="1" i="0" spc="0" dirty="0">
                          <a:latin typeface="ACHS Nueva Sans SemiBold" pitchFamily="2" charset="77"/>
                        </a:rPr>
                        <a:t>Nivel   riesgo</a:t>
                      </a:r>
                      <a:endParaRPr lang="es-CL" sz="1800" b="1" i="0" spc="0" dirty="0">
                        <a:latin typeface="ACHS Nueva Sans SemiBold" pitchFamily="2" charset="77"/>
                        <a:cs typeface="Calibri" panose="020F0502020204030204" pitchFamily="34" charset="0"/>
                      </a:endParaRPr>
                    </a:p>
                  </a:txBody>
                  <a:tcPr marL="0" marR="0" marT="0" marB="0" anchor="ctr">
                    <a:solidFill>
                      <a:srgbClr val="15C047"/>
                    </a:solidFill>
                  </a:tcPr>
                </a:tc>
                <a:tc>
                  <a:txBody>
                    <a:bodyPr/>
                    <a:lstStyle/>
                    <a:p>
                      <a:pPr marL="0" marR="129539" indent="0" algn="ctr">
                        <a:lnSpc>
                          <a:spcPct val="100000"/>
                        </a:lnSpc>
                        <a:spcBef>
                          <a:spcPts val="0"/>
                        </a:spcBef>
                      </a:pPr>
                      <a:r>
                        <a:rPr lang="es-CL" sz="1800" b="1" i="0" spc="0" dirty="0">
                          <a:latin typeface="ACHS Nueva Sans SemiBold" pitchFamily="2" charset="77"/>
                        </a:rPr>
                        <a:t>Relación entre: </a:t>
                      </a:r>
                    </a:p>
                    <a:p>
                      <a:pPr marL="0" marR="129539" indent="0" algn="ctr">
                        <a:lnSpc>
                          <a:spcPct val="100000"/>
                        </a:lnSpc>
                        <a:spcBef>
                          <a:spcPts val="0"/>
                        </a:spcBef>
                      </a:pPr>
                      <a:r>
                        <a:rPr lang="es-CL" sz="1800" b="1" i="0" spc="0" dirty="0">
                          <a:latin typeface="ACHS Nueva Sans SemiBold" pitchFamily="2" charset="77"/>
                        </a:rPr>
                        <a:t>CPP</a:t>
                      </a:r>
                      <a:r>
                        <a:rPr lang="es-CL" sz="1800" b="1" i="0" spc="0" baseline="-10416" dirty="0">
                          <a:latin typeface="ACHS Nueva Sans SemiBold" pitchFamily="2" charset="77"/>
                        </a:rPr>
                        <a:t>(1) </a:t>
                      </a:r>
                      <a:r>
                        <a:rPr lang="es-CL" sz="1800" b="1" i="0" spc="0" dirty="0">
                          <a:latin typeface="ACHS Nueva Sans SemiBold" pitchFamily="2" charset="77"/>
                        </a:rPr>
                        <a:t>Y</a:t>
                      </a:r>
                      <a:r>
                        <a:rPr lang="es-CL" sz="1800" b="1" i="0" spc="0" baseline="0" dirty="0">
                          <a:latin typeface="ACHS Nueva Sans SemiBold" pitchFamily="2" charset="77"/>
                        </a:rPr>
                        <a:t> </a:t>
                      </a:r>
                      <a:r>
                        <a:rPr lang="es-CL" sz="1800" b="1" i="0" spc="0" dirty="0">
                          <a:latin typeface="ACHS Nueva Sans SemiBold" pitchFamily="2" charset="77"/>
                        </a:rPr>
                        <a:t>LPP</a:t>
                      </a:r>
                      <a:r>
                        <a:rPr lang="es-CL" sz="1800" b="1" i="0" spc="0" baseline="-10416" dirty="0">
                          <a:latin typeface="ACHS Nueva Sans SemiBold" pitchFamily="2" charset="77"/>
                        </a:rPr>
                        <a:t>(2)</a:t>
                      </a:r>
                      <a:endParaRPr lang="es-CL" sz="1800" b="1" i="0" spc="0" baseline="-10416" dirty="0">
                        <a:latin typeface="ACHS Nueva Sans SemiBold" pitchFamily="2" charset="77"/>
                        <a:cs typeface="Calibri" panose="020F0502020204030204" pitchFamily="34" charset="0"/>
                      </a:endParaRPr>
                    </a:p>
                  </a:txBody>
                  <a:tcPr marL="0" marR="0" marT="0" marB="0" anchor="ctr">
                    <a:solidFill>
                      <a:srgbClr val="15C047"/>
                    </a:solidFill>
                  </a:tcPr>
                </a:tc>
                <a:tc>
                  <a:txBody>
                    <a:bodyPr/>
                    <a:lstStyle/>
                    <a:p>
                      <a:pPr marL="0" marR="290195" indent="0" algn="ctr" defTabSz="1790700">
                        <a:lnSpc>
                          <a:spcPct val="100000"/>
                        </a:lnSpc>
                        <a:spcBef>
                          <a:spcPts val="0"/>
                        </a:spcBef>
                        <a:tabLst/>
                      </a:pPr>
                      <a:r>
                        <a:rPr lang="es-CL" sz="1800" b="1" i="0" spc="0" dirty="0">
                          <a:latin typeface="ACHS Nueva Sans SemiBold" pitchFamily="2" charset="77"/>
                        </a:rPr>
                        <a:t>Periodicidad  evaluación</a:t>
                      </a:r>
                      <a:endParaRPr lang="es-CL" sz="1800" b="1" i="0" spc="0" dirty="0">
                        <a:latin typeface="ACHS Nueva Sans SemiBold" pitchFamily="2" charset="77"/>
                        <a:cs typeface="Calibri" panose="020F0502020204030204" pitchFamily="34" charset="0"/>
                      </a:endParaRPr>
                    </a:p>
                  </a:txBody>
                  <a:tcPr marL="0" marR="0" marT="0" marB="0" anchor="ctr">
                    <a:solidFill>
                      <a:srgbClr val="15C047"/>
                    </a:solidFill>
                  </a:tcPr>
                </a:tc>
                <a:tc>
                  <a:txBody>
                    <a:bodyPr/>
                    <a:lstStyle/>
                    <a:p>
                      <a:pPr marL="0" algn="ctr">
                        <a:lnSpc>
                          <a:spcPct val="100000"/>
                        </a:lnSpc>
                        <a:spcBef>
                          <a:spcPts val="0"/>
                        </a:spcBef>
                      </a:pPr>
                      <a:r>
                        <a:rPr lang="es-CL" sz="1800" b="1" i="0" spc="0" dirty="0">
                          <a:latin typeface="ACHS Nueva Sans SemiBold" pitchFamily="2" charset="77"/>
                        </a:rPr>
                        <a:t>OBSERVACIONES</a:t>
                      </a:r>
                      <a:endParaRPr lang="es-CL" sz="1800" b="1" i="0" spc="0" dirty="0">
                        <a:latin typeface="ACHS Nueva Sans SemiBold" pitchFamily="2" charset="77"/>
                        <a:cs typeface="Calibri" panose="020F0502020204030204" pitchFamily="34" charset="0"/>
                      </a:endParaRPr>
                    </a:p>
                  </a:txBody>
                  <a:tcPr marL="0" marR="0" marT="0" marB="0" anchor="ctr">
                    <a:solidFill>
                      <a:srgbClr val="15C047"/>
                    </a:solidFill>
                  </a:tcPr>
                </a:tc>
                <a:extLst>
                  <a:ext uri="{0D108BD9-81ED-4DB2-BD59-A6C34878D82A}">
                    <a16:rowId xmlns:a16="http://schemas.microsoft.com/office/drawing/2014/main" xmlns="" val="10000"/>
                  </a:ext>
                </a:extLst>
              </a:tr>
              <a:tr h="542005">
                <a:tc>
                  <a:txBody>
                    <a:bodyPr/>
                    <a:lstStyle/>
                    <a:p>
                      <a:pPr marL="0" indent="0" algn="ctr">
                        <a:lnSpc>
                          <a:spcPct val="100000"/>
                        </a:lnSpc>
                        <a:spcBef>
                          <a:spcPts val="0"/>
                        </a:spcBef>
                      </a:pPr>
                      <a:r>
                        <a:rPr lang="es-CL" sz="1800" b="1" i="0" spc="0" dirty="0">
                          <a:solidFill>
                            <a:srgbClr val="0C662F"/>
                          </a:solidFill>
                          <a:latin typeface="ACHS Nueva Sans Medium" pitchFamily="2" charset="77"/>
                        </a:rPr>
                        <a:t>1</a:t>
                      </a:r>
                      <a:endParaRPr lang="es-CL" sz="1800" b="1" i="0" spc="0" dirty="0">
                        <a:solidFill>
                          <a:srgbClr val="0C662F"/>
                        </a:solidFill>
                        <a:latin typeface="ACHS Nueva Sans Medium" pitchFamily="2" charset="77"/>
                        <a:cs typeface="Calibri" panose="020F0502020204030204" pitchFamily="34" charset="0"/>
                      </a:endParaRPr>
                    </a:p>
                  </a:txBody>
                  <a:tcPr marL="0" marR="0" marT="0" marB="0" anchor="ctr"/>
                </a:tc>
                <a:tc>
                  <a:txBody>
                    <a:bodyPr/>
                    <a:lstStyle/>
                    <a:p>
                      <a:pPr algn="ctr">
                        <a:lnSpc>
                          <a:spcPct val="100000"/>
                        </a:lnSpc>
                        <a:spcBef>
                          <a:spcPts val="0"/>
                        </a:spcBef>
                      </a:pPr>
                      <a:r>
                        <a:rPr lang="es-CL" sz="1800" b="0" i="0" spc="0" dirty="0">
                          <a:latin typeface="ACHS Nueva Sans Medium" pitchFamily="2" charset="77"/>
                        </a:rPr>
                        <a:t>Menor al 25% del LPP</a:t>
                      </a:r>
                      <a:r>
                        <a:rPr lang="es-CL" sz="1800" b="0" i="0" spc="0" baseline="-24305" dirty="0">
                          <a:latin typeface="ACHS Nueva Sans Medium" pitchFamily="2" charset="77"/>
                        </a:rPr>
                        <a:t>(3)</a:t>
                      </a:r>
                      <a:endParaRPr lang="es-CL" sz="1800" b="0" i="0" spc="0" baseline="-24305" dirty="0">
                        <a:latin typeface="ACHS Nueva Sans Medium" pitchFamily="2" charset="77"/>
                        <a:cs typeface="Calibri" panose="020F0502020204030204" pitchFamily="34" charset="0"/>
                      </a:endParaRPr>
                    </a:p>
                  </a:txBody>
                  <a:tcPr marL="0" marR="0" marT="0" marB="0" anchor="ctr"/>
                </a:tc>
                <a:tc>
                  <a:txBody>
                    <a:bodyPr/>
                    <a:lstStyle/>
                    <a:p>
                      <a:pPr algn="ctr">
                        <a:lnSpc>
                          <a:spcPct val="100000"/>
                        </a:lnSpc>
                        <a:spcBef>
                          <a:spcPts val="0"/>
                        </a:spcBef>
                      </a:pPr>
                      <a:r>
                        <a:rPr lang="es-CL" sz="1800" b="0" i="0" spc="0" dirty="0">
                          <a:latin typeface="ACHS Nueva Sans Medium" pitchFamily="2" charset="77"/>
                        </a:rPr>
                        <a:t>5 años</a:t>
                      </a:r>
                      <a:endParaRPr lang="es-CL" sz="1800" b="0" i="0" spc="0" dirty="0">
                        <a:latin typeface="ACHS Nueva Sans Medium" pitchFamily="2" charset="77"/>
                        <a:cs typeface="Calibri" panose="020F0502020204030204" pitchFamily="34" charset="0"/>
                      </a:endParaRPr>
                    </a:p>
                  </a:txBody>
                  <a:tcPr marL="0" marR="0" marT="0" marB="0" anchor="ctr"/>
                </a:tc>
                <a:tc>
                  <a:txBody>
                    <a:bodyPr/>
                    <a:lstStyle/>
                    <a:p>
                      <a:pPr>
                        <a:spcBef>
                          <a:spcPts val="0"/>
                        </a:spcBef>
                      </a:pPr>
                      <a:endParaRPr lang="es-CL" sz="1800" b="0" i="0" spc="0" dirty="0">
                        <a:latin typeface="ACHS Nueva Sans Medium" pitchFamily="2" charset="77"/>
                        <a:cs typeface="Calibri" panose="020F0502020204030204" pitchFamily="34" charset="0"/>
                      </a:endParaRPr>
                    </a:p>
                  </a:txBody>
                  <a:tcPr/>
                </a:tc>
                <a:extLst>
                  <a:ext uri="{0D108BD9-81ED-4DB2-BD59-A6C34878D82A}">
                    <a16:rowId xmlns:a16="http://schemas.microsoft.com/office/drawing/2014/main" xmlns="" val="10001"/>
                  </a:ext>
                </a:extLst>
              </a:tr>
              <a:tr h="709475">
                <a:tc>
                  <a:txBody>
                    <a:bodyPr/>
                    <a:lstStyle/>
                    <a:p>
                      <a:pPr marL="0" indent="0" algn="ctr">
                        <a:lnSpc>
                          <a:spcPct val="100000"/>
                        </a:lnSpc>
                        <a:spcBef>
                          <a:spcPts val="0"/>
                        </a:spcBef>
                      </a:pPr>
                      <a:r>
                        <a:rPr lang="es-CL" sz="1800" b="1" i="0" kern="1200" spc="0" dirty="0">
                          <a:solidFill>
                            <a:srgbClr val="0C662F"/>
                          </a:solidFill>
                          <a:latin typeface="ACHS Nueva Sans Medium" pitchFamily="2" charset="77"/>
                        </a:rPr>
                        <a:t>2</a:t>
                      </a:r>
                      <a:endParaRPr lang="es-CL" sz="1800" b="1" i="0" kern="1200" spc="0" dirty="0">
                        <a:solidFill>
                          <a:srgbClr val="0C662F"/>
                        </a:solidFill>
                        <a:latin typeface="ACHS Nueva Sans Medium" pitchFamily="2" charset="77"/>
                        <a:ea typeface="+mn-ea"/>
                        <a:cs typeface="Calibri" panose="020F0502020204030204" pitchFamily="34" charset="0"/>
                      </a:endParaRPr>
                    </a:p>
                  </a:txBody>
                  <a:tcPr marL="0" marR="0" marT="0" marB="0" anchor="ctr"/>
                </a:tc>
                <a:tc>
                  <a:txBody>
                    <a:bodyPr/>
                    <a:lstStyle/>
                    <a:p>
                      <a:pPr marL="195580" marR="22860" indent="-167640" algn="ctr">
                        <a:lnSpc>
                          <a:spcPct val="100000"/>
                        </a:lnSpc>
                        <a:spcBef>
                          <a:spcPts val="0"/>
                        </a:spcBef>
                      </a:pPr>
                      <a:r>
                        <a:rPr lang="es-CL" sz="1800" b="0" i="0" spc="0" dirty="0">
                          <a:latin typeface="ACHS Nueva Sans Medium" pitchFamily="2" charset="77"/>
                        </a:rPr>
                        <a:t>Mayor o igual al 25% del LPP y </a:t>
                      </a:r>
                      <a:r>
                        <a:rPr lang="es-CL" sz="1800" b="0" i="0" spc="0" noProof="0" dirty="0">
                          <a:latin typeface="ACHS Nueva Sans Medium" pitchFamily="2" charset="77"/>
                        </a:rPr>
                        <a:t>Menor</a:t>
                      </a:r>
                      <a:r>
                        <a:rPr lang="es-CL" sz="1800" b="0" i="0" spc="0" dirty="0">
                          <a:latin typeface="ACHS Nueva Sans Medium" pitchFamily="2" charset="77"/>
                        </a:rPr>
                        <a:t> al 50% del LPP</a:t>
                      </a:r>
                      <a:endParaRPr lang="es-CL" sz="1800" b="0" i="0" spc="0" dirty="0">
                        <a:latin typeface="ACHS Nueva Sans Medium" pitchFamily="2" charset="77"/>
                        <a:cs typeface="Calibri" panose="020F0502020204030204" pitchFamily="34" charset="0"/>
                      </a:endParaRPr>
                    </a:p>
                  </a:txBody>
                  <a:tcPr marL="0" marR="0" marT="0" marB="0" anchor="ctr"/>
                </a:tc>
                <a:tc>
                  <a:txBody>
                    <a:bodyPr/>
                    <a:lstStyle/>
                    <a:p>
                      <a:pPr algn="ctr">
                        <a:lnSpc>
                          <a:spcPct val="100000"/>
                        </a:lnSpc>
                        <a:spcBef>
                          <a:spcPts val="0"/>
                        </a:spcBef>
                      </a:pPr>
                      <a:r>
                        <a:rPr lang="es-CL" sz="1800" b="0" i="0" spc="0" dirty="0">
                          <a:latin typeface="ACHS Nueva Sans Medium" pitchFamily="2" charset="77"/>
                        </a:rPr>
                        <a:t>3 años</a:t>
                      </a:r>
                      <a:endParaRPr lang="es-CL" sz="1800" b="0" i="0" spc="0" dirty="0">
                        <a:latin typeface="ACHS Nueva Sans Medium" pitchFamily="2" charset="77"/>
                        <a:cs typeface="Calibri" panose="020F0502020204030204" pitchFamily="34" charset="0"/>
                      </a:endParaRPr>
                    </a:p>
                  </a:txBody>
                  <a:tcPr marL="0" marR="0" marT="0" marB="0" anchor="ctr"/>
                </a:tc>
                <a:tc>
                  <a:txBody>
                    <a:bodyPr/>
                    <a:lstStyle/>
                    <a:p>
                      <a:pPr>
                        <a:spcBef>
                          <a:spcPts val="0"/>
                        </a:spcBef>
                      </a:pPr>
                      <a:endParaRPr lang="es-CL" sz="1800" b="0" i="0" spc="0" dirty="0">
                        <a:latin typeface="ACHS Nueva Sans Medium" pitchFamily="2" charset="77"/>
                        <a:cs typeface="Calibri" panose="020F0502020204030204" pitchFamily="34" charset="0"/>
                      </a:endParaRPr>
                    </a:p>
                  </a:txBody>
                  <a:tcPr/>
                </a:tc>
                <a:extLst>
                  <a:ext uri="{0D108BD9-81ED-4DB2-BD59-A6C34878D82A}">
                    <a16:rowId xmlns:a16="http://schemas.microsoft.com/office/drawing/2014/main" xmlns="" val="10002"/>
                  </a:ext>
                </a:extLst>
              </a:tr>
              <a:tr h="887720">
                <a:tc>
                  <a:txBody>
                    <a:bodyPr/>
                    <a:lstStyle/>
                    <a:p>
                      <a:pPr marL="0" indent="0" algn="ctr">
                        <a:lnSpc>
                          <a:spcPct val="100000"/>
                        </a:lnSpc>
                        <a:spcBef>
                          <a:spcPts val="0"/>
                        </a:spcBef>
                      </a:pPr>
                      <a:r>
                        <a:rPr lang="es-CL" sz="1800" b="1" i="0" spc="0" dirty="0">
                          <a:solidFill>
                            <a:srgbClr val="0C662F"/>
                          </a:solidFill>
                          <a:latin typeface="ACHS Nueva Sans Medium" pitchFamily="2" charset="77"/>
                        </a:rPr>
                        <a:t>3</a:t>
                      </a:r>
                      <a:endParaRPr lang="es-CL" sz="1800" b="1" i="0" spc="0" dirty="0">
                        <a:solidFill>
                          <a:srgbClr val="0C662F"/>
                        </a:solidFill>
                        <a:latin typeface="ACHS Nueva Sans Medium" pitchFamily="2" charset="77"/>
                        <a:cs typeface="Calibri" panose="020F0502020204030204" pitchFamily="34" charset="0"/>
                      </a:endParaRPr>
                    </a:p>
                  </a:txBody>
                  <a:tcPr marL="0" marR="0" marT="0" marB="0" anchor="ctr"/>
                </a:tc>
                <a:tc>
                  <a:txBody>
                    <a:bodyPr/>
                    <a:lstStyle/>
                    <a:p>
                      <a:pPr marL="37465" marR="22860" indent="-9525" algn="ctr">
                        <a:lnSpc>
                          <a:spcPct val="100000"/>
                        </a:lnSpc>
                        <a:spcBef>
                          <a:spcPts val="0"/>
                        </a:spcBef>
                      </a:pPr>
                      <a:r>
                        <a:rPr lang="es-CL" sz="1800" b="0" i="0" spc="0" dirty="0">
                          <a:latin typeface="ACHS Nueva Sans Medium" pitchFamily="2" charset="77"/>
                        </a:rPr>
                        <a:t>Mayor o igual al 50% del LPP y hasta 1 vez el valor del LPP</a:t>
                      </a:r>
                      <a:endParaRPr lang="es-CL" sz="1800" b="0" i="0" spc="0" dirty="0">
                        <a:latin typeface="ACHS Nueva Sans Medium" pitchFamily="2" charset="77"/>
                        <a:cs typeface="Calibri" panose="020F0502020204030204" pitchFamily="34" charset="0"/>
                      </a:endParaRPr>
                    </a:p>
                  </a:txBody>
                  <a:tcPr marL="0" marR="0" marT="0" marB="0" anchor="ctr"/>
                </a:tc>
                <a:tc>
                  <a:txBody>
                    <a:bodyPr/>
                    <a:lstStyle/>
                    <a:p>
                      <a:pPr algn="ctr">
                        <a:lnSpc>
                          <a:spcPct val="100000"/>
                        </a:lnSpc>
                        <a:spcBef>
                          <a:spcPts val="0"/>
                        </a:spcBef>
                      </a:pPr>
                      <a:r>
                        <a:rPr lang="es-CL" sz="1800" b="0" i="0" spc="0" dirty="0">
                          <a:latin typeface="ACHS Nueva Sans Medium" pitchFamily="2" charset="77"/>
                        </a:rPr>
                        <a:t>2 años</a:t>
                      </a:r>
                      <a:endParaRPr lang="es-CL" sz="1800" b="0" i="0" spc="0" dirty="0">
                        <a:latin typeface="ACHS Nueva Sans Medium" pitchFamily="2" charset="77"/>
                        <a:cs typeface="Calibri" panose="020F0502020204030204" pitchFamily="34" charset="0"/>
                      </a:endParaRPr>
                    </a:p>
                  </a:txBody>
                  <a:tcPr marL="0" marR="0" marT="0" marB="0" anchor="ctr"/>
                </a:tc>
                <a:tc>
                  <a:txBody>
                    <a:bodyPr/>
                    <a:lstStyle/>
                    <a:p>
                      <a:pPr marL="0" marR="48260" indent="-41275" algn="l">
                        <a:lnSpc>
                          <a:spcPct val="100000"/>
                        </a:lnSpc>
                        <a:spcBef>
                          <a:spcPts val="0"/>
                        </a:spcBef>
                      </a:pPr>
                      <a:r>
                        <a:rPr lang="es-CL" sz="1800" b="0" i="0" spc="0" dirty="0">
                          <a:latin typeface="ACHS Nueva Sans Medium" pitchFamily="2" charset="77"/>
                        </a:rPr>
                        <a:t>El OAL debe incorporar a los trabajadores a Programa  de Vigilancia de la Salud.</a:t>
                      </a:r>
                      <a:endParaRPr lang="es-CL" sz="1800" b="0" i="0" spc="0" dirty="0">
                        <a:latin typeface="ACHS Nueva Sans Medium" pitchFamily="2" charset="77"/>
                        <a:cs typeface="Calibri" panose="020F0502020204030204" pitchFamily="34" charset="0"/>
                      </a:endParaRPr>
                    </a:p>
                  </a:txBody>
                  <a:tcPr marL="0" marR="0" marT="0" marB="0" anchor="ctr"/>
                </a:tc>
                <a:extLst>
                  <a:ext uri="{0D108BD9-81ED-4DB2-BD59-A6C34878D82A}">
                    <a16:rowId xmlns:a16="http://schemas.microsoft.com/office/drawing/2014/main" xmlns="" val="10003"/>
                  </a:ext>
                </a:extLst>
              </a:tr>
              <a:tr h="1191092">
                <a:tc rowSpan="2">
                  <a:txBody>
                    <a:bodyPr/>
                    <a:lstStyle/>
                    <a:p>
                      <a:pPr marL="0" algn="ctr">
                        <a:lnSpc>
                          <a:spcPct val="100000"/>
                        </a:lnSpc>
                        <a:spcBef>
                          <a:spcPts val="0"/>
                        </a:spcBef>
                      </a:pPr>
                      <a:r>
                        <a:rPr lang="es-CL" sz="1800" b="1" i="0" spc="0" dirty="0">
                          <a:solidFill>
                            <a:srgbClr val="0C662F"/>
                          </a:solidFill>
                          <a:latin typeface="ACHS Nueva Sans Medium" pitchFamily="2" charset="77"/>
                        </a:rPr>
                        <a:t>4</a:t>
                      </a:r>
                      <a:endParaRPr lang="es-CL" sz="1800" b="1" i="0" spc="0" dirty="0">
                        <a:solidFill>
                          <a:srgbClr val="0C662F"/>
                        </a:solidFill>
                        <a:latin typeface="ACHS Nueva Sans Medium" pitchFamily="2" charset="77"/>
                        <a:cs typeface="Calibri" panose="020F0502020204030204" pitchFamily="34" charset="0"/>
                      </a:endParaRPr>
                    </a:p>
                  </a:txBody>
                  <a:tcPr marL="0" marR="0" marT="0" marB="0" anchor="ctr"/>
                </a:tc>
                <a:tc>
                  <a:txBody>
                    <a:bodyPr/>
                    <a:lstStyle/>
                    <a:p>
                      <a:pPr marL="747395" marR="28575" indent="-711835" algn="ctr">
                        <a:lnSpc>
                          <a:spcPct val="100000"/>
                        </a:lnSpc>
                        <a:spcBef>
                          <a:spcPts val="0"/>
                        </a:spcBef>
                      </a:pPr>
                      <a:r>
                        <a:rPr lang="es-CL" sz="1800" b="0" i="0" spc="0" dirty="0">
                          <a:latin typeface="ACHS Nueva Sans Medium" pitchFamily="2" charset="77"/>
                        </a:rPr>
                        <a:t>Mayor al LPP y </a:t>
                      </a:r>
                    </a:p>
                    <a:p>
                      <a:pPr marL="747395" marR="28575" indent="-711835" algn="ctr">
                        <a:lnSpc>
                          <a:spcPct val="100000"/>
                        </a:lnSpc>
                        <a:spcBef>
                          <a:spcPts val="0"/>
                        </a:spcBef>
                      </a:pPr>
                      <a:r>
                        <a:rPr lang="es-CL" sz="1800" b="0" i="0" spc="0" dirty="0">
                          <a:latin typeface="ACHS Nueva Sans Medium" pitchFamily="2" charset="77"/>
                        </a:rPr>
                        <a:t>hasta 5 veces  el LPP</a:t>
                      </a:r>
                      <a:endParaRPr lang="es-CL" sz="1800" b="0" i="0" spc="0" dirty="0">
                        <a:latin typeface="ACHS Nueva Sans Medium" pitchFamily="2" charset="77"/>
                        <a:cs typeface="Calibri" panose="020F0502020204030204" pitchFamily="34" charset="0"/>
                      </a:endParaRPr>
                    </a:p>
                  </a:txBody>
                  <a:tcPr marL="0" marR="0" marT="0" marB="0" anchor="ctr"/>
                </a:tc>
                <a:tc>
                  <a:txBody>
                    <a:bodyPr/>
                    <a:lstStyle/>
                    <a:p>
                      <a:pPr>
                        <a:spcBef>
                          <a:spcPts val="0"/>
                        </a:spcBef>
                      </a:pPr>
                      <a:endParaRPr lang="es-CL" sz="1800" b="0" i="0" spc="0" dirty="0">
                        <a:latin typeface="ACHS Nueva Sans Medium" pitchFamily="2" charset="77"/>
                        <a:cs typeface="Calibri" panose="020F0502020204030204" pitchFamily="34" charset="0"/>
                      </a:endParaRPr>
                    </a:p>
                  </a:txBody>
                  <a:tcPr/>
                </a:tc>
                <a:tc>
                  <a:txBody>
                    <a:bodyPr/>
                    <a:lstStyle/>
                    <a:p>
                      <a:pPr marL="0" indent="0" algn="l">
                        <a:lnSpc>
                          <a:spcPct val="100000"/>
                        </a:lnSpc>
                        <a:spcBef>
                          <a:spcPts val="0"/>
                        </a:spcBef>
                      </a:pPr>
                      <a:r>
                        <a:rPr lang="es-CL" sz="1800" b="0" i="0" spc="0" noProof="0" dirty="0">
                          <a:latin typeface="ACHS Nueva Sans Medium" pitchFamily="2" charset="77"/>
                        </a:rPr>
                        <a:t>El OAL prescribe medidas de control a la empresa  y notifica a SEREMI dentro de los primeros  10 días hábiles del mes siguiente al recibir los resultado  del laboratorio.</a:t>
                      </a:r>
                      <a:endParaRPr lang="es-CL" sz="1800" b="0" i="0" spc="0" noProof="0" dirty="0">
                        <a:latin typeface="ACHS Nueva Sans Medium" pitchFamily="2" charset="77"/>
                        <a:cs typeface="Calibri" panose="020F0502020204030204" pitchFamily="34" charset="0"/>
                      </a:endParaRPr>
                    </a:p>
                  </a:txBody>
                  <a:tcPr marL="0" marR="0" marT="0" marB="0" anchor="ctr"/>
                </a:tc>
                <a:extLst>
                  <a:ext uri="{0D108BD9-81ED-4DB2-BD59-A6C34878D82A}">
                    <a16:rowId xmlns:a16="http://schemas.microsoft.com/office/drawing/2014/main" xmlns="" val="10004"/>
                  </a:ext>
                </a:extLst>
              </a:tr>
              <a:tr h="1218913">
                <a:tc vMerge="1">
                  <a:txBody>
                    <a:bodyPr/>
                    <a:lstStyle/>
                    <a:p>
                      <a:pPr marL="0">
                        <a:spcBef>
                          <a:spcPts val="0"/>
                        </a:spcBef>
                      </a:pPr>
                      <a:endParaRPr lang="es-CL" sz="1600" dirty="0">
                        <a:latin typeface="Arial" panose="020B0604020202020204" pitchFamily="34" charset="0"/>
                        <a:cs typeface="Arial" panose="020B0604020202020204" pitchFamily="34" charset="0"/>
                      </a:endParaRPr>
                    </a:p>
                  </a:txBody>
                  <a:tcPr/>
                </a:tc>
                <a:tc>
                  <a:txBody>
                    <a:bodyPr/>
                    <a:lstStyle/>
                    <a:p>
                      <a:pPr algn="ctr">
                        <a:lnSpc>
                          <a:spcPct val="100000"/>
                        </a:lnSpc>
                        <a:spcBef>
                          <a:spcPts val="0"/>
                        </a:spcBef>
                      </a:pPr>
                      <a:r>
                        <a:rPr lang="es-CL" sz="1800" b="0" i="0" spc="0" dirty="0" err="1">
                          <a:latin typeface="ACHS Nueva Sans Medium" pitchFamily="2" charset="77"/>
                        </a:rPr>
                        <a:t>Mmayor</a:t>
                      </a:r>
                      <a:r>
                        <a:rPr lang="es-CL" sz="1800" b="0" i="0" spc="0" dirty="0">
                          <a:latin typeface="ACHS Nueva Sans Medium" pitchFamily="2" charset="77"/>
                        </a:rPr>
                        <a:t> a 5 LPP</a:t>
                      </a:r>
                      <a:endParaRPr lang="es-CL" sz="1800" b="0" i="0" spc="0" dirty="0">
                        <a:latin typeface="ACHS Nueva Sans Medium" pitchFamily="2" charset="77"/>
                        <a:cs typeface="Calibri" panose="020F0502020204030204" pitchFamily="34" charset="0"/>
                      </a:endParaRPr>
                    </a:p>
                  </a:txBody>
                  <a:tcPr marL="0" marR="0" marT="0" marB="0" anchor="ctr"/>
                </a:tc>
                <a:tc>
                  <a:txBody>
                    <a:bodyPr/>
                    <a:lstStyle/>
                    <a:p>
                      <a:pPr>
                        <a:spcBef>
                          <a:spcPts val="0"/>
                        </a:spcBef>
                      </a:pPr>
                      <a:endParaRPr lang="es-CL" sz="1800" b="0" i="0" spc="0" dirty="0">
                        <a:latin typeface="ACHS Nueva Sans Medium" pitchFamily="2" charset="77"/>
                        <a:cs typeface="Calibri" panose="020F0502020204030204" pitchFamily="34" charset="0"/>
                      </a:endParaRPr>
                    </a:p>
                  </a:txBody>
                  <a:tcPr/>
                </a:tc>
                <a:tc>
                  <a:txBody>
                    <a:bodyPr/>
                    <a:lstStyle/>
                    <a:p>
                      <a:pPr marL="0" algn="l">
                        <a:lnSpc>
                          <a:spcPct val="100000"/>
                        </a:lnSpc>
                        <a:spcBef>
                          <a:spcPts val="0"/>
                        </a:spcBef>
                      </a:pPr>
                      <a:r>
                        <a:rPr lang="es-CL" sz="1800" b="0" i="0" spc="0" noProof="0" dirty="0">
                          <a:latin typeface="ACHS Nueva Sans Medium" pitchFamily="2" charset="77"/>
                        </a:rPr>
                        <a:t>El OAL prescribe medidas de control inmediatas y  notifica a la SEREMI dentro de los 5 días hábiles siguientes al recibir los resultados  del Laboratorio.</a:t>
                      </a:r>
                      <a:endParaRPr lang="es-CL" sz="1800" b="0" i="0" spc="0" noProof="0" dirty="0">
                        <a:latin typeface="ACHS Nueva Sans Medium" pitchFamily="2" charset="77"/>
                        <a:cs typeface="Calibri" panose="020F0502020204030204" pitchFamily="34" charset="0"/>
                      </a:endParaRPr>
                    </a:p>
                  </a:txBody>
                  <a:tcPr marL="0" marR="0" marT="0" marB="0" anchor="ctr"/>
                </a:tc>
                <a:extLst>
                  <a:ext uri="{0D108BD9-81ED-4DB2-BD59-A6C34878D82A}">
                    <a16:rowId xmlns:a16="http://schemas.microsoft.com/office/drawing/2014/main" xmlns="" val="10005"/>
                  </a:ext>
                </a:extLst>
              </a:tr>
              <a:tr h="1182239">
                <a:tc gridSpan="4">
                  <a:txBody>
                    <a:bodyPr/>
                    <a:lstStyle/>
                    <a:p>
                      <a:pPr marL="231775" indent="-228600">
                        <a:lnSpc>
                          <a:spcPts val="1400"/>
                        </a:lnSpc>
                        <a:buAutoNum type="arabicParenBoth"/>
                        <a:tabLst>
                          <a:tab pos="232410" algn="l"/>
                        </a:tabLst>
                      </a:pPr>
                      <a:r>
                        <a:rPr lang="es-CL" sz="1800" b="0" i="0" spc="0" dirty="0">
                          <a:solidFill>
                            <a:srgbClr val="0C662F"/>
                          </a:solidFill>
                          <a:latin typeface="ACHS Nueva Sans Medium" pitchFamily="2" charset="77"/>
                        </a:rPr>
                        <a:t> CPP: Concentración Promedio Ponderada.</a:t>
                      </a:r>
                    </a:p>
                    <a:p>
                      <a:pPr marL="231775" indent="-228600">
                        <a:lnSpc>
                          <a:spcPct val="100000"/>
                        </a:lnSpc>
                        <a:buAutoNum type="arabicParenBoth"/>
                        <a:tabLst>
                          <a:tab pos="232410" algn="l"/>
                        </a:tabLst>
                      </a:pPr>
                      <a:r>
                        <a:rPr lang="es-CL" sz="1800" b="0" i="0" spc="0" dirty="0">
                          <a:solidFill>
                            <a:srgbClr val="0C662F"/>
                          </a:solidFill>
                          <a:latin typeface="ACHS Nueva Sans Medium" pitchFamily="2" charset="77"/>
                        </a:rPr>
                        <a:t> LPP: Límite Permisible Ponderado, corregido si corresponde</a:t>
                      </a:r>
                    </a:p>
                    <a:p>
                      <a:pPr marL="231775" indent="-228600">
                        <a:lnSpc>
                          <a:spcPct val="100000"/>
                        </a:lnSpc>
                        <a:buAutoNum type="arabicParenBoth"/>
                        <a:tabLst>
                          <a:tab pos="232410" algn="l"/>
                        </a:tabLst>
                      </a:pPr>
                      <a:r>
                        <a:rPr lang="es-CL" sz="1800" b="0" i="0" spc="0" dirty="0">
                          <a:solidFill>
                            <a:srgbClr val="0C662F"/>
                          </a:solidFill>
                          <a:latin typeface="ACHS Nueva Sans Medium" pitchFamily="2" charset="77"/>
                        </a:rPr>
                        <a:t> Las evaluaciones siempre cada 5 años, cualquiera sea la CPP encontrada en el rango indicado.</a:t>
                      </a:r>
                      <a:endParaRPr lang="es-CL" sz="1800" b="0" i="0" spc="0" dirty="0">
                        <a:solidFill>
                          <a:srgbClr val="0C662F"/>
                        </a:solidFill>
                        <a:latin typeface="ACHS Nueva Sans Medium" pitchFamily="2" charset="77"/>
                        <a:cs typeface="Calibri" panose="020F0502020204030204" pitchFamily="34" charset="0"/>
                      </a:endParaRPr>
                    </a:p>
                  </a:txBody>
                  <a:tcPr anchor="ctr"/>
                </a:tc>
                <a:tc hMerge="1">
                  <a:txBody>
                    <a:bodyPr/>
                    <a:lstStyle/>
                    <a:p>
                      <a:pPr algn="ctr"/>
                      <a:endParaRPr lang="es-CL" sz="1600" dirty="0">
                        <a:latin typeface="Arial" panose="020B0604020202020204" pitchFamily="34" charset="0"/>
                        <a:cs typeface="Arial" panose="020B0604020202020204" pitchFamily="34" charset="0"/>
                      </a:endParaRPr>
                    </a:p>
                  </a:txBody>
                  <a:tcPr anchor="ctr"/>
                </a:tc>
                <a:tc hMerge="1">
                  <a:txBody>
                    <a:bodyPr/>
                    <a:lstStyle/>
                    <a:p>
                      <a:endParaRPr lang="es-CL" sz="1600" dirty="0">
                        <a:latin typeface="Arial" panose="020B0604020202020204" pitchFamily="34" charset="0"/>
                        <a:cs typeface="Arial" panose="020B0604020202020204" pitchFamily="34" charset="0"/>
                      </a:endParaRPr>
                    </a:p>
                  </a:txBody>
                  <a:tcPr/>
                </a:tc>
                <a:tc hMerge="1">
                  <a:txBody>
                    <a:bodyPr/>
                    <a:lstStyle/>
                    <a:p>
                      <a:pPr marL="0" algn="just">
                        <a:lnSpc>
                          <a:spcPct val="100000"/>
                        </a:lnSpc>
                      </a:pPr>
                      <a:endParaRPr sz="1600" b="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0006"/>
                  </a:ext>
                </a:extLst>
              </a:tr>
            </a:tbl>
          </a:graphicData>
        </a:graphic>
      </p:graphicFrame>
      <p:sp>
        <p:nvSpPr>
          <p:cNvPr id="17" name="object 7">
            <a:extLst>
              <a:ext uri="{FF2B5EF4-FFF2-40B4-BE49-F238E27FC236}">
                <a16:creationId xmlns:a16="http://schemas.microsoft.com/office/drawing/2014/main" xmlns="" id="{C525BE4D-FBBA-DD4E-A9A8-EA53C1645924}"/>
              </a:ext>
            </a:extLst>
          </p:cNvPr>
          <p:cNvSpPr txBox="1"/>
          <p:nvPr/>
        </p:nvSpPr>
        <p:spPr>
          <a:xfrm>
            <a:off x="10139700" y="8316986"/>
            <a:ext cx="5148954" cy="246221"/>
          </a:xfrm>
          <a:prstGeom prst="rect">
            <a:avLst/>
          </a:prstGeom>
        </p:spPr>
        <p:txBody>
          <a:bodyPr vert="horz" wrap="square" lIns="0" tIns="0" rIns="0" bIns="0" rtlCol="0">
            <a:spAutoFit/>
          </a:bodyPr>
          <a:lstStyle/>
          <a:p>
            <a:pPr marL="178435" indent="-165735">
              <a:lnSpc>
                <a:spcPct val="100000"/>
              </a:lnSpc>
              <a:buSzPct val="128571"/>
              <a:buFont typeface="Calibri"/>
              <a:buChar char="•"/>
              <a:tabLst>
                <a:tab pos="179070" algn="l"/>
              </a:tabLst>
            </a:pPr>
            <a:r>
              <a:rPr sz="1600" dirty="0">
                <a:latin typeface="Calibri" panose="020F0502020204030204" pitchFamily="34" charset="0"/>
                <a:cs typeface="Calibri" panose="020F0502020204030204" pitchFamily="34" charset="0"/>
              </a:rPr>
              <a:t>Cuando C &gt; 5 </a:t>
            </a:r>
            <a:r>
              <a:rPr sz="1600" spc="-5" dirty="0">
                <a:latin typeface="Calibri" panose="020F0502020204030204" pitchFamily="34" charset="0"/>
                <a:cs typeface="Calibri" panose="020F0502020204030204" pitchFamily="34" charset="0"/>
              </a:rPr>
              <a:t>LPP </a:t>
            </a:r>
            <a:r>
              <a:rPr sz="1600" dirty="0">
                <a:latin typeface="Calibri" panose="020F0502020204030204" pitchFamily="34" charset="0"/>
                <a:cs typeface="Calibri" panose="020F0502020204030204" pitchFamily="34" charset="0"/>
              </a:rPr>
              <a:t> Se puede </a:t>
            </a:r>
            <a:r>
              <a:rPr sz="1600" spc="-10" dirty="0">
                <a:latin typeface="Calibri" panose="020F0502020204030204" pitchFamily="34" charset="0"/>
                <a:cs typeface="Calibri" panose="020F0502020204030204" pitchFamily="34" charset="0"/>
              </a:rPr>
              <a:t>generar </a:t>
            </a:r>
            <a:r>
              <a:rPr sz="1600" dirty="0">
                <a:latin typeface="Calibri" panose="020F0502020204030204" pitchFamily="34" charset="0"/>
                <a:cs typeface="Calibri" panose="020F0502020204030204" pitchFamily="34" charset="0"/>
              </a:rPr>
              <a:t>silicosis</a:t>
            </a:r>
            <a:r>
              <a:rPr sz="1600" spc="-190" dirty="0">
                <a:latin typeface="Calibri" panose="020F0502020204030204" pitchFamily="34" charset="0"/>
                <a:cs typeface="Calibri" panose="020F0502020204030204" pitchFamily="34" charset="0"/>
              </a:rPr>
              <a:t> </a:t>
            </a:r>
            <a:r>
              <a:rPr sz="1600" dirty="0">
                <a:latin typeface="Calibri" panose="020F0502020204030204" pitchFamily="34" charset="0"/>
                <a:cs typeface="Calibri" panose="020F0502020204030204" pitchFamily="34" charset="0"/>
              </a:rPr>
              <a:t>aguda.</a:t>
            </a:r>
          </a:p>
        </p:txBody>
      </p:sp>
    </p:spTree>
    <p:custDataLst>
      <p:tags r:id="rId1"/>
    </p:custDataLst>
    <p:extLst>
      <p:ext uri="{BB962C8B-B14F-4D97-AF65-F5344CB8AC3E}">
        <p14:creationId xmlns:p14="http://schemas.microsoft.com/office/powerpoint/2010/main" val="2601095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3249506"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ambiental</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468164" y="2268314"/>
            <a:ext cx="2736304" cy="1107996"/>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Nivel de Riesgo 4:</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2" name="object 6">
            <a:extLst>
              <a:ext uri="{FF2B5EF4-FFF2-40B4-BE49-F238E27FC236}">
                <a16:creationId xmlns:a16="http://schemas.microsoft.com/office/drawing/2014/main" xmlns="" id="{5A0E45A7-E7D0-FF4D-9909-0883F20726B3}"/>
              </a:ext>
            </a:extLst>
          </p:cNvPr>
          <p:cNvSpPr/>
          <p:nvPr/>
        </p:nvSpPr>
        <p:spPr>
          <a:xfrm>
            <a:off x="10901757" y="2135575"/>
            <a:ext cx="4579100" cy="5324535"/>
          </a:xfrm>
          <a:prstGeom prst="rect">
            <a:avLst/>
          </a:prstGeom>
          <a:blipFill>
            <a:blip r:embed="rId4" cstate="print"/>
            <a:stretch>
              <a:fillRect/>
            </a:stretch>
          </a:blipFill>
        </p:spPr>
        <p:txBody>
          <a:bodyPr wrap="square" lIns="0" tIns="0" rIns="0" bIns="0" rtlCol="0"/>
          <a:lstStyle/>
          <a:p>
            <a:endParaRPr/>
          </a:p>
        </p:txBody>
      </p:sp>
      <p:sp>
        <p:nvSpPr>
          <p:cNvPr id="11" name="Rectangle 3">
            <a:extLst>
              <a:ext uri="{FF2B5EF4-FFF2-40B4-BE49-F238E27FC236}">
                <a16:creationId xmlns:a16="http://schemas.microsoft.com/office/drawing/2014/main" xmlns="" id="{D6605AB7-FF53-F848-BC97-4A53A815DCF4}"/>
              </a:ext>
            </a:extLst>
          </p:cNvPr>
          <p:cNvSpPr/>
          <p:nvPr/>
        </p:nvSpPr>
        <p:spPr>
          <a:xfrm>
            <a:off x="4509118" y="2135575"/>
            <a:ext cx="5867609" cy="5324535"/>
          </a:xfrm>
          <a:prstGeom prst="rect">
            <a:avLst/>
          </a:prstGeom>
        </p:spPr>
        <p:txBody>
          <a:bodyPr wrap="square">
            <a:spAutoFit/>
          </a:bodyPr>
          <a:lstStyle/>
          <a:p>
            <a:pPr marL="355600" marR="5080" indent="-342900">
              <a:lnSpc>
                <a:spcPct val="100000"/>
              </a:lnSpc>
              <a:buClr>
                <a:srgbClr val="15C047"/>
              </a:buClr>
              <a:buAutoNum type="alphaUcPeriod"/>
            </a:pPr>
            <a:r>
              <a:rPr lang="es-CL" sz="2000" dirty="0">
                <a:latin typeface="ACHS Nueva Sans Medium" pitchFamily="2" charset="77"/>
                <a:cs typeface="Catamaran Light" panose="00000400000000000000" pitchFamily="2" charset="0"/>
              </a:rPr>
              <a:t>EL OAL remite el Informe Técnico con las medidas de control a la empresa y ASR,  dentro del plazo de 90 días contados desde la fecha en que se tomaron las muestras.</a:t>
            </a:r>
          </a:p>
          <a:p>
            <a:pPr marL="355600" marR="5080" indent="-342900">
              <a:buClr>
                <a:srgbClr val="15C047"/>
              </a:buClr>
              <a:buFontTx/>
              <a:buAutoNum type="alphaUcPeriod"/>
            </a:pPr>
            <a:endParaRPr lang="es-CL" sz="2000" dirty="0">
              <a:latin typeface="ACHS Nueva Sans Medium" pitchFamily="2" charset="77"/>
              <a:cs typeface="Catamaran Light" panose="00000400000000000000" pitchFamily="2" charset="0"/>
            </a:endParaRPr>
          </a:p>
          <a:p>
            <a:pPr marL="355600" marR="5080" indent="-342900">
              <a:buClr>
                <a:srgbClr val="15C047"/>
              </a:buClr>
              <a:buFontTx/>
              <a:buAutoNum type="alphaUcPeriod"/>
            </a:pPr>
            <a:r>
              <a:rPr lang="es-CL" sz="2000" dirty="0">
                <a:latin typeface="ACHS Nueva Sans Medium" pitchFamily="2" charset="77"/>
                <a:cs typeface="Catamaran Light" panose="00000400000000000000" pitchFamily="2" charset="0"/>
              </a:rPr>
              <a:t>Hechas las correcciones por parte de la empresa, el OAL deberá reevaluarla y reclasificarla en el Nivel de Riesgo que corresponda.</a:t>
            </a:r>
          </a:p>
          <a:p>
            <a:pPr marL="355600" marR="5080" indent="-342900">
              <a:buClr>
                <a:srgbClr val="15C047"/>
              </a:buClr>
              <a:buFontTx/>
              <a:buAutoNum type="alphaUcPeriod"/>
            </a:pPr>
            <a:endParaRPr lang="es-CL" sz="2000" dirty="0">
              <a:latin typeface="ACHS Nueva Sans Medium" pitchFamily="2" charset="77"/>
              <a:cs typeface="Catamaran Light" panose="00000400000000000000" pitchFamily="2" charset="0"/>
            </a:endParaRPr>
          </a:p>
          <a:p>
            <a:pPr marL="355600" marR="5080" indent="-342900">
              <a:buClr>
                <a:srgbClr val="15C047"/>
              </a:buClr>
              <a:buFontTx/>
              <a:buAutoNum type="alphaUcPeriod"/>
            </a:pPr>
            <a:r>
              <a:rPr lang="es-CL" sz="2000" dirty="0">
                <a:latin typeface="ACHS Nueva Sans Medium" pitchFamily="2" charset="77"/>
                <a:cs typeface="Catamaran Light" panose="00000400000000000000" pitchFamily="2" charset="0"/>
              </a:rPr>
              <a:t>Cada vez que se produzcan cambios importantes o un aumento significativo del nivel de producción, el OAL deberá efectuar una nueva evaluación y establecer el Nivel de Riesgo en que se encuentra la empresa. Si este corresponde al 4, se aplicará lo establecido en las letras precedentes.</a:t>
            </a:r>
          </a:p>
        </p:txBody>
      </p:sp>
    </p:spTree>
    <p:custDataLst>
      <p:tags r:id="rId1"/>
    </p:custDataLst>
    <p:extLst>
      <p:ext uri="{BB962C8B-B14F-4D97-AF65-F5344CB8AC3E}">
        <p14:creationId xmlns:p14="http://schemas.microsoft.com/office/powerpoint/2010/main" val="15932241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3249506"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ambiental</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468164" y="2268314"/>
            <a:ext cx="3024336"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Nivel de Riesgo en muestreos ambientales:</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0" name="Rectangle 3">
            <a:extLst>
              <a:ext uri="{FF2B5EF4-FFF2-40B4-BE49-F238E27FC236}">
                <a16:creationId xmlns:a16="http://schemas.microsoft.com/office/drawing/2014/main" xmlns="" id="{E91B230C-36C3-8D4B-948B-A1C2D9721CA8}"/>
              </a:ext>
            </a:extLst>
          </p:cNvPr>
          <p:cNvSpPr/>
          <p:nvPr/>
        </p:nvSpPr>
        <p:spPr>
          <a:xfrm>
            <a:off x="5148684" y="2453848"/>
            <a:ext cx="9793087" cy="4093428"/>
          </a:xfrm>
          <a:prstGeom prst="rect">
            <a:avLst/>
          </a:prstGeom>
        </p:spPr>
        <p:txBody>
          <a:bodyPr wrap="square">
            <a:spAutoFit/>
          </a:bodyPr>
          <a:lstStyle/>
          <a:p>
            <a:pPr marR="5080" indent="12700">
              <a:lnSpc>
                <a:spcPct val="100000"/>
              </a:lnSpc>
            </a:pPr>
            <a:r>
              <a:rPr lang="es-CL" sz="2000" dirty="0">
                <a:latin typeface="ACHS Nueva Sans Medium" pitchFamily="2" charset="77"/>
                <a:cs typeface="Calibri" panose="020F0502020204030204" pitchFamily="34" charset="0"/>
              </a:rPr>
              <a:t>Si a causa de la toma de muestras de ambientes de trabajo, ya sea ocasionales o programadas,  se detecta en un lugar específico una concentración de sílice libre cristalizada mayor al 80% del límite permisible ponderado definido para ella, esta área se deberá considerarse en el  Nivel de Riesgo 3, siempre y cuando se cumplan los siguientes requisitos:</a:t>
            </a:r>
          </a:p>
          <a:p>
            <a:pPr>
              <a:lnSpc>
                <a:spcPct val="100000"/>
              </a:lnSpc>
              <a:spcBef>
                <a:spcPts val="45"/>
              </a:spcBef>
            </a:pPr>
            <a:endParaRPr lang="es-CL" sz="2000" dirty="0">
              <a:latin typeface="ACHS Nueva Sans Medium" pitchFamily="2" charset="77"/>
              <a:cs typeface="Calibri" panose="020F0502020204030204" pitchFamily="34" charset="0"/>
            </a:endParaRPr>
          </a:p>
          <a:p>
            <a:pPr marL="342900" indent="-342900">
              <a:lnSpc>
                <a:spcPct val="100000"/>
              </a:lnSpc>
              <a:buClr>
                <a:srgbClr val="15C047"/>
              </a:buClr>
              <a:buFont typeface="Arial" panose="020B0604020202020204" pitchFamily="34" charset="0"/>
              <a:buChar char="•"/>
              <a:tabLst>
                <a:tab pos="266700" algn="l"/>
              </a:tabLst>
            </a:pPr>
            <a:r>
              <a:rPr lang="es-CL" sz="2000" dirty="0">
                <a:latin typeface="ACHS Nueva Sans Medium" pitchFamily="2" charset="77"/>
                <a:cs typeface="Calibri" panose="020F0502020204030204" pitchFamily="34" charset="0"/>
              </a:rPr>
              <a:t>Que el lugar o área sea de tránsito permanente de personas o vehículos, colindantes con lugares de trabajo.</a:t>
            </a:r>
          </a:p>
          <a:p>
            <a:pPr marL="342900" indent="-342900">
              <a:lnSpc>
                <a:spcPct val="100000"/>
              </a:lnSpc>
              <a:spcBef>
                <a:spcPts val="40"/>
              </a:spcBef>
              <a:buClr>
                <a:srgbClr val="15C047"/>
              </a:buClr>
              <a:buFont typeface="Arial" panose="020B0604020202020204" pitchFamily="34" charset="0"/>
              <a:buChar char="•"/>
              <a:tabLst>
                <a:tab pos="266700" algn="l"/>
              </a:tabLst>
            </a:pPr>
            <a:endParaRPr lang="es-CL" sz="2000" dirty="0">
              <a:latin typeface="ACHS Nueva Sans Medium" pitchFamily="2" charset="77"/>
              <a:cs typeface="Calibri" panose="020F0502020204030204" pitchFamily="34" charset="0"/>
            </a:endParaRPr>
          </a:p>
          <a:p>
            <a:pPr marL="342900" marR="5080" indent="-342900">
              <a:lnSpc>
                <a:spcPct val="100000"/>
              </a:lnSpc>
              <a:buClr>
                <a:srgbClr val="15C047"/>
              </a:buClr>
              <a:buFont typeface="Arial" panose="020B0604020202020204" pitchFamily="34" charset="0"/>
              <a:buChar char="•"/>
              <a:tabLst>
                <a:tab pos="266700" algn="l"/>
              </a:tabLst>
            </a:pPr>
            <a:r>
              <a:rPr lang="es-CL" sz="2000" dirty="0">
                <a:latin typeface="ACHS Nueva Sans Medium" pitchFamily="2" charset="77"/>
                <a:cs typeface="Calibri" panose="020F0502020204030204" pitchFamily="34" charset="0"/>
              </a:rPr>
              <a:t>Que sea un lugar o área no permanente de tránsito pero se encuentre adyacente a un  lugar de almacenamiento de material a granel con contenido de sílice libre cristalizada  igual o superior al 1%, o a sitios de trabajo donde se desarrolle cualquier forma de  </a:t>
            </a:r>
            <a:r>
              <a:rPr lang="es-CL" sz="2000" dirty="0" err="1">
                <a:latin typeface="ACHS Nueva Sans Medium" pitchFamily="2" charset="77"/>
                <a:cs typeface="Calibri" panose="020F0502020204030204" pitchFamily="34" charset="0"/>
              </a:rPr>
              <a:t>fracturamiento</a:t>
            </a:r>
            <a:r>
              <a:rPr lang="es-CL" sz="2000" dirty="0">
                <a:latin typeface="ACHS Nueva Sans Medium" pitchFamily="2" charset="77"/>
                <a:cs typeface="Calibri" panose="020F0502020204030204" pitchFamily="34" charset="0"/>
              </a:rPr>
              <a:t> de este tipo de material.</a:t>
            </a:r>
          </a:p>
        </p:txBody>
      </p:sp>
    </p:spTree>
    <p:custDataLst>
      <p:tags r:id="rId1"/>
    </p:custDataLst>
    <p:extLst>
      <p:ext uri="{BB962C8B-B14F-4D97-AF65-F5344CB8AC3E}">
        <p14:creationId xmlns:p14="http://schemas.microsoft.com/office/powerpoint/2010/main" val="33340678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xmlns="" id="{91962D2B-0AE4-5845-BC5C-4AD7ABB5A6D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493500" y="5220643"/>
            <a:ext cx="2787921" cy="2612327"/>
          </a:xfrm>
          <a:prstGeom prst="rect">
            <a:avLst/>
          </a:prstGeom>
        </p:spPr>
      </p:pic>
      <p:pic>
        <p:nvPicPr>
          <p:cNvPr id="22" name="Imagen 5">
            <a:extLst>
              <a:ext uri="{FF2B5EF4-FFF2-40B4-BE49-F238E27FC236}">
                <a16:creationId xmlns:a16="http://schemas.microsoft.com/office/drawing/2014/main" xmlns="" id="{57C86489-C577-0E4F-8D67-75D2A07E357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3" name="Conector recto 6">
            <a:extLst>
              <a:ext uri="{FF2B5EF4-FFF2-40B4-BE49-F238E27FC236}">
                <a16:creationId xmlns:a16="http://schemas.microsoft.com/office/drawing/2014/main" xmlns="" id="{EF711220-31EF-3D48-B25C-EB17FDA0DE1F}"/>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24" name="Rectangle 23">
            <a:extLst>
              <a:ext uri="{FF2B5EF4-FFF2-40B4-BE49-F238E27FC236}">
                <a16:creationId xmlns:a16="http://schemas.microsoft.com/office/drawing/2014/main" xmlns="" id="{A9E9A46B-01E8-D04F-90EA-1A5B77ACF564}"/>
              </a:ext>
            </a:extLst>
          </p:cNvPr>
          <p:cNvSpPr/>
          <p:nvPr/>
        </p:nvSpPr>
        <p:spPr>
          <a:xfrm>
            <a:off x="741397" y="2100697"/>
            <a:ext cx="1800559" cy="415498"/>
          </a:xfrm>
          <a:prstGeom prst="rect">
            <a:avLst/>
          </a:prstGeom>
        </p:spPr>
        <p:txBody>
          <a:bodyPr wrap="square" anchor="ctr">
            <a:spAutoFit/>
          </a:bodyPr>
          <a:lstStyle/>
          <a:p>
            <a:r>
              <a:rPr lang="es-CL" sz="2100" b="1" dirty="0">
                <a:solidFill>
                  <a:srgbClr val="15C047"/>
                </a:solidFill>
                <a:latin typeface="ACHS Nueva Serif" pitchFamily="2" charset="77"/>
                <a:cs typeface="Calibri" panose="020F0502020204030204" pitchFamily="34" charset="0"/>
              </a:rPr>
              <a:t>Objetivo:</a:t>
            </a:r>
          </a:p>
        </p:txBody>
      </p:sp>
      <p:sp>
        <p:nvSpPr>
          <p:cNvPr id="25" name="Rectangle 24">
            <a:extLst>
              <a:ext uri="{FF2B5EF4-FFF2-40B4-BE49-F238E27FC236}">
                <a16:creationId xmlns:a16="http://schemas.microsoft.com/office/drawing/2014/main" xmlns="" id="{5BB389E9-EB1C-6445-AB4F-8993033268CF}"/>
              </a:ext>
            </a:extLst>
          </p:cNvPr>
          <p:cNvSpPr/>
          <p:nvPr/>
        </p:nvSpPr>
        <p:spPr>
          <a:xfrm>
            <a:off x="741398" y="2711559"/>
            <a:ext cx="3252623" cy="400110"/>
          </a:xfrm>
          <a:prstGeom prst="rect">
            <a:avLst/>
          </a:prstGeom>
        </p:spPr>
        <p:txBody>
          <a:bodyPr wrap="square">
            <a:spAutoFit/>
          </a:bodyPr>
          <a:lstStyle/>
          <a:p>
            <a:r>
              <a:rPr lang="es-CL" sz="2000" b="1" dirty="0">
                <a:solidFill>
                  <a:srgbClr val="84B727"/>
                </a:solidFill>
                <a:latin typeface="Arial" pitchFamily="34" charset="0"/>
                <a:cs typeface="Arial" pitchFamily="34" charset="0"/>
              </a:rPr>
              <a:t> </a:t>
            </a:r>
          </a:p>
        </p:txBody>
      </p:sp>
      <p:sp>
        <p:nvSpPr>
          <p:cNvPr id="26" name="Rectangle 3">
            <a:extLst>
              <a:ext uri="{FF2B5EF4-FFF2-40B4-BE49-F238E27FC236}">
                <a16:creationId xmlns:a16="http://schemas.microsoft.com/office/drawing/2014/main" xmlns="" id="{4A9EEE9D-0A1D-3643-B171-59F2E9283A0A}"/>
              </a:ext>
            </a:extLst>
          </p:cNvPr>
          <p:cNvSpPr/>
          <p:nvPr/>
        </p:nvSpPr>
        <p:spPr>
          <a:xfrm>
            <a:off x="4642787" y="2010311"/>
            <a:ext cx="9689402" cy="1015663"/>
          </a:xfrm>
          <a:prstGeom prst="rect">
            <a:avLst/>
          </a:prstGeom>
        </p:spPr>
        <p:txBody>
          <a:bodyPr wrap="square">
            <a:spAutoFit/>
          </a:bodyPr>
          <a:lstStyle/>
          <a:p>
            <a:r>
              <a:rPr lang="es-CL" sz="2000" dirty="0">
                <a:latin typeface="ACHS Nueva Sans Medium" pitchFamily="2" charset="77"/>
                <a:cs typeface="Calibri" panose="020F0502020204030204" pitchFamily="34" charset="0"/>
              </a:rPr>
              <a:t>Difundir entre los trabajadores el protocolo del PLAN NACIONAL DE ERRADICACION DE LA SILICOSIS. (PLANESI)</a:t>
            </a:r>
          </a:p>
          <a:p>
            <a:endParaRPr lang="es-CL" sz="2000" dirty="0">
              <a:latin typeface="ACHS Nueva Sans Medium" pitchFamily="2" charset="77"/>
              <a:cs typeface="Calibri" panose="020F0502020204030204" pitchFamily="34" charset="0"/>
            </a:endParaRPr>
          </a:p>
        </p:txBody>
      </p:sp>
      <p:sp>
        <p:nvSpPr>
          <p:cNvPr id="27" name="Rectangle 2">
            <a:extLst>
              <a:ext uri="{FF2B5EF4-FFF2-40B4-BE49-F238E27FC236}">
                <a16:creationId xmlns:a16="http://schemas.microsoft.com/office/drawing/2014/main" xmlns="" id="{039C389D-EAE4-5D46-BEDA-1D85B9CDCD13}"/>
              </a:ext>
            </a:extLst>
          </p:cNvPr>
          <p:cNvSpPr/>
          <p:nvPr/>
        </p:nvSpPr>
        <p:spPr>
          <a:xfrm>
            <a:off x="741397" y="3086588"/>
            <a:ext cx="3252623" cy="415498"/>
          </a:xfrm>
          <a:prstGeom prst="rect">
            <a:avLst/>
          </a:prstGeom>
        </p:spPr>
        <p:txBody>
          <a:bodyPr wrap="square" anchor="ctr">
            <a:spAutoFit/>
          </a:bodyPr>
          <a:lstStyle/>
          <a:p>
            <a:r>
              <a:rPr lang="es-CL" sz="2100" b="1" dirty="0">
                <a:solidFill>
                  <a:srgbClr val="15C047"/>
                </a:solidFill>
                <a:latin typeface="ACHS Nueva Serif" pitchFamily="2" charset="77"/>
                <a:cs typeface="Calibri" panose="020F0502020204030204" pitchFamily="34" charset="0"/>
              </a:rPr>
              <a:t>Público Objetivo:</a:t>
            </a:r>
          </a:p>
        </p:txBody>
      </p:sp>
      <p:sp>
        <p:nvSpPr>
          <p:cNvPr id="28" name="Rectangle 3">
            <a:extLst>
              <a:ext uri="{FF2B5EF4-FFF2-40B4-BE49-F238E27FC236}">
                <a16:creationId xmlns:a16="http://schemas.microsoft.com/office/drawing/2014/main" xmlns="" id="{0159BFC9-7B16-0448-A207-27BC3A7CA290}"/>
              </a:ext>
            </a:extLst>
          </p:cNvPr>
          <p:cNvSpPr/>
          <p:nvPr/>
        </p:nvSpPr>
        <p:spPr>
          <a:xfrm>
            <a:off x="4642787" y="3025974"/>
            <a:ext cx="7128792" cy="707886"/>
          </a:xfrm>
          <a:prstGeom prst="rect">
            <a:avLst/>
          </a:prstGeom>
        </p:spPr>
        <p:txBody>
          <a:bodyPr wrap="square">
            <a:spAutoFit/>
          </a:bodyPr>
          <a:lstStyle/>
          <a:p>
            <a:r>
              <a:rPr lang="es-CL" sz="2000" dirty="0">
                <a:latin typeface="ACHS Nueva Sans Medium" pitchFamily="2" charset="77"/>
                <a:cs typeface="Calibri" panose="020F0502020204030204" pitchFamily="34" charset="0"/>
              </a:rPr>
              <a:t>Ser trabajadores de empresas afiliadas a la ACHS y que se encuentran expuestos en sus labores a Sílice</a:t>
            </a:r>
          </a:p>
        </p:txBody>
      </p:sp>
      <p:pic>
        <p:nvPicPr>
          <p:cNvPr id="29" name="Picture 28">
            <a:extLst>
              <a:ext uri="{FF2B5EF4-FFF2-40B4-BE49-F238E27FC236}">
                <a16:creationId xmlns:a16="http://schemas.microsoft.com/office/drawing/2014/main" xmlns="" id="{4524CA03-0DD8-2544-B8DF-4FF47E33BA8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245028" y="5220642"/>
            <a:ext cx="2787920" cy="2612328"/>
          </a:xfrm>
          <a:prstGeom prst="rect">
            <a:avLst/>
          </a:prstGeom>
        </p:spPr>
      </p:pic>
      <p:pic>
        <p:nvPicPr>
          <p:cNvPr id="30" name="Picture 29">
            <a:extLst>
              <a:ext uri="{FF2B5EF4-FFF2-40B4-BE49-F238E27FC236}">
                <a16:creationId xmlns:a16="http://schemas.microsoft.com/office/drawing/2014/main" xmlns="" id="{DCE02653-AC5B-BF48-A255-F5A67455013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256589" y="5310194"/>
            <a:ext cx="2417026" cy="2433225"/>
          </a:xfrm>
          <a:prstGeom prst="rect">
            <a:avLst/>
          </a:prstGeom>
        </p:spPr>
      </p:pic>
      <p:sp>
        <p:nvSpPr>
          <p:cNvPr id="31" name="Título 30">
            <a:extLst>
              <a:ext uri="{FF2B5EF4-FFF2-40B4-BE49-F238E27FC236}">
                <a16:creationId xmlns:a16="http://schemas.microsoft.com/office/drawing/2014/main" xmlns="" id="{9D733F10-299C-6244-8F30-E2636A992597}"/>
              </a:ext>
            </a:extLst>
          </p:cNvPr>
          <p:cNvSpPr txBox="1">
            <a:spLocks/>
          </p:cNvSpPr>
          <p:nvPr/>
        </p:nvSpPr>
        <p:spPr>
          <a:xfrm>
            <a:off x="-1332036" y="655277"/>
            <a:ext cx="6182408" cy="610116"/>
          </a:xfrm>
          <a:prstGeom prst="rect">
            <a:avLst/>
          </a:prstGeom>
        </p:spPr>
        <p:txBody>
          <a:bodyPr vert="horz" lIns="144018" tIns="72009" rIns="144018" bIns="72009" rtlCol="0" anchor="ctr">
            <a:normAutofit/>
          </a:bodyPr>
          <a:lstStyle>
            <a:lvl1pPr algn="ctr" defTabSz="1422402" rtl="0" eaLnBrk="1" latinLnBrk="0" hangingPunct="1">
              <a:spcBef>
                <a:spcPct val="0"/>
              </a:spcBef>
              <a:buNone/>
              <a:defRPr sz="6815" kern="1200">
                <a:solidFill>
                  <a:schemeClr val="tx1"/>
                </a:solidFill>
                <a:latin typeface="+mj-lt"/>
                <a:ea typeface="+mj-ea"/>
                <a:cs typeface="+mj-cs"/>
              </a:defRPr>
            </a:lvl1pPr>
          </a:lstStyle>
          <a:p>
            <a:r>
              <a:rPr lang="es-CL" sz="2400" dirty="0">
                <a:solidFill>
                  <a:srgbClr val="15C047"/>
                </a:solidFill>
                <a:latin typeface="ACHS Nueva Sans Medium" pitchFamily="2" charset="77"/>
                <a:cs typeface="Arial" panose="020B0604020202020204" pitchFamily="34" charset="0"/>
              </a:rPr>
              <a:t>Introducción</a:t>
            </a:r>
          </a:p>
        </p:txBody>
      </p:sp>
      <p:sp>
        <p:nvSpPr>
          <p:cNvPr id="32" name="Triangle 31">
            <a:extLst>
              <a:ext uri="{FF2B5EF4-FFF2-40B4-BE49-F238E27FC236}">
                <a16:creationId xmlns:a16="http://schemas.microsoft.com/office/drawing/2014/main" xmlns="" id="{5ABA1532-855B-5C44-AEC2-4818E06181D4}"/>
              </a:ext>
            </a:extLst>
          </p:cNvPr>
          <p:cNvSpPr/>
          <p:nvPr/>
        </p:nvSpPr>
        <p:spPr>
          <a:xfrm rot="5400000">
            <a:off x="7003504" y="6448213"/>
            <a:ext cx="1008113" cy="524124"/>
          </a:xfrm>
          <a:prstGeom prst="triangle">
            <a:avLst/>
          </a:prstGeom>
          <a:solidFill>
            <a:srgbClr val="0C662F"/>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rgbClr val="EAEADE"/>
                </a:solidFill>
              </a:ln>
              <a:solidFill>
                <a:srgbClr val="15C047"/>
              </a:solidFill>
            </a:endParaRPr>
          </a:p>
        </p:txBody>
      </p:sp>
      <p:sp>
        <p:nvSpPr>
          <p:cNvPr id="33" name="Triangle 32">
            <a:extLst>
              <a:ext uri="{FF2B5EF4-FFF2-40B4-BE49-F238E27FC236}">
                <a16:creationId xmlns:a16="http://schemas.microsoft.com/office/drawing/2014/main" xmlns="" id="{45F7B637-80CC-0B4F-8008-870E3023F844}"/>
              </a:ext>
            </a:extLst>
          </p:cNvPr>
          <p:cNvSpPr/>
          <p:nvPr/>
        </p:nvSpPr>
        <p:spPr>
          <a:xfrm rot="5400000">
            <a:off x="11326526" y="6475483"/>
            <a:ext cx="1008113" cy="524124"/>
          </a:xfrm>
          <a:prstGeom prst="triangle">
            <a:avLst/>
          </a:prstGeom>
          <a:solidFill>
            <a:srgbClr val="0C662F"/>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rgbClr val="EAEADE"/>
                </a:solidFill>
              </a:ln>
              <a:solidFill>
                <a:srgbClr val="15C047"/>
              </a:solidFill>
            </a:endParaRPr>
          </a:p>
        </p:txBody>
      </p:sp>
    </p:spTree>
    <p:custDataLst>
      <p:tags r:id="rId1"/>
    </p:custDataLst>
    <p:extLst>
      <p:ext uri="{BB962C8B-B14F-4D97-AF65-F5344CB8AC3E}">
        <p14:creationId xmlns:p14="http://schemas.microsoft.com/office/powerpoint/2010/main" val="7319529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xmlns="" id="{96456507-071A-F743-AEB1-EA6F66A997E4}"/>
              </a:ext>
            </a:extLst>
          </p:cNvPr>
          <p:cNvCxnSpPr/>
          <p:nvPr/>
        </p:nvCxnSpPr>
        <p:spPr>
          <a:xfrm>
            <a:off x="12197714" y="6114331"/>
            <a:ext cx="0" cy="288032"/>
          </a:xfrm>
          <a:prstGeom prst="line">
            <a:avLst/>
          </a:prstGeom>
          <a:ln>
            <a:solidFill>
              <a:srgbClr val="15C047"/>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xmlns="" id="{FD14CDE5-C51F-1146-B605-361187597E45}"/>
              </a:ext>
            </a:extLst>
          </p:cNvPr>
          <p:cNvCxnSpPr/>
          <p:nvPr/>
        </p:nvCxnSpPr>
        <p:spPr>
          <a:xfrm>
            <a:off x="10307975" y="6114331"/>
            <a:ext cx="0" cy="288032"/>
          </a:xfrm>
          <a:prstGeom prst="line">
            <a:avLst/>
          </a:prstGeom>
          <a:ln>
            <a:solidFill>
              <a:srgbClr val="15C047"/>
            </a:solidFill>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xmlns="" id="{690439BD-A598-1C49-9C07-4507CD7FAAB1}"/>
              </a:ext>
            </a:extLst>
          </p:cNvPr>
          <p:cNvPicPr>
            <a:picLocks noChangeAspect="1"/>
          </p:cNvPicPr>
          <p:nvPr/>
        </p:nvPicPr>
        <p:blipFill>
          <a:blip r:embed="rId4"/>
          <a:stretch>
            <a:fillRect/>
          </a:stretch>
        </p:blipFill>
        <p:spPr>
          <a:xfrm>
            <a:off x="7551243" y="2638241"/>
            <a:ext cx="4711700" cy="4356100"/>
          </a:xfrm>
          <a:prstGeom prst="rect">
            <a:avLst/>
          </a:prstGeom>
        </p:spPr>
      </p:pic>
      <p:pic>
        <p:nvPicPr>
          <p:cNvPr id="21" name="Picture 20">
            <a:extLst>
              <a:ext uri="{FF2B5EF4-FFF2-40B4-BE49-F238E27FC236}">
                <a16:creationId xmlns:a16="http://schemas.microsoft.com/office/drawing/2014/main" xmlns="" id="{B29AA27A-C674-1C4D-84E8-F6E8999D1852}"/>
              </a:ext>
            </a:extLst>
          </p:cNvPr>
          <p:cNvPicPr>
            <a:picLocks noChangeAspect="1"/>
          </p:cNvPicPr>
          <p:nvPr/>
        </p:nvPicPr>
        <p:blipFill>
          <a:blip r:embed="rId5"/>
          <a:stretch>
            <a:fillRect/>
          </a:stretch>
        </p:blipFill>
        <p:spPr>
          <a:xfrm>
            <a:off x="9911000" y="3659603"/>
            <a:ext cx="2335621" cy="457200"/>
          </a:xfrm>
          <a:prstGeom prst="rect">
            <a:avLst/>
          </a:prstGeom>
        </p:spPr>
      </p:pic>
      <p:pic>
        <p:nvPicPr>
          <p:cNvPr id="22" name="Picture 21">
            <a:extLst>
              <a:ext uri="{FF2B5EF4-FFF2-40B4-BE49-F238E27FC236}">
                <a16:creationId xmlns:a16="http://schemas.microsoft.com/office/drawing/2014/main" xmlns="" id="{337E4B99-8536-5F43-AEF4-ADA46C675456}"/>
              </a:ext>
            </a:extLst>
          </p:cNvPr>
          <p:cNvPicPr>
            <a:picLocks noChangeAspect="1"/>
          </p:cNvPicPr>
          <p:nvPr/>
        </p:nvPicPr>
        <p:blipFill>
          <a:blip r:embed="rId6"/>
          <a:stretch>
            <a:fillRect/>
          </a:stretch>
        </p:blipFill>
        <p:spPr>
          <a:xfrm>
            <a:off x="10305414" y="7524898"/>
            <a:ext cx="1892300" cy="546100"/>
          </a:xfrm>
          <a:prstGeom prst="rect">
            <a:avLst/>
          </a:prstGeom>
        </p:spPr>
      </p:pic>
      <p:grpSp>
        <p:nvGrpSpPr>
          <p:cNvPr id="93" name="Grupo 92"/>
          <p:cNvGrpSpPr/>
          <p:nvPr/>
        </p:nvGrpSpPr>
        <p:grpSpPr>
          <a:xfrm>
            <a:off x="4329927" y="1826123"/>
            <a:ext cx="11403934" cy="6897047"/>
            <a:chOff x="4057274" y="1495276"/>
            <a:chExt cx="12112826" cy="7325782"/>
          </a:xfrm>
        </p:grpSpPr>
        <p:cxnSp>
          <p:nvCxnSpPr>
            <p:cNvPr id="18" name="Conector angular 17"/>
            <p:cNvCxnSpPr/>
            <p:nvPr/>
          </p:nvCxnSpPr>
          <p:spPr>
            <a:xfrm flipV="1">
              <a:off x="5940772" y="2786203"/>
              <a:ext cx="595114" cy="3563992"/>
            </a:xfrm>
            <a:prstGeom prst="bentConnector3">
              <a:avLst>
                <a:gd name="adj1" fmla="val 50000"/>
              </a:avLst>
            </a:prstGeom>
            <a:ln>
              <a:solidFill>
                <a:srgbClr val="15C047"/>
              </a:solidFill>
              <a:tailEnd type="none"/>
            </a:ln>
          </p:spPr>
          <p:style>
            <a:lnRef idx="1">
              <a:schemeClr val="accent1"/>
            </a:lnRef>
            <a:fillRef idx="0">
              <a:schemeClr val="accent1"/>
            </a:fillRef>
            <a:effectRef idx="0">
              <a:schemeClr val="accent1"/>
            </a:effectRef>
            <a:fontRef idx="minor">
              <a:schemeClr val="tx1"/>
            </a:fontRef>
          </p:style>
        </p:cxnSp>
        <p:sp>
          <p:nvSpPr>
            <p:cNvPr id="53" name="CuadroTexto 52"/>
            <p:cNvSpPr txBox="1"/>
            <p:nvPr/>
          </p:nvSpPr>
          <p:spPr>
            <a:xfrm>
              <a:off x="7376127" y="6671763"/>
              <a:ext cx="506191" cy="276999"/>
            </a:xfrm>
            <a:prstGeom prst="rect">
              <a:avLst/>
            </a:prstGeom>
            <a:noFill/>
          </p:spPr>
          <p:txBody>
            <a:bodyPr wrap="square" rtlCol="0">
              <a:spAutoFit/>
            </a:bodyPr>
            <a:lstStyle/>
            <a:p>
              <a:pPr algn="ctr"/>
              <a:r>
                <a:rPr lang="es-CL" sz="1200" b="1" dirty="0">
                  <a:latin typeface="Calibri" panose="020F0502020204030204" pitchFamily="34" charset="0"/>
                  <a:cs typeface="Calibri" panose="020F0502020204030204" pitchFamily="34" charset="0"/>
                </a:rPr>
                <a:t>SI</a:t>
              </a:r>
            </a:p>
          </p:txBody>
        </p:sp>
        <p:sp>
          <p:nvSpPr>
            <p:cNvPr id="78" name="CuadroTexto 77"/>
            <p:cNvSpPr txBox="1"/>
            <p:nvPr/>
          </p:nvSpPr>
          <p:spPr>
            <a:xfrm>
              <a:off x="4068566" y="1568758"/>
              <a:ext cx="9612000" cy="461665"/>
            </a:xfrm>
            <a:prstGeom prst="rect">
              <a:avLst/>
            </a:prstGeom>
            <a:solidFill>
              <a:srgbClr val="EAEADE"/>
            </a:solidFill>
            <a:ln>
              <a:solidFill>
                <a:schemeClr val="tx1">
                  <a:alpha val="0"/>
                </a:schemeClr>
              </a:solidFill>
            </a:ln>
          </p:spPr>
          <p:txBody>
            <a:bodyPr wrap="square" rtlCol="0" anchor="ctr">
              <a:spAutoFit/>
            </a:bodyPr>
            <a:lstStyle/>
            <a:p>
              <a:pPr algn="ctr"/>
              <a:r>
                <a:rPr lang="es-CL" sz="2400" dirty="0">
                  <a:solidFill>
                    <a:srgbClr val="15C047"/>
                  </a:solidFill>
                  <a:latin typeface="ACHS Nueva Sans Medium" pitchFamily="2" charset="77"/>
                  <a:cs typeface="Calibri" panose="020F0502020204030204" pitchFamily="34" charset="0"/>
                </a:rPr>
                <a:t>ORGANISMO ADMINISTRADOR DE LA LEY (ACHS)</a:t>
              </a:r>
            </a:p>
          </p:txBody>
        </p:sp>
        <p:sp>
          <p:nvSpPr>
            <p:cNvPr id="79" name="CuadroTexto 78"/>
            <p:cNvSpPr txBox="1"/>
            <p:nvPr/>
          </p:nvSpPr>
          <p:spPr>
            <a:xfrm>
              <a:off x="4095729" y="2624521"/>
              <a:ext cx="1944000" cy="861803"/>
            </a:xfrm>
            <a:prstGeom prst="rect">
              <a:avLst/>
            </a:prstGeom>
            <a:solidFill>
              <a:srgbClr val="EAEADE"/>
            </a:solidFill>
            <a:ln>
              <a:solidFill>
                <a:schemeClr val="tx1">
                  <a:alpha val="0"/>
                </a:schemeClr>
              </a:solidFill>
            </a:ln>
          </p:spPr>
          <p:txBody>
            <a:bodyPr wrap="square" lIns="36000" tIns="36000" rIns="36000" bIns="36000" rtlCol="0" anchor="ctr">
              <a:spAutoFit/>
            </a:bodyPr>
            <a:lstStyle/>
            <a:p>
              <a:pPr marL="135255" marR="128270" indent="-1270" algn="ctr">
                <a:lnSpc>
                  <a:spcPct val="100000"/>
                </a:lnSpc>
              </a:pPr>
              <a:r>
                <a:rPr lang="es-CL" sz="1200" spc="-5" dirty="0">
                  <a:latin typeface="ACHS Nueva Sans Medium" pitchFamily="2" charset="77"/>
                  <a:cs typeface="Calibri" panose="020F0502020204030204" pitchFamily="34" charset="0"/>
                </a:rPr>
                <a:t>Elaborar </a:t>
              </a:r>
              <a:r>
                <a:rPr lang="es-CL" sz="1200" spc="-30" dirty="0">
                  <a:latin typeface="ACHS Nueva Sans Medium" pitchFamily="2" charset="77"/>
                  <a:cs typeface="Calibri" panose="020F0502020204030204" pitchFamily="34" charset="0"/>
                </a:rPr>
                <a:t>catastro </a:t>
              </a:r>
              <a:r>
                <a:rPr lang="es-CL" sz="1200" spc="-5" dirty="0">
                  <a:latin typeface="ACHS Nueva Sans Medium" pitchFamily="2" charset="77"/>
                  <a:cs typeface="Calibri" panose="020F0502020204030204" pitchFamily="34" charset="0"/>
                </a:rPr>
                <a:t>de </a:t>
              </a:r>
              <a:r>
                <a:rPr lang="es-CL" sz="1200" spc="-10" dirty="0">
                  <a:latin typeface="ACHS Nueva Sans Medium" pitchFamily="2" charset="77"/>
                  <a:cs typeface="Calibri" panose="020F0502020204030204" pitchFamily="34" charset="0"/>
                </a:rPr>
                <a:t>empresas </a:t>
              </a:r>
              <a:r>
                <a:rPr lang="es-CL" sz="1200" spc="-5" dirty="0">
                  <a:latin typeface="ACHS Nueva Sans Medium" pitchFamily="2" charset="77"/>
                  <a:cs typeface="Calibri" panose="020F0502020204030204" pitchFamily="34" charset="0"/>
                </a:rPr>
                <a:t>con potencial </a:t>
              </a:r>
              <a:r>
                <a:rPr lang="es-CL" sz="1200" dirty="0">
                  <a:latin typeface="ACHS Nueva Sans Medium" pitchFamily="2" charset="77"/>
                  <a:cs typeface="Calibri" panose="020F0502020204030204" pitchFamily="34" charset="0"/>
                </a:rPr>
                <a:t>exposición a </a:t>
              </a:r>
              <a:r>
                <a:rPr lang="es-CL" sz="1200" spc="-5" dirty="0">
                  <a:latin typeface="ACHS Nueva Sans Medium" pitchFamily="2" charset="77"/>
                  <a:cs typeface="Calibri" panose="020F0502020204030204" pitchFamily="34" charset="0"/>
                </a:rPr>
                <a:t>SÍLICE</a:t>
              </a:r>
              <a:endParaRPr lang="es-CL" sz="1200" dirty="0">
                <a:latin typeface="ACHS Nueva Sans Medium" pitchFamily="2" charset="77"/>
                <a:cs typeface="Calibri" panose="020F0502020204030204" pitchFamily="34" charset="0"/>
              </a:endParaRPr>
            </a:p>
          </p:txBody>
        </p:sp>
        <p:sp>
          <p:nvSpPr>
            <p:cNvPr id="80" name="CuadroTexto 79"/>
            <p:cNvSpPr txBox="1"/>
            <p:nvPr/>
          </p:nvSpPr>
          <p:spPr>
            <a:xfrm>
              <a:off x="4090323" y="4078345"/>
              <a:ext cx="1944000" cy="1057949"/>
            </a:xfrm>
            <a:prstGeom prst="rect">
              <a:avLst/>
            </a:prstGeom>
            <a:solidFill>
              <a:srgbClr val="EAEADE"/>
            </a:solidFill>
            <a:ln>
              <a:solidFill>
                <a:schemeClr val="tx1">
                  <a:alpha val="0"/>
                </a:schemeClr>
              </a:solidFill>
            </a:ln>
          </p:spPr>
          <p:txBody>
            <a:bodyPr wrap="square" lIns="36000" tIns="36000" rIns="36000" bIns="36000" rtlCol="0" anchor="ctr">
              <a:spAutoFit/>
            </a:bodyPr>
            <a:lstStyle/>
            <a:p>
              <a:pPr algn="ctr"/>
              <a:r>
                <a:rPr lang="es-CL" sz="1200" spc="-25" dirty="0">
                  <a:latin typeface="ACHS Nueva Sans Medium" pitchFamily="2" charset="77"/>
                  <a:cs typeface="Calibri" panose="020F0502020204030204" pitchFamily="34" charset="0"/>
                </a:rPr>
                <a:t>Meta</a:t>
              </a:r>
              <a:r>
                <a:rPr lang="es-CL" sz="1200" spc="-80" dirty="0">
                  <a:latin typeface="ACHS Nueva Sans Medium" pitchFamily="2" charset="77"/>
                  <a:cs typeface="Calibri" panose="020F0502020204030204" pitchFamily="34" charset="0"/>
                </a:rPr>
                <a:t> </a:t>
              </a:r>
              <a:r>
                <a:rPr lang="es-CL" sz="1200" spc="-5" dirty="0">
                  <a:latin typeface="ACHS Nueva Sans Medium" pitchFamily="2" charset="77"/>
                  <a:cs typeface="Calibri" panose="020F0502020204030204" pitchFamily="34" charset="0"/>
                </a:rPr>
                <a:t>PLANESI</a:t>
              </a:r>
              <a:endParaRPr lang="es-CL" sz="1200" dirty="0">
                <a:latin typeface="ACHS Nueva Sans Medium" pitchFamily="2" charset="77"/>
                <a:cs typeface="Calibri" panose="020F0502020204030204" pitchFamily="34" charset="0"/>
              </a:endParaRPr>
            </a:p>
            <a:p>
              <a:pPr algn="ctr"/>
              <a:r>
                <a:rPr lang="es-CL" sz="1200" spc="-5" dirty="0">
                  <a:latin typeface="ACHS Nueva Sans Medium" pitchFamily="2" charset="77"/>
                  <a:cs typeface="Calibri" panose="020F0502020204030204" pitchFamily="34" charset="0"/>
                </a:rPr>
                <a:t>Vigilancia</a:t>
              </a:r>
              <a:r>
                <a:rPr lang="es-CL" sz="1200" spc="-95" dirty="0">
                  <a:latin typeface="ACHS Nueva Sans Medium" pitchFamily="2" charset="77"/>
                  <a:cs typeface="Calibri" panose="020F0502020204030204" pitchFamily="34" charset="0"/>
                </a:rPr>
                <a:t> </a:t>
              </a:r>
              <a:r>
                <a:rPr lang="es-CL" sz="1200" dirty="0">
                  <a:latin typeface="ACHS Nueva Sans Medium" pitchFamily="2" charset="77"/>
                  <a:cs typeface="Calibri" panose="020F0502020204030204" pitchFamily="34" charset="0"/>
                </a:rPr>
                <a:t>ambiental</a:t>
              </a:r>
            </a:p>
            <a:p>
              <a:pPr marL="635" algn="ctr"/>
              <a:r>
                <a:rPr lang="es-CL" sz="1200" dirty="0">
                  <a:latin typeface="ACHS Nueva Sans Medium" pitchFamily="2" charset="77"/>
                  <a:cs typeface="Calibri" panose="020F0502020204030204" pitchFamily="34" charset="0"/>
                </a:rPr>
                <a:t>2012: 50%</a:t>
              </a:r>
              <a:r>
                <a:rPr lang="es-CL" sz="1200" spc="225" dirty="0">
                  <a:latin typeface="ACHS Nueva Sans Medium" pitchFamily="2" charset="77"/>
                  <a:cs typeface="Calibri" panose="020F0502020204030204" pitchFamily="34" charset="0"/>
                </a:rPr>
                <a:t> </a:t>
              </a:r>
              <a:r>
                <a:rPr lang="es-CL" sz="1200" spc="-5" dirty="0">
                  <a:latin typeface="ACHS Nueva Sans Medium" pitchFamily="2" charset="77"/>
                  <a:cs typeface="Calibri" panose="020F0502020204030204" pitchFamily="34" charset="0"/>
                </a:rPr>
                <a:t>empresas</a:t>
              </a:r>
              <a:endParaRPr lang="es-CL" sz="1200" dirty="0">
                <a:latin typeface="ACHS Nueva Sans Medium" pitchFamily="2" charset="77"/>
                <a:cs typeface="Calibri" panose="020F0502020204030204" pitchFamily="34" charset="0"/>
              </a:endParaRPr>
            </a:p>
            <a:p>
              <a:pPr marL="635" algn="ctr"/>
              <a:r>
                <a:rPr lang="es-CL" sz="1200" dirty="0">
                  <a:latin typeface="ACHS Nueva Sans Medium" pitchFamily="2" charset="77"/>
                  <a:cs typeface="Calibri" panose="020F0502020204030204" pitchFamily="34" charset="0"/>
                </a:rPr>
                <a:t>2015: 75%</a:t>
              </a:r>
              <a:r>
                <a:rPr lang="es-CL" sz="1200" spc="-50" dirty="0">
                  <a:latin typeface="ACHS Nueva Sans Medium" pitchFamily="2" charset="77"/>
                  <a:cs typeface="Calibri" panose="020F0502020204030204" pitchFamily="34" charset="0"/>
                </a:rPr>
                <a:t> </a:t>
              </a:r>
              <a:r>
                <a:rPr lang="es-CL" sz="1200" spc="-5" dirty="0">
                  <a:latin typeface="ACHS Nueva Sans Medium" pitchFamily="2" charset="77"/>
                  <a:cs typeface="Calibri" panose="020F0502020204030204" pitchFamily="34" charset="0"/>
                </a:rPr>
                <a:t>empresas</a:t>
              </a:r>
              <a:endParaRPr lang="es-CL" sz="1200" dirty="0">
                <a:latin typeface="ACHS Nueva Sans Medium" pitchFamily="2" charset="77"/>
                <a:cs typeface="Calibri" panose="020F0502020204030204" pitchFamily="34" charset="0"/>
              </a:endParaRPr>
            </a:p>
            <a:p>
              <a:pPr algn="ctr"/>
              <a:r>
                <a:rPr lang="es-CL" sz="1200" dirty="0">
                  <a:latin typeface="ACHS Nueva Sans Medium" pitchFamily="2" charset="77"/>
                  <a:cs typeface="Calibri" panose="020F0502020204030204" pitchFamily="34" charset="0"/>
                </a:rPr>
                <a:t>2018: 100% </a:t>
              </a:r>
              <a:r>
                <a:rPr lang="es-CL" sz="1200" spc="-5" dirty="0">
                  <a:latin typeface="ACHS Nueva Sans Medium" pitchFamily="2" charset="77"/>
                  <a:cs typeface="Calibri" panose="020F0502020204030204" pitchFamily="34" charset="0"/>
                </a:rPr>
                <a:t>empresas</a:t>
              </a:r>
              <a:endParaRPr lang="es-CL" sz="1200" dirty="0">
                <a:latin typeface="ACHS Nueva Sans Medium" pitchFamily="2" charset="77"/>
                <a:cs typeface="Calibri" panose="020F0502020204030204" pitchFamily="34" charset="0"/>
              </a:endParaRPr>
            </a:p>
          </p:txBody>
        </p:sp>
        <p:sp>
          <p:nvSpPr>
            <p:cNvPr id="81" name="Decisión 80"/>
            <p:cNvSpPr/>
            <p:nvPr/>
          </p:nvSpPr>
          <p:spPr>
            <a:xfrm>
              <a:off x="4057274" y="5681284"/>
              <a:ext cx="2008464" cy="1337822"/>
            </a:xfrm>
            <a:prstGeom prst="rect">
              <a:avLst/>
            </a:prstGeom>
            <a:solidFill>
              <a:srgbClr val="EAEADE"/>
            </a:solidFill>
            <a:ln>
              <a:solidFill>
                <a:schemeClr val="tx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CL" sz="1200" dirty="0">
                  <a:solidFill>
                    <a:schemeClr val="tx1"/>
                  </a:solidFill>
                  <a:latin typeface="ACHS Nueva Sans Medium" pitchFamily="2" charset="77"/>
                  <a:cs typeface="Calibri" panose="020F0502020204030204" pitchFamily="34" charset="0"/>
                </a:rPr>
                <a:t>Existe  </a:t>
              </a:r>
              <a:r>
                <a:rPr lang="es-CL" sz="1200" spc="-5" dirty="0">
                  <a:solidFill>
                    <a:schemeClr val="tx1"/>
                  </a:solidFill>
                  <a:latin typeface="ACHS Nueva Sans Medium" pitchFamily="2" charset="77"/>
                  <a:cs typeface="Calibri" panose="020F0502020204030204" pitchFamily="34" charset="0"/>
                </a:rPr>
                <a:t>pr</a:t>
              </a:r>
              <a:r>
                <a:rPr lang="es-CL" sz="1200" dirty="0">
                  <a:solidFill>
                    <a:schemeClr val="tx1"/>
                  </a:solidFill>
                  <a:latin typeface="ACHS Nueva Sans Medium" pitchFamily="2" charset="77"/>
                  <a:cs typeface="Calibri" panose="020F0502020204030204" pitchFamily="34" charset="0"/>
                </a:rPr>
                <a:t>e</a:t>
              </a:r>
              <a:r>
                <a:rPr lang="es-CL" sz="1200" spc="-10" dirty="0">
                  <a:solidFill>
                    <a:schemeClr val="tx1"/>
                  </a:solidFill>
                  <a:latin typeface="ACHS Nueva Sans Medium" pitchFamily="2" charset="77"/>
                  <a:cs typeface="Calibri" panose="020F0502020204030204" pitchFamily="34" charset="0"/>
                </a:rPr>
                <a:t>s</a:t>
              </a:r>
              <a:r>
                <a:rPr lang="es-CL" sz="1200" dirty="0">
                  <a:solidFill>
                    <a:schemeClr val="tx1"/>
                  </a:solidFill>
                  <a:latin typeface="ACHS Nueva Sans Medium" pitchFamily="2" charset="77"/>
                  <a:cs typeface="Calibri" panose="020F0502020204030204" pitchFamily="34" charset="0"/>
                </a:rPr>
                <a:t>encia  </a:t>
              </a:r>
              <a:r>
                <a:rPr lang="es-CL" sz="1200" spc="-5" dirty="0">
                  <a:solidFill>
                    <a:schemeClr val="tx1"/>
                  </a:solidFill>
                  <a:latin typeface="ACHS Nueva Sans Medium" pitchFamily="2" charset="77"/>
                  <a:cs typeface="Calibri" panose="020F0502020204030204" pitchFamily="34" charset="0"/>
                </a:rPr>
                <a:t>de</a:t>
              </a:r>
              <a:r>
                <a:rPr lang="es-CL" sz="1200" spc="-95" dirty="0">
                  <a:solidFill>
                    <a:schemeClr val="tx1"/>
                  </a:solidFill>
                  <a:latin typeface="ACHS Nueva Sans Medium" pitchFamily="2" charset="77"/>
                  <a:cs typeface="Calibri" panose="020F0502020204030204" pitchFamily="34" charset="0"/>
                </a:rPr>
                <a:t> </a:t>
              </a:r>
              <a:r>
                <a:rPr lang="es-CL" sz="1200" spc="-5" dirty="0">
                  <a:solidFill>
                    <a:schemeClr val="tx1"/>
                  </a:solidFill>
                  <a:latin typeface="ACHS Nueva Sans Medium" pitchFamily="2" charset="77"/>
                  <a:cs typeface="Calibri" panose="020F0502020204030204" pitchFamily="34" charset="0"/>
                </a:rPr>
                <a:t>SiO2</a:t>
              </a:r>
              <a:endParaRPr lang="es-CL" sz="1200" dirty="0">
                <a:solidFill>
                  <a:schemeClr val="tx1"/>
                </a:solidFill>
                <a:latin typeface="ACHS Nueva Sans Medium" pitchFamily="2" charset="77"/>
                <a:cs typeface="Calibri" panose="020F0502020204030204" pitchFamily="34" charset="0"/>
              </a:endParaRPr>
            </a:p>
          </p:txBody>
        </p:sp>
        <p:cxnSp>
          <p:nvCxnSpPr>
            <p:cNvPr id="82" name="Conector recto de flecha 81"/>
            <p:cNvCxnSpPr>
              <a:cxnSpLocks/>
              <a:stCxn id="79" idx="2"/>
              <a:endCxn id="80" idx="0"/>
            </p:cNvCxnSpPr>
            <p:nvPr/>
          </p:nvCxnSpPr>
          <p:spPr>
            <a:xfrm flipH="1">
              <a:off x="5062324" y="3486324"/>
              <a:ext cx="5405" cy="592020"/>
            </a:xfrm>
            <a:prstGeom prst="straightConnector1">
              <a:avLst/>
            </a:prstGeom>
            <a:ln>
              <a:solidFill>
                <a:srgbClr val="15C04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Conector recto de flecha 82"/>
            <p:cNvCxnSpPr>
              <a:cxnSpLocks/>
              <a:stCxn id="80" idx="2"/>
            </p:cNvCxnSpPr>
            <p:nvPr/>
          </p:nvCxnSpPr>
          <p:spPr>
            <a:xfrm flipH="1">
              <a:off x="5061507" y="5136293"/>
              <a:ext cx="817" cy="544990"/>
            </a:xfrm>
            <a:prstGeom prst="straightConnector1">
              <a:avLst/>
            </a:prstGeom>
            <a:ln>
              <a:solidFill>
                <a:srgbClr val="15C04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Elipse 83"/>
            <p:cNvSpPr/>
            <p:nvPr/>
          </p:nvSpPr>
          <p:spPr>
            <a:xfrm>
              <a:off x="4572620" y="7388178"/>
              <a:ext cx="991479" cy="933446"/>
            </a:xfrm>
            <a:prstGeom prst="ellipse">
              <a:avLst/>
            </a:prstGeom>
            <a:solidFill>
              <a:srgbClr val="EAEADE"/>
            </a:solidFill>
            <a:ln>
              <a:solidFill>
                <a:schemeClr val="tx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solidFill>
                    <a:schemeClr val="tx1"/>
                  </a:solidFill>
                  <a:latin typeface="ACHS Nueva Sans SemiBold" pitchFamily="2" charset="77"/>
                  <a:cs typeface="Calibri" panose="020F0502020204030204" pitchFamily="34" charset="0"/>
                </a:rPr>
                <a:t>FIN</a:t>
              </a:r>
            </a:p>
          </p:txBody>
        </p:sp>
        <p:cxnSp>
          <p:nvCxnSpPr>
            <p:cNvPr id="85" name="Conector recto de flecha 84"/>
            <p:cNvCxnSpPr/>
            <p:nvPr/>
          </p:nvCxnSpPr>
          <p:spPr>
            <a:xfrm>
              <a:off x="5061506" y="7019106"/>
              <a:ext cx="6854" cy="369072"/>
            </a:xfrm>
            <a:prstGeom prst="straightConnector1">
              <a:avLst/>
            </a:prstGeom>
            <a:ln>
              <a:solidFill>
                <a:srgbClr val="15C04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6" name="CuadroTexto 85"/>
            <p:cNvSpPr txBox="1"/>
            <p:nvPr/>
          </p:nvSpPr>
          <p:spPr>
            <a:xfrm>
              <a:off x="6588844" y="2551446"/>
              <a:ext cx="1800000" cy="469513"/>
            </a:xfrm>
            <a:prstGeom prst="rect">
              <a:avLst/>
            </a:prstGeom>
            <a:solidFill>
              <a:srgbClr val="EAEADE"/>
            </a:solidFill>
            <a:ln>
              <a:solidFill>
                <a:schemeClr val="tx1">
                  <a:alpha val="0"/>
                </a:schemeClr>
              </a:solidFill>
            </a:ln>
          </p:spPr>
          <p:txBody>
            <a:bodyPr wrap="square" lIns="36000" tIns="36000" rIns="36000" bIns="36000" rtlCol="0" anchor="ctr">
              <a:spAutoFit/>
            </a:bodyPr>
            <a:lstStyle/>
            <a:p>
              <a:pPr algn="ctr"/>
              <a:r>
                <a:rPr lang="es-CL" sz="1200" spc="-20" dirty="0">
                  <a:latin typeface="ACHS Nueva Sans Medium" pitchFamily="2" charset="77"/>
                  <a:cs typeface="Calibri" panose="020F0502020204030204" pitchFamily="34" charset="0"/>
                </a:rPr>
                <a:t>Efectuar evaluación cualitativa.</a:t>
              </a:r>
              <a:endParaRPr lang="es-CL" sz="1200" dirty="0">
                <a:latin typeface="ACHS Nueva Sans Medium" pitchFamily="2" charset="77"/>
                <a:cs typeface="Calibri" panose="020F0502020204030204" pitchFamily="34" charset="0"/>
              </a:endParaRPr>
            </a:p>
          </p:txBody>
        </p:sp>
        <p:sp>
          <p:nvSpPr>
            <p:cNvPr id="88" name="Decisión 87"/>
            <p:cNvSpPr/>
            <p:nvPr/>
          </p:nvSpPr>
          <p:spPr>
            <a:xfrm>
              <a:off x="6246389" y="4641900"/>
              <a:ext cx="2474800" cy="1351716"/>
            </a:xfrm>
            <a:prstGeom prst="rect">
              <a:avLst/>
            </a:prstGeom>
            <a:solidFill>
              <a:srgbClr val="EAEADE"/>
            </a:solidFill>
            <a:ln>
              <a:solidFill>
                <a:schemeClr val="tx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2700" marR="5080" indent="-635" algn="ctr">
                <a:lnSpc>
                  <a:spcPct val="100000"/>
                </a:lnSpc>
              </a:pPr>
              <a:endParaRPr lang="es-CL" sz="1400" dirty="0">
                <a:solidFill>
                  <a:schemeClr val="tx1"/>
                </a:solidFill>
                <a:latin typeface="ACHS Nueva Sans Medium" pitchFamily="2" charset="77"/>
                <a:cs typeface="Calibri" panose="020F0502020204030204" pitchFamily="34" charset="0"/>
              </a:endParaRPr>
            </a:p>
          </p:txBody>
        </p:sp>
        <p:sp>
          <p:nvSpPr>
            <p:cNvPr id="96" name="CuadroTexto 95"/>
            <p:cNvSpPr txBox="1"/>
            <p:nvPr/>
          </p:nvSpPr>
          <p:spPr>
            <a:xfrm>
              <a:off x="9397156" y="5642926"/>
              <a:ext cx="1800000" cy="442035"/>
            </a:xfrm>
            <a:prstGeom prst="rect">
              <a:avLst/>
            </a:prstGeom>
            <a:solidFill>
              <a:srgbClr val="0C662F"/>
            </a:solidFill>
            <a:ln>
              <a:solidFill>
                <a:schemeClr val="tx1">
                  <a:alpha val="0"/>
                </a:schemeClr>
              </a:solidFill>
            </a:ln>
          </p:spPr>
          <p:txBody>
            <a:bodyPr wrap="square" lIns="0" tIns="36000" rIns="0" bIns="36000" rtlCol="0" anchor="ctr">
              <a:spAutoFit/>
            </a:bodyPr>
            <a:lstStyle/>
            <a:p>
              <a:pPr algn="ctr"/>
              <a:r>
                <a:rPr lang="es-CL" sz="1100" b="1" dirty="0">
                  <a:solidFill>
                    <a:srgbClr val="FFFFFF"/>
                  </a:solidFill>
                  <a:latin typeface="ACHS Nueva Sans SemiBold" pitchFamily="2" charset="77"/>
                  <a:cs typeface="Calibri" panose="020F0502020204030204" pitchFamily="34" charset="0"/>
                </a:rPr>
                <a:t>1LPP &lt; C &lt; = 5</a:t>
              </a:r>
              <a:r>
                <a:rPr lang="es-CL" sz="1100" b="1" spc="-95" dirty="0">
                  <a:solidFill>
                    <a:srgbClr val="FFFFFF"/>
                  </a:solidFill>
                  <a:latin typeface="ACHS Nueva Sans SemiBold" pitchFamily="2" charset="77"/>
                  <a:cs typeface="Calibri" panose="020F0502020204030204" pitchFamily="34" charset="0"/>
                </a:rPr>
                <a:t> </a:t>
              </a:r>
              <a:r>
                <a:rPr lang="es-CL" sz="1100" b="1" dirty="0">
                  <a:solidFill>
                    <a:srgbClr val="FFFFFF"/>
                  </a:solidFill>
                  <a:latin typeface="ACHS Nueva Sans SemiBold" pitchFamily="2" charset="77"/>
                  <a:cs typeface="Calibri" panose="020F0502020204030204" pitchFamily="34" charset="0"/>
                </a:rPr>
                <a:t>LPP</a:t>
              </a:r>
              <a:endParaRPr lang="es-CL" sz="1100" b="1" dirty="0">
                <a:latin typeface="ACHS Nueva Sans SemiBold" pitchFamily="2" charset="77"/>
                <a:cs typeface="Calibri" panose="020F0502020204030204" pitchFamily="34" charset="0"/>
              </a:endParaRPr>
            </a:p>
            <a:p>
              <a:pPr algn="ctr"/>
              <a:r>
                <a:rPr lang="es-CL" sz="1100" b="1" spc="-5" dirty="0">
                  <a:solidFill>
                    <a:srgbClr val="FFFFFF"/>
                  </a:solidFill>
                  <a:latin typeface="ACHS Nueva Sans SemiBold" pitchFamily="2" charset="77"/>
                  <a:cs typeface="Calibri" panose="020F0502020204030204" pitchFamily="34" charset="0"/>
                </a:rPr>
                <a:t>NIVEL </a:t>
              </a:r>
              <a:r>
                <a:rPr lang="es-CL" sz="1100" b="1" dirty="0">
                  <a:solidFill>
                    <a:srgbClr val="FFFFFF"/>
                  </a:solidFill>
                  <a:latin typeface="ACHS Nueva Sans SemiBold" pitchFamily="2" charset="77"/>
                  <a:cs typeface="Calibri" panose="020F0502020204030204" pitchFamily="34" charset="0"/>
                </a:rPr>
                <a:t>RIESGO</a:t>
              </a:r>
              <a:r>
                <a:rPr lang="es-CL" sz="1100" b="1" spc="-100" dirty="0">
                  <a:solidFill>
                    <a:srgbClr val="FFFFFF"/>
                  </a:solidFill>
                  <a:latin typeface="ACHS Nueva Sans SemiBold" pitchFamily="2" charset="77"/>
                  <a:cs typeface="Calibri" panose="020F0502020204030204" pitchFamily="34" charset="0"/>
                </a:rPr>
                <a:t> </a:t>
              </a:r>
              <a:r>
                <a:rPr lang="es-CL" sz="1100" b="1" dirty="0">
                  <a:solidFill>
                    <a:srgbClr val="FFFFFF"/>
                  </a:solidFill>
                  <a:latin typeface="ACHS Nueva Sans SemiBold" pitchFamily="2" charset="77"/>
                  <a:cs typeface="Calibri" panose="020F0502020204030204" pitchFamily="34" charset="0"/>
                </a:rPr>
                <a:t>4</a:t>
              </a:r>
              <a:endParaRPr lang="es-CL" sz="1100" b="1" dirty="0">
                <a:latin typeface="ACHS Nueva Sans SemiBold" pitchFamily="2" charset="77"/>
                <a:cs typeface="Calibri" panose="020F0502020204030204" pitchFamily="34" charset="0"/>
              </a:endParaRPr>
            </a:p>
          </p:txBody>
        </p:sp>
        <p:sp>
          <p:nvSpPr>
            <p:cNvPr id="98" name="Rectángulo 97"/>
            <p:cNvSpPr/>
            <p:nvPr/>
          </p:nvSpPr>
          <p:spPr>
            <a:xfrm>
              <a:off x="13774089" y="1495276"/>
              <a:ext cx="2320041" cy="5724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2400" b="1" dirty="0">
                  <a:latin typeface="ACHS Nueva Sans SemiBold" pitchFamily="2" charset="77"/>
                  <a:cs typeface="Calibri" panose="020F0502020204030204" pitchFamily="34" charset="0"/>
                </a:rPr>
                <a:t>EMPRESA</a:t>
              </a:r>
            </a:p>
          </p:txBody>
        </p:sp>
        <p:sp>
          <p:nvSpPr>
            <p:cNvPr id="99" name="Documento 98"/>
            <p:cNvSpPr/>
            <p:nvPr/>
          </p:nvSpPr>
          <p:spPr>
            <a:xfrm>
              <a:off x="13804766" y="2209964"/>
              <a:ext cx="2320041" cy="864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CL" sz="1200" dirty="0">
                  <a:solidFill>
                    <a:schemeClr val="bg1"/>
                  </a:solidFill>
                  <a:latin typeface="ACHS Nueva Sans Medium" pitchFamily="2" charset="77"/>
                  <a:cs typeface="Calibri" panose="020F0502020204030204" pitchFamily="34" charset="0"/>
                </a:rPr>
                <a:t>Implementar </a:t>
              </a:r>
              <a:r>
                <a:rPr lang="es-CL" sz="1200" spc="-5" dirty="0">
                  <a:solidFill>
                    <a:schemeClr val="bg1"/>
                  </a:solidFill>
                  <a:latin typeface="ACHS Nueva Sans Medium" pitchFamily="2" charset="77"/>
                  <a:cs typeface="Calibri" panose="020F0502020204030204" pitchFamily="34" charset="0"/>
                </a:rPr>
                <a:t>medidas </a:t>
              </a:r>
              <a:r>
                <a:rPr lang="es-CL" sz="1200" dirty="0">
                  <a:solidFill>
                    <a:schemeClr val="bg1"/>
                  </a:solidFill>
                  <a:latin typeface="ACHS Nueva Sans Medium" pitchFamily="2" charset="77"/>
                  <a:cs typeface="Calibri" panose="020F0502020204030204" pitchFamily="34" charset="0"/>
                </a:rPr>
                <a:t>de</a:t>
              </a:r>
              <a:r>
                <a:rPr lang="es-CL" sz="1200" spc="-60" dirty="0">
                  <a:solidFill>
                    <a:schemeClr val="bg1"/>
                  </a:solidFill>
                  <a:latin typeface="ACHS Nueva Sans Medium" pitchFamily="2" charset="77"/>
                  <a:cs typeface="Calibri" panose="020F0502020204030204" pitchFamily="34" charset="0"/>
                </a:rPr>
                <a:t> </a:t>
              </a:r>
              <a:r>
                <a:rPr lang="es-CL" sz="1200" spc="-5" dirty="0">
                  <a:solidFill>
                    <a:schemeClr val="bg1"/>
                  </a:solidFill>
                  <a:latin typeface="ACHS Nueva Sans Medium" pitchFamily="2" charset="77"/>
                  <a:cs typeface="Calibri" panose="020F0502020204030204" pitchFamily="34" charset="0"/>
                </a:rPr>
                <a:t>control </a:t>
              </a:r>
              <a:r>
                <a:rPr lang="es-CL" sz="1200" spc="-10" dirty="0">
                  <a:solidFill>
                    <a:schemeClr val="bg1"/>
                  </a:solidFill>
                  <a:latin typeface="ACHS Nueva Sans Medium" pitchFamily="2" charset="77"/>
                  <a:cs typeface="Calibri" panose="020F0502020204030204" pitchFamily="34" charset="0"/>
                </a:rPr>
                <a:t>entregadas </a:t>
              </a:r>
              <a:r>
                <a:rPr lang="es-CL" sz="1200" dirty="0">
                  <a:solidFill>
                    <a:schemeClr val="bg1"/>
                  </a:solidFill>
                  <a:latin typeface="ACHS Nueva Sans Medium" pitchFamily="2" charset="77"/>
                  <a:cs typeface="Calibri" panose="020F0502020204030204" pitchFamily="34" charset="0"/>
                </a:rPr>
                <a:t>por  </a:t>
              </a:r>
              <a:r>
                <a:rPr lang="es-CL" sz="1200" spc="-5" dirty="0">
                  <a:solidFill>
                    <a:schemeClr val="bg1"/>
                  </a:solidFill>
                  <a:latin typeface="ACHS Nueva Sans Medium" pitchFamily="2" charset="77"/>
                  <a:cs typeface="Calibri" panose="020F0502020204030204" pitchFamily="34" charset="0"/>
                </a:rPr>
                <a:t>OAL/SEREMI.</a:t>
              </a:r>
              <a:endParaRPr lang="es-CL" sz="1200" dirty="0">
                <a:solidFill>
                  <a:schemeClr val="bg1"/>
                </a:solidFill>
                <a:latin typeface="ACHS Nueva Sans Medium" pitchFamily="2" charset="77"/>
                <a:cs typeface="Calibri" panose="020F0502020204030204" pitchFamily="34" charset="0"/>
              </a:endParaRPr>
            </a:p>
          </p:txBody>
        </p:sp>
        <p:sp>
          <p:nvSpPr>
            <p:cNvPr id="100" name="Documento 99"/>
            <p:cNvSpPr/>
            <p:nvPr/>
          </p:nvSpPr>
          <p:spPr>
            <a:xfrm>
              <a:off x="13807426" y="3276425"/>
              <a:ext cx="2320041" cy="864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47625" marR="5080" indent="-35560" algn="ctr">
                <a:lnSpc>
                  <a:spcPct val="100000"/>
                </a:lnSpc>
              </a:pPr>
              <a:r>
                <a:rPr lang="es-CL" sz="1200" spc="-5" dirty="0">
                  <a:solidFill>
                    <a:schemeClr val="bg1"/>
                  </a:solidFill>
                  <a:latin typeface="ACHS Nueva Sans Medium" pitchFamily="2" charset="77"/>
                  <a:cs typeface="Calibri" panose="020F0502020204030204" pitchFamily="34" charset="0"/>
                </a:rPr>
                <a:t>Informar los riesgos laborales </a:t>
              </a:r>
              <a:r>
                <a:rPr lang="es-CL" sz="1200" dirty="0">
                  <a:solidFill>
                    <a:schemeClr val="bg1"/>
                  </a:solidFill>
                  <a:latin typeface="ACHS Nueva Sans Medium" pitchFamily="2" charset="77"/>
                  <a:cs typeface="Calibri" panose="020F0502020204030204" pitchFamily="34" charset="0"/>
                </a:rPr>
                <a:t>a</a:t>
              </a:r>
              <a:r>
                <a:rPr lang="es-CL" sz="1200" spc="-70" dirty="0">
                  <a:solidFill>
                    <a:schemeClr val="bg1"/>
                  </a:solidFill>
                  <a:latin typeface="ACHS Nueva Sans Medium" pitchFamily="2" charset="77"/>
                  <a:cs typeface="Calibri" panose="020F0502020204030204" pitchFamily="34" charset="0"/>
                </a:rPr>
                <a:t> </a:t>
              </a:r>
              <a:r>
                <a:rPr lang="es-CL" sz="1200" spc="-5" dirty="0">
                  <a:solidFill>
                    <a:schemeClr val="bg1"/>
                  </a:solidFill>
                  <a:latin typeface="ACHS Nueva Sans Medium" pitchFamily="2" charset="77"/>
                  <a:cs typeface="Calibri" panose="020F0502020204030204" pitchFamily="34" charset="0"/>
                </a:rPr>
                <a:t>trabajadores. D.S: N° 40, Art. 21.</a:t>
              </a:r>
              <a:endParaRPr lang="es-CL" sz="1200" dirty="0">
                <a:solidFill>
                  <a:schemeClr val="bg1"/>
                </a:solidFill>
                <a:latin typeface="ACHS Nueva Sans Medium" pitchFamily="2" charset="77"/>
                <a:cs typeface="Calibri" panose="020F0502020204030204" pitchFamily="34" charset="0"/>
              </a:endParaRPr>
            </a:p>
          </p:txBody>
        </p:sp>
        <p:sp>
          <p:nvSpPr>
            <p:cNvPr id="101" name="Documento 100"/>
            <p:cNvSpPr/>
            <p:nvPr/>
          </p:nvSpPr>
          <p:spPr>
            <a:xfrm>
              <a:off x="13826081" y="4356546"/>
              <a:ext cx="2320041" cy="684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200" spc="-5" dirty="0">
                  <a:solidFill>
                    <a:schemeClr val="bg1"/>
                  </a:solidFill>
                  <a:latin typeface="ACHS Nueva Sans Medium" pitchFamily="2" charset="77"/>
                  <a:cs typeface="Calibri" panose="020F0502020204030204" pitchFamily="34" charset="0"/>
                </a:rPr>
                <a:t>Implementar</a:t>
              </a:r>
              <a:r>
                <a:rPr lang="es-CL" sz="1200" spc="-60" dirty="0">
                  <a:solidFill>
                    <a:schemeClr val="bg1"/>
                  </a:solidFill>
                  <a:latin typeface="ACHS Nueva Sans Medium" pitchFamily="2" charset="77"/>
                  <a:cs typeface="Calibri" panose="020F0502020204030204" pitchFamily="34" charset="0"/>
                </a:rPr>
                <a:t> </a:t>
              </a:r>
              <a:r>
                <a:rPr lang="es-CL" sz="1200" spc="-5" dirty="0">
                  <a:solidFill>
                    <a:schemeClr val="bg1"/>
                  </a:solidFill>
                  <a:latin typeface="ACHS Nueva Sans Medium" pitchFamily="2" charset="77"/>
                  <a:cs typeface="Calibri" panose="020F0502020204030204" pitchFamily="34" charset="0"/>
                </a:rPr>
                <a:t>SGSST -  SILICE.</a:t>
              </a:r>
              <a:endParaRPr lang="es-CL" sz="1200" dirty="0">
                <a:solidFill>
                  <a:schemeClr val="bg1"/>
                </a:solidFill>
                <a:latin typeface="ACHS Nueva Sans Medium" pitchFamily="2" charset="77"/>
                <a:cs typeface="Calibri" panose="020F0502020204030204" pitchFamily="34" charset="0"/>
              </a:endParaRPr>
            </a:p>
          </p:txBody>
        </p:sp>
        <p:sp>
          <p:nvSpPr>
            <p:cNvPr id="102" name="Documento 101"/>
            <p:cNvSpPr/>
            <p:nvPr/>
          </p:nvSpPr>
          <p:spPr>
            <a:xfrm>
              <a:off x="13828742" y="5292650"/>
              <a:ext cx="2320041" cy="684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200" spc="-5" dirty="0">
                  <a:solidFill>
                    <a:schemeClr val="bg1"/>
                  </a:solidFill>
                  <a:latin typeface="ACHS Nueva Sans Medium" pitchFamily="2" charset="77"/>
                  <a:cs typeface="Calibri" panose="020F0502020204030204" pitchFamily="34" charset="0"/>
                </a:rPr>
                <a:t>Difundir Protocolo cada 2</a:t>
              </a:r>
              <a:r>
                <a:rPr lang="es-CL" sz="1200" spc="-85" dirty="0">
                  <a:solidFill>
                    <a:schemeClr val="bg1"/>
                  </a:solidFill>
                  <a:latin typeface="ACHS Nueva Sans Medium" pitchFamily="2" charset="77"/>
                  <a:cs typeface="Calibri" panose="020F0502020204030204" pitchFamily="34" charset="0"/>
                </a:rPr>
                <a:t> </a:t>
              </a:r>
              <a:r>
                <a:rPr lang="es-CL" sz="1200" spc="-5" dirty="0">
                  <a:solidFill>
                    <a:schemeClr val="bg1"/>
                  </a:solidFill>
                  <a:latin typeface="ACHS Nueva Sans Medium" pitchFamily="2" charset="77"/>
                  <a:cs typeface="Calibri" panose="020F0502020204030204" pitchFamily="34" charset="0"/>
                </a:rPr>
                <a:t>años.</a:t>
              </a:r>
              <a:endParaRPr lang="es-CL" sz="1200" dirty="0">
                <a:solidFill>
                  <a:schemeClr val="bg1"/>
                </a:solidFill>
                <a:latin typeface="ACHS Nueva Sans Medium" pitchFamily="2" charset="77"/>
                <a:cs typeface="Calibri" panose="020F0502020204030204" pitchFamily="34" charset="0"/>
              </a:endParaRPr>
            </a:p>
          </p:txBody>
        </p:sp>
        <p:sp>
          <p:nvSpPr>
            <p:cNvPr id="103" name="Documento 102"/>
            <p:cNvSpPr/>
            <p:nvPr/>
          </p:nvSpPr>
          <p:spPr>
            <a:xfrm>
              <a:off x="13847398" y="6300762"/>
              <a:ext cx="2320041" cy="684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200" spc="-5" dirty="0">
                  <a:solidFill>
                    <a:schemeClr val="bg1"/>
                  </a:solidFill>
                  <a:latin typeface="ACHS Nueva Sans Medium" pitchFamily="2" charset="77"/>
                  <a:cs typeface="Calibri" panose="020F0502020204030204" pitchFamily="34" charset="0"/>
                </a:rPr>
                <a:t>Entregar EPR y contar con </a:t>
              </a:r>
              <a:r>
                <a:rPr lang="es-CL" sz="1200" spc="-25" dirty="0" err="1">
                  <a:solidFill>
                    <a:schemeClr val="bg1"/>
                  </a:solidFill>
                  <a:latin typeface="ACHS Nueva Sans Medium" pitchFamily="2" charset="77"/>
                  <a:cs typeface="Calibri" panose="020F0502020204030204" pitchFamily="34" charset="0"/>
                </a:rPr>
                <a:t>Progr</a:t>
              </a:r>
              <a:r>
                <a:rPr lang="es-CL" sz="1200" spc="-25" dirty="0">
                  <a:solidFill>
                    <a:schemeClr val="bg1"/>
                  </a:solidFill>
                  <a:latin typeface="ACHS Nueva Sans Medium" pitchFamily="2" charset="77"/>
                  <a:cs typeface="Calibri" panose="020F0502020204030204" pitchFamily="34" charset="0"/>
                </a:rPr>
                <a:t>. </a:t>
              </a:r>
              <a:r>
                <a:rPr lang="es-CL" sz="1200" spc="-5" dirty="0">
                  <a:solidFill>
                    <a:schemeClr val="bg1"/>
                  </a:solidFill>
                  <a:latin typeface="ACHS Nueva Sans Medium" pitchFamily="2" charset="77"/>
                  <a:cs typeface="Calibri" panose="020F0502020204030204" pitchFamily="34" charset="0"/>
                </a:rPr>
                <a:t>PR  según </a:t>
              </a:r>
              <a:r>
                <a:rPr lang="es-CL" sz="1200" dirty="0">
                  <a:solidFill>
                    <a:schemeClr val="bg1"/>
                  </a:solidFill>
                  <a:latin typeface="ACHS Nueva Sans Medium" pitchFamily="2" charset="77"/>
                  <a:cs typeface="Calibri" panose="020F0502020204030204" pitchFamily="34" charset="0"/>
                </a:rPr>
                <a:t>Guía</a:t>
              </a:r>
              <a:r>
                <a:rPr lang="es-CL" sz="1200" spc="-80" dirty="0">
                  <a:solidFill>
                    <a:schemeClr val="bg1"/>
                  </a:solidFill>
                  <a:latin typeface="ACHS Nueva Sans Medium" pitchFamily="2" charset="77"/>
                  <a:cs typeface="Calibri" panose="020F0502020204030204" pitchFamily="34" charset="0"/>
                </a:rPr>
                <a:t> </a:t>
              </a:r>
              <a:r>
                <a:rPr lang="es-CL" sz="1200" dirty="0">
                  <a:solidFill>
                    <a:schemeClr val="bg1"/>
                  </a:solidFill>
                  <a:latin typeface="ACHS Nueva Sans Medium" pitchFamily="2" charset="77"/>
                  <a:cs typeface="Calibri" panose="020F0502020204030204" pitchFamily="34" charset="0"/>
                </a:rPr>
                <a:t>ISP</a:t>
              </a:r>
            </a:p>
          </p:txBody>
        </p:sp>
        <p:sp>
          <p:nvSpPr>
            <p:cNvPr id="105" name="Documento 104"/>
            <p:cNvSpPr/>
            <p:nvPr/>
          </p:nvSpPr>
          <p:spPr>
            <a:xfrm>
              <a:off x="13850059" y="7308994"/>
              <a:ext cx="2320041" cy="1152000"/>
            </a:xfrm>
            <a:prstGeom prst="rect">
              <a:avLst/>
            </a:prstGeom>
            <a:solidFill>
              <a:srgbClr val="15C047"/>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200" spc="-5" dirty="0">
                  <a:solidFill>
                    <a:schemeClr val="bg1"/>
                  </a:solidFill>
                  <a:latin typeface="ACHS Nueva Sans Medium" pitchFamily="2" charset="77"/>
                  <a:cs typeface="Calibri" panose="020F0502020204030204" pitchFamily="34" charset="0"/>
                </a:rPr>
                <a:t>Informar resultado </a:t>
              </a:r>
              <a:r>
                <a:rPr lang="es-CL" sz="1200" dirty="0">
                  <a:solidFill>
                    <a:schemeClr val="bg1"/>
                  </a:solidFill>
                  <a:latin typeface="ACHS Nueva Sans Medium" pitchFamily="2" charset="77"/>
                  <a:cs typeface="Calibri" panose="020F0502020204030204" pitchFamily="34" charset="0"/>
                </a:rPr>
                <a:t>de evaluaciones ambientales a CPHS., trabajadores y d</a:t>
              </a:r>
              <a:r>
                <a:rPr lang="es-CL" sz="1200" spc="-10" dirty="0">
                  <a:solidFill>
                    <a:schemeClr val="bg1"/>
                  </a:solidFill>
                  <a:latin typeface="ACHS Nueva Sans Medium" pitchFamily="2" charset="77"/>
                  <a:cs typeface="Calibri" panose="020F0502020204030204" pitchFamily="34" charset="0"/>
                </a:rPr>
                <a:t>irigentes </a:t>
              </a:r>
              <a:r>
                <a:rPr lang="es-CL" sz="1200" spc="-5" dirty="0">
                  <a:solidFill>
                    <a:schemeClr val="bg1"/>
                  </a:solidFill>
                  <a:latin typeface="ACHS Nueva Sans Medium" pitchFamily="2" charset="77"/>
                  <a:cs typeface="Calibri" panose="020F0502020204030204" pitchFamily="34" charset="0"/>
                </a:rPr>
                <a:t>sindicales.</a:t>
              </a:r>
              <a:endParaRPr lang="es-CL" sz="1200" dirty="0">
                <a:solidFill>
                  <a:schemeClr val="bg1"/>
                </a:solidFill>
                <a:latin typeface="ACHS Nueva Sans Medium" pitchFamily="2" charset="77"/>
                <a:cs typeface="Calibri" panose="020F0502020204030204" pitchFamily="34" charset="0"/>
              </a:endParaRPr>
            </a:p>
          </p:txBody>
        </p:sp>
        <p:sp>
          <p:nvSpPr>
            <p:cNvPr id="106" name="CuadroTexto 105"/>
            <p:cNvSpPr txBox="1"/>
            <p:nvPr/>
          </p:nvSpPr>
          <p:spPr>
            <a:xfrm>
              <a:off x="5205741" y="7072401"/>
              <a:ext cx="506191" cy="276999"/>
            </a:xfrm>
            <a:prstGeom prst="rect">
              <a:avLst/>
            </a:prstGeom>
            <a:noFill/>
          </p:spPr>
          <p:txBody>
            <a:bodyPr wrap="square" rtlCol="0">
              <a:spAutoFit/>
            </a:bodyPr>
            <a:lstStyle/>
            <a:p>
              <a:pPr algn="ctr"/>
              <a:r>
                <a:rPr lang="es-CL" sz="1200" b="1" dirty="0">
                  <a:latin typeface="Calibri" panose="020F0502020204030204" pitchFamily="34" charset="0"/>
                  <a:cs typeface="Calibri" panose="020F0502020204030204" pitchFamily="34" charset="0"/>
                </a:rPr>
                <a:t>NO</a:t>
              </a:r>
            </a:p>
          </p:txBody>
        </p:sp>
        <p:sp>
          <p:nvSpPr>
            <p:cNvPr id="107" name="CuadroTexto 106"/>
            <p:cNvSpPr txBox="1"/>
            <p:nvPr/>
          </p:nvSpPr>
          <p:spPr>
            <a:xfrm>
              <a:off x="6160734" y="6362215"/>
              <a:ext cx="506191" cy="276999"/>
            </a:xfrm>
            <a:prstGeom prst="rect">
              <a:avLst/>
            </a:prstGeom>
            <a:noFill/>
          </p:spPr>
          <p:txBody>
            <a:bodyPr wrap="square" rtlCol="0">
              <a:spAutoFit/>
            </a:bodyPr>
            <a:lstStyle/>
            <a:p>
              <a:pPr algn="ctr"/>
              <a:r>
                <a:rPr lang="es-CL" sz="1200" b="1" dirty="0">
                  <a:latin typeface="Calibri" panose="020F0502020204030204" pitchFamily="34" charset="0"/>
                  <a:cs typeface="Calibri" panose="020F0502020204030204" pitchFamily="34" charset="0"/>
                </a:rPr>
                <a:t>SI</a:t>
              </a:r>
            </a:p>
          </p:txBody>
        </p:sp>
        <p:sp>
          <p:nvSpPr>
            <p:cNvPr id="58" name="CuadroTexto 57"/>
            <p:cNvSpPr txBox="1"/>
            <p:nvPr/>
          </p:nvSpPr>
          <p:spPr>
            <a:xfrm>
              <a:off x="11260086" y="2587529"/>
              <a:ext cx="2412000" cy="861803"/>
            </a:xfrm>
            <a:prstGeom prst="rect">
              <a:avLst/>
            </a:prstGeom>
            <a:solidFill>
              <a:srgbClr val="EAEADE"/>
            </a:solidFill>
            <a:ln>
              <a:solidFill>
                <a:schemeClr val="tx1">
                  <a:alpha val="0"/>
                </a:schemeClr>
              </a:solidFill>
            </a:ln>
          </p:spPr>
          <p:txBody>
            <a:bodyPr wrap="square" lIns="36000" tIns="36000" rIns="36000" bIns="36000" rtlCol="0" anchor="ctr">
              <a:spAutoFit/>
            </a:bodyPr>
            <a:lstStyle/>
            <a:p>
              <a:pPr algn="ctr"/>
              <a:r>
                <a:rPr lang="es-CL" sz="1200" dirty="0">
                  <a:latin typeface="ACHS Nueva Sans Medium" pitchFamily="2" charset="77"/>
                  <a:cs typeface="Calibri" panose="020F0502020204030204" pitchFamily="34" charset="0"/>
                </a:rPr>
                <a:t>Efectuar</a:t>
              </a:r>
              <a:r>
                <a:rPr lang="es-CL" sz="1200" spc="-95" dirty="0">
                  <a:latin typeface="ACHS Nueva Sans Medium" pitchFamily="2" charset="77"/>
                  <a:cs typeface="Calibri" panose="020F0502020204030204" pitchFamily="34" charset="0"/>
                </a:rPr>
                <a:t> </a:t>
              </a:r>
              <a:r>
                <a:rPr lang="es-CL" sz="1200" dirty="0">
                  <a:latin typeface="ACHS Nueva Sans Medium" pitchFamily="2" charset="77"/>
                  <a:cs typeface="Calibri" panose="020F0502020204030204" pitchFamily="34" charset="0"/>
                </a:rPr>
                <a:t>evaluación  cuantitativa</a:t>
              </a:r>
              <a:r>
                <a:rPr lang="es-CL" sz="1200" spc="-120" dirty="0">
                  <a:latin typeface="ACHS Nueva Sans Medium" pitchFamily="2" charset="77"/>
                  <a:cs typeface="Calibri" panose="020F0502020204030204" pitchFamily="34" charset="0"/>
                </a:rPr>
                <a:t> </a:t>
              </a:r>
              <a:r>
                <a:rPr lang="es-CL" sz="1200" dirty="0">
                  <a:latin typeface="ACHS Nueva Sans Medium" pitchFamily="2" charset="77"/>
                  <a:cs typeface="Calibri" panose="020F0502020204030204" pitchFamily="34" charset="0"/>
                </a:rPr>
                <a:t>dentro </a:t>
              </a:r>
              <a:r>
                <a:rPr lang="es-CL" sz="1200" spc="-5" dirty="0">
                  <a:latin typeface="ACHS Nueva Sans Medium" pitchFamily="2" charset="77"/>
                  <a:cs typeface="Calibri" panose="020F0502020204030204" pitchFamily="34" charset="0"/>
                </a:rPr>
                <a:t>de </a:t>
              </a:r>
              <a:r>
                <a:rPr lang="es-CL" sz="1200" dirty="0">
                  <a:latin typeface="ACHS Nueva Sans Medium" pitchFamily="2" charset="77"/>
                  <a:cs typeface="Calibri" panose="020F0502020204030204" pitchFamily="34" charset="0"/>
                </a:rPr>
                <a:t>2 año a partir </a:t>
              </a:r>
              <a:r>
                <a:rPr lang="es-CL" sz="1200" spc="-5" dirty="0">
                  <a:latin typeface="ACHS Nueva Sans Medium" pitchFamily="2" charset="77"/>
                  <a:cs typeface="Calibri" panose="020F0502020204030204" pitchFamily="34" charset="0"/>
                </a:rPr>
                <a:t>de </a:t>
              </a:r>
              <a:r>
                <a:rPr lang="es-CL" sz="1200" dirty="0">
                  <a:latin typeface="ACHS Nueva Sans Medium" pitchFamily="2" charset="77"/>
                  <a:cs typeface="Calibri" panose="020F0502020204030204" pitchFamily="34" charset="0"/>
                </a:rPr>
                <a:t>la fecha </a:t>
              </a:r>
              <a:r>
                <a:rPr lang="es-CL" sz="1200" spc="-5" dirty="0">
                  <a:latin typeface="ACHS Nueva Sans Medium" pitchFamily="2" charset="77"/>
                  <a:cs typeface="Calibri" panose="020F0502020204030204" pitchFamily="34" charset="0"/>
                </a:rPr>
                <a:t>de </a:t>
              </a:r>
              <a:r>
                <a:rPr lang="es-CL" sz="1200" dirty="0">
                  <a:latin typeface="ACHS Nueva Sans Medium" pitchFamily="2" charset="77"/>
                  <a:cs typeface="Calibri" panose="020F0502020204030204" pitchFamily="34" charset="0"/>
                </a:rPr>
                <a:t>evaluación cualitativa</a:t>
              </a:r>
            </a:p>
          </p:txBody>
        </p:sp>
        <p:sp>
          <p:nvSpPr>
            <p:cNvPr id="61" name="CuadroTexto 60"/>
            <p:cNvSpPr txBox="1"/>
            <p:nvPr/>
          </p:nvSpPr>
          <p:spPr>
            <a:xfrm>
              <a:off x="9433564" y="4008332"/>
              <a:ext cx="3636000" cy="420477"/>
            </a:xfrm>
            <a:prstGeom prst="rect">
              <a:avLst/>
            </a:prstGeom>
            <a:solidFill>
              <a:srgbClr val="EAEADE"/>
            </a:solidFill>
            <a:ln>
              <a:solidFill>
                <a:schemeClr val="tx1">
                  <a:alpha val="0"/>
                </a:schemeClr>
              </a:solidFill>
            </a:ln>
          </p:spPr>
          <p:txBody>
            <a:bodyPr wrap="square" lIns="36000" tIns="36000" rIns="36000" bIns="36000" rtlCol="0" anchor="ctr">
              <a:spAutoFit/>
            </a:bodyPr>
            <a:lstStyle/>
            <a:p>
              <a:pPr algn="ctr">
                <a:lnSpc>
                  <a:spcPct val="100000"/>
                </a:lnSpc>
              </a:pPr>
              <a:r>
                <a:rPr lang="es-CL" sz="1050" dirty="0">
                  <a:latin typeface="ACHS Nueva Sans Medium" pitchFamily="2" charset="77"/>
                  <a:cs typeface="Calibri" panose="020F0502020204030204" pitchFamily="34" charset="0"/>
                </a:rPr>
                <a:t>C  &lt; 0,25</a:t>
              </a:r>
              <a:r>
                <a:rPr lang="es-CL" sz="1050" spc="-100" dirty="0">
                  <a:latin typeface="ACHS Nueva Sans Medium" pitchFamily="2" charset="77"/>
                  <a:cs typeface="Calibri" panose="020F0502020204030204" pitchFamily="34" charset="0"/>
                </a:rPr>
                <a:t> </a:t>
              </a:r>
              <a:r>
                <a:rPr lang="es-CL" sz="1050" dirty="0">
                  <a:latin typeface="ACHS Nueva Sans Medium" pitchFamily="2" charset="77"/>
                  <a:cs typeface="Calibri" panose="020F0502020204030204" pitchFamily="34" charset="0"/>
                </a:rPr>
                <a:t>LPP</a:t>
              </a:r>
            </a:p>
            <a:p>
              <a:pPr algn="ctr">
                <a:lnSpc>
                  <a:spcPct val="100000"/>
                </a:lnSpc>
              </a:pPr>
              <a:r>
                <a:rPr lang="es-CL" sz="1050" spc="-5" dirty="0">
                  <a:latin typeface="ACHS Nueva Sans Medium" pitchFamily="2" charset="77"/>
                  <a:cs typeface="Calibri" panose="020F0502020204030204" pitchFamily="34" charset="0"/>
                </a:rPr>
                <a:t>NIVEL DE </a:t>
              </a:r>
              <a:r>
                <a:rPr lang="es-CL" sz="1050" dirty="0">
                  <a:latin typeface="ACHS Nueva Sans Medium" pitchFamily="2" charset="77"/>
                  <a:cs typeface="Calibri" panose="020F0502020204030204" pitchFamily="34" charset="0"/>
                </a:rPr>
                <a:t>RIESGO 1 – EV. </a:t>
              </a:r>
              <a:r>
                <a:rPr lang="es-CL" sz="1050" spc="-5" dirty="0">
                  <a:latin typeface="ACHS Nueva Sans Medium" pitchFamily="2" charset="77"/>
                  <a:cs typeface="Calibri" panose="020F0502020204030204" pitchFamily="34" charset="0"/>
                </a:rPr>
                <a:t>CADA </a:t>
              </a:r>
              <a:r>
                <a:rPr lang="es-CL" sz="1050" dirty="0">
                  <a:latin typeface="ACHS Nueva Sans Medium" pitchFamily="2" charset="77"/>
                  <a:cs typeface="Calibri" panose="020F0502020204030204" pitchFamily="34" charset="0"/>
                </a:rPr>
                <a:t>5</a:t>
              </a:r>
              <a:r>
                <a:rPr lang="es-CL" sz="1050" spc="-65" dirty="0">
                  <a:latin typeface="ACHS Nueva Sans Medium" pitchFamily="2" charset="77"/>
                  <a:cs typeface="Calibri" panose="020F0502020204030204" pitchFamily="34" charset="0"/>
                </a:rPr>
                <a:t> </a:t>
              </a:r>
              <a:r>
                <a:rPr lang="es-CL" sz="1050" dirty="0">
                  <a:latin typeface="ACHS Nueva Sans Medium" pitchFamily="2" charset="77"/>
                  <a:cs typeface="Calibri" panose="020F0502020204030204" pitchFamily="34" charset="0"/>
                </a:rPr>
                <a:t>AÑOS</a:t>
              </a:r>
            </a:p>
          </p:txBody>
        </p:sp>
        <p:sp>
          <p:nvSpPr>
            <p:cNvPr id="62" name="CuadroTexto 61"/>
            <p:cNvSpPr txBox="1"/>
            <p:nvPr/>
          </p:nvSpPr>
          <p:spPr>
            <a:xfrm>
              <a:off x="9433564" y="4512388"/>
              <a:ext cx="3636000" cy="420477"/>
            </a:xfrm>
            <a:prstGeom prst="rect">
              <a:avLst/>
            </a:prstGeom>
            <a:solidFill>
              <a:srgbClr val="EAEADE"/>
            </a:solidFill>
            <a:ln>
              <a:solidFill>
                <a:schemeClr val="tx1">
                  <a:alpha val="0"/>
                </a:schemeClr>
              </a:solidFill>
            </a:ln>
          </p:spPr>
          <p:txBody>
            <a:bodyPr wrap="square" lIns="36000" tIns="36000" rIns="36000" bIns="36000" rtlCol="0" anchor="ctr">
              <a:spAutoFit/>
            </a:bodyPr>
            <a:lstStyle/>
            <a:p>
              <a:pPr marL="12700" algn="ctr"/>
              <a:r>
                <a:rPr lang="es-CL" sz="1050" dirty="0">
                  <a:latin typeface="ACHS Nueva Sans Medium" pitchFamily="2" charset="77"/>
                  <a:cs typeface="Calibri" panose="020F0502020204030204" pitchFamily="34" charset="0"/>
                </a:rPr>
                <a:t>50% LPP &gt; C &gt;= 0,25</a:t>
              </a:r>
              <a:r>
                <a:rPr lang="es-CL" sz="1050" spc="-105" dirty="0">
                  <a:latin typeface="ACHS Nueva Sans Medium" pitchFamily="2" charset="77"/>
                  <a:cs typeface="Calibri" panose="020F0502020204030204" pitchFamily="34" charset="0"/>
                </a:rPr>
                <a:t> </a:t>
              </a:r>
              <a:r>
                <a:rPr lang="es-CL" sz="1050" dirty="0">
                  <a:latin typeface="ACHS Nueva Sans Medium" pitchFamily="2" charset="77"/>
                  <a:cs typeface="Calibri" panose="020F0502020204030204" pitchFamily="34" charset="0"/>
                </a:rPr>
                <a:t>LPP</a:t>
              </a:r>
            </a:p>
            <a:p>
              <a:pPr marL="12700" algn="ctr"/>
              <a:r>
                <a:rPr lang="es-CL" sz="1050" spc="-5" dirty="0">
                  <a:latin typeface="ACHS Nueva Sans Medium" pitchFamily="2" charset="77"/>
                  <a:cs typeface="Calibri" panose="020F0502020204030204" pitchFamily="34" charset="0"/>
                </a:rPr>
                <a:t>NIVEL DE </a:t>
              </a:r>
              <a:r>
                <a:rPr lang="es-CL" sz="1050" dirty="0">
                  <a:latin typeface="ACHS Nueva Sans Medium" pitchFamily="2" charset="77"/>
                  <a:cs typeface="Calibri" panose="020F0502020204030204" pitchFamily="34" charset="0"/>
                </a:rPr>
                <a:t>RIESGO 2 – EV. </a:t>
              </a:r>
              <a:r>
                <a:rPr lang="es-CL" sz="1050" spc="-5" dirty="0">
                  <a:latin typeface="ACHS Nueva Sans Medium" pitchFamily="2" charset="77"/>
                  <a:cs typeface="Calibri" panose="020F0502020204030204" pitchFamily="34" charset="0"/>
                </a:rPr>
                <a:t>CADA </a:t>
              </a:r>
              <a:r>
                <a:rPr lang="es-CL" sz="1050" dirty="0">
                  <a:latin typeface="ACHS Nueva Sans Medium" pitchFamily="2" charset="77"/>
                  <a:cs typeface="Calibri" panose="020F0502020204030204" pitchFamily="34" charset="0"/>
                </a:rPr>
                <a:t>3</a:t>
              </a:r>
              <a:r>
                <a:rPr lang="es-CL" sz="1050" spc="-65" dirty="0">
                  <a:latin typeface="ACHS Nueva Sans Medium" pitchFamily="2" charset="77"/>
                  <a:cs typeface="Calibri" panose="020F0502020204030204" pitchFamily="34" charset="0"/>
                </a:rPr>
                <a:t> </a:t>
              </a:r>
              <a:r>
                <a:rPr lang="es-CL" sz="1050" dirty="0">
                  <a:latin typeface="ACHS Nueva Sans Medium" pitchFamily="2" charset="77"/>
                  <a:cs typeface="Calibri" panose="020F0502020204030204" pitchFamily="34" charset="0"/>
                </a:rPr>
                <a:t>AÑOS</a:t>
              </a:r>
            </a:p>
          </p:txBody>
        </p:sp>
        <p:sp>
          <p:nvSpPr>
            <p:cNvPr id="63" name="CuadroTexto 62"/>
            <p:cNvSpPr txBox="1"/>
            <p:nvPr/>
          </p:nvSpPr>
          <p:spPr>
            <a:xfrm>
              <a:off x="9418706" y="5016444"/>
              <a:ext cx="3636000" cy="420477"/>
            </a:xfrm>
            <a:prstGeom prst="rect">
              <a:avLst/>
            </a:prstGeom>
            <a:solidFill>
              <a:srgbClr val="EAEADE"/>
            </a:solidFill>
            <a:ln>
              <a:solidFill>
                <a:schemeClr val="tx1">
                  <a:alpha val="0"/>
                </a:schemeClr>
              </a:solidFill>
            </a:ln>
          </p:spPr>
          <p:txBody>
            <a:bodyPr wrap="square" lIns="36000" tIns="36000" rIns="36000" bIns="36000" rtlCol="0" anchor="ctr">
              <a:spAutoFit/>
            </a:bodyPr>
            <a:lstStyle/>
            <a:p>
              <a:pPr marL="635" algn="ctr"/>
              <a:r>
                <a:rPr lang="es-CL" sz="1050" dirty="0">
                  <a:latin typeface="ACHS Nueva Sans Medium" pitchFamily="2" charset="77"/>
                  <a:cs typeface="Calibri" panose="020F0502020204030204" pitchFamily="34" charset="0"/>
                </a:rPr>
                <a:t>1 LPP &gt; C &gt; = 0,5</a:t>
              </a:r>
              <a:r>
                <a:rPr lang="es-CL" sz="1050" spc="-80" dirty="0">
                  <a:latin typeface="ACHS Nueva Sans Medium" pitchFamily="2" charset="77"/>
                  <a:cs typeface="Calibri" panose="020F0502020204030204" pitchFamily="34" charset="0"/>
                </a:rPr>
                <a:t> </a:t>
              </a:r>
              <a:r>
                <a:rPr lang="es-CL" sz="1050" spc="-5" dirty="0">
                  <a:latin typeface="ACHS Nueva Sans Medium" pitchFamily="2" charset="77"/>
                  <a:cs typeface="Calibri" panose="020F0502020204030204" pitchFamily="34" charset="0"/>
                </a:rPr>
                <a:t>LPP</a:t>
              </a:r>
            </a:p>
            <a:p>
              <a:pPr algn="ctr"/>
              <a:r>
                <a:rPr lang="es-CL" sz="1050" spc="-5" dirty="0">
                  <a:latin typeface="ACHS Nueva Sans Medium" pitchFamily="2" charset="77"/>
                  <a:cs typeface="Calibri" panose="020F0502020204030204" pitchFamily="34" charset="0"/>
                </a:rPr>
                <a:t>NIVEL DE </a:t>
              </a:r>
              <a:r>
                <a:rPr lang="es-CL" sz="1050" dirty="0">
                  <a:latin typeface="ACHS Nueva Sans Medium" pitchFamily="2" charset="77"/>
                  <a:cs typeface="Calibri" panose="020F0502020204030204" pitchFamily="34" charset="0"/>
                </a:rPr>
                <a:t>RIESGO 3 – EV. </a:t>
              </a:r>
              <a:r>
                <a:rPr lang="es-CL" sz="1050" spc="-5" dirty="0">
                  <a:latin typeface="ACHS Nueva Sans Medium" pitchFamily="2" charset="77"/>
                  <a:cs typeface="Calibri" panose="020F0502020204030204" pitchFamily="34" charset="0"/>
                </a:rPr>
                <a:t>CADA </a:t>
              </a:r>
              <a:r>
                <a:rPr lang="es-CL" sz="1050" dirty="0">
                  <a:latin typeface="ACHS Nueva Sans Medium" pitchFamily="2" charset="77"/>
                  <a:cs typeface="Calibri" panose="020F0502020204030204" pitchFamily="34" charset="0"/>
                </a:rPr>
                <a:t>2</a:t>
              </a:r>
              <a:r>
                <a:rPr lang="es-CL" sz="1050" spc="-65" dirty="0">
                  <a:latin typeface="ACHS Nueva Sans Medium" pitchFamily="2" charset="77"/>
                  <a:cs typeface="Calibri" panose="020F0502020204030204" pitchFamily="34" charset="0"/>
                </a:rPr>
                <a:t> </a:t>
              </a:r>
              <a:r>
                <a:rPr lang="es-CL" sz="1050" dirty="0">
                  <a:latin typeface="ACHS Nueva Sans Medium" pitchFamily="2" charset="77"/>
                  <a:cs typeface="Calibri" panose="020F0502020204030204" pitchFamily="34" charset="0"/>
                </a:rPr>
                <a:t>AÑOS</a:t>
              </a:r>
            </a:p>
          </p:txBody>
        </p:sp>
        <p:sp>
          <p:nvSpPr>
            <p:cNvPr id="65" name="CuadroTexto 64"/>
            <p:cNvSpPr txBox="1"/>
            <p:nvPr/>
          </p:nvSpPr>
          <p:spPr>
            <a:xfrm>
              <a:off x="11257188" y="5642053"/>
              <a:ext cx="1800000" cy="442035"/>
            </a:xfrm>
            <a:prstGeom prst="rect">
              <a:avLst/>
            </a:prstGeom>
            <a:solidFill>
              <a:srgbClr val="0C662F"/>
            </a:solidFill>
            <a:ln>
              <a:solidFill>
                <a:schemeClr val="tx1">
                  <a:alpha val="0"/>
                </a:schemeClr>
              </a:solidFill>
            </a:ln>
          </p:spPr>
          <p:txBody>
            <a:bodyPr wrap="square" lIns="0" tIns="36000" rIns="0" bIns="36000" rtlCol="0" anchor="ctr">
              <a:spAutoFit/>
            </a:bodyPr>
            <a:lstStyle/>
            <a:p>
              <a:pPr algn="ctr"/>
              <a:r>
                <a:rPr lang="es-CL" sz="1100" b="1" dirty="0">
                  <a:solidFill>
                    <a:srgbClr val="FFFFFF"/>
                  </a:solidFill>
                  <a:latin typeface="ACHS Nueva Sans SemiBold" pitchFamily="2" charset="77"/>
                  <a:cs typeface="Calibri" panose="020F0502020204030204" pitchFamily="34" charset="0"/>
                </a:rPr>
                <a:t>1LPP &lt; C &lt; = 5</a:t>
              </a:r>
              <a:r>
                <a:rPr lang="es-CL" sz="1100" b="1" spc="-95" dirty="0">
                  <a:solidFill>
                    <a:srgbClr val="FFFFFF"/>
                  </a:solidFill>
                  <a:latin typeface="ACHS Nueva Sans SemiBold" pitchFamily="2" charset="77"/>
                  <a:cs typeface="Calibri" panose="020F0502020204030204" pitchFamily="34" charset="0"/>
                </a:rPr>
                <a:t> </a:t>
              </a:r>
              <a:r>
                <a:rPr lang="es-CL" sz="1100" b="1" dirty="0">
                  <a:solidFill>
                    <a:srgbClr val="FFFFFF"/>
                  </a:solidFill>
                  <a:latin typeface="ACHS Nueva Sans SemiBold" pitchFamily="2" charset="77"/>
                  <a:cs typeface="Calibri" panose="020F0502020204030204" pitchFamily="34" charset="0"/>
                </a:rPr>
                <a:t>LPP</a:t>
              </a:r>
              <a:endParaRPr lang="es-CL" sz="1100" b="1" dirty="0">
                <a:latin typeface="ACHS Nueva Sans SemiBold" pitchFamily="2" charset="77"/>
                <a:cs typeface="Calibri" panose="020F0502020204030204" pitchFamily="34" charset="0"/>
              </a:endParaRPr>
            </a:p>
            <a:p>
              <a:pPr algn="ctr"/>
              <a:r>
                <a:rPr lang="es-CL" sz="1100" b="1" spc="-5" dirty="0">
                  <a:solidFill>
                    <a:srgbClr val="FFFFFF"/>
                  </a:solidFill>
                  <a:latin typeface="ACHS Nueva Sans SemiBold" pitchFamily="2" charset="77"/>
                  <a:cs typeface="Calibri" panose="020F0502020204030204" pitchFamily="34" charset="0"/>
                </a:rPr>
                <a:t>NIVEL </a:t>
              </a:r>
              <a:r>
                <a:rPr lang="es-CL" sz="1100" b="1" dirty="0">
                  <a:solidFill>
                    <a:srgbClr val="FFFFFF"/>
                  </a:solidFill>
                  <a:latin typeface="ACHS Nueva Sans SemiBold" pitchFamily="2" charset="77"/>
                  <a:cs typeface="Calibri" panose="020F0502020204030204" pitchFamily="34" charset="0"/>
                </a:rPr>
                <a:t>RIESGO</a:t>
              </a:r>
              <a:r>
                <a:rPr lang="es-CL" sz="1100" b="1" spc="-100" dirty="0">
                  <a:solidFill>
                    <a:srgbClr val="FFFFFF"/>
                  </a:solidFill>
                  <a:latin typeface="ACHS Nueva Sans SemiBold" pitchFamily="2" charset="77"/>
                  <a:cs typeface="Calibri" panose="020F0502020204030204" pitchFamily="34" charset="0"/>
                </a:rPr>
                <a:t> </a:t>
              </a:r>
              <a:r>
                <a:rPr lang="es-CL" sz="1100" b="1" dirty="0">
                  <a:solidFill>
                    <a:srgbClr val="FFFFFF"/>
                  </a:solidFill>
                  <a:latin typeface="ACHS Nueva Sans SemiBold" pitchFamily="2" charset="77"/>
                  <a:cs typeface="Calibri" panose="020F0502020204030204" pitchFamily="34" charset="0"/>
                </a:rPr>
                <a:t>4</a:t>
              </a:r>
              <a:endParaRPr lang="es-CL" sz="1100" b="1" dirty="0">
                <a:latin typeface="ACHS Nueva Sans SemiBold" pitchFamily="2" charset="77"/>
                <a:cs typeface="Calibri" panose="020F0502020204030204" pitchFamily="34" charset="0"/>
              </a:endParaRPr>
            </a:p>
          </p:txBody>
        </p:sp>
        <p:sp>
          <p:nvSpPr>
            <p:cNvPr id="66" name="CuadroTexto 65"/>
            <p:cNvSpPr txBox="1"/>
            <p:nvPr/>
          </p:nvSpPr>
          <p:spPr>
            <a:xfrm>
              <a:off x="9385752" y="6347160"/>
              <a:ext cx="1836000" cy="1203205"/>
            </a:xfrm>
            <a:prstGeom prst="rect">
              <a:avLst/>
            </a:prstGeom>
            <a:solidFill>
              <a:srgbClr val="0C662F"/>
            </a:solidFill>
            <a:ln>
              <a:solidFill>
                <a:schemeClr val="tx1">
                  <a:alpha val="0"/>
                </a:schemeClr>
              </a:solidFill>
            </a:ln>
          </p:spPr>
          <p:txBody>
            <a:bodyPr wrap="square" lIns="0" tIns="36000" rIns="0" bIns="36000" rtlCol="0" anchor="ctr">
              <a:spAutoFit/>
            </a:bodyPr>
            <a:lstStyle/>
            <a:p>
              <a:pPr marL="137160" marR="117475" indent="-1270" algn="ctr">
                <a:lnSpc>
                  <a:spcPct val="103200"/>
                </a:lnSpc>
                <a:spcBef>
                  <a:spcPts val="630"/>
                </a:spcBef>
              </a:pPr>
              <a:r>
                <a:rPr lang="es-CL" sz="1100" b="1" spc="15" dirty="0">
                  <a:solidFill>
                    <a:srgbClr val="FFFFFF"/>
                  </a:solidFill>
                  <a:latin typeface="ACHS Nueva Sans SemiBold" pitchFamily="2" charset="77"/>
                  <a:cs typeface="Calibri" panose="020F0502020204030204" pitchFamily="34" charset="0"/>
                </a:rPr>
                <a:t>Notificar </a:t>
              </a:r>
              <a:r>
                <a:rPr lang="es-CL" sz="1100" b="1" spc="20" dirty="0">
                  <a:solidFill>
                    <a:srgbClr val="FFFFFF"/>
                  </a:solidFill>
                  <a:latin typeface="ACHS Nueva Sans SemiBold" pitchFamily="2" charset="77"/>
                  <a:cs typeface="Calibri" panose="020F0502020204030204" pitchFamily="34" charset="0"/>
                </a:rPr>
                <a:t>a SEREMI</a:t>
              </a:r>
              <a:r>
                <a:rPr lang="es-CL" sz="1100" b="1" spc="15" dirty="0">
                  <a:solidFill>
                    <a:srgbClr val="FFFFFF"/>
                  </a:solidFill>
                  <a:latin typeface="ACHS Nueva Sans SemiBold" pitchFamily="2" charset="77"/>
                  <a:cs typeface="Calibri" panose="020F0502020204030204" pitchFamily="34" charset="0"/>
                </a:rPr>
                <a:t> dentro de </a:t>
              </a:r>
              <a:r>
                <a:rPr lang="es-CL" sz="1100" b="1" spc="10" dirty="0">
                  <a:solidFill>
                    <a:srgbClr val="FFFFFF"/>
                  </a:solidFill>
                  <a:latin typeface="ACHS Nueva Sans SemiBold" pitchFamily="2" charset="77"/>
                  <a:cs typeface="Calibri" panose="020F0502020204030204" pitchFamily="34" charset="0"/>
                </a:rPr>
                <a:t>los </a:t>
              </a:r>
              <a:r>
                <a:rPr lang="es-CL" sz="1100" b="1" spc="15" dirty="0">
                  <a:solidFill>
                    <a:srgbClr val="FFFFFF"/>
                  </a:solidFill>
                  <a:latin typeface="ACHS Nueva Sans SemiBold" pitchFamily="2" charset="77"/>
                  <a:cs typeface="Calibri" panose="020F0502020204030204" pitchFamily="34" charset="0"/>
                </a:rPr>
                <a:t>10 primeros días</a:t>
              </a:r>
              <a:r>
                <a:rPr lang="es-CL" sz="1100" b="1" spc="-90" dirty="0">
                  <a:solidFill>
                    <a:srgbClr val="FFFFFF"/>
                  </a:solidFill>
                  <a:latin typeface="ACHS Nueva Sans SemiBold" pitchFamily="2" charset="77"/>
                  <a:cs typeface="Calibri" panose="020F0502020204030204" pitchFamily="34" charset="0"/>
                </a:rPr>
                <a:t> </a:t>
              </a:r>
              <a:r>
                <a:rPr lang="es-CL" sz="1100" b="1" spc="15" dirty="0">
                  <a:solidFill>
                    <a:srgbClr val="FFFFFF"/>
                  </a:solidFill>
                  <a:latin typeface="ACHS Nueva Sans SemiBold" pitchFamily="2" charset="77"/>
                  <a:cs typeface="Calibri" panose="020F0502020204030204" pitchFamily="34" charset="0"/>
                </a:rPr>
                <a:t>hábiles </a:t>
              </a:r>
              <a:r>
                <a:rPr lang="es-CL" sz="1100" b="1" spc="20" dirty="0">
                  <a:solidFill>
                    <a:srgbClr val="FFFFFF"/>
                  </a:solidFill>
                  <a:latin typeface="ACHS Nueva Sans SemiBold" pitchFamily="2" charset="77"/>
                  <a:cs typeface="Calibri" panose="020F0502020204030204" pitchFamily="34" charset="0"/>
                </a:rPr>
                <a:t>mes </a:t>
              </a:r>
              <a:r>
                <a:rPr lang="es-CL" sz="1100" b="1" spc="15" dirty="0">
                  <a:solidFill>
                    <a:srgbClr val="FFFFFF"/>
                  </a:solidFill>
                  <a:latin typeface="ACHS Nueva Sans SemiBold" pitchFamily="2" charset="77"/>
                  <a:cs typeface="Calibri" panose="020F0502020204030204" pitchFamily="34" charset="0"/>
                </a:rPr>
                <a:t>siguiente </a:t>
              </a:r>
              <a:r>
                <a:rPr lang="es-CL" sz="1100" b="1" spc="20" dirty="0">
                  <a:solidFill>
                    <a:srgbClr val="FFFFFF"/>
                  </a:solidFill>
                  <a:latin typeface="ACHS Nueva Sans SemiBold" pitchFamily="2" charset="77"/>
                  <a:cs typeface="Calibri" panose="020F0502020204030204" pitchFamily="34" charset="0"/>
                </a:rPr>
                <a:t>a </a:t>
              </a:r>
              <a:r>
                <a:rPr lang="es-CL" sz="1100" b="1" spc="10" dirty="0">
                  <a:solidFill>
                    <a:srgbClr val="FFFFFF"/>
                  </a:solidFill>
                  <a:latin typeface="ACHS Nueva Sans SemiBold" pitchFamily="2" charset="77"/>
                  <a:cs typeface="Calibri" panose="020F0502020204030204" pitchFamily="34" charset="0"/>
                </a:rPr>
                <a:t>recepción informe de</a:t>
              </a:r>
              <a:r>
                <a:rPr lang="es-CL" sz="1100" b="1" spc="-55" dirty="0">
                  <a:solidFill>
                    <a:srgbClr val="FFFFFF"/>
                  </a:solidFill>
                  <a:latin typeface="ACHS Nueva Sans SemiBold" pitchFamily="2" charset="77"/>
                  <a:cs typeface="Calibri" panose="020F0502020204030204" pitchFamily="34" charset="0"/>
                </a:rPr>
                <a:t> </a:t>
              </a:r>
              <a:r>
                <a:rPr lang="es-CL" sz="1100" b="1" spc="15" dirty="0">
                  <a:solidFill>
                    <a:srgbClr val="FFFFFF"/>
                  </a:solidFill>
                  <a:latin typeface="ACHS Nueva Sans SemiBold" pitchFamily="2" charset="77"/>
                  <a:cs typeface="Calibri" panose="020F0502020204030204" pitchFamily="34" charset="0"/>
                </a:rPr>
                <a:t>laboratorio.</a:t>
              </a:r>
              <a:endParaRPr lang="es-CL" sz="1100" b="1" dirty="0">
                <a:latin typeface="ACHS Nueva Sans SemiBold" pitchFamily="2" charset="77"/>
                <a:cs typeface="Calibri" panose="020F0502020204030204" pitchFamily="34" charset="0"/>
              </a:endParaRPr>
            </a:p>
          </p:txBody>
        </p:sp>
        <p:sp>
          <p:nvSpPr>
            <p:cNvPr id="40" name="Documento 39"/>
            <p:cNvSpPr/>
            <p:nvPr/>
          </p:nvSpPr>
          <p:spPr>
            <a:xfrm>
              <a:off x="9647088" y="8101058"/>
              <a:ext cx="3240000" cy="720000"/>
            </a:xfrm>
            <a:prstGeom prst="rect">
              <a:avLst/>
            </a:prstGeom>
            <a:solidFill>
              <a:srgbClr val="EAEADE"/>
            </a:solidFill>
            <a:ln>
              <a:solidFill>
                <a:schemeClr val="tx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2700" marR="5080" algn="ctr">
                <a:lnSpc>
                  <a:spcPct val="100000"/>
                </a:lnSpc>
              </a:pPr>
              <a:r>
                <a:rPr lang="es-CL" sz="1100" spc="-5" dirty="0">
                  <a:solidFill>
                    <a:schemeClr val="tx1"/>
                  </a:solidFill>
                  <a:latin typeface="ACHS Nueva Sans Medium" pitchFamily="2" charset="77"/>
                  <a:cs typeface="Calibri" panose="020F0502020204030204" pitchFamily="34" charset="0"/>
                </a:rPr>
                <a:t>Remitir informe a empresa y SEREMI dentro de 90 días a partir de fecha de muestreo.</a:t>
              </a:r>
              <a:endParaRPr lang="es-CL" sz="1100" dirty="0">
                <a:solidFill>
                  <a:schemeClr val="tx1"/>
                </a:solidFill>
                <a:latin typeface="ACHS Nueva Sans Medium" pitchFamily="2" charset="77"/>
                <a:cs typeface="Calibri" panose="020F0502020204030204" pitchFamily="34" charset="0"/>
              </a:endParaRPr>
            </a:p>
          </p:txBody>
        </p:sp>
        <p:sp>
          <p:nvSpPr>
            <p:cNvPr id="54" name="CuadroTexto 53"/>
            <p:cNvSpPr txBox="1"/>
            <p:nvPr/>
          </p:nvSpPr>
          <p:spPr>
            <a:xfrm>
              <a:off x="8277868" y="4385764"/>
              <a:ext cx="506191" cy="276999"/>
            </a:xfrm>
            <a:prstGeom prst="rect">
              <a:avLst/>
            </a:prstGeom>
            <a:noFill/>
          </p:spPr>
          <p:txBody>
            <a:bodyPr wrap="square" rtlCol="0">
              <a:spAutoFit/>
            </a:bodyPr>
            <a:lstStyle/>
            <a:p>
              <a:pPr algn="ctr"/>
              <a:r>
                <a:rPr lang="es-CL" sz="1200" b="1" dirty="0">
                  <a:latin typeface="Calibri" panose="020F0502020204030204" pitchFamily="34" charset="0"/>
                  <a:cs typeface="Calibri" panose="020F0502020204030204" pitchFamily="34" charset="0"/>
                </a:rPr>
                <a:t>NO</a:t>
              </a:r>
            </a:p>
          </p:txBody>
        </p:sp>
        <p:cxnSp>
          <p:nvCxnSpPr>
            <p:cNvPr id="46" name="Conector recto de flecha 45"/>
            <p:cNvCxnSpPr>
              <a:cxnSpLocks/>
              <a:endCxn id="61" idx="1"/>
            </p:cNvCxnSpPr>
            <p:nvPr/>
          </p:nvCxnSpPr>
          <p:spPr>
            <a:xfrm>
              <a:off x="9109124" y="4218570"/>
              <a:ext cx="324441" cy="1"/>
            </a:xfrm>
            <a:prstGeom prst="straightConnector1">
              <a:avLst/>
            </a:prstGeom>
            <a:ln>
              <a:solidFill>
                <a:srgbClr val="15C04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Conector recto de flecha 86"/>
            <p:cNvCxnSpPr/>
            <p:nvPr/>
          </p:nvCxnSpPr>
          <p:spPr>
            <a:xfrm>
              <a:off x="9109124" y="4716586"/>
              <a:ext cx="324440" cy="0"/>
            </a:xfrm>
            <a:prstGeom prst="straightConnector1">
              <a:avLst/>
            </a:prstGeom>
            <a:ln>
              <a:solidFill>
                <a:srgbClr val="15C04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Conector recto 47"/>
            <p:cNvCxnSpPr/>
            <p:nvPr/>
          </p:nvCxnSpPr>
          <p:spPr>
            <a:xfrm flipV="1">
              <a:off x="9108812" y="3924498"/>
              <a:ext cx="0" cy="1944000"/>
            </a:xfrm>
            <a:prstGeom prst="line">
              <a:avLst/>
            </a:prstGeom>
            <a:ln>
              <a:solidFill>
                <a:srgbClr val="15C04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Conector recto 49"/>
            <p:cNvCxnSpPr/>
            <p:nvPr/>
          </p:nvCxnSpPr>
          <p:spPr>
            <a:xfrm>
              <a:off x="9108812" y="3924498"/>
              <a:ext cx="2088000" cy="0"/>
            </a:xfrm>
            <a:prstGeom prst="line">
              <a:avLst/>
            </a:prstGeom>
            <a:ln>
              <a:solidFill>
                <a:srgbClr val="15C047"/>
              </a:solidFill>
            </a:ln>
          </p:spPr>
          <p:style>
            <a:lnRef idx="1">
              <a:schemeClr val="accent1"/>
            </a:lnRef>
            <a:fillRef idx="0">
              <a:schemeClr val="accent1"/>
            </a:fillRef>
            <a:effectRef idx="0">
              <a:schemeClr val="accent1"/>
            </a:effectRef>
            <a:fontRef idx="minor">
              <a:schemeClr val="tx1"/>
            </a:fontRef>
          </p:style>
        </p:cxnSp>
        <p:cxnSp>
          <p:nvCxnSpPr>
            <p:cNvPr id="90" name="Conector recto de flecha 89"/>
            <p:cNvCxnSpPr/>
            <p:nvPr/>
          </p:nvCxnSpPr>
          <p:spPr>
            <a:xfrm>
              <a:off x="9109124" y="5868530"/>
              <a:ext cx="288000" cy="0"/>
            </a:xfrm>
            <a:prstGeom prst="straightConnector1">
              <a:avLst/>
            </a:prstGeom>
            <a:ln>
              <a:solidFill>
                <a:srgbClr val="15C047"/>
              </a:solidFill>
              <a:tailEnd type="none"/>
            </a:ln>
          </p:spPr>
          <p:style>
            <a:lnRef idx="1">
              <a:schemeClr val="accent1"/>
            </a:lnRef>
            <a:fillRef idx="0">
              <a:schemeClr val="accent1"/>
            </a:fillRef>
            <a:effectRef idx="0">
              <a:schemeClr val="accent1"/>
            </a:effectRef>
            <a:fontRef idx="minor">
              <a:schemeClr val="tx1"/>
            </a:fontRef>
          </p:style>
        </p:cxnSp>
        <p:sp>
          <p:nvSpPr>
            <p:cNvPr id="52" name="CuadroTexto 51"/>
            <p:cNvSpPr txBox="1"/>
            <p:nvPr/>
          </p:nvSpPr>
          <p:spPr>
            <a:xfrm>
              <a:off x="8779733" y="2595195"/>
              <a:ext cx="2412000" cy="861803"/>
            </a:xfrm>
            <a:prstGeom prst="rect">
              <a:avLst/>
            </a:prstGeom>
            <a:solidFill>
              <a:srgbClr val="EAEADE"/>
            </a:solidFill>
            <a:ln>
              <a:solidFill>
                <a:schemeClr val="tx1">
                  <a:alpha val="0"/>
                </a:schemeClr>
              </a:solidFill>
            </a:ln>
          </p:spPr>
          <p:txBody>
            <a:bodyPr wrap="square" lIns="36000" tIns="36000" rIns="36000" bIns="36000" rtlCol="0" anchor="ctr">
              <a:spAutoFit/>
            </a:bodyPr>
            <a:lstStyle/>
            <a:p>
              <a:pPr algn="ctr"/>
              <a:r>
                <a:rPr lang="es-CL" sz="1200" dirty="0">
                  <a:latin typeface="ACHS Nueva Sans Medium" pitchFamily="2" charset="77"/>
                  <a:cs typeface="Calibri" panose="020F0502020204030204" pitchFamily="34" charset="0"/>
                </a:rPr>
                <a:t>Efectuar evaluación  cuantitativa dentro </a:t>
              </a:r>
              <a:r>
                <a:rPr lang="es-CL" sz="1200" spc="-5" dirty="0">
                  <a:latin typeface="ACHS Nueva Sans Medium" pitchFamily="2" charset="77"/>
                  <a:cs typeface="Calibri" panose="020F0502020204030204" pitchFamily="34" charset="0"/>
                </a:rPr>
                <a:t>del </a:t>
              </a:r>
              <a:r>
                <a:rPr lang="es-CL" sz="1200" dirty="0">
                  <a:latin typeface="ACHS Nueva Sans Medium" pitchFamily="2" charset="77"/>
                  <a:cs typeface="Calibri" panose="020F0502020204030204" pitchFamily="34" charset="0"/>
                </a:rPr>
                <a:t>año a partir </a:t>
              </a:r>
              <a:r>
                <a:rPr lang="es-CL" sz="1200" spc="-5" dirty="0">
                  <a:latin typeface="ACHS Nueva Sans Medium" pitchFamily="2" charset="77"/>
                  <a:cs typeface="Calibri" panose="020F0502020204030204" pitchFamily="34" charset="0"/>
                </a:rPr>
                <a:t>de</a:t>
              </a:r>
              <a:r>
                <a:rPr lang="es-CL" sz="1200" spc="-120" dirty="0">
                  <a:latin typeface="ACHS Nueva Sans Medium" pitchFamily="2" charset="77"/>
                  <a:cs typeface="Calibri" panose="020F0502020204030204" pitchFamily="34" charset="0"/>
                </a:rPr>
                <a:t> </a:t>
              </a:r>
              <a:r>
                <a:rPr lang="es-CL" sz="1200" dirty="0">
                  <a:latin typeface="ACHS Nueva Sans Medium" pitchFamily="2" charset="77"/>
                  <a:cs typeface="Calibri" panose="020F0502020204030204" pitchFamily="34" charset="0"/>
                </a:rPr>
                <a:t>la fecha </a:t>
              </a:r>
              <a:r>
                <a:rPr lang="es-CL" sz="1200" spc="-5" dirty="0">
                  <a:latin typeface="ACHS Nueva Sans Medium" pitchFamily="2" charset="77"/>
                  <a:cs typeface="Calibri" panose="020F0502020204030204" pitchFamily="34" charset="0"/>
                </a:rPr>
                <a:t>de </a:t>
              </a:r>
              <a:r>
                <a:rPr lang="es-CL" sz="1200" dirty="0">
                  <a:latin typeface="ACHS Nueva Sans Medium" pitchFamily="2" charset="77"/>
                  <a:cs typeface="Calibri" panose="020F0502020204030204" pitchFamily="34" charset="0"/>
                </a:rPr>
                <a:t>evaluación cualitativa.</a:t>
              </a:r>
            </a:p>
          </p:txBody>
        </p:sp>
        <p:sp>
          <p:nvSpPr>
            <p:cNvPr id="67" name="CuadroTexto 66"/>
            <p:cNvSpPr txBox="1"/>
            <p:nvPr/>
          </p:nvSpPr>
          <p:spPr>
            <a:xfrm>
              <a:off x="11264454" y="6355985"/>
              <a:ext cx="1836000" cy="1203205"/>
            </a:xfrm>
            <a:prstGeom prst="rect">
              <a:avLst/>
            </a:prstGeom>
            <a:solidFill>
              <a:srgbClr val="0C662F"/>
            </a:solidFill>
            <a:ln>
              <a:solidFill>
                <a:schemeClr val="tx1">
                  <a:alpha val="0"/>
                </a:schemeClr>
              </a:solidFill>
            </a:ln>
          </p:spPr>
          <p:txBody>
            <a:bodyPr wrap="square" lIns="0" tIns="36000" rIns="0" bIns="36000" rtlCol="0" anchor="ctr">
              <a:spAutoFit/>
            </a:bodyPr>
            <a:lstStyle/>
            <a:p>
              <a:pPr marL="105410" marR="98425" indent="-635" algn="ctr">
                <a:lnSpc>
                  <a:spcPct val="103200"/>
                </a:lnSpc>
                <a:spcBef>
                  <a:spcPts val="40"/>
                </a:spcBef>
              </a:pPr>
              <a:r>
                <a:rPr lang="es-CL" sz="1100" b="1" spc="15" dirty="0">
                  <a:solidFill>
                    <a:srgbClr val="FFFFFF"/>
                  </a:solidFill>
                  <a:latin typeface="ACHS Nueva Sans SemiBold" pitchFamily="2" charset="77"/>
                  <a:cs typeface="Calibri" panose="020F0502020204030204" pitchFamily="34" charset="0"/>
                </a:rPr>
                <a:t>Prescribir medidas de control inmediatas y notificar</a:t>
              </a:r>
              <a:r>
                <a:rPr lang="es-CL" sz="1100" b="1" spc="20" dirty="0">
                  <a:solidFill>
                    <a:srgbClr val="FFFFFF"/>
                  </a:solidFill>
                  <a:latin typeface="ACHS Nueva Sans SemiBold" pitchFamily="2" charset="77"/>
                  <a:cs typeface="Calibri" panose="020F0502020204030204" pitchFamily="34" charset="0"/>
                </a:rPr>
                <a:t> SEREMI</a:t>
              </a:r>
              <a:r>
                <a:rPr lang="es-CL" sz="1100" b="1" spc="15" dirty="0">
                  <a:solidFill>
                    <a:srgbClr val="FFFFFF"/>
                  </a:solidFill>
                  <a:latin typeface="ACHS Nueva Sans SemiBold" pitchFamily="2" charset="77"/>
                  <a:cs typeface="Calibri" panose="020F0502020204030204" pitchFamily="34" charset="0"/>
                </a:rPr>
                <a:t> en 5 días</a:t>
              </a:r>
              <a:r>
                <a:rPr lang="es-CL" sz="1100" b="1" spc="-125" dirty="0">
                  <a:solidFill>
                    <a:srgbClr val="FFFFFF"/>
                  </a:solidFill>
                  <a:latin typeface="ACHS Nueva Sans SemiBold" pitchFamily="2" charset="77"/>
                  <a:cs typeface="Calibri" panose="020F0502020204030204" pitchFamily="34" charset="0"/>
                </a:rPr>
                <a:t> </a:t>
              </a:r>
              <a:r>
                <a:rPr lang="es-CL" sz="1100" b="1" spc="15" dirty="0">
                  <a:solidFill>
                    <a:srgbClr val="FFFFFF"/>
                  </a:solidFill>
                  <a:latin typeface="ACHS Nueva Sans SemiBold" pitchFamily="2" charset="77"/>
                  <a:cs typeface="Calibri" panose="020F0502020204030204" pitchFamily="34" charset="0"/>
                </a:rPr>
                <a:t>hábiles haber recepcionada informe laboratorio</a:t>
              </a:r>
              <a:endParaRPr lang="es-CL" sz="1100" b="1" dirty="0">
                <a:latin typeface="ACHS Nueva Sans SemiBold" pitchFamily="2" charset="77"/>
                <a:cs typeface="Calibri" panose="020F0502020204030204" pitchFamily="34" charset="0"/>
              </a:endParaRPr>
            </a:p>
          </p:txBody>
        </p:sp>
      </p:grpSp>
      <p:sp>
        <p:nvSpPr>
          <p:cNvPr id="57" name="Rectángulo 3">
            <a:extLst>
              <a:ext uri="{FF2B5EF4-FFF2-40B4-BE49-F238E27FC236}">
                <a16:creationId xmlns:a16="http://schemas.microsoft.com/office/drawing/2014/main" xmlns="" id="{D2F6D3D3-C216-B74E-B96E-3523AE9B2466}"/>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59" name="Rectangle 58">
            <a:extLst>
              <a:ext uri="{FF2B5EF4-FFF2-40B4-BE49-F238E27FC236}">
                <a16:creationId xmlns:a16="http://schemas.microsoft.com/office/drawing/2014/main" xmlns="" id="{50AAE457-8BE8-D647-A921-72ED50CB9889}"/>
              </a:ext>
            </a:extLst>
          </p:cNvPr>
          <p:cNvSpPr/>
          <p:nvPr/>
        </p:nvSpPr>
        <p:spPr>
          <a:xfrm>
            <a:off x="740817" y="704747"/>
            <a:ext cx="3249506"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ambiental</a:t>
            </a:r>
          </a:p>
        </p:txBody>
      </p:sp>
      <p:cxnSp>
        <p:nvCxnSpPr>
          <p:cNvPr id="64" name="Conector recto 6">
            <a:extLst>
              <a:ext uri="{FF2B5EF4-FFF2-40B4-BE49-F238E27FC236}">
                <a16:creationId xmlns:a16="http://schemas.microsoft.com/office/drawing/2014/main" xmlns="" id="{18B8603C-BE15-BF4D-AA22-69CAE241B343}"/>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68" name="Rectangle 67">
            <a:extLst>
              <a:ext uri="{FF2B5EF4-FFF2-40B4-BE49-F238E27FC236}">
                <a16:creationId xmlns:a16="http://schemas.microsoft.com/office/drawing/2014/main" xmlns="" id="{EC9345E1-29D1-724D-B9DD-86AF845948C2}"/>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70" name="Rectangle 4">
            <a:extLst>
              <a:ext uri="{FF2B5EF4-FFF2-40B4-BE49-F238E27FC236}">
                <a16:creationId xmlns:a16="http://schemas.microsoft.com/office/drawing/2014/main" xmlns="" id="{64ADBB83-A82B-234F-A154-34C01FD0DD60}"/>
              </a:ext>
            </a:extLst>
          </p:cNvPr>
          <p:cNvSpPr/>
          <p:nvPr/>
        </p:nvSpPr>
        <p:spPr>
          <a:xfrm>
            <a:off x="468164" y="2268314"/>
            <a:ext cx="3360602" cy="1785104"/>
          </a:xfrm>
          <a:prstGeom prst="rect">
            <a:avLst/>
          </a:prstGeom>
        </p:spPr>
        <p:txBody>
          <a:bodyPr wrap="square">
            <a:spAutoFit/>
          </a:bodyPr>
          <a:lstStyle/>
          <a:p>
            <a:r>
              <a:rPr lang="es-CL" sz="2200" b="1" dirty="0">
                <a:solidFill>
                  <a:schemeClr val="bg1"/>
                </a:solidFill>
                <a:latin typeface="ACHS Nueva Serif" pitchFamily="2" charset="77"/>
                <a:cs typeface="Catamaran Light" panose="00000400000000000000" pitchFamily="2" charset="0"/>
              </a:rPr>
              <a:t>Flujo vigilancia ambiental cuantitativa:</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pic>
        <p:nvPicPr>
          <p:cNvPr id="71" name="Imagen 5">
            <a:extLst>
              <a:ext uri="{FF2B5EF4-FFF2-40B4-BE49-F238E27FC236}">
                <a16:creationId xmlns:a16="http://schemas.microsoft.com/office/drawing/2014/main" xmlns="" id="{6854414D-DAE1-3348-984E-97879A52F1D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sp>
        <p:nvSpPr>
          <p:cNvPr id="2" name="Rectangle 1">
            <a:extLst>
              <a:ext uri="{FF2B5EF4-FFF2-40B4-BE49-F238E27FC236}">
                <a16:creationId xmlns:a16="http://schemas.microsoft.com/office/drawing/2014/main" xmlns="" id="{FB2D3AFC-A191-3F46-868F-5F081FC6645E}"/>
              </a:ext>
            </a:extLst>
          </p:cNvPr>
          <p:cNvSpPr/>
          <p:nvPr/>
        </p:nvSpPr>
        <p:spPr>
          <a:xfrm>
            <a:off x="6420502" y="4969641"/>
            <a:ext cx="2335776" cy="954107"/>
          </a:xfrm>
          <a:prstGeom prst="rect">
            <a:avLst/>
          </a:prstGeom>
        </p:spPr>
        <p:txBody>
          <a:bodyPr wrap="square">
            <a:spAutoFit/>
          </a:bodyPr>
          <a:lstStyle/>
          <a:p>
            <a:pPr algn="ctr"/>
            <a:r>
              <a:rPr lang="es-CL" sz="1400" spc="-5" dirty="0">
                <a:latin typeface="ACHS Nueva Sans Medium" pitchFamily="2" charset="77"/>
                <a:cs typeface="Calibri" panose="020F0502020204030204" pitchFamily="34" charset="0"/>
              </a:rPr>
              <a:t>¿Tiempo  de </a:t>
            </a:r>
            <a:r>
              <a:rPr lang="es-CL" sz="1400" dirty="0">
                <a:latin typeface="ACHS Nueva Sans Medium" pitchFamily="2" charset="77"/>
                <a:cs typeface="Calibri" panose="020F0502020204030204" pitchFamily="34" charset="0"/>
              </a:rPr>
              <a:t>ex</a:t>
            </a:r>
            <a:r>
              <a:rPr lang="es-CL" sz="1400" spc="-5" dirty="0">
                <a:latin typeface="ACHS Nueva Sans Medium" pitchFamily="2" charset="77"/>
                <a:cs typeface="Calibri" panose="020F0502020204030204" pitchFamily="34" charset="0"/>
              </a:rPr>
              <a:t>po</a:t>
            </a:r>
            <a:r>
              <a:rPr lang="es-CL" sz="1400" spc="-10" dirty="0">
                <a:latin typeface="ACHS Nueva Sans Medium" pitchFamily="2" charset="77"/>
                <a:cs typeface="Calibri" panose="020F0502020204030204" pitchFamily="34" charset="0"/>
              </a:rPr>
              <a:t>s</a:t>
            </a:r>
            <a:r>
              <a:rPr lang="es-CL" sz="1400" dirty="0">
                <a:latin typeface="ACHS Nueva Sans Medium" pitchFamily="2" charset="77"/>
                <a:cs typeface="Calibri" panose="020F0502020204030204" pitchFamily="34" charset="0"/>
              </a:rPr>
              <a:t>ic</a:t>
            </a:r>
            <a:r>
              <a:rPr lang="es-CL" sz="1400" spc="-10" dirty="0">
                <a:latin typeface="ACHS Nueva Sans Medium" pitchFamily="2" charset="77"/>
                <a:cs typeface="Calibri" panose="020F0502020204030204" pitchFamily="34" charset="0"/>
              </a:rPr>
              <a:t>i</a:t>
            </a:r>
            <a:r>
              <a:rPr lang="es-CL" sz="1400" spc="-15" dirty="0">
                <a:latin typeface="ACHS Nueva Sans Medium" pitchFamily="2" charset="77"/>
                <a:cs typeface="Calibri" panose="020F0502020204030204" pitchFamily="34" charset="0"/>
              </a:rPr>
              <a:t>ó</a:t>
            </a:r>
            <a:r>
              <a:rPr lang="es-CL" sz="1400" dirty="0">
                <a:latin typeface="ACHS Nueva Sans Medium" pitchFamily="2" charset="77"/>
                <a:cs typeface="Calibri" panose="020F0502020204030204" pitchFamily="34" charset="0"/>
              </a:rPr>
              <a:t>n &gt; al 30%</a:t>
            </a:r>
            <a:r>
              <a:rPr lang="es-CL" sz="1400" spc="-110" dirty="0">
                <a:latin typeface="ACHS Nueva Sans Medium" pitchFamily="2" charset="77"/>
                <a:cs typeface="Calibri" panose="020F0502020204030204" pitchFamily="34" charset="0"/>
              </a:rPr>
              <a:t> de jornada semanal o de las horas de un ciclo de turno</a:t>
            </a:r>
            <a:endParaRPr lang="en-US" sz="1400" dirty="0"/>
          </a:p>
        </p:txBody>
      </p:sp>
    </p:spTree>
    <p:custDataLst>
      <p:tags r:id="rId1"/>
    </p:custDataLst>
    <p:extLst>
      <p:ext uri="{BB962C8B-B14F-4D97-AF65-F5344CB8AC3E}">
        <p14:creationId xmlns:p14="http://schemas.microsoft.com/office/powerpoint/2010/main" val="17293246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3249506" cy="1246495"/>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ambiental</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468164" y="2268314"/>
            <a:ext cx="3249506" cy="1446550"/>
          </a:xfrm>
          <a:prstGeom prst="rect">
            <a:avLst/>
          </a:prstGeom>
        </p:spPr>
        <p:txBody>
          <a:bodyPr wrap="square">
            <a:spAutoFit/>
          </a:bodyPr>
          <a:lstStyle/>
          <a:p>
            <a:r>
              <a:rPr lang="es-CL" sz="2200" b="1" spc="300" dirty="0">
                <a:solidFill>
                  <a:schemeClr val="bg1"/>
                </a:solidFill>
                <a:latin typeface="ACHS Nueva Serif" pitchFamily="2" charset="77"/>
                <a:cs typeface="Calibri" panose="020F0502020204030204" pitchFamily="34" charset="0"/>
              </a:rPr>
              <a:t>Apoyo al sistema de información:</a:t>
            </a: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9" name="Rectangle 3">
            <a:extLst>
              <a:ext uri="{FF2B5EF4-FFF2-40B4-BE49-F238E27FC236}">
                <a16:creationId xmlns:a16="http://schemas.microsoft.com/office/drawing/2014/main" xmlns="" id="{5BEFE3FA-79A3-9341-81C4-DC121972FE1C}"/>
              </a:ext>
            </a:extLst>
          </p:cNvPr>
          <p:cNvSpPr/>
          <p:nvPr/>
        </p:nvSpPr>
        <p:spPr>
          <a:xfrm>
            <a:off x="4358557" y="3069401"/>
            <a:ext cx="5830687" cy="3170099"/>
          </a:xfrm>
          <a:prstGeom prst="rect">
            <a:avLst/>
          </a:prstGeom>
        </p:spPr>
        <p:txBody>
          <a:bodyPr wrap="square">
            <a:spAutoFit/>
          </a:bodyPr>
          <a:lstStyle/>
          <a:p>
            <a:pPr marL="12700">
              <a:lnSpc>
                <a:spcPct val="100000"/>
              </a:lnSpc>
              <a:tabLst>
                <a:tab pos="646430" algn="l"/>
                <a:tab pos="1112520" algn="l"/>
                <a:tab pos="1602105" algn="l"/>
                <a:tab pos="2013585" algn="l"/>
                <a:tab pos="3258820" algn="l"/>
              </a:tabLst>
            </a:pPr>
            <a:r>
              <a:rPr lang="es-CL" sz="2000" dirty="0">
                <a:latin typeface="ACHS Nueva Sans Medium" pitchFamily="2" charset="77"/>
                <a:cs typeface="Calibri" panose="020F0502020204030204" pitchFamily="34" charset="0"/>
              </a:rPr>
              <a:t>Cada	vez	que	los	OAL visiten empresas en que exista presencia de sílice, deberán llenar el formulario contenido Anexo N° 3 y posteriormente cargarla en la Plataforma Informática desarrollada por el Instituto  de Salud Pública, la que tiene como finalidad contar  con información, a nivel regional y nacional, de las  empresas donde existe presencia de sílice y el  número de trabajadores expuestos a esta  sustancia.</a:t>
            </a:r>
          </a:p>
        </p:txBody>
      </p:sp>
      <p:sp>
        <p:nvSpPr>
          <p:cNvPr id="11" name="object 7">
            <a:extLst>
              <a:ext uri="{FF2B5EF4-FFF2-40B4-BE49-F238E27FC236}">
                <a16:creationId xmlns:a16="http://schemas.microsoft.com/office/drawing/2014/main" xmlns="" id="{69B7B683-040A-8F4C-A992-9E0B1884E41E}"/>
              </a:ext>
            </a:extLst>
          </p:cNvPr>
          <p:cNvSpPr/>
          <p:nvPr/>
        </p:nvSpPr>
        <p:spPr>
          <a:xfrm>
            <a:off x="11022039" y="1844715"/>
            <a:ext cx="4458818" cy="5951921"/>
          </a:xfrm>
          <a:prstGeom prst="rect">
            <a:avLst/>
          </a:prstGeom>
          <a:blipFill>
            <a:blip r:embed="rId4" cstate="print"/>
            <a:stretch>
              <a:fillRect/>
            </a:stretch>
          </a:blipFill>
        </p:spPr>
        <p:txBody>
          <a:bodyPr wrap="square" lIns="0" tIns="0" rIns="0" bIns="0" rtlCol="0"/>
          <a:lstStyle/>
          <a:p>
            <a:endParaRPr/>
          </a:p>
        </p:txBody>
      </p:sp>
      <p:sp>
        <p:nvSpPr>
          <p:cNvPr id="12" name="8 Rectángulo">
            <a:extLst>
              <a:ext uri="{FF2B5EF4-FFF2-40B4-BE49-F238E27FC236}">
                <a16:creationId xmlns:a16="http://schemas.microsoft.com/office/drawing/2014/main" xmlns="" id="{C35C0E9C-B556-F34D-B5D8-CC62D702DEEF}"/>
              </a:ext>
            </a:extLst>
          </p:cNvPr>
          <p:cNvSpPr/>
          <p:nvPr/>
        </p:nvSpPr>
        <p:spPr>
          <a:xfrm>
            <a:off x="4358557" y="7596581"/>
            <a:ext cx="4588115" cy="400110"/>
          </a:xfrm>
          <a:prstGeom prst="rect">
            <a:avLst/>
          </a:prstGeom>
        </p:spPr>
        <p:txBody>
          <a:bodyPr wrap="none">
            <a:spAutoFit/>
          </a:bodyPr>
          <a:lstStyle/>
          <a:p>
            <a:pPr marL="12700" algn="just">
              <a:lnSpc>
                <a:spcPct val="100000"/>
              </a:lnSpc>
            </a:pPr>
            <a:r>
              <a:rPr lang="es-CL" sz="2000" b="1" dirty="0">
                <a:solidFill>
                  <a:srgbClr val="15C047"/>
                </a:solidFill>
                <a:latin typeface="ACHS Nueva Sans ExtraBold" pitchFamily="2" charset="77"/>
                <a:hlinkClick r:id="rId5">
                  <a:extLst>
                    <a:ext uri="{A12FA001-AC4F-418D-AE19-62706E023703}">
                      <ahyp:hlinkClr xmlns:ahyp="http://schemas.microsoft.com/office/drawing/2018/hyperlinkcolor" xmlns="" val="tx"/>
                    </a:ext>
                  </a:extLst>
                </a:hlinkClick>
              </a:rPr>
              <a:t>http://silicosis.ispch.cl/hinicio.aspx</a:t>
            </a:r>
            <a:endParaRPr lang="es-CL" sz="2000" b="1" dirty="0">
              <a:solidFill>
                <a:srgbClr val="15C047"/>
              </a:solidFill>
              <a:latin typeface="ACHS Nueva Sans ExtraBold" pitchFamily="2" charset="77"/>
            </a:endParaRPr>
          </a:p>
        </p:txBody>
      </p:sp>
    </p:spTree>
    <p:custDataLst>
      <p:tags r:id="rId1"/>
    </p:custDataLst>
    <p:extLst>
      <p:ext uri="{BB962C8B-B14F-4D97-AF65-F5344CB8AC3E}">
        <p14:creationId xmlns:p14="http://schemas.microsoft.com/office/powerpoint/2010/main" val="6853271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468164" y="2268314"/>
            <a:ext cx="3024336" cy="1477328"/>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Tipos de vigilancia:</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5" name="Rectangle 3">
            <a:extLst>
              <a:ext uri="{FF2B5EF4-FFF2-40B4-BE49-F238E27FC236}">
                <a16:creationId xmlns:a16="http://schemas.microsoft.com/office/drawing/2014/main" xmlns="" id="{C5EF8294-E2DD-4740-A6D1-CEE4FF1CB6FD}"/>
              </a:ext>
            </a:extLst>
          </p:cNvPr>
          <p:cNvSpPr/>
          <p:nvPr/>
        </p:nvSpPr>
        <p:spPr>
          <a:xfrm>
            <a:off x="4639329" y="1951242"/>
            <a:ext cx="8550018" cy="3477875"/>
          </a:xfrm>
          <a:prstGeom prst="rect">
            <a:avLst/>
          </a:prstGeom>
        </p:spPr>
        <p:txBody>
          <a:bodyPr wrap="square">
            <a:spAutoFit/>
          </a:bodyPr>
          <a:lstStyle/>
          <a:p>
            <a:pPr>
              <a:lnSpc>
                <a:spcPct val="100000"/>
              </a:lnSpc>
            </a:pPr>
            <a:r>
              <a:rPr lang="es-CL" sz="2000" b="1" dirty="0">
                <a:solidFill>
                  <a:srgbClr val="15C047"/>
                </a:solidFill>
                <a:latin typeface="ACHS Nueva Sans ExtraBold" pitchFamily="2" charset="77"/>
                <a:cs typeface="Calibri" panose="020F0502020204030204" pitchFamily="34" charset="0"/>
              </a:rPr>
              <a:t>“ Se distinguen 2 períodos en la vigilancia de la Salud”:</a:t>
            </a:r>
          </a:p>
          <a:p>
            <a:pPr>
              <a:lnSpc>
                <a:spcPct val="100000"/>
              </a:lnSpc>
            </a:pPr>
            <a:endParaRPr lang="es-CL" sz="2000" dirty="0">
              <a:latin typeface="ACHS Nueva Sans Medium" pitchFamily="2" charset="77"/>
              <a:cs typeface="Calibri" panose="020F0502020204030204" pitchFamily="34" charset="0"/>
            </a:endParaRPr>
          </a:p>
          <a:p>
            <a:pPr marL="457200" lvl="1" indent="-457200">
              <a:lnSpc>
                <a:spcPct val="100000"/>
              </a:lnSpc>
              <a:buAutoNum type="alphaUcPeriod"/>
              <a:tabLst>
                <a:tab pos="819150" algn="l"/>
                <a:tab pos="819785" algn="l"/>
              </a:tabLst>
            </a:pPr>
            <a:r>
              <a:rPr lang="es-CL" sz="2000" b="1" dirty="0">
                <a:solidFill>
                  <a:srgbClr val="15C047"/>
                </a:solidFill>
                <a:latin typeface="ACHS Nueva Sans SemiBold" pitchFamily="2" charset="77"/>
                <a:cs typeface="Calibri" panose="020F0502020204030204" pitchFamily="34" charset="0"/>
              </a:rPr>
              <a:t>Evaluación Periódica:</a:t>
            </a:r>
          </a:p>
          <a:p>
            <a:pPr marL="457200" marR="5080">
              <a:lnSpc>
                <a:spcPct val="100000"/>
              </a:lnSpc>
            </a:pPr>
            <a:r>
              <a:rPr lang="es-CL" sz="2000" dirty="0">
                <a:latin typeface="ACHS Nueva Sans Medium" pitchFamily="2" charset="77"/>
                <a:cs typeface="Calibri" panose="020F0502020204030204" pitchFamily="34" charset="0"/>
              </a:rPr>
              <a:t>Corresponde a la evaluación que se realiza a un trabajador que se desempeña en sitios de  trabajo con exposición a sílice y cuya periodicidad dependerá del grado de exposición que  tenga.</a:t>
            </a:r>
          </a:p>
          <a:p>
            <a:pPr>
              <a:lnSpc>
                <a:spcPct val="100000"/>
              </a:lnSpc>
            </a:pPr>
            <a:endParaRPr lang="es-CL" sz="2000" dirty="0">
              <a:latin typeface="ACHS Nueva Sans Medium" pitchFamily="2" charset="77"/>
              <a:cs typeface="Calibri" panose="020F0502020204030204" pitchFamily="34" charset="0"/>
            </a:endParaRPr>
          </a:p>
          <a:p>
            <a:pPr marL="457200" lvl="1" indent="-457200">
              <a:lnSpc>
                <a:spcPct val="100000"/>
              </a:lnSpc>
              <a:buAutoNum type="alphaUcPeriod" startAt="2"/>
              <a:tabLst>
                <a:tab pos="457200" algn="l"/>
              </a:tabLst>
            </a:pPr>
            <a:r>
              <a:rPr lang="es-CL" sz="2000" b="1" dirty="0">
                <a:solidFill>
                  <a:srgbClr val="15C047"/>
                </a:solidFill>
                <a:latin typeface="ACHS Nueva Sans SemiBold" pitchFamily="2" charset="77"/>
                <a:cs typeface="Calibri" panose="020F0502020204030204" pitchFamily="34" charset="0"/>
              </a:rPr>
              <a:t>Evaluación de Término de Exposición:</a:t>
            </a:r>
          </a:p>
          <a:p>
            <a:pPr marL="457200" lvl="1" indent="-457200">
              <a:lnSpc>
                <a:spcPct val="100000"/>
              </a:lnSpc>
              <a:tabLst>
                <a:tab pos="457200" algn="l"/>
              </a:tabLst>
            </a:pPr>
            <a:r>
              <a:rPr lang="es-CL" sz="2000" dirty="0">
                <a:latin typeface="ACHS Nueva Sans Medium" pitchFamily="2" charset="77"/>
                <a:cs typeface="Calibri" panose="020F0502020204030204" pitchFamily="34" charset="0"/>
              </a:rPr>
              <a:t>	Es aquella que se efectúa a partir del cese definitivo de la exposición. Esta vigilancia será quinquenal y hasta 15 años después de finalizada la exposición. </a:t>
            </a:r>
          </a:p>
        </p:txBody>
      </p:sp>
    </p:spTree>
    <p:custDataLst>
      <p:tags r:id="rId1"/>
    </p:custDataLst>
    <p:extLst>
      <p:ext uri="{BB962C8B-B14F-4D97-AF65-F5344CB8AC3E}">
        <p14:creationId xmlns:p14="http://schemas.microsoft.com/office/powerpoint/2010/main" val="41980340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9" name="Rectangle 3">
            <a:extLst>
              <a:ext uri="{FF2B5EF4-FFF2-40B4-BE49-F238E27FC236}">
                <a16:creationId xmlns:a16="http://schemas.microsoft.com/office/drawing/2014/main" xmlns="" id="{23710D4E-0E06-D74E-9A50-4C57565D7458}"/>
              </a:ext>
            </a:extLst>
          </p:cNvPr>
          <p:cNvSpPr/>
          <p:nvPr/>
        </p:nvSpPr>
        <p:spPr>
          <a:xfrm>
            <a:off x="4715776" y="1951242"/>
            <a:ext cx="9744570" cy="3170099"/>
          </a:xfrm>
          <a:prstGeom prst="rect">
            <a:avLst/>
          </a:prstGeom>
        </p:spPr>
        <p:txBody>
          <a:bodyPr wrap="square">
            <a:spAutoFit/>
          </a:bodyPr>
          <a:lstStyle/>
          <a:p>
            <a:pPr marL="12700" marR="5080">
              <a:lnSpc>
                <a:spcPct val="100000"/>
              </a:lnSpc>
            </a:pPr>
            <a:r>
              <a:rPr lang="es-CL" sz="2000" dirty="0">
                <a:latin typeface="ACHS Nueva Sans Medium" pitchFamily="2" charset="77"/>
                <a:cs typeface="Calibri" panose="020F0502020204030204" pitchFamily="34" charset="0"/>
              </a:rPr>
              <a:t>El término de la exposición puede ocurrir por cambio de puesto de trabajo  dentro de la misma empresa, desvinculación laboral o término de la vida  laboral.</a:t>
            </a:r>
          </a:p>
          <a:p>
            <a:pPr marL="12700" marR="5080">
              <a:lnSpc>
                <a:spcPct val="100000"/>
              </a:lnSpc>
            </a:pPr>
            <a:endParaRPr lang="es-CL" sz="2000" dirty="0">
              <a:latin typeface="ACHS Nueva Sans Medium" pitchFamily="2" charset="77"/>
              <a:cs typeface="Calibri" panose="020F0502020204030204" pitchFamily="34" charset="0"/>
            </a:endParaRPr>
          </a:p>
          <a:p>
            <a:pPr marL="12700" marR="5080"/>
            <a:r>
              <a:rPr lang="es-CL" sz="2000" dirty="0">
                <a:latin typeface="ACHS Nueva Sans Medium" pitchFamily="2" charset="77"/>
                <a:cs typeface="Calibri" panose="020F0502020204030204" pitchFamily="34" charset="0"/>
              </a:rPr>
              <a:t>En cualquier caso, finalizada la exposición del trabajador, la empresa es responsable de informar a éste de inmediato y por escrito que el riesgo de silicosis no extingue y que tiene derecho a esta evaluación. Del mismo modo, la empresa deberá dar aviso de inmediato al organismo administrador.</a:t>
            </a:r>
          </a:p>
          <a:p>
            <a:pPr marL="12700" marR="5080">
              <a:lnSpc>
                <a:spcPct val="100000"/>
              </a:lnSpc>
            </a:pPr>
            <a:endParaRPr lang="es-CL" sz="2000" dirty="0">
              <a:latin typeface="ACHS Nueva Sans Medium" pitchFamily="2" charset="77"/>
              <a:cs typeface="Calibri" panose="020F0502020204030204" pitchFamily="34" charset="0"/>
            </a:endParaRPr>
          </a:p>
          <a:p>
            <a:pPr marL="12700" marR="5080"/>
            <a:r>
              <a:rPr lang="es-CL" sz="2000" dirty="0">
                <a:latin typeface="ACHS Nueva Sans Medium" pitchFamily="2" charset="77"/>
                <a:cs typeface="Calibri" panose="020F0502020204030204" pitchFamily="34" charset="0"/>
              </a:rPr>
              <a:t>Los Organismos Administradores deberán citar a los trabajadores mediante carta certificada u otro medio electrónico, y guardar registros de ello.</a:t>
            </a:r>
          </a:p>
        </p:txBody>
      </p:sp>
    </p:spTree>
    <p:custDataLst>
      <p:tags r:id="rId1"/>
    </p:custDataLst>
    <p:extLst>
      <p:ext uri="{BB962C8B-B14F-4D97-AF65-F5344CB8AC3E}">
        <p14:creationId xmlns:p14="http://schemas.microsoft.com/office/powerpoint/2010/main" val="19357937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468164" y="2268314"/>
            <a:ext cx="3249506"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Periodicidad de las evaluaciones de salud:</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9" name="Rectangle 3">
            <a:extLst>
              <a:ext uri="{FF2B5EF4-FFF2-40B4-BE49-F238E27FC236}">
                <a16:creationId xmlns:a16="http://schemas.microsoft.com/office/drawing/2014/main" xmlns="" id="{72B8ADCE-F25E-D742-A257-9CDC63DC1D2D}"/>
              </a:ext>
            </a:extLst>
          </p:cNvPr>
          <p:cNvSpPr/>
          <p:nvPr/>
        </p:nvSpPr>
        <p:spPr>
          <a:xfrm>
            <a:off x="4458489" y="1512547"/>
            <a:ext cx="10392642" cy="5940088"/>
          </a:xfrm>
          <a:prstGeom prst="rect">
            <a:avLst/>
          </a:prstGeom>
        </p:spPr>
        <p:txBody>
          <a:bodyPr wrap="square">
            <a:spAutoFit/>
          </a:bodyPr>
          <a:lstStyle/>
          <a:p>
            <a:pPr marL="361950" lvl="1" indent="-296863">
              <a:lnSpc>
                <a:spcPct val="100000"/>
              </a:lnSpc>
              <a:buAutoNum type="alphaUcPeriod"/>
            </a:pPr>
            <a:r>
              <a:rPr lang="es-CL" sz="2000" b="1" dirty="0">
                <a:solidFill>
                  <a:srgbClr val="15C047"/>
                </a:solidFill>
                <a:latin typeface="ACHS Nueva Sans SemiBold" pitchFamily="2" charset="77"/>
                <a:cs typeface="Calibri" panose="020F0502020204030204" pitchFamily="34" charset="0"/>
              </a:rPr>
              <a:t>Con Evaluación Cualitativa:</a:t>
            </a:r>
          </a:p>
          <a:p>
            <a:pPr lvl="1">
              <a:lnSpc>
                <a:spcPct val="100000"/>
              </a:lnSpc>
              <a:spcBef>
                <a:spcPts val="10"/>
              </a:spcBef>
              <a:buFont typeface="Arial"/>
              <a:buAutoNum type="alphaUcPeriod"/>
            </a:pPr>
            <a:endParaRPr lang="es-CL" sz="2000" dirty="0">
              <a:latin typeface="ACHS Nueva Sans Medium" pitchFamily="2" charset="77"/>
              <a:cs typeface="Calibri" panose="020F0502020204030204" pitchFamily="34" charset="0"/>
            </a:endParaRPr>
          </a:p>
          <a:p>
            <a:pPr marL="424815" marR="130175" lvl="2">
              <a:lnSpc>
                <a:spcPct val="100000"/>
              </a:lnSpc>
              <a:tabLst>
                <a:tab pos="711835" algn="l"/>
                <a:tab pos="712470" algn="l"/>
              </a:tabLst>
            </a:pPr>
            <a:r>
              <a:rPr lang="es-CL" sz="2000" dirty="0">
                <a:latin typeface="ACHS Nueva Sans Medium" pitchFamily="2" charset="77"/>
                <a:cs typeface="Calibri" panose="020F0502020204030204" pitchFamily="34" charset="0"/>
              </a:rPr>
              <a:t>Cuando la permanencia en trabajo con sílice es mayor al 30% del total de las horas de trabajo  semanal.</a:t>
            </a:r>
          </a:p>
          <a:p>
            <a:pPr lvl="2">
              <a:lnSpc>
                <a:spcPct val="100000"/>
              </a:lnSpc>
              <a:spcBef>
                <a:spcPts val="15"/>
              </a:spcBef>
              <a:buFont typeface="Wingdings"/>
              <a:buChar char=""/>
            </a:pPr>
            <a:endParaRPr lang="es-CL" sz="2000" dirty="0">
              <a:latin typeface="ACHS Nueva Sans Medium" pitchFamily="2" charset="77"/>
              <a:cs typeface="Calibri" panose="020F0502020204030204" pitchFamily="34" charset="0"/>
            </a:endParaRPr>
          </a:p>
          <a:p>
            <a:pPr marL="723900" marR="19685" lvl="3" indent="-266700">
              <a:lnSpc>
                <a:spcPct val="100000"/>
              </a:lnSpc>
              <a:buClr>
                <a:srgbClr val="15C047"/>
              </a:buClr>
              <a:buFont typeface="Arial" panose="020B0604020202020204" pitchFamily="34" charset="0"/>
              <a:buChar char="•"/>
            </a:pPr>
            <a:r>
              <a:rPr lang="es-CL" sz="2000" dirty="0">
                <a:latin typeface="ACHS Nueva Sans Medium" pitchFamily="2" charset="77"/>
                <a:cs typeface="Calibri" panose="020F0502020204030204" pitchFamily="34" charset="0"/>
              </a:rPr>
              <a:t>La periodicidad de la vigilancia de la salud será anual mientras no se realice la evaluación cuantitativa respectiva.</a:t>
            </a:r>
          </a:p>
          <a:p>
            <a:pPr marL="723900" marR="19685" lvl="3" indent="-266700">
              <a:lnSpc>
                <a:spcPct val="100000"/>
              </a:lnSpc>
              <a:buClr>
                <a:srgbClr val="15C047"/>
              </a:buClr>
              <a:buFont typeface="Arial" panose="020B0604020202020204" pitchFamily="34" charset="0"/>
              <a:buChar char="•"/>
            </a:pPr>
            <a:endParaRPr lang="es-CL" sz="2000" dirty="0">
              <a:latin typeface="ACHS Nueva Sans Medium" pitchFamily="2" charset="77"/>
              <a:cs typeface="Calibri" panose="020F0502020204030204" pitchFamily="34" charset="0"/>
            </a:endParaRPr>
          </a:p>
          <a:p>
            <a:pPr marL="723900" marR="125095" lvl="3" indent="-266700">
              <a:lnSpc>
                <a:spcPct val="100000"/>
              </a:lnSpc>
              <a:buClr>
                <a:srgbClr val="15C047"/>
              </a:buClr>
              <a:buFont typeface="Arial" panose="020B0604020202020204" pitchFamily="34" charset="0"/>
              <a:buChar char="•"/>
            </a:pPr>
            <a:r>
              <a:rPr lang="es-CL" sz="2000" dirty="0">
                <a:latin typeface="ACHS Nueva Sans Medium" pitchFamily="2" charset="77"/>
                <a:cs typeface="Calibri" panose="020F0502020204030204" pitchFamily="34" charset="0"/>
              </a:rPr>
              <a:t>El primer control deberá efectuarse dentro del año calendario a contar de la fecha en que  se efectuó la evaluación cualitativa.</a:t>
            </a:r>
          </a:p>
          <a:p>
            <a:pPr lvl="3">
              <a:lnSpc>
                <a:spcPct val="100000"/>
              </a:lnSpc>
              <a:spcBef>
                <a:spcPts val="20"/>
              </a:spcBef>
            </a:pPr>
            <a:endParaRPr lang="es-CL" sz="2000" dirty="0">
              <a:latin typeface="ACHS Nueva Sans Medium" pitchFamily="2" charset="77"/>
              <a:cs typeface="Calibri" panose="020F0502020204030204" pitchFamily="34" charset="0"/>
            </a:endParaRPr>
          </a:p>
          <a:p>
            <a:pPr marL="417195" marR="71120" lvl="2">
              <a:lnSpc>
                <a:spcPct val="100000"/>
              </a:lnSpc>
              <a:spcBef>
                <a:spcPts val="5"/>
              </a:spcBef>
              <a:tabLst>
                <a:tab pos="760095" algn="l"/>
                <a:tab pos="760730" algn="l"/>
              </a:tabLst>
            </a:pPr>
            <a:r>
              <a:rPr lang="es-CL" sz="2000" dirty="0">
                <a:latin typeface="ACHS Nueva Sans Medium" pitchFamily="2" charset="77"/>
                <a:cs typeface="Calibri" panose="020F0502020204030204" pitchFamily="34" charset="0"/>
              </a:rPr>
              <a:t>Cuando la permanencia en trabajo con sílice es </a:t>
            </a:r>
            <a:r>
              <a:rPr lang="es-CL" sz="2000" b="1" dirty="0">
                <a:solidFill>
                  <a:srgbClr val="195A28"/>
                </a:solidFill>
                <a:latin typeface="ACHS Nueva Sans SemiBold" pitchFamily="2" charset="77"/>
                <a:cs typeface="Calibri" panose="020F0502020204030204" pitchFamily="34" charset="0"/>
              </a:rPr>
              <a:t>menor al 30% </a:t>
            </a:r>
            <a:r>
              <a:rPr lang="es-CL" sz="2000" dirty="0">
                <a:latin typeface="ACHS Nueva Sans Medium" pitchFamily="2" charset="77"/>
                <a:cs typeface="Calibri" panose="020F0502020204030204" pitchFamily="34" charset="0"/>
              </a:rPr>
              <a:t>del total de las horas de trabajo  semanal.</a:t>
            </a:r>
          </a:p>
          <a:p>
            <a:pPr lvl="2">
              <a:lnSpc>
                <a:spcPct val="100000"/>
              </a:lnSpc>
              <a:spcBef>
                <a:spcPts val="10"/>
              </a:spcBef>
              <a:buFont typeface="Wingdings"/>
              <a:buChar char=""/>
            </a:pPr>
            <a:endParaRPr lang="es-CL" sz="2000" dirty="0">
              <a:latin typeface="ACHS Nueva Sans Medium" pitchFamily="2" charset="77"/>
              <a:cs typeface="Calibri" panose="020F0502020204030204" pitchFamily="34" charset="0"/>
            </a:endParaRPr>
          </a:p>
          <a:p>
            <a:pPr marL="361950" marR="374015" lvl="3">
              <a:lnSpc>
                <a:spcPct val="100000"/>
              </a:lnSpc>
              <a:spcBef>
                <a:spcPts val="5"/>
              </a:spcBef>
              <a:tabLst>
                <a:tab pos="1160780" algn="l"/>
                <a:tab pos="1162050" algn="l"/>
              </a:tabLst>
            </a:pPr>
            <a:r>
              <a:rPr lang="es-CL" sz="2000" dirty="0">
                <a:latin typeface="ACHS Nueva Sans Medium" pitchFamily="2" charset="77"/>
                <a:cs typeface="Calibri" panose="020F0502020204030204" pitchFamily="34" charset="0"/>
              </a:rPr>
              <a:t>La periodicidad de la vigilancia de la salud </a:t>
            </a:r>
            <a:r>
              <a:rPr lang="es-CL" sz="2000" b="1" dirty="0">
                <a:solidFill>
                  <a:srgbClr val="195A28"/>
                </a:solidFill>
                <a:latin typeface="ACHS Nueva Sans SemiBold" pitchFamily="2" charset="77"/>
                <a:cs typeface="Calibri" panose="020F0502020204030204" pitchFamily="34" charset="0"/>
              </a:rPr>
              <a:t>será cada 2 años </a:t>
            </a:r>
            <a:r>
              <a:rPr lang="es-CL" sz="2000" dirty="0">
                <a:latin typeface="ACHS Nueva Sans Medium" pitchFamily="2" charset="77"/>
                <a:cs typeface="Calibri" panose="020F0502020204030204" pitchFamily="34" charset="0"/>
              </a:rPr>
              <a:t>mientras no se realice la evaluación cuantitativa respectiva.</a:t>
            </a:r>
          </a:p>
          <a:p>
            <a:pPr marL="361950" lvl="3">
              <a:lnSpc>
                <a:spcPct val="100000"/>
              </a:lnSpc>
              <a:spcBef>
                <a:spcPts val="10"/>
              </a:spcBef>
              <a:buFont typeface="Wingdings"/>
              <a:buChar char=""/>
            </a:pPr>
            <a:endParaRPr lang="es-CL" sz="2000" dirty="0">
              <a:latin typeface="ACHS Nueva Sans Medium" pitchFamily="2" charset="77"/>
              <a:cs typeface="Calibri" panose="020F0502020204030204" pitchFamily="34" charset="0"/>
            </a:endParaRPr>
          </a:p>
          <a:p>
            <a:pPr marL="361950" marR="5080" lvl="3">
              <a:lnSpc>
                <a:spcPct val="100000"/>
              </a:lnSpc>
              <a:tabLst>
                <a:tab pos="1160780" algn="l"/>
                <a:tab pos="1162050" algn="l"/>
              </a:tabLst>
            </a:pPr>
            <a:r>
              <a:rPr lang="es-CL" sz="2000" dirty="0">
                <a:latin typeface="ACHS Nueva Sans Medium" pitchFamily="2" charset="77"/>
                <a:cs typeface="Calibri" panose="020F0502020204030204" pitchFamily="34" charset="0"/>
              </a:rPr>
              <a:t>El primer control deberá efectuarse dentro de los 2 años calendario a contar de la fecha en  que se efectuó la evaluación cualitativa.</a:t>
            </a:r>
          </a:p>
        </p:txBody>
      </p:sp>
    </p:spTree>
    <p:custDataLst>
      <p:tags r:id="rId1"/>
    </p:custDataLst>
    <p:extLst>
      <p:ext uri="{BB962C8B-B14F-4D97-AF65-F5344CB8AC3E}">
        <p14:creationId xmlns:p14="http://schemas.microsoft.com/office/powerpoint/2010/main" val="40228969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468164" y="2268314"/>
            <a:ext cx="3249506"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Periodicidad de las evaluaciones de salud:</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0" name="Rectangle 3">
            <a:extLst>
              <a:ext uri="{FF2B5EF4-FFF2-40B4-BE49-F238E27FC236}">
                <a16:creationId xmlns:a16="http://schemas.microsoft.com/office/drawing/2014/main" xmlns="" id="{152D9472-214C-E74E-9754-5488307123EE}"/>
              </a:ext>
            </a:extLst>
          </p:cNvPr>
          <p:cNvSpPr/>
          <p:nvPr/>
        </p:nvSpPr>
        <p:spPr>
          <a:xfrm>
            <a:off x="4621138" y="2089957"/>
            <a:ext cx="10104610" cy="2977738"/>
          </a:xfrm>
          <a:prstGeom prst="rect">
            <a:avLst/>
          </a:prstGeom>
        </p:spPr>
        <p:txBody>
          <a:bodyPr wrap="square">
            <a:spAutoFit/>
          </a:bodyPr>
          <a:lstStyle/>
          <a:p>
            <a:pPr marL="483234" lvl="1" indent="-418465">
              <a:lnSpc>
                <a:spcPct val="100000"/>
              </a:lnSpc>
              <a:buAutoNum type="alphaUcPeriod"/>
              <a:tabLst>
                <a:tab pos="483234" algn="l"/>
                <a:tab pos="483870" algn="l"/>
              </a:tabLst>
            </a:pPr>
            <a:r>
              <a:rPr lang="es-CL" sz="2000" b="1" dirty="0">
                <a:solidFill>
                  <a:srgbClr val="15C047"/>
                </a:solidFill>
                <a:latin typeface="ACHS Nueva Sans SemiBold" pitchFamily="2" charset="77"/>
                <a:cs typeface="Calibri" panose="020F0502020204030204" pitchFamily="34" charset="0"/>
              </a:rPr>
              <a:t>Con Evaluación Cualitativa:</a:t>
            </a:r>
          </a:p>
          <a:p>
            <a:pPr lvl="1">
              <a:lnSpc>
                <a:spcPct val="100000"/>
              </a:lnSpc>
              <a:spcBef>
                <a:spcPts val="10"/>
              </a:spcBef>
              <a:buFont typeface="Arial"/>
              <a:buAutoNum type="alphaUcPeriod"/>
            </a:pPr>
            <a:endParaRPr lang="es-CL" sz="2000" dirty="0">
              <a:latin typeface="ACHS Nueva Sans Medium" pitchFamily="2" charset="77"/>
              <a:cs typeface="Calibri" panose="020F0502020204030204" pitchFamily="34" charset="0"/>
            </a:endParaRPr>
          </a:p>
          <a:p>
            <a:pPr marL="424815" marR="5080" lvl="2">
              <a:lnSpc>
                <a:spcPct val="100000"/>
              </a:lnSpc>
              <a:tabLst>
                <a:tab pos="711835" algn="l"/>
                <a:tab pos="712470" algn="l"/>
              </a:tabLst>
            </a:pPr>
            <a:r>
              <a:rPr lang="es-CL" sz="2000" dirty="0">
                <a:latin typeface="ACHS Nueva Sans Medium" pitchFamily="2" charset="77"/>
                <a:cs typeface="Calibri" panose="020F0502020204030204" pitchFamily="34" charset="0"/>
              </a:rPr>
              <a:t>Los trabajadores del rubro Construcción que realizan desbaste y pulido de muros, </a:t>
            </a:r>
            <a:r>
              <a:rPr lang="es-CL" sz="2000" dirty="0" err="1">
                <a:latin typeface="ACHS Nueva Sans Medium" pitchFamily="2" charset="77"/>
                <a:cs typeface="Calibri" panose="020F0502020204030204" pitchFamily="34" charset="0"/>
              </a:rPr>
              <a:t>kaqueros</a:t>
            </a:r>
            <a:r>
              <a:rPr lang="es-CL" sz="2000" dirty="0">
                <a:latin typeface="ACHS Nueva Sans Medium" pitchFamily="2" charset="77"/>
                <a:cs typeface="Calibri" panose="020F0502020204030204" pitchFamily="34" charset="0"/>
              </a:rPr>
              <a:t> y </a:t>
            </a:r>
            <a:r>
              <a:rPr lang="es-CL" sz="2000" dirty="0" err="1">
                <a:latin typeface="ACHS Nueva Sans Medium" pitchFamily="2" charset="77"/>
                <a:cs typeface="Calibri" panose="020F0502020204030204" pitchFamily="34" charset="0"/>
              </a:rPr>
              <a:t>puntereros</a:t>
            </a:r>
            <a:r>
              <a:rPr lang="es-CL" sz="2000" dirty="0">
                <a:latin typeface="ACHS Nueva Sans Medium" pitchFamily="2" charset="77"/>
                <a:cs typeface="Calibri" panose="020F0502020204030204" pitchFamily="34" charset="0"/>
              </a:rPr>
              <a:t>, aunque desarrollen estas actividades en un tiempo menor o igual al 30% de la  jornada semanal, para efectos de la vigilancia de la salud se considerarán en el Grado de  Exposición 1.</a:t>
            </a:r>
          </a:p>
          <a:p>
            <a:pPr marL="424815" marR="5080" lvl="2">
              <a:lnSpc>
                <a:spcPct val="100000"/>
              </a:lnSpc>
              <a:tabLst>
                <a:tab pos="711835" algn="l"/>
                <a:tab pos="712470" algn="l"/>
              </a:tabLst>
            </a:pPr>
            <a:endParaRPr lang="es-CL" sz="2000" dirty="0">
              <a:latin typeface="ACHS Nueva Sans Medium" pitchFamily="2" charset="77"/>
              <a:cs typeface="Calibri" panose="020F0502020204030204" pitchFamily="34" charset="0"/>
            </a:endParaRPr>
          </a:p>
          <a:p>
            <a:pPr marL="424815" lvl="2">
              <a:lnSpc>
                <a:spcPct val="100000"/>
              </a:lnSpc>
              <a:spcBef>
                <a:spcPts val="925"/>
              </a:spcBef>
              <a:tabLst>
                <a:tab pos="767715" algn="l"/>
                <a:tab pos="768350" algn="l"/>
              </a:tabLst>
            </a:pPr>
            <a:r>
              <a:rPr lang="es-CL" sz="2000" dirty="0">
                <a:latin typeface="ACHS Nueva Sans Medium" pitchFamily="2" charset="77"/>
                <a:cs typeface="Calibri" panose="020F0502020204030204" pitchFamily="34" charset="0"/>
              </a:rPr>
              <a:t>Los trabajadores que realicen limpieza abrasiva con chorro de arena y los operadores de </a:t>
            </a:r>
            <a:r>
              <a:rPr lang="es-CL" sz="2000" dirty="0" err="1">
                <a:latin typeface="ACHS Nueva Sans Medium" pitchFamily="2" charset="77"/>
                <a:cs typeface="Calibri" panose="020F0502020204030204" pitchFamily="34" charset="0"/>
              </a:rPr>
              <a:t>chancadores</a:t>
            </a:r>
            <a:r>
              <a:rPr lang="es-CL" sz="2000" dirty="0">
                <a:latin typeface="ACHS Nueva Sans Medium" pitchFamily="2" charset="77"/>
                <a:cs typeface="Calibri" panose="020F0502020204030204" pitchFamily="34" charset="0"/>
              </a:rPr>
              <a:t> de cuarzo, deberán ser controlados en forma anual.</a:t>
            </a:r>
          </a:p>
        </p:txBody>
      </p:sp>
    </p:spTree>
    <p:custDataLst>
      <p:tags r:id="rId1"/>
    </p:custDataLst>
    <p:extLst>
      <p:ext uri="{BB962C8B-B14F-4D97-AF65-F5344CB8AC3E}">
        <p14:creationId xmlns:p14="http://schemas.microsoft.com/office/powerpoint/2010/main" val="8859575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468164" y="2268314"/>
            <a:ext cx="3249506"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Periodicidad de las evaluaciones de salud:</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9" name="Rectangle 3">
            <a:extLst>
              <a:ext uri="{FF2B5EF4-FFF2-40B4-BE49-F238E27FC236}">
                <a16:creationId xmlns:a16="http://schemas.microsoft.com/office/drawing/2014/main" xmlns="" id="{96A65E51-49AC-4247-A392-8E083A8E1CF8}"/>
              </a:ext>
            </a:extLst>
          </p:cNvPr>
          <p:cNvSpPr/>
          <p:nvPr/>
        </p:nvSpPr>
        <p:spPr>
          <a:xfrm>
            <a:off x="4621138" y="2089957"/>
            <a:ext cx="9232701" cy="1323439"/>
          </a:xfrm>
          <a:prstGeom prst="rect">
            <a:avLst/>
          </a:prstGeom>
        </p:spPr>
        <p:txBody>
          <a:bodyPr wrap="square">
            <a:spAutoFit/>
          </a:bodyPr>
          <a:lstStyle/>
          <a:p>
            <a:pPr marL="12700">
              <a:lnSpc>
                <a:spcPct val="100000"/>
              </a:lnSpc>
              <a:spcBef>
                <a:spcPts val="1080"/>
              </a:spcBef>
              <a:tabLst>
                <a:tab pos="431165" algn="l"/>
              </a:tabLst>
            </a:pPr>
            <a:r>
              <a:rPr lang="es-CL" sz="2000" b="1" dirty="0">
                <a:solidFill>
                  <a:srgbClr val="15C047"/>
                </a:solidFill>
                <a:latin typeface="ACHS Nueva Sans SemiBold" pitchFamily="2" charset="77"/>
                <a:cs typeface="Calibri" panose="020F0502020204030204" pitchFamily="34" charset="0"/>
              </a:rPr>
              <a:t>B.     Con Evaluación Cuantitativa:</a:t>
            </a:r>
          </a:p>
          <a:p>
            <a:pPr>
              <a:lnSpc>
                <a:spcPct val="100000"/>
              </a:lnSpc>
              <a:spcBef>
                <a:spcPts val="10"/>
              </a:spcBef>
            </a:pPr>
            <a:endParaRPr lang="es-CL" sz="2000" dirty="0">
              <a:latin typeface="ACHS Nueva Sans Medium" pitchFamily="2" charset="77"/>
              <a:cs typeface="Calibri" panose="020F0502020204030204" pitchFamily="34" charset="0"/>
            </a:endParaRPr>
          </a:p>
          <a:p>
            <a:pPr marL="445134" marR="5080">
              <a:lnSpc>
                <a:spcPct val="100000"/>
              </a:lnSpc>
            </a:pPr>
            <a:r>
              <a:rPr lang="es-CL" sz="2000" dirty="0">
                <a:latin typeface="ACHS Nueva Sans Medium" pitchFamily="2" charset="77"/>
                <a:cs typeface="Calibri" panose="020F0502020204030204" pitchFamily="34" charset="0"/>
              </a:rPr>
              <a:t>Ingresan a programa de vigilancia de salud todos los trabajadores de puestos de  trabajo donde la concentración supere el 50% del LPP.</a:t>
            </a:r>
          </a:p>
        </p:txBody>
      </p:sp>
      <p:graphicFrame>
        <p:nvGraphicFramePr>
          <p:cNvPr id="11" name="Tabla 1">
            <a:extLst>
              <a:ext uri="{FF2B5EF4-FFF2-40B4-BE49-F238E27FC236}">
                <a16:creationId xmlns:a16="http://schemas.microsoft.com/office/drawing/2014/main" xmlns="" id="{673D57DD-4B25-0F45-9319-C58D2C2F976D}"/>
              </a:ext>
            </a:extLst>
          </p:cNvPr>
          <p:cNvGraphicFramePr>
            <a:graphicFrameLocks noGrp="1"/>
          </p:cNvGraphicFramePr>
          <p:nvPr>
            <p:extLst>
              <p:ext uri="{D42A27DB-BD31-4B8C-83A1-F6EECF244321}">
                <p14:modId xmlns:p14="http://schemas.microsoft.com/office/powerpoint/2010/main" val="481239617"/>
              </p:ext>
            </p:extLst>
          </p:nvPr>
        </p:nvGraphicFramePr>
        <p:xfrm>
          <a:off x="4621138" y="3780482"/>
          <a:ext cx="10801350" cy="3816425"/>
        </p:xfrm>
        <a:graphic>
          <a:graphicData uri="http://schemas.openxmlformats.org/drawingml/2006/table">
            <a:tbl>
              <a:tblPr firstRow="1" bandRow="1">
                <a:tableStyleId>{F2DE63D5-997A-4646-A377-4702673A728D}</a:tableStyleId>
              </a:tblPr>
              <a:tblGrid>
                <a:gridCol w="1193131">
                  <a:extLst>
                    <a:ext uri="{9D8B030D-6E8A-4147-A177-3AD203B41FA5}">
                      <a16:colId xmlns:a16="http://schemas.microsoft.com/office/drawing/2014/main" xmlns="" val="20000"/>
                    </a:ext>
                  </a:extLst>
                </a:gridCol>
                <a:gridCol w="6336704">
                  <a:extLst>
                    <a:ext uri="{9D8B030D-6E8A-4147-A177-3AD203B41FA5}">
                      <a16:colId xmlns:a16="http://schemas.microsoft.com/office/drawing/2014/main" xmlns="" val="20001"/>
                    </a:ext>
                  </a:extLst>
                </a:gridCol>
                <a:gridCol w="3271515">
                  <a:extLst>
                    <a:ext uri="{9D8B030D-6E8A-4147-A177-3AD203B41FA5}">
                      <a16:colId xmlns:a16="http://schemas.microsoft.com/office/drawing/2014/main" xmlns="" val="20002"/>
                    </a:ext>
                  </a:extLst>
                </a:gridCol>
              </a:tblGrid>
              <a:tr h="763285">
                <a:tc>
                  <a:txBody>
                    <a:bodyPr/>
                    <a:lstStyle/>
                    <a:p>
                      <a:pPr algn="ctr"/>
                      <a:r>
                        <a:rPr lang="es-CL" sz="1800" b="1" i="0" dirty="0">
                          <a:latin typeface="ACHS Nueva Sans SemiBold" pitchFamily="2" charset="77"/>
                        </a:rPr>
                        <a:t>Grados</a:t>
                      </a:r>
                      <a:endParaRPr lang="es-CL" sz="1800" b="1" i="0" dirty="0">
                        <a:latin typeface="ACHS Nueva Sans SemiBold" pitchFamily="2" charset="77"/>
                        <a:cs typeface="Calibri" panose="020F0502020204030204" pitchFamily="34" charset="0"/>
                      </a:endParaRPr>
                    </a:p>
                  </a:txBody>
                  <a:tcPr anchor="ctr">
                    <a:solidFill>
                      <a:srgbClr val="15C047"/>
                    </a:solidFill>
                  </a:tcPr>
                </a:tc>
                <a:tc>
                  <a:txBody>
                    <a:bodyPr/>
                    <a:lstStyle/>
                    <a:p>
                      <a:pPr algn="ctr"/>
                      <a:r>
                        <a:rPr lang="es-CL" sz="1800" b="1" i="0" dirty="0">
                          <a:latin typeface="ACHS Nueva Sans SemiBold" pitchFamily="2" charset="77"/>
                        </a:rPr>
                        <a:t>Nivel de exposición</a:t>
                      </a:r>
                      <a:endParaRPr lang="es-CL" sz="1800" b="1" i="0" dirty="0">
                        <a:latin typeface="ACHS Nueva Sans SemiBold" pitchFamily="2" charset="77"/>
                        <a:cs typeface="Calibri" panose="020F0502020204030204" pitchFamily="34" charset="0"/>
                      </a:endParaRPr>
                    </a:p>
                  </a:txBody>
                  <a:tcPr anchor="ctr">
                    <a:solidFill>
                      <a:srgbClr val="15C047"/>
                    </a:solidFill>
                  </a:tcPr>
                </a:tc>
                <a:tc>
                  <a:txBody>
                    <a:bodyPr/>
                    <a:lstStyle/>
                    <a:p>
                      <a:pPr algn="ctr"/>
                      <a:r>
                        <a:rPr lang="es-CL" sz="1800" b="1" i="0" dirty="0">
                          <a:latin typeface="ACHS Nueva Sans SemiBold" pitchFamily="2" charset="77"/>
                        </a:rPr>
                        <a:t>Periodo vigilancia</a:t>
                      </a:r>
                      <a:endParaRPr lang="es-CL" sz="1800" b="1" i="0" dirty="0">
                        <a:latin typeface="ACHS Nueva Sans SemiBold" pitchFamily="2" charset="77"/>
                        <a:cs typeface="Calibri" panose="020F0502020204030204" pitchFamily="34" charset="0"/>
                      </a:endParaRPr>
                    </a:p>
                  </a:txBody>
                  <a:tcPr anchor="ctr">
                    <a:solidFill>
                      <a:srgbClr val="15C047"/>
                    </a:solidFill>
                  </a:tcPr>
                </a:tc>
                <a:extLst>
                  <a:ext uri="{0D108BD9-81ED-4DB2-BD59-A6C34878D82A}">
                    <a16:rowId xmlns:a16="http://schemas.microsoft.com/office/drawing/2014/main" xmlns="" val="10000"/>
                  </a:ext>
                </a:extLst>
              </a:tr>
              <a:tr h="763285">
                <a:tc>
                  <a:txBody>
                    <a:bodyPr/>
                    <a:lstStyle/>
                    <a:p>
                      <a:pPr algn="ctr"/>
                      <a:r>
                        <a:rPr lang="es-CL" sz="1800" b="1" i="0" dirty="0">
                          <a:solidFill>
                            <a:srgbClr val="0C662F"/>
                          </a:solidFill>
                          <a:latin typeface="ACHS Nueva Sans SemiBold" pitchFamily="2" charset="77"/>
                        </a:rPr>
                        <a:t>Grado 1:</a:t>
                      </a:r>
                      <a:endParaRPr lang="es-CL" sz="1800" b="1" i="0" dirty="0">
                        <a:solidFill>
                          <a:srgbClr val="0C662F"/>
                        </a:solidFill>
                        <a:latin typeface="ACHS Nueva Sans SemiBold" pitchFamily="2" charset="77"/>
                        <a:cs typeface="Calibri" panose="020F0502020204030204" pitchFamily="34" charset="0"/>
                      </a:endParaRPr>
                    </a:p>
                  </a:txBody>
                  <a:tcPr anchor="ctr"/>
                </a:tc>
                <a:tc>
                  <a:txBody>
                    <a:bodyPr/>
                    <a:lstStyle/>
                    <a:p>
                      <a:r>
                        <a:rPr lang="es-CL" sz="1800" b="0" i="0" dirty="0">
                          <a:latin typeface="ACHS Nueva Sans Medium" pitchFamily="2" charset="77"/>
                        </a:rPr>
                        <a:t>Concentración mayor o igual a 50% del LPP y hasta 2 veces el LPP.</a:t>
                      </a:r>
                      <a:endParaRPr lang="es-CL" sz="1800" b="0" i="0" dirty="0">
                        <a:latin typeface="ACHS Nueva Sans Medium" pitchFamily="2" charset="77"/>
                        <a:cs typeface="Calibri" panose="020F0502020204030204" pitchFamily="34" charset="0"/>
                      </a:endParaRPr>
                    </a:p>
                  </a:txBody>
                  <a:tcPr anchor="ctr"/>
                </a:tc>
                <a:tc>
                  <a:txBody>
                    <a:bodyPr/>
                    <a:lstStyle/>
                    <a:p>
                      <a:pPr algn="ctr"/>
                      <a:r>
                        <a:rPr lang="es-CL" sz="1800" b="0" i="0" dirty="0">
                          <a:latin typeface="ACHS Nueva Sans Medium" pitchFamily="2" charset="77"/>
                        </a:rPr>
                        <a:t>Cada 2 años</a:t>
                      </a:r>
                      <a:endParaRPr lang="es-CL" sz="1800" b="0" i="0" dirty="0">
                        <a:latin typeface="ACHS Nueva Sans Medium" pitchFamily="2" charset="77"/>
                        <a:cs typeface="Calibri" panose="020F0502020204030204" pitchFamily="34" charset="0"/>
                      </a:endParaRPr>
                    </a:p>
                  </a:txBody>
                  <a:tcPr anchor="ctr"/>
                </a:tc>
                <a:extLst>
                  <a:ext uri="{0D108BD9-81ED-4DB2-BD59-A6C34878D82A}">
                    <a16:rowId xmlns:a16="http://schemas.microsoft.com/office/drawing/2014/main" xmlns="" val="10001"/>
                  </a:ext>
                </a:extLst>
              </a:tr>
              <a:tr h="763285">
                <a:tc>
                  <a:txBody>
                    <a:bodyPr/>
                    <a:lstStyle/>
                    <a:p>
                      <a:pPr algn="ctr"/>
                      <a:r>
                        <a:rPr lang="es-CL" sz="1800" b="1" i="0" dirty="0">
                          <a:solidFill>
                            <a:srgbClr val="0C662F"/>
                          </a:solidFill>
                          <a:latin typeface="ACHS Nueva Sans SemiBold" pitchFamily="2" charset="77"/>
                        </a:rPr>
                        <a:t>Grado 2:</a:t>
                      </a:r>
                      <a:endParaRPr lang="es-CL" sz="1800" b="1" i="0" dirty="0">
                        <a:solidFill>
                          <a:srgbClr val="0C662F"/>
                        </a:solidFill>
                        <a:latin typeface="ACHS Nueva Sans SemiBold" pitchFamily="2" charset="77"/>
                        <a:cs typeface="Calibri" panose="020F0502020204030204" pitchFamily="34" charset="0"/>
                      </a:endParaRPr>
                    </a:p>
                  </a:txBody>
                  <a:tcPr anchor="ctr"/>
                </a:tc>
                <a:tc>
                  <a: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CL" sz="1800" b="0" i="0" dirty="0">
                          <a:latin typeface="ACHS Nueva Sans Medium" pitchFamily="2" charset="77"/>
                        </a:rPr>
                        <a:t>Concentración mayor a 2 veces el LPP y hasta 5 veces el LPP.</a:t>
                      </a:r>
                      <a:endParaRPr lang="es-CL" sz="1800" b="0" i="0" dirty="0">
                        <a:latin typeface="ACHS Nueva Sans Medium" pitchFamily="2" charset="77"/>
                        <a:cs typeface="Calibri" panose="020F0502020204030204" pitchFamily="34" charset="0"/>
                      </a:endParaRPr>
                    </a:p>
                  </a:txBody>
                  <a:tcPr anchor="ctr"/>
                </a:tc>
                <a:tc>
                  <a:txBody>
                    <a:bodyPr/>
                    <a:lstStyle/>
                    <a:p>
                      <a:pPr algn="ctr"/>
                      <a:r>
                        <a:rPr lang="es-CL" sz="1800" b="0" i="0" dirty="0">
                          <a:latin typeface="ACHS Nueva Sans Medium" pitchFamily="2" charset="77"/>
                        </a:rPr>
                        <a:t>Anual</a:t>
                      </a:r>
                      <a:endParaRPr lang="es-CL" sz="1800" b="0" i="0" dirty="0">
                        <a:latin typeface="ACHS Nueva Sans Medium" pitchFamily="2" charset="77"/>
                        <a:cs typeface="Calibri" panose="020F0502020204030204" pitchFamily="34" charset="0"/>
                      </a:endParaRPr>
                    </a:p>
                  </a:txBody>
                  <a:tcPr anchor="ctr"/>
                </a:tc>
                <a:extLst>
                  <a:ext uri="{0D108BD9-81ED-4DB2-BD59-A6C34878D82A}">
                    <a16:rowId xmlns:a16="http://schemas.microsoft.com/office/drawing/2014/main" xmlns="" val="10002"/>
                  </a:ext>
                </a:extLst>
              </a:tr>
              <a:tr h="763285">
                <a:tc>
                  <a:txBody>
                    <a:bodyPr/>
                    <a:lstStyle/>
                    <a:p>
                      <a:pPr algn="ctr"/>
                      <a:r>
                        <a:rPr lang="es-CL" sz="1800" b="1" i="0" dirty="0">
                          <a:solidFill>
                            <a:srgbClr val="0C662F"/>
                          </a:solidFill>
                          <a:latin typeface="ACHS Nueva Sans SemiBold" pitchFamily="2" charset="77"/>
                        </a:rPr>
                        <a:t>Grado</a:t>
                      </a:r>
                      <a:r>
                        <a:rPr lang="es-CL" sz="1800" b="1" i="0" baseline="0" dirty="0">
                          <a:solidFill>
                            <a:srgbClr val="0C662F"/>
                          </a:solidFill>
                          <a:latin typeface="ACHS Nueva Sans SemiBold" pitchFamily="2" charset="77"/>
                        </a:rPr>
                        <a:t> </a:t>
                      </a:r>
                      <a:r>
                        <a:rPr lang="es-CL" sz="1800" b="1" i="0" dirty="0">
                          <a:solidFill>
                            <a:srgbClr val="0C662F"/>
                          </a:solidFill>
                          <a:latin typeface="ACHS Nueva Sans SemiBold" pitchFamily="2" charset="77"/>
                        </a:rPr>
                        <a:t>3:</a:t>
                      </a:r>
                      <a:endParaRPr lang="es-CL" sz="1800" b="1" i="0" dirty="0">
                        <a:solidFill>
                          <a:srgbClr val="0C662F"/>
                        </a:solidFill>
                        <a:latin typeface="ACHS Nueva Sans SemiBold" pitchFamily="2" charset="77"/>
                        <a:cs typeface="Calibri" panose="020F0502020204030204" pitchFamily="34" charset="0"/>
                      </a:endParaRPr>
                    </a:p>
                  </a:txBody>
                  <a:tcPr anchor="ctr"/>
                </a:tc>
                <a:tc>
                  <a:txBody>
                    <a:bodyPr/>
                    <a:lstStyle/>
                    <a:p>
                      <a:r>
                        <a:rPr lang="es-CL" sz="1800" b="0" i="0" dirty="0">
                          <a:latin typeface="ACHS Nueva Sans Medium" pitchFamily="2" charset="77"/>
                        </a:rPr>
                        <a:t>Superior a 5 veces el LPP.</a:t>
                      </a:r>
                      <a:endParaRPr lang="es-CL" sz="1800" b="0" i="0" dirty="0">
                        <a:latin typeface="ACHS Nueva Sans Medium" pitchFamily="2" charset="77"/>
                        <a:cs typeface="Calibri" panose="020F0502020204030204" pitchFamily="34" charset="0"/>
                      </a:endParaRPr>
                    </a:p>
                  </a:txBody>
                  <a:tcPr anchor="ctr"/>
                </a:tc>
                <a:tc>
                  <a:txBody>
                    <a:bodyPr/>
                    <a:lstStyle/>
                    <a:p>
                      <a:pPr algn="ctr"/>
                      <a:r>
                        <a:rPr lang="es-CL" sz="1800" b="0" i="0" dirty="0">
                          <a:latin typeface="ACHS Nueva Sans Medium" pitchFamily="2" charset="77"/>
                        </a:rPr>
                        <a:t>Evaluación dentro de 60 días (*)</a:t>
                      </a:r>
                      <a:endParaRPr lang="es-CL" sz="1800" b="0" i="0" dirty="0">
                        <a:latin typeface="ACHS Nueva Sans Medium" pitchFamily="2" charset="77"/>
                        <a:cs typeface="Calibri" panose="020F0502020204030204" pitchFamily="34" charset="0"/>
                      </a:endParaRPr>
                    </a:p>
                  </a:txBody>
                  <a:tcPr anchor="ctr"/>
                </a:tc>
                <a:extLst>
                  <a:ext uri="{0D108BD9-81ED-4DB2-BD59-A6C34878D82A}">
                    <a16:rowId xmlns:a16="http://schemas.microsoft.com/office/drawing/2014/main" xmlns="" val="10003"/>
                  </a:ext>
                </a:extLst>
              </a:tr>
              <a:tr h="763285">
                <a:tc gridSpan="3">
                  <a:txBody>
                    <a:bodyPr/>
                    <a:lstStyle/>
                    <a:p>
                      <a:r>
                        <a:rPr lang="es-CL" sz="1800" b="0" i="0" dirty="0">
                          <a:solidFill>
                            <a:srgbClr val="0C662F"/>
                          </a:solidFill>
                          <a:latin typeface="ACHS Nueva Sans Medium" pitchFamily="2" charset="77"/>
                        </a:rPr>
                        <a:t>(*) Plazo a contar desde la fecha que se conocen los resultados analíticos de la(s) muestra(s).</a:t>
                      </a:r>
                    </a:p>
                    <a:p>
                      <a:r>
                        <a:rPr lang="es-CL" sz="1800" b="0" i="0" dirty="0">
                          <a:solidFill>
                            <a:srgbClr val="0C662F"/>
                          </a:solidFill>
                          <a:latin typeface="ACHS Nueva Sans Medium" pitchFamily="2" charset="77"/>
                        </a:rPr>
                        <a:t>      Posterior</a:t>
                      </a:r>
                      <a:r>
                        <a:rPr lang="es-CL" sz="1800" b="0" i="0" baseline="0" dirty="0">
                          <a:solidFill>
                            <a:srgbClr val="0C662F"/>
                          </a:solidFill>
                          <a:latin typeface="ACHS Nueva Sans Medium" pitchFamily="2" charset="77"/>
                        </a:rPr>
                        <a:t> a esto la evaluación radiográfica será anual.</a:t>
                      </a:r>
                      <a:r>
                        <a:rPr lang="es-CL" sz="1800" b="0" i="0" dirty="0">
                          <a:solidFill>
                            <a:srgbClr val="0C662F"/>
                          </a:solidFill>
                          <a:latin typeface="ACHS Nueva Sans Medium" pitchFamily="2" charset="77"/>
                        </a:rPr>
                        <a:t>  </a:t>
                      </a:r>
                      <a:endParaRPr lang="es-CL" sz="1800" b="0" i="0" dirty="0">
                        <a:solidFill>
                          <a:srgbClr val="0C662F"/>
                        </a:solidFill>
                        <a:latin typeface="ACHS Nueva Sans Medium" pitchFamily="2" charset="77"/>
                        <a:cs typeface="Calibri" panose="020F0502020204030204" pitchFamily="34" charset="0"/>
                      </a:endParaRPr>
                    </a:p>
                  </a:txBody>
                  <a:tcPr anchor="ctr"/>
                </a:tc>
                <a:tc hMerge="1">
                  <a:txBody>
                    <a:bodyPr/>
                    <a:lstStyle/>
                    <a:p>
                      <a:endParaRPr lang="es-CL" sz="1800" dirty="0"/>
                    </a:p>
                  </a:txBody>
                  <a:tcPr/>
                </a:tc>
                <a:tc hMerge="1">
                  <a:txBody>
                    <a:bodyPr/>
                    <a:lstStyle/>
                    <a:p>
                      <a:endParaRPr lang="es-CL" sz="1800" dirty="0"/>
                    </a:p>
                  </a:txBody>
                  <a:tcPr/>
                </a:tc>
                <a:extLst>
                  <a:ext uri="{0D108BD9-81ED-4DB2-BD59-A6C34878D82A}">
                    <a16:rowId xmlns:a16="http://schemas.microsoft.com/office/drawing/2014/main" xmlns="" val="10004"/>
                  </a:ext>
                </a:extLst>
              </a:tr>
            </a:tbl>
          </a:graphicData>
        </a:graphic>
      </p:graphicFrame>
    </p:spTree>
    <p:custDataLst>
      <p:tags r:id="rId1"/>
    </p:custDataLst>
    <p:extLst>
      <p:ext uri="{BB962C8B-B14F-4D97-AF65-F5344CB8AC3E}">
        <p14:creationId xmlns:p14="http://schemas.microsoft.com/office/powerpoint/2010/main" val="22549411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468164" y="2268314"/>
            <a:ext cx="3249506"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Periodicidad de las evaluaciones de salud:</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0" name="Rectangle 3">
            <a:extLst>
              <a:ext uri="{FF2B5EF4-FFF2-40B4-BE49-F238E27FC236}">
                <a16:creationId xmlns:a16="http://schemas.microsoft.com/office/drawing/2014/main" xmlns="" id="{CB990F8C-8763-314B-B534-A9760674162D}"/>
              </a:ext>
            </a:extLst>
          </p:cNvPr>
          <p:cNvSpPr/>
          <p:nvPr/>
        </p:nvSpPr>
        <p:spPr>
          <a:xfrm>
            <a:off x="4621138" y="2089957"/>
            <a:ext cx="9957834" cy="1323439"/>
          </a:xfrm>
          <a:prstGeom prst="rect">
            <a:avLst/>
          </a:prstGeom>
        </p:spPr>
        <p:txBody>
          <a:bodyPr wrap="square">
            <a:spAutoFit/>
          </a:bodyPr>
          <a:lstStyle/>
          <a:p>
            <a:pPr marL="12700">
              <a:lnSpc>
                <a:spcPct val="100000"/>
              </a:lnSpc>
              <a:spcBef>
                <a:spcPts val="1080"/>
              </a:spcBef>
              <a:tabLst>
                <a:tab pos="431165" algn="l"/>
              </a:tabLst>
            </a:pPr>
            <a:r>
              <a:rPr lang="es-CL" sz="2000" b="1" dirty="0">
                <a:solidFill>
                  <a:srgbClr val="15C047"/>
                </a:solidFill>
                <a:latin typeface="ACHS Nueva Sans SemiBold" pitchFamily="2" charset="77"/>
                <a:cs typeface="Catamaran Light" panose="00000400000000000000" pitchFamily="2" charset="0"/>
              </a:rPr>
              <a:t>B.     Con Evaluación Cuantitativa:</a:t>
            </a:r>
          </a:p>
          <a:p>
            <a:pPr>
              <a:lnSpc>
                <a:spcPct val="100000"/>
              </a:lnSpc>
              <a:spcBef>
                <a:spcPts val="10"/>
              </a:spcBef>
            </a:pPr>
            <a:endParaRPr lang="es-CL" sz="2000" dirty="0">
              <a:latin typeface="ACHS Nueva Sans Medium" pitchFamily="2" charset="77"/>
              <a:cs typeface="Catamaran Light" panose="00000400000000000000" pitchFamily="2" charset="0"/>
            </a:endParaRPr>
          </a:p>
          <a:p>
            <a:pPr marL="445134" marR="5080">
              <a:lnSpc>
                <a:spcPct val="100000"/>
              </a:lnSpc>
            </a:pPr>
            <a:r>
              <a:rPr lang="es-CL" sz="2000" dirty="0">
                <a:latin typeface="ACHS Nueva Sans Medium" pitchFamily="2" charset="77"/>
                <a:cs typeface="Catamaran Light" panose="00000400000000000000" pitchFamily="2" charset="0"/>
              </a:rPr>
              <a:t>Ingresan a programa de vigilancia de salud todos los trabajadores de puestos de  trabajo donde la concentración supere el 50% del LPP.</a:t>
            </a:r>
          </a:p>
        </p:txBody>
      </p:sp>
      <p:sp>
        <p:nvSpPr>
          <p:cNvPr id="12" name="Rectángulo 2">
            <a:extLst>
              <a:ext uri="{FF2B5EF4-FFF2-40B4-BE49-F238E27FC236}">
                <a16:creationId xmlns:a16="http://schemas.microsoft.com/office/drawing/2014/main" xmlns="" id="{395D36F6-1FCB-F541-BA86-B6A95C90B418}"/>
              </a:ext>
            </a:extLst>
          </p:cNvPr>
          <p:cNvSpPr/>
          <p:nvPr/>
        </p:nvSpPr>
        <p:spPr>
          <a:xfrm>
            <a:off x="5122136" y="4169032"/>
            <a:ext cx="9433048" cy="707886"/>
          </a:xfrm>
          <a:prstGeom prst="rect">
            <a:avLst/>
          </a:prstGeom>
          <a:solidFill>
            <a:srgbClr val="15C047"/>
          </a:solidFill>
        </p:spPr>
        <p:txBody>
          <a:bodyPr wrap="square">
            <a:spAutoFit/>
          </a:bodyPr>
          <a:lstStyle/>
          <a:p>
            <a:pPr marL="12700" marR="5080" algn="ctr">
              <a:lnSpc>
                <a:spcPct val="100000"/>
              </a:lnSpc>
            </a:pPr>
            <a:r>
              <a:rPr lang="es-CL" sz="2000" b="1" dirty="0">
                <a:solidFill>
                  <a:schemeClr val="bg1"/>
                </a:solidFill>
                <a:latin typeface="ACHS Nueva Sans Medium" pitchFamily="2" charset="77"/>
                <a:cs typeface="Calibri" panose="020F0502020204030204" pitchFamily="34" charset="0"/>
              </a:rPr>
              <a:t>Ningún trabajador será sometido a más de una evaluación radiográfica de tórax en un mismo año para efecto de vigilancia de la salud.</a:t>
            </a:r>
          </a:p>
        </p:txBody>
      </p:sp>
    </p:spTree>
    <p:custDataLst>
      <p:tags r:id="rId1"/>
    </p:custDataLst>
    <p:extLst>
      <p:ext uri="{BB962C8B-B14F-4D97-AF65-F5344CB8AC3E}">
        <p14:creationId xmlns:p14="http://schemas.microsoft.com/office/powerpoint/2010/main" val="2582659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468163" y="2268314"/>
            <a:ext cx="3522159"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Manejo de la información:</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1" name="Rectangle 3">
            <a:extLst>
              <a:ext uri="{FF2B5EF4-FFF2-40B4-BE49-F238E27FC236}">
                <a16:creationId xmlns:a16="http://schemas.microsoft.com/office/drawing/2014/main" xmlns="" id="{0DF2A495-7E34-0149-BBE0-02840232EE2C}"/>
              </a:ext>
            </a:extLst>
          </p:cNvPr>
          <p:cNvSpPr/>
          <p:nvPr/>
        </p:nvSpPr>
        <p:spPr>
          <a:xfrm>
            <a:off x="4621138" y="2089957"/>
            <a:ext cx="9384530" cy="3477875"/>
          </a:xfrm>
          <a:prstGeom prst="rect">
            <a:avLst/>
          </a:prstGeom>
        </p:spPr>
        <p:txBody>
          <a:bodyPr wrap="square">
            <a:spAutoFit/>
          </a:bodyPr>
          <a:lstStyle/>
          <a:p>
            <a:pPr marL="361950" lvl="1" indent="-361950">
              <a:lnSpc>
                <a:spcPct val="100000"/>
              </a:lnSpc>
              <a:spcBef>
                <a:spcPts val="5"/>
              </a:spcBef>
              <a:buAutoNum type="alphaUcPeriod"/>
              <a:tabLst>
                <a:tab pos="534670" algn="l"/>
                <a:tab pos="535305" algn="l"/>
              </a:tabLst>
            </a:pPr>
            <a:r>
              <a:rPr lang="es-CL" sz="2000" b="1" dirty="0">
                <a:solidFill>
                  <a:srgbClr val="15C047"/>
                </a:solidFill>
                <a:latin typeface="ACHS Nueva Sans SemiBold" pitchFamily="2" charset="77"/>
                <a:cs typeface="Calibri" panose="020F0502020204030204" pitchFamily="34" charset="0"/>
              </a:rPr>
              <a:t>Resultados de Exámenes:</a:t>
            </a:r>
          </a:p>
          <a:p>
            <a:pPr lvl="1">
              <a:lnSpc>
                <a:spcPct val="100000"/>
              </a:lnSpc>
              <a:buFont typeface="Arial"/>
              <a:buAutoNum type="alphaUcPeriod"/>
            </a:pPr>
            <a:endParaRPr lang="es-CL" sz="2000" dirty="0">
              <a:latin typeface="ACHS Nueva Sans Medium" pitchFamily="2" charset="77"/>
              <a:cs typeface="Calibri" panose="020F0502020204030204" pitchFamily="34" charset="0"/>
            </a:endParaRPr>
          </a:p>
          <a:p>
            <a:pPr marL="628650" marR="5080" lvl="2" indent="-266700">
              <a:lnSpc>
                <a:spcPct val="100000"/>
              </a:lnSpc>
              <a:buClr>
                <a:srgbClr val="15C047"/>
              </a:buClr>
              <a:buFont typeface="Arial" panose="020B0604020202020204" pitchFamily="34" charset="0"/>
              <a:buChar char="•"/>
              <a:tabLst>
                <a:tab pos="628650" algn="l"/>
              </a:tabLst>
            </a:pPr>
            <a:r>
              <a:rPr lang="es-CL" sz="2000" dirty="0">
                <a:latin typeface="ACHS Nueva Sans Medium" pitchFamily="2" charset="77"/>
                <a:cs typeface="Calibri" panose="020F0502020204030204" pitchFamily="34" charset="0"/>
              </a:rPr>
              <a:t>Los resultados de radiografías serán comunicados en forma personalizada al  trabajador utilizando formatos escritos o electrónicos que garanticen la  confidencialidad de la información.</a:t>
            </a:r>
          </a:p>
          <a:p>
            <a:pPr marL="628650" lvl="2" indent="-266700">
              <a:lnSpc>
                <a:spcPct val="100000"/>
              </a:lnSpc>
              <a:spcBef>
                <a:spcPts val="20"/>
              </a:spcBef>
              <a:buClr>
                <a:srgbClr val="15C047"/>
              </a:buClr>
              <a:buFont typeface="Arial" panose="020B0604020202020204" pitchFamily="34" charset="0"/>
              <a:buChar char="•"/>
              <a:tabLst>
                <a:tab pos="628650" algn="l"/>
              </a:tabLst>
            </a:pPr>
            <a:endParaRPr lang="es-CL" sz="2000" dirty="0">
              <a:latin typeface="ACHS Nueva Sans Medium" pitchFamily="2" charset="77"/>
              <a:cs typeface="Calibri" panose="020F0502020204030204" pitchFamily="34" charset="0"/>
            </a:endParaRPr>
          </a:p>
          <a:p>
            <a:pPr marL="628650" marR="285115" lvl="2" indent="-266700">
              <a:lnSpc>
                <a:spcPct val="100000"/>
              </a:lnSpc>
              <a:buClr>
                <a:srgbClr val="15C047"/>
              </a:buClr>
              <a:buFont typeface="Arial" panose="020B0604020202020204" pitchFamily="34" charset="0"/>
              <a:buChar char="•"/>
              <a:tabLst>
                <a:tab pos="628650" algn="l"/>
              </a:tabLst>
            </a:pPr>
            <a:r>
              <a:rPr lang="es-CL" sz="2000" dirty="0">
                <a:latin typeface="ACHS Nueva Sans Medium" pitchFamily="2" charset="77"/>
                <a:cs typeface="Calibri" panose="020F0502020204030204" pitchFamily="34" charset="0"/>
              </a:rPr>
              <a:t>Los trabajadores podrán solicitar por escrito al Organismo Administrador la  entrega de su información de salud para los fines que estime conveniente.</a:t>
            </a:r>
          </a:p>
          <a:p>
            <a:pPr marL="628650" lvl="2" indent="-266700">
              <a:lnSpc>
                <a:spcPct val="100000"/>
              </a:lnSpc>
              <a:spcBef>
                <a:spcPts val="20"/>
              </a:spcBef>
              <a:buClr>
                <a:srgbClr val="15C047"/>
              </a:buClr>
              <a:buFont typeface="Arial" panose="020B0604020202020204" pitchFamily="34" charset="0"/>
              <a:buChar char="•"/>
              <a:tabLst>
                <a:tab pos="628650" algn="l"/>
              </a:tabLst>
            </a:pPr>
            <a:endParaRPr lang="es-CL" sz="2000" dirty="0">
              <a:latin typeface="ACHS Nueva Sans Medium" pitchFamily="2" charset="77"/>
              <a:cs typeface="Calibri" panose="020F0502020204030204" pitchFamily="34" charset="0"/>
            </a:endParaRPr>
          </a:p>
          <a:p>
            <a:pPr marL="628650" lvl="2" indent="-266700">
              <a:lnSpc>
                <a:spcPct val="100000"/>
              </a:lnSpc>
              <a:buClr>
                <a:srgbClr val="15C047"/>
              </a:buClr>
              <a:buFont typeface="Arial" panose="020B0604020202020204" pitchFamily="34" charset="0"/>
              <a:buChar char="•"/>
              <a:tabLst>
                <a:tab pos="628650" algn="l"/>
              </a:tabLst>
            </a:pPr>
            <a:r>
              <a:rPr lang="es-CL" sz="2000" dirty="0">
                <a:latin typeface="ACHS Nueva Sans Medium" pitchFamily="2" charset="77"/>
                <a:cs typeface="Calibri" panose="020F0502020204030204" pitchFamily="34" charset="0"/>
              </a:rPr>
              <a:t>La empresa será informada sólo de resultados generales.</a:t>
            </a:r>
          </a:p>
        </p:txBody>
      </p:sp>
    </p:spTree>
    <p:custDataLst>
      <p:tags r:id="rId1"/>
    </p:custDataLst>
    <p:extLst>
      <p:ext uri="{BB962C8B-B14F-4D97-AF65-F5344CB8AC3E}">
        <p14:creationId xmlns:p14="http://schemas.microsoft.com/office/powerpoint/2010/main" val="32506650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468163" y="2268314"/>
            <a:ext cx="3522159"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Manejo de la información:</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9" name="Rectangle 3">
            <a:extLst>
              <a:ext uri="{FF2B5EF4-FFF2-40B4-BE49-F238E27FC236}">
                <a16:creationId xmlns:a16="http://schemas.microsoft.com/office/drawing/2014/main" xmlns="" id="{84658D46-C82D-6A49-A6E6-702A5D01C70F}"/>
              </a:ext>
            </a:extLst>
          </p:cNvPr>
          <p:cNvSpPr/>
          <p:nvPr/>
        </p:nvSpPr>
        <p:spPr>
          <a:xfrm>
            <a:off x="4621138" y="1764258"/>
            <a:ext cx="9600554" cy="4093428"/>
          </a:xfrm>
          <a:prstGeom prst="rect">
            <a:avLst/>
          </a:prstGeom>
        </p:spPr>
        <p:txBody>
          <a:bodyPr wrap="square">
            <a:spAutoFit/>
          </a:bodyPr>
          <a:lstStyle/>
          <a:p>
            <a:pPr marL="338455" indent="-325755">
              <a:lnSpc>
                <a:spcPct val="100000"/>
              </a:lnSpc>
              <a:buAutoNum type="alphaUcPeriod" startAt="3"/>
              <a:tabLst>
                <a:tab pos="338455" algn="l"/>
                <a:tab pos="339090" algn="l"/>
              </a:tabLst>
            </a:pPr>
            <a:r>
              <a:rPr lang="es-CL" sz="2000" b="1" dirty="0">
                <a:solidFill>
                  <a:srgbClr val="15C047"/>
                </a:solidFill>
                <a:latin typeface="ACHS Nueva Sans SemiBold" pitchFamily="2" charset="77"/>
                <a:cs typeface="Calibri" panose="020F0502020204030204" pitchFamily="34" charset="0"/>
              </a:rPr>
              <a:t>Consejería.</a:t>
            </a:r>
          </a:p>
          <a:p>
            <a:pPr>
              <a:lnSpc>
                <a:spcPct val="100000"/>
              </a:lnSpc>
              <a:buFont typeface="Arial"/>
              <a:buAutoNum type="alphaUcPeriod" startAt="3"/>
            </a:pPr>
            <a:endParaRPr lang="es-CL" sz="2000" b="1" dirty="0">
              <a:latin typeface="ACHS Nueva Sans SemiBold" pitchFamily="2" charset="77"/>
              <a:cs typeface="Calibri" panose="020F0502020204030204" pitchFamily="34" charset="0"/>
            </a:endParaRPr>
          </a:p>
          <a:p>
            <a:pPr marL="372110" marR="5080">
              <a:lnSpc>
                <a:spcPct val="100000"/>
              </a:lnSpc>
              <a:buClr>
                <a:srgbClr val="15C047"/>
              </a:buClr>
            </a:pPr>
            <a:r>
              <a:rPr lang="es-CL" sz="2000" dirty="0">
                <a:latin typeface="ACHS Nueva Sans Medium" pitchFamily="2" charset="77"/>
                <a:cs typeface="Calibri" panose="020F0502020204030204" pitchFamily="34" charset="0"/>
              </a:rPr>
              <a:t>El Organismo Administrados deberá informar al trabajador, por escrito o por cualquier otro medio, en un lenguaje asequible, respecto de los riesgos asociados  a la exposición a sílice, la cual deberá comprender al menos las siguientes  materias:</a:t>
            </a:r>
          </a:p>
          <a:p>
            <a:pPr>
              <a:lnSpc>
                <a:spcPct val="100000"/>
              </a:lnSpc>
              <a:spcBef>
                <a:spcPts val="20"/>
              </a:spcBef>
              <a:buClr>
                <a:srgbClr val="15C047"/>
              </a:buClr>
            </a:pPr>
            <a:endParaRPr lang="es-CL" sz="2000" dirty="0">
              <a:latin typeface="ACHS Nueva Sans Medium" pitchFamily="2" charset="77"/>
              <a:cs typeface="Calibri" panose="020F0502020204030204" pitchFamily="34" charset="0"/>
            </a:endParaRPr>
          </a:p>
          <a:p>
            <a:pPr marL="659130" lvl="1" indent="-287020">
              <a:lnSpc>
                <a:spcPct val="100000"/>
              </a:lnSpc>
              <a:buClr>
                <a:srgbClr val="15C047"/>
              </a:buClr>
              <a:buFont typeface="Wingdings" panose="05000000000000000000" pitchFamily="2" charset="2"/>
              <a:buChar char="§"/>
              <a:tabLst>
                <a:tab pos="715010" algn="l"/>
                <a:tab pos="715645" algn="l"/>
              </a:tabLst>
            </a:pPr>
            <a:r>
              <a:rPr lang="es-CL" sz="2000" dirty="0">
                <a:latin typeface="ACHS Nueva Sans Medium" pitchFamily="2" charset="77"/>
                <a:cs typeface="Calibri" panose="020F0502020204030204" pitchFamily="34" charset="0"/>
              </a:rPr>
              <a:t>Silicosis</a:t>
            </a:r>
          </a:p>
          <a:p>
            <a:pPr marL="659130" lvl="1" indent="-287020">
              <a:lnSpc>
                <a:spcPct val="100000"/>
              </a:lnSpc>
              <a:buClr>
                <a:srgbClr val="15C047"/>
              </a:buClr>
              <a:buFont typeface="Wingdings" panose="05000000000000000000" pitchFamily="2" charset="2"/>
              <a:buChar char="§"/>
              <a:tabLst>
                <a:tab pos="659765" algn="l"/>
              </a:tabLst>
            </a:pPr>
            <a:r>
              <a:rPr lang="es-CL" sz="2000" dirty="0">
                <a:latin typeface="ACHS Nueva Sans Medium" pitchFamily="2" charset="77"/>
                <a:cs typeface="Calibri" panose="020F0502020204030204" pitchFamily="34" charset="0"/>
              </a:rPr>
              <a:t>Cáncer Pulmonar</a:t>
            </a:r>
          </a:p>
          <a:p>
            <a:pPr marL="659130" lvl="1" indent="-287020">
              <a:lnSpc>
                <a:spcPct val="100000"/>
              </a:lnSpc>
              <a:buClr>
                <a:srgbClr val="15C047"/>
              </a:buClr>
              <a:buFont typeface="Wingdings" panose="05000000000000000000" pitchFamily="2" charset="2"/>
              <a:buChar char="§"/>
              <a:tabLst>
                <a:tab pos="659765" algn="l"/>
              </a:tabLst>
            </a:pPr>
            <a:r>
              <a:rPr lang="es-CL" sz="2000" dirty="0">
                <a:latin typeface="ACHS Nueva Sans Medium" pitchFamily="2" charset="77"/>
                <a:cs typeface="Calibri" panose="020F0502020204030204" pitchFamily="34" charset="0"/>
              </a:rPr>
              <a:t>Efecto sinérgico con otras enfermedades</a:t>
            </a:r>
          </a:p>
          <a:p>
            <a:pPr marL="659130" lvl="1" indent="-287020">
              <a:lnSpc>
                <a:spcPct val="100000"/>
              </a:lnSpc>
              <a:buClr>
                <a:srgbClr val="15C047"/>
              </a:buClr>
              <a:buFont typeface="Wingdings" panose="05000000000000000000" pitchFamily="2" charset="2"/>
              <a:buChar char="§"/>
              <a:tabLst>
                <a:tab pos="659765" algn="l"/>
              </a:tabLst>
            </a:pPr>
            <a:r>
              <a:rPr lang="es-CL" sz="2000" dirty="0">
                <a:latin typeface="ACHS Nueva Sans Medium" pitchFamily="2" charset="77"/>
                <a:cs typeface="Calibri" panose="020F0502020204030204" pitchFamily="34" charset="0"/>
              </a:rPr>
              <a:t>Importancia del diagnóstico precoz de cualquier dolencia respiratoria</a:t>
            </a:r>
          </a:p>
          <a:p>
            <a:pPr marL="659130" marR="79375" lvl="1" indent="-287020">
              <a:lnSpc>
                <a:spcPct val="100000"/>
              </a:lnSpc>
              <a:buClr>
                <a:srgbClr val="15C047"/>
              </a:buClr>
              <a:buFont typeface="Wingdings" panose="05000000000000000000" pitchFamily="2" charset="2"/>
              <a:buChar char="§"/>
              <a:tabLst>
                <a:tab pos="659765" algn="l"/>
              </a:tabLst>
            </a:pPr>
            <a:r>
              <a:rPr lang="es-CL" sz="2000" dirty="0">
                <a:latin typeface="ACHS Nueva Sans Medium" pitchFamily="2" charset="77"/>
                <a:cs typeface="Calibri" panose="020F0502020204030204" pitchFamily="34" charset="0"/>
              </a:rPr>
              <a:t>Importancia de cumplir todas las medidas preventivas que su empleador haya dispuesto en su programa de gestión del riesgo.</a:t>
            </a:r>
          </a:p>
        </p:txBody>
      </p:sp>
      <p:sp>
        <p:nvSpPr>
          <p:cNvPr id="10" name="5 Rectángulo">
            <a:extLst>
              <a:ext uri="{FF2B5EF4-FFF2-40B4-BE49-F238E27FC236}">
                <a16:creationId xmlns:a16="http://schemas.microsoft.com/office/drawing/2014/main" xmlns="" id="{41D1460B-E0DC-CD4D-9690-C753EA811826}"/>
              </a:ext>
            </a:extLst>
          </p:cNvPr>
          <p:cNvSpPr/>
          <p:nvPr/>
        </p:nvSpPr>
        <p:spPr>
          <a:xfrm>
            <a:off x="5016396" y="6273647"/>
            <a:ext cx="9997384" cy="1295400"/>
          </a:xfrm>
          <a:prstGeom prst="rect">
            <a:avLst/>
          </a:prstGeom>
          <a:solidFill>
            <a:srgbClr val="15C04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6213" algn="ctr"/>
            <a:r>
              <a:rPr lang="es-ES" sz="2400" b="1" dirty="0">
                <a:solidFill>
                  <a:schemeClr val="bg1"/>
                </a:solidFill>
                <a:latin typeface="ACHS Nueva Sans SemiBold" pitchFamily="2" charset="77"/>
                <a:cs typeface="Calibri" panose="020F0502020204030204" pitchFamily="34" charset="0"/>
              </a:rPr>
              <a:t>El Organismo Administrados deberá guardar registro (idealmente electrónico) de la entrega de esta información y proveer algún mecanismo para que el trabajador aclare sus dudas.</a:t>
            </a:r>
          </a:p>
        </p:txBody>
      </p:sp>
    </p:spTree>
    <p:custDataLst>
      <p:tags r:id="rId1"/>
    </p:custDataLst>
    <p:extLst>
      <p:ext uri="{BB962C8B-B14F-4D97-AF65-F5344CB8AC3E}">
        <p14:creationId xmlns:p14="http://schemas.microsoft.com/office/powerpoint/2010/main" val="399775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3">
            <a:extLst>
              <a:ext uri="{FF2B5EF4-FFF2-40B4-BE49-F238E27FC236}">
                <a16:creationId xmlns:a16="http://schemas.microsoft.com/office/drawing/2014/main" xmlns="" id="{683AC9E7-B6F4-9B4F-A180-C8CAF3EF8DDC}"/>
              </a:ext>
            </a:extLst>
          </p:cNvPr>
          <p:cNvSpPr/>
          <p:nvPr/>
        </p:nvSpPr>
        <p:spPr>
          <a:xfrm flipH="1">
            <a:off x="-34032" y="0"/>
            <a:ext cx="3990325" cy="9037067"/>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p>
        </p:txBody>
      </p:sp>
      <p:sp>
        <p:nvSpPr>
          <p:cNvPr id="4" name="Rectangle 3">
            <a:extLst>
              <a:ext uri="{FF2B5EF4-FFF2-40B4-BE49-F238E27FC236}">
                <a16:creationId xmlns:a16="http://schemas.microsoft.com/office/drawing/2014/main" xmlns="" id="{07F03754-7E25-AC47-BE16-AB2762939600}"/>
              </a:ext>
            </a:extLst>
          </p:cNvPr>
          <p:cNvSpPr/>
          <p:nvPr/>
        </p:nvSpPr>
        <p:spPr>
          <a:xfrm>
            <a:off x="4873889" y="3066797"/>
            <a:ext cx="9793459" cy="1951816"/>
          </a:xfrm>
          <a:prstGeom prst="rect">
            <a:avLst/>
          </a:prstGeom>
        </p:spPr>
        <p:txBody>
          <a:bodyPr wrap="square">
            <a:spAutoFit/>
          </a:bodyPr>
          <a:lstStyle/>
          <a:p>
            <a:pPr marL="12700" marR="297815">
              <a:spcBef>
                <a:spcPts val="95"/>
              </a:spcBef>
              <a:buClr>
                <a:srgbClr val="027839"/>
              </a:buClr>
              <a:tabLst>
                <a:tab pos="200660" algn="l"/>
              </a:tabLst>
            </a:pPr>
            <a:r>
              <a:rPr lang="es-CL" sz="2000" dirty="0">
                <a:latin typeface="ACHS Nueva Sans Medium" pitchFamily="2" charset="77"/>
                <a:cs typeface="Calibri" panose="020F0502020204030204" pitchFamily="34" charset="0"/>
              </a:rPr>
              <a:t>El </a:t>
            </a:r>
            <a:r>
              <a:rPr lang="es-CL" sz="2000" b="1" dirty="0">
                <a:latin typeface="ACHS Nueva Sans Medium" pitchFamily="2" charset="77"/>
                <a:cs typeface="Calibri" panose="020F0502020204030204" pitchFamily="34" charset="0"/>
              </a:rPr>
              <a:t>Plan Nacional de Erradicación de la Silicosis</a:t>
            </a:r>
            <a:r>
              <a:rPr lang="es-CL" sz="2000" dirty="0">
                <a:latin typeface="ACHS Nueva Sans Medium" pitchFamily="2" charset="77"/>
                <a:cs typeface="Calibri" panose="020F0502020204030204" pitchFamily="34" charset="0"/>
              </a:rPr>
              <a:t>, es una iniciativa del estado de Chile para erradicar la Silicosis como Enfermedad Profesional al año 2030, promocionado por la Organización Mundial de la Salud (OMS), la Organización Internacional del Trabajo (OIT) y los Ministerios de Salud, Trabajo y Previsión Social de Chile, promulgado el 13 de Julio del 2007.</a:t>
            </a:r>
          </a:p>
          <a:p>
            <a:pPr marL="12700" marR="297815">
              <a:lnSpc>
                <a:spcPct val="100000"/>
              </a:lnSpc>
              <a:spcBef>
                <a:spcPts val="95"/>
              </a:spcBef>
              <a:buClr>
                <a:srgbClr val="027839"/>
              </a:buClr>
              <a:tabLst>
                <a:tab pos="200660" algn="l"/>
              </a:tabLst>
            </a:pPr>
            <a:endParaRPr lang="es-CL" sz="2000" dirty="0">
              <a:latin typeface="ACHS Nueva Sans Medium" pitchFamily="2" charset="77"/>
              <a:cs typeface="Calibri" panose="020F0502020204030204" pitchFamily="34" charset="0"/>
            </a:endParaRPr>
          </a:p>
        </p:txBody>
      </p:sp>
      <p:pic>
        <p:nvPicPr>
          <p:cNvPr id="5" name="Imagen 5">
            <a:extLst>
              <a:ext uri="{FF2B5EF4-FFF2-40B4-BE49-F238E27FC236}">
                <a16:creationId xmlns:a16="http://schemas.microsoft.com/office/drawing/2014/main" xmlns="" id="{2C045113-ADB5-C84D-BCC9-B1608E27EB7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6" name="Conector recto 6">
            <a:extLst>
              <a:ext uri="{FF2B5EF4-FFF2-40B4-BE49-F238E27FC236}">
                <a16:creationId xmlns:a16="http://schemas.microsoft.com/office/drawing/2014/main" xmlns="" id="{E1F9FF08-2AC3-AC49-AA37-7429F83E903E}"/>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7" name="Rectángulo 17">
            <a:extLst>
              <a:ext uri="{FF2B5EF4-FFF2-40B4-BE49-F238E27FC236}">
                <a16:creationId xmlns:a16="http://schemas.microsoft.com/office/drawing/2014/main" xmlns="" id="{F0E6F87E-37BB-024A-8270-DDD858916024}"/>
              </a:ext>
            </a:extLst>
          </p:cNvPr>
          <p:cNvSpPr/>
          <p:nvPr/>
        </p:nvSpPr>
        <p:spPr>
          <a:xfrm rot="18900000">
            <a:off x="3551549" y="3528762"/>
            <a:ext cx="811583" cy="811583"/>
          </a:xfrm>
          <a:prstGeom prst="rect">
            <a:avLst/>
          </a:prstGeom>
          <a:solidFill>
            <a:srgbClr val="EAEA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l" defTabSz="825500" rtl="0" fontAlgn="auto" latinLnBrk="0" hangingPunct="0">
              <a:lnSpc>
                <a:spcPct val="100000"/>
              </a:lnSpc>
              <a:spcBef>
                <a:spcPts val="0"/>
              </a:spcBef>
              <a:spcAft>
                <a:spcPts val="0"/>
              </a:spcAft>
              <a:buClrTx/>
              <a:buSzTx/>
              <a:buFontTx/>
              <a:buNone/>
              <a:tabLst/>
            </a:pPr>
            <a:endParaRPr lang="es-CL" sz="1200" dirty="0">
              <a:solidFill>
                <a:srgbClr val="616161"/>
              </a:solidFill>
              <a:ea typeface="Helvetica Neue Medium"/>
              <a:cs typeface="Helvetica Neue Medium"/>
              <a:sym typeface="Helvetica Neue Medium"/>
            </a:endParaRPr>
          </a:p>
        </p:txBody>
      </p:sp>
      <p:sp>
        <p:nvSpPr>
          <p:cNvPr id="8" name="Rectangle 7">
            <a:extLst>
              <a:ext uri="{FF2B5EF4-FFF2-40B4-BE49-F238E27FC236}">
                <a16:creationId xmlns:a16="http://schemas.microsoft.com/office/drawing/2014/main" xmlns="" id="{A91B7376-E389-A141-B461-05CD9DC5100D}"/>
              </a:ext>
            </a:extLst>
          </p:cNvPr>
          <p:cNvSpPr/>
          <p:nvPr/>
        </p:nvSpPr>
        <p:spPr>
          <a:xfrm>
            <a:off x="7958986" y="4238953"/>
            <a:ext cx="284052" cy="523220"/>
          </a:xfrm>
          <a:prstGeom prst="rect">
            <a:avLst/>
          </a:prstGeom>
        </p:spPr>
        <p:txBody>
          <a:bodyPr wrap="none">
            <a:spAutoFit/>
          </a:bodyPr>
          <a:lstStyle/>
          <a:p>
            <a:r>
              <a:rPr lang="en-US" dirty="0">
                <a:solidFill>
                  <a:srgbClr val="000000"/>
                </a:solidFill>
              </a:rPr>
              <a:t> </a:t>
            </a:r>
            <a:endParaRPr lang="en-US" dirty="0"/>
          </a:p>
        </p:txBody>
      </p:sp>
      <p:pic>
        <p:nvPicPr>
          <p:cNvPr id="9" name="Picture 8">
            <a:extLst>
              <a:ext uri="{FF2B5EF4-FFF2-40B4-BE49-F238E27FC236}">
                <a16:creationId xmlns:a16="http://schemas.microsoft.com/office/drawing/2014/main" xmlns="" id="{D3788159-C23C-6040-A8A7-1C71347E1737}"/>
              </a:ext>
            </a:extLst>
          </p:cNvPr>
          <p:cNvPicPr>
            <a:picLocks noChangeAspect="1"/>
          </p:cNvPicPr>
          <p:nvPr/>
        </p:nvPicPr>
        <p:blipFill>
          <a:blip r:embed="rId4"/>
          <a:stretch>
            <a:fillRect/>
          </a:stretch>
        </p:blipFill>
        <p:spPr>
          <a:xfrm>
            <a:off x="11917436" y="6732810"/>
            <a:ext cx="1224136" cy="602651"/>
          </a:xfrm>
          <a:prstGeom prst="rect">
            <a:avLst/>
          </a:prstGeom>
        </p:spPr>
      </p:pic>
      <p:pic>
        <p:nvPicPr>
          <p:cNvPr id="10" name="Picture 9">
            <a:extLst>
              <a:ext uri="{FF2B5EF4-FFF2-40B4-BE49-F238E27FC236}">
                <a16:creationId xmlns:a16="http://schemas.microsoft.com/office/drawing/2014/main" xmlns="" id="{CB073DB4-E099-A44A-9AB7-5E55FB2A4624}"/>
              </a:ext>
            </a:extLst>
          </p:cNvPr>
          <p:cNvPicPr>
            <a:picLocks noChangeAspect="1"/>
          </p:cNvPicPr>
          <p:nvPr/>
        </p:nvPicPr>
        <p:blipFill>
          <a:blip r:embed="rId5"/>
          <a:stretch>
            <a:fillRect/>
          </a:stretch>
        </p:blipFill>
        <p:spPr>
          <a:xfrm>
            <a:off x="13712677" y="6480221"/>
            <a:ext cx="1296013" cy="1036810"/>
          </a:xfrm>
          <a:prstGeom prst="rect">
            <a:avLst/>
          </a:prstGeom>
        </p:spPr>
      </p:pic>
      <p:pic>
        <p:nvPicPr>
          <p:cNvPr id="11" name="Picture 10">
            <a:extLst>
              <a:ext uri="{FF2B5EF4-FFF2-40B4-BE49-F238E27FC236}">
                <a16:creationId xmlns:a16="http://schemas.microsoft.com/office/drawing/2014/main" xmlns="" id="{9EB9D134-61FB-0B4E-AA0D-B38A4AF7D85F}"/>
              </a:ext>
            </a:extLst>
          </p:cNvPr>
          <p:cNvPicPr>
            <a:picLocks noChangeAspect="1"/>
          </p:cNvPicPr>
          <p:nvPr/>
        </p:nvPicPr>
        <p:blipFill>
          <a:blip r:embed="rId6"/>
          <a:stretch>
            <a:fillRect/>
          </a:stretch>
        </p:blipFill>
        <p:spPr>
          <a:xfrm>
            <a:off x="5228309" y="6480221"/>
            <a:ext cx="928487" cy="1036810"/>
          </a:xfrm>
          <a:prstGeom prst="rect">
            <a:avLst/>
          </a:prstGeom>
        </p:spPr>
      </p:pic>
      <p:pic>
        <p:nvPicPr>
          <p:cNvPr id="12" name="Picture 11">
            <a:extLst>
              <a:ext uri="{FF2B5EF4-FFF2-40B4-BE49-F238E27FC236}">
                <a16:creationId xmlns:a16="http://schemas.microsoft.com/office/drawing/2014/main" xmlns="" id="{16D3D415-3D1D-8943-9A0E-194817256D7A}"/>
              </a:ext>
            </a:extLst>
          </p:cNvPr>
          <p:cNvPicPr>
            <a:picLocks noChangeAspect="1"/>
          </p:cNvPicPr>
          <p:nvPr/>
        </p:nvPicPr>
        <p:blipFill>
          <a:blip r:embed="rId7"/>
          <a:stretch>
            <a:fillRect/>
          </a:stretch>
        </p:blipFill>
        <p:spPr>
          <a:xfrm>
            <a:off x="6842190" y="6459271"/>
            <a:ext cx="941731" cy="1078710"/>
          </a:xfrm>
          <a:prstGeom prst="rect">
            <a:avLst/>
          </a:prstGeom>
        </p:spPr>
      </p:pic>
      <p:pic>
        <p:nvPicPr>
          <p:cNvPr id="13" name="Picture 12">
            <a:extLst>
              <a:ext uri="{FF2B5EF4-FFF2-40B4-BE49-F238E27FC236}">
                <a16:creationId xmlns:a16="http://schemas.microsoft.com/office/drawing/2014/main" xmlns="" id="{45E1347E-BF93-904F-BACB-E6EF691F105A}"/>
              </a:ext>
            </a:extLst>
          </p:cNvPr>
          <p:cNvPicPr>
            <a:picLocks noChangeAspect="1"/>
          </p:cNvPicPr>
          <p:nvPr/>
        </p:nvPicPr>
        <p:blipFill>
          <a:blip r:embed="rId8"/>
          <a:stretch>
            <a:fillRect/>
          </a:stretch>
        </p:blipFill>
        <p:spPr>
          <a:xfrm>
            <a:off x="8239244" y="6372203"/>
            <a:ext cx="1365673" cy="1148900"/>
          </a:xfrm>
          <a:prstGeom prst="rect">
            <a:avLst/>
          </a:prstGeom>
        </p:spPr>
      </p:pic>
      <p:pic>
        <p:nvPicPr>
          <p:cNvPr id="14" name="Picture 13">
            <a:extLst>
              <a:ext uri="{FF2B5EF4-FFF2-40B4-BE49-F238E27FC236}">
                <a16:creationId xmlns:a16="http://schemas.microsoft.com/office/drawing/2014/main" xmlns="" id="{7390810E-B3B0-0744-992C-B78F19CA569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0050318" y="5977157"/>
            <a:ext cx="1296013" cy="1938992"/>
          </a:xfrm>
          <a:prstGeom prst="rect">
            <a:avLst/>
          </a:prstGeom>
        </p:spPr>
      </p:pic>
      <p:sp>
        <p:nvSpPr>
          <p:cNvPr id="15" name="Título 30">
            <a:extLst>
              <a:ext uri="{FF2B5EF4-FFF2-40B4-BE49-F238E27FC236}">
                <a16:creationId xmlns:a16="http://schemas.microsoft.com/office/drawing/2014/main" xmlns="" id="{B3C65AEC-4FE1-BD41-9273-D53DC1235D14}"/>
              </a:ext>
            </a:extLst>
          </p:cNvPr>
          <p:cNvSpPr txBox="1">
            <a:spLocks/>
          </p:cNvSpPr>
          <p:nvPr/>
        </p:nvSpPr>
        <p:spPr>
          <a:xfrm>
            <a:off x="-1332869" y="667862"/>
            <a:ext cx="6182408" cy="610116"/>
          </a:xfrm>
          <a:prstGeom prst="rect">
            <a:avLst/>
          </a:prstGeom>
        </p:spPr>
        <p:txBody>
          <a:bodyPr vert="horz" lIns="144018" tIns="72009" rIns="144018" bIns="72009" rtlCol="0" anchor="ctr">
            <a:normAutofit/>
          </a:bodyPr>
          <a:lstStyle>
            <a:lvl1pPr algn="ctr" defTabSz="1422402" rtl="0" eaLnBrk="1" latinLnBrk="0" hangingPunct="1">
              <a:spcBef>
                <a:spcPct val="0"/>
              </a:spcBef>
              <a:buNone/>
              <a:defRPr sz="6815" kern="1200">
                <a:solidFill>
                  <a:schemeClr val="tx1"/>
                </a:solidFill>
                <a:latin typeface="+mj-lt"/>
                <a:ea typeface="+mj-ea"/>
                <a:cs typeface="+mj-cs"/>
              </a:defRPr>
            </a:lvl1pPr>
          </a:lstStyle>
          <a:p>
            <a:r>
              <a:rPr lang="es-CL" sz="2400" dirty="0">
                <a:solidFill>
                  <a:srgbClr val="15C047"/>
                </a:solidFill>
                <a:latin typeface="ACHS Nueva Sans Medium" pitchFamily="2" charset="77"/>
                <a:cs typeface="Arial" panose="020B0604020202020204" pitchFamily="34" charset="0"/>
              </a:rPr>
              <a:t>Introducción</a:t>
            </a:r>
          </a:p>
        </p:txBody>
      </p:sp>
      <p:sp>
        <p:nvSpPr>
          <p:cNvPr id="3" name="Rectangle 2">
            <a:extLst>
              <a:ext uri="{FF2B5EF4-FFF2-40B4-BE49-F238E27FC236}">
                <a16:creationId xmlns:a16="http://schemas.microsoft.com/office/drawing/2014/main" xmlns="" id="{2111D647-B9AA-F34D-A13E-71A5E6E05DD9}"/>
              </a:ext>
            </a:extLst>
          </p:cNvPr>
          <p:cNvSpPr/>
          <p:nvPr/>
        </p:nvSpPr>
        <p:spPr>
          <a:xfrm>
            <a:off x="252139" y="3708474"/>
            <a:ext cx="3990325" cy="769441"/>
          </a:xfrm>
          <a:prstGeom prst="rect">
            <a:avLst/>
          </a:prstGeom>
        </p:spPr>
        <p:txBody>
          <a:bodyPr wrap="square">
            <a:spAutoFit/>
          </a:bodyPr>
          <a:lstStyle/>
          <a:p>
            <a:r>
              <a:rPr lang="es-CL" sz="2200" b="1" dirty="0">
                <a:solidFill>
                  <a:srgbClr val="0C662F"/>
                </a:solidFill>
                <a:latin typeface="ACHS Nueva Serif" pitchFamily="2" charset="77"/>
                <a:cs typeface="Calibri" panose="020F0502020204030204" pitchFamily="34" charset="0"/>
              </a:rPr>
              <a:t>¿Qué es el Plan PLANESI?:</a:t>
            </a:r>
          </a:p>
          <a:p>
            <a:endParaRPr lang="es-CL" sz="2200" b="1" spc="300" dirty="0">
              <a:solidFill>
                <a:srgbClr val="0C662F"/>
              </a:solidFill>
              <a:latin typeface="ACHS Nueva Serif" pitchFamily="2" charset="77"/>
              <a:cs typeface="Calibri" panose="020F0502020204030204" pitchFamily="34" charset="0"/>
            </a:endParaRPr>
          </a:p>
        </p:txBody>
      </p:sp>
    </p:spTree>
    <p:custDataLst>
      <p:tags r:id="rId1"/>
    </p:custDataLst>
    <p:extLst>
      <p:ext uri="{BB962C8B-B14F-4D97-AF65-F5344CB8AC3E}">
        <p14:creationId xmlns:p14="http://schemas.microsoft.com/office/powerpoint/2010/main" val="33574158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13" name="Rectangle 12">
            <a:extLst>
              <a:ext uri="{FF2B5EF4-FFF2-40B4-BE49-F238E27FC236}">
                <a16:creationId xmlns:a16="http://schemas.microsoft.com/office/drawing/2014/main" xmlns="" id="{6DB23F48-B9D5-504E-9053-51A2AE7EA8DB}"/>
              </a:ext>
            </a:extLst>
          </p:cNvPr>
          <p:cNvSpPr/>
          <p:nvPr/>
        </p:nvSpPr>
        <p:spPr>
          <a:xfrm>
            <a:off x="740817" y="704747"/>
            <a:ext cx="3249506" cy="1200329"/>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Protocolo vigilancia  Sílice -  Vigilancia de la salud</a:t>
            </a: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14" name="Rectangle 4">
            <a:extLst>
              <a:ext uri="{FF2B5EF4-FFF2-40B4-BE49-F238E27FC236}">
                <a16:creationId xmlns:a16="http://schemas.microsoft.com/office/drawing/2014/main" xmlns="" id="{44C650DB-034D-8946-92AA-334546EAE0EA}"/>
              </a:ext>
            </a:extLst>
          </p:cNvPr>
          <p:cNvSpPr/>
          <p:nvPr/>
        </p:nvSpPr>
        <p:spPr>
          <a:xfrm>
            <a:off x="468163" y="2268314"/>
            <a:ext cx="3522159" cy="1785104"/>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Manejo de la información:</a:t>
            </a:r>
          </a:p>
          <a:p>
            <a:endParaRPr lang="es-CL" sz="2200" b="1" spc="300" dirty="0">
              <a:solidFill>
                <a:schemeClr val="bg1"/>
              </a:solidFill>
              <a:latin typeface="ACHS Nueva Serif" pitchFamily="2" charset="77"/>
              <a:cs typeface="Calibri" panose="020F0502020204030204" pitchFamily="34" charset="0"/>
            </a:endParaRPr>
          </a:p>
          <a:p>
            <a:endParaRPr lang="es-CL" sz="2200" b="1" dirty="0">
              <a:solidFill>
                <a:schemeClr val="bg1"/>
              </a:solidFill>
              <a:latin typeface="ACHS Nueva Serif" pitchFamily="2" charset="77"/>
              <a:cs typeface="Catamaran Light" panose="00000400000000000000" pitchFamily="2" charset="0"/>
            </a:endParaRPr>
          </a:p>
          <a:p>
            <a:endParaRPr lang="es-CL" sz="2200" b="1" dirty="0">
              <a:solidFill>
                <a:schemeClr val="bg1"/>
              </a:solidFill>
              <a:latin typeface="ACHS Nueva Serif" pitchFamily="2" charset="77"/>
              <a:cs typeface="Calibri" panose="020F0502020204030204" pitchFamily="34" charset="0"/>
            </a:endParaRPr>
          </a:p>
        </p:txBody>
      </p:sp>
      <p:sp>
        <p:nvSpPr>
          <p:cNvPr id="11" name="Rectangle 3">
            <a:extLst>
              <a:ext uri="{FF2B5EF4-FFF2-40B4-BE49-F238E27FC236}">
                <a16:creationId xmlns:a16="http://schemas.microsoft.com/office/drawing/2014/main" xmlns="" id="{79D84A24-BE94-A745-A2D4-E41B7CECD65F}"/>
              </a:ext>
            </a:extLst>
          </p:cNvPr>
          <p:cNvSpPr/>
          <p:nvPr/>
        </p:nvSpPr>
        <p:spPr>
          <a:xfrm>
            <a:off x="4621138" y="2089957"/>
            <a:ext cx="9600554" cy="3477875"/>
          </a:xfrm>
          <a:prstGeom prst="rect">
            <a:avLst/>
          </a:prstGeom>
        </p:spPr>
        <p:txBody>
          <a:bodyPr wrap="square">
            <a:spAutoFit/>
          </a:bodyPr>
          <a:lstStyle/>
          <a:p>
            <a:pPr marL="330835" indent="-318135">
              <a:lnSpc>
                <a:spcPct val="100000"/>
              </a:lnSpc>
              <a:buAutoNum type="alphaUcPeriod" startAt="4"/>
              <a:tabLst>
                <a:tab pos="330835" algn="l"/>
                <a:tab pos="331470" algn="l"/>
              </a:tabLst>
            </a:pPr>
            <a:r>
              <a:rPr lang="es-CL" sz="2000" b="1" dirty="0">
                <a:solidFill>
                  <a:srgbClr val="15C047"/>
                </a:solidFill>
                <a:latin typeface="ACHS Nueva Sans SemiBold" pitchFamily="2" charset="77"/>
                <a:cs typeface="Calibri" panose="020F0502020204030204" pitchFamily="34" charset="0"/>
              </a:rPr>
              <a:t>Aspectos Éticos.</a:t>
            </a:r>
          </a:p>
          <a:p>
            <a:pPr>
              <a:lnSpc>
                <a:spcPct val="100000"/>
              </a:lnSpc>
              <a:buFont typeface="Arial"/>
              <a:buAutoNum type="alphaUcPeriod" startAt="4"/>
            </a:pPr>
            <a:endParaRPr lang="es-CL" sz="2000" dirty="0">
              <a:latin typeface="ACHS Nueva Sans Medium" pitchFamily="2" charset="77"/>
              <a:cs typeface="Calibri" panose="020F0502020204030204" pitchFamily="34" charset="0"/>
            </a:endParaRPr>
          </a:p>
          <a:p>
            <a:pPr marL="372110" marR="444500">
              <a:lnSpc>
                <a:spcPct val="100000"/>
              </a:lnSpc>
            </a:pPr>
            <a:r>
              <a:rPr lang="es-CL" sz="2000" dirty="0">
                <a:latin typeface="ACHS Nueva Sans Medium" pitchFamily="2" charset="77"/>
                <a:cs typeface="Calibri" panose="020F0502020204030204" pitchFamily="34" charset="0"/>
              </a:rPr>
              <a:t>Antes de efectuar la evaluación de salud se deberá informar al trabajador por  escrito sobre:</a:t>
            </a:r>
          </a:p>
          <a:p>
            <a:pPr>
              <a:lnSpc>
                <a:spcPct val="100000"/>
              </a:lnSpc>
              <a:spcBef>
                <a:spcPts val="20"/>
              </a:spcBef>
            </a:pPr>
            <a:endParaRPr lang="es-CL" sz="2000" dirty="0">
              <a:latin typeface="ACHS Nueva Sans Medium" pitchFamily="2" charset="77"/>
              <a:cs typeface="Calibri" panose="020F0502020204030204" pitchFamily="34" charset="0"/>
            </a:endParaRPr>
          </a:p>
          <a:p>
            <a:pPr marL="657860" lvl="1" indent="-285750">
              <a:lnSpc>
                <a:spcPct val="100000"/>
              </a:lnSpc>
              <a:spcBef>
                <a:spcPts val="5"/>
              </a:spcBef>
              <a:buFont typeface="Wingdings" panose="05000000000000000000" pitchFamily="2" charset="2"/>
              <a:buChar char="§"/>
              <a:tabLst>
                <a:tab pos="659765" algn="l"/>
              </a:tabLst>
            </a:pPr>
            <a:r>
              <a:rPr lang="es-CL" sz="2000" dirty="0">
                <a:latin typeface="ACHS Nueva Sans Medium" pitchFamily="2" charset="77"/>
                <a:cs typeface="Calibri" panose="020F0502020204030204" pitchFamily="34" charset="0"/>
              </a:rPr>
              <a:t>Los objetivos de la evaluación.</a:t>
            </a:r>
          </a:p>
          <a:p>
            <a:pPr marL="1005840" lvl="1" indent="-285750">
              <a:lnSpc>
                <a:spcPct val="100000"/>
              </a:lnSpc>
              <a:spcBef>
                <a:spcPts val="20"/>
              </a:spcBef>
              <a:buFont typeface="Wingdings" panose="05000000000000000000" pitchFamily="2" charset="2"/>
              <a:buChar char="§"/>
            </a:pPr>
            <a:endParaRPr lang="es-CL" sz="2000" dirty="0">
              <a:latin typeface="ACHS Nueva Sans Medium" pitchFamily="2" charset="77"/>
              <a:cs typeface="Calibri" panose="020F0502020204030204" pitchFamily="34" charset="0"/>
            </a:endParaRPr>
          </a:p>
          <a:p>
            <a:pPr marL="657860" lvl="1" indent="-285750">
              <a:lnSpc>
                <a:spcPct val="100000"/>
              </a:lnSpc>
              <a:buFont typeface="Wingdings" panose="05000000000000000000" pitchFamily="2" charset="2"/>
              <a:buChar char="§"/>
              <a:tabLst>
                <a:tab pos="659765" algn="l"/>
              </a:tabLst>
            </a:pPr>
            <a:r>
              <a:rPr lang="es-CL" sz="2000" dirty="0">
                <a:latin typeface="ACHS Nueva Sans Medium" pitchFamily="2" charset="77"/>
                <a:cs typeface="Calibri" panose="020F0502020204030204" pitchFamily="34" charset="0"/>
              </a:rPr>
              <a:t>Los exámenes que se le aplicarán y</a:t>
            </a:r>
          </a:p>
          <a:p>
            <a:pPr marL="1005840" lvl="1" indent="-285750">
              <a:lnSpc>
                <a:spcPct val="100000"/>
              </a:lnSpc>
              <a:spcBef>
                <a:spcPts val="20"/>
              </a:spcBef>
              <a:buFont typeface="Wingdings" panose="05000000000000000000" pitchFamily="2" charset="2"/>
              <a:buChar char="§"/>
            </a:pPr>
            <a:endParaRPr lang="es-CL" sz="2000" dirty="0">
              <a:latin typeface="ACHS Nueva Sans Medium" pitchFamily="2" charset="77"/>
              <a:cs typeface="Calibri" panose="020F0502020204030204" pitchFamily="34" charset="0"/>
            </a:endParaRPr>
          </a:p>
          <a:p>
            <a:pPr marL="657860" lvl="1" indent="-285750">
              <a:lnSpc>
                <a:spcPct val="100000"/>
              </a:lnSpc>
              <a:buFont typeface="Wingdings" panose="05000000000000000000" pitchFamily="2" charset="2"/>
              <a:buChar char="§"/>
              <a:tabLst>
                <a:tab pos="659765" algn="l"/>
              </a:tabLst>
            </a:pPr>
            <a:r>
              <a:rPr lang="es-CL" sz="2000" dirty="0">
                <a:latin typeface="ACHS Nueva Sans Medium" pitchFamily="2" charset="77"/>
                <a:cs typeface="Calibri" panose="020F0502020204030204" pitchFamily="34" charset="0"/>
              </a:rPr>
              <a:t>Los resguardos definidos en el Protocolo para garantizar la confidencialidad de la información</a:t>
            </a:r>
          </a:p>
        </p:txBody>
      </p:sp>
      <p:sp>
        <p:nvSpPr>
          <p:cNvPr id="12" name="5 Rectángulo">
            <a:extLst>
              <a:ext uri="{FF2B5EF4-FFF2-40B4-BE49-F238E27FC236}">
                <a16:creationId xmlns:a16="http://schemas.microsoft.com/office/drawing/2014/main" xmlns="" id="{48DABE0D-E526-7A42-BC05-EBE519846D15}"/>
              </a:ext>
            </a:extLst>
          </p:cNvPr>
          <p:cNvSpPr/>
          <p:nvPr/>
        </p:nvSpPr>
        <p:spPr>
          <a:xfrm>
            <a:off x="4860652" y="6080661"/>
            <a:ext cx="9361040" cy="1372230"/>
          </a:xfrm>
          <a:prstGeom prst="rect">
            <a:avLst/>
          </a:prstGeom>
          <a:solidFill>
            <a:srgbClr val="15C04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6213" algn="ctr"/>
            <a:r>
              <a:rPr lang="es-ES" sz="2200" b="1" dirty="0">
                <a:solidFill>
                  <a:schemeClr val="bg1"/>
                </a:solidFill>
                <a:latin typeface="ACHS Nueva Sans SemiBold" pitchFamily="2" charset="77"/>
                <a:cs typeface="Calibri" panose="020F0502020204030204" pitchFamily="34" charset="0"/>
              </a:rPr>
              <a:t>Debe ser firmado por el trabajador la primera vez que un Organismo Administrador inicia un Programa de Vigilancia de Salud en una empresa y permanecerá válido hasta que el Organismo Administrador finalice el programa en esa empresa.</a:t>
            </a:r>
          </a:p>
        </p:txBody>
      </p:sp>
    </p:spTree>
    <p:custDataLst>
      <p:tags r:id="rId1"/>
    </p:custDataLst>
    <p:extLst>
      <p:ext uri="{BB962C8B-B14F-4D97-AF65-F5344CB8AC3E}">
        <p14:creationId xmlns:p14="http://schemas.microsoft.com/office/powerpoint/2010/main" val="2685817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xmlns="" id="{A760637E-04BC-43B2-B0B2-6007F1891ACB}"/>
              </a:ext>
            </a:extLst>
          </p:cNvPr>
          <p:cNvSpPr txBox="1"/>
          <p:nvPr/>
        </p:nvSpPr>
        <p:spPr>
          <a:xfrm>
            <a:off x="5128785" y="1990154"/>
            <a:ext cx="8228811" cy="1938992"/>
          </a:xfrm>
          <a:prstGeom prst="rect">
            <a:avLst/>
          </a:prstGeom>
          <a:noFill/>
        </p:spPr>
        <p:txBody>
          <a:bodyPr wrap="square" rtlCol="0">
            <a:spAutoFit/>
          </a:bodyPr>
          <a:lstStyle/>
          <a:p>
            <a:r>
              <a:rPr lang="es-CL" sz="2000" dirty="0">
                <a:latin typeface="ACHS Nueva Sans Medium" pitchFamily="2" charset="77"/>
                <a:cs typeface="Calibri" panose="020F0502020204030204" pitchFamily="34" charset="0"/>
              </a:rPr>
              <a:t>Recuerde siempre revisar y aplicar las recomendaciones entregadas durante la presente capacitación, con ello disminuirá considerablemente su exposición y así esta protegiendo su salud.</a:t>
            </a:r>
          </a:p>
          <a:p>
            <a:endParaRPr lang="es-CL" sz="2000" dirty="0">
              <a:latin typeface="ACHS Nueva Sans Medium" pitchFamily="2" charset="77"/>
              <a:cs typeface="Calibri" panose="020F0502020204030204" pitchFamily="34" charset="0"/>
            </a:endParaRPr>
          </a:p>
          <a:p>
            <a:r>
              <a:rPr lang="es-CL" sz="2000" dirty="0">
                <a:latin typeface="ACHS Nueva Sans Medium" pitchFamily="2" charset="77"/>
                <a:cs typeface="Calibri" panose="020F0502020204030204" pitchFamily="34" charset="0"/>
              </a:rPr>
              <a:t>Es fundamental revisar los problemas que trae la silicosis y su exposición constante.</a:t>
            </a:r>
          </a:p>
        </p:txBody>
      </p:sp>
      <p:sp>
        <p:nvSpPr>
          <p:cNvPr id="9" name="Rectángulo 3">
            <a:extLst>
              <a:ext uri="{FF2B5EF4-FFF2-40B4-BE49-F238E27FC236}">
                <a16:creationId xmlns:a16="http://schemas.microsoft.com/office/drawing/2014/main" xmlns="" id="{F2ADF180-DDD9-5B49-9899-E361E42B3A7B}"/>
              </a:ext>
            </a:extLst>
          </p:cNvPr>
          <p:cNvSpPr/>
          <p:nvPr/>
        </p:nvSpPr>
        <p:spPr>
          <a:xfrm flipH="1">
            <a:off x="-2" y="-35942"/>
            <a:ext cx="3990325" cy="9037067"/>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p>
        </p:txBody>
      </p:sp>
      <p:sp>
        <p:nvSpPr>
          <p:cNvPr id="11" name="Rectangle 10">
            <a:extLst>
              <a:ext uri="{FF2B5EF4-FFF2-40B4-BE49-F238E27FC236}">
                <a16:creationId xmlns:a16="http://schemas.microsoft.com/office/drawing/2014/main" xmlns="" id="{75E24D3C-F612-2344-8833-8C23ED4DF679}"/>
              </a:ext>
            </a:extLst>
          </p:cNvPr>
          <p:cNvSpPr/>
          <p:nvPr/>
        </p:nvSpPr>
        <p:spPr>
          <a:xfrm>
            <a:off x="721168" y="708157"/>
            <a:ext cx="3419404" cy="477054"/>
          </a:xfrm>
          <a:prstGeom prst="rect">
            <a:avLst/>
          </a:prstGeom>
        </p:spPr>
        <p:txBody>
          <a:bodyPr wrap="square">
            <a:spAutoFit/>
          </a:bodyPr>
          <a:lstStyle/>
          <a:p>
            <a:r>
              <a:rPr lang="es-CL" sz="2500" dirty="0">
                <a:solidFill>
                  <a:srgbClr val="15C047"/>
                </a:solidFill>
                <a:latin typeface="ACHS Nueva Sans Medium" pitchFamily="2" charset="77"/>
                <a:cs typeface="Calibri" panose="020F0502020204030204" pitchFamily="34" charset="0"/>
              </a:rPr>
              <a:t>Conclusiones</a:t>
            </a:r>
          </a:p>
        </p:txBody>
      </p:sp>
      <p:cxnSp>
        <p:nvCxnSpPr>
          <p:cNvPr id="12" name="Conector recto 6">
            <a:extLst>
              <a:ext uri="{FF2B5EF4-FFF2-40B4-BE49-F238E27FC236}">
                <a16:creationId xmlns:a16="http://schemas.microsoft.com/office/drawing/2014/main" xmlns="" id="{98020C56-7F37-944D-BA85-B7EF813E833F}"/>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3" name="Rectangle 16">
            <a:extLst>
              <a:ext uri="{FF2B5EF4-FFF2-40B4-BE49-F238E27FC236}">
                <a16:creationId xmlns:a16="http://schemas.microsoft.com/office/drawing/2014/main" xmlns="" id="{3114280F-99CA-394A-9566-1EAECFC86556}"/>
              </a:ext>
            </a:extLst>
          </p:cNvPr>
          <p:cNvSpPr/>
          <p:nvPr/>
        </p:nvSpPr>
        <p:spPr>
          <a:xfrm>
            <a:off x="0" y="4492198"/>
            <a:ext cx="3996557" cy="4508927"/>
          </a:xfrm>
          <a:prstGeom prst="rect">
            <a:avLst/>
          </a:prstGeom>
        </p:spPr>
        <p:txBody>
          <a:bodyPr wrap="square">
            <a:spAutoFit/>
          </a:bodyPr>
          <a:lstStyle/>
          <a:p>
            <a:pPr algn="ctr"/>
            <a:r>
              <a:rPr lang="es-CL" sz="28700" b="1" dirty="0">
                <a:solidFill>
                  <a:srgbClr val="15C047"/>
                </a:solidFill>
                <a:latin typeface="ACHS Nueva Serif" pitchFamily="2" charset="77"/>
                <a:cs typeface="Arial" pitchFamily="34" charset="0"/>
              </a:rPr>
              <a:t>3</a:t>
            </a:r>
          </a:p>
        </p:txBody>
      </p:sp>
      <p:pic>
        <p:nvPicPr>
          <p:cNvPr id="16" name="Imagen 5">
            <a:extLst>
              <a:ext uri="{FF2B5EF4-FFF2-40B4-BE49-F238E27FC236}">
                <a16:creationId xmlns:a16="http://schemas.microsoft.com/office/drawing/2014/main" xmlns="" id="{A9419C1E-2764-AA4F-9BF9-308D16A56F8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spTree>
    <p:custDataLst>
      <p:tags r:id="rId1"/>
    </p:custDataLst>
    <p:extLst>
      <p:ext uri="{BB962C8B-B14F-4D97-AF65-F5344CB8AC3E}">
        <p14:creationId xmlns:p14="http://schemas.microsoft.com/office/powerpoint/2010/main" val="23215249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B035BA01-3820-0D49-B44E-B4F99E7447C0}"/>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8FF4BCEE-EF67-F649-AF32-944821D8ED18}"/>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09574CC7-AE90-D142-A007-56E366130952}"/>
              </a:ext>
            </a:extLst>
          </p:cNvPr>
          <p:cNvSpPr/>
          <p:nvPr/>
        </p:nvSpPr>
        <p:spPr>
          <a:xfrm>
            <a:off x="100012" y="1548"/>
            <a:ext cx="16002000" cy="9001125"/>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00150"/>
            <a:endParaRPr lang="es-CL" sz="2363" dirty="0">
              <a:solidFill>
                <a:prstClr val="white"/>
              </a:solidFill>
            </a:endParaRPr>
          </a:p>
        </p:txBody>
      </p:sp>
      <p:grpSp>
        <p:nvGrpSpPr>
          <p:cNvPr id="5" name="Group 4">
            <a:extLst>
              <a:ext uri="{FF2B5EF4-FFF2-40B4-BE49-F238E27FC236}">
                <a16:creationId xmlns="" xmlns:a16="http://schemas.microsoft.com/office/drawing/2014/main" id="{22AF48BE-1D16-174E-9D61-AAAA6E1FDA71}"/>
              </a:ext>
            </a:extLst>
          </p:cNvPr>
          <p:cNvGrpSpPr>
            <a:grpSpLocks/>
          </p:cNvGrpSpPr>
          <p:nvPr/>
        </p:nvGrpSpPr>
        <p:grpSpPr bwMode="auto">
          <a:xfrm>
            <a:off x="1881139" y="2063085"/>
            <a:ext cx="2891700" cy="4876200"/>
            <a:chOff x="495" y="1002"/>
            <a:chExt cx="258" cy="473"/>
          </a:xfrm>
          <a:solidFill>
            <a:srgbClr val="0CC144"/>
          </a:solidFill>
        </p:grpSpPr>
        <p:sp>
          <p:nvSpPr>
            <p:cNvPr id="6" name="Freeform 5">
              <a:extLst>
                <a:ext uri="{FF2B5EF4-FFF2-40B4-BE49-F238E27FC236}">
                  <a16:creationId xmlns="" xmlns:a16="http://schemas.microsoft.com/office/drawing/2014/main" id="{34DA0A71-997A-6648-A38D-B5CEF703E8A2}"/>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7" name="Freeform 6">
              <a:extLst>
                <a:ext uri="{FF2B5EF4-FFF2-40B4-BE49-F238E27FC236}">
                  <a16:creationId xmlns="" xmlns:a16="http://schemas.microsoft.com/office/drawing/2014/main" id="{88DFC691-DBE8-004F-A13D-664670C5C7EB}"/>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8" name="Freeform 7">
              <a:extLst>
                <a:ext uri="{FF2B5EF4-FFF2-40B4-BE49-F238E27FC236}">
                  <a16:creationId xmlns="" xmlns:a16="http://schemas.microsoft.com/office/drawing/2014/main" id="{1274D962-464B-6A4E-BB2A-5D7CFEA38C05}"/>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dirty="0">
                <a:solidFill>
                  <a:prstClr val="black"/>
                </a:solidFill>
              </a:endParaRPr>
            </a:p>
          </p:txBody>
        </p:sp>
      </p:grpSp>
      <p:sp>
        <p:nvSpPr>
          <p:cNvPr id="9" name="Freeform 22">
            <a:extLst>
              <a:ext uri="{FF2B5EF4-FFF2-40B4-BE49-F238E27FC236}">
                <a16:creationId xmlns="" xmlns:a16="http://schemas.microsoft.com/office/drawing/2014/main" id="{916A0246-60AB-E848-807A-41356E60F15C}"/>
              </a:ext>
            </a:extLst>
          </p:cNvPr>
          <p:cNvSpPr>
            <a:spLocks noEditPoints="1"/>
          </p:cNvSpPr>
          <p:nvPr/>
        </p:nvSpPr>
        <p:spPr bwMode="auto">
          <a:xfrm>
            <a:off x="7440513" y="2154600"/>
            <a:ext cx="6936300" cy="4691925"/>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10" name="Rectángulo 9">
            <a:extLst>
              <a:ext uri="{FF2B5EF4-FFF2-40B4-BE49-F238E27FC236}">
                <a16:creationId xmlns="" xmlns:a16="http://schemas.microsoft.com/office/drawing/2014/main" id="{E4AD6C16-93E3-E145-953C-336B7AACA87C}"/>
              </a:ext>
            </a:extLst>
          </p:cNvPr>
          <p:cNvSpPr/>
          <p:nvPr/>
        </p:nvSpPr>
        <p:spPr>
          <a:xfrm>
            <a:off x="694514" y="578538"/>
            <a:ext cx="8242962" cy="496290"/>
          </a:xfrm>
          <a:prstGeom prst="rect">
            <a:avLst/>
          </a:prstGeom>
        </p:spPr>
        <p:txBody>
          <a:bodyPr wrap="none">
            <a:spAutoFit/>
          </a:bodyPr>
          <a:lstStyle/>
          <a:p>
            <a:pPr defTabSz="1200150"/>
            <a:r>
              <a:rPr lang="es-CL" sz="2625" dirty="0">
                <a:solidFill>
                  <a:srgbClr val="15C047"/>
                </a:solidFill>
                <a:latin typeface="ACHS Nueva Serif" pitchFamily="2" charset="77"/>
                <a:cs typeface="Arial" panose="020B0604020202020204" pitchFamily="34" charset="0"/>
              </a:rPr>
              <a:t>Encuesta de satisfacción – Curso  abierto presencial</a:t>
            </a:r>
          </a:p>
        </p:txBody>
      </p:sp>
      <p:pic>
        <p:nvPicPr>
          <p:cNvPr id="11" name="Imagen 10">
            <a:extLst>
              <a:ext uri="{FF2B5EF4-FFF2-40B4-BE49-F238E27FC236}">
                <a16:creationId xmlns="" xmlns:a16="http://schemas.microsoft.com/office/drawing/2014/main" id="{B6014957-C826-9C45-BC05-9121603F1D0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12" name="Conector recto 11">
            <a:extLst>
              <a:ext uri="{FF2B5EF4-FFF2-40B4-BE49-F238E27FC236}">
                <a16:creationId xmlns="" xmlns:a16="http://schemas.microsoft.com/office/drawing/2014/main" id="{6074E660-AA37-9E45-8D6E-CAAC7EB0A77B}"/>
              </a:ext>
            </a:extLst>
          </p:cNvPr>
          <p:cNvCxnSpPr>
            <a:cxnSpLocks/>
          </p:cNvCxnSpPr>
          <p:nvPr/>
        </p:nvCxnSpPr>
        <p:spPr>
          <a:xfrm>
            <a:off x="802369" y="507417"/>
            <a:ext cx="1702603"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3" name="Rectángulo 12">
            <a:extLst>
              <a:ext uri="{FF2B5EF4-FFF2-40B4-BE49-F238E27FC236}">
                <a16:creationId xmlns="" xmlns:a16="http://schemas.microsoft.com/office/drawing/2014/main" id="{F0CB735D-06B5-B341-AC4F-A43926FC2125}"/>
              </a:ext>
            </a:extLst>
          </p:cNvPr>
          <p:cNvSpPr/>
          <p:nvPr/>
        </p:nvSpPr>
        <p:spPr>
          <a:xfrm>
            <a:off x="1881139" y="7203700"/>
            <a:ext cx="2913986" cy="415498"/>
          </a:xfrm>
          <a:prstGeom prst="rect">
            <a:avLst/>
          </a:prstGeom>
        </p:spPr>
        <p:txBody>
          <a:bodyPr wrap="square">
            <a:spAutoFit/>
          </a:bodyPr>
          <a:lstStyle/>
          <a:p>
            <a:pPr algn="ctr" defTabSz="1200150"/>
            <a:r>
              <a:rPr lang="es-CL" sz="2100" b="1" dirty="0">
                <a:solidFill>
                  <a:srgbClr val="15C047"/>
                </a:solidFill>
                <a:latin typeface="ACHS Nueva Sans" pitchFamily="2" charset="77"/>
                <a:cs typeface="Arial" panose="020B0604020202020204" pitchFamily="34" charset="0"/>
              </a:rPr>
              <a:t>Escanea este código</a:t>
            </a:r>
          </a:p>
        </p:txBody>
      </p:sp>
      <p:sp>
        <p:nvSpPr>
          <p:cNvPr id="14" name="Rectángulo 13">
            <a:extLst>
              <a:ext uri="{FF2B5EF4-FFF2-40B4-BE49-F238E27FC236}">
                <a16:creationId xmlns="" xmlns:a16="http://schemas.microsoft.com/office/drawing/2014/main" id="{94D5BD24-B25B-0348-81AE-8B0005A9356E}"/>
              </a:ext>
            </a:extLst>
          </p:cNvPr>
          <p:cNvSpPr/>
          <p:nvPr/>
        </p:nvSpPr>
        <p:spPr>
          <a:xfrm>
            <a:off x="9767995" y="7203700"/>
            <a:ext cx="2913986" cy="415498"/>
          </a:xfrm>
          <a:prstGeom prst="rect">
            <a:avLst/>
          </a:prstGeom>
        </p:spPr>
        <p:txBody>
          <a:bodyPr wrap="square">
            <a:spAutoFit/>
          </a:bodyPr>
          <a:lstStyle/>
          <a:p>
            <a:pPr algn="ctr" defTabSz="1200150"/>
            <a:r>
              <a:rPr lang="es-CL" sz="2100" b="1" dirty="0">
                <a:solidFill>
                  <a:srgbClr val="15C047"/>
                </a:solidFill>
                <a:latin typeface="ACHS Nueva Sans" pitchFamily="2" charset="77"/>
                <a:cs typeface="Arial" panose="020B0604020202020204" pitchFamily="34" charset="0"/>
              </a:rPr>
              <a:t>O ingresa a este link</a:t>
            </a:r>
          </a:p>
        </p:txBody>
      </p:sp>
      <p:sp>
        <p:nvSpPr>
          <p:cNvPr id="17" name="Marcador de texto 11">
            <a:extLst>
              <a:ext uri="{FF2B5EF4-FFF2-40B4-BE49-F238E27FC236}">
                <a16:creationId xmlns="" xmlns:a16="http://schemas.microsoft.com/office/drawing/2014/main" id="{792C80F6-197E-164E-929B-FF5B71010328}"/>
              </a:ext>
            </a:extLst>
          </p:cNvPr>
          <p:cNvSpPr txBox="1">
            <a:spLocks/>
          </p:cNvSpPr>
          <p:nvPr/>
        </p:nvSpPr>
        <p:spPr>
          <a:xfrm>
            <a:off x="7920479" y="3837713"/>
            <a:ext cx="6256634" cy="687586"/>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3150" b="0" u="sng" kern="0" dirty="0">
                <a:solidFill>
                  <a:srgbClr val="00C42A"/>
                </a:solidFill>
                <a:latin typeface="ACHS Nueva Sans" pitchFamily="2" charset="77"/>
              </a:rPr>
              <a:t>tinyurl.com/26vbepn4</a:t>
            </a:r>
          </a:p>
        </p:txBody>
      </p:sp>
      <p:pic>
        <p:nvPicPr>
          <p:cNvPr id="18" name="Imagen 17">
            <a:extLst>
              <a:ext uri="{FF2B5EF4-FFF2-40B4-BE49-F238E27FC236}">
                <a16:creationId xmlns="" xmlns:a16="http://schemas.microsoft.com/office/drawing/2014/main" id="{34643A48-629B-8542-A236-DED458AE96D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274980" y="3449192"/>
            <a:ext cx="2132879" cy="2137897"/>
          </a:xfrm>
          <a:prstGeom prst="rect">
            <a:avLst/>
          </a:prstGeom>
        </p:spPr>
      </p:pic>
    </p:spTree>
    <p:custDataLst>
      <p:tags r:id="rId1"/>
    </p:custDataLst>
    <p:extLst>
      <p:ext uri="{BB962C8B-B14F-4D97-AF65-F5344CB8AC3E}">
        <p14:creationId xmlns:p14="http://schemas.microsoft.com/office/powerpoint/2010/main" val="16246373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F0317DA-7C74-1548-9D23-0BFB8866CFE8}"/>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7CC3F05D-7E38-9645-BAA9-459EE8109A56}"/>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52BD712E-6A3D-4342-B8CA-C4A51CDB477B}"/>
              </a:ext>
            </a:extLst>
          </p:cNvPr>
          <p:cNvSpPr/>
          <p:nvPr/>
        </p:nvSpPr>
        <p:spPr>
          <a:xfrm>
            <a:off x="100012" y="-1"/>
            <a:ext cx="16002000" cy="9001125"/>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00150"/>
            <a:endParaRPr lang="es-CL" sz="2363" dirty="0">
              <a:solidFill>
                <a:srgbClr val="13C045"/>
              </a:solidFill>
            </a:endParaRPr>
          </a:p>
        </p:txBody>
      </p:sp>
      <p:grpSp>
        <p:nvGrpSpPr>
          <p:cNvPr id="5" name="Group 4">
            <a:extLst>
              <a:ext uri="{FF2B5EF4-FFF2-40B4-BE49-F238E27FC236}">
                <a16:creationId xmlns="" xmlns:a16="http://schemas.microsoft.com/office/drawing/2014/main" id="{B63C7CAB-FA4F-1745-9571-70574C4DB2EB}"/>
              </a:ext>
            </a:extLst>
          </p:cNvPr>
          <p:cNvGrpSpPr>
            <a:grpSpLocks/>
          </p:cNvGrpSpPr>
          <p:nvPr/>
        </p:nvGrpSpPr>
        <p:grpSpPr bwMode="auto">
          <a:xfrm>
            <a:off x="1881139" y="2063085"/>
            <a:ext cx="2891700" cy="4876200"/>
            <a:chOff x="495" y="1002"/>
            <a:chExt cx="258" cy="473"/>
          </a:xfrm>
          <a:solidFill>
            <a:srgbClr val="0CC144"/>
          </a:solidFill>
        </p:grpSpPr>
        <p:sp>
          <p:nvSpPr>
            <p:cNvPr id="6" name="Freeform 5">
              <a:extLst>
                <a:ext uri="{FF2B5EF4-FFF2-40B4-BE49-F238E27FC236}">
                  <a16:creationId xmlns="" xmlns:a16="http://schemas.microsoft.com/office/drawing/2014/main" id="{9CBA5BF2-5B2A-484C-8814-AFFB5F9CD650}"/>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7" name="Freeform 6">
              <a:extLst>
                <a:ext uri="{FF2B5EF4-FFF2-40B4-BE49-F238E27FC236}">
                  <a16:creationId xmlns="" xmlns:a16="http://schemas.microsoft.com/office/drawing/2014/main" id="{4E3359A4-44E0-1547-8EA4-A8EF46656606}"/>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8" name="Freeform 7">
              <a:extLst>
                <a:ext uri="{FF2B5EF4-FFF2-40B4-BE49-F238E27FC236}">
                  <a16:creationId xmlns="" xmlns:a16="http://schemas.microsoft.com/office/drawing/2014/main" id="{50DEDFD7-C412-3C40-AB72-78E8FFC623A5}"/>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dirty="0">
                <a:solidFill>
                  <a:prstClr val="black"/>
                </a:solidFill>
              </a:endParaRPr>
            </a:p>
          </p:txBody>
        </p:sp>
      </p:grpSp>
      <p:sp>
        <p:nvSpPr>
          <p:cNvPr id="9" name="Freeform 22">
            <a:extLst>
              <a:ext uri="{FF2B5EF4-FFF2-40B4-BE49-F238E27FC236}">
                <a16:creationId xmlns="" xmlns:a16="http://schemas.microsoft.com/office/drawing/2014/main" id="{255B9AF1-52CC-2343-85D3-3845CBB0F8CC}"/>
              </a:ext>
            </a:extLst>
          </p:cNvPr>
          <p:cNvSpPr>
            <a:spLocks noEditPoints="1"/>
          </p:cNvSpPr>
          <p:nvPr/>
        </p:nvSpPr>
        <p:spPr bwMode="auto">
          <a:xfrm>
            <a:off x="7440513" y="2154600"/>
            <a:ext cx="6936300" cy="4691925"/>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120015" tIns="60008" rIns="120015" bIns="60008" numCol="1" anchor="t" anchorCtr="0" compatLnSpc="1">
            <a:prstTxWarp prst="textNoShape">
              <a:avLst/>
            </a:prstTxWarp>
          </a:bodyPr>
          <a:lstStyle/>
          <a:p>
            <a:pPr defTabSz="1200150"/>
            <a:endParaRPr lang="es-CL" sz="2363">
              <a:solidFill>
                <a:prstClr val="black"/>
              </a:solidFill>
            </a:endParaRPr>
          </a:p>
        </p:txBody>
      </p:sp>
      <p:sp>
        <p:nvSpPr>
          <p:cNvPr id="10" name="Rectángulo 9">
            <a:extLst>
              <a:ext uri="{FF2B5EF4-FFF2-40B4-BE49-F238E27FC236}">
                <a16:creationId xmlns="" xmlns:a16="http://schemas.microsoft.com/office/drawing/2014/main" id="{52DB2E02-B54A-514F-BDA4-EFDA7F802CB0}"/>
              </a:ext>
            </a:extLst>
          </p:cNvPr>
          <p:cNvSpPr/>
          <p:nvPr/>
        </p:nvSpPr>
        <p:spPr>
          <a:xfrm>
            <a:off x="721167" y="540282"/>
            <a:ext cx="8307082" cy="496290"/>
          </a:xfrm>
          <a:prstGeom prst="rect">
            <a:avLst/>
          </a:prstGeom>
        </p:spPr>
        <p:txBody>
          <a:bodyPr wrap="none">
            <a:spAutoFit/>
          </a:bodyPr>
          <a:lstStyle/>
          <a:p>
            <a:pPr defTabSz="1200150"/>
            <a:r>
              <a:rPr lang="es-CL" sz="2625" dirty="0">
                <a:solidFill>
                  <a:srgbClr val="15C047"/>
                </a:solidFill>
                <a:latin typeface="ACHS Nueva Serif" pitchFamily="2" charset="77"/>
                <a:cs typeface="Arial" panose="020B0604020202020204" pitchFamily="34" charset="0"/>
              </a:rPr>
              <a:t>Encuesta de satisfacción – Curso  cerrado presencial</a:t>
            </a:r>
          </a:p>
        </p:txBody>
      </p:sp>
      <p:pic>
        <p:nvPicPr>
          <p:cNvPr id="11" name="Imagen 10">
            <a:extLst>
              <a:ext uri="{FF2B5EF4-FFF2-40B4-BE49-F238E27FC236}">
                <a16:creationId xmlns="" xmlns:a16="http://schemas.microsoft.com/office/drawing/2014/main" id="{F7E0F5A1-98C2-AD4B-8707-ABC2A7D517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12" name="Conector recto 11">
            <a:extLst>
              <a:ext uri="{FF2B5EF4-FFF2-40B4-BE49-F238E27FC236}">
                <a16:creationId xmlns="" xmlns:a16="http://schemas.microsoft.com/office/drawing/2014/main" id="{A9D57230-4199-4046-BF66-AFC00D33CA09}"/>
              </a:ext>
            </a:extLst>
          </p:cNvPr>
          <p:cNvCxnSpPr>
            <a:cxnSpLocks/>
          </p:cNvCxnSpPr>
          <p:nvPr/>
        </p:nvCxnSpPr>
        <p:spPr>
          <a:xfrm>
            <a:off x="802369" y="507417"/>
            <a:ext cx="1702603"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3" name="Rectángulo 12">
            <a:extLst>
              <a:ext uri="{FF2B5EF4-FFF2-40B4-BE49-F238E27FC236}">
                <a16:creationId xmlns="" xmlns:a16="http://schemas.microsoft.com/office/drawing/2014/main" id="{86BC6BC7-E20A-9247-A50E-0570BBC7EEAE}"/>
              </a:ext>
            </a:extLst>
          </p:cNvPr>
          <p:cNvSpPr/>
          <p:nvPr/>
        </p:nvSpPr>
        <p:spPr>
          <a:xfrm>
            <a:off x="1881139" y="7203700"/>
            <a:ext cx="2913986" cy="415498"/>
          </a:xfrm>
          <a:prstGeom prst="rect">
            <a:avLst/>
          </a:prstGeom>
        </p:spPr>
        <p:txBody>
          <a:bodyPr wrap="square">
            <a:spAutoFit/>
          </a:bodyPr>
          <a:lstStyle/>
          <a:p>
            <a:pPr algn="ctr" defTabSz="1200150"/>
            <a:r>
              <a:rPr lang="es-CL" sz="2100" b="1" dirty="0">
                <a:solidFill>
                  <a:srgbClr val="15C047"/>
                </a:solidFill>
                <a:latin typeface="ACHS Nueva Sans" pitchFamily="2" charset="77"/>
                <a:cs typeface="Arial" panose="020B0604020202020204" pitchFamily="34" charset="0"/>
              </a:rPr>
              <a:t>Escanea este código</a:t>
            </a:r>
          </a:p>
        </p:txBody>
      </p:sp>
      <p:sp>
        <p:nvSpPr>
          <p:cNvPr id="14" name="Rectángulo 13">
            <a:extLst>
              <a:ext uri="{FF2B5EF4-FFF2-40B4-BE49-F238E27FC236}">
                <a16:creationId xmlns="" xmlns:a16="http://schemas.microsoft.com/office/drawing/2014/main" id="{E086CC3D-33B0-3144-9EF3-77898E9C108B}"/>
              </a:ext>
            </a:extLst>
          </p:cNvPr>
          <p:cNvSpPr/>
          <p:nvPr/>
        </p:nvSpPr>
        <p:spPr>
          <a:xfrm>
            <a:off x="9767995" y="7203700"/>
            <a:ext cx="2913986" cy="415498"/>
          </a:xfrm>
          <a:prstGeom prst="rect">
            <a:avLst/>
          </a:prstGeom>
        </p:spPr>
        <p:txBody>
          <a:bodyPr wrap="square">
            <a:spAutoFit/>
          </a:bodyPr>
          <a:lstStyle/>
          <a:p>
            <a:pPr algn="ctr" defTabSz="1200150"/>
            <a:r>
              <a:rPr lang="es-CL" sz="2100" b="1" dirty="0">
                <a:solidFill>
                  <a:srgbClr val="15C047"/>
                </a:solidFill>
                <a:latin typeface="ACHS Nueva Sans" pitchFamily="2" charset="77"/>
                <a:cs typeface="Arial" panose="020B0604020202020204" pitchFamily="34" charset="0"/>
              </a:rPr>
              <a:t>O ingresa a este link</a:t>
            </a:r>
          </a:p>
        </p:txBody>
      </p:sp>
      <p:sp>
        <p:nvSpPr>
          <p:cNvPr id="17" name="Marcador de texto 11">
            <a:extLst>
              <a:ext uri="{FF2B5EF4-FFF2-40B4-BE49-F238E27FC236}">
                <a16:creationId xmlns="" xmlns:a16="http://schemas.microsoft.com/office/drawing/2014/main" id="{72A2680E-4576-5A4B-A104-46E1C4C9804A}"/>
              </a:ext>
            </a:extLst>
          </p:cNvPr>
          <p:cNvSpPr txBox="1">
            <a:spLocks/>
          </p:cNvSpPr>
          <p:nvPr/>
        </p:nvSpPr>
        <p:spPr>
          <a:xfrm>
            <a:off x="7780346" y="3894402"/>
            <a:ext cx="6256634" cy="687586"/>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3150" b="0" u="sng" kern="0" dirty="0">
                <a:solidFill>
                  <a:srgbClr val="00C42A"/>
                </a:solidFill>
                <a:latin typeface="ACHS Nueva Sans Medium" pitchFamily="2" charset="77"/>
              </a:rPr>
              <a:t>tinyurl.</a:t>
            </a:r>
            <a:r>
              <a:rPr lang="es-CL" sz="3150" b="0" u="sng" kern="0" dirty="0">
                <a:solidFill>
                  <a:srgbClr val="00C42A"/>
                </a:solidFill>
                <a:latin typeface="ACHS Nueva Sans" pitchFamily="2" charset="77"/>
              </a:rPr>
              <a:t>com</a:t>
            </a:r>
            <a:r>
              <a:rPr lang="es-CL" sz="3150" b="0" u="sng" kern="0" dirty="0">
                <a:solidFill>
                  <a:srgbClr val="00C42A"/>
                </a:solidFill>
                <a:latin typeface="ACHS Nueva Sans Medium" pitchFamily="2" charset="77"/>
              </a:rPr>
              <a:t>/</a:t>
            </a:r>
            <a:r>
              <a:rPr lang="es-CL" sz="3150" b="0" u="sng" kern="0" dirty="0" err="1">
                <a:solidFill>
                  <a:srgbClr val="00C42A"/>
                </a:solidFill>
                <a:latin typeface="ACHS Nueva Sans Medium" pitchFamily="2" charset="77"/>
              </a:rPr>
              <a:t>ujnzkjew</a:t>
            </a:r>
            <a:endParaRPr lang="es-CL" sz="3150" b="0" u="sng" kern="0" dirty="0">
              <a:solidFill>
                <a:srgbClr val="00C42A"/>
              </a:solidFill>
              <a:latin typeface="ACHS Nueva Sans Medium" pitchFamily="2" charset="77"/>
            </a:endParaRPr>
          </a:p>
        </p:txBody>
      </p:sp>
      <p:pic>
        <p:nvPicPr>
          <p:cNvPr id="18" name="Imagen 17">
            <a:extLst>
              <a:ext uri="{FF2B5EF4-FFF2-40B4-BE49-F238E27FC236}">
                <a16:creationId xmlns="" xmlns:a16="http://schemas.microsoft.com/office/drawing/2014/main" id="{2702EFA0-33F1-4245-8373-7B1B273255C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244218" y="3400425"/>
            <a:ext cx="2176029" cy="2200275"/>
          </a:xfrm>
          <a:prstGeom prst="rect">
            <a:avLst/>
          </a:prstGeom>
        </p:spPr>
      </p:pic>
    </p:spTree>
    <p:custDataLst>
      <p:tags r:id="rId1"/>
    </p:custDataLst>
    <p:extLst>
      <p:ext uri="{BB962C8B-B14F-4D97-AF65-F5344CB8AC3E}">
        <p14:creationId xmlns:p14="http://schemas.microsoft.com/office/powerpoint/2010/main" val="21127661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0"/>
            <a:ext cx="16202025" cy="90011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Rectangle 5">
            <a:extLst>
              <a:ext uri="{FF2B5EF4-FFF2-40B4-BE49-F238E27FC236}">
                <a16:creationId xmlns:a16="http://schemas.microsoft.com/office/drawing/2014/main" xmlns="" id="{62BCC313-EB90-3C45-A957-FF6F41601E90}"/>
              </a:ext>
            </a:extLst>
          </p:cNvPr>
          <p:cNvSpPr/>
          <p:nvPr/>
        </p:nvSpPr>
        <p:spPr>
          <a:xfrm>
            <a:off x="0" y="0"/>
            <a:ext cx="16202025" cy="9001125"/>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0" name="Picture 2" descr="F:\ACHS\111_Maestro\wetransfer-93e533\001-Industria-Baja\Toma2-Baja\800_9825.jpg">
            <a:extLst>
              <a:ext uri="{FF2B5EF4-FFF2-40B4-BE49-F238E27FC236}">
                <a16:creationId xmlns:a16="http://schemas.microsoft.com/office/drawing/2014/main" xmlns="" id="{8F530C24-F88D-E443-A724-483126ADFF98}"/>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9852660" y="-1"/>
            <a:ext cx="6349364" cy="90011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xmlns="" id="{5D46361B-303B-8C47-91CE-185519907A1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31676" y="3889965"/>
            <a:ext cx="2989308" cy="1221191"/>
          </a:xfrm>
          <a:prstGeom prst="rect">
            <a:avLst/>
          </a:prstGeom>
        </p:spPr>
      </p:pic>
    </p:spTree>
    <p:custDataLst>
      <p:tags r:id="rId1"/>
    </p:custDataLst>
    <p:extLst>
      <p:ext uri="{BB962C8B-B14F-4D97-AF65-F5344CB8AC3E}">
        <p14:creationId xmlns:p14="http://schemas.microsoft.com/office/powerpoint/2010/main" val="14670102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3">
            <a:extLst>
              <a:ext uri="{FF2B5EF4-FFF2-40B4-BE49-F238E27FC236}">
                <a16:creationId xmlns:a16="http://schemas.microsoft.com/office/drawing/2014/main" xmlns="" id="{683AC9E7-B6F4-9B4F-A180-C8CAF3EF8DDC}"/>
              </a:ext>
            </a:extLst>
          </p:cNvPr>
          <p:cNvSpPr/>
          <p:nvPr/>
        </p:nvSpPr>
        <p:spPr>
          <a:xfrm flipH="1">
            <a:off x="-34032" y="0"/>
            <a:ext cx="3990325" cy="9037067"/>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p>
        </p:txBody>
      </p:sp>
      <p:pic>
        <p:nvPicPr>
          <p:cNvPr id="5" name="Imagen 5">
            <a:extLst>
              <a:ext uri="{FF2B5EF4-FFF2-40B4-BE49-F238E27FC236}">
                <a16:creationId xmlns:a16="http://schemas.microsoft.com/office/drawing/2014/main" xmlns="" id="{2C045113-ADB5-C84D-BCC9-B1608E27EB7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6" name="Conector recto 6">
            <a:extLst>
              <a:ext uri="{FF2B5EF4-FFF2-40B4-BE49-F238E27FC236}">
                <a16:creationId xmlns:a16="http://schemas.microsoft.com/office/drawing/2014/main" xmlns="" id="{E1F9FF08-2AC3-AC49-AA37-7429F83E903E}"/>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7" name="Rectángulo 17">
            <a:extLst>
              <a:ext uri="{FF2B5EF4-FFF2-40B4-BE49-F238E27FC236}">
                <a16:creationId xmlns:a16="http://schemas.microsoft.com/office/drawing/2014/main" xmlns="" id="{F0E6F87E-37BB-024A-8270-DDD858916024}"/>
              </a:ext>
            </a:extLst>
          </p:cNvPr>
          <p:cNvSpPr/>
          <p:nvPr/>
        </p:nvSpPr>
        <p:spPr>
          <a:xfrm rot="18900000">
            <a:off x="3551549" y="3528762"/>
            <a:ext cx="811583" cy="811583"/>
          </a:xfrm>
          <a:prstGeom prst="rect">
            <a:avLst/>
          </a:prstGeom>
          <a:solidFill>
            <a:srgbClr val="EAEA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l" defTabSz="825500" rtl="0" fontAlgn="auto" latinLnBrk="0" hangingPunct="0">
              <a:lnSpc>
                <a:spcPct val="100000"/>
              </a:lnSpc>
              <a:spcBef>
                <a:spcPts val="0"/>
              </a:spcBef>
              <a:spcAft>
                <a:spcPts val="0"/>
              </a:spcAft>
              <a:buClrTx/>
              <a:buSzTx/>
              <a:buFontTx/>
              <a:buNone/>
              <a:tabLst/>
            </a:pPr>
            <a:endParaRPr lang="es-CL" sz="1200" dirty="0">
              <a:solidFill>
                <a:srgbClr val="616161"/>
              </a:solidFill>
              <a:ea typeface="Helvetica Neue Medium"/>
              <a:cs typeface="Helvetica Neue Medium"/>
              <a:sym typeface="Helvetica Neue Medium"/>
            </a:endParaRPr>
          </a:p>
        </p:txBody>
      </p:sp>
      <p:sp>
        <p:nvSpPr>
          <p:cNvPr id="8" name="Rectangle 7">
            <a:extLst>
              <a:ext uri="{FF2B5EF4-FFF2-40B4-BE49-F238E27FC236}">
                <a16:creationId xmlns:a16="http://schemas.microsoft.com/office/drawing/2014/main" xmlns="" id="{A91B7376-E389-A141-B461-05CD9DC5100D}"/>
              </a:ext>
            </a:extLst>
          </p:cNvPr>
          <p:cNvSpPr/>
          <p:nvPr/>
        </p:nvSpPr>
        <p:spPr>
          <a:xfrm>
            <a:off x="7958986" y="4238953"/>
            <a:ext cx="284052" cy="523220"/>
          </a:xfrm>
          <a:prstGeom prst="rect">
            <a:avLst/>
          </a:prstGeom>
        </p:spPr>
        <p:txBody>
          <a:bodyPr wrap="none">
            <a:spAutoFit/>
          </a:bodyPr>
          <a:lstStyle/>
          <a:p>
            <a:r>
              <a:rPr lang="en-US" dirty="0">
                <a:solidFill>
                  <a:srgbClr val="000000"/>
                </a:solidFill>
              </a:rPr>
              <a:t> </a:t>
            </a:r>
            <a:endParaRPr lang="en-US" dirty="0"/>
          </a:p>
        </p:txBody>
      </p:sp>
      <p:sp>
        <p:nvSpPr>
          <p:cNvPr id="15" name="Título 30">
            <a:extLst>
              <a:ext uri="{FF2B5EF4-FFF2-40B4-BE49-F238E27FC236}">
                <a16:creationId xmlns:a16="http://schemas.microsoft.com/office/drawing/2014/main" xmlns="" id="{B3C65AEC-4FE1-BD41-9273-D53DC1235D14}"/>
              </a:ext>
            </a:extLst>
          </p:cNvPr>
          <p:cNvSpPr txBox="1">
            <a:spLocks/>
          </p:cNvSpPr>
          <p:nvPr/>
        </p:nvSpPr>
        <p:spPr>
          <a:xfrm>
            <a:off x="-1332869" y="667862"/>
            <a:ext cx="6182408" cy="610116"/>
          </a:xfrm>
          <a:prstGeom prst="rect">
            <a:avLst/>
          </a:prstGeom>
        </p:spPr>
        <p:txBody>
          <a:bodyPr vert="horz" lIns="144018" tIns="72009" rIns="144018" bIns="72009" rtlCol="0" anchor="ctr">
            <a:normAutofit/>
          </a:bodyPr>
          <a:lstStyle>
            <a:lvl1pPr algn="ctr" defTabSz="1422402" rtl="0" eaLnBrk="1" latinLnBrk="0" hangingPunct="1">
              <a:spcBef>
                <a:spcPct val="0"/>
              </a:spcBef>
              <a:buNone/>
              <a:defRPr sz="6815" kern="1200">
                <a:solidFill>
                  <a:schemeClr val="tx1"/>
                </a:solidFill>
                <a:latin typeface="+mj-lt"/>
                <a:ea typeface="+mj-ea"/>
                <a:cs typeface="+mj-cs"/>
              </a:defRPr>
            </a:lvl1pPr>
          </a:lstStyle>
          <a:p>
            <a:r>
              <a:rPr lang="es-CL" sz="2400" dirty="0">
                <a:solidFill>
                  <a:srgbClr val="15C047"/>
                </a:solidFill>
                <a:latin typeface="ACHS Nueva Sans Medium" pitchFamily="2" charset="77"/>
                <a:cs typeface="Arial" panose="020B0604020202020204" pitchFamily="34" charset="0"/>
              </a:rPr>
              <a:t>Introducción</a:t>
            </a:r>
          </a:p>
        </p:txBody>
      </p:sp>
      <p:sp>
        <p:nvSpPr>
          <p:cNvPr id="3" name="Rectangle 2">
            <a:extLst>
              <a:ext uri="{FF2B5EF4-FFF2-40B4-BE49-F238E27FC236}">
                <a16:creationId xmlns:a16="http://schemas.microsoft.com/office/drawing/2014/main" xmlns="" id="{2111D647-B9AA-F34D-A13E-71A5E6E05DD9}"/>
              </a:ext>
            </a:extLst>
          </p:cNvPr>
          <p:cNvSpPr/>
          <p:nvPr/>
        </p:nvSpPr>
        <p:spPr>
          <a:xfrm>
            <a:off x="369328" y="3678857"/>
            <a:ext cx="3627228" cy="430887"/>
          </a:xfrm>
          <a:prstGeom prst="rect">
            <a:avLst/>
          </a:prstGeom>
        </p:spPr>
        <p:txBody>
          <a:bodyPr wrap="square">
            <a:spAutoFit/>
          </a:bodyPr>
          <a:lstStyle/>
          <a:p>
            <a:r>
              <a:rPr lang="es-CL" sz="2200" b="1" dirty="0">
                <a:solidFill>
                  <a:srgbClr val="0C662F"/>
                </a:solidFill>
                <a:latin typeface="ACHS Nueva Serif" pitchFamily="2" charset="77"/>
                <a:cs typeface="Calibri" panose="020F0502020204030204" pitchFamily="34" charset="0"/>
              </a:rPr>
              <a:t>¿Qué es la SILICOSIS?:</a:t>
            </a:r>
          </a:p>
        </p:txBody>
      </p:sp>
      <p:sp>
        <p:nvSpPr>
          <p:cNvPr id="9" name="Rectangle 3">
            <a:extLst>
              <a:ext uri="{FF2B5EF4-FFF2-40B4-BE49-F238E27FC236}">
                <a16:creationId xmlns:a16="http://schemas.microsoft.com/office/drawing/2014/main" xmlns="" id="{05FD0264-4568-734E-8B40-0B21E28F27DF}"/>
              </a:ext>
            </a:extLst>
          </p:cNvPr>
          <p:cNvSpPr/>
          <p:nvPr/>
        </p:nvSpPr>
        <p:spPr>
          <a:xfrm>
            <a:off x="4716636" y="2052290"/>
            <a:ext cx="9793459" cy="1323439"/>
          </a:xfrm>
          <a:prstGeom prst="rect">
            <a:avLst/>
          </a:prstGeom>
        </p:spPr>
        <p:txBody>
          <a:bodyPr wrap="square">
            <a:spAutoFit/>
          </a:bodyPr>
          <a:lstStyle/>
          <a:p>
            <a:pPr marL="12700" marR="5080">
              <a:lnSpc>
                <a:spcPct val="100000"/>
              </a:lnSpc>
            </a:pPr>
            <a:r>
              <a:rPr lang="es-CL" sz="2000" dirty="0">
                <a:latin typeface="ACHS Nueva Sans Medium" pitchFamily="2" charset="77"/>
                <a:cs typeface="Calibri" panose="020F0502020204030204" pitchFamily="34" charset="0"/>
              </a:rPr>
              <a:t>El polvo de sílice produce alteraciones fibrosas en los pulmones, que disminuyen la capacidad respiratoria porque el pulmón pierde elasticidad. Los alveolos se endurecen al ser reemplazados por callosidades </a:t>
            </a:r>
            <a:r>
              <a:rPr lang="es-CL" sz="2000" dirty="0" err="1">
                <a:latin typeface="ACHS Nueva Sans Medium" pitchFamily="2" charset="77"/>
                <a:cs typeface="Calibri" panose="020F0502020204030204" pitchFamily="34" charset="0"/>
              </a:rPr>
              <a:t>fibróticas</a:t>
            </a:r>
            <a:r>
              <a:rPr lang="es-CL" sz="2000" dirty="0">
                <a:latin typeface="ACHS Nueva Sans Medium" pitchFamily="2" charset="77"/>
                <a:cs typeface="Calibri" panose="020F0502020204030204" pitchFamily="34" charset="0"/>
              </a:rPr>
              <a:t>, y el enfermo se hace mas vulnerable a infecciones pulmonares y a tuberculosis.</a:t>
            </a:r>
          </a:p>
        </p:txBody>
      </p:sp>
      <p:sp>
        <p:nvSpPr>
          <p:cNvPr id="10" name="object 4">
            <a:extLst>
              <a:ext uri="{FF2B5EF4-FFF2-40B4-BE49-F238E27FC236}">
                <a16:creationId xmlns:a16="http://schemas.microsoft.com/office/drawing/2014/main" xmlns="" id="{76A79943-0DE1-164F-9E08-59DDA617CB7C}"/>
              </a:ext>
            </a:extLst>
          </p:cNvPr>
          <p:cNvSpPr/>
          <p:nvPr/>
        </p:nvSpPr>
        <p:spPr>
          <a:xfrm>
            <a:off x="7889686" y="3750188"/>
            <a:ext cx="4377055" cy="3657854"/>
          </a:xfrm>
          <a:prstGeom prst="rect">
            <a:avLst/>
          </a:prstGeom>
          <a:blipFill>
            <a:blip r:embed="rId4" cstate="print"/>
            <a:stretch>
              <a:fillRect/>
            </a:stretch>
          </a:blipFill>
        </p:spPr>
        <p:txBody>
          <a:bodyPr wrap="square" lIns="0" tIns="0" rIns="0" bIns="0" rtlCol="0"/>
          <a:lstStyle/>
          <a:p>
            <a:endParaRPr dirty="0"/>
          </a:p>
        </p:txBody>
      </p:sp>
      <p:sp>
        <p:nvSpPr>
          <p:cNvPr id="11" name="object 5">
            <a:extLst>
              <a:ext uri="{FF2B5EF4-FFF2-40B4-BE49-F238E27FC236}">
                <a16:creationId xmlns:a16="http://schemas.microsoft.com/office/drawing/2014/main" xmlns="" id="{B0A75CCC-A91A-0649-8542-E86D6B59A291}"/>
              </a:ext>
            </a:extLst>
          </p:cNvPr>
          <p:cNvSpPr/>
          <p:nvPr/>
        </p:nvSpPr>
        <p:spPr>
          <a:xfrm>
            <a:off x="7884988" y="3745425"/>
            <a:ext cx="4386580" cy="3667760"/>
          </a:xfrm>
          <a:custGeom>
            <a:avLst/>
            <a:gdLst/>
            <a:ahLst/>
            <a:cxnLst/>
            <a:rect l="l" t="t" r="r" b="b"/>
            <a:pathLst>
              <a:path w="4386580" h="3667760">
                <a:moveTo>
                  <a:pt x="0" y="3667379"/>
                </a:moveTo>
                <a:lnTo>
                  <a:pt x="4386580" y="3667379"/>
                </a:lnTo>
                <a:lnTo>
                  <a:pt x="4386580" y="0"/>
                </a:lnTo>
                <a:lnTo>
                  <a:pt x="0" y="0"/>
                </a:lnTo>
                <a:lnTo>
                  <a:pt x="0" y="3667379"/>
                </a:lnTo>
                <a:close/>
              </a:path>
            </a:pathLst>
          </a:custGeom>
          <a:ln w="9525">
            <a:solidFill>
              <a:srgbClr val="000000"/>
            </a:solidFill>
          </a:ln>
        </p:spPr>
        <p:txBody>
          <a:bodyPr wrap="square" lIns="0" tIns="0" rIns="0" bIns="0" rtlCol="0"/>
          <a:lstStyle/>
          <a:p>
            <a:endParaRPr dirty="0"/>
          </a:p>
        </p:txBody>
      </p:sp>
      <p:sp>
        <p:nvSpPr>
          <p:cNvPr id="12" name="object 6">
            <a:extLst>
              <a:ext uri="{FF2B5EF4-FFF2-40B4-BE49-F238E27FC236}">
                <a16:creationId xmlns:a16="http://schemas.microsoft.com/office/drawing/2014/main" xmlns="" id="{81F1FFEA-D137-374F-9890-F197D592669B}"/>
              </a:ext>
            </a:extLst>
          </p:cNvPr>
          <p:cNvSpPr txBox="1"/>
          <p:nvPr/>
        </p:nvSpPr>
        <p:spPr>
          <a:xfrm>
            <a:off x="8893100" y="7577161"/>
            <a:ext cx="2736304" cy="246221"/>
          </a:xfrm>
          <a:prstGeom prst="rect">
            <a:avLst/>
          </a:prstGeom>
        </p:spPr>
        <p:txBody>
          <a:bodyPr vert="horz" wrap="square" lIns="0" tIns="0" rIns="0" bIns="0" rtlCol="0" anchor="ctr">
            <a:spAutoFit/>
          </a:bodyPr>
          <a:lstStyle/>
          <a:p>
            <a:pPr marL="12700" algn="ctr">
              <a:lnSpc>
                <a:spcPct val="100000"/>
              </a:lnSpc>
            </a:pPr>
            <a:r>
              <a:rPr sz="1600" b="1" spc="300" dirty="0">
                <a:latin typeface="ACHS Nueva Sans ExtraBold" pitchFamily="2" charset="77"/>
                <a:cs typeface="Catamaran Light" panose="00000400000000000000" pitchFamily="2" charset="0"/>
              </a:rPr>
              <a:t>Pulmón con silicosis</a:t>
            </a:r>
          </a:p>
        </p:txBody>
      </p:sp>
    </p:spTree>
    <p:custDataLst>
      <p:tags r:id="rId1"/>
    </p:custDataLst>
    <p:extLst>
      <p:ext uri="{BB962C8B-B14F-4D97-AF65-F5344CB8AC3E}">
        <p14:creationId xmlns:p14="http://schemas.microsoft.com/office/powerpoint/2010/main" val="1145236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6">
            <a:extLst>
              <a:ext uri="{FF2B5EF4-FFF2-40B4-BE49-F238E27FC236}">
                <a16:creationId xmlns:a16="http://schemas.microsoft.com/office/drawing/2014/main" xmlns="" id="{5F5338C5-6BD1-4679-B0AA-8C7320C4CD2F}"/>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rial" pitchFamily="34" charset="0"/>
                <a:cs typeface="Arial" pitchFamily="34" charset="0"/>
              </a:rPr>
              <a:t>1</a:t>
            </a:r>
          </a:p>
        </p:txBody>
      </p:sp>
      <p:grpSp>
        <p:nvGrpSpPr>
          <p:cNvPr id="6" name="Grupo 5"/>
          <p:cNvGrpSpPr/>
          <p:nvPr/>
        </p:nvGrpSpPr>
        <p:grpSpPr>
          <a:xfrm>
            <a:off x="5220692" y="1605433"/>
            <a:ext cx="9721080" cy="6855569"/>
            <a:chOff x="5220692" y="1570263"/>
            <a:chExt cx="9721080" cy="6855569"/>
          </a:xfrm>
        </p:grpSpPr>
        <p:grpSp>
          <p:nvGrpSpPr>
            <p:cNvPr id="2" name="Grupo 1"/>
            <p:cNvGrpSpPr/>
            <p:nvPr/>
          </p:nvGrpSpPr>
          <p:grpSpPr>
            <a:xfrm>
              <a:off x="6210469" y="1801096"/>
              <a:ext cx="7741525" cy="6016921"/>
              <a:chOff x="6210469" y="1801096"/>
              <a:chExt cx="7741525" cy="6016921"/>
            </a:xfrm>
          </p:grpSpPr>
          <p:sp>
            <p:nvSpPr>
              <p:cNvPr id="13" name="object 4"/>
              <p:cNvSpPr/>
              <p:nvPr/>
            </p:nvSpPr>
            <p:spPr>
              <a:xfrm>
                <a:off x="6210469" y="2561433"/>
                <a:ext cx="7741525" cy="5256584"/>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4" name="object 5"/>
              <p:cNvSpPr/>
              <p:nvPr/>
            </p:nvSpPr>
            <p:spPr>
              <a:xfrm>
                <a:off x="8821043" y="3483463"/>
                <a:ext cx="2088514" cy="307975"/>
              </a:xfrm>
              <a:custGeom>
                <a:avLst/>
                <a:gdLst/>
                <a:ahLst/>
                <a:cxnLst/>
                <a:rect l="l" t="t" r="r" b="b"/>
                <a:pathLst>
                  <a:path w="2088514" h="307975">
                    <a:moveTo>
                      <a:pt x="0" y="307771"/>
                    </a:moveTo>
                    <a:lnTo>
                      <a:pt x="2088261" y="307771"/>
                    </a:lnTo>
                    <a:lnTo>
                      <a:pt x="2088261" y="0"/>
                    </a:lnTo>
                    <a:lnTo>
                      <a:pt x="0" y="0"/>
                    </a:lnTo>
                    <a:lnTo>
                      <a:pt x="0" y="307771"/>
                    </a:lnTo>
                    <a:close/>
                  </a:path>
                </a:pathLst>
              </a:custGeom>
              <a:solidFill>
                <a:srgbClr val="FFFFFF"/>
              </a:solidFill>
            </p:spPr>
            <p:txBody>
              <a:bodyPr wrap="square" lIns="0" tIns="0" rIns="0" bIns="0" rtlCol="0"/>
              <a:lstStyle/>
              <a:p>
                <a:endParaRPr dirty="0"/>
              </a:p>
            </p:txBody>
          </p:sp>
          <p:sp>
            <p:nvSpPr>
              <p:cNvPr id="16" name="object 6"/>
              <p:cNvSpPr txBox="1"/>
              <p:nvPr/>
            </p:nvSpPr>
            <p:spPr>
              <a:xfrm>
                <a:off x="7470525" y="2303484"/>
                <a:ext cx="1764024" cy="553998"/>
              </a:xfrm>
              <a:prstGeom prst="rect">
                <a:avLst/>
              </a:prstGeom>
            </p:spPr>
            <p:txBody>
              <a:bodyPr vert="horz" wrap="square" lIns="0" tIns="0" rIns="0" bIns="0" rtlCol="0">
                <a:spAutoFit/>
              </a:bodyPr>
              <a:lstStyle/>
              <a:p>
                <a:pPr marL="12700" algn="ctr">
                  <a:lnSpc>
                    <a:spcPct val="100000"/>
                  </a:lnSpc>
                </a:pPr>
                <a:r>
                  <a:rPr sz="1800" b="1" dirty="0">
                    <a:latin typeface="Calibri" panose="020F0502020204030204" pitchFamily="34" charset="0"/>
                    <a:cs typeface="Calibri" panose="020F0502020204030204" pitchFamily="34" charset="0"/>
                  </a:rPr>
                  <a:t>Sílice recién fracturada</a:t>
                </a:r>
              </a:p>
            </p:txBody>
          </p:sp>
          <p:sp>
            <p:nvSpPr>
              <p:cNvPr id="17" name="object 7"/>
              <p:cNvSpPr/>
              <p:nvPr/>
            </p:nvSpPr>
            <p:spPr>
              <a:xfrm>
                <a:off x="9109124" y="1801096"/>
                <a:ext cx="2206199" cy="1728192"/>
              </a:xfrm>
              <a:prstGeom prst="rect">
                <a:avLst/>
              </a:prstGeom>
              <a:blipFill>
                <a:blip r:embed="rId4" cstate="print"/>
                <a:stretch>
                  <a:fillRect/>
                </a:stretch>
              </a:blipFill>
            </p:spPr>
            <p:txBody>
              <a:bodyPr wrap="square" lIns="0" tIns="0" rIns="0" bIns="0" rtlCol="0"/>
              <a:lstStyle/>
              <a:p>
                <a:endParaRPr dirty="0"/>
              </a:p>
            </p:txBody>
          </p:sp>
          <p:sp>
            <p:nvSpPr>
              <p:cNvPr id="19" name="object 9"/>
              <p:cNvSpPr txBox="1"/>
              <p:nvPr/>
            </p:nvSpPr>
            <p:spPr>
              <a:xfrm>
                <a:off x="6471858" y="5044993"/>
                <a:ext cx="1822450" cy="553998"/>
              </a:xfrm>
              <a:prstGeom prst="rect">
                <a:avLst/>
              </a:prstGeom>
              <a:solidFill>
                <a:schemeClr val="bg1"/>
              </a:solidFill>
            </p:spPr>
            <p:txBody>
              <a:bodyPr vert="horz" wrap="square" lIns="0" tIns="0" rIns="0" bIns="0" rtlCol="0">
                <a:spAutoFit/>
              </a:bodyPr>
              <a:lstStyle/>
              <a:p>
                <a:pPr marL="12700" algn="ctr">
                  <a:lnSpc>
                    <a:spcPct val="100000"/>
                  </a:lnSpc>
                </a:pPr>
                <a:r>
                  <a:rPr sz="1800" b="1" dirty="0">
                    <a:latin typeface="Calibri" panose="020F0502020204030204" pitchFamily="34" charset="0"/>
                    <a:cs typeface="Calibri" panose="020F0502020204030204" pitchFamily="34" charset="0"/>
                  </a:rPr>
                  <a:t>Tamaño de la partícula</a:t>
                </a:r>
              </a:p>
            </p:txBody>
          </p:sp>
          <p:sp>
            <p:nvSpPr>
              <p:cNvPr id="20" name="object 10"/>
              <p:cNvSpPr/>
              <p:nvPr/>
            </p:nvSpPr>
            <p:spPr>
              <a:xfrm>
                <a:off x="12133435" y="5368077"/>
                <a:ext cx="1800225" cy="523240"/>
              </a:xfrm>
              <a:custGeom>
                <a:avLst/>
                <a:gdLst/>
                <a:ahLst/>
                <a:cxnLst/>
                <a:rect l="l" t="t" r="r" b="b"/>
                <a:pathLst>
                  <a:path w="1800225" h="523239">
                    <a:moveTo>
                      <a:pt x="0" y="523214"/>
                    </a:moveTo>
                    <a:lnTo>
                      <a:pt x="1800225" y="523214"/>
                    </a:lnTo>
                    <a:lnTo>
                      <a:pt x="1800225" y="0"/>
                    </a:lnTo>
                    <a:lnTo>
                      <a:pt x="0" y="0"/>
                    </a:lnTo>
                    <a:lnTo>
                      <a:pt x="0" y="523214"/>
                    </a:lnTo>
                    <a:close/>
                  </a:path>
                </a:pathLst>
              </a:custGeom>
              <a:solidFill>
                <a:srgbClr val="FFFFFF"/>
              </a:solidFill>
            </p:spPr>
            <p:txBody>
              <a:bodyPr wrap="square" lIns="0" tIns="0" rIns="0" bIns="0" rtlCol="0"/>
              <a:lstStyle/>
              <a:p>
                <a:endParaRPr dirty="0"/>
              </a:p>
            </p:txBody>
          </p:sp>
          <p:sp>
            <p:nvSpPr>
              <p:cNvPr id="21" name="object 11"/>
              <p:cNvSpPr txBox="1"/>
              <p:nvPr/>
            </p:nvSpPr>
            <p:spPr>
              <a:xfrm>
                <a:off x="11902614" y="5042937"/>
                <a:ext cx="2031046" cy="553998"/>
              </a:xfrm>
              <a:prstGeom prst="rect">
                <a:avLst/>
              </a:prstGeom>
              <a:solidFill>
                <a:schemeClr val="bg1"/>
              </a:solidFill>
            </p:spPr>
            <p:txBody>
              <a:bodyPr vert="horz" wrap="square" lIns="0" tIns="0" rIns="0" bIns="0" rtlCol="0">
                <a:spAutoFit/>
              </a:bodyPr>
              <a:lstStyle/>
              <a:p>
                <a:pPr marR="5080" algn="ctr">
                  <a:lnSpc>
                    <a:spcPct val="100000"/>
                  </a:lnSpc>
                </a:pPr>
                <a:r>
                  <a:rPr sz="1800" b="1" dirty="0">
                    <a:latin typeface="Calibri" panose="020F0502020204030204" pitchFamily="34" charset="0"/>
                    <a:cs typeface="Calibri" panose="020F0502020204030204" pitchFamily="34" charset="0"/>
                  </a:rPr>
                  <a:t>Concentración  ambiental</a:t>
                </a:r>
              </a:p>
            </p:txBody>
          </p:sp>
          <p:sp>
            <p:nvSpPr>
              <p:cNvPr id="23" name="object 13"/>
              <p:cNvSpPr txBox="1"/>
              <p:nvPr/>
            </p:nvSpPr>
            <p:spPr>
              <a:xfrm>
                <a:off x="11315323" y="7153261"/>
                <a:ext cx="2023805" cy="553998"/>
              </a:xfrm>
              <a:prstGeom prst="rect">
                <a:avLst/>
              </a:prstGeom>
              <a:solidFill>
                <a:schemeClr val="bg1"/>
              </a:solidFill>
            </p:spPr>
            <p:txBody>
              <a:bodyPr vert="horz" wrap="square" lIns="0" tIns="0" rIns="0" bIns="0" rtlCol="0">
                <a:spAutoFit/>
              </a:bodyPr>
              <a:lstStyle/>
              <a:p>
                <a:pPr marR="5080" algn="ctr">
                  <a:lnSpc>
                    <a:spcPct val="100000"/>
                  </a:lnSpc>
                </a:pPr>
                <a:r>
                  <a:rPr sz="1800" b="1" dirty="0">
                    <a:latin typeface="Calibri" panose="020F0502020204030204" pitchFamily="34" charset="0"/>
                    <a:cs typeface="Calibri" panose="020F0502020204030204" pitchFamily="34" charset="0"/>
                  </a:rPr>
                  <a:t>Susceptibilidad  individual</a:t>
                </a:r>
              </a:p>
            </p:txBody>
          </p:sp>
          <p:sp>
            <p:nvSpPr>
              <p:cNvPr id="24" name="object 15"/>
              <p:cNvSpPr txBox="1"/>
              <p:nvPr/>
            </p:nvSpPr>
            <p:spPr>
              <a:xfrm>
                <a:off x="6484101" y="7266949"/>
                <a:ext cx="2313917" cy="276999"/>
              </a:xfrm>
              <a:prstGeom prst="rect">
                <a:avLst/>
              </a:prstGeom>
              <a:solidFill>
                <a:schemeClr val="bg1"/>
              </a:solidFill>
            </p:spPr>
            <p:txBody>
              <a:bodyPr vert="horz" wrap="square" lIns="0" tIns="0" rIns="0" bIns="0" rtlCol="0">
                <a:spAutoFit/>
              </a:bodyPr>
              <a:lstStyle/>
              <a:p>
                <a:pPr marL="12700" algn="ctr">
                  <a:lnSpc>
                    <a:spcPct val="100000"/>
                  </a:lnSpc>
                </a:pPr>
                <a:r>
                  <a:rPr sz="1800" b="1" dirty="0">
                    <a:latin typeface="Calibri" panose="020F0502020204030204" pitchFamily="34" charset="0"/>
                    <a:cs typeface="Calibri" panose="020F0502020204030204" pitchFamily="34" charset="0"/>
                  </a:rPr>
                  <a:t>Tiempo de Exposición</a:t>
                </a:r>
              </a:p>
            </p:txBody>
          </p:sp>
        </p:grpSp>
        <p:sp>
          <p:nvSpPr>
            <p:cNvPr id="4" name="Rectángulo 3"/>
            <p:cNvSpPr/>
            <p:nvPr/>
          </p:nvSpPr>
          <p:spPr>
            <a:xfrm>
              <a:off x="5220692" y="1570263"/>
              <a:ext cx="9721080" cy="685556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26" name="Rectángulo 3">
            <a:extLst>
              <a:ext uri="{FF2B5EF4-FFF2-40B4-BE49-F238E27FC236}">
                <a16:creationId xmlns:a16="http://schemas.microsoft.com/office/drawing/2014/main" xmlns="" id="{7D9C5F56-3CE2-B046-8DFE-505DF43788A9}"/>
              </a:ext>
            </a:extLst>
          </p:cNvPr>
          <p:cNvSpPr/>
          <p:nvPr/>
        </p:nvSpPr>
        <p:spPr>
          <a:xfrm flipH="1">
            <a:off x="-2" y="-35942"/>
            <a:ext cx="3990325" cy="9037067"/>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p>
        </p:txBody>
      </p:sp>
      <p:pic>
        <p:nvPicPr>
          <p:cNvPr id="28" name="Imagen 5">
            <a:extLst>
              <a:ext uri="{FF2B5EF4-FFF2-40B4-BE49-F238E27FC236}">
                <a16:creationId xmlns:a16="http://schemas.microsoft.com/office/drawing/2014/main" xmlns="" id="{8D9FC5CE-4B5D-7543-998C-9D22EAD0614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9" name="Conector recto 6">
            <a:extLst>
              <a:ext uri="{FF2B5EF4-FFF2-40B4-BE49-F238E27FC236}">
                <a16:creationId xmlns:a16="http://schemas.microsoft.com/office/drawing/2014/main" xmlns="" id="{2A97B4BE-35C2-7A4E-BB45-8C38A3E1450D}"/>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30" name="Rectangle 29">
            <a:extLst>
              <a:ext uri="{FF2B5EF4-FFF2-40B4-BE49-F238E27FC236}">
                <a16:creationId xmlns:a16="http://schemas.microsoft.com/office/drawing/2014/main" xmlns="" id="{6627F375-8B5E-8547-8E51-A5EB1602A7A8}"/>
              </a:ext>
            </a:extLst>
          </p:cNvPr>
          <p:cNvSpPr/>
          <p:nvPr/>
        </p:nvSpPr>
        <p:spPr>
          <a:xfrm>
            <a:off x="527215" y="2268314"/>
            <a:ext cx="3316861" cy="1785104"/>
          </a:xfrm>
          <a:prstGeom prst="rect">
            <a:avLst/>
          </a:prstGeom>
        </p:spPr>
        <p:txBody>
          <a:bodyPr wrap="square">
            <a:spAutoFit/>
          </a:bodyPr>
          <a:lstStyle/>
          <a:p>
            <a:r>
              <a:rPr lang="es-CL" sz="2200" b="1" dirty="0">
                <a:solidFill>
                  <a:srgbClr val="0C662F"/>
                </a:solidFill>
                <a:latin typeface="ACHS Nueva Serif" pitchFamily="2" charset="77"/>
                <a:cs typeface="Calibri" panose="020F0502020204030204" pitchFamily="34" charset="0"/>
              </a:rPr>
              <a:t>Factores determinantes en el desarrollo de la enfermedad:</a:t>
            </a:r>
          </a:p>
          <a:p>
            <a:endParaRPr lang="es-CL" sz="2200" b="1" dirty="0">
              <a:solidFill>
                <a:srgbClr val="0C662F"/>
              </a:solidFill>
              <a:latin typeface="ACHS Nueva Serif" pitchFamily="2" charset="77"/>
              <a:cs typeface="Calibri" panose="020F0502020204030204" pitchFamily="34" charset="0"/>
            </a:endParaRPr>
          </a:p>
        </p:txBody>
      </p:sp>
      <p:sp>
        <p:nvSpPr>
          <p:cNvPr id="31" name="Rectangle 16">
            <a:extLst>
              <a:ext uri="{FF2B5EF4-FFF2-40B4-BE49-F238E27FC236}">
                <a16:creationId xmlns:a16="http://schemas.microsoft.com/office/drawing/2014/main" xmlns="" id="{F53D99A8-6349-1F4C-BD36-A825F48E11C9}"/>
              </a:ext>
            </a:extLst>
          </p:cNvPr>
          <p:cNvSpPr/>
          <p:nvPr/>
        </p:nvSpPr>
        <p:spPr>
          <a:xfrm>
            <a:off x="0" y="4492198"/>
            <a:ext cx="3996557" cy="4508927"/>
          </a:xfrm>
          <a:prstGeom prst="rect">
            <a:avLst/>
          </a:prstGeom>
        </p:spPr>
        <p:txBody>
          <a:bodyPr wrap="square">
            <a:spAutoFit/>
          </a:bodyPr>
          <a:lstStyle/>
          <a:p>
            <a:pPr algn="ctr"/>
            <a:r>
              <a:rPr lang="es-CL" sz="28700" b="1" dirty="0">
                <a:solidFill>
                  <a:srgbClr val="15C047"/>
                </a:solidFill>
                <a:latin typeface="ACHS Nueva Serif" pitchFamily="2" charset="77"/>
                <a:cs typeface="Arial" panose="020B0604020202020204" pitchFamily="34" charset="0"/>
              </a:rPr>
              <a:t>1</a:t>
            </a:r>
          </a:p>
        </p:txBody>
      </p:sp>
      <p:sp>
        <p:nvSpPr>
          <p:cNvPr id="3" name="Rectangle 2"/>
          <p:cNvSpPr/>
          <p:nvPr/>
        </p:nvSpPr>
        <p:spPr>
          <a:xfrm>
            <a:off x="828204" y="652049"/>
            <a:ext cx="3252623" cy="477054"/>
          </a:xfrm>
          <a:prstGeom prst="rect">
            <a:avLst/>
          </a:prstGeom>
        </p:spPr>
        <p:txBody>
          <a:bodyPr wrap="square">
            <a:spAutoFit/>
          </a:bodyPr>
          <a:lstStyle/>
          <a:p>
            <a:r>
              <a:rPr lang="es-CL" sz="2400" dirty="0">
                <a:solidFill>
                  <a:srgbClr val="15C047"/>
                </a:solidFill>
                <a:latin typeface="ACHS Nueva Sans Medium" pitchFamily="2" charset="77"/>
                <a:cs typeface="Calibri" panose="020F0502020204030204" pitchFamily="34" charset="0"/>
              </a:rPr>
              <a:t>Silicosis</a:t>
            </a:r>
          </a:p>
        </p:txBody>
      </p:sp>
    </p:spTree>
    <p:custDataLst>
      <p:tags r:id="rId1"/>
    </p:custDataLst>
    <p:extLst>
      <p:ext uri="{BB962C8B-B14F-4D97-AF65-F5344CB8AC3E}">
        <p14:creationId xmlns:p14="http://schemas.microsoft.com/office/powerpoint/2010/main" val="40045294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6">
            <a:extLst>
              <a:ext uri="{FF2B5EF4-FFF2-40B4-BE49-F238E27FC236}">
                <a16:creationId xmlns:a16="http://schemas.microsoft.com/office/drawing/2014/main" xmlns="" id="{5F5338C5-6BD1-4679-B0AA-8C7320C4CD2F}"/>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rial" pitchFamily="34" charset="0"/>
                <a:cs typeface="Arial" pitchFamily="34" charset="0"/>
              </a:rPr>
              <a:t>1</a:t>
            </a:r>
          </a:p>
        </p:txBody>
      </p:sp>
      <p:sp>
        <p:nvSpPr>
          <p:cNvPr id="26" name="Rectángulo 3">
            <a:extLst>
              <a:ext uri="{FF2B5EF4-FFF2-40B4-BE49-F238E27FC236}">
                <a16:creationId xmlns:a16="http://schemas.microsoft.com/office/drawing/2014/main" xmlns="" id="{7D9C5F56-3CE2-B046-8DFE-505DF43788A9}"/>
              </a:ext>
            </a:extLst>
          </p:cNvPr>
          <p:cNvSpPr/>
          <p:nvPr/>
        </p:nvSpPr>
        <p:spPr>
          <a:xfrm flipH="1">
            <a:off x="-2" y="-35942"/>
            <a:ext cx="3990325" cy="9037067"/>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400" dirty="0"/>
          </a:p>
        </p:txBody>
      </p:sp>
      <p:pic>
        <p:nvPicPr>
          <p:cNvPr id="28" name="Imagen 5">
            <a:extLst>
              <a:ext uri="{FF2B5EF4-FFF2-40B4-BE49-F238E27FC236}">
                <a16:creationId xmlns:a16="http://schemas.microsoft.com/office/drawing/2014/main" xmlns="" id="{8D9FC5CE-4B5D-7543-998C-9D22EAD0614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9" name="Conector recto 6">
            <a:extLst>
              <a:ext uri="{FF2B5EF4-FFF2-40B4-BE49-F238E27FC236}">
                <a16:creationId xmlns:a16="http://schemas.microsoft.com/office/drawing/2014/main" xmlns="" id="{2A97B4BE-35C2-7A4E-BB45-8C38A3E1450D}"/>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30" name="Rectangle 29">
            <a:extLst>
              <a:ext uri="{FF2B5EF4-FFF2-40B4-BE49-F238E27FC236}">
                <a16:creationId xmlns:a16="http://schemas.microsoft.com/office/drawing/2014/main" xmlns="" id="{6627F375-8B5E-8547-8E51-A5EB1602A7A8}"/>
              </a:ext>
            </a:extLst>
          </p:cNvPr>
          <p:cNvSpPr/>
          <p:nvPr/>
        </p:nvSpPr>
        <p:spPr>
          <a:xfrm>
            <a:off x="527215" y="2268314"/>
            <a:ext cx="3316861" cy="1107996"/>
          </a:xfrm>
          <a:prstGeom prst="rect">
            <a:avLst/>
          </a:prstGeom>
        </p:spPr>
        <p:txBody>
          <a:bodyPr wrap="square">
            <a:spAutoFit/>
          </a:bodyPr>
          <a:lstStyle/>
          <a:p>
            <a:r>
              <a:rPr lang="es-CL" sz="2200" b="1" dirty="0">
                <a:solidFill>
                  <a:srgbClr val="0C662F"/>
                </a:solidFill>
                <a:latin typeface="ACHS Nueva Sans ExtraBold" pitchFamily="2" charset="77"/>
                <a:cs typeface="Calibri" panose="020F0502020204030204" pitchFamily="34" charset="0"/>
              </a:rPr>
              <a:t>Se presenta en 3 formas clínicas:</a:t>
            </a:r>
          </a:p>
          <a:p>
            <a:endParaRPr lang="es-CL" sz="2200" b="1" dirty="0">
              <a:solidFill>
                <a:srgbClr val="0C662F"/>
              </a:solidFill>
              <a:latin typeface="ACHS Nueva Sans ExtraBold" pitchFamily="2" charset="77"/>
              <a:cs typeface="Calibri" panose="020F0502020204030204" pitchFamily="34" charset="0"/>
            </a:endParaRPr>
          </a:p>
        </p:txBody>
      </p:sp>
      <p:sp>
        <p:nvSpPr>
          <p:cNvPr id="31" name="Rectangle 16">
            <a:extLst>
              <a:ext uri="{FF2B5EF4-FFF2-40B4-BE49-F238E27FC236}">
                <a16:creationId xmlns:a16="http://schemas.microsoft.com/office/drawing/2014/main" xmlns="" id="{F53D99A8-6349-1F4C-BD36-A825F48E11C9}"/>
              </a:ext>
            </a:extLst>
          </p:cNvPr>
          <p:cNvSpPr/>
          <p:nvPr/>
        </p:nvSpPr>
        <p:spPr>
          <a:xfrm>
            <a:off x="0" y="4492198"/>
            <a:ext cx="3996557" cy="4508927"/>
          </a:xfrm>
          <a:prstGeom prst="rect">
            <a:avLst/>
          </a:prstGeom>
        </p:spPr>
        <p:txBody>
          <a:bodyPr wrap="square">
            <a:spAutoFit/>
          </a:bodyPr>
          <a:lstStyle/>
          <a:p>
            <a:pPr algn="ctr"/>
            <a:r>
              <a:rPr lang="es-CL" sz="28700" b="1" dirty="0">
                <a:solidFill>
                  <a:srgbClr val="15C047"/>
                </a:solidFill>
                <a:latin typeface="ACHS Nueva Serif" pitchFamily="2" charset="77"/>
                <a:cs typeface="Arial" panose="020B0604020202020204" pitchFamily="34" charset="0"/>
              </a:rPr>
              <a:t>1</a:t>
            </a:r>
          </a:p>
        </p:txBody>
      </p:sp>
      <p:sp>
        <p:nvSpPr>
          <p:cNvPr id="3" name="Rectangle 2"/>
          <p:cNvSpPr/>
          <p:nvPr/>
        </p:nvSpPr>
        <p:spPr>
          <a:xfrm>
            <a:off x="828204" y="652049"/>
            <a:ext cx="3252623" cy="477054"/>
          </a:xfrm>
          <a:prstGeom prst="rect">
            <a:avLst/>
          </a:prstGeom>
        </p:spPr>
        <p:txBody>
          <a:bodyPr wrap="square">
            <a:spAutoFit/>
          </a:bodyPr>
          <a:lstStyle/>
          <a:p>
            <a:r>
              <a:rPr lang="es-CL" sz="2500" dirty="0">
                <a:solidFill>
                  <a:srgbClr val="15C047"/>
                </a:solidFill>
                <a:latin typeface="ACHS Nueva Sans Medium" pitchFamily="2" charset="77"/>
                <a:cs typeface="Calibri" panose="020F0502020204030204" pitchFamily="34" charset="0"/>
              </a:rPr>
              <a:t>Silicosis</a:t>
            </a:r>
          </a:p>
        </p:txBody>
      </p:sp>
      <p:sp>
        <p:nvSpPr>
          <p:cNvPr id="22" name="Rectangle 3">
            <a:extLst>
              <a:ext uri="{FF2B5EF4-FFF2-40B4-BE49-F238E27FC236}">
                <a16:creationId xmlns:a16="http://schemas.microsoft.com/office/drawing/2014/main" xmlns="" id="{916C3F7F-7F47-2A48-845C-C23C0142692E}"/>
              </a:ext>
            </a:extLst>
          </p:cNvPr>
          <p:cNvSpPr/>
          <p:nvPr/>
        </p:nvSpPr>
        <p:spPr>
          <a:xfrm>
            <a:off x="4716637" y="2052290"/>
            <a:ext cx="10081119" cy="3477875"/>
          </a:xfrm>
          <a:prstGeom prst="rect">
            <a:avLst/>
          </a:prstGeom>
        </p:spPr>
        <p:txBody>
          <a:bodyPr wrap="square">
            <a:spAutoFit/>
          </a:bodyPr>
          <a:lstStyle/>
          <a:p>
            <a:pPr defTabSz="671513">
              <a:tabLst>
                <a:tab pos="2686050" algn="l"/>
              </a:tabLst>
            </a:pPr>
            <a:r>
              <a:rPr lang="es-ES" sz="2000" b="1" dirty="0">
                <a:solidFill>
                  <a:srgbClr val="15C047"/>
                </a:solidFill>
                <a:latin typeface="ACHS Nueva Sans SemiBold" pitchFamily="2" charset="77"/>
                <a:cs typeface="Calibri" panose="020F0502020204030204" pitchFamily="34" charset="0"/>
              </a:rPr>
              <a:t>Silicosis Crónica: </a:t>
            </a:r>
            <a:r>
              <a:rPr lang="es-ES" sz="2000" dirty="0">
                <a:latin typeface="ACHS Nueva Sans Medium" pitchFamily="2" charset="77"/>
                <a:cs typeface="Calibri" panose="020F0502020204030204" pitchFamily="34" charset="0"/>
              </a:rPr>
              <a:t>	Aparece después de 10 o más años de exposición 		polvo respirable con &lt; 30% de sílice.</a:t>
            </a:r>
          </a:p>
          <a:p>
            <a:pPr defTabSz="671513">
              <a:tabLst>
                <a:tab pos="2686050" algn="l"/>
              </a:tabLst>
            </a:pPr>
            <a:endParaRPr lang="es-ES" sz="2000" dirty="0">
              <a:latin typeface="ACHS Nueva Sans Medium" pitchFamily="2" charset="77"/>
              <a:cs typeface="Calibri" panose="020F0502020204030204" pitchFamily="34" charset="0"/>
            </a:endParaRPr>
          </a:p>
          <a:p>
            <a:pPr defTabSz="671513">
              <a:tabLst>
                <a:tab pos="2686050" algn="l"/>
              </a:tabLst>
            </a:pPr>
            <a:endParaRPr lang="es-ES" sz="2000" dirty="0">
              <a:latin typeface="ACHS Nueva Sans Medium" pitchFamily="2" charset="77"/>
              <a:cs typeface="Calibri" panose="020F0502020204030204" pitchFamily="34" charset="0"/>
            </a:endParaRPr>
          </a:p>
          <a:p>
            <a:pPr defTabSz="671513">
              <a:tabLst>
                <a:tab pos="2686050" algn="l"/>
              </a:tabLst>
            </a:pPr>
            <a:r>
              <a:rPr lang="es-ES" sz="2000" b="1" dirty="0">
                <a:solidFill>
                  <a:srgbClr val="15C047"/>
                </a:solidFill>
                <a:latin typeface="ACHS Nueva Sans SemiBold" pitchFamily="2" charset="77"/>
                <a:cs typeface="Calibri" panose="020F0502020204030204" pitchFamily="34" charset="0"/>
              </a:rPr>
              <a:t>Silicosis Acelerada:  </a:t>
            </a:r>
            <a:r>
              <a:rPr lang="es-ES" sz="2000" dirty="0">
                <a:latin typeface="ACHS Nueva Sans Medium" pitchFamily="2" charset="77"/>
                <a:cs typeface="Calibri" panose="020F0502020204030204" pitchFamily="34" charset="0"/>
              </a:rPr>
              <a:t>	Se presenta después de exposiciones cortas pero 		intensas, 5 a 10 años.</a:t>
            </a:r>
          </a:p>
          <a:p>
            <a:pPr defTabSz="671513">
              <a:tabLst>
                <a:tab pos="2686050" algn="l"/>
              </a:tabLst>
            </a:pPr>
            <a:endParaRPr lang="es-ES" sz="2000" dirty="0">
              <a:latin typeface="ACHS Nueva Sans Medium" pitchFamily="2" charset="77"/>
              <a:cs typeface="Calibri" panose="020F0502020204030204" pitchFamily="34" charset="0"/>
            </a:endParaRPr>
          </a:p>
          <a:p>
            <a:pPr defTabSz="671513">
              <a:tabLst>
                <a:tab pos="2686050" algn="l"/>
              </a:tabLst>
            </a:pPr>
            <a:endParaRPr lang="es-ES" sz="2000" dirty="0">
              <a:latin typeface="ACHS Nueva Sans Medium" pitchFamily="2" charset="77"/>
              <a:cs typeface="Calibri" panose="020F0502020204030204" pitchFamily="34" charset="0"/>
            </a:endParaRPr>
          </a:p>
          <a:p>
            <a:pPr defTabSz="671513">
              <a:tabLst>
                <a:tab pos="2686050" algn="l"/>
              </a:tabLst>
            </a:pPr>
            <a:r>
              <a:rPr lang="es-ES" sz="2000" b="1" dirty="0">
                <a:solidFill>
                  <a:srgbClr val="15C047"/>
                </a:solidFill>
                <a:latin typeface="ACHS Nueva Sans SemiBold" pitchFamily="2" charset="77"/>
                <a:cs typeface="Calibri" panose="020F0502020204030204" pitchFamily="34" charset="0"/>
              </a:rPr>
              <a:t>Silicosis Aguda: </a:t>
            </a:r>
            <a:r>
              <a:rPr lang="es-ES" sz="2000" dirty="0">
                <a:latin typeface="ACHS Nueva Sans Medium" pitchFamily="2" charset="77"/>
                <a:cs typeface="Calibri" panose="020F0502020204030204" pitchFamily="34" charset="0"/>
              </a:rPr>
              <a:t>	Se presenta después de exposiciones muy intensas. </a:t>
            </a:r>
            <a:r>
              <a:rPr lang="es-ES" sz="2000" dirty="0">
                <a:solidFill>
                  <a:schemeClr val="bg1"/>
                </a:solidFill>
                <a:latin typeface="ACHS Nueva Sans Medium" pitchFamily="2" charset="77"/>
                <a:cs typeface="Calibri" panose="020F0502020204030204" pitchFamily="34" charset="0"/>
              </a:rPr>
              <a:t>El </a:t>
            </a:r>
            <a:r>
              <a:rPr lang="es-ES" sz="2000" dirty="0">
                <a:latin typeface="ACHS Nueva Sans Medium" pitchFamily="2" charset="77"/>
                <a:cs typeface="Calibri" panose="020F0502020204030204" pitchFamily="34" charset="0"/>
              </a:rPr>
              <a:t>		El período de latencia es  de semanas a 5 años.</a:t>
            </a:r>
          </a:p>
          <a:p>
            <a:pPr algn="just"/>
            <a:endParaRPr lang="es-CL" sz="2000" dirty="0" err="1">
              <a:latin typeface="ACHS Nueva Sans Medium" pitchFamily="2" charset="77"/>
              <a:cs typeface="Calibri" panose="020F0502020204030204" pitchFamily="34" charset="0"/>
            </a:endParaRPr>
          </a:p>
        </p:txBody>
      </p:sp>
    </p:spTree>
    <p:custDataLst>
      <p:tags r:id="rId1"/>
    </p:custDataLst>
    <p:extLst>
      <p:ext uri="{BB962C8B-B14F-4D97-AF65-F5344CB8AC3E}">
        <p14:creationId xmlns:p14="http://schemas.microsoft.com/office/powerpoint/2010/main" val="15844437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ángulo 3">
            <a:extLst>
              <a:ext uri="{FF2B5EF4-FFF2-40B4-BE49-F238E27FC236}">
                <a16:creationId xmlns:a16="http://schemas.microsoft.com/office/drawing/2014/main" xmlns="" id="{7D9C5F56-3CE2-B046-8DFE-505DF43788A9}"/>
              </a:ext>
            </a:extLst>
          </p:cNvPr>
          <p:cNvSpPr/>
          <p:nvPr/>
        </p:nvSpPr>
        <p:spPr>
          <a:xfrm flipH="1">
            <a:off x="-2" y="-35942"/>
            <a:ext cx="3990325" cy="9037067"/>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p>
        </p:txBody>
      </p:sp>
      <p:sp>
        <p:nvSpPr>
          <p:cNvPr id="31" name="Rectangle 16">
            <a:extLst>
              <a:ext uri="{FF2B5EF4-FFF2-40B4-BE49-F238E27FC236}">
                <a16:creationId xmlns:a16="http://schemas.microsoft.com/office/drawing/2014/main" xmlns="" id="{F53D99A8-6349-1F4C-BD36-A825F48E11C9}"/>
              </a:ext>
            </a:extLst>
          </p:cNvPr>
          <p:cNvSpPr/>
          <p:nvPr/>
        </p:nvSpPr>
        <p:spPr>
          <a:xfrm>
            <a:off x="0" y="4492198"/>
            <a:ext cx="3996557" cy="4508927"/>
          </a:xfrm>
          <a:prstGeom prst="rect">
            <a:avLst/>
          </a:prstGeom>
        </p:spPr>
        <p:txBody>
          <a:bodyPr wrap="square">
            <a:spAutoFit/>
          </a:bodyPr>
          <a:lstStyle/>
          <a:p>
            <a:pPr algn="ctr"/>
            <a:r>
              <a:rPr lang="es-CL" sz="28700" b="1" dirty="0">
                <a:solidFill>
                  <a:srgbClr val="15C047"/>
                </a:solidFill>
                <a:latin typeface="ACHS Nueva Serif" pitchFamily="2" charset="77"/>
                <a:cs typeface="Arial" panose="020B0604020202020204" pitchFamily="34" charset="0"/>
              </a:rPr>
              <a:t>1</a:t>
            </a:r>
          </a:p>
        </p:txBody>
      </p:sp>
      <p:pic>
        <p:nvPicPr>
          <p:cNvPr id="28" name="Imagen 5">
            <a:extLst>
              <a:ext uri="{FF2B5EF4-FFF2-40B4-BE49-F238E27FC236}">
                <a16:creationId xmlns:a16="http://schemas.microsoft.com/office/drawing/2014/main" xmlns="" id="{8D9FC5CE-4B5D-7543-998C-9D22EAD0614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9" name="Conector recto 6">
            <a:extLst>
              <a:ext uri="{FF2B5EF4-FFF2-40B4-BE49-F238E27FC236}">
                <a16:creationId xmlns:a16="http://schemas.microsoft.com/office/drawing/2014/main" xmlns="" id="{2A97B4BE-35C2-7A4E-BB45-8C38A3E1450D}"/>
              </a:ext>
            </a:extLst>
          </p:cNvPr>
          <p:cNvCxnSpPr/>
          <p:nvPr/>
        </p:nvCxnSpPr>
        <p:spPr>
          <a:xfrm>
            <a:off x="671737" y="477225"/>
            <a:ext cx="2138199"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30" name="Rectangle 29">
            <a:extLst>
              <a:ext uri="{FF2B5EF4-FFF2-40B4-BE49-F238E27FC236}">
                <a16:creationId xmlns:a16="http://schemas.microsoft.com/office/drawing/2014/main" xmlns="" id="{6627F375-8B5E-8547-8E51-A5EB1602A7A8}"/>
              </a:ext>
            </a:extLst>
          </p:cNvPr>
          <p:cNvSpPr/>
          <p:nvPr/>
        </p:nvSpPr>
        <p:spPr>
          <a:xfrm>
            <a:off x="527215" y="2268314"/>
            <a:ext cx="3316861" cy="1785104"/>
          </a:xfrm>
          <a:prstGeom prst="rect">
            <a:avLst/>
          </a:prstGeom>
        </p:spPr>
        <p:txBody>
          <a:bodyPr wrap="square">
            <a:spAutoFit/>
          </a:bodyPr>
          <a:lstStyle/>
          <a:p>
            <a:r>
              <a:rPr lang="es-CL" sz="2200" b="1" dirty="0">
                <a:solidFill>
                  <a:srgbClr val="0C662F"/>
                </a:solidFill>
                <a:latin typeface="ACHS Nueva Serif" pitchFamily="2" charset="77"/>
                <a:cs typeface="Catamaran Light" panose="00000400000000000000" pitchFamily="2" charset="0"/>
              </a:rPr>
              <a:t>D.S. N° 594: “Establece en Art. N° 66 los límites permisibles ponderados (LPP)”:</a:t>
            </a:r>
          </a:p>
          <a:p>
            <a:endParaRPr lang="es-CL" sz="2200" b="1" dirty="0">
              <a:solidFill>
                <a:srgbClr val="0C662F"/>
              </a:solidFill>
              <a:latin typeface="ACHS Nueva Serif" pitchFamily="2" charset="77"/>
              <a:cs typeface="Calibri" panose="020F0502020204030204" pitchFamily="34" charset="0"/>
            </a:endParaRPr>
          </a:p>
        </p:txBody>
      </p:sp>
      <p:sp>
        <p:nvSpPr>
          <p:cNvPr id="12" name="Rectangle 11">
            <a:extLst>
              <a:ext uri="{FF2B5EF4-FFF2-40B4-BE49-F238E27FC236}">
                <a16:creationId xmlns:a16="http://schemas.microsoft.com/office/drawing/2014/main" xmlns="" id="{F0742317-CB3C-494C-8FFD-24D1E7C4DA72}"/>
              </a:ext>
            </a:extLst>
          </p:cNvPr>
          <p:cNvSpPr/>
          <p:nvPr/>
        </p:nvSpPr>
        <p:spPr>
          <a:xfrm>
            <a:off x="828204" y="647737"/>
            <a:ext cx="3162120" cy="861774"/>
          </a:xfrm>
          <a:prstGeom prst="rect">
            <a:avLst/>
          </a:prstGeom>
        </p:spPr>
        <p:txBody>
          <a:bodyPr wrap="square">
            <a:spAutoFit/>
          </a:bodyPr>
          <a:lstStyle/>
          <a:p>
            <a:r>
              <a:rPr lang="es-CL" sz="2400" dirty="0">
                <a:solidFill>
                  <a:srgbClr val="15C047"/>
                </a:solidFill>
                <a:latin typeface="ACHS Nueva Sans Medium" pitchFamily="2" charset="77"/>
                <a:cs typeface="Catamaran SemiBold" panose="00000700000000000000" pitchFamily="2" charset="0"/>
              </a:rPr>
              <a:t>Limites de exposición en Chile</a:t>
            </a:r>
          </a:p>
        </p:txBody>
      </p:sp>
      <p:sp>
        <p:nvSpPr>
          <p:cNvPr id="16" name="object 6">
            <a:extLst>
              <a:ext uri="{FF2B5EF4-FFF2-40B4-BE49-F238E27FC236}">
                <a16:creationId xmlns:a16="http://schemas.microsoft.com/office/drawing/2014/main" xmlns="" id="{0E7877EB-7C50-FD49-B13A-E37888BE1E5A}"/>
              </a:ext>
            </a:extLst>
          </p:cNvPr>
          <p:cNvSpPr txBox="1"/>
          <p:nvPr/>
        </p:nvSpPr>
        <p:spPr>
          <a:xfrm>
            <a:off x="4524082" y="7225562"/>
            <a:ext cx="7153860" cy="584775"/>
          </a:xfrm>
          <a:prstGeom prst="rect">
            <a:avLst/>
          </a:prstGeom>
        </p:spPr>
        <p:txBody>
          <a:bodyPr vert="horz" wrap="square" lIns="0" tIns="0" rIns="0" bIns="0" rtlCol="0">
            <a:spAutoFit/>
          </a:bodyPr>
          <a:lstStyle/>
          <a:p>
            <a:pPr marL="87313" marR="5080">
              <a:spcBef>
                <a:spcPts val="600"/>
              </a:spcBef>
              <a:spcAft>
                <a:spcPts val="600"/>
              </a:spcAft>
              <a:tabLst>
                <a:tab pos="227013" algn="l"/>
                <a:tab pos="1800225" algn="l"/>
              </a:tabLst>
            </a:pPr>
            <a:r>
              <a:rPr lang="es-CL" sz="1400" dirty="0">
                <a:latin typeface="ACHS Nueva Sans Medium" pitchFamily="2" charset="77"/>
                <a:cs typeface="Catamaran Light" panose="00000400000000000000" pitchFamily="2" charset="0"/>
              </a:rPr>
              <a:t>*: Definidos para jornadas de 45 </a:t>
            </a:r>
            <a:r>
              <a:rPr lang="es-CL" sz="1400" dirty="0" err="1">
                <a:latin typeface="ACHS Nueva Sans Medium" pitchFamily="2" charset="77"/>
                <a:cs typeface="Catamaran Light" panose="00000400000000000000" pitchFamily="2" charset="0"/>
              </a:rPr>
              <a:t>hrs</a:t>
            </a:r>
            <a:r>
              <a:rPr lang="es-CL" sz="1400" dirty="0">
                <a:latin typeface="ACHS Nueva Sans Medium" pitchFamily="2" charset="77"/>
                <a:cs typeface="Catamaran Light" panose="00000400000000000000" pitchFamily="2" charset="0"/>
              </a:rPr>
              <a:t>. semanales  y hasta 1.000 </a:t>
            </a:r>
            <a:r>
              <a:rPr lang="es-CL" sz="1400" dirty="0" err="1">
                <a:latin typeface="ACHS Nueva Sans Medium" pitchFamily="2" charset="77"/>
                <a:cs typeface="Catamaran Light" panose="00000400000000000000" pitchFamily="2" charset="0"/>
              </a:rPr>
              <a:t>m.s.n.m</a:t>
            </a:r>
            <a:endParaRPr lang="es-CL" sz="1400" dirty="0">
              <a:latin typeface="ACHS Nueva Sans Medium" pitchFamily="2" charset="77"/>
              <a:cs typeface="Catamaran Light" panose="00000400000000000000" pitchFamily="2" charset="0"/>
            </a:endParaRPr>
          </a:p>
          <a:p>
            <a:pPr marL="87313">
              <a:spcBef>
                <a:spcPts val="600"/>
              </a:spcBef>
              <a:spcAft>
                <a:spcPts val="600"/>
              </a:spcAft>
            </a:pPr>
            <a:r>
              <a:rPr lang="es-CL" sz="1400" dirty="0">
                <a:latin typeface="ACHS Nueva Sans Medium" pitchFamily="2" charset="77"/>
                <a:cs typeface="Catamaran Light" panose="00000400000000000000" pitchFamily="2" charset="0"/>
              </a:rPr>
              <a:t>Nota: La sílice es reconocida por la IARC con agente cancerígeno.</a:t>
            </a:r>
          </a:p>
        </p:txBody>
      </p:sp>
      <p:pic>
        <p:nvPicPr>
          <p:cNvPr id="17" name="10 Imagen">
            <a:extLst>
              <a:ext uri="{FF2B5EF4-FFF2-40B4-BE49-F238E27FC236}">
                <a16:creationId xmlns:a16="http://schemas.microsoft.com/office/drawing/2014/main" xmlns="" id="{D8AA585A-B5F1-C94B-A65A-B064AB4A1CB8}"/>
              </a:ext>
            </a:extLst>
          </p:cNvPr>
          <p:cNvPicPr/>
          <p:nvPr/>
        </p:nvPicPr>
        <p:blipFill rotWithShape="1">
          <a:blip r:embed="rId4" cstate="screen">
            <a:extLst>
              <a:ext uri="{28A0092B-C50C-407E-A947-70E740481C1C}">
                <a14:useLocalDpi xmlns:a14="http://schemas.microsoft.com/office/drawing/2010/main"/>
              </a:ext>
            </a:extLst>
          </a:blip>
          <a:srcRect/>
          <a:stretch/>
        </p:blipFill>
        <p:spPr bwMode="auto">
          <a:xfrm>
            <a:off x="11341372" y="2052722"/>
            <a:ext cx="4392341" cy="3888000"/>
          </a:xfrm>
          <a:prstGeom prst="rect">
            <a:avLst/>
          </a:prstGeom>
          <a:ln>
            <a:noFill/>
          </a:ln>
          <a:extLst>
            <a:ext uri="{53640926-AAD7-44D8-BBD7-CCE9431645EC}">
              <a14:shadowObscured xmlns:a14="http://schemas.microsoft.com/office/drawing/2010/main"/>
            </a:ext>
          </a:extLst>
        </p:spPr>
      </p:pic>
      <p:pic>
        <p:nvPicPr>
          <p:cNvPr id="39" name="Picture 38">
            <a:extLst>
              <a:ext uri="{FF2B5EF4-FFF2-40B4-BE49-F238E27FC236}">
                <a16:creationId xmlns:a16="http://schemas.microsoft.com/office/drawing/2014/main" xmlns="" id="{E4C8AFB6-FC78-F74C-8BCE-F1C0F82F0C8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298841" y="1316718"/>
            <a:ext cx="6727778" cy="5908844"/>
          </a:xfrm>
          <a:prstGeom prst="rect">
            <a:avLst/>
          </a:prstGeom>
        </p:spPr>
      </p:pic>
    </p:spTree>
    <p:custDataLst>
      <p:tags r:id="rId1"/>
    </p:custDataLst>
    <p:extLst>
      <p:ext uri="{BB962C8B-B14F-4D97-AF65-F5344CB8AC3E}">
        <p14:creationId xmlns:p14="http://schemas.microsoft.com/office/powerpoint/2010/main" val="3482210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ángulo 3">
            <a:extLst>
              <a:ext uri="{FF2B5EF4-FFF2-40B4-BE49-F238E27FC236}">
                <a16:creationId xmlns:a16="http://schemas.microsoft.com/office/drawing/2014/main" xmlns="" id="{1C9A8E25-1360-674F-B1DA-BF3A6C375D2E}"/>
              </a:ext>
            </a:extLst>
          </p:cNvPr>
          <p:cNvSpPr/>
          <p:nvPr/>
        </p:nvSpPr>
        <p:spPr>
          <a:xfrm flipH="1">
            <a:off x="-2" y="-35942"/>
            <a:ext cx="3990325" cy="9037067"/>
          </a:xfrm>
          <a:prstGeom prst="rect">
            <a:avLst/>
          </a:prstGeom>
          <a:solidFill>
            <a:srgbClr val="15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3675" dirty="0">
              <a:solidFill>
                <a:srgbClr val="15C047"/>
              </a:solidFill>
            </a:endParaRPr>
          </a:p>
        </p:txBody>
      </p:sp>
      <p:sp>
        <p:nvSpPr>
          <p:cNvPr id="3" name="Rectangle 2"/>
          <p:cNvSpPr/>
          <p:nvPr/>
        </p:nvSpPr>
        <p:spPr>
          <a:xfrm>
            <a:off x="737117" y="714542"/>
            <a:ext cx="3252623" cy="861774"/>
          </a:xfrm>
          <a:prstGeom prst="rect">
            <a:avLst/>
          </a:prstGeom>
        </p:spPr>
        <p:txBody>
          <a:bodyPr wrap="square">
            <a:spAutoFit/>
          </a:bodyPr>
          <a:lstStyle/>
          <a:p>
            <a:r>
              <a:rPr lang="es-CL" sz="2400" dirty="0">
                <a:solidFill>
                  <a:schemeClr val="bg1"/>
                </a:solidFill>
                <a:latin typeface="ACHS Nueva Sans Medium" pitchFamily="2" charset="77"/>
                <a:cs typeface="Calibri" panose="020F0502020204030204" pitchFamily="34" charset="0"/>
              </a:rPr>
              <a:t>Control de la exposición</a:t>
            </a:r>
          </a:p>
        </p:txBody>
      </p:sp>
      <p:sp>
        <p:nvSpPr>
          <p:cNvPr id="12" name="Rectangle 3">
            <a:extLst>
              <a:ext uri="{FF2B5EF4-FFF2-40B4-BE49-F238E27FC236}">
                <a16:creationId xmlns:a16="http://schemas.microsoft.com/office/drawing/2014/main" xmlns="" id="{039D6DF0-F6C2-4FDF-BD2C-8F42D7955B77}"/>
              </a:ext>
            </a:extLst>
          </p:cNvPr>
          <p:cNvSpPr/>
          <p:nvPr/>
        </p:nvSpPr>
        <p:spPr>
          <a:xfrm>
            <a:off x="4716637" y="2268314"/>
            <a:ext cx="6048671" cy="1323439"/>
          </a:xfrm>
          <a:prstGeom prst="rect">
            <a:avLst/>
          </a:prstGeom>
        </p:spPr>
        <p:txBody>
          <a:bodyPr wrap="square">
            <a:spAutoFit/>
          </a:bodyPr>
          <a:lstStyle/>
          <a:p>
            <a:r>
              <a:rPr lang="es-ES" sz="2000" b="1" dirty="0">
                <a:solidFill>
                  <a:srgbClr val="15C047"/>
                </a:solidFill>
                <a:latin typeface="ACHS Nueva Sans SemiBold" pitchFamily="2" charset="77"/>
                <a:cs typeface="Calibri" panose="020F0502020204030204" pitchFamily="34" charset="0"/>
              </a:rPr>
              <a:t>Humectación:  </a:t>
            </a:r>
          </a:p>
          <a:p>
            <a:endParaRPr lang="es-ES" sz="2000" dirty="0">
              <a:latin typeface="ACHS Nueva Sans Medium" pitchFamily="2" charset="77"/>
              <a:cs typeface="Calibri" panose="020F0502020204030204" pitchFamily="34" charset="0"/>
            </a:endParaRPr>
          </a:p>
          <a:p>
            <a:r>
              <a:rPr lang="es-CL" sz="2000" dirty="0">
                <a:latin typeface="ACHS Nueva Sans Medium" pitchFamily="2" charset="77"/>
                <a:cs typeface="Calibri" panose="020F0502020204030204" pitchFamily="34" charset="0"/>
              </a:rPr>
              <a:t>Utilizar máquinas portátiles para corte, pulido y desbaste con sistema de proyección de agua.</a:t>
            </a:r>
            <a:endParaRPr lang="es-ES" sz="2000" dirty="0">
              <a:latin typeface="ACHS Nueva Sans Medium" pitchFamily="2" charset="77"/>
              <a:cs typeface="Calibri" panose="020F0502020204030204" pitchFamily="34" charset="0"/>
            </a:endParaRPr>
          </a:p>
        </p:txBody>
      </p:sp>
      <p:sp>
        <p:nvSpPr>
          <p:cNvPr id="13" name="object 6"/>
          <p:cNvSpPr/>
          <p:nvPr/>
        </p:nvSpPr>
        <p:spPr>
          <a:xfrm>
            <a:off x="10909324" y="2268314"/>
            <a:ext cx="3559391" cy="2448272"/>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4" name="Rectangle 3">
            <a:extLst>
              <a:ext uri="{FF2B5EF4-FFF2-40B4-BE49-F238E27FC236}">
                <a16:creationId xmlns:a16="http://schemas.microsoft.com/office/drawing/2014/main" xmlns="" id="{039D6DF0-F6C2-4FDF-BD2C-8F42D7955B77}"/>
              </a:ext>
            </a:extLst>
          </p:cNvPr>
          <p:cNvSpPr/>
          <p:nvPr/>
        </p:nvSpPr>
        <p:spPr>
          <a:xfrm>
            <a:off x="7956996" y="5580682"/>
            <a:ext cx="6480719" cy="1323439"/>
          </a:xfrm>
          <a:prstGeom prst="rect">
            <a:avLst/>
          </a:prstGeom>
        </p:spPr>
        <p:txBody>
          <a:bodyPr wrap="square">
            <a:spAutoFit/>
          </a:bodyPr>
          <a:lstStyle/>
          <a:p>
            <a:r>
              <a:rPr lang="es-ES" sz="2000" b="1" dirty="0">
                <a:solidFill>
                  <a:srgbClr val="15C047"/>
                </a:solidFill>
                <a:latin typeface="ACHS Nueva Sans SemiBold" pitchFamily="2" charset="77"/>
                <a:cs typeface="Calibri" panose="020F0502020204030204" pitchFamily="34" charset="0"/>
              </a:rPr>
              <a:t>Extracción de Aire:   </a:t>
            </a:r>
          </a:p>
          <a:p>
            <a:endParaRPr lang="es-ES" sz="2000" dirty="0">
              <a:latin typeface="ACHS Nueva Sans Medium" pitchFamily="2" charset="77"/>
              <a:cs typeface="Calibri" panose="020F0502020204030204" pitchFamily="34" charset="0"/>
            </a:endParaRPr>
          </a:p>
          <a:p>
            <a:pPr marL="12700" marR="5080">
              <a:lnSpc>
                <a:spcPct val="100000"/>
              </a:lnSpc>
            </a:pPr>
            <a:r>
              <a:rPr lang="es-CL" sz="2000" dirty="0">
                <a:latin typeface="ACHS Nueva Sans Medium" pitchFamily="2" charset="77"/>
                <a:cs typeface="Calibri" panose="020F0502020204030204" pitchFamily="34" charset="0"/>
              </a:rPr>
              <a:t>Equipos/sistemas que permitan captar el polvo en forma localizada.</a:t>
            </a:r>
          </a:p>
        </p:txBody>
      </p:sp>
      <p:sp>
        <p:nvSpPr>
          <p:cNvPr id="16" name="object 10"/>
          <p:cNvSpPr/>
          <p:nvPr/>
        </p:nvSpPr>
        <p:spPr>
          <a:xfrm>
            <a:off x="5275277" y="5436666"/>
            <a:ext cx="2177663" cy="2376264"/>
          </a:xfrm>
          <a:prstGeom prst="rect">
            <a:avLst/>
          </a:prstGeom>
          <a:blipFill>
            <a:blip r:embed="rId4" cstate="print"/>
            <a:stretch>
              <a:fillRect/>
            </a:stretch>
          </a:blipFill>
        </p:spPr>
        <p:txBody>
          <a:bodyPr wrap="square" lIns="0" tIns="0" rIns="0" bIns="0" rtlCol="0"/>
          <a:lstStyle/>
          <a:p>
            <a:endParaRPr/>
          </a:p>
        </p:txBody>
      </p:sp>
      <p:pic>
        <p:nvPicPr>
          <p:cNvPr id="25" name="Imagen 5">
            <a:extLst>
              <a:ext uri="{FF2B5EF4-FFF2-40B4-BE49-F238E27FC236}">
                <a16:creationId xmlns:a16="http://schemas.microsoft.com/office/drawing/2014/main" xmlns="" id="{4173EEE6-756A-B14C-8803-67B65141EE3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853839" y="652050"/>
            <a:ext cx="1627018" cy="664668"/>
          </a:xfrm>
          <a:prstGeom prst="rect">
            <a:avLst/>
          </a:prstGeom>
        </p:spPr>
      </p:pic>
      <p:cxnSp>
        <p:nvCxnSpPr>
          <p:cNvPr id="26" name="Conector recto 6">
            <a:extLst>
              <a:ext uri="{FF2B5EF4-FFF2-40B4-BE49-F238E27FC236}">
                <a16:creationId xmlns:a16="http://schemas.microsoft.com/office/drawing/2014/main" xmlns="" id="{6A5A7CEA-E65B-CC4A-873C-6E4A1EB138D6}"/>
              </a:ext>
            </a:extLst>
          </p:cNvPr>
          <p:cNvCxnSpPr/>
          <p:nvPr/>
        </p:nvCxnSpPr>
        <p:spPr>
          <a:xfrm>
            <a:off x="671737" y="477225"/>
            <a:ext cx="2138199" cy="0"/>
          </a:xfrm>
          <a:prstGeom prst="line">
            <a:avLst/>
          </a:prstGeom>
          <a:ln w="25400">
            <a:solidFill>
              <a:srgbClr val="EAEADE"/>
            </a:solidFill>
          </a:ln>
          <a:effectLst>
            <a:outerShdw blurRad="40000" dist="20000" dir="5400000" rotWithShape="0">
              <a:srgbClr val="000000">
                <a:alpha val="0"/>
              </a:srgbClr>
            </a:outerShdw>
          </a:effectLst>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xmlns="" id="{997131A2-1DD5-C446-AECF-7C83D16997E6}"/>
              </a:ext>
            </a:extLst>
          </p:cNvPr>
          <p:cNvSpPr/>
          <p:nvPr/>
        </p:nvSpPr>
        <p:spPr>
          <a:xfrm>
            <a:off x="0" y="4492198"/>
            <a:ext cx="3996557" cy="4508927"/>
          </a:xfrm>
          <a:prstGeom prst="rect">
            <a:avLst/>
          </a:prstGeom>
        </p:spPr>
        <p:txBody>
          <a:bodyPr wrap="square">
            <a:spAutoFit/>
          </a:bodyPr>
          <a:lstStyle/>
          <a:p>
            <a:pPr algn="ctr"/>
            <a:r>
              <a:rPr lang="es-CL" sz="28700" b="1" dirty="0">
                <a:solidFill>
                  <a:schemeClr val="bg1"/>
                </a:solidFill>
                <a:latin typeface="ACHS Nueva Serif" pitchFamily="2" charset="77"/>
                <a:cs typeface="Arial" pitchFamily="34" charset="0"/>
              </a:rPr>
              <a:t>2</a:t>
            </a:r>
          </a:p>
        </p:txBody>
      </p:sp>
      <p:sp>
        <p:nvSpPr>
          <p:cNvPr id="30" name="Rectangle 4">
            <a:extLst>
              <a:ext uri="{FF2B5EF4-FFF2-40B4-BE49-F238E27FC236}">
                <a16:creationId xmlns:a16="http://schemas.microsoft.com/office/drawing/2014/main" xmlns="" id="{6158240F-4C60-EB47-8007-DDB0FDBB0679}"/>
              </a:ext>
            </a:extLst>
          </p:cNvPr>
          <p:cNvSpPr/>
          <p:nvPr/>
        </p:nvSpPr>
        <p:spPr>
          <a:xfrm>
            <a:off x="396156" y="2268314"/>
            <a:ext cx="3410291" cy="1107996"/>
          </a:xfrm>
          <a:prstGeom prst="rect">
            <a:avLst/>
          </a:prstGeom>
        </p:spPr>
        <p:txBody>
          <a:bodyPr wrap="square">
            <a:spAutoFit/>
          </a:bodyPr>
          <a:lstStyle/>
          <a:p>
            <a:r>
              <a:rPr lang="es-CL" sz="2200" b="1" dirty="0">
                <a:solidFill>
                  <a:schemeClr val="bg1"/>
                </a:solidFill>
                <a:latin typeface="ACHS Nueva Serif" pitchFamily="2" charset="77"/>
                <a:cs typeface="Calibri" panose="020F0502020204030204" pitchFamily="34" charset="0"/>
              </a:rPr>
              <a:t>Controles técnicos o ingenieriles:</a:t>
            </a:r>
          </a:p>
          <a:p>
            <a:endParaRPr lang="es-CL" sz="2200" b="1" dirty="0">
              <a:solidFill>
                <a:schemeClr val="bg1"/>
              </a:solidFill>
              <a:latin typeface="ACHS Nueva Serif" pitchFamily="2" charset="77"/>
              <a:cs typeface="Calibri" panose="020F0502020204030204" pitchFamily="34" charset="0"/>
            </a:endParaRPr>
          </a:p>
        </p:txBody>
      </p:sp>
    </p:spTree>
    <p:custDataLst>
      <p:tags r:id="rId1"/>
    </p:custDataLst>
    <p:extLst>
      <p:ext uri="{BB962C8B-B14F-4D97-AF65-F5344CB8AC3E}">
        <p14:creationId xmlns:p14="http://schemas.microsoft.com/office/powerpoint/2010/main" val="3130694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43"/>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Portadas">
  <a:themeElements>
    <a:clrScheme name="ACHS 2021">
      <a:dk1>
        <a:sysClr val="windowText" lastClr="000000"/>
      </a:dk1>
      <a:lt1>
        <a:sysClr val="window" lastClr="FFFFFF"/>
      </a:lt1>
      <a:dk2>
        <a:srgbClr val="0C662F"/>
      </a:dk2>
      <a:lt2>
        <a:srgbClr val="84B727"/>
      </a:lt2>
      <a:accent1>
        <a:srgbClr val="8D004C"/>
      </a:accent1>
      <a:accent2>
        <a:srgbClr val="8ECFD0"/>
      </a:accent2>
      <a:accent3>
        <a:srgbClr val="179188"/>
      </a:accent3>
      <a:accent4>
        <a:srgbClr val="F6C700"/>
      </a:accent4>
      <a:accent5>
        <a:srgbClr val="F2E500"/>
      </a:accent5>
      <a:accent6>
        <a:srgbClr val="004B53"/>
      </a:accent6>
      <a:hlink>
        <a:srgbClr val="F2D5C1"/>
      </a:hlink>
      <a:folHlink>
        <a:srgbClr val="FF0066"/>
      </a:folHlink>
    </a:clrScheme>
    <a:fontScheme name="TW ACHS">
      <a:majorFont>
        <a:latin typeface="Tw Cen MT"/>
        <a:ea typeface=""/>
        <a:cs typeface=""/>
      </a:majorFont>
      <a:minorFont>
        <a:latin typeface="Tw Cen M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Cursos">
  <a:themeElements>
    <a:clrScheme name="Achs3 1">
      <a:dk1>
        <a:srgbClr val="0C662F"/>
      </a:dk1>
      <a:lt1>
        <a:srgbClr val="FFFFFF"/>
      </a:lt1>
      <a:dk2>
        <a:srgbClr val="616161"/>
      </a:dk2>
      <a:lt2>
        <a:srgbClr val="83B727"/>
      </a:lt2>
      <a:accent1>
        <a:srgbClr val="00857D"/>
      </a:accent1>
      <a:accent2>
        <a:srgbClr val="F2E500"/>
      </a:accent2>
      <a:accent3>
        <a:srgbClr val="8A8A8A"/>
      </a:accent3>
      <a:accent4>
        <a:srgbClr val="6BBBAE"/>
      </a:accent4>
      <a:accent5>
        <a:srgbClr val="ECC3B2"/>
      </a:accent5>
      <a:accent6>
        <a:srgbClr val="890C58"/>
      </a:accent6>
      <a:hlink>
        <a:srgbClr val="83BD00"/>
      </a:hlink>
      <a:folHlink>
        <a:srgbClr val="004F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aCursos" id="{96174EF1-8331-8045-959A-A6FB4647A317}" vid="{C83503E1-D048-A04D-B18C-3A138303575F}"/>
    </a:ext>
  </a:extLst>
</a:theme>
</file>

<file path=ppt/theme/theme4.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F4BE5D28-5539-4DD5-9ACF-93B2B310A4AE}"/>
</file>

<file path=customXml/itemProps2.xml><?xml version="1.0" encoding="utf-8"?>
<ds:datastoreItem xmlns:ds="http://schemas.openxmlformats.org/officeDocument/2006/customXml" ds:itemID="{3537D605-160B-4A3F-90BA-81C4FA618E00}"/>
</file>

<file path=customXml/itemProps3.xml><?xml version="1.0" encoding="utf-8"?>
<ds:datastoreItem xmlns:ds="http://schemas.openxmlformats.org/officeDocument/2006/customXml" ds:itemID="{B1CA97C6-0D04-49C7-B9F4-080B4E142538}"/>
</file>

<file path=docProps/app.xml><?xml version="1.0" encoding="utf-8"?>
<Properties xmlns="http://schemas.openxmlformats.org/officeDocument/2006/extended-properties" xmlns:vt="http://schemas.openxmlformats.org/officeDocument/2006/docPropsVTypes">
  <TotalTime>5156</TotalTime>
  <Words>3490</Words>
  <Application>Microsoft Office PowerPoint</Application>
  <PresentationFormat>Personalizado</PresentationFormat>
  <Paragraphs>477</Paragraphs>
  <Slides>44</Slides>
  <Notes>3</Notes>
  <HiddenSlides>0</HiddenSlides>
  <MMClips>0</MMClips>
  <ScaleCrop>false</ScaleCrop>
  <HeadingPairs>
    <vt:vector size="8" baseType="variant">
      <vt:variant>
        <vt:lpstr>Fuentes usadas</vt:lpstr>
      </vt:variant>
      <vt:variant>
        <vt:i4>14</vt:i4>
      </vt:variant>
      <vt:variant>
        <vt:lpstr>Tema</vt:lpstr>
      </vt:variant>
      <vt:variant>
        <vt:i4>4</vt:i4>
      </vt:variant>
      <vt:variant>
        <vt:lpstr>Servidores OLE incrustados</vt:lpstr>
      </vt:variant>
      <vt:variant>
        <vt:i4>1</vt:i4>
      </vt:variant>
      <vt:variant>
        <vt:lpstr>Títulos de diapositiva</vt:lpstr>
      </vt:variant>
      <vt:variant>
        <vt:i4>44</vt:i4>
      </vt:variant>
    </vt:vector>
  </HeadingPairs>
  <TitlesOfParts>
    <vt:vector size="63" baseType="lpstr">
      <vt:lpstr>ACHS Nueva Sans</vt:lpstr>
      <vt:lpstr>ACHS Nueva Sans ExtraBold</vt:lpstr>
      <vt:lpstr>ACHS Nueva Sans Medium</vt:lpstr>
      <vt:lpstr>ACHS Nueva Sans SemiBold</vt:lpstr>
      <vt:lpstr>ACHS Nueva Serif</vt:lpstr>
      <vt:lpstr>Arial</vt:lpstr>
      <vt:lpstr>Barlow Regular</vt:lpstr>
      <vt:lpstr>Calibri</vt:lpstr>
      <vt:lpstr>Calibri Light</vt:lpstr>
      <vt:lpstr>Catamaran Light</vt:lpstr>
      <vt:lpstr>Catamaran SemiBold</vt:lpstr>
      <vt:lpstr>Helvetica Neue Medium</vt:lpstr>
      <vt:lpstr>Tw Cen MT</vt:lpstr>
      <vt:lpstr>Wingdings</vt:lpstr>
      <vt:lpstr>Office Theme</vt:lpstr>
      <vt:lpstr>2_Portadas</vt:lpstr>
      <vt:lpstr>TemaCursos</vt:lpstr>
      <vt:lpstr>2_Tema de Office</vt:lpstr>
      <vt:lpstr>Diapositiva de think-cell</vt:lpstr>
      <vt:lpstr>Presentación de PowerPoint</vt:lpstr>
      <vt:lpstr>Antes de comenzar</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nne MV</dc:creator>
  <cp:lastModifiedBy>Saldaño Carreño, Carlos Antonio</cp:lastModifiedBy>
  <cp:revision>187</cp:revision>
  <dcterms:created xsi:type="dcterms:W3CDTF">2018-04-16T12:09:27Z</dcterms:created>
  <dcterms:modified xsi:type="dcterms:W3CDTF">2025-01-23T14:2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62E48058-C9E4-4A75-9B93-3618ABE7ED48</vt:lpwstr>
  </property>
  <property fmtid="{D5CDD505-2E9C-101B-9397-08002B2CF9AE}" pid="3" name="ArticulatePath">
    <vt:lpwstr>AM_Protocolo_PLANESI</vt:lpwstr>
  </property>
  <property fmtid="{D5CDD505-2E9C-101B-9397-08002B2CF9AE}" pid="4" name="ContentTypeId">
    <vt:lpwstr>0x0101007C36543F3D857D488921B9E8F0F0A212</vt:lpwstr>
  </property>
</Properties>
</file>